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2" r:id="rId7"/>
    <p:sldMasterId id="2147484215" r:id="rId8"/>
  </p:sldMasterIdLst>
  <p:notesMasterIdLst>
    <p:notesMasterId r:id="rId56"/>
  </p:notesMasterIdLst>
  <p:handoutMasterIdLst>
    <p:handoutMasterId r:id="rId57"/>
  </p:handoutMasterIdLst>
  <p:sldIdLst>
    <p:sldId id="2147481969" r:id="rId9"/>
    <p:sldId id="2147481908" r:id="rId10"/>
    <p:sldId id="2147482153" r:id="rId11"/>
    <p:sldId id="2147482154" r:id="rId12"/>
    <p:sldId id="2147482155" r:id="rId13"/>
    <p:sldId id="2147482152" r:id="rId14"/>
    <p:sldId id="2147482156" r:id="rId15"/>
    <p:sldId id="2147482157" r:id="rId16"/>
    <p:sldId id="2147482158" r:id="rId17"/>
    <p:sldId id="2147482159" r:id="rId18"/>
    <p:sldId id="2147482160" r:id="rId19"/>
    <p:sldId id="2147482161" r:id="rId20"/>
    <p:sldId id="2147482162" r:id="rId21"/>
    <p:sldId id="2147482163" r:id="rId22"/>
    <p:sldId id="2147481938" r:id="rId23"/>
    <p:sldId id="2147482164" r:id="rId24"/>
    <p:sldId id="2147482165" r:id="rId25"/>
    <p:sldId id="2147482166" r:id="rId26"/>
    <p:sldId id="2147482167" r:id="rId27"/>
    <p:sldId id="2147482168" r:id="rId28"/>
    <p:sldId id="2147482169" r:id="rId29"/>
    <p:sldId id="2147482170" r:id="rId30"/>
    <p:sldId id="2147482171" r:id="rId31"/>
    <p:sldId id="2147482172" r:id="rId32"/>
    <p:sldId id="2147482173" r:id="rId33"/>
    <p:sldId id="2147482174" r:id="rId34"/>
    <p:sldId id="2147482175" r:id="rId35"/>
    <p:sldId id="2147481945" r:id="rId36"/>
    <p:sldId id="2147481941" r:id="rId37"/>
    <p:sldId id="2147482176" r:id="rId38"/>
    <p:sldId id="2147482177" r:id="rId39"/>
    <p:sldId id="2147482178" r:id="rId40"/>
    <p:sldId id="2147482179" r:id="rId41"/>
    <p:sldId id="2147482180" r:id="rId42"/>
    <p:sldId id="2147482181" r:id="rId43"/>
    <p:sldId id="2147482182" r:id="rId44"/>
    <p:sldId id="2147482183" r:id="rId45"/>
    <p:sldId id="2147482184" r:id="rId46"/>
    <p:sldId id="2147482186" r:id="rId47"/>
    <p:sldId id="2147482187" r:id="rId48"/>
    <p:sldId id="2147482188" r:id="rId49"/>
    <p:sldId id="2147482190" r:id="rId50"/>
    <p:sldId id="2147482191" r:id="rId51"/>
    <p:sldId id="2147482192" r:id="rId52"/>
    <p:sldId id="2147482193" r:id="rId53"/>
    <p:sldId id="2147482194" r:id="rId54"/>
    <p:sldId id="2147482196" r:id="rId55"/>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ermelho" id="{FD3C5681-4E2C-486A-A761-AB4E4C2C309C}">
          <p14:sldIdLst>
            <p14:sldId id="2147481969"/>
            <p14:sldId id="2147481908"/>
            <p14:sldId id="2147482153"/>
            <p14:sldId id="2147482154"/>
            <p14:sldId id="2147482155"/>
            <p14:sldId id="2147482152"/>
            <p14:sldId id="2147482156"/>
            <p14:sldId id="2147482157"/>
            <p14:sldId id="2147482158"/>
            <p14:sldId id="2147482159"/>
            <p14:sldId id="2147482160"/>
            <p14:sldId id="2147482161"/>
            <p14:sldId id="2147482162"/>
            <p14:sldId id="2147482163"/>
            <p14:sldId id="2147481938"/>
            <p14:sldId id="2147482164"/>
            <p14:sldId id="2147482165"/>
            <p14:sldId id="2147482166"/>
            <p14:sldId id="2147482167"/>
            <p14:sldId id="2147482168"/>
            <p14:sldId id="2147482169"/>
            <p14:sldId id="2147482170"/>
            <p14:sldId id="2147482171"/>
            <p14:sldId id="2147482172"/>
            <p14:sldId id="2147482173"/>
            <p14:sldId id="2147482174"/>
            <p14:sldId id="2147482175"/>
            <p14:sldId id="2147481945"/>
            <p14:sldId id="2147481941"/>
            <p14:sldId id="2147482176"/>
            <p14:sldId id="2147482177"/>
            <p14:sldId id="2147482178"/>
            <p14:sldId id="2147482179"/>
            <p14:sldId id="2147482180"/>
            <p14:sldId id="2147482181"/>
            <p14:sldId id="2147482182"/>
            <p14:sldId id="2147482183"/>
            <p14:sldId id="2147482184"/>
            <p14:sldId id="2147482186"/>
            <p14:sldId id="2147482187"/>
            <p14:sldId id="2147482188"/>
            <p14:sldId id="2147482190"/>
            <p14:sldId id="2147482191"/>
            <p14:sldId id="2147482192"/>
            <p14:sldId id="2147482193"/>
            <p14:sldId id="2147482194"/>
            <p14:sldId id="21474821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430103-CCD6-510E-103D-D7E5DDFF6448}" name="Dos Santos e Paula, Juliana" initials="DSePJ" userId="S::ktjl633@astrazeneca.net::eb39a609-90e1-4b4a-8654-e9d8d6658977" providerId="AD"/>
  <p188:author id="{808BED1C-E813-F8A4-E40D-C8A8E6B83E6E}" name="José Zanforlin | BOA" initials="JZ" userId="S::jose@emaildaboa.com.br::3029f641-791c-41f8-a13c-ab3b4b20232d" providerId="AD"/>
  <p188:author id="{A1013CBB-8258-B2A6-0202-070776C90855}" name="Vinícius Fernandez | BOA" initials="VF" userId="S::vinicius@emaildaboa.com.br::a66f42fe-ec87-4d79-88e3-941a57cc924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sa Boyes" initials="LB" lastIdx="4" clrIdx="0"/>
  <p:cmAuthor id="2" name="Mafalda Pires Damaso" initials="MPD" lastIdx="3" clrIdx="1">
    <p:extLst>
      <p:ext uri="{19B8F6BF-5375-455C-9EA6-DF929625EA0E}">
        <p15:presenceInfo xmlns:p15="http://schemas.microsoft.com/office/powerpoint/2012/main" userId="Mafalda Pires Damaso" providerId="None"/>
      </p:ext>
    </p:extLst>
  </p:cmAuthor>
  <p:cmAuthor id="3" name="Damaso, Mafalda Pires" initials="DMP" lastIdx="1" clrIdx="2">
    <p:extLst>
      <p:ext uri="{19B8F6BF-5375-455C-9EA6-DF929625EA0E}">
        <p15:presenceInfo xmlns:p15="http://schemas.microsoft.com/office/powerpoint/2012/main" userId="S-1-5-21-1702937302-3244510045-2416084594-59303" providerId="AD"/>
      </p:ext>
    </p:extLst>
  </p:cmAuthor>
  <p:cmAuthor id="4" name="Flávia Oda | BOA" initials="FO" lastIdx="11" clrIdx="3">
    <p:extLst>
      <p:ext uri="{19B8F6BF-5375-455C-9EA6-DF929625EA0E}">
        <p15:presenceInfo xmlns:p15="http://schemas.microsoft.com/office/powerpoint/2012/main" userId="S::flavia@emaildaboa.com.br::345581de-8f8f-411e-aab2-8e63138a47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09090"/>
    <a:srgbClr val="FFE5E5"/>
    <a:srgbClr val="005AA4"/>
    <a:srgbClr val="003865"/>
    <a:srgbClr val="3F4444"/>
    <a:srgbClr val="830051"/>
    <a:srgbClr val="FFBFBF"/>
    <a:srgbClr val="D6ED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01BA59-9E43-4D92-B96B-631E1EF85994}" v="39" dt="2025-03-26T13:48:22.895"/>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enhum Estilo, Grade de Tabe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37" autoAdjust="0"/>
    <p:restoredTop sz="93447" autoAdjust="0"/>
  </p:normalViewPr>
  <p:slideViewPr>
    <p:cSldViewPr snapToGrid="0">
      <p:cViewPr>
        <p:scale>
          <a:sx n="60" d="100"/>
          <a:sy n="60" d="100"/>
        </p:scale>
        <p:origin x="824" y="116"/>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ags" Target="tags/tag1.xml"/><Relationship Id="rId66" Type="http://schemas.microsoft.com/office/2018/10/relationships/authors" Target="authors.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notesMaster" Target="notesMasters/notesMaster1.xml"/><Relationship Id="rId64" Type="http://schemas.microsoft.com/office/2016/11/relationships/changesInfo" Target="changesInfos/changesInfo1.xml"/><Relationship Id="rId8" Type="http://schemas.openxmlformats.org/officeDocument/2006/relationships/slideMaster" Target="slideMasters/slideMaster2.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handoutMaster" Target="handoutMasters/handout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lpian, Francine de Souza" userId="88467538-5c5a-478a-aee9-b97efedd9ed0" providerId="ADAL" clId="{B201BA59-9E43-4D92-B96B-631E1EF85994}"/>
    <pc:docChg chg="undo custSel modSld">
      <pc:chgData name="Dalpian, Francine de Souza" userId="88467538-5c5a-478a-aee9-b97efedd9ed0" providerId="ADAL" clId="{B201BA59-9E43-4D92-B96B-631E1EF85994}" dt="2025-03-26T13:48:48.978" v="468"/>
      <pc:docMkLst>
        <pc:docMk/>
      </pc:docMkLst>
      <pc:sldChg chg="modSp mod">
        <pc:chgData name="Dalpian, Francine de Souza" userId="88467538-5c5a-478a-aee9-b97efedd9ed0" providerId="ADAL" clId="{B201BA59-9E43-4D92-B96B-631E1EF85994}" dt="2025-03-26T12:55:24.886" v="22" actId="1076"/>
        <pc:sldMkLst>
          <pc:docMk/>
          <pc:sldMk cId="676184400" sldId="2147481908"/>
        </pc:sldMkLst>
        <pc:spChg chg="mod">
          <ac:chgData name="Dalpian, Francine de Souza" userId="88467538-5c5a-478a-aee9-b97efedd9ed0" providerId="ADAL" clId="{B201BA59-9E43-4D92-B96B-631E1EF85994}" dt="2025-03-26T12:55:24.886" v="22" actId="1076"/>
          <ac:spMkLst>
            <pc:docMk/>
            <pc:sldMk cId="676184400" sldId="2147481908"/>
            <ac:spMk id="2" creationId="{8A4E7FA6-CC43-8480-09AE-031930B0DA49}"/>
          </ac:spMkLst>
        </pc:spChg>
      </pc:sldChg>
      <pc:sldChg chg="modSp mod">
        <pc:chgData name="Dalpian, Francine de Souza" userId="88467538-5c5a-478a-aee9-b97efedd9ed0" providerId="ADAL" clId="{B201BA59-9E43-4D92-B96B-631E1EF85994}" dt="2025-03-26T13:13:23.710" v="225" actId="6549"/>
        <pc:sldMkLst>
          <pc:docMk/>
          <pc:sldMk cId="3502847358" sldId="2147481941"/>
        </pc:sldMkLst>
        <pc:spChg chg="mod">
          <ac:chgData name="Dalpian, Francine de Souza" userId="88467538-5c5a-478a-aee9-b97efedd9ed0" providerId="ADAL" clId="{B201BA59-9E43-4D92-B96B-631E1EF85994}" dt="2025-03-26T13:13:07.880" v="223" actId="20577"/>
          <ac:spMkLst>
            <pc:docMk/>
            <pc:sldMk cId="3502847358" sldId="2147481941"/>
            <ac:spMk id="2" creationId="{91FE33A9-3A9F-B116-3DC8-64A887FCD6B4}"/>
          </ac:spMkLst>
        </pc:spChg>
        <pc:spChg chg="mod">
          <ac:chgData name="Dalpian, Francine de Souza" userId="88467538-5c5a-478a-aee9-b97efedd9ed0" providerId="ADAL" clId="{B201BA59-9E43-4D92-B96B-631E1EF85994}" dt="2025-03-26T13:13:23.710" v="225" actId="6549"/>
          <ac:spMkLst>
            <pc:docMk/>
            <pc:sldMk cId="3502847358" sldId="2147481941"/>
            <ac:spMk id="11" creationId="{86B6279F-3EE3-72F1-05C3-92B2A3B99EC7}"/>
          </ac:spMkLst>
        </pc:spChg>
        <pc:spChg chg="mod">
          <ac:chgData name="Dalpian, Francine de Souza" userId="88467538-5c5a-478a-aee9-b97efedd9ed0" providerId="ADAL" clId="{B201BA59-9E43-4D92-B96B-631E1EF85994}" dt="2025-03-26T13:13:00.319" v="219" actId="20577"/>
          <ac:spMkLst>
            <pc:docMk/>
            <pc:sldMk cId="3502847358" sldId="2147481941"/>
            <ac:spMk id="15" creationId="{9B7672C9-6D07-86C0-25A7-FDFD5A458BC0}"/>
          </ac:spMkLst>
        </pc:spChg>
        <pc:spChg chg="mod">
          <ac:chgData name="Dalpian, Francine de Souza" userId="88467538-5c5a-478a-aee9-b97efedd9ed0" providerId="ADAL" clId="{B201BA59-9E43-4D92-B96B-631E1EF85994}" dt="2025-03-26T13:12:55.940" v="215" actId="20577"/>
          <ac:spMkLst>
            <pc:docMk/>
            <pc:sldMk cId="3502847358" sldId="2147481941"/>
            <ac:spMk id="76" creationId="{FF07478B-4765-EE95-948D-DE2F09983015}"/>
          </ac:spMkLst>
        </pc:spChg>
      </pc:sldChg>
      <pc:sldChg chg="addSp delSp modSp mod delAnim">
        <pc:chgData name="Dalpian, Francine de Souza" userId="88467538-5c5a-478a-aee9-b97efedd9ed0" providerId="ADAL" clId="{B201BA59-9E43-4D92-B96B-631E1EF85994}" dt="2025-03-26T13:12:25.462" v="214" actId="20577"/>
        <pc:sldMkLst>
          <pc:docMk/>
          <pc:sldMk cId="1901201076" sldId="2147481945"/>
        </pc:sldMkLst>
        <pc:spChg chg="mod">
          <ac:chgData name="Dalpian, Francine de Souza" userId="88467538-5c5a-478a-aee9-b97efedd9ed0" providerId="ADAL" clId="{B201BA59-9E43-4D92-B96B-631E1EF85994}" dt="2025-03-26T13:12:25.462" v="214" actId="20577"/>
          <ac:spMkLst>
            <pc:docMk/>
            <pc:sldMk cId="1901201076" sldId="2147481945"/>
            <ac:spMk id="76" creationId="{FF07478B-4765-EE95-948D-DE2F09983015}"/>
          </ac:spMkLst>
        </pc:spChg>
        <pc:spChg chg="del">
          <ac:chgData name="Dalpian, Francine de Souza" userId="88467538-5c5a-478a-aee9-b97efedd9ed0" providerId="ADAL" clId="{B201BA59-9E43-4D92-B96B-631E1EF85994}" dt="2025-03-26T13:08:55.910" v="193" actId="478"/>
          <ac:spMkLst>
            <pc:docMk/>
            <pc:sldMk cId="1901201076" sldId="2147481945"/>
            <ac:spMk id="183" creationId="{78D07B95-A69A-46F3-63F7-886C2FA46E9D}"/>
          </ac:spMkLst>
        </pc:spChg>
        <pc:grpChg chg="del">
          <ac:chgData name="Dalpian, Francine de Souza" userId="88467538-5c5a-478a-aee9-b97efedd9ed0" providerId="ADAL" clId="{B201BA59-9E43-4D92-B96B-631E1EF85994}" dt="2025-03-26T13:08:58.319" v="194" actId="478"/>
          <ac:grpSpMkLst>
            <pc:docMk/>
            <pc:sldMk cId="1901201076" sldId="2147481945"/>
            <ac:grpSpMk id="182" creationId="{715B527E-89AA-25A4-BBD0-89859375772C}"/>
          </ac:grpSpMkLst>
        </pc:grpChg>
        <pc:picChg chg="add mod">
          <ac:chgData name="Dalpian, Francine de Souza" userId="88467538-5c5a-478a-aee9-b97efedd9ed0" providerId="ADAL" clId="{B201BA59-9E43-4D92-B96B-631E1EF85994}" dt="2025-03-26T13:11:04.645" v="196" actId="1076"/>
          <ac:picMkLst>
            <pc:docMk/>
            <pc:sldMk cId="1901201076" sldId="2147481945"/>
            <ac:picMk id="1026" creationId="{E5645840-3678-86DE-E5BF-20E63A7097E1}"/>
          </ac:picMkLst>
        </pc:picChg>
        <pc:cxnChg chg="mod">
          <ac:chgData name="Dalpian, Francine de Souza" userId="88467538-5c5a-478a-aee9-b97efedd9ed0" providerId="ADAL" clId="{B201BA59-9E43-4D92-B96B-631E1EF85994}" dt="2025-03-26T13:08:58.319" v="194" actId="478"/>
          <ac:cxnSpMkLst>
            <pc:docMk/>
            <pc:sldMk cId="1901201076" sldId="2147481945"/>
            <ac:cxnSpMk id="116" creationId="{D5E42B61-C11C-58FD-DD22-02CA5FBF30A8}"/>
          </ac:cxnSpMkLst>
        </pc:cxnChg>
        <pc:cxnChg chg="mod">
          <ac:chgData name="Dalpian, Francine de Souza" userId="88467538-5c5a-478a-aee9-b97efedd9ed0" providerId="ADAL" clId="{B201BA59-9E43-4D92-B96B-631E1EF85994}" dt="2025-03-26T13:08:58.319" v="194" actId="478"/>
          <ac:cxnSpMkLst>
            <pc:docMk/>
            <pc:sldMk cId="1901201076" sldId="2147481945"/>
            <ac:cxnSpMk id="125" creationId="{55EE0C33-3D10-F935-6801-3320E01C7404}"/>
          </ac:cxnSpMkLst>
        </pc:cxnChg>
        <pc:cxnChg chg="mod">
          <ac:chgData name="Dalpian, Francine de Souza" userId="88467538-5c5a-478a-aee9-b97efedd9ed0" providerId="ADAL" clId="{B201BA59-9E43-4D92-B96B-631E1EF85994}" dt="2025-03-26T13:08:58.319" v="194" actId="478"/>
          <ac:cxnSpMkLst>
            <pc:docMk/>
            <pc:sldMk cId="1901201076" sldId="2147481945"/>
            <ac:cxnSpMk id="134" creationId="{77A34B10-08FF-3D8A-AF8F-526A3F77F250}"/>
          </ac:cxnSpMkLst>
        </pc:cxnChg>
        <pc:cxnChg chg="mod">
          <ac:chgData name="Dalpian, Francine de Souza" userId="88467538-5c5a-478a-aee9-b97efedd9ed0" providerId="ADAL" clId="{B201BA59-9E43-4D92-B96B-631E1EF85994}" dt="2025-03-26T13:08:58.319" v="194" actId="478"/>
          <ac:cxnSpMkLst>
            <pc:docMk/>
            <pc:sldMk cId="1901201076" sldId="2147481945"/>
            <ac:cxnSpMk id="142" creationId="{B3BD055D-FDAF-D7B0-AF84-468CF21E194F}"/>
          </ac:cxnSpMkLst>
        </pc:cxnChg>
      </pc:sldChg>
      <pc:sldChg chg="modSp mod">
        <pc:chgData name="Dalpian, Francine de Souza" userId="88467538-5c5a-478a-aee9-b97efedd9ed0" providerId="ADAL" clId="{B201BA59-9E43-4D92-B96B-631E1EF85994}" dt="2025-03-26T12:54:43.088" v="12" actId="20577"/>
        <pc:sldMkLst>
          <pc:docMk/>
          <pc:sldMk cId="3139272866" sldId="2147481969"/>
        </pc:sldMkLst>
        <pc:spChg chg="mod">
          <ac:chgData name="Dalpian, Francine de Souza" userId="88467538-5c5a-478a-aee9-b97efedd9ed0" providerId="ADAL" clId="{B201BA59-9E43-4D92-B96B-631E1EF85994}" dt="2025-03-26T12:54:43.088" v="12" actId="20577"/>
          <ac:spMkLst>
            <pc:docMk/>
            <pc:sldMk cId="3139272866" sldId="2147481969"/>
            <ac:spMk id="6" creationId="{51ABF611-7550-EE7E-8F42-2B3E6332B0C1}"/>
          </ac:spMkLst>
        </pc:spChg>
      </pc:sldChg>
      <pc:sldChg chg="mod modShow">
        <pc:chgData name="Dalpian, Francine de Souza" userId="88467538-5c5a-478a-aee9-b97efedd9ed0" providerId="ADAL" clId="{B201BA59-9E43-4D92-B96B-631E1EF85994}" dt="2025-03-26T12:55:28.431" v="23" actId="729"/>
        <pc:sldMkLst>
          <pc:docMk/>
          <pc:sldMk cId="2778679219" sldId="2147482153"/>
        </pc:sldMkLst>
      </pc:sldChg>
      <pc:sldChg chg="modSp mod">
        <pc:chgData name="Dalpian, Francine de Souza" userId="88467538-5c5a-478a-aee9-b97efedd9ed0" providerId="ADAL" clId="{B201BA59-9E43-4D92-B96B-631E1EF85994}" dt="2025-03-26T12:55:50.848" v="24"/>
        <pc:sldMkLst>
          <pc:docMk/>
          <pc:sldMk cId="1834059834" sldId="2147482154"/>
        </pc:sldMkLst>
        <pc:spChg chg="mod">
          <ac:chgData name="Dalpian, Francine de Souza" userId="88467538-5c5a-478a-aee9-b97efedd9ed0" providerId="ADAL" clId="{B201BA59-9E43-4D92-B96B-631E1EF85994}" dt="2025-03-26T12:55:50.848" v="24"/>
          <ac:spMkLst>
            <pc:docMk/>
            <pc:sldMk cId="1834059834" sldId="2147482154"/>
            <ac:spMk id="2" creationId="{8A4E7FA6-CC43-8480-09AE-031930B0DA49}"/>
          </ac:spMkLst>
        </pc:spChg>
      </pc:sldChg>
      <pc:sldChg chg="modSp mod">
        <pc:chgData name="Dalpian, Francine de Souza" userId="88467538-5c5a-478a-aee9-b97efedd9ed0" providerId="ADAL" clId="{B201BA59-9E43-4D92-B96B-631E1EF85994}" dt="2025-03-26T12:57:32.241" v="51" actId="20577"/>
        <pc:sldMkLst>
          <pc:docMk/>
          <pc:sldMk cId="1340124162" sldId="2147482155"/>
        </pc:sldMkLst>
        <pc:spChg chg="mod">
          <ac:chgData name="Dalpian, Francine de Souza" userId="88467538-5c5a-478a-aee9-b97efedd9ed0" providerId="ADAL" clId="{B201BA59-9E43-4D92-B96B-631E1EF85994}" dt="2025-03-26T12:57:24.763" v="48" actId="20577"/>
          <ac:spMkLst>
            <pc:docMk/>
            <pc:sldMk cId="1340124162" sldId="2147482155"/>
            <ac:spMk id="2" creationId="{8A4E7FA6-CC43-8480-09AE-031930B0DA49}"/>
          </ac:spMkLst>
        </pc:spChg>
        <pc:spChg chg="mod">
          <ac:chgData name="Dalpian, Francine de Souza" userId="88467538-5c5a-478a-aee9-b97efedd9ed0" providerId="ADAL" clId="{B201BA59-9E43-4D92-B96B-631E1EF85994}" dt="2025-03-26T12:57:32.241" v="51" actId="20577"/>
          <ac:spMkLst>
            <pc:docMk/>
            <pc:sldMk cId="1340124162" sldId="2147482155"/>
            <ac:spMk id="3" creationId="{2B00929B-D197-395B-232A-123D0217CD48}"/>
          </ac:spMkLst>
        </pc:spChg>
      </pc:sldChg>
      <pc:sldChg chg="modSp mod">
        <pc:chgData name="Dalpian, Francine de Souza" userId="88467538-5c5a-478a-aee9-b97efedd9ed0" providerId="ADAL" clId="{B201BA59-9E43-4D92-B96B-631E1EF85994}" dt="2025-03-26T12:57:50.848" v="52"/>
        <pc:sldMkLst>
          <pc:docMk/>
          <pc:sldMk cId="3428160582" sldId="2147482156"/>
        </pc:sldMkLst>
        <pc:spChg chg="mod">
          <ac:chgData name="Dalpian, Francine de Souza" userId="88467538-5c5a-478a-aee9-b97efedd9ed0" providerId="ADAL" clId="{B201BA59-9E43-4D92-B96B-631E1EF85994}" dt="2025-03-26T12:57:50.848" v="52"/>
          <ac:spMkLst>
            <pc:docMk/>
            <pc:sldMk cId="3428160582" sldId="2147482156"/>
            <ac:spMk id="2" creationId="{8A4E7FA6-CC43-8480-09AE-031930B0DA49}"/>
          </ac:spMkLst>
        </pc:spChg>
      </pc:sldChg>
      <pc:sldChg chg="modSp mod">
        <pc:chgData name="Dalpian, Francine de Souza" userId="88467538-5c5a-478a-aee9-b97efedd9ed0" providerId="ADAL" clId="{B201BA59-9E43-4D92-B96B-631E1EF85994}" dt="2025-03-26T12:58:03.705" v="53"/>
        <pc:sldMkLst>
          <pc:docMk/>
          <pc:sldMk cId="3421162468" sldId="2147482157"/>
        </pc:sldMkLst>
        <pc:spChg chg="mod">
          <ac:chgData name="Dalpian, Francine de Souza" userId="88467538-5c5a-478a-aee9-b97efedd9ed0" providerId="ADAL" clId="{B201BA59-9E43-4D92-B96B-631E1EF85994}" dt="2025-03-26T12:58:03.705" v="53"/>
          <ac:spMkLst>
            <pc:docMk/>
            <pc:sldMk cId="3421162468" sldId="2147482157"/>
            <ac:spMk id="2" creationId="{8A4E7FA6-CC43-8480-09AE-031930B0DA49}"/>
          </ac:spMkLst>
        </pc:spChg>
      </pc:sldChg>
      <pc:sldChg chg="modSp mod">
        <pc:chgData name="Dalpian, Francine de Souza" userId="88467538-5c5a-478a-aee9-b97efedd9ed0" providerId="ADAL" clId="{B201BA59-9E43-4D92-B96B-631E1EF85994}" dt="2025-03-26T12:58:34.733" v="56" actId="1076"/>
        <pc:sldMkLst>
          <pc:docMk/>
          <pc:sldMk cId="2819582399" sldId="2147482158"/>
        </pc:sldMkLst>
        <pc:spChg chg="mod">
          <ac:chgData name="Dalpian, Francine de Souza" userId="88467538-5c5a-478a-aee9-b97efedd9ed0" providerId="ADAL" clId="{B201BA59-9E43-4D92-B96B-631E1EF85994}" dt="2025-03-26T12:58:34.733" v="56" actId="1076"/>
          <ac:spMkLst>
            <pc:docMk/>
            <pc:sldMk cId="2819582399" sldId="2147482158"/>
            <ac:spMk id="2" creationId="{8A4E7FA6-CC43-8480-09AE-031930B0DA49}"/>
          </ac:spMkLst>
        </pc:spChg>
      </pc:sldChg>
      <pc:sldChg chg="modSp mod">
        <pc:chgData name="Dalpian, Francine de Souza" userId="88467538-5c5a-478a-aee9-b97efedd9ed0" providerId="ADAL" clId="{B201BA59-9E43-4D92-B96B-631E1EF85994}" dt="2025-03-26T12:59:05.649" v="71" actId="20577"/>
        <pc:sldMkLst>
          <pc:docMk/>
          <pc:sldMk cId="1294384770" sldId="2147482159"/>
        </pc:sldMkLst>
        <pc:spChg chg="mod">
          <ac:chgData name="Dalpian, Francine de Souza" userId="88467538-5c5a-478a-aee9-b97efedd9ed0" providerId="ADAL" clId="{B201BA59-9E43-4D92-B96B-631E1EF85994}" dt="2025-03-26T12:59:05.649" v="71" actId="20577"/>
          <ac:spMkLst>
            <pc:docMk/>
            <pc:sldMk cId="1294384770" sldId="2147482159"/>
            <ac:spMk id="2" creationId="{8A4E7FA6-CC43-8480-09AE-031930B0DA49}"/>
          </ac:spMkLst>
        </pc:spChg>
      </pc:sldChg>
      <pc:sldChg chg="modSp mod">
        <pc:chgData name="Dalpian, Francine de Souza" userId="88467538-5c5a-478a-aee9-b97efedd9ed0" providerId="ADAL" clId="{B201BA59-9E43-4D92-B96B-631E1EF85994}" dt="2025-03-26T12:59:23.963" v="72"/>
        <pc:sldMkLst>
          <pc:docMk/>
          <pc:sldMk cId="356084593" sldId="2147482160"/>
        </pc:sldMkLst>
        <pc:spChg chg="mod">
          <ac:chgData name="Dalpian, Francine de Souza" userId="88467538-5c5a-478a-aee9-b97efedd9ed0" providerId="ADAL" clId="{B201BA59-9E43-4D92-B96B-631E1EF85994}" dt="2025-03-26T12:59:23.963" v="72"/>
          <ac:spMkLst>
            <pc:docMk/>
            <pc:sldMk cId="356084593" sldId="2147482160"/>
            <ac:spMk id="2" creationId="{8A4E7FA6-CC43-8480-09AE-031930B0DA49}"/>
          </ac:spMkLst>
        </pc:spChg>
      </pc:sldChg>
      <pc:sldChg chg="addSp modSp mod">
        <pc:chgData name="Dalpian, Francine de Souza" userId="88467538-5c5a-478a-aee9-b97efedd9ed0" providerId="ADAL" clId="{B201BA59-9E43-4D92-B96B-631E1EF85994}" dt="2025-03-26T12:59:49.099" v="76" actId="1076"/>
        <pc:sldMkLst>
          <pc:docMk/>
          <pc:sldMk cId="444546325" sldId="2147482161"/>
        </pc:sldMkLst>
        <pc:spChg chg="add mod">
          <ac:chgData name="Dalpian, Francine de Souza" userId="88467538-5c5a-478a-aee9-b97efedd9ed0" providerId="ADAL" clId="{B201BA59-9E43-4D92-B96B-631E1EF85994}" dt="2025-03-26T12:59:49.099" v="76" actId="1076"/>
          <ac:spMkLst>
            <pc:docMk/>
            <pc:sldMk cId="444546325" sldId="2147482161"/>
            <ac:spMk id="7" creationId="{8BDC4FCF-8B81-5F10-673E-EEF3CBB9B3CC}"/>
          </ac:spMkLst>
        </pc:spChg>
      </pc:sldChg>
      <pc:sldChg chg="modSp mod modShow">
        <pc:chgData name="Dalpian, Francine de Souza" userId="88467538-5c5a-478a-aee9-b97efedd9ed0" providerId="ADAL" clId="{B201BA59-9E43-4D92-B96B-631E1EF85994}" dt="2025-03-26T13:00:41.533" v="91" actId="1076"/>
        <pc:sldMkLst>
          <pc:docMk/>
          <pc:sldMk cId="3634730412" sldId="2147482162"/>
        </pc:sldMkLst>
        <pc:spChg chg="mod">
          <ac:chgData name="Dalpian, Francine de Souza" userId="88467538-5c5a-478a-aee9-b97efedd9ed0" providerId="ADAL" clId="{B201BA59-9E43-4D92-B96B-631E1EF85994}" dt="2025-03-26T13:00:41.533" v="91" actId="1076"/>
          <ac:spMkLst>
            <pc:docMk/>
            <pc:sldMk cId="3634730412" sldId="2147482162"/>
            <ac:spMk id="2" creationId="{8A4E7FA6-CC43-8480-09AE-031930B0DA49}"/>
          </ac:spMkLst>
        </pc:spChg>
      </pc:sldChg>
      <pc:sldChg chg="modSp mod">
        <pc:chgData name="Dalpian, Francine de Souza" userId="88467538-5c5a-478a-aee9-b97efedd9ed0" providerId="ADAL" clId="{B201BA59-9E43-4D92-B96B-631E1EF85994}" dt="2025-03-26T13:01:08.672" v="109" actId="404"/>
        <pc:sldMkLst>
          <pc:docMk/>
          <pc:sldMk cId="700076909" sldId="2147482163"/>
        </pc:sldMkLst>
        <pc:spChg chg="mod">
          <ac:chgData name="Dalpian, Francine de Souza" userId="88467538-5c5a-478a-aee9-b97efedd9ed0" providerId="ADAL" clId="{B201BA59-9E43-4D92-B96B-631E1EF85994}" dt="2025-03-26T13:01:08.672" v="109" actId="404"/>
          <ac:spMkLst>
            <pc:docMk/>
            <pc:sldMk cId="700076909" sldId="2147482163"/>
            <ac:spMk id="2" creationId="{8A4E7FA6-CC43-8480-09AE-031930B0DA49}"/>
          </ac:spMkLst>
        </pc:spChg>
        <pc:spChg chg="mod">
          <ac:chgData name="Dalpian, Francine de Souza" userId="88467538-5c5a-478a-aee9-b97efedd9ed0" providerId="ADAL" clId="{B201BA59-9E43-4D92-B96B-631E1EF85994}" dt="2025-03-26T13:00:51.013" v="93" actId="20577"/>
          <ac:spMkLst>
            <pc:docMk/>
            <pc:sldMk cId="700076909" sldId="2147482163"/>
            <ac:spMk id="4" creationId="{746AB8E7-A9E3-2010-51D7-1CB9CE00D744}"/>
          </ac:spMkLst>
        </pc:spChg>
      </pc:sldChg>
      <pc:sldChg chg="modSp mod">
        <pc:chgData name="Dalpian, Francine de Souza" userId="88467538-5c5a-478a-aee9-b97efedd9ed0" providerId="ADAL" clId="{B201BA59-9E43-4D92-B96B-631E1EF85994}" dt="2025-03-26T13:01:33.103" v="113" actId="404"/>
        <pc:sldMkLst>
          <pc:docMk/>
          <pc:sldMk cId="3443371044" sldId="2147482164"/>
        </pc:sldMkLst>
        <pc:spChg chg="mod">
          <ac:chgData name="Dalpian, Francine de Souza" userId="88467538-5c5a-478a-aee9-b97efedd9ed0" providerId="ADAL" clId="{B201BA59-9E43-4D92-B96B-631E1EF85994}" dt="2025-03-26T13:01:33.103" v="113" actId="404"/>
          <ac:spMkLst>
            <pc:docMk/>
            <pc:sldMk cId="3443371044" sldId="2147482164"/>
            <ac:spMk id="3" creationId="{F1AC7314-DEF5-71FA-3B9C-2524EC9744D3}"/>
          </ac:spMkLst>
        </pc:spChg>
      </pc:sldChg>
      <pc:sldChg chg="modSp mod">
        <pc:chgData name="Dalpian, Francine de Souza" userId="88467538-5c5a-478a-aee9-b97efedd9ed0" providerId="ADAL" clId="{B201BA59-9E43-4D92-B96B-631E1EF85994}" dt="2025-03-26T13:01:50.002" v="115" actId="404"/>
        <pc:sldMkLst>
          <pc:docMk/>
          <pc:sldMk cId="4021642105" sldId="2147482165"/>
        </pc:sldMkLst>
        <pc:spChg chg="mod">
          <ac:chgData name="Dalpian, Francine de Souza" userId="88467538-5c5a-478a-aee9-b97efedd9ed0" providerId="ADAL" clId="{B201BA59-9E43-4D92-B96B-631E1EF85994}" dt="2025-03-26T13:01:50.002" v="115" actId="404"/>
          <ac:spMkLst>
            <pc:docMk/>
            <pc:sldMk cId="4021642105" sldId="2147482165"/>
            <ac:spMk id="2" creationId="{8A4E7FA6-CC43-8480-09AE-031930B0DA49}"/>
          </ac:spMkLst>
        </pc:spChg>
      </pc:sldChg>
      <pc:sldChg chg="modSp mod">
        <pc:chgData name="Dalpian, Francine de Souza" userId="88467538-5c5a-478a-aee9-b97efedd9ed0" providerId="ADAL" clId="{B201BA59-9E43-4D92-B96B-631E1EF85994}" dt="2025-03-26T13:03:59.135" v="146" actId="948"/>
        <pc:sldMkLst>
          <pc:docMk/>
          <pc:sldMk cId="1481181946" sldId="2147482166"/>
        </pc:sldMkLst>
        <pc:spChg chg="mod">
          <ac:chgData name="Dalpian, Francine de Souza" userId="88467538-5c5a-478a-aee9-b97efedd9ed0" providerId="ADAL" clId="{B201BA59-9E43-4D92-B96B-631E1EF85994}" dt="2025-03-26T13:03:59.135" v="146" actId="948"/>
          <ac:spMkLst>
            <pc:docMk/>
            <pc:sldMk cId="1481181946" sldId="2147482166"/>
            <ac:spMk id="2" creationId="{8A4E7FA6-CC43-8480-09AE-031930B0DA49}"/>
          </ac:spMkLst>
        </pc:spChg>
        <pc:spChg chg="mod">
          <ac:chgData name="Dalpian, Francine de Souza" userId="88467538-5c5a-478a-aee9-b97efedd9ed0" providerId="ADAL" clId="{B201BA59-9E43-4D92-B96B-631E1EF85994}" dt="2025-03-26T13:02:51.184" v="132" actId="20577"/>
          <ac:spMkLst>
            <pc:docMk/>
            <pc:sldMk cId="1481181946" sldId="2147482166"/>
            <ac:spMk id="3" creationId="{2B00929B-D197-395B-232A-123D0217CD48}"/>
          </ac:spMkLst>
        </pc:spChg>
      </pc:sldChg>
      <pc:sldChg chg="modSp mod modShow">
        <pc:chgData name="Dalpian, Francine de Souza" userId="88467538-5c5a-478a-aee9-b97efedd9ed0" providerId="ADAL" clId="{B201BA59-9E43-4D92-B96B-631E1EF85994}" dt="2025-03-26T13:04:33.751" v="151" actId="1076"/>
        <pc:sldMkLst>
          <pc:docMk/>
          <pc:sldMk cId="1785598114" sldId="2147482167"/>
        </pc:sldMkLst>
        <pc:spChg chg="mod">
          <ac:chgData name="Dalpian, Francine de Souza" userId="88467538-5c5a-478a-aee9-b97efedd9ed0" providerId="ADAL" clId="{B201BA59-9E43-4D92-B96B-631E1EF85994}" dt="2025-03-26T13:04:33.751" v="151" actId="1076"/>
          <ac:spMkLst>
            <pc:docMk/>
            <pc:sldMk cId="1785598114" sldId="2147482167"/>
            <ac:spMk id="2" creationId="{8A4E7FA6-CC43-8480-09AE-031930B0DA49}"/>
          </ac:spMkLst>
        </pc:spChg>
      </pc:sldChg>
      <pc:sldChg chg="modSp mod">
        <pc:chgData name="Dalpian, Francine de Souza" userId="88467538-5c5a-478a-aee9-b97efedd9ed0" providerId="ADAL" clId="{B201BA59-9E43-4D92-B96B-631E1EF85994}" dt="2025-03-26T13:04:46.655" v="152"/>
        <pc:sldMkLst>
          <pc:docMk/>
          <pc:sldMk cId="2417459199" sldId="2147482168"/>
        </pc:sldMkLst>
        <pc:spChg chg="mod">
          <ac:chgData name="Dalpian, Francine de Souza" userId="88467538-5c5a-478a-aee9-b97efedd9ed0" providerId="ADAL" clId="{B201BA59-9E43-4D92-B96B-631E1EF85994}" dt="2025-03-26T13:04:46.655" v="152"/>
          <ac:spMkLst>
            <pc:docMk/>
            <pc:sldMk cId="2417459199" sldId="2147482168"/>
            <ac:spMk id="2" creationId="{8A4E7FA6-CC43-8480-09AE-031930B0DA49}"/>
          </ac:spMkLst>
        </pc:spChg>
      </pc:sldChg>
      <pc:sldChg chg="modSp mod">
        <pc:chgData name="Dalpian, Francine de Souza" userId="88467538-5c5a-478a-aee9-b97efedd9ed0" providerId="ADAL" clId="{B201BA59-9E43-4D92-B96B-631E1EF85994}" dt="2025-03-26T13:05:22.145" v="155" actId="1076"/>
        <pc:sldMkLst>
          <pc:docMk/>
          <pc:sldMk cId="4279461315" sldId="2147482169"/>
        </pc:sldMkLst>
        <pc:spChg chg="mod">
          <ac:chgData name="Dalpian, Francine de Souza" userId="88467538-5c5a-478a-aee9-b97efedd9ed0" providerId="ADAL" clId="{B201BA59-9E43-4D92-B96B-631E1EF85994}" dt="2025-03-26T13:05:22.145" v="155" actId="1076"/>
          <ac:spMkLst>
            <pc:docMk/>
            <pc:sldMk cId="4279461315" sldId="2147482169"/>
            <ac:spMk id="2" creationId="{8A4E7FA6-CC43-8480-09AE-031930B0DA49}"/>
          </ac:spMkLst>
        </pc:spChg>
        <pc:spChg chg="mod">
          <ac:chgData name="Dalpian, Francine de Souza" userId="88467538-5c5a-478a-aee9-b97efedd9ed0" providerId="ADAL" clId="{B201BA59-9E43-4D92-B96B-631E1EF85994}" dt="2025-03-26T13:04:59.946" v="153" actId="20577"/>
          <ac:spMkLst>
            <pc:docMk/>
            <pc:sldMk cId="4279461315" sldId="2147482169"/>
            <ac:spMk id="3" creationId="{2B00929B-D197-395B-232A-123D0217CD48}"/>
          </ac:spMkLst>
        </pc:spChg>
      </pc:sldChg>
      <pc:sldChg chg="modSp mod">
        <pc:chgData name="Dalpian, Francine de Souza" userId="88467538-5c5a-478a-aee9-b97efedd9ed0" providerId="ADAL" clId="{B201BA59-9E43-4D92-B96B-631E1EF85994}" dt="2025-03-26T13:05:58.408" v="160" actId="255"/>
        <pc:sldMkLst>
          <pc:docMk/>
          <pc:sldMk cId="3526024472" sldId="2147482170"/>
        </pc:sldMkLst>
        <pc:spChg chg="mod">
          <ac:chgData name="Dalpian, Francine de Souza" userId="88467538-5c5a-478a-aee9-b97efedd9ed0" providerId="ADAL" clId="{B201BA59-9E43-4D92-B96B-631E1EF85994}" dt="2025-03-26T13:05:58.408" v="160" actId="255"/>
          <ac:spMkLst>
            <pc:docMk/>
            <pc:sldMk cId="3526024472" sldId="2147482170"/>
            <ac:spMk id="2" creationId="{8A4E7FA6-CC43-8480-09AE-031930B0DA49}"/>
          </ac:spMkLst>
        </pc:spChg>
        <pc:spChg chg="mod">
          <ac:chgData name="Dalpian, Francine de Souza" userId="88467538-5c5a-478a-aee9-b97efedd9ed0" providerId="ADAL" clId="{B201BA59-9E43-4D92-B96B-631E1EF85994}" dt="2025-03-26T13:05:36.498" v="158" actId="20577"/>
          <ac:spMkLst>
            <pc:docMk/>
            <pc:sldMk cId="3526024472" sldId="2147482170"/>
            <ac:spMk id="3" creationId="{2B00929B-D197-395B-232A-123D0217CD48}"/>
          </ac:spMkLst>
        </pc:spChg>
      </pc:sldChg>
      <pc:sldChg chg="delSp modSp mod delAnim">
        <pc:chgData name="Dalpian, Francine de Souza" userId="88467538-5c5a-478a-aee9-b97efedd9ed0" providerId="ADAL" clId="{B201BA59-9E43-4D92-B96B-631E1EF85994}" dt="2025-03-26T13:06:39.263" v="168" actId="1076"/>
        <pc:sldMkLst>
          <pc:docMk/>
          <pc:sldMk cId="2905786230" sldId="2147482171"/>
        </pc:sldMkLst>
        <pc:spChg chg="mod">
          <ac:chgData name="Dalpian, Francine de Souza" userId="88467538-5c5a-478a-aee9-b97efedd9ed0" providerId="ADAL" clId="{B201BA59-9E43-4D92-B96B-631E1EF85994}" dt="2025-03-26T13:06:14.278" v="161" actId="20577"/>
          <ac:spMkLst>
            <pc:docMk/>
            <pc:sldMk cId="2905786230" sldId="2147482171"/>
            <ac:spMk id="3" creationId="{2B00929B-D197-395B-232A-123D0217CD48}"/>
          </ac:spMkLst>
        </pc:spChg>
        <pc:spChg chg="mod">
          <ac:chgData name="Dalpian, Francine de Souza" userId="88467538-5c5a-478a-aee9-b97efedd9ed0" providerId="ADAL" clId="{B201BA59-9E43-4D92-B96B-631E1EF85994}" dt="2025-03-26T13:06:39.263" v="168" actId="1076"/>
          <ac:spMkLst>
            <pc:docMk/>
            <pc:sldMk cId="2905786230" sldId="2147482171"/>
            <ac:spMk id="54" creationId="{38A535A1-FD34-8A40-7E2B-92EC026BC1F3}"/>
          </ac:spMkLst>
        </pc:spChg>
        <pc:spChg chg="mod">
          <ac:chgData name="Dalpian, Francine de Souza" userId="88467538-5c5a-478a-aee9-b97efedd9ed0" providerId="ADAL" clId="{B201BA59-9E43-4D92-B96B-631E1EF85994}" dt="2025-03-26T13:06:39.263" v="168" actId="1076"/>
          <ac:spMkLst>
            <pc:docMk/>
            <pc:sldMk cId="2905786230" sldId="2147482171"/>
            <ac:spMk id="65" creationId="{C29497C5-FF57-6DCB-BC9A-7D4213158ECD}"/>
          </ac:spMkLst>
        </pc:spChg>
        <pc:spChg chg="mod">
          <ac:chgData name="Dalpian, Francine de Souza" userId="88467538-5c5a-478a-aee9-b97efedd9ed0" providerId="ADAL" clId="{B201BA59-9E43-4D92-B96B-631E1EF85994}" dt="2025-03-26T13:06:39.263" v="168" actId="1076"/>
          <ac:spMkLst>
            <pc:docMk/>
            <pc:sldMk cId="2905786230" sldId="2147482171"/>
            <ac:spMk id="66" creationId="{64265D76-5CB1-5890-410C-456AFCC7DAD0}"/>
          </ac:spMkLst>
        </pc:spChg>
        <pc:spChg chg="mod">
          <ac:chgData name="Dalpian, Francine de Souza" userId="88467538-5c5a-478a-aee9-b97efedd9ed0" providerId="ADAL" clId="{B201BA59-9E43-4D92-B96B-631E1EF85994}" dt="2025-03-26T13:06:39.263" v="168" actId="1076"/>
          <ac:spMkLst>
            <pc:docMk/>
            <pc:sldMk cId="2905786230" sldId="2147482171"/>
            <ac:spMk id="67" creationId="{52DFEEB3-E04E-5ACE-4CBE-8D12C1250AA1}"/>
          </ac:spMkLst>
        </pc:spChg>
        <pc:spChg chg="mod">
          <ac:chgData name="Dalpian, Francine de Souza" userId="88467538-5c5a-478a-aee9-b97efedd9ed0" providerId="ADAL" clId="{B201BA59-9E43-4D92-B96B-631E1EF85994}" dt="2025-03-26T13:06:39.263" v="168" actId="1076"/>
          <ac:spMkLst>
            <pc:docMk/>
            <pc:sldMk cId="2905786230" sldId="2147482171"/>
            <ac:spMk id="68" creationId="{660B8809-196C-799C-A041-F8F8863567B9}"/>
          </ac:spMkLst>
        </pc:spChg>
        <pc:spChg chg="mod">
          <ac:chgData name="Dalpian, Francine de Souza" userId="88467538-5c5a-478a-aee9-b97efedd9ed0" providerId="ADAL" clId="{B201BA59-9E43-4D92-B96B-631E1EF85994}" dt="2025-03-26T13:06:39.263" v="168" actId="1076"/>
          <ac:spMkLst>
            <pc:docMk/>
            <pc:sldMk cId="2905786230" sldId="2147482171"/>
            <ac:spMk id="69" creationId="{DB4FD938-4A71-C4A6-915C-37F8F12C726F}"/>
          </ac:spMkLst>
        </pc:spChg>
        <pc:spChg chg="mod">
          <ac:chgData name="Dalpian, Francine de Souza" userId="88467538-5c5a-478a-aee9-b97efedd9ed0" providerId="ADAL" clId="{B201BA59-9E43-4D92-B96B-631E1EF85994}" dt="2025-03-26T13:06:39.263" v="168" actId="1076"/>
          <ac:spMkLst>
            <pc:docMk/>
            <pc:sldMk cId="2905786230" sldId="2147482171"/>
            <ac:spMk id="70" creationId="{EA077416-F3E5-F1E3-0ADE-776F5A41FE2B}"/>
          </ac:spMkLst>
        </pc:spChg>
        <pc:spChg chg="mod">
          <ac:chgData name="Dalpian, Francine de Souza" userId="88467538-5c5a-478a-aee9-b97efedd9ed0" providerId="ADAL" clId="{B201BA59-9E43-4D92-B96B-631E1EF85994}" dt="2025-03-26T13:06:30.957" v="162"/>
          <ac:spMkLst>
            <pc:docMk/>
            <pc:sldMk cId="2905786230" sldId="2147482171"/>
            <ac:spMk id="293" creationId="{297D52BA-FE0B-47A8-51CF-FA65FBD6FA43}"/>
          </ac:spMkLst>
        </pc:spChg>
        <pc:picChg chg="del">
          <ac:chgData name="Dalpian, Francine de Souza" userId="88467538-5c5a-478a-aee9-b97efedd9ed0" providerId="ADAL" clId="{B201BA59-9E43-4D92-B96B-631E1EF85994}" dt="2025-03-26T13:06:35.098" v="167" actId="478"/>
          <ac:picMkLst>
            <pc:docMk/>
            <pc:sldMk cId="2905786230" sldId="2147482171"/>
            <ac:picMk id="72" creationId="{4642DE27-7C4D-CB1A-5BC6-A2A431FFCA3D}"/>
          </ac:picMkLst>
        </pc:picChg>
        <pc:picChg chg="del">
          <ac:chgData name="Dalpian, Francine de Souza" userId="88467538-5c5a-478a-aee9-b97efedd9ed0" providerId="ADAL" clId="{B201BA59-9E43-4D92-B96B-631E1EF85994}" dt="2025-03-26T13:06:34.689" v="166" actId="478"/>
          <ac:picMkLst>
            <pc:docMk/>
            <pc:sldMk cId="2905786230" sldId="2147482171"/>
            <ac:picMk id="74" creationId="{8433B4AD-2074-E6C9-94BC-6DAC3C726B6C}"/>
          </ac:picMkLst>
        </pc:picChg>
        <pc:picChg chg="del">
          <ac:chgData name="Dalpian, Francine de Souza" userId="88467538-5c5a-478a-aee9-b97efedd9ed0" providerId="ADAL" clId="{B201BA59-9E43-4D92-B96B-631E1EF85994}" dt="2025-03-26T13:06:34.222" v="165" actId="478"/>
          <ac:picMkLst>
            <pc:docMk/>
            <pc:sldMk cId="2905786230" sldId="2147482171"/>
            <ac:picMk id="76" creationId="{C965B407-E566-46BA-129B-6D757C98A904}"/>
          </ac:picMkLst>
        </pc:picChg>
        <pc:picChg chg="del">
          <ac:chgData name="Dalpian, Francine de Souza" userId="88467538-5c5a-478a-aee9-b97efedd9ed0" providerId="ADAL" clId="{B201BA59-9E43-4D92-B96B-631E1EF85994}" dt="2025-03-26T13:06:33.729" v="164" actId="478"/>
          <ac:picMkLst>
            <pc:docMk/>
            <pc:sldMk cId="2905786230" sldId="2147482171"/>
            <ac:picMk id="78" creationId="{645DD998-77E1-ECB9-7667-0C132E5A1AC3}"/>
          </ac:picMkLst>
        </pc:picChg>
        <pc:picChg chg="del">
          <ac:chgData name="Dalpian, Francine de Souza" userId="88467538-5c5a-478a-aee9-b97efedd9ed0" providerId="ADAL" clId="{B201BA59-9E43-4D92-B96B-631E1EF85994}" dt="2025-03-26T13:06:32.971" v="163" actId="478"/>
          <ac:picMkLst>
            <pc:docMk/>
            <pc:sldMk cId="2905786230" sldId="2147482171"/>
            <ac:picMk id="82" creationId="{7904AD12-194B-D143-A63A-83615A9B7EB3}"/>
          </ac:picMkLst>
        </pc:picChg>
        <pc:cxnChg chg="mod">
          <ac:chgData name="Dalpian, Francine de Souza" userId="88467538-5c5a-478a-aee9-b97efedd9ed0" providerId="ADAL" clId="{B201BA59-9E43-4D92-B96B-631E1EF85994}" dt="2025-03-26T13:06:39.263" v="168" actId="1076"/>
          <ac:cxnSpMkLst>
            <pc:docMk/>
            <pc:sldMk cId="2905786230" sldId="2147482171"/>
            <ac:cxnSpMk id="90" creationId="{FD747CAE-25EF-A33D-4C0F-223A400F143F}"/>
          </ac:cxnSpMkLst>
        </pc:cxnChg>
        <pc:cxnChg chg="mod">
          <ac:chgData name="Dalpian, Francine de Souza" userId="88467538-5c5a-478a-aee9-b97efedd9ed0" providerId="ADAL" clId="{B201BA59-9E43-4D92-B96B-631E1EF85994}" dt="2025-03-26T13:06:39.263" v="168" actId="1076"/>
          <ac:cxnSpMkLst>
            <pc:docMk/>
            <pc:sldMk cId="2905786230" sldId="2147482171"/>
            <ac:cxnSpMk id="289" creationId="{B5BD7CB4-AC70-FE73-21C4-0153927C2147}"/>
          </ac:cxnSpMkLst>
        </pc:cxnChg>
        <pc:cxnChg chg="mod">
          <ac:chgData name="Dalpian, Francine de Souza" userId="88467538-5c5a-478a-aee9-b97efedd9ed0" providerId="ADAL" clId="{B201BA59-9E43-4D92-B96B-631E1EF85994}" dt="2025-03-26T13:06:39.263" v="168" actId="1076"/>
          <ac:cxnSpMkLst>
            <pc:docMk/>
            <pc:sldMk cId="2905786230" sldId="2147482171"/>
            <ac:cxnSpMk id="290" creationId="{2AE0527F-0A44-D14F-33DA-981535FF246C}"/>
          </ac:cxnSpMkLst>
        </pc:cxnChg>
        <pc:cxnChg chg="mod">
          <ac:chgData name="Dalpian, Francine de Souza" userId="88467538-5c5a-478a-aee9-b97efedd9ed0" providerId="ADAL" clId="{B201BA59-9E43-4D92-B96B-631E1EF85994}" dt="2025-03-26T13:06:39.263" v="168" actId="1076"/>
          <ac:cxnSpMkLst>
            <pc:docMk/>
            <pc:sldMk cId="2905786230" sldId="2147482171"/>
            <ac:cxnSpMk id="291" creationId="{A30D170E-49FB-1DED-B47C-809644D8FCB6}"/>
          </ac:cxnSpMkLst>
        </pc:cxnChg>
      </pc:sldChg>
      <pc:sldChg chg="modSp mod">
        <pc:chgData name="Dalpian, Francine de Souza" userId="88467538-5c5a-478a-aee9-b97efedd9ed0" providerId="ADAL" clId="{B201BA59-9E43-4D92-B96B-631E1EF85994}" dt="2025-03-26T13:06:58.198" v="177"/>
        <pc:sldMkLst>
          <pc:docMk/>
          <pc:sldMk cId="3234005794" sldId="2147482172"/>
        </pc:sldMkLst>
        <pc:spChg chg="mod">
          <ac:chgData name="Dalpian, Francine de Souza" userId="88467538-5c5a-478a-aee9-b97efedd9ed0" providerId="ADAL" clId="{B201BA59-9E43-4D92-B96B-631E1EF85994}" dt="2025-03-26T13:06:58.198" v="177"/>
          <ac:spMkLst>
            <pc:docMk/>
            <pc:sldMk cId="3234005794" sldId="2147482172"/>
            <ac:spMk id="293" creationId="{297D52BA-FE0B-47A8-51CF-FA65FBD6FA43}"/>
          </ac:spMkLst>
        </pc:spChg>
      </pc:sldChg>
      <pc:sldChg chg="modSp mod">
        <pc:chgData name="Dalpian, Francine de Souza" userId="88467538-5c5a-478a-aee9-b97efedd9ed0" providerId="ADAL" clId="{B201BA59-9E43-4D92-B96B-631E1EF85994}" dt="2025-03-26T13:07:27.041" v="191" actId="207"/>
        <pc:sldMkLst>
          <pc:docMk/>
          <pc:sldMk cId="1325431589" sldId="2147482173"/>
        </pc:sldMkLst>
        <pc:spChg chg="mod">
          <ac:chgData name="Dalpian, Francine de Souza" userId="88467538-5c5a-478a-aee9-b97efedd9ed0" providerId="ADAL" clId="{B201BA59-9E43-4D92-B96B-631E1EF85994}" dt="2025-03-26T13:07:27.041" v="191" actId="207"/>
          <ac:spMkLst>
            <pc:docMk/>
            <pc:sldMk cId="1325431589" sldId="2147482173"/>
            <ac:spMk id="6" creationId="{51ABF611-7550-EE7E-8F42-2B3E6332B0C1}"/>
          </ac:spMkLst>
        </pc:spChg>
      </pc:sldChg>
      <pc:sldChg chg="modSp">
        <pc:chgData name="Dalpian, Francine de Souza" userId="88467538-5c5a-478a-aee9-b97efedd9ed0" providerId="ADAL" clId="{B201BA59-9E43-4D92-B96B-631E1EF85994}" dt="2025-03-26T13:07:41.708" v="192" actId="20577"/>
        <pc:sldMkLst>
          <pc:docMk/>
          <pc:sldMk cId="3298400782" sldId="2147482175"/>
        </pc:sldMkLst>
        <pc:spChg chg="mod">
          <ac:chgData name="Dalpian, Francine de Souza" userId="88467538-5c5a-478a-aee9-b97efedd9ed0" providerId="ADAL" clId="{B201BA59-9E43-4D92-B96B-631E1EF85994}" dt="2025-03-26T13:07:41.708" v="192" actId="20577"/>
          <ac:spMkLst>
            <pc:docMk/>
            <pc:sldMk cId="3298400782" sldId="2147482175"/>
            <ac:spMk id="22" creationId="{CDCBA83A-0927-D704-F294-C4086D6A20B6}"/>
          </ac:spMkLst>
        </pc:spChg>
      </pc:sldChg>
      <pc:sldChg chg="modSp mod">
        <pc:chgData name="Dalpian, Francine de Souza" userId="88467538-5c5a-478a-aee9-b97efedd9ed0" providerId="ADAL" clId="{B201BA59-9E43-4D92-B96B-631E1EF85994}" dt="2025-03-26T13:13:52.756" v="229" actId="1076"/>
        <pc:sldMkLst>
          <pc:docMk/>
          <pc:sldMk cId="1049544513" sldId="2147482176"/>
        </pc:sldMkLst>
        <pc:spChg chg="mod">
          <ac:chgData name="Dalpian, Francine de Souza" userId="88467538-5c5a-478a-aee9-b97efedd9ed0" providerId="ADAL" clId="{B201BA59-9E43-4D92-B96B-631E1EF85994}" dt="2025-03-26T13:13:45.940" v="227" actId="20577"/>
          <ac:spMkLst>
            <pc:docMk/>
            <pc:sldMk cId="1049544513" sldId="2147482176"/>
            <ac:spMk id="2" creationId="{91FE33A9-3A9F-B116-3DC8-64A887FCD6B4}"/>
          </ac:spMkLst>
        </pc:spChg>
        <pc:spChg chg="mod">
          <ac:chgData name="Dalpian, Francine de Souza" userId="88467538-5c5a-478a-aee9-b97efedd9ed0" providerId="ADAL" clId="{B201BA59-9E43-4D92-B96B-631E1EF85994}" dt="2025-03-26T13:13:52.756" v="229" actId="1076"/>
          <ac:spMkLst>
            <pc:docMk/>
            <pc:sldMk cId="1049544513" sldId="2147482176"/>
            <ac:spMk id="76" creationId="{FF07478B-4765-EE95-948D-DE2F09983015}"/>
          </ac:spMkLst>
        </pc:spChg>
      </pc:sldChg>
      <pc:sldChg chg="modSp mod">
        <pc:chgData name="Dalpian, Francine de Souza" userId="88467538-5c5a-478a-aee9-b97efedd9ed0" providerId="ADAL" clId="{B201BA59-9E43-4D92-B96B-631E1EF85994}" dt="2025-03-26T13:14:53.940" v="232"/>
        <pc:sldMkLst>
          <pc:docMk/>
          <pc:sldMk cId="2158933028" sldId="2147482177"/>
        </pc:sldMkLst>
        <pc:spChg chg="mod">
          <ac:chgData name="Dalpian, Francine de Souza" userId="88467538-5c5a-478a-aee9-b97efedd9ed0" providerId="ADAL" clId="{B201BA59-9E43-4D92-B96B-631E1EF85994}" dt="2025-03-26T13:14:49.215" v="231" actId="20577"/>
          <ac:spMkLst>
            <pc:docMk/>
            <pc:sldMk cId="2158933028" sldId="2147482177"/>
            <ac:spMk id="2" creationId="{91FE33A9-3A9F-B116-3DC8-64A887FCD6B4}"/>
          </ac:spMkLst>
        </pc:spChg>
        <pc:spChg chg="mod">
          <ac:chgData name="Dalpian, Francine de Souza" userId="88467538-5c5a-478a-aee9-b97efedd9ed0" providerId="ADAL" clId="{B201BA59-9E43-4D92-B96B-631E1EF85994}" dt="2025-03-26T13:14:53.940" v="232"/>
          <ac:spMkLst>
            <pc:docMk/>
            <pc:sldMk cId="2158933028" sldId="2147482177"/>
            <ac:spMk id="76" creationId="{FF07478B-4765-EE95-948D-DE2F09983015}"/>
          </ac:spMkLst>
        </pc:spChg>
      </pc:sldChg>
      <pc:sldChg chg="modSp mod">
        <pc:chgData name="Dalpian, Francine de Souza" userId="88467538-5c5a-478a-aee9-b97efedd9ed0" providerId="ADAL" clId="{B201BA59-9E43-4D92-B96B-631E1EF85994}" dt="2025-03-26T13:15:34.351" v="235"/>
        <pc:sldMkLst>
          <pc:docMk/>
          <pc:sldMk cId="710939154" sldId="2147482178"/>
        </pc:sldMkLst>
        <pc:spChg chg="mod">
          <ac:chgData name="Dalpian, Francine de Souza" userId="88467538-5c5a-478a-aee9-b97efedd9ed0" providerId="ADAL" clId="{B201BA59-9E43-4D92-B96B-631E1EF85994}" dt="2025-03-26T13:15:31.160" v="234" actId="20577"/>
          <ac:spMkLst>
            <pc:docMk/>
            <pc:sldMk cId="710939154" sldId="2147482178"/>
            <ac:spMk id="2" creationId="{91FE33A9-3A9F-B116-3DC8-64A887FCD6B4}"/>
          </ac:spMkLst>
        </pc:spChg>
        <pc:spChg chg="mod">
          <ac:chgData name="Dalpian, Francine de Souza" userId="88467538-5c5a-478a-aee9-b97efedd9ed0" providerId="ADAL" clId="{B201BA59-9E43-4D92-B96B-631E1EF85994}" dt="2025-03-26T13:15:34.351" v="235"/>
          <ac:spMkLst>
            <pc:docMk/>
            <pc:sldMk cId="710939154" sldId="2147482178"/>
            <ac:spMk id="76" creationId="{FF07478B-4765-EE95-948D-DE2F09983015}"/>
          </ac:spMkLst>
        </pc:spChg>
      </pc:sldChg>
      <pc:sldChg chg="modSp mod">
        <pc:chgData name="Dalpian, Francine de Souza" userId="88467538-5c5a-478a-aee9-b97efedd9ed0" providerId="ADAL" clId="{B201BA59-9E43-4D92-B96B-631E1EF85994}" dt="2025-03-26T13:15:47.262" v="236"/>
        <pc:sldMkLst>
          <pc:docMk/>
          <pc:sldMk cId="2465866005" sldId="2147482179"/>
        </pc:sldMkLst>
        <pc:spChg chg="mod">
          <ac:chgData name="Dalpian, Francine de Souza" userId="88467538-5c5a-478a-aee9-b97efedd9ed0" providerId="ADAL" clId="{B201BA59-9E43-4D92-B96B-631E1EF85994}" dt="2025-03-26T13:15:47.262" v="236"/>
          <ac:spMkLst>
            <pc:docMk/>
            <pc:sldMk cId="2465866005" sldId="2147482179"/>
            <ac:spMk id="76" creationId="{FF07478B-4765-EE95-948D-DE2F09983015}"/>
          </ac:spMkLst>
        </pc:spChg>
      </pc:sldChg>
      <pc:sldChg chg="modSp mod">
        <pc:chgData name="Dalpian, Francine de Souza" userId="88467538-5c5a-478a-aee9-b97efedd9ed0" providerId="ADAL" clId="{B201BA59-9E43-4D92-B96B-631E1EF85994}" dt="2025-03-26T13:18:26.491" v="274" actId="20577"/>
        <pc:sldMkLst>
          <pc:docMk/>
          <pc:sldMk cId="3072806809" sldId="2147482180"/>
        </pc:sldMkLst>
        <pc:spChg chg="mod">
          <ac:chgData name="Dalpian, Francine de Souza" userId="88467538-5c5a-478a-aee9-b97efedd9ed0" providerId="ADAL" clId="{B201BA59-9E43-4D92-B96B-631E1EF85994}" dt="2025-03-26T13:18:26.491" v="274" actId="20577"/>
          <ac:spMkLst>
            <pc:docMk/>
            <pc:sldMk cId="3072806809" sldId="2147482180"/>
            <ac:spMk id="2" creationId="{91FE33A9-3A9F-B116-3DC8-64A887FCD6B4}"/>
          </ac:spMkLst>
        </pc:spChg>
        <pc:spChg chg="mod">
          <ac:chgData name="Dalpian, Francine de Souza" userId="88467538-5c5a-478a-aee9-b97efedd9ed0" providerId="ADAL" clId="{B201BA59-9E43-4D92-B96B-631E1EF85994}" dt="2025-03-26T13:18:21.649" v="272" actId="404"/>
          <ac:spMkLst>
            <pc:docMk/>
            <pc:sldMk cId="3072806809" sldId="2147482180"/>
            <ac:spMk id="76" creationId="{FF07478B-4765-EE95-948D-DE2F09983015}"/>
          </ac:spMkLst>
        </pc:spChg>
      </pc:sldChg>
      <pc:sldChg chg="modSp mod">
        <pc:chgData name="Dalpian, Francine de Souza" userId="88467538-5c5a-478a-aee9-b97efedd9ed0" providerId="ADAL" clId="{B201BA59-9E43-4D92-B96B-631E1EF85994}" dt="2025-03-26T13:20:14.298" v="292" actId="404"/>
        <pc:sldMkLst>
          <pc:docMk/>
          <pc:sldMk cId="3947931859" sldId="2147482181"/>
        </pc:sldMkLst>
        <pc:spChg chg="mod">
          <ac:chgData name="Dalpian, Francine de Souza" userId="88467538-5c5a-478a-aee9-b97efedd9ed0" providerId="ADAL" clId="{B201BA59-9E43-4D92-B96B-631E1EF85994}" dt="2025-03-26T13:20:14.298" v="292" actId="404"/>
          <ac:spMkLst>
            <pc:docMk/>
            <pc:sldMk cId="3947931859" sldId="2147482181"/>
            <ac:spMk id="76" creationId="{FF07478B-4765-EE95-948D-DE2F09983015}"/>
          </ac:spMkLst>
        </pc:spChg>
        <pc:spChg chg="mod">
          <ac:chgData name="Dalpian, Francine de Souza" userId="88467538-5c5a-478a-aee9-b97efedd9ed0" providerId="ADAL" clId="{B201BA59-9E43-4D92-B96B-631E1EF85994}" dt="2025-03-26T13:19:39.130" v="288" actId="20577"/>
          <ac:spMkLst>
            <pc:docMk/>
            <pc:sldMk cId="3947931859" sldId="2147482181"/>
            <ac:spMk id="208" creationId="{AD2850CE-5697-CA4F-5326-22EB490FE408}"/>
          </ac:spMkLst>
        </pc:spChg>
      </pc:sldChg>
      <pc:sldChg chg="modSp mod">
        <pc:chgData name="Dalpian, Francine de Souza" userId="88467538-5c5a-478a-aee9-b97efedd9ed0" providerId="ADAL" clId="{B201BA59-9E43-4D92-B96B-631E1EF85994}" dt="2025-03-26T13:20:32.633" v="295" actId="255"/>
        <pc:sldMkLst>
          <pc:docMk/>
          <pc:sldMk cId="3727472108" sldId="2147482182"/>
        </pc:sldMkLst>
        <pc:spChg chg="mod">
          <ac:chgData name="Dalpian, Francine de Souza" userId="88467538-5c5a-478a-aee9-b97efedd9ed0" providerId="ADAL" clId="{B201BA59-9E43-4D92-B96B-631E1EF85994}" dt="2025-03-26T13:20:32.633" v="295" actId="255"/>
          <ac:spMkLst>
            <pc:docMk/>
            <pc:sldMk cId="3727472108" sldId="2147482182"/>
            <ac:spMk id="76" creationId="{FF07478B-4765-EE95-948D-DE2F09983015}"/>
          </ac:spMkLst>
        </pc:spChg>
      </pc:sldChg>
      <pc:sldChg chg="modSp mod">
        <pc:chgData name="Dalpian, Francine de Souza" userId="88467538-5c5a-478a-aee9-b97efedd9ed0" providerId="ADAL" clId="{B201BA59-9E43-4D92-B96B-631E1EF85994}" dt="2025-03-26T13:20:48.444" v="297" actId="404"/>
        <pc:sldMkLst>
          <pc:docMk/>
          <pc:sldMk cId="2627300177" sldId="2147482183"/>
        </pc:sldMkLst>
        <pc:spChg chg="mod">
          <ac:chgData name="Dalpian, Francine de Souza" userId="88467538-5c5a-478a-aee9-b97efedd9ed0" providerId="ADAL" clId="{B201BA59-9E43-4D92-B96B-631E1EF85994}" dt="2025-03-26T13:20:48.444" v="297" actId="404"/>
          <ac:spMkLst>
            <pc:docMk/>
            <pc:sldMk cId="2627300177" sldId="2147482183"/>
            <ac:spMk id="76" creationId="{FF07478B-4765-EE95-948D-DE2F09983015}"/>
          </ac:spMkLst>
        </pc:spChg>
      </pc:sldChg>
      <pc:sldChg chg="modSp mod">
        <pc:chgData name="Dalpian, Francine de Souza" userId="88467538-5c5a-478a-aee9-b97efedd9ed0" providerId="ADAL" clId="{B201BA59-9E43-4D92-B96B-631E1EF85994}" dt="2025-03-26T13:22:18.350" v="318" actId="404"/>
        <pc:sldMkLst>
          <pc:docMk/>
          <pc:sldMk cId="3048956019" sldId="2147482184"/>
        </pc:sldMkLst>
        <pc:spChg chg="mod">
          <ac:chgData name="Dalpian, Francine de Souza" userId="88467538-5c5a-478a-aee9-b97efedd9ed0" providerId="ADAL" clId="{B201BA59-9E43-4D92-B96B-631E1EF85994}" dt="2025-03-26T13:22:18.350" v="318" actId="404"/>
          <ac:spMkLst>
            <pc:docMk/>
            <pc:sldMk cId="3048956019" sldId="2147482184"/>
            <ac:spMk id="76" creationId="{FF07478B-4765-EE95-948D-DE2F09983015}"/>
          </ac:spMkLst>
        </pc:spChg>
        <pc:spChg chg="mod">
          <ac:chgData name="Dalpian, Francine de Souza" userId="88467538-5c5a-478a-aee9-b97efedd9ed0" providerId="ADAL" clId="{B201BA59-9E43-4D92-B96B-631E1EF85994}" dt="2025-03-26T13:21:36.937" v="310"/>
          <ac:spMkLst>
            <pc:docMk/>
            <pc:sldMk cId="3048956019" sldId="2147482184"/>
            <ac:spMk id="89" creationId="{4643D039-664B-58B7-CF3C-91CE6385F16E}"/>
          </ac:spMkLst>
        </pc:spChg>
        <pc:spChg chg="mod">
          <ac:chgData name="Dalpian, Francine de Souza" userId="88467538-5c5a-478a-aee9-b97efedd9ed0" providerId="ADAL" clId="{B201BA59-9E43-4D92-B96B-631E1EF85994}" dt="2025-03-26T13:21:42.990" v="312" actId="20577"/>
          <ac:spMkLst>
            <pc:docMk/>
            <pc:sldMk cId="3048956019" sldId="2147482184"/>
            <ac:spMk id="93" creationId="{CE40C272-C629-05F4-1E9A-CB68623F8C30}"/>
          </ac:spMkLst>
        </pc:spChg>
      </pc:sldChg>
      <pc:sldChg chg="modSp mod">
        <pc:chgData name="Dalpian, Francine de Souza" userId="88467538-5c5a-478a-aee9-b97efedd9ed0" providerId="ADAL" clId="{B201BA59-9E43-4D92-B96B-631E1EF85994}" dt="2025-03-26T13:23:47.732" v="335" actId="1076"/>
        <pc:sldMkLst>
          <pc:docMk/>
          <pc:sldMk cId="361550366" sldId="2147482186"/>
        </pc:sldMkLst>
        <pc:spChg chg="mod">
          <ac:chgData name="Dalpian, Francine de Souza" userId="88467538-5c5a-478a-aee9-b97efedd9ed0" providerId="ADAL" clId="{B201BA59-9E43-4D92-B96B-631E1EF85994}" dt="2025-03-26T13:23:47.732" v="335" actId="1076"/>
          <ac:spMkLst>
            <pc:docMk/>
            <pc:sldMk cId="361550366" sldId="2147482186"/>
            <ac:spMk id="76" creationId="{FF07478B-4765-EE95-948D-DE2F09983015}"/>
          </ac:spMkLst>
        </pc:spChg>
      </pc:sldChg>
      <pc:sldChg chg="modSp mod">
        <pc:chgData name="Dalpian, Francine de Souza" userId="88467538-5c5a-478a-aee9-b97efedd9ed0" providerId="ADAL" clId="{B201BA59-9E43-4D92-B96B-631E1EF85994}" dt="2025-03-26T13:26:46.226" v="345" actId="20577"/>
        <pc:sldMkLst>
          <pc:docMk/>
          <pc:sldMk cId="3096473112" sldId="2147482187"/>
        </pc:sldMkLst>
        <pc:spChg chg="mod">
          <ac:chgData name="Dalpian, Francine de Souza" userId="88467538-5c5a-478a-aee9-b97efedd9ed0" providerId="ADAL" clId="{B201BA59-9E43-4D92-B96B-631E1EF85994}" dt="2025-03-26T13:26:46.226" v="345" actId="20577"/>
          <ac:spMkLst>
            <pc:docMk/>
            <pc:sldMk cId="3096473112" sldId="2147482187"/>
            <ac:spMk id="24" creationId="{4B397BEA-51C8-E41B-7C00-F27B861574F2}"/>
          </ac:spMkLst>
        </pc:spChg>
        <pc:spChg chg="mod">
          <ac:chgData name="Dalpian, Francine de Souza" userId="88467538-5c5a-478a-aee9-b97efedd9ed0" providerId="ADAL" clId="{B201BA59-9E43-4D92-B96B-631E1EF85994}" dt="2025-03-26T13:25:21.407" v="338" actId="20577"/>
          <ac:spMkLst>
            <pc:docMk/>
            <pc:sldMk cId="3096473112" sldId="2147482187"/>
            <ac:spMk id="31" creationId="{57BC7F17-3401-72E3-C6DF-726CD6672E93}"/>
          </ac:spMkLst>
        </pc:spChg>
        <pc:spChg chg="mod">
          <ac:chgData name="Dalpian, Francine de Souza" userId="88467538-5c5a-478a-aee9-b97efedd9ed0" providerId="ADAL" clId="{B201BA59-9E43-4D92-B96B-631E1EF85994}" dt="2025-03-26T13:26:42.060" v="343" actId="948"/>
          <ac:spMkLst>
            <pc:docMk/>
            <pc:sldMk cId="3096473112" sldId="2147482187"/>
            <ac:spMk id="76" creationId="{FF07478B-4765-EE95-948D-DE2F09983015}"/>
          </ac:spMkLst>
        </pc:spChg>
      </pc:sldChg>
      <pc:sldChg chg="modSp mod">
        <pc:chgData name="Dalpian, Francine de Souza" userId="88467538-5c5a-478a-aee9-b97efedd9ed0" providerId="ADAL" clId="{B201BA59-9E43-4D92-B96B-631E1EF85994}" dt="2025-03-26T13:29:53.550" v="439" actId="1076"/>
        <pc:sldMkLst>
          <pc:docMk/>
          <pc:sldMk cId="3491543834" sldId="2147482188"/>
        </pc:sldMkLst>
        <pc:spChg chg="mod">
          <ac:chgData name="Dalpian, Francine de Souza" userId="88467538-5c5a-478a-aee9-b97efedd9ed0" providerId="ADAL" clId="{B201BA59-9E43-4D92-B96B-631E1EF85994}" dt="2025-03-26T13:27:24.601" v="352" actId="20577"/>
          <ac:spMkLst>
            <pc:docMk/>
            <pc:sldMk cId="3491543834" sldId="2147482188"/>
            <ac:spMk id="7" creationId="{D16F0FFC-0A2F-2130-C4A0-D3673A4E03B0}"/>
          </ac:spMkLst>
        </pc:spChg>
        <pc:spChg chg="mod">
          <ac:chgData name="Dalpian, Francine de Souza" userId="88467538-5c5a-478a-aee9-b97efedd9ed0" providerId="ADAL" clId="{B201BA59-9E43-4D92-B96B-631E1EF85994}" dt="2025-03-26T13:27:07.962" v="349" actId="20577"/>
          <ac:spMkLst>
            <pc:docMk/>
            <pc:sldMk cId="3491543834" sldId="2147482188"/>
            <ac:spMk id="11" creationId="{AB5C3284-8A1C-9FAA-553B-BE7160E24194}"/>
          </ac:spMkLst>
        </pc:spChg>
        <pc:spChg chg="mod">
          <ac:chgData name="Dalpian, Francine de Souza" userId="88467538-5c5a-478a-aee9-b97efedd9ed0" providerId="ADAL" clId="{B201BA59-9E43-4D92-B96B-631E1EF85994}" dt="2025-03-26T13:29:53.550" v="439" actId="1076"/>
          <ac:spMkLst>
            <pc:docMk/>
            <pc:sldMk cId="3491543834" sldId="2147482188"/>
            <ac:spMk id="76" creationId="{FF07478B-4765-EE95-948D-DE2F09983015}"/>
          </ac:spMkLst>
        </pc:spChg>
      </pc:sldChg>
      <pc:sldChg chg="addSp delSp modSp mod">
        <pc:chgData name="Dalpian, Francine de Souza" userId="88467538-5c5a-478a-aee9-b97efedd9ed0" providerId="ADAL" clId="{B201BA59-9E43-4D92-B96B-631E1EF85994}" dt="2025-03-26T13:45:11.092" v="453" actId="113"/>
        <pc:sldMkLst>
          <pc:docMk/>
          <pc:sldMk cId="982437273" sldId="2147482190"/>
        </pc:sldMkLst>
        <pc:spChg chg="add del">
          <ac:chgData name="Dalpian, Francine de Souza" userId="88467538-5c5a-478a-aee9-b97efedd9ed0" providerId="ADAL" clId="{B201BA59-9E43-4D92-B96B-631E1EF85994}" dt="2025-03-26T13:44:31.539" v="441" actId="22"/>
          <ac:spMkLst>
            <pc:docMk/>
            <pc:sldMk cId="982437273" sldId="2147482190"/>
            <ac:spMk id="3" creationId="{9EC23B6F-4C8F-877B-B20F-C13DD304FB3D}"/>
          </ac:spMkLst>
        </pc:spChg>
        <pc:spChg chg="add mod">
          <ac:chgData name="Dalpian, Francine de Souza" userId="88467538-5c5a-478a-aee9-b97efedd9ed0" providerId="ADAL" clId="{B201BA59-9E43-4D92-B96B-631E1EF85994}" dt="2025-03-26T13:44:44.204" v="448" actId="1076"/>
          <ac:spMkLst>
            <pc:docMk/>
            <pc:sldMk cId="982437273" sldId="2147482190"/>
            <ac:spMk id="5" creationId="{DE52CDE4-C164-398F-7569-2C868EAA3030}"/>
          </ac:spMkLst>
        </pc:spChg>
        <pc:spChg chg="mod">
          <ac:chgData name="Dalpian, Francine de Souza" userId="88467538-5c5a-478a-aee9-b97efedd9ed0" providerId="ADAL" clId="{B201BA59-9E43-4D92-B96B-631E1EF85994}" dt="2025-03-26T13:45:11.092" v="453" actId="113"/>
          <ac:spMkLst>
            <pc:docMk/>
            <pc:sldMk cId="982437273" sldId="2147482190"/>
            <ac:spMk id="23" creationId="{906F5460-94DD-AFA6-0B03-8A8D3E897FDA}"/>
          </ac:spMkLst>
        </pc:spChg>
      </pc:sldChg>
      <pc:sldChg chg="modSp mod">
        <pc:chgData name="Dalpian, Francine de Souza" userId="88467538-5c5a-478a-aee9-b97efedd9ed0" providerId="ADAL" clId="{B201BA59-9E43-4D92-B96B-631E1EF85994}" dt="2025-03-26T13:45:43.638" v="454" actId="6549"/>
        <pc:sldMkLst>
          <pc:docMk/>
          <pc:sldMk cId="245847078" sldId="2147482191"/>
        </pc:sldMkLst>
        <pc:spChg chg="mod">
          <ac:chgData name="Dalpian, Francine de Souza" userId="88467538-5c5a-478a-aee9-b97efedd9ed0" providerId="ADAL" clId="{B201BA59-9E43-4D92-B96B-631E1EF85994}" dt="2025-03-26T13:45:43.638" v="454" actId="6549"/>
          <ac:spMkLst>
            <pc:docMk/>
            <pc:sldMk cId="245847078" sldId="2147482191"/>
            <ac:spMk id="25" creationId="{DDA15B73-F39D-05C0-7A5D-072DD01B21B5}"/>
          </ac:spMkLst>
        </pc:spChg>
      </pc:sldChg>
      <pc:sldChg chg="addSp modSp mod">
        <pc:chgData name="Dalpian, Francine de Souza" userId="88467538-5c5a-478a-aee9-b97efedd9ed0" providerId="ADAL" clId="{B201BA59-9E43-4D92-B96B-631E1EF85994}" dt="2025-03-26T13:47:31.006" v="460"/>
        <pc:sldMkLst>
          <pc:docMk/>
          <pc:sldMk cId="3809680418" sldId="2147482192"/>
        </pc:sldMkLst>
        <pc:spChg chg="add mod">
          <ac:chgData name="Dalpian, Francine de Souza" userId="88467538-5c5a-478a-aee9-b97efedd9ed0" providerId="ADAL" clId="{B201BA59-9E43-4D92-B96B-631E1EF85994}" dt="2025-03-26T13:47:09.534" v="457" actId="255"/>
          <ac:spMkLst>
            <pc:docMk/>
            <pc:sldMk cId="3809680418" sldId="2147482192"/>
            <ac:spMk id="3" creationId="{BE89E722-17B5-230D-B561-1106E1BAF58C}"/>
          </ac:spMkLst>
        </pc:spChg>
        <pc:spChg chg="mod">
          <ac:chgData name="Dalpian, Francine de Souza" userId="88467538-5c5a-478a-aee9-b97efedd9ed0" providerId="ADAL" clId="{B201BA59-9E43-4D92-B96B-631E1EF85994}" dt="2025-03-26T13:47:31.006" v="460"/>
          <ac:spMkLst>
            <pc:docMk/>
            <pc:sldMk cId="3809680418" sldId="2147482192"/>
            <ac:spMk id="28" creationId="{376A8FCE-177C-756D-055E-ED8C2F07B4B6}"/>
          </ac:spMkLst>
        </pc:spChg>
      </pc:sldChg>
      <pc:sldChg chg="addSp modSp mod">
        <pc:chgData name="Dalpian, Francine de Souza" userId="88467538-5c5a-478a-aee9-b97efedd9ed0" providerId="ADAL" clId="{B201BA59-9E43-4D92-B96B-631E1EF85994}" dt="2025-03-26T13:48:37.297" v="465"/>
        <pc:sldMkLst>
          <pc:docMk/>
          <pc:sldMk cId="334650020" sldId="2147482193"/>
        </pc:sldMkLst>
        <pc:spChg chg="add mod">
          <ac:chgData name="Dalpian, Francine de Souza" userId="88467538-5c5a-478a-aee9-b97efedd9ed0" providerId="ADAL" clId="{B201BA59-9E43-4D92-B96B-631E1EF85994}" dt="2025-03-26T13:48:22.895" v="464"/>
          <ac:spMkLst>
            <pc:docMk/>
            <pc:sldMk cId="334650020" sldId="2147482193"/>
            <ac:spMk id="2" creationId="{DD44823D-417F-FCF7-746F-66536CE86999}"/>
          </ac:spMkLst>
        </pc:spChg>
        <pc:spChg chg="mod">
          <ac:chgData name="Dalpian, Francine de Souza" userId="88467538-5c5a-478a-aee9-b97efedd9ed0" providerId="ADAL" clId="{B201BA59-9E43-4D92-B96B-631E1EF85994}" dt="2025-03-26T13:48:37.297" v="465"/>
          <ac:spMkLst>
            <pc:docMk/>
            <pc:sldMk cId="334650020" sldId="2147482193"/>
            <ac:spMk id="152" creationId="{060FC072-28BA-888A-6BE9-13E7135647CE}"/>
          </ac:spMkLst>
        </pc:spChg>
      </pc:sldChg>
      <pc:sldChg chg="addSp modSp mod">
        <pc:chgData name="Dalpian, Francine de Souza" userId="88467538-5c5a-478a-aee9-b97efedd9ed0" providerId="ADAL" clId="{B201BA59-9E43-4D92-B96B-631E1EF85994}" dt="2025-03-26T13:48:48.978" v="468"/>
        <pc:sldMkLst>
          <pc:docMk/>
          <pc:sldMk cId="206737247" sldId="2147482194"/>
        </pc:sldMkLst>
        <pc:spChg chg="add mod">
          <ac:chgData name="Dalpian, Francine de Souza" userId="88467538-5c5a-478a-aee9-b97efedd9ed0" providerId="ADAL" clId="{B201BA59-9E43-4D92-B96B-631E1EF85994}" dt="2025-03-26T13:48:20.404" v="463" actId="1076"/>
          <ac:spMkLst>
            <pc:docMk/>
            <pc:sldMk cId="206737247" sldId="2147482194"/>
            <ac:spMk id="3" creationId="{D7B5C7F4-DEFA-1E3D-6491-237EEE26A190}"/>
          </ac:spMkLst>
        </pc:spChg>
        <pc:spChg chg="mod">
          <ac:chgData name="Dalpian, Francine de Souza" userId="88467538-5c5a-478a-aee9-b97efedd9ed0" providerId="ADAL" clId="{B201BA59-9E43-4D92-B96B-631E1EF85994}" dt="2025-03-26T13:48:48.978" v="468"/>
          <ac:spMkLst>
            <pc:docMk/>
            <pc:sldMk cId="206737247" sldId="2147482194"/>
            <ac:spMk id="149" creationId="{7EA1C3F7-A7F3-C7F2-77AE-D56E8B17B2FD}"/>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10.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3131E8-FB12-410D-BF61-66026F4B99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3F84DA3-B4E6-4214-A070-882C7BF7CE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FD0D9C-4FB5-4727-9E3D-4B02106E0BF8}" type="datetimeFigureOut">
              <a:rPr lang="en-US" smtClean="0"/>
              <a:t>3/26/2025</a:t>
            </a:fld>
            <a:endParaRPr lang="en-US"/>
          </a:p>
        </p:txBody>
      </p:sp>
      <p:sp>
        <p:nvSpPr>
          <p:cNvPr id="4" name="Footer Placeholder 3">
            <a:extLst>
              <a:ext uri="{FF2B5EF4-FFF2-40B4-BE49-F238E27FC236}">
                <a16:creationId xmlns:a16="http://schemas.microsoft.com/office/drawing/2014/main" id="{10B9E54A-6E6E-45BD-A700-6E2757729E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C70E95B-A9AE-4EB9-81E6-ECFE9C38ED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395E8E-A04D-4A46-9BA0-C3F696754EF8}" type="slidenum">
              <a:rPr lang="en-US" smtClean="0"/>
              <a:t>‹nº›</a:t>
            </a:fld>
            <a:endParaRPr lang="en-US"/>
          </a:p>
        </p:txBody>
      </p:sp>
    </p:spTree>
    <p:custDataLst>
      <p:tags r:id="rId2"/>
    </p:custDataLst>
    <p:extLst>
      <p:ext uri="{BB962C8B-B14F-4D97-AF65-F5344CB8AC3E}">
        <p14:creationId xmlns:p14="http://schemas.microsoft.com/office/powerpoint/2010/main" val="2858700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203200"/>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1"/>
            <a:ext cx="2971800" cy="203200"/>
          </a:xfrm>
          <a:prstGeom prst="rect">
            <a:avLst/>
          </a:prstGeom>
        </p:spPr>
        <p:txBody>
          <a:bodyPr vert="horz" lIns="91440" tIns="45720" rIns="91440" bIns="45720" rtlCol="0"/>
          <a:lstStyle>
            <a:lvl1pPr algn="r">
              <a:defRPr sz="800"/>
            </a:lvl1pPr>
          </a:lstStyle>
          <a:p>
            <a:fld id="{8336942B-E6A5-475C-AB1E-005DE3D92BF2}" type="datetimeFigureOut">
              <a:rPr lang="en-GB" smtClean="0"/>
              <a:pPr/>
              <a:t>26/03/2025</a:t>
            </a:fld>
            <a:endParaRPr lang="en-GB"/>
          </a:p>
        </p:txBody>
      </p:sp>
      <p:sp>
        <p:nvSpPr>
          <p:cNvPr id="4" name="Slide Image Placeholder 3"/>
          <p:cNvSpPr>
            <a:spLocks noGrp="1" noRot="1" noChangeAspect="1"/>
          </p:cNvSpPr>
          <p:nvPr>
            <p:ph type="sldImg" idx="2"/>
          </p:nvPr>
        </p:nvSpPr>
        <p:spPr>
          <a:xfrm>
            <a:off x="850498" y="299584"/>
            <a:ext cx="5157004" cy="2900816"/>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16114" y="3296783"/>
            <a:ext cx="6625772" cy="5629503"/>
          </a:xfrm>
          <a:prstGeom prst="rect">
            <a:avLst/>
          </a:prstGeom>
        </p:spPr>
        <p:txBody>
          <a:bodyPr vert="horz" lIns="0" tIns="0" rIns="0" bIns="0" numCol="1" spcCol="3600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69829"/>
            <a:ext cx="2971800" cy="174171"/>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8969829"/>
            <a:ext cx="2971800" cy="174171"/>
          </a:xfrm>
          <a:prstGeom prst="rect">
            <a:avLst/>
          </a:prstGeom>
        </p:spPr>
        <p:txBody>
          <a:bodyPr vert="horz" lIns="91440" tIns="45720" rIns="91440" bIns="45720" rtlCol="0" anchor="b"/>
          <a:lstStyle>
            <a:lvl1pPr algn="r">
              <a:defRPr sz="800"/>
            </a:lvl1pPr>
          </a:lstStyle>
          <a:p>
            <a:fld id="{48857A81-DEF9-4B57-AC08-20326D7F815B}" type="slidenum">
              <a:rPr lang="en-GB" smtClean="0"/>
              <a:pPr/>
              <a:t>‹nº›</a:t>
            </a:fld>
            <a:endParaRPr lang="en-GB"/>
          </a:p>
        </p:txBody>
      </p:sp>
    </p:spTree>
    <p:extLst>
      <p:ext uri="{BB962C8B-B14F-4D97-AF65-F5344CB8AC3E}">
        <p14:creationId xmlns:p14="http://schemas.microsoft.com/office/powerpoint/2010/main" val="187597517"/>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200"/>
      </a:spcAft>
      <a:buFont typeface="Arial" panose="020B0604020202020204" pitchFamily="34" charset="0"/>
      <a:buNone/>
      <a:defRPr sz="1000" kern="1200">
        <a:solidFill>
          <a:schemeClr val="tx1"/>
        </a:solidFill>
        <a:latin typeface="+mn-lt"/>
        <a:ea typeface="+mn-ea"/>
        <a:cs typeface="+mn-cs"/>
      </a:defRPr>
    </a:lvl1pPr>
    <a:lvl2pPr marL="252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2pPr>
    <a:lvl3pPr marL="396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3pPr>
    <a:lvl4pPr marL="540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4pPr>
    <a:lvl5pPr marL="684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a:t>
            </a:fld>
            <a:endParaRPr lang="en-GB"/>
          </a:p>
        </p:txBody>
      </p:sp>
    </p:spTree>
    <p:extLst>
      <p:ext uri="{BB962C8B-B14F-4D97-AF65-F5344CB8AC3E}">
        <p14:creationId xmlns:p14="http://schemas.microsoft.com/office/powerpoint/2010/main" val="3990637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1</a:t>
            </a:fld>
            <a:endParaRPr lang="en-GB"/>
          </a:p>
        </p:txBody>
      </p:sp>
    </p:spTree>
    <p:extLst>
      <p:ext uri="{BB962C8B-B14F-4D97-AF65-F5344CB8AC3E}">
        <p14:creationId xmlns:p14="http://schemas.microsoft.com/office/powerpoint/2010/main" val="2259503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2</a:t>
            </a:fld>
            <a:endParaRPr lang="en-GB"/>
          </a:p>
        </p:txBody>
      </p:sp>
    </p:spTree>
    <p:extLst>
      <p:ext uri="{BB962C8B-B14F-4D97-AF65-F5344CB8AC3E}">
        <p14:creationId xmlns:p14="http://schemas.microsoft.com/office/powerpoint/2010/main" val="3184792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3</a:t>
            </a:fld>
            <a:endParaRPr lang="en-GB"/>
          </a:p>
        </p:txBody>
      </p:sp>
    </p:spTree>
    <p:extLst>
      <p:ext uri="{BB962C8B-B14F-4D97-AF65-F5344CB8AC3E}">
        <p14:creationId xmlns:p14="http://schemas.microsoft.com/office/powerpoint/2010/main" val="306464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4</a:t>
            </a:fld>
            <a:endParaRPr lang="en-GB"/>
          </a:p>
        </p:txBody>
      </p:sp>
    </p:spTree>
    <p:extLst>
      <p:ext uri="{BB962C8B-B14F-4D97-AF65-F5344CB8AC3E}">
        <p14:creationId xmlns:p14="http://schemas.microsoft.com/office/powerpoint/2010/main" val="38740802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5</a:t>
            </a:fld>
            <a:endParaRPr lang="en-GB"/>
          </a:p>
        </p:txBody>
      </p:sp>
    </p:spTree>
    <p:extLst>
      <p:ext uri="{BB962C8B-B14F-4D97-AF65-F5344CB8AC3E}">
        <p14:creationId xmlns:p14="http://schemas.microsoft.com/office/powerpoint/2010/main" val="3835646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6</a:t>
            </a:fld>
            <a:endParaRPr lang="en-GB"/>
          </a:p>
        </p:txBody>
      </p:sp>
    </p:spTree>
    <p:extLst>
      <p:ext uri="{BB962C8B-B14F-4D97-AF65-F5344CB8AC3E}">
        <p14:creationId xmlns:p14="http://schemas.microsoft.com/office/powerpoint/2010/main" val="941610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7</a:t>
            </a:fld>
            <a:endParaRPr lang="en-GB"/>
          </a:p>
        </p:txBody>
      </p:sp>
    </p:spTree>
    <p:extLst>
      <p:ext uri="{BB962C8B-B14F-4D97-AF65-F5344CB8AC3E}">
        <p14:creationId xmlns:p14="http://schemas.microsoft.com/office/powerpoint/2010/main" val="2346814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8</a:t>
            </a:fld>
            <a:endParaRPr lang="en-GB"/>
          </a:p>
        </p:txBody>
      </p:sp>
    </p:spTree>
    <p:extLst>
      <p:ext uri="{BB962C8B-B14F-4D97-AF65-F5344CB8AC3E}">
        <p14:creationId xmlns:p14="http://schemas.microsoft.com/office/powerpoint/2010/main" val="3785430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9</a:t>
            </a:fld>
            <a:endParaRPr lang="en-GB"/>
          </a:p>
        </p:txBody>
      </p:sp>
    </p:spTree>
    <p:extLst>
      <p:ext uri="{BB962C8B-B14F-4D97-AF65-F5344CB8AC3E}">
        <p14:creationId xmlns:p14="http://schemas.microsoft.com/office/powerpoint/2010/main" val="316561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0</a:t>
            </a:fld>
            <a:endParaRPr lang="en-GB"/>
          </a:p>
        </p:txBody>
      </p:sp>
    </p:spTree>
    <p:extLst>
      <p:ext uri="{BB962C8B-B14F-4D97-AF65-F5344CB8AC3E}">
        <p14:creationId xmlns:p14="http://schemas.microsoft.com/office/powerpoint/2010/main" val="3003813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a:t>
            </a:fld>
            <a:endParaRPr lang="en-GB"/>
          </a:p>
        </p:txBody>
      </p:sp>
    </p:spTree>
    <p:extLst>
      <p:ext uri="{BB962C8B-B14F-4D97-AF65-F5344CB8AC3E}">
        <p14:creationId xmlns:p14="http://schemas.microsoft.com/office/powerpoint/2010/main" val="27451813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1</a:t>
            </a:fld>
            <a:endParaRPr lang="en-GB"/>
          </a:p>
        </p:txBody>
      </p:sp>
    </p:spTree>
    <p:extLst>
      <p:ext uri="{BB962C8B-B14F-4D97-AF65-F5344CB8AC3E}">
        <p14:creationId xmlns:p14="http://schemas.microsoft.com/office/powerpoint/2010/main" val="536527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r>
              <a:rPr lang="en-US" sz="1000" dirty="0"/>
              <a:t>Review slide as stated.</a:t>
            </a:r>
          </a:p>
          <a:p>
            <a:endParaRPr lang="en-US" sz="1000" dirty="0"/>
          </a:p>
          <a:p>
            <a:r>
              <a:rPr lang="en-US" sz="1000" dirty="0"/>
              <a:t>E8 and D7</a:t>
            </a:r>
          </a:p>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2</a:t>
            </a:fld>
            <a:endParaRPr lang="en-GB"/>
          </a:p>
        </p:txBody>
      </p:sp>
    </p:spTree>
    <p:extLst>
      <p:ext uri="{BB962C8B-B14F-4D97-AF65-F5344CB8AC3E}">
        <p14:creationId xmlns:p14="http://schemas.microsoft.com/office/powerpoint/2010/main" val="1229740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3</a:t>
            </a:fld>
            <a:endParaRPr lang="en-GB"/>
          </a:p>
        </p:txBody>
      </p:sp>
    </p:spTree>
    <p:extLst>
      <p:ext uri="{BB962C8B-B14F-4D97-AF65-F5344CB8AC3E}">
        <p14:creationId xmlns:p14="http://schemas.microsoft.com/office/powerpoint/2010/main" val="3372330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4</a:t>
            </a:fld>
            <a:endParaRPr lang="en-GB"/>
          </a:p>
        </p:txBody>
      </p:sp>
    </p:spTree>
    <p:extLst>
      <p:ext uri="{BB962C8B-B14F-4D97-AF65-F5344CB8AC3E}">
        <p14:creationId xmlns:p14="http://schemas.microsoft.com/office/powerpoint/2010/main" val="913423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5</a:t>
            </a:fld>
            <a:endParaRPr lang="en-GB"/>
          </a:p>
        </p:txBody>
      </p:sp>
    </p:spTree>
    <p:extLst>
      <p:ext uri="{BB962C8B-B14F-4D97-AF65-F5344CB8AC3E}">
        <p14:creationId xmlns:p14="http://schemas.microsoft.com/office/powerpoint/2010/main" val="7397381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6</a:t>
            </a:fld>
            <a:endParaRPr lang="en-GB"/>
          </a:p>
        </p:txBody>
      </p:sp>
    </p:spTree>
    <p:extLst>
      <p:ext uri="{BB962C8B-B14F-4D97-AF65-F5344CB8AC3E}">
        <p14:creationId xmlns:p14="http://schemas.microsoft.com/office/powerpoint/2010/main" val="3686443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7</a:t>
            </a:fld>
            <a:endParaRPr lang="en-GB"/>
          </a:p>
        </p:txBody>
      </p:sp>
    </p:spTree>
    <p:extLst>
      <p:ext uri="{BB962C8B-B14F-4D97-AF65-F5344CB8AC3E}">
        <p14:creationId xmlns:p14="http://schemas.microsoft.com/office/powerpoint/2010/main" val="19793743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8</a:t>
            </a:fld>
            <a:endParaRPr lang="en-GB"/>
          </a:p>
        </p:txBody>
      </p:sp>
    </p:spTree>
    <p:extLst>
      <p:ext uri="{BB962C8B-B14F-4D97-AF65-F5344CB8AC3E}">
        <p14:creationId xmlns:p14="http://schemas.microsoft.com/office/powerpoint/2010/main" val="393791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r>
              <a:rPr lang="en-US" sz="700" dirty="0"/>
              <a:t>The complement pathway serves as a bridge between the innate and adaptive immune systems. Specifically, complement proteins are critical to modulating cytokine profiles in antigen-presenting cells for innate immunity while forming direct interactions with receptors on </a:t>
            </a:r>
            <a:br>
              <a:rPr lang="en-US" sz="700" dirty="0"/>
            </a:br>
            <a:r>
              <a:rPr lang="en-US" sz="700" dirty="0"/>
              <a:t>T cells for adaptive immunity.</a:t>
            </a:r>
            <a:r>
              <a:rPr lang="en-US" sz="700" baseline="30000" dirty="0"/>
              <a:t>1</a:t>
            </a:r>
            <a:endParaRPr lang="en-US" sz="700" b="1" dirty="0"/>
          </a:p>
          <a:p>
            <a:pPr marL="0" indent="0">
              <a:buNone/>
            </a:pPr>
            <a:r>
              <a:rPr lang="en-US" sz="700" b="1" dirty="0"/>
              <a:t>Complement: Historical Perspective (Background intended for MSL knowledge only)</a:t>
            </a:r>
          </a:p>
          <a:p>
            <a:r>
              <a:rPr lang="en-US" sz="700" dirty="0"/>
              <a:t>Complement was discovered at the end of the nineteenth century and was described as a “factor” or “principle” able to induce bacterial lysis.</a:t>
            </a:r>
            <a:r>
              <a:rPr lang="en-US" sz="700" baseline="30000" dirty="0"/>
              <a:t>2</a:t>
            </a:r>
            <a:r>
              <a:rPr lang="en-US" sz="700" dirty="0"/>
              <a:t> The historical name for this factor was ‘alexin’ (Greek: “to ward off”).</a:t>
            </a:r>
            <a:r>
              <a:rPr lang="en-US" sz="700" baseline="30000" dirty="0"/>
              <a:t>3</a:t>
            </a:r>
            <a:r>
              <a:rPr lang="en-US" sz="700" dirty="0"/>
              <a:t> Over the ensuing decades:</a:t>
            </a:r>
            <a:endParaRPr lang="en-US" sz="700" baseline="30000" dirty="0"/>
          </a:p>
          <a:p>
            <a:pPr marL="538163" lvl="2" indent="-171450">
              <a:buFont typeface="Arial" panose="020B0604020202020204" pitchFamily="34" charset="0"/>
              <a:buChar char="•"/>
            </a:pPr>
            <a:r>
              <a:rPr lang="en-US" sz="700" dirty="0"/>
              <a:t>Renaming of alexin as complement</a:t>
            </a:r>
            <a:r>
              <a:rPr lang="en-US" sz="700" baseline="30000" dirty="0"/>
              <a:t>2,3</a:t>
            </a:r>
            <a:endParaRPr lang="en-US" sz="700" dirty="0"/>
          </a:p>
          <a:p>
            <a:pPr marL="538163" lvl="2" indent="-171450">
              <a:buFont typeface="Arial" panose="020B0604020202020204" pitchFamily="34" charset="0"/>
              <a:buChar char="•"/>
            </a:pPr>
            <a:r>
              <a:rPr lang="en-US" sz="700" dirty="0"/>
              <a:t>Demonstration that complement is not 1 single factor, but many</a:t>
            </a:r>
            <a:r>
              <a:rPr lang="en-US" sz="700" baseline="30000" dirty="0"/>
              <a:t>2,3</a:t>
            </a:r>
            <a:r>
              <a:rPr lang="en-US" sz="700" dirty="0"/>
              <a:t> </a:t>
            </a:r>
          </a:p>
          <a:p>
            <a:pPr marL="538163" lvl="2" indent="-171450">
              <a:buFont typeface="Arial" panose="020B0604020202020204" pitchFamily="34" charset="0"/>
              <a:buChar char="•"/>
            </a:pPr>
            <a:r>
              <a:rPr lang="en-US" sz="700" dirty="0"/>
              <a:t>Characterization of complement factors as proteins</a:t>
            </a:r>
            <a:r>
              <a:rPr lang="en-US" sz="700" baseline="30000" dirty="0"/>
              <a:t>2,3</a:t>
            </a:r>
            <a:endParaRPr lang="en-US" sz="700" dirty="0"/>
          </a:p>
          <a:p>
            <a:pPr marL="538163" lvl="2" indent="-171450">
              <a:buFont typeface="Arial" panose="020B0604020202020204" pitchFamily="34" charset="0"/>
              <a:buChar char="•"/>
            </a:pPr>
            <a:r>
              <a:rPr lang="en-US" sz="700" dirty="0"/>
              <a:t>Discovery of multiple pathways of complement activation</a:t>
            </a:r>
            <a:r>
              <a:rPr lang="en-US" sz="700" baseline="30000" dirty="0"/>
              <a:t>2,3</a:t>
            </a:r>
            <a:endParaRPr lang="en-US" sz="700" dirty="0"/>
          </a:p>
          <a:p>
            <a:pPr marL="538163" lvl="2" indent="-171450">
              <a:buFont typeface="Arial" panose="020B0604020202020204" pitchFamily="34" charset="0"/>
              <a:buChar char="•"/>
            </a:pPr>
            <a:r>
              <a:rPr lang="en-US" sz="700" dirty="0"/>
              <a:t>Complicated naming systems, with ultimate World Health Organization modification to current nomenclature</a:t>
            </a:r>
            <a:r>
              <a:rPr lang="en-US" sz="700" baseline="30000" dirty="0"/>
              <a:t>2,3</a:t>
            </a:r>
            <a:endParaRPr lang="en-US" sz="700" dirty="0"/>
          </a:p>
          <a:p>
            <a:pPr marL="0" lvl="1" indent="9525"/>
            <a:r>
              <a:rPr lang="de-DE" sz="700" dirty="0"/>
              <a:t>In the 1890s, Jules Bordet discovered a heat-labile component of plasma that augmented the opsonization and killing of bacteria by antibodies; this was later named complement.</a:t>
            </a:r>
            <a:r>
              <a:rPr lang="de-DE" sz="700" baseline="30000" dirty="0"/>
              <a:t>4</a:t>
            </a:r>
          </a:p>
          <a:p>
            <a:pPr marL="0" indent="0">
              <a:buNone/>
            </a:pPr>
            <a:r>
              <a:rPr lang="de-DE" sz="700" b="1" dirty="0"/>
              <a:t>Complement</a:t>
            </a:r>
            <a:r>
              <a:rPr lang="de-DE" sz="700" dirty="0"/>
              <a:t>: </a:t>
            </a:r>
            <a:r>
              <a:rPr lang="de-DE" sz="700" b="1" dirty="0"/>
              <a:t>Functional Overview</a:t>
            </a:r>
          </a:p>
          <a:p>
            <a:pPr marL="0" lvl="1"/>
            <a:r>
              <a:rPr lang="de-DE" sz="700" dirty="0"/>
              <a:t>The complement system is a central part of the immune system, involved in inflammatory processes, pathogen elimination, activation of the adaptive immune response, and maintenance of homeostasis.</a:t>
            </a:r>
            <a:r>
              <a:rPr lang="de-DE" sz="700" baseline="30000" dirty="0"/>
              <a:t>5 </a:t>
            </a:r>
            <a:r>
              <a:rPr lang="de-DE" sz="700" dirty="0"/>
              <a:t>It distinguishes between healthy host cells, cell debris, apoptotic cells, and external pathogens and triggers a modulated immune response.</a:t>
            </a:r>
            <a:r>
              <a:rPr lang="de-DE" sz="700" baseline="30000" dirty="0"/>
              <a:t>5</a:t>
            </a:r>
            <a:r>
              <a:rPr lang="de-DE" sz="700" dirty="0"/>
              <a:t> It functions through a combination of effector proteins, receptors, and regulators.</a:t>
            </a:r>
            <a:r>
              <a:rPr lang="de-DE" sz="700" baseline="30000" dirty="0"/>
              <a:t>5</a:t>
            </a:r>
          </a:p>
          <a:p>
            <a:pPr marL="0" indent="0">
              <a:buNone/>
            </a:pPr>
            <a:r>
              <a:rPr lang="de-DE" sz="700" b="1" baseline="0" dirty="0"/>
              <a:t>Innate and Adaptive Immune Systems</a:t>
            </a:r>
          </a:p>
          <a:p>
            <a:r>
              <a:rPr lang="de-DE" sz="700" baseline="0" dirty="0"/>
              <a:t>Complement is a key effector mechanism of the of the innate immune system, which is able to provide an immediate non-specific immune response, but does not confer immunologic memory. Other innate effector mechanisms include barriers (like the skin), innate white blood cells (eg, phagocytes), soluble mediators like cytokines, and inflammatory processes.</a:t>
            </a:r>
            <a:r>
              <a:rPr lang="de-DE" sz="700" baseline="30000" dirty="0"/>
              <a:t>6</a:t>
            </a:r>
            <a:r>
              <a:rPr lang="de-DE" sz="700" dirty="0"/>
              <a:t> </a:t>
            </a:r>
            <a:r>
              <a:rPr lang="de-DE" sz="700" baseline="0" dirty="0"/>
              <a:t>The primary roles and functions of the innate immune system include:</a:t>
            </a:r>
          </a:p>
          <a:p>
            <a:pPr marL="538163" lvl="2" indent="-171450">
              <a:buFont typeface="Arial" panose="020B0604020202020204" pitchFamily="34" charset="0"/>
              <a:buChar char="•"/>
            </a:pPr>
            <a:r>
              <a:rPr lang="de-DE" sz="700" dirty="0"/>
              <a:t>Preventing entry of pathogens into the host</a:t>
            </a:r>
          </a:p>
          <a:p>
            <a:pPr marL="538163" lvl="2" indent="-171450">
              <a:buFont typeface="Arial" panose="020B0604020202020204" pitchFamily="34" charset="0"/>
              <a:buChar char="•"/>
            </a:pPr>
            <a:r>
              <a:rPr lang="de-DE" sz="700" dirty="0"/>
              <a:t>Providing an immediate, but non-specific, response to a limited number of common threats</a:t>
            </a:r>
          </a:p>
          <a:p>
            <a:pPr marL="538163" lvl="2" indent="-171450">
              <a:buFont typeface="Arial" panose="020B0604020202020204" pitchFamily="34" charset="0"/>
              <a:buChar char="•"/>
            </a:pPr>
            <a:r>
              <a:rPr lang="de-DE" sz="700" dirty="0"/>
              <a:t>Generation of an inflammatory response which activates the adaptive immune system</a:t>
            </a:r>
          </a:p>
          <a:p>
            <a:pPr lvl="0"/>
            <a:r>
              <a:rPr lang="de-DE" sz="700" baseline="0" dirty="0"/>
              <a:t>The adaptive immune system is slower to respond to pathogens, but can recognize a larger array of threats and provide protection against exposure to the same pathogen in the future – in other words, it confers immunologic memory. The key effector mechanisms of the adaptive immune system include T and B cells.</a:t>
            </a:r>
            <a:r>
              <a:rPr lang="de-DE" sz="700" baseline="30000" dirty="0"/>
              <a:t>6</a:t>
            </a:r>
            <a:r>
              <a:rPr lang="de-DE" sz="700" dirty="0"/>
              <a:t> The primary roles and functions of the adaptive immune system include:</a:t>
            </a:r>
          </a:p>
          <a:p>
            <a:pPr marL="538163" marR="0" lvl="2" indent="-171450" defTabSz="914400" eaLnBrk="1" latinLnBrk="0" hangingPunct="1">
              <a:lnSpc>
                <a:spcPct val="100000"/>
              </a:lnSpc>
              <a:buClrTx/>
              <a:buSzTx/>
              <a:buFont typeface="Arial" panose="020B0604020202020204" pitchFamily="34" charset="0"/>
              <a:buChar char="•"/>
              <a:tabLst/>
              <a:defRPr/>
            </a:pPr>
            <a:r>
              <a:rPr lang="en-US" sz="700" dirty="0"/>
              <a:t>Targeting and evoking a specific response to a particular threat</a:t>
            </a:r>
          </a:p>
          <a:p>
            <a:pPr marL="538163" marR="0" lvl="2" indent="-171450" defTabSz="914400" eaLnBrk="1" latinLnBrk="0" hangingPunct="1">
              <a:lnSpc>
                <a:spcPct val="100000"/>
              </a:lnSpc>
              <a:buClrTx/>
              <a:buSzTx/>
              <a:buFont typeface="Arial" panose="020B0604020202020204" pitchFamily="34" charset="0"/>
              <a:buChar char="•"/>
              <a:tabLst/>
              <a:defRPr/>
            </a:pPr>
            <a:r>
              <a:rPr lang="en-US" sz="700" dirty="0"/>
              <a:t>Recognition of a huge variety of potential threats</a:t>
            </a:r>
          </a:p>
          <a:p>
            <a:pPr marL="538163" marR="0" lvl="2" indent="-171450" defTabSz="914400" eaLnBrk="1" latinLnBrk="0" hangingPunct="1">
              <a:lnSpc>
                <a:spcPct val="100000"/>
              </a:lnSpc>
              <a:buClrTx/>
              <a:buSzTx/>
              <a:buFont typeface="Arial" panose="020B0604020202020204" pitchFamily="34" charset="0"/>
              <a:buChar char="•"/>
              <a:tabLst/>
              <a:defRPr/>
            </a:pPr>
            <a:r>
              <a:rPr lang="en-US" sz="700" dirty="0"/>
              <a:t>Establishing immunologic memory</a:t>
            </a:r>
          </a:p>
          <a:p>
            <a:pPr marL="0" indent="0">
              <a:buNone/>
            </a:pPr>
            <a:r>
              <a:rPr lang="en-US" sz="700" b="1" dirty="0"/>
              <a:t>References</a:t>
            </a:r>
          </a:p>
          <a:p>
            <a:pPr marL="228943" indent="-228943">
              <a:buFontTx/>
              <a:buAutoNum type="arabicPeriod"/>
            </a:pPr>
            <a:r>
              <a:rPr lang="da-DK" sz="700" dirty="0"/>
              <a:t>Bennett KM, et al. </a:t>
            </a:r>
            <a:r>
              <a:rPr lang="da-DK" sz="700" i="1" dirty="0"/>
              <a:t>Front Microbiol</a:t>
            </a:r>
            <a:r>
              <a:rPr lang="da-DK" sz="700" dirty="0"/>
              <a:t>. 2017;8(89):1-17.</a:t>
            </a:r>
            <a:endParaRPr lang="da-DK" sz="700" dirty="0">
              <a:solidFill>
                <a:prstClr val="black"/>
              </a:solidFill>
            </a:endParaRPr>
          </a:p>
          <a:p>
            <a:pPr marL="228943" indent="-228943">
              <a:buAutoNum type="arabicPeriod"/>
            </a:pPr>
            <a:r>
              <a:rPr lang="da-DK" sz="700" dirty="0"/>
              <a:t>Ehrnthaller C, et al. </a:t>
            </a:r>
            <a:r>
              <a:rPr lang="da-DK" sz="700" i="1" dirty="0"/>
              <a:t>Mol Med. </a:t>
            </a:r>
            <a:r>
              <a:rPr lang="da-DK" sz="700" dirty="0"/>
              <a:t>2011;17(3-4):317-329. </a:t>
            </a:r>
          </a:p>
          <a:p>
            <a:pPr marL="228943" indent="-228943">
              <a:buAutoNum type="arabicPeriod"/>
            </a:pPr>
            <a:r>
              <a:rPr lang="en-US" sz="700" dirty="0" err="1"/>
              <a:t>Nesargikar</a:t>
            </a:r>
            <a:r>
              <a:rPr lang="en-US" sz="700" dirty="0"/>
              <a:t> PN, et al. </a:t>
            </a:r>
            <a:r>
              <a:rPr lang="en-US" sz="700" i="1" dirty="0" err="1"/>
              <a:t>Eur</a:t>
            </a:r>
            <a:r>
              <a:rPr lang="en-US" sz="700" i="1" dirty="0"/>
              <a:t> J </a:t>
            </a:r>
            <a:r>
              <a:rPr lang="en-US" sz="700" i="1" dirty="0" err="1"/>
              <a:t>Microbiol</a:t>
            </a:r>
            <a:r>
              <a:rPr lang="en-US" sz="700" i="1" dirty="0"/>
              <a:t> Immunol </a:t>
            </a:r>
            <a:r>
              <a:rPr lang="en-US" sz="700" dirty="0"/>
              <a:t>(Bp). 2012;2(2):103-111. </a:t>
            </a:r>
          </a:p>
          <a:p>
            <a:pPr marL="228943" indent="-228943">
              <a:buFont typeface="Arial" pitchFamily="34" charset="0"/>
              <a:buAutoNum type="arabicPeriod"/>
            </a:pPr>
            <a:r>
              <a:rPr lang="en-US" sz="700" dirty="0"/>
              <a:t>Murphy K, Weaver C. </a:t>
            </a:r>
            <a:r>
              <a:rPr lang="en-US" sz="700" i="1" dirty="0"/>
              <a:t>Janeway’s Immunobiology. </a:t>
            </a:r>
            <a:r>
              <a:rPr lang="en-US" sz="700" dirty="0"/>
              <a:t>9th ed. New York, NY: Garland Science/Taylor &amp; Francis Group LLC; 2016:37-76.</a:t>
            </a:r>
          </a:p>
          <a:p>
            <a:pPr marL="228943" indent="-228943">
              <a:buFont typeface="Arial" pitchFamily="34" charset="0"/>
              <a:buAutoNum type="arabicPeriod"/>
            </a:pPr>
            <a:r>
              <a:rPr lang="en-US" sz="700" dirty="0" err="1"/>
              <a:t>Ricklin</a:t>
            </a:r>
            <a:r>
              <a:rPr lang="en-US" sz="700" dirty="0"/>
              <a:t> D, et al. </a:t>
            </a:r>
            <a:r>
              <a:rPr lang="en-US" sz="700" i="1" dirty="0"/>
              <a:t>Nat Immunol</a:t>
            </a:r>
            <a:r>
              <a:rPr lang="en-US" sz="700" dirty="0"/>
              <a:t>. 2010;11(9):785-797. </a:t>
            </a:r>
          </a:p>
          <a:p>
            <a:pPr marL="228943" indent="-228943">
              <a:buFontTx/>
              <a:buAutoNum type="arabicPeriod"/>
            </a:pPr>
            <a:r>
              <a:rPr lang="en-US" sz="700" dirty="0" err="1"/>
              <a:t>Marieb</a:t>
            </a:r>
            <a:r>
              <a:rPr lang="en-US" sz="700" dirty="0"/>
              <a:t> EN, Hoehn KN. </a:t>
            </a:r>
            <a:r>
              <a:rPr lang="en-US" sz="700" i="1" dirty="0"/>
              <a:t>Human Anatomy &amp; Physiology</a:t>
            </a:r>
            <a:r>
              <a:rPr lang="en-US" sz="700" dirty="0"/>
              <a:t>. 11th ed. New York, NY: Pearson; 2019:781-817.</a:t>
            </a:r>
          </a:p>
          <a:p>
            <a:pPr marL="228943" indent="-228943">
              <a:buFontTx/>
              <a:buAutoNum type="arabicPeriod"/>
            </a:pPr>
            <a:endParaRPr lang="en-US" sz="700" dirty="0"/>
          </a:p>
          <a:p>
            <a:r>
              <a:rPr lang="en-US" sz="700" dirty="0"/>
              <a:t>C18, E4 and A29</a:t>
            </a:r>
          </a:p>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29</a:t>
            </a:fld>
            <a:endParaRPr lang="en-GB"/>
          </a:p>
        </p:txBody>
      </p:sp>
    </p:spTree>
    <p:extLst>
      <p:ext uri="{BB962C8B-B14F-4D97-AF65-F5344CB8AC3E}">
        <p14:creationId xmlns:p14="http://schemas.microsoft.com/office/powerpoint/2010/main" val="947535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0</a:t>
            </a:fld>
            <a:endParaRPr lang="en-GB"/>
          </a:p>
        </p:txBody>
      </p:sp>
    </p:spTree>
    <p:extLst>
      <p:ext uri="{BB962C8B-B14F-4D97-AF65-F5344CB8AC3E}">
        <p14:creationId xmlns:p14="http://schemas.microsoft.com/office/powerpoint/2010/main" val="3035382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a:t>
            </a:fld>
            <a:endParaRPr lang="en-GB"/>
          </a:p>
        </p:txBody>
      </p:sp>
    </p:spTree>
    <p:extLst>
      <p:ext uri="{BB962C8B-B14F-4D97-AF65-F5344CB8AC3E}">
        <p14:creationId xmlns:p14="http://schemas.microsoft.com/office/powerpoint/2010/main" val="439723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pPr marL="171450" indent="-171450" rtl="0">
              <a:buFont typeface="Arial" panose="020B0604020202020204" pitchFamily="34" charset="0"/>
              <a:buChar char="•"/>
            </a:pPr>
            <a:r>
              <a:rPr lang="en-US" dirty="0" err="1"/>
              <a:t>Todas</a:t>
            </a:r>
            <a:r>
              <a:rPr lang="en-US" dirty="0"/>
              <a:t> as convertases de C3 </a:t>
            </a:r>
            <a:r>
              <a:rPr lang="en-US" dirty="0" err="1"/>
              <a:t>ligadas</a:t>
            </a:r>
            <a:r>
              <a:rPr lang="en-US" dirty="0"/>
              <a:t> à </a:t>
            </a:r>
            <a:r>
              <a:rPr lang="en-US" dirty="0" err="1"/>
              <a:t>superfície</a:t>
            </a:r>
            <a:r>
              <a:rPr lang="en-US" dirty="0"/>
              <a:t> </a:t>
            </a:r>
            <a:r>
              <a:rPr lang="en-US" dirty="0" err="1"/>
              <a:t>são</a:t>
            </a:r>
            <a:r>
              <a:rPr lang="en-US" dirty="0"/>
              <a:t> </a:t>
            </a:r>
            <a:r>
              <a:rPr lang="en-US" dirty="0" err="1"/>
              <a:t>alimentadas</a:t>
            </a:r>
            <a:r>
              <a:rPr lang="en-US" dirty="0"/>
              <a:t> </a:t>
            </a:r>
            <a:r>
              <a:rPr lang="en-US" dirty="0" err="1"/>
              <a:t>pelo</a:t>
            </a:r>
            <a:r>
              <a:rPr lang="en-US" dirty="0"/>
              <a:t> </a:t>
            </a:r>
            <a:r>
              <a:rPr lang="en-US" dirty="0" err="1"/>
              <a:t>ciclo</a:t>
            </a:r>
            <a:r>
              <a:rPr lang="en-US" dirty="0"/>
              <a:t> de </a:t>
            </a:r>
            <a:r>
              <a:rPr lang="en-US" dirty="0" err="1"/>
              <a:t>amplificação</a:t>
            </a:r>
            <a:r>
              <a:rPr lang="en-US" dirty="0"/>
              <a:t> pela </a:t>
            </a:r>
            <a:r>
              <a:rPr lang="en-US" dirty="0" err="1"/>
              <a:t>ativação</a:t>
            </a:r>
            <a:r>
              <a:rPr lang="en-US" dirty="0"/>
              <a:t> de C3</a:t>
            </a:r>
            <a:endParaRPr lang="en-US" baseline="30000" dirty="0"/>
          </a:p>
          <a:p>
            <a:pPr marL="171450" indent="-171450" rtl="0">
              <a:buFont typeface="Arial" panose="020B0604020202020204" pitchFamily="34" charset="0"/>
              <a:buChar char="•"/>
            </a:pPr>
            <a:r>
              <a:rPr lang="en-US" dirty="0"/>
              <a:t>80% a 90% da </a:t>
            </a:r>
            <a:r>
              <a:rPr lang="en-US" dirty="0" err="1"/>
              <a:t>ativação</a:t>
            </a:r>
            <a:r>
              <a:rPr lang="en-US" dirty="0"/>
              <a:t> do </a:t>
            </a:r>
            <a:r>
              <a:rPr lang="en-US" dirty="0" err="1"/>
              <a:t>complemento</a:t>
            </a:r>
            <a:r>
              <a:rPr lang="en-US" dirty="0"/>
              <a:t> </a:t>
            </a:r>
            <a:r>
              <a:rPr lang="en-US" dirty="0" err="1"/>
              <a:t>pode</a:t>
            </a:r>
            <a:r>
              <a:rPr lang="en-US" dirty="0"/>
              <a:t> </a:t>
            </a:r>
            <a:r>
              <a:rPr lang="en-US" dirty="0" err="1"/>
              <a:t>ocorrer</a:t>
            </a:r>
            <a:r>
              <a:rPr lang="en-US" dirty="0"/>
              <a:t> </a:t>
            </a:r>
            <a:r>
              <a:rPr lang="en-US" dirty="0" err="1"/>
              <a:t>através</a:t>
            </a:r>
            <a:r>
              <a:rPr lang="en-US" dirty="0"/>
              <a:t> da via </a:t>
            </a:r>
            <a:r>
              <a:rPr lang="en-US" dirty="0" err="1"/>
              <a:t>alternativa</a:t>
            </a:r>
            <a:r>
              <a:rPr lang="en-US" dirty="0"/>
              <a:t>, inclusive </a:t>
            </a:r>
            <a:r>
              <a:rPr lang="en-US" dirty="0" err="1"/>
              <a:t>quando</a:t>
            </a:r>
            <a:r>
              <a:rPr lang="en-US" dirty="0"/>
              <a:t> </a:t>
            </a:r>
            <a:r>
              <a:rPr lang="en-US" dirty="0" err="1"/>
              <a:t>originalmente</a:t>
            </a:r>
            <a:r>
              <a:rPr lang="en-US" dirty="0"/>
              <a:t> </a:t>
            </a:r>
            <a:r>
              <a:rPr lang="en-US" dirty="0" err="1"/>
              <a:t>desencadeada</a:t>
            </a:r>
            <a:r>
              <a:rPr lang="en-US" dirty="0"/>
              <a:t> </a:t>
            </a:r>
            <a:r>
              <a:rPr lang="en-US" dirty="0" err="1"/>
              <a:t>pelas</a:t>
            </a:r>
            <a:r>
              <a:rPr lang="en-US" dirty="0"/>
              <a:t> vias </a:t>
            </a:r>
            <a:r>
              <a:rPr lang="en-US" dirty="0" err="1"/>
              <a:t>clássicas</a:t>
            </a:r>
            <a:r>
              <a:rPr lang="en-US" dirty="0"/>
              <a:t> e das </a:t>
            </a:r>
            <a:r>
              <a:rPr lang="en-US" dirty="0" err="1"/>
              <a:t>léxicos</a:t>
            </a:r>
            <a:endParaRPr lang="en-US" dirty="0"/>
          </a:p>
          <a:p>
            <a:endParaRPr lang="en-US" dirty="0">
              <a:latin typeface="Arial Narrow" panose="020B0604020202020204" pitchFamily="34" charset="0"/>
            </a:endParaRPr>
          </a:p>
          <a:p>
            <a:pPr rtl="0"/>
            <a:r>
              <a:rPr lang="en-US" b="1" dirty="0" err="1"/>
              <a:t>Referência</a:t>
            </a:r>
            <a:endParaRPr lang="en-US" b="1" dirty="0"/>
          </a:p>
          <a:p>
            <a:pPr rtl="0"/>
            <a:r>
              <a:rPr lang="en-US" dirty="0" err="1"/>
              <a:t>Ricklin</a:t>
            </a:r>
            <a:r>
              <a:rPr lang="en-US" dirty="0"/>
              <a:t> D, et al. </a:t>
            </a:r>
            <a:r>
              <a:rPr lang="en-US" i="1" dirty="0"/>
              <a:t>Nat Immunol</a:t>
            </a:r>
            <a:r>
              <a:rPr lang="en-US" dirty="0"/>
              <a:t>. 2010;11(9):785-797.</a:t>
            </a:r>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1</a:t>
            </a:fld>
            <a:endParaRPr lang="en-GB"/>
          </a:p>
        </p:txBody>
      </p:sp>
    </p:spTree>
    <p:extLst>
      <p:ext uri="{BB962C8B-B14F-4D97-AF65-F5344CB8AC3E}">
        <p14:creationId xmlns:p14="http://schemas.microsoft.com/office/powerpoint/2010/main" val="35764777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pPr marL="171450" indent="-171450" rtl="0">
              <a:buFont typeface="Arial" panose="020B0604020202020204" pitchFamily="34" charset="0"/>
              <a:buChar char="•"/>
            </a:pPr>
            <a:r>
              <a:rPr lang="en-US" dirty="0"/>
              <a:t>O </a:t>
            </a:r>
            <a:r>
              <a:rPr lang="en-US" dirty="0" err="1"/>
              <a:t>complemento</a:t>
            </a:r>
            <a:r>
              <a:rPr lang="en-US" dirty="0"/>
              <a:t> terminal </a:t>
            </a:r>
            <a:r>
              <a:rPr lang="en-US" dirty="0" err="1"/>
              <a:t>começa</a:t>
            </a:r>
            <a:r>
              <a:rPr lang="en-US" dirty="0"/>
              <a:t> com a </a:t>
            </a:r>
            <a:r>
              <a:rPr lang="en-US" dirty="0" err="1"/>
              <a:t>formação</a:t>
            </a:r>
            <a:r>
              <a:rPr lang="en-US" dirty="0"/>
              <a:t> das convertases C5 a </a:t>
            </a:r>
            <a:r>
              <a:rPr lang="en-US" dirty="0" err="1"/>
              <a:t>partir</a:t>
            </a:r>
            <a:r>
              <a:rPr lang="en-US" dirty="0"/>
              <a:t> da </a:t>
            </a:r>
            <a:r>
              <a:rPr lang="en-US" dirty="0" err="1"/>
              <a:t>associação</a:t>
            </a:r>
            <a:r>
              <a:rPr lang="en-US" dirty="0"/>
              <a:t> de C3b </a:t>
            </a:r>
            <a:r>
              <a:rPr lang="en-US" dirty="0" err="1"/>
              <a:t>ligada</a:t>
            </a:r>
            <a:r>
              <a:rPr lang="en-US" dirty="0"/>
              <a:t> à </a:t>
            </a:r>
            <a:r>
              <a:rPr lang="en-US" dirty="0" err="1"/>
              <a:t>superfície</a:t>
            </a:r>
            <a:r>
              <a:rPr lang="en-US" dirty="0"/>
              <a:t> com convertases C3 de </a:t>
            </a:r>
            <a:r>
              <a:rPr lang="en-US" dirty="0" err="1"/>
              <a:t>todas</a:t>
            </a:r>
            <a:r>
              <a:rPr lang="en-US" dirty="0"/>
              <a:t> as vias:</a:t>
            </a:r>
          </a:p>
          <a:p>
            <a:pPr marL="628650" lvl="1" indent="-171450" rtl="0">
              <a:buFont typeface="Arial" panose="020B0604020202020204" pitchFamily="34" charset="0"/>
              <a:buChar char="•"/>
            </a:pPr>
            <a:r>
              <a:rPr lang="en-US" dirty="0"/>
              <a:t>C4bC2aC3b é a convertase C5 das vias </a:t>
            </a:r>
            <a:r>
              <a:rPr lang="en-US" dirty="0" err="1"/>
              <a:t>clássica</a:t>
            </a:r>
            <a:r>
              <a:rPr lang="en-US" dirty="0"/>
              <a:t> e das </a:t>
            </a:r>
            <a:r>
              <a:rPr lang="en-US" dirty="0" err="1"/>
              <a:t>lectina</a:t>
            </a:r>
            <a:endParaRPr lang="en-US" dirty="0"/>
          </a:p>
          <a:p>
            <a:pPr marL="628650" lvl="1" indent="-171450" rtl="0">
              <a:buFont typeface="Arial" panose="020B0604020202020204" pitchFamily="34" charset="0"/>
              <a:buChar char="•"/>
            </a:pPr>
            <a:r>
              <a:rPr lang="en-US" dirty="0"/>
              <a:t>C3bBbC3b é a convertase C5 da via </a:t>
            </a:r>
            <a:r>
              <a:rPr lang="en-US" dirty="0" err="1"/>
              <a:t>alternativa</a:t>
            </a:r>
            <a:endParaRPr lang="en-US" dirty="0"/>
          </a:p>
          <a:p>
            <a:pPr marL="171450" indent="-171450" rtl="0">
              <a:buFont typeface="Arial" panose="020B0604020202020204" pitchFamily="34" charset="0"/>
              <a:buChar char="•"/>
            </a:pPr>
            <a:r>
              <a:rPr lang="en-US" dirty="0"/>
              <a:t>A convertase de C5 </a:t>
            </a:r>
            <a:r>
              <a:rPr lang="en-US" dirty="0" err="1"/>
              <a:t>cliva</a:t>
            </a:r>
            <a:r>
              <a:rPr lang="en-US" dirty="0"/>
              <a:t> C5 </a:t>
            </a:r>
            <a:r>
              <a:rPr lang="en-US" dirty="0" err="1"/>
              <a:t>em</a:t>
            </a:r>
            <a:r>
              <a:rPr lang="en-US" dirty="0"/>
              <a:t> C5a e C5b</a:t>
            </a:r>
          </a:p>
          <a:p>
            <a:pPr marL="171450" indent="-171450" rtl="0">
              <a:buFont typeface="Arial" panose="020B0604020202020204" pitchFamily="34" charset="0"/>
              <a:buChar char="•"/>
            </a:pPr>
            <a:r>
              <a:rPr lang="en-US" dirty="0"/>
              <a:t>O </a:t>
            </a:r>
            <a:r>
              <a:rPr lang="en-US" dirty="0" err="1"/>
              <a:t>complexo</a:t>
            </a:r>
            <a:r>
              <a:rPr lang="en-US" dirty="0"/>
              <a:t> de </a:t>
            </a:r>
            <a:r>
              <a:rPr lang="en-US" dirty="0" err="1"/>
              <a:t>ataque</a:t>
            </a:r>
            <a:r>
              <a:rPr lang="en-US" dirty="0"/>
              <a:t> à membrana (MAC) se forma </a:t>
            </a:r>
            <a:r>
              <a:rPr lang="en-US" dirty="0" err="1"/>
              <a:t>através</a:t>
            </a:r>
            <a:r>
              <a:rPr lang="en-US" dirty="0"/>
              <a:t> das </a:t>
            </a:r>
            <a:r>
              <a:rPr lang="en-US" dirty="0" err="1"/>
              <a:t>seguintes</a:t>
            </a:r>
            <a:r>
              <a:rPr lang="en-US" dirty="0"/>
              <a:t> </a:t>
            </a:r>
            <a:r>
              <a:rPr lang="en-US" dirty="0" err="1"/>
              <a:t>etapas</a:t>
            </a:r>
            <a:r>
              <a:rPr lang="en-US" dirty="0"/>
              <a:t>:</a:t>
            </a:r>
          </a:p>
          <a:p>
            <a:pPr marL="628650" lvl="1" indent="-171450" rtl="0">
              <a:buFont typeface="Arial" panose="020B0604020202020204" pitchFamily="34" charset="0"/>
              <a:buChar char="•"/>
            </a:pPr>
            <a:r>
              <a:rPr lang="en-US" dirty="0"/>
              <a:t>C6 se </a:t>
            </a:r>
            <a:r>
              <a:rPr lang="en-US" dirty="0" err="1"/>
              <a:t>liga</a:t>
            </a:r>
            <a:r>
              <a:rPr lang="en-US" dirty="0"/>
              <a:t> a C5b</a:t>
            </a:r>
          </a:p>
          <a:p>
            <a:pPr marL="628650" lvl="1" indent="-171450" rtl="0">
              <a:buFont typeface="Arial" panose="020B0604020202020204" pitchFamily="34" charset="0"/>
              <a:buChar char="•"/>
            </a:pPr>
            <a:r>
              <a:rPr lang="en-US" dirty="0"/>
              <a:t>C5bC6 </a:t>
            </a:r>
            <a:r>
              <a:rPr lang="en-US" dirty="0" err="1"/>
              <a:t>liga</a:t>
            </a:r>
            <a:r>
              <a:rPr lang="en-US" dirty="0"/>
              <a:t>-se a </a:t>
            </a:r>
            <a:r>
              <a:rPr lang="en-US" dirty="0" err="1"/>
              <a:t>superfícies</a:t>
            </a:r>
            <a:endParaRPr lang="en-US" dirty="0"/>
          </a:p>
          <a:p>
            <a:pPr marL="628650" lvl="1" indent="-171450" rtl="0">
              <a:buFont typeface="Arial" panose="020B0604020202020204" pitchFamily="34" charset="0"/>
              <a:buChar char="•"/>
            </a:pPr>
            <a:r>
              <a:rPr lang="en-US" dirty="0"/>
              <a:t>C7 se </a:t>
            </a:r>
            <a:r>
              <a:rPr lang="en-US" dirty="0" err="1"/>
              <a:t>associa</a:t>
            </a:r>
            <a:r>
              <a:rPr lang="en-US" dirty="0"/>
              <a:t> com C5bC6 e forma C5b-7</a:t>
            </a:r>
          </a:p>
          <a:p>
            <a:pPr marL="628650" lvl="1" indent="-171450" rtl="0">
              <a:buFont typeface="Arial" panose="020B0604020202020204" pitchFamily="34" charset="0"/>
              <a:buChar char="•"/>
            </a:pPr>
            <a:r>
              <a:rPr lang="en-US" dirty="0"/>
              <a:t>O C5b-7 </a:t>
            </a:r>
            <a:r>
              <a:rPr lang="en-US" dirty="0" err="1"/>
              <a:t>está</a:t>
            </a:r>
            <a:r>
              <a:rPr lang="en-US" dirty="0"/>
              <a:t> </a:t>
            </a:r>
            <a:r>
              <a:rPr lang="en-US" dirty="0" err="1"/>
              <a:t>integrado</a:t>
            </a:r>
            <a:r>
              <a:rPr lang="en-US" dirty="0"/>
              <a:t> </a:t>
            </a:r>
            <a:r>
              <a:rPr lang="en-US" dirty="0" err="1"/>
              <a:t>na</a:t>
            </a:r>
            <a:r>
              <a:rPr lang="en-US" dirty="0"/>
              <a:t> </a:t>
            </a:r>
            <a:r>
              <a:rPr lang="en-US" dirty="0" err="1"/>
              <a:t>bicapa</a:t>
            </a:r>
            <a:r>
              <a:rPr lang="en-US" dirty="0"/>
              <a:t> da membrana e causa a </a:t>
            </a:r>
            <a:r>
              <a:rPr lang="en-US" dirty="0" err="1"/>
              <a:t>inserção</a:t>
            </a:r>
            <a:r>
              <a:rPr lang="en-US" dirty="0"/>
              <a:t> de C8 </a:t>
            </a:r>
            <a:r>
              <a:rPr lang="en-US" dirty="0" err="1"/>
              <a:t>na</a:t>
            </a:r>
            <a:r>
              <a:rPr lang="en-US" dirty="0"/>
              <a:t> membrana</a:t>
            </a:r>
          </a:p>
          <a:p>
            <a:pPr marL="628650" lvl="1" indent="-171450" rtl="0">
              <a:buFont typeface="Arial" panose="020B0604020202020204" pitchFamily="34" charset="0"/>
              <a:buChar char="•"/>
            </a:pPr>
            <a:r>
              <a:rPr lang="en-US" dirty="0"/>
              <a:t>C9 se </a:t>
            </a:r>
            <a:r>
              <a:rPr lang="en-US" dirty="0" err="1"/>
              <a:t>liga</a:t>
            </a:r>
            <a:r>
              <a:rPr lang="en-US" dirty="0"/>
              <a:t> a C8, </a:t>
            </a:r>
            <a:r>
              <a:rPr lang="en-US" dirty="0" err="1"/>
              <a:t>fazendo</a:t>
            </a:r>
            <a:r>
              <a:rPr lang="en-US" dirty="0"/>
              <a:t> com que a </a:t>
            </a:r>
            <a:r>
              <a:rPr lang="en-US" dirty="0" err="1"/>
              <a:t>polimerização</a:t>
            </a:r>
            <a:r>
              <a:rPr lang="en-US" dirty="0"/>
              <a:t> das </a:t>
            </a:r>
            <a:r>
              <a:rPr lang="en-US" dirty="0" err="1"/>
              <a:t>moléculas</a:t>
            </a:r>
            <a:r>
              <a:rPr lang="en-US" dirty="0"/>
              <a:t> de C9 </a:t>
            </a:r>
            <a:r>
              <a:rPr lang="en-US" dirty="0" err="1"/>
              <a:t>forme</a:t>
            </a:r>
            <a:r>
              <a:rPr lang="en-US" dirty="0"/>
              <a:t> um </a:t>
            </a:r>
            <a:r>
              <a:rPr lang="en-US" dirty="0" err="1"/>
              <a:t>poro</a:t>
            </a:r>
            <a:r>
              <a:rPr lang="en-US" dirty="0"/>
              <a:t> </a:t>
            </a:r>
            <a:r>
              <a:rPr lang="en-US" dirty="0" err="1"/>
              <a:t>estável</a:t>
            </a:r>
            <a:r>
              <a:rPr lang="en-US" dirty="0"/>
              <a:t> </a:t>
            </a:r>
            <a:r>
              <a:rPr lang="en-US" dirty="0" err="1"/>
              <a:t>na</a:t>
            </a:r>
            <a:r>
              <a:rPr lang="en-US" dirty="0"/>
              <a:t> membrana </a:t>
            </a:r>
            <a:r>
              <a:rPr lang="en-US" dirty="0" err="1"/>
              <a:t>celular</a:t>
            </a:r>
            <a:r>
              <a:rPr lang="en-US" dirty="0"/>
              <a:t> e </a:t>
            </a:r>
            <a:r>
              <a:rPr lang="en-US" dirty="0" err="1"/>
              <a:t>formando</a:t>
            </a:r>
            <a:r>
              <a:rPr lang="en-US" dirty="0"/>
              <a:t> C5b-9, o CAM</a:t>
            </a:r>
          </a:p>
          <a:p>
            <a:endParaRPr lang="en-US" dirty="0"/>
          </a:p>
          <a:p>
            <a:pPr rtl="0"/>
            <a:r>
              <a:rPr lang="en-US" b="1" dirty="0" err="1"/>
              <a:t>Referência</a:t>
            </a:r>
            <a:endParaRPr lang="en-US" b="1" dirty="0"/>
          </a:p>
          <a:p>
            <a:pPr rtl="0"/>
            <a:r>
              <a:rPr lang="en-US" dirty="0" err="1"/>
              <a:t>Durkeberger</a:t>
            </a:r>
            <a:r>
              <a:rPr lang="en-US" dirty="0"/>
              <a:t> JR, </a:t>
            </a:r>
            <a:r>
              <a:rPr lang="en-US" dirty="0" err="1"/>
              <a:t>Sonda</a:t>
            </a:r>
            <a:r>
              <a:rPr lang="en-US" dirty="0"/>
              <a:t> WC. </a:t>
            </a:r>
            <a:r>
              <a:rPr lang="en-US" i="1" dirty="0"/>
              <a:t>Res. Célula</a:t>
            </a:r>
            <a:r>
              <a:rPr lang="en-US" dirty="0"/>
              <a:t>2010;20(1):34-50. </a:t>
            </a:r>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2</a:t>
            </a:fld>
            <a:endParaRPr lang="en-GB"/>
          </a:p>
        </p:txBody>
      </p:sp>
    </p:spTree>
    <p:extLst>
      <p:ext uri="{BB962C8B-B14F-4D97-AF65-F5344CB8AC3E}">
        <p14:creationId xmlns:p14="http://schemas.microsoft.com/office/powerpoint/2010/main" val="26914507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3</a:t>
            </a:fld>
            <a:endParaRPr lang="en-GB"/>
          </a:p>
        </p:txBody>
      </p:sp>
    </p:spTree>
    <p:extLst>
      <p:ext uri="{BB962C8B-B14F-4D97-AF65-F5344CB8AC3E}">
        <p14:creationId xmlns:p14="http://schemas.microsoft.com/office/powerpoint/2010/main" val="21675066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4</a:t>
            </a:fld>
            <a:endParaRPr lang="en-GB"/>
          </a:p>
        </p:txBody>
      </p:sp>
    </p:spTree>
    <p:extLst>
      <p:ext uri="{BB962C8B-B14F-4D97-AF65-F5344CB8AC3E}">
        <p14:creationId xmlns:p14="http://schemas.microsoft.com/office/powerpoint/2010/main" val="3708991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5</a:t>
            </a:fld>
            <a:endParaRPr lang="en-GB"/>
          </a:p>
        </p:txBody>
      </p:sp>
    </p:spTree>
    <p:extLst>
      <p:ext uri="{BB962C8B-B14F-4D97-AF65-F5344CB8AC3E}">
        <p14:creationId xmlns:p14="http://schemas.microsoft.com/office/powerpoint/2010/main" val="29352281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6</a:t>
            </a:fld>
            <a:endParaRPr lang="en-GB"/>
          </a:p>
        </p:txBody>
      </p:sp>
    </p:spTree>
    <p:extLst>
      <p:ext uri="{BB962C8B-B14F-4D97-AF65-F5344CB8AC3E}">
        <p14:creationId xmlns:p14="http://schemas.microsoft.com/office/powerpoint/2010/main" val="27474902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7</a:t>
            </a:fld>
            <a:endParaRPr lang="en-GB"/>
          </a:p>
        </p:txBody>
      </p:sp>
    </p:spTree>
    <p:extLst>
      <p:ext uri="{BB962C8B-B14F-4D97-AF65-F5344CB8AC3E}">
        <p14:creationId xmlns:p14="http://schemas.microsoft.com/office/powerpoint/2010/main" val="162059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8</a:t>
            </a:fld>
            <a:endParaRPr lang="en-GB"/>
          </a:p>
        </p:txBody>
      </p:sp>
    </p:spTree>
    <p:extLst>
      <p:ext uri="{BB962C8B-B14F-4D97-AF65-F5344CB8AC3E}">
        <p14:creationId xmlns:p14="http://schemas.microsoft.com/office/powerpoint/2010/main" val="42652502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pPr marL="0" indent="0" rtl="0">
              <a:buFont typeface="Arial" panose="020B0604020202020204" pitchFamily="34" charset="0"/>
              <a:buNone/>
            </a:pPr>
            <a:r>
              <a:rPr lang="en-US" sz="1000" dirty="0"/>
              <a:t>Revise o slide </a:t>
            </a:r>
            <a:r>
              <a:rPr lang="en-US" sz="1000" dirty="0" err="1"/>
              <a:t>conforme</a:t>
            </a:r>
            <a:r>
              <a:rPr lang="en-US" sz="1000" dirty="0"/>
              <a:t> </a:t>
            </a:r>
            <a:r>
              <a:rPr lang="en-US" sz="1000" dirty="0" err="1"/>
              <a:t>indicado</a:t>
            </a:r>
            <a:endParaRPr lang="en-US" sz="1000"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39</a:t>
            </a:fld>
            <a:endParaRPr lang="en-GB"/>
          </a:p>
        </p:txBody>
      </p:sp>
    </p:spTree>
    <p:extLst>
      <p:ext uri="{BB962C8B-B14F-4D97-AF65-F5344CB8AC3E}">
        <p14:creationId xmlns:p14="http://schemas.microsoft.com/office/powerpoint/2010/main" val="41713982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pPr marL="0" indent="0" rtl="0">
              <a:buFont typeface="Arial" panose="020B0604020202020204" pitchFamily="34" charset="0"/>
              <a:buNone/>
            </a:pPr>
            <a:r>
              <a:rPr lang="en-US" sz="1000" dirty="0"/>
              <a:t>Revise o slide </a:t>
            </a:r>
            <a:r>
              <a:rPr lang="en-US" sz="1000" dirty="0" err="1"/>
              <a:t>conforme</a:t>
            </a:r>
            <a:r>
              <a:rPr lang="en-US" sz="1000" dirty="0"/>
              <a:t> </a:t>
            </a:r>
            <a:r>
              <a:rPr lang="en-US" sz="1000" dirty="0" err="1"/>
              <a:t>indicado</a:t>
            </a:r>
            <a:endParaRPr lang="en-US" sz="1000"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40</a:t>
            </a:fld>
            <a:endParaRPr lang="en-GB"/>
          </a:p>
        </p:txBody>
      </p:sp>
    </p:spTree>
    <p:extLst>
      <p:ext uri="{BB962C8B-B14F-4D97-AF65-F5344CB8AC3E}">
        <p14:creationId xmlns:p14="http://schemas.microsoft.com/office/powerpoint/2010/main" val="309381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4</a:t>
            </a:fld>
            <a:endParaRPr lang="en-GB"/>
          </a:p>
        </p:txBody>
      </p:sp>
    </p:spTree>
    <p:extLst>
      <p:ext uri="{BB962C8B-B14F-4D97-AF65-F5344CB8AC3E}">
        <p14:creationId xmlns:p14="http://schemas.microsoft.com/office/powerpoint/2010/main" val="15387684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pPr rtl="0"/>
            <a:r>
              <a:rPr lang="en-US" sz="1000" b="1" dirty="0" err="1">
                <a:effectLst/>
                <a:latin typeface="Tw Cen MT" panose="020B0602020104020603" pitchFamily="34" charset="77"/>
                <a:ea typeface="MS Mincho" panose="02020609040205080304" pitchFamily="49" charset="-128"/>
                <a:cs typeface="Times New Roman" panose="02020603050405020304" pitchFamily="18" charset="0"/>
              </a:rPr>
              <a:t>Ativação</a:t>
            </a:r>
            <a:r>
              <a:rPr lang="en-US" sz="1000" b="1" dirty="0">
                <a:effectLst/>
                <a:latin typeface="Tw Cen MT" panose="020B0602020104020603" pitchFamily="34" charset="77"/>
                <a:ea typeface="MS Mincho" panose="02020609040205080304" pitchFamily="49" charset="-128"/>
                <a:cs typeface="Times New Roman" panose="02020603050405020304" pitchFamily="18" charset="0"/>
              </a:rPr>
              <a:t> do </a:t>
            </a:r>
            <a:r>
              <a:rPr lang="en-US" sz="1000" b="1" dirty="0" err="1">
                <a:effectLst/>
                <a:latin typeface="Tw Cen MT" panose="020B0602020104020603" pitchFamily="34" charset="77"/>
                <a:ea typeface="MS Mincho" panose="02020609040205080304" pitchFamily="49" charset="-128"/>
                <a:cs typeface="Times New Roman" panose="02020603050405020304" pitchFamily="18" charset="0"/>
              </a:rPr>
              <a:t>sistema</a:t>
            </a:r>
            <a:r>
              <a:rPr lang="en-US" sz="1000" b="1" dirty="0">
                <a:effectLst/>
                <a:latin typeface="Tw Cen MT" panose="020B0602020104020603" pitchFamily="34" charset="77"/>
                <a:ea typeface="MS Mincho" panose="02020609040205080304" pitchFamily="49" charset="-128"/>
                <a:cs typeface="Times New Roman" panose="02020603050405020304" pitchFamily="18" charset="0"/>
              </a:rPr>
              <a:t> do </a:t>
            </a:r>
            <a:r>
              <a:rPr lang="en-US" sz="1000" b="1" dirty="0" err="1">
                <a:effectLst/>
                <a:latin typeface="Tw Cen MT" panose="020B0602020104020603" pitchFamily="34" charset="77"/>
                <a:ea typeface="MS Mincho" panose="02020609040205080304" pitchFamily="49" charset="-128"/>
                <a:cs typeface="Times New Roman" panose="02020603050405020304" pitchFamily="18" charset="0"/>
              </a:rPr>
              <a:t>complemento</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lássic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CP) e as vias d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lectin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cionada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quand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o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omplexo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ntígeno-anticorp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lássic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ou</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carbos d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uperfíci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micróbio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via d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lectin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s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ligam</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eu</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ntígen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lvo</a:t>
            </a:r>
            <a:r>
              <a:rPr lang="en-CA" sz="1000" baseline="30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1,2</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lternativ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P),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ontrári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as vias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lássica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e das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léxico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é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lternad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ontinuament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em</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um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nível</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baix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no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angu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hidrólis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C3.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Iss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geralment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é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hamad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a:t>
            </a:r>
            <a:r>
              <a:rPr lang="en-CA" sz="1000" b="1"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mecanismo</a:t>
            </a:r>
            <a:r>
              <a:rPr lang="en-CA" sz="1000" b="1"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d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verificaç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pois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ermit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que o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istem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ermaneç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reparad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par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um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mplificaç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rápid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e robusta</a:t>
            </a:r>
            <a:r>
              <a:rPr lang="en-CA" sz="1000" baseline="30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1</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marL="342900" lvl="0" indent="-342900" rtl="0">
              <a:buFont typeface="Arial" panose="020B0604020202020204" pitchFamily="34" charset="0"/>
              <a:buChar char="•"/>
              <a:tabLst>
                <a:tab pos="457200" algn="l"/>
              </a:tabLst>
            </a:pP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mplificaç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a AP é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rigidament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ontrolad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em</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ircunstância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normai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or</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um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grand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númer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roteínas</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reguladoras</a:t>
            </a:r>
            <a:r>
              <a:rPr lang="en-CA" sz="1000" baseline="30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3</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marL="342900" lvl="0" indent="-342900" rtl="0">
              <a:buFont typeface="Arial" panose="020B0604020202020204" pitchFamily="34" charset="0"/>
              <a:buChar char="•"/>
              <a:tabLst>
                <a:tab pos="457200" algn="l"/>
              </a:tabLst>
            </a:pP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O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fator</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 é 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enzim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limitador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velocidade</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o AP. É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um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serin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protease qu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atalisador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livagem</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o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fator</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B,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resultand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n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tivaç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de AP e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formação</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posterior de C3 convertase</a:t>
            </a:r>
            <a:r>
              <a:rPr lang="en-CA" sz="1000" baseline="30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3</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P,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alternativ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CP, via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clássic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HPN,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hemoglobinúri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paroxística</a:t>
            </a:r>
            <a:r>
              <a:rPr lang="en-CA" sz="1000" dirty="0">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solidFill>
                  <a:srgbClr val="000000"/>
                </a:solidFill>
                <a:effectLst/>
                <a:latin typeface="Tw Cen MT" panose="020B0602020104020603" pitchFamily="34" charset="77"/>
                <a:ea typeface="MS Mincho" panose="02020609040205080304" pitchFamily="49" charset="-128"/>
                <a:cs typeface="Times New Roman" panose="02020603050405020304" pitchFamily="18" charset="0"/>
              </a:rPr>
              <a:t>noite</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dirty="0">
                <a:solidFill>
                  <a:srgbClr val="FF0000"/>
                </a:solidFill>
                <a:effectLst/>
                <a:latin typeface="Tw Cen MT" panose="020B0602020104020603" pitchFamily="34" charset="77"/>
                <a:ea typeface="MS Mincho" panose="02020609040205080304" pitchFamily="49" charset="-128"/>
                <a:cs typeface="Times New Roman" panose="02020603050405020304" pitchFamily="18" charset="0"/>
              </a:rPr>
              <a:t> </a:t>
            </a:r>
            <a:endParaRPr lang="en-CA" sz="1000" dirty="0">
              <a:effectLst/>
              <a:latin typeface="Tw Cen MT" panose="020B0602020104020603" pitchFamily="34" charset="77"/>
              <a:ea typeface="MS Mincho" panose="02020609040205080304" pitchFamily="49" charset="-128"/>
              <a:cs typeface="Times New Roman" panose="02020603050405020304" pitchFamily="18" charset="0"/>
            </a:endParaRPr>
          </a:p>
          <a:p>
            <a:pPr rtl="0"/>
            <a:r>
              <a:rPr lang="en-CA" sz="1000" b="1" dirty="0">
                <a:effectLst/>
                <a:latin typeface="Tw Cen MT" panose="020B0602020104020603" pitchFamily="34" charset="77"/>
                <a:ea typeface="MS Mincho" panose="02020609040205080304" pitchFamily="49" charset="-128"/>
                <a:cs typeface="Times New Roman" panose="02020603050405020304" pitchFamily="18" charset="0"/>
              </a:rPr>
              <a:t>1. </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Noris M,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Remucci</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G. </a:t>
            </a:r>
            <a:r>
              <a:rPr lang="en-CA" sz="1000" i="1" dirty="0">
                <a:effectLst/>
                <a:latin typeface="Tw Cen MT" panose="020B0602020104020603" pitchFamily="34" charset="77"/>
                <a:ea typeface="MS Mincho" panose="02020609040205080304" pitchFamily="49" charset="-128"/>
                <a:cs typeface="Times New Roman" panose="02020603050405020304" pitchFamily="18" charset="0"/>
              </a:rPr>
              <a:t>Semin </a:t>
            </a:r>
            <a:r>
              <a:rPr lang="en-CA" sz="1000" i="1" dirty="0" err="1">
                <a:effectLst/>
                <a:latin typeface="Tw Cen MT" panose="020B0602020104020603" pitchFamily="34" charset="77"/>
                <a:ea typeface="MS Mincho" panose="02020609040205080304" pitchFamily="49" charset="-128"/>
                <a:cs typeface="Times New Roman" panose="02020603050405020304" pitchFamily="18" charset="0"/>
              </a:rPr>
              <a:t>Nefrol</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2013;33(6):479-492. </a:t>
            </a:r>
            <a:r>
              <a:rPr lang="en-CA" sz="1000" b="1" dirty="0">
                <a:effectLst/>
                <a:latin typeface="Tw Cen MT" panose="020B0602020104020603" pitchFamily="34" charset="77"/>
                <a:ea typeface="MS Mincho" panose="02020609040205080304" pitchFamily="49" charset="-128"/>
                <a:cs typeface="Times New Roman" panose="02020603050405020304" pitchFamily="18" charset="0"/>
              </a:rPr>
              <a:t>2.</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Ricklin</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D,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Hajishengalis</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G, Wang K,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CLambris</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JD. </a:t>
            </a:r>
            <a:r>
              <a:rPr lang="en-CA" sz="1000" i="1" dirty="0">
                <a:effectLst/>
                <a:latin typeface="Tw Cen MT" panose="020B0602020104020603" pitchFamily="34" charset="77"/>
                <a:ea typeface="MS Mincho" panose="02020609040205080304" pitchFamily="49" charset="-128"/>
                <a:cs typeface="Times New Roman" panose="02020603050405020304" pitchFamily="18" charset="0"/>
              </a:rPr>
              <a:t>Nat Immunol</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2010;11(9):785-797. </a:t>
            </a:r>
            <a:r>
              <a:rPr lang="en-CA" sz="1000" b="1" dirty="0">
                <a:effectLst/>
                <a:latin typeface="Tw Cen MT" panose="020B0602020104020603" pitchFamily="34" charset="77"/>
                <a:ea typeface="MS Mincho" panose="02020609040205080304" pitchFamily="49" charset="-128"/>
                <a:cs typeface="Times New Roman" panose="02020603050405020304" pitchFamily="18" charset="0"/>
              </a:rPr>
              <a:t>3. </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Yuan X,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Gavliilaki</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E, </a:t>
            </a:r>
            <a:r>
              <a:rPr lang="en-CA" sz="1000" dirty="0" err="1">
                <a:effectLst/>
                <a:latin typeface="Tw Cen MT" panose="020B0602020104020603" pitchFamily="34" charset="77"/>
                <a:ea typeface="MS Mincho" panose="02020609040205080304" pitchFamily="49" charset="-128"/>
                <a:cs typeface="Times New Roman" panose="02020603050405020304" pitchFamily="18" charset="0"/>
              </a:rPr>
              <a:t>Thanassi</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JA, et al. </a:t>
            </a:r>
            <a:r>
              <a:rPr lang="en-CA" sz="1000" i="1" dirty="0" err="1">
                <a:effectLst/>
                <a:latin typeface="Tw Cen MT" panose="020B0602020104020603" pitchFamily="34" charset="77"/>
                <a:ea typeface="MS Mincho" panose="02020609040205080304" pitchFamily="49" charset="-128"/>
                <a:cs typeface="Times New Roman" panose="02020603050405020304" pitchFamily="18" charset="0"/>
              </a:rPr>
              <a:t>Hematológica</a:t>
            </a:r>
            <a:r>
              <a:rPr lang="en-CA" sz="1000" dirty="0">
                <a:effectLst/>
                <a:latin typeface="Tw Cen MT" panose="020B0602020104020603" pitchFamily="34" charset="77"/>
                <a:ea typeface="MS Mincho" panose="02020609040205080304" pitchFamily="49" charset="-128"/>
                <a:cs typeface="Times New Roman" panose="02020603050405020304" pitchFamily="18" charset="0"/>
              </a:rPr>
              <a:t>. 2017;102(3):466-475.</a:t>
            </a:r>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41</a:t>
            </a:fld>
            <a:endParaRPr lang="en-GB"/>
          </a:p>
        </p:txBody>
      </p:sp>
    </p:spTree>
    <p:extLst>
      <p:ext uri="{BB962C8B-B14F-4D97-AF65-F5344CB8AC3E}">
        <p14:creationId xmlns:p14="http://schemas.microsoft.com/office/powerpoint/2010/main" val="3379847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5</a:t>
            </a:fld>
            <a:endParaRPr lang="en-GB"/>
          </a:p>
        </p:txBody>
      </p:sp>
    </p:spTree>
    <p:extLst>
      <p:ext uri="{BB962C8B-B14F-4D97-AF65-F5344CB8AC3E}">
        <p14:creationId xmlns:p14="http://schemas.microsoft.com/office/powerpoint/2010/main" val="3184140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7</a:t>
            </a:fld>
            <a:endParaRPr lang="en-GB"/>
          </a:p>
        </p:txBody>
      </p:sp>
    </p:spTree>
    <p:extLst>
      <p:ext uri="{BB962C8B-B14F-4D97-AF65-F5344CB8AC3E}">
        <p14:creationId xmlns:p14="http://schemas.microsoft.com/office/powerpoint/2010/main" val="695006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8</a:t>
            </a:fld>
            <a:endParaRPr lang="en-GB"/>
          </a:p>
        </p:txBody>
      </p:sp>
    </p:spTree>
    <p:extLst>
      <p:ext uri="{BB962C8B-B14F-4D97-AF65-F5344CB8AC3E}">
        <p14:creationId xmlns:p14="http://schemas.microsoft.com/office/powerpoint/2010/main" val="43207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9</a:t>
            </a:fld>
            <a:endParaRPr lang="en-GB"/>
          </a:p>
        </p:txBody>
      </p:sp>
    </p:spTree>
    <p:extLst>
      <p:ext uri="{BB962C8B-B14F-4D97-AF65-F5344CB8AC3E}">
        <p14:creationId xmlns:p14="http://schemas.microsoft.com/office/powerpoint/2010/main" val="3048462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850900" y="300038"/>
            <a:ext cx="5156200" cy="290036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48857A81-DEF9-4B57-AC08-20326D7F815B}" type="slidenum">
              <a:rPr lang="en-GB" smtClean="0"/>
              <a:pPr/>
              <a:t>10</a:t>
            </a:fld>
            <a:endParaRPr lang="en-GB"/>
          </a:p>
        </p:txBody>
      </p:sp>
    </p:spTree>
    <p:extLst>
      <p:ext uri="{BB962C8B-B14F-4D97-AF65-F5344CB8AC3E}">
        <p14:creationId xmlns:p14="http://schemas.microsoft.com/office/powerpoint/2010/main" val="4189931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48BD696F-9AA0-EBBA-7C99-2A5B2FAF7C8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2046031"/>
            <a:ext cx="9729786" cy="4811969"/>
          </a:xfrm>
          <a:prstGeom prst="rect">
            <a:avLst/>
          </a:prstGeom>
        </p:spPr>
      </p:pic>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5"/>
            <a:ext cx="9729787" cy="565786"/>
          </a:xfrm>
          <a:prstGeom prst="rect">
            <a:avLst/>
          </a:prstGeom>
        </p:spPr>
        <p:txBody>
          <a:bodyPr anchor="b" anchorCtr="0">
            <a:noAutofit/>
          </a:bodyPr>
          <a:lstStyle>
            <a:lvl1pPr marL="0" indent="0">
              <a:lnSpc>
                <a:spcPct val="90000"/>
              </a:lnSpc>
              <a:spcAft>
                <a:spcPts val="300"/>
              </a:spcAft>
              <a:buNone/>
              <a:defRPr sz="800"/>
            </a:lvl1pPr>
          </a:lstStyle>
          <a:p>
            <a:pPr lvl="0"/>
            <a:r>
              <a:rPr lang="en-US"/>
              <a:t>Footnotes</a:t>
            </a:r>
          </a:p>
        </p:txBody>
      </p:sp>
      <p:sp>
        <p:nvSpPr>
          <p:cNvPr id="2" name="Text Placeholder 30">
            <a:extLst>
              <a:ext uri="{FF2B5EF4-FFF2-40B4-BE49-F238E27FC236}">
                <a16:creationId xmlns:a16="http://schemas.microsoft.com/office/drawing/2014/main" id="{380E65E8-B63B-F590-6F29-8B2C241CEBE3}"/>
              </a:ext>
            </a:extLst>
          </p:cNvPr>
          <p:cNvSpPr txBox="1">
            <a:spLocks/>
          </p:cNvSpPr>
          <p:nvPr userDrawn="1"/>
        </p:nvSpPr>
        <p:spPr>
          <a:xfrm>
            <a:off x="11597151" y="6303999"/>
            <a:ext cx="294812" cy="355098"/>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 </a:t>
            </a:r>
          </a:p>
        </p:txBody>
      </p:sp>
    </p:spTree>
    <p:custDataLst>
      <p:tags r:id="rId1"/>
    </p:custDataLst>
    <p:extLst>
      <p:ext uri="{BB962C8B-B14F-4D97-AF65-F5344CB8AC3E}">
        <p14:creationId xmlns:p14="http://schemas.microsoft.com/office/powerpoint/2010/main" val="284843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48BD696F-9AA0-EBBA-7C99-2A5B2FAF7C8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2046031"/>
            <a:ext cx="9729786" cy="4811969"/>
          </a:xfrm>
          <a:prstGeom prst="rect">
            <a:avLst/>
          </a:prstGeom>
        </p:spPr>
      </p:pic>
    </p:spTree>
    <p:custDataLst>
      <p:tags r:id="rId1"/>
    </p:custDataLst>
    <p:extLst>
      <p:ext uri="{BB962C8B-B14F-4D97-AF65-F5344CB8AC3E}">
        <p14:creationId xmlns:p14="http://schemas.microsoft.com/office/powerpoint/2010/main" val="90162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48BD696F-9AA0-EBBA-7C99-2A5B2FAF7C8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2046031"/>
            <a:ext cx="9729786" cy="4811969"/>
          </a:xfrm>
          <a:prstGeom prst="rect">
            <a:avLst/>
          </a:prstGeom>
        </p:spPr>
      </p:pic>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5"/>
            <a:ext cx="9729787" cy="565786"/>
          </a:xfrm>
          <a:prstGeom prst="rect">
            <a:avLst/>
          </a:prstGeom>
        </p:spPr>
        <p:txBody>
          <a:bodyPr anchor="b" anchorCtr="0">
            <a:noAutofit/>
          </a:bodyPr>
          <a:lstStyle>
            <a:lvl1pPr marL="0" indent="0">
              <a:lnSpc>
                <a:spcPct val="90000"/>
              </a:lnSpc>
              <a:spcAft>
                <a:spcPts val="300"/>
              </a:spcAft>
              <a:buNone/>
              <a:defRPr sz="800"/>
            </a:lvl1pPr>
          </a:lstStyle>
          <a:p>
            <a:pPr lvl="0"/>
            <a:r>
              <a:rPr lang="en-US"/>
              <a:t>Footnotes</a:t>
            </a:r>
          </a:p>
        </p:txBody>
      </p:sp>
      <p:sp>
        <p:nvSpPr>
          <p:cNvPr id="2" name="Text Placeholder 30">
            <a:extLst>
              <a:ext uri="{FF2B5EF4-FFF2-40B4-BE49-F238E27FC236}">
                <a16:creationId xmlns:a16="http://schemas.microsoft.com/office/drawing/2014/main" id="{380E65E8-B63B-F590-6F29-8B2C241CEBE3}"/>
              </a:ext>
            </a:extLst>
          </p:cNvPr>
          <p:cNvSpPr txBox="1">
            <a:spLocks/>
          </p:cNvSpPr>
          <p:nvPr userDrawn="1"/>
        </p:nvSpPr>
        <p:spPr>
          <a:xfrm>
            <a:off x="11597151" y="6303999"/>
            <a:ext cx="294812" cy="355098"/>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 </a:t>
            </a:r>
          </a:p>
        </p:txBody>
      </p:sp>
    </p:spTree>
    <p:custDataLst>
      <p:tags r:id="rId1"/>
    </p:custDataLst>
    <p:extLst>
      <p:ext uri="{BB962C8B-B14F-4D97-AF65-F5344CB8AC3E}">
        <p14:creationId xmlns:p14="http://schemas.microsoft.com/office/powerpoint/2010/main" val="307234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48BD696F-9AA0-EBBA-7C99-2A5B2FAF7C8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2046031"/>
            <a:ext cx="9729786" cy="4811969"/>
          </a:xfrm>
          <a:prstGeom prst="rect">
            <a:avLst/>
          </a:prstGeom>
        </p:spPr>
      </p:pic>
    </p:spTree>
    <p:custDataLst>
      <p:tags r:id="rId1"/>
    </p:custDataLst>
    <p:extLst>
      <p:ext uri="{BB962C8B-B14F-4D97-AF65-F5344CB8AC3E}">
        <p14:creationId xmlns:p14="http://schemas.microsoft.com/office/powerpoint/2010/main" val="105846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1.bin"/><Relationship Id="rId5" Type="http://schemas.openxmlformats.org/officeDocument/2006/relationships/tags" Target="../tags/tag7.xml"/><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6FE9D1-D5EA-511A-EF12-C04EEE4ECF48}"/>
              </a:ext>
            </a:extLst>
          </p:cNvPr>
          <p:cNvGraphicFramePr>
            <a:graphicFrameLocks noChangeAspect="1"/>
          </p:cNvGraphicFramePr>
          <p:nvPr userDrawn="1">
            <p:custDataLst>
              <p:tags r:id="rId5"/>
            </p:custDataLst>
            <p:extLst>
              <p:ext uri="{D42A27DB-BD31-4B8C-83A1-F6EECF244321}">
                <p14:modId xmlns:p14="http://schemas.microsoft.com/office/powerpoint/2010/main" val="1597953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 imgW="404" imgH="403" progId="TCLayout.ActiveDocument.1">
                  <p:embed/>
                </p:oleObj>
              </mc:Choice>
              <mc:Fallback>
                <p:oleObj name="Slide do think-cell" r:id="rId6" imgW="404" imgH="403" progId="TCLayout.ActiveDocument.1">
                  <p:embed/>
                  <p:pic>
                    <p:nvPicPr>
                      <p:cNvPr id="5" name="think-cell data - do not delete" hidden="1">
                        <a:extLst>
                          <a:ext uri="{FF2B5EF4-FFF2-40B4-BE49-F238E27FC236}">
                            <a16:creationId xmlns:a16="http://schemas.microsoft.com/office/drawing/2014/main" id="{796FE9D1-D5EA-511A-EF12-C04EEE4ECF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4"/>
    </p:custDataLst>
    <p:extLst>
      <p:ext uri="{BB962C8B-B14F-4D97-AF65-F5344CB8AC3E}">
        <p14:creationId xmlns:p14="http://schemas.microsoft.com/office/powerpoint/2010/main" val="3946538369"/>
      </p:ext>
    </p:extLst>
  </p:cSld>
  <p:clrMap bg1="lt1" tx1="dk1" bg2="lt2" tx2="dk2" accent1="accent1" accent2="accent2" accent3="accent3" accent4="accent4" accent5="accent5" accent6="accent6" hlink="hlink" folHlink="folHlink"/>
  <p:sldLayoutIdLst>
    <p:sldLayoutId id="2147484213" r:id="rId1"/>
    <p:sldLayoutId id="214748421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6FE9D1-D5EA-511A-EF12-C04EEE4ECF48}"/>
              </a:ext>
            </a:extLst>
          </p:cNvPr>
          <p:cNvGraphicFramePr>
            <a:graphicFrameLocks noChangeAspect="1"/>
          </p:cNvGraphicFramePr>
          <p:nvPr userDrawn="1">
            <p:custDataLst>
              <p:tags r:id="rId5"/>
            </p:custDataLst>
            <p:extLst>
              <p:ext uri="{D42A27DB-BD31-4B8C-83A1-F6EECF244321}">
                <p14:modId xmlns:p14="http://schemas.microsoft.com/office/powerpoint/2010/main" val="1597953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 imgW="404" imgH="403" progId="TCLayout.ActiveDocument.1">
                  <p:embed/>
                </p:oleObj>
              </mc:Choice>
              <mc:Fallback>
                <p:oleObj name="Slide do think-cell" r:id="rId6" imgW="404" imgH="403" progId="TCLayout.ActiveDocument.1">
                  <p:embed/>
                  <p:pic>
                    <p:nvPicPr>
                      <p:cNvPr id="5" name="think-cell data - do not delete" hidden="1">
                        <a:extLst>
                          <a:ext uri="{FF2B5EF4-FFF2-40B4-BE49-F238E27FC236}">
                            <a16:creationId xmlns:a16="http://schemas.microsoft.com/office/drawing/2014/main" id="{796FE9D1-D5EA-511A-EF12-C04EEE4ECF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4"/>
    </p:custDataLst>
    <p:extLst>
      <p:ext uri="{BB962C8B-B14F-4D97-AF65-F5344CB8AC3E}">
        <p14:creationId xmlns:p14="http://schemas.microsoft.com/office/powerpoint/2010/main" val="1822584963"/>
      </p:ext>
    </p:extLst>
  </p:cSld>
  <p:clrMap bg1="lt1" tx1="dk1" bg2="lt2" tx2="dk2" accent1="accent1" accent2="accent2" accent3="accent3" accent4="accent4" accent5="accent5" accent6="accent6" hlink="hlink" folHlink="folHlink"/>
  <p:sldLayoutIdLst>
    <p:sldLayoutId id="2147484216" r:id="rId1"/>
    <p:sldLayoutId id="2147484217"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svg"/><Relationship Id="rId5" Type="http://schemas.openxmlformats.org/officeDocument/2006/relationships/image" Target="../media/image7.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5.png"/><Relationship Id="rId4" Type="http://schemas.openxmlformats.org/officeDocument/2006/relationships/image" Target="../media/image40.png"/><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microsoft.com/office/2007/relationships/hdphoto" Target="../media/hdphoto3.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8.svg"/><Relationship Id="rId5" Type="http://schemas.openxmlformats.org/officeDocument/2006/relationships/image" Target="../media/image7.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image" Target="../media/image56.png"/><Relationship Id="rId9" Type="http://schemas.openxmlformats.org/officeDocument/2006/relationships/image" Target="../media/image6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image" Target="../media/image64.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image" Target="../media/image73.png"/></Relationships>
</file>

<file path=ppt/slides/_rels/slide46.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2.xml"/><Relationship Id="rId5" Type="http://schemas.openxmlformats.org/officeDocument/2006/relationships/image" Target="../media/image75.png"/><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118D0565-914E-701B-0402-288FD384941E}"/>
              </a:ext>
            </a:extLst>
          </p:cNvPr>
          <p:cNvPicPr>
            <a:picLocks noChangeAspect="1"/>
          </p:cNvPicPr>
          <p:nvPr/>
        </p:nvPicPr>
        <p:blipFill>
          <a:blip r:embed="rId3">
            <a:alphaModFix/>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7812" b="7812"/>
          <a:stretch/>
        </p:blipFill>
        <p:spPr>
          <a:xfrm>
            <a:off x="0" y="0"/>
            <a:ext cx="12191990" cy="6857999"/>
          </a:xfrm>
          <a:prstGeom prst="rect">
            <a:avLst/>
          </a:prstGeom>
        </p:spPr>
      </p:pic>
      <p:sp>
        <p:nvSpPr>
          <p:cNvPr id="14" name="Retângulo: Único Canto Arredondado 13">
            <a:extLst>
              <a:ext uri="{FF2B5EF4-FFF2-40B4-BE49-F238E27FC236}">
                <a16:creationId xmlns:a16="http://schemas.microsoft.com/office/drawing/2014/main" id="{332A9F67-8B10-E379-1C3F-3B04F2459BB3}"/>
              </a:ext>
            </a:extLst>
          </p:cNvPr>
          <p:cNvSpPr/>
          <p:nvPr/>
        </p:nvSpPr>
        <p:spPr>
          <a:xfrm flipH="1">
            <a:off x="5" y="5056338"/>
            <a:ext cx="12191995" cy="1803237"/>
          </a:xfrm>
          <a:prstGeom prst="round1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 name="Retângulo: Único Canto Arredondado 4">
            <a:extLst>
              <a:ext uri="{FF2B5EF4-FFF2-40B4-BE49-F238E27FC236}">
                <a16:creationId xmlns:a16="http://schemas.microsoft.com/office/drawing/2014/main" id="{4329931E-E0E1-F789-E68B-E7B44BEA0F32}"/>
              </a:ext>
            </a:extLst>
          </p:cNvPr>
          <p:cNvSpPr/>
          <p:nvPr/>
        </p:nvSpPr>
        <p:spPr>
          <a:xfrm flipH="1" flipV="1">
            <a:off x="-5" y="1576"/>
            <a:ext cx="12191995" cy="5054762"/>
          </a:xfrm>
          <a:prstGeom prst="round1Rect">
            <a:avLst>
              <a:gd name="adj" fmla="val 0"/>
            </a:avLst>
          </a:prstGeom>
          <a:gradFill>
            <a:gsLst>
              <a:gs pos="50000">
                <a:srgbClr val="9F002B">
                  <a:alpha val="20000"/>
                </a:srgbClr>
              </a:gs>
              <a:gs pos="0">
                <a:schemeClr val="accent1">
                  <a:alpha val="88000"/>
                </a:schemeClr>
              </a:gs>
              <a:gs pos="100000">
                <a:schemeClr val="bg2">
                  <a:alpha val="67000"/>
                </a:scheme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0" name="Gráfico 9">
            <a:extLst>
              <a:ext uri="{FF2B5EF4-FFF2-40B4-BE49-F238E27FC236}">
                <a16:creationId xmlns:a16="http://schemas.microsoft.com/office/drawing/2014/main" id="{91E0AF04-E378-B55C-8394-704E54BB08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3074860"/>
            <a:ext cx="7649497" cy="3783140"/>
          </a:xfrm>
          <a:prstGeom prst="rect">
            <a:avLst/>
          </a:prstGeom>
        </p:spPr>
      </p:pic>
      <p:sp>
        <p:nvSpPr>
          <p:cNvPr id="4" name="Retângulo: Cantos Arredondados 3">
            <a:extLst>
              <a:ext uri="{FF2B5EF4-FFF2-40B4-BE49-F238E27FC236}">
                <a16:creationId xmlns:a16="http://schemas.microsoft.com/office/drawing/2014/main" id="{F92E7616-8B46-E689-1515-1B162896ACA6}"/>
              </a:ext>
            </a:extLst>
          </p:cNvPr>
          <p:cNvSpPr/>
          <p:nvPr/>
        </p:nvSpPr>
        <p:spPr>
          <a:xfrm>
            <a:off x="1653138" y="3535538"/>
            <a:ext cx="8885725" cy="1803237"/>
          </a:xfrm>
          <a:prstGeom prst="roundRect">
            <a:avLst>
              <a:gd name="adj" fmla="val 0"/>
            </a:avLst>
          </a:prstGeom>
          <a:gradFill flip="none" rotWithShape="1">
            <a:gsLst>
              <a:gs pos="37000">
                <a:schemeClr val="bg1">
                  <a:lumMod val="97000"/>
                </a:schemeClr>
              </a:gs>
              <a:gs pos="0">
                <a:srgbClr val="CD99B9">
                  <a:lumMod val="27000"/>
                  <a:lumOff val="73000"/>
                  <a:alpha val="75000"/>
                </a:srgbClr>
              </a:gs>
              <a:gs pos="99000">
                <a:schemeClr val="bg1">
                  <a:alpha val="76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EF70F015-F5B0-9A68-EF4F-182BB4186B09}"/>
              </a:ext>
            </a:extLst>
          </p:cNvPr>
          <p:cNvSpPr txBox="1"/>
          <p:nvPr/>
        </p:nvSpPr>
        <p:spPr>
          <a:xfrm>
            <a:off x="1728579" y="4380616"/>
            <a:ext cx="8734842" cy="904863"/>
          </a:xfrm>
          <a:prstGeom prst="rect">
            <a:avLst/>
          </a:prstGeom>
          <a:noFill/>
        </p:spPr>
        <p:txBody>
          <a:bodyPr wrap="square" rtlCol="0">
            <a:spAutoFit/>
          </a:bodyPr>
          <a:lstStyle/>
          <a:p>
            <a:pPr lvl="0" algn="ctr">
              <a:lnSpc>
                <a:spcPct val="80000"/>
              </a:lnSpc>
              <a:defRPr/>
            </a:pPr>
            <a:r>
              <a:rPr lang="pt-BR" sz="6600" b="1" dirty="0">
                <a:gradFill>
                  <a:gsLst>
                    <a:gs pos="0">
                      <a:schemeClr val="accent1"/>
                    </a:gs>
                    <a:gs pos="100000">
                      <a:schemeClr val="bg2"/>
                    </a:gs>
                  </a:gsLst>
                  <a:lin ang="2700000" scaled="0"/>
                </a:gradFill>
                <a:latin typeface="Calisto MT"/>
              </a:rPr>
              <a:t>IMUNOLOGIA</a:t>
            </a:r>
          </a:p>
        </p:txBody>
      </p:sp>
      <p:sp>
        <p:nvSpPr>
          <p:cNvPr id="3" name="CaixaDeTexto 2">
            <a:extLst>
              <a:ext uri="{FF2B5EF4-FFF2-40B4-BE49-F238E27FC236}">
                <a16:creationId xmlns:a16="http://schemas.microsoft.com/office/drawing/2014/main" id="{9A29E5C1-8BCF-35F6-9D5F-F13FCDCE5B22}"/>
              </a:ext>
            </a:extLst>
          </p:cNvPr>
          <p:cNvSpPr txBox="1"/>
          <p:nvPr/>
        </p:nvSpPr>
        <p:spPr>
          <a:xfrm>
            <a:off x="3617987" y="3677503"/>
            <a:ext cx="4956037" cy="646331"/>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lgn="ctr">
              <a:defRPr/>
            </a:pPr>
            <a:r>
              <a:rPr lang="en-US" sz="3600" spc="300" dirty="0">
                <a:solidFill>
                  <a:srgbClr val="003865"/>
                </a:solidFill>
              </a:rPr>
              <a:t>CONCEITOS BASES DA</a:t>
            </a:r>
          </a:p>
        </p:txBody>
      </p:sp>
      <p:pic>
        <p:nvPicPr>
          <p:cNvPr id="8" name="Gráfico 7">
            <a:extLst>
              <a:ext uri="{FF2B5EF4-FFF2-40B4-BE49-F238E27FC236}">
                <a16:creationId xmlns:a16="http://schemas.microsoft.com/office/drawing/2014/main" id="{0B126FE5-1733-5783-F577-9BC230078D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24866" y="5889523"/>
            <a:ext cx="2342268" cy="568087"/>
          </a:xfrm>
          <a:prstGeom prst="rect">
            <a:avLst/>
          </a:prstGeom>
        </p:spPr>
      </p:pic>
      <p:sp>
        <p:nvSpPr>
          <p:cNvPr id="6" name="CaixaDeTexto 5">
            <a:extLst>
              <a:ext uri="{FF2B5EF4-FFF2-40B4-BE49-F238E27FC236}">
                <a16:creationId xmlns:a16="http://schemas.microsoft.com/office/drawing/2014/main" id="{51ABF611-7550-EE7E-8F42-2B3E6332B0C1}"/>
              </a:ext>
            </a:extLst>
          </p:cNvPr>
          <p:cNvSpPr txBox="1"/>
          <p:nvPr/>
        </p:nvSpPr>
        <p:spPr>
          <a:xfrm>
            <a:off x="138335" y="6329411"/>
            <a:ext cx="3521099" cy="707886"/>
          </a:xfrm>
          <a:prstGeom prst="rect">
            <a:avLst/>
          </a:prstGeom>
          <a:noFill/>
        </p:spPr>
        <p:txBody>
          <a:bodyPr wrap="square">
            <a:spAutoFit/>
          </a:bodyPr>
          <a:lstStyle/>
          <a:p>
            <a:r>
              <a:rPr lang="pt-BR" sz="1000" dirty="0">
                <a:solidFill>
                  <a:srgbClr val="9DB0AC"/>
                </a:solidFill>
                <a:effectLst/>
              </a:rPr>
              <a:t>BR-38321. Material destinado exclusivamente a profissionais de saúde prescritores e dispensadores de medicamentos. Março/2025</a:t>
            </a:r>
          </a:p>
          <a:p>
            <a:endParaRPr lang="pt-BR" sz="1000" dirty="0">
              <a:solidFill>
                <a:srgbClr val="9DB0AC"/>
              </a:solidFill>
            </a:endParaRPr>
          </a:p>
        </p:txBody>
      </p:sp>
      <p:sp>
        <p:nvSpPr>
          <p:cNvPr id="9" name="Retângulo: Cantos Arredondados 8">
            <a:extLst>
              <a:ext uri="{FF2B5EF4-FFF2-40B4-BE49-F238E27FC236}">
                <a16:creationId xmlns:a16="http://schemas.microsoft.com/office/drawing/2014/main" id="{3DF21FED-C51D-9618-E03B-752DA4485BE3}"/>
              </a:ext>
            </a:extLst>
          </p:cNvPr>
          <p:cNvSpPr/>
          <p:nvPr/>
        </p:nvSpPr>
        <p:spPr>
          <a:xfrm>
            <a:off x="1653138" y="5422292"/>
            <a:ext cx="8885725" cy="375829"/>
          </a:xfrm>
          <a:prstGeom prst="roundRect">
            <a:avLst>
              <a:gd name="adj" fmla="val 0"/>
            </a:avLst>
          </a:prstGeom>
          <a:gradFill flip="none" rotWithShape="1">
            <a:gsLst>
              <a:gs pos="37000">
                <a:schemeClr val="bg1">
                  <a:lumMod val="97000"/>
                </a:schemeClr>
              </a:gs>
              <a:gs pos="0">
                <a:srgbClr val="CD99B9">
                  <a:lumMod val="27000"/>
                  <a:lumOff val="73000"/>
                  <a:alpha val="75000"/>
                </a:srgbClr>
              </a:gs>
              <a:gs pos="99000">
                <a:schemeClr val="bg1">
                  <a:alpha val="76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1" name="Rectangle 8">
            <a:extLst>
              <a:ext uri="{FF2B5EF4-FFF2-40B4-BE49-F238E27FC236}">
                <a16:creationId xmlns:a16="http://schemas.microsoft.com/office/drawing/2014/main" id="{E661FA8F-D6B4-7855-F55B-CF7CD2E01886}"/>
              </a:ext>
            </a:extLst>
          </p:cNvPr>
          <p:cNvSpPr/>
          <p:nvPr/>
        </p:nvSpPr>
        <p:spPr>
          <a:xfrm>
            <a:off x="2799898" y="5475078"/>
            <a:ext cx="61150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i="0" u="none" strike="noStrike" kern="1200" cap="none" spc="0" normalizeH="0" baseline="0" noProof="0" dirty="0">
                <a:ln>
                  <a:noFill/>
                </a:ln>
                <a:solidFill>
                  <a:schemeClr val="accent1"/>
                </a:solidFill>
                <a:effectLst/>
                <a:uLnTx/>
                <a:uFillTx/>
                <a:latin typeface="Calisto MT"/>
                <a:ea typeface="+mn-ea"/>
                <a:cs typeface="+mn-cs"/>
              </a:rPr>
              <a:t>Nome do Apresentador</a:t>
            </a:r>
            <a:endParaRPr kumimoji="0" lang="pt-BR" i="0" u="none" strike="noStrike" kern="1200" cap="none" spc="0" normalizeH="0" baseline="0" noProof="0" dirty="0">
              <a:ln>
                <a:noFill/>
              </a:ln>
              <a:solidFill>
                <a:schemeClr val="accent1"/>
              </a:solidFill>
              <a:effectLst/>
              <a:uLnTx/>
              <a:uFillTx/>
              <a:latin typeface="Calisto MT"/>
              <a:ea typeface="+mn-ea"/>
              <a:cs typeface="+mn-cs"/>
            </a:endParaRPr>
          </a:p>
        </p:txBody>
      </p:sp>
    </p:spTree>
    <p:extLst>
      <p:ext uri="{BB962C8B-B14F-4D97-AF65-F5344CB8AC3E}">
        <p14:creationId xmlns:p14="http://schemas.microsoft.com/office/powerpoint/2010/main" val="313927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ângulo: Cantos Arredondados 12">
            <a:extLst>
              <a:ext uri="{FF2B5EF4-FFF2-40B4-BE49-F238E27FC236}">
                <a16:creationId xmlns:a16="http://schemas.microsoft.com/office/drawing/2014/main" id="{BACE69F9-6540-3ED3-61BE-73C4FB9CCE87}"/>
              </a:ext>
            </a:extLst>
          </p:cNvPr>
          <p:cNvSpPr/>
          <p:nvPr/>
        </p:nvSpPr>
        <p:spPr>
          <a:xfrm>
            <a:off x="5017240" y="673100"/>
            <a:ext cx="5866660" cy="5446036"/>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152400" y="6236435"/>
            <a:ext cx="10239690" cy="565786"/>
          </a:xfrm>
        </p:spPr>
        <p:txBody>
          <a:bodyPr/>
          <a:lstStyle/>
          <a:p>
            <a:r>
              <a:rPr lang="en-US" b="0" i="0" dirty="0" err="1">
                <a:solidFill>
                  <a:srgbClr val="1D1D1D"/>
                </a:solidFill>
                <a:effectLst/>
                <a:latin typeface="Arial" panose="020B0604020202020204" pitchFamily="34" charset="0"/>
              </a:rPr>
              <a:t>Adaptado</a:t>
            </a:r>
            <a:r>
              <a:rPr lang="en-US" b="0" i="0" dirty="0">
                <a:solidFill>
                  <a:srgbClr val="1D1D1D"/>
                </a:solidFill>
                <a:effectLst/>
                <a:latin typeface="Arial" panose="020B0604020202020204" pitchFamily="34" charset="0"/>
              </a:rPr>
              <a:t> de: Dranoff, G. Cytokines in cancer pathogenesis and cancer therapy. Nat Rev Cancer 4, 11–22, 2004.</a:t>
            </a:r>
            <a:endParaRPr lang="en-US"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152400" y="2714320"/>
            <a:ext cx="4734838" cy="1311128"/>
          </a:xfrm>
          <a:prstGeom prst="rect">
            <a:avLst/>
          </a:prstGeom>
          <a:noFill/>
        </p:spPr>
        <p:txBody>
          <a:bodyPr wrap="square" rtlCol="0">
            <a:spAutoFit/>
          </a:bodyPr>
          <a:lstStyle/>
          <a:p>
            <a:pPr lvl="0" algn="r">
              <a:lnSpc>
                <a:spcPct val="90000"/>
              </a:lnSpc>
              <a:defRPr/>
            </a:pPr>
            <a:r>
              <a:rPr lang="pt-BR" sz="4400" b="1" dirty="0">
                <a:gradFill>
                  <a:gsLst>
                    <a:gs pos="0">
                      <a:schemeClr val="accent1"/>
                    </a:gs>
                    <a:gs pos="100000">
                      <a:schemeClr val="bg2"/>
                    </a:gs>
                  </a:gsLst>
                  <a:lin ang="2700000" scaled="0"/>
                </a:gradFill>
                <a:latin typeface="Calisto MT"/>
              </a:rPr>
              <a:t>Componentes da imunidade inata</a:t>
            </a:r>
            <a:endParaRPr lang="pt-BR" sz="4400" b="1" baseline="30000" dirty="0">
              <a:gradFill>
                <a:gsLst>
                  <a:gs pos="0">
                    <a:schemeClr val="accent1"/>
                  </a:gs>
                  <a:gs pos="100000">
                    <a:schemeClr val="bg2"/>
                  </a:gs>
                </a:gsLst>
                <a:lin ang="2700000" scaled="0"/>
              </a:gradFill>
              <a:latin typeface="Calisto MT"/>
            </a:endParaRPr>
          </a:p>
        </p:txBody>
      </p:sp>
      <p:grpSp>
        <p:nvGrpSpPr>
          <p:cNvPr id="17" name="Agrupar 16">
            <a:extLst>
              <a:ext uri="{FF2B5EF4-FFF2-40B4-BE49-F238E27FC236}">
                <a16:creationId xmlns:a16="http://schemas.microsoft.com/office/drawing/2014/main" id="{CFB0F504-34CF-EA79-588B-3DCDBC3E41C4}"/>
              </a:ext>
            </a:extLst>
          </p:cNvPr>
          <p:cNvGrpSpPr/>
          <p:nvPr/>
        </p:nvGrpSpPr>
        <p:grpSpPr>
          <a:xfrm>
            <a:off x="5327350" y="844967"/>
            <a:ext cx="5320329" cy="4928871"/>
            <a:chOff x="5327350" y="844967"/>
            <a:chExt cx="5320329" cy="4928871"/>
          </a:xfrm>
        </p:grpSpPr>
        <p:sp>
          <p:nvSpPr>
            <p:cNvPr id="8" name="Elipse 7">
              <a:extLst>
                <a:ext uri="{FF2B5EF4-FFF2-40B4-BE49-F238E27FC236}">
                  <a16:creationId xmlns:a16="http://schemas.microsoft.com/office/drawing/2014/main" id="{79F36470-57B2-6D18-77B1-FFDDC5B4C644}"/>
                </a:ext>
              </a:extLst>
            </p:cNvPr>
            <p:cNvSpPr/>
            <p:nvPr/>
          </p:nvSpPr>
          <p:spPr>
            <a:xfrm>
              <a:off x="5327350" y="1084162"/>
              <a:ext cx="5267670" cy="4689676"/>
            </a:xfrm>
            <a:prstGeom prst="ellipse">
              <a:avLst/>
            </a:prstGeom>
            <a:solidFill>
              <a:srgbClr val="003865">
                <a:alpha val="10196"/>
              </a:srgb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solidFill>
                  <a:schemeClr val="tx1"/>
                </a:solidFill>
              </a:endParaRPr>
            </a:p>
          </p:txBody>
        </p:sp>
        <p:sp>
          <p:nvSpPr>
            <p:cNvPr id="12" name="CaixaDeTexto 11">
              <a:extLst>
                <a:ext uri="{FF2B5EF4-FFF2-40B4-BE49-F238E27FC236}">
                  <a16:creationId xmlns:a16="http://schemas.microsoft.com/office/drawing/2014/main" id="{DB334CDE-2A3C-C814-9726-3DDE0B046F3A}"/>
                </a:ext>
              </a:extLst>
            </p:cNvPr>
            <p:cNvSpPr txBox="1"/>
            <p:nvPr/>
          </p:nvSpPr>
          <p:spPr>
            <a:xfrm>
              <a:off x="7150251" y="1207951"/>
              <a:ext cx="1027845" cy="258532"/>
            </a:xfrm>
            <a:prstGeom prst="rect">
              <a:avLst/>
            </a:prstGeom>
            <a:noFill/>
          </p:spPr>
          <p:txBody>
            <a:bodyPr wrap="none" rtlCol="0">
              <a:spAutoFit/>
            </a:bodyPr>
            <a:lstStyle/>
            <a:p>
              <a:pPr algn="ctr">
                <a:lnSpc>
                  <a:spcPct val="90000"/>
                </a:lnSpc>
                <a:spcAft>
                  <a:spcPts val="600"/>
                </a:spcAft>
              </a:pPr>
              <a:r>
                <a:rPr lang="pt-BR" sz="1200" b="1" dirty="0" err="1"/>
                <a:t>Dendritic</a:t>
              </a:r>
              <a:r>
                <a:rPr lang="pt-BR" sz="1200" b="1" dirty="0"/>
                <a:t> </a:t>
              </a:r>
              <a:r>
                <a:rPr lang="pt-BR" sz="1200" b="1" dirty="0" err="1"/>
                <a:t>cell</a:t>
              </a:r>
              <a:endParaRPr lang="pt-BR" sz="1200" b="1" dirty="0"/>
            </a:p>
          </p:txBody>
        </p:sp>
        <p:sp>
          <p:nvSpPr>
            <p:cNvPr id="14" name="CaixaDeTexto 13">
              <a:extLst>
                <a:ext uri="{FF2B5EF4-FFF2-40B4-BE49-F238E27FC236}">
                  <a16:creationId xmlns:a16="http://schemas.microsoft.com/office/drawing/2014/main" id="{FB83AAB3-D7FF-49A9-F7BA-1BBC9A7EF723}"/>
                </a:ext>
              </a:extLst>
            </p:cNvPr>
            <p:cNvSpPr txBox="1"/>
            <p:nvPr/>
          </p:nvSpPr>
          <p:spPr>
            <a:xfrm>
              <a:off x="8444561" y="1337217"/>
              <a:ext cx="760016" cy="258532"/>
            </a:xfrm>
            <a:prstGeom prst="rect">
              <a:avLst/>
            </a:prstGeom>
            <a:noFill/>
          </p:spPr>
          <p:txBody>
            <a:bodyPr wrap="none" rtlCol="0">
              <a:spAutoFit/>
            </a:bodyPr>
            <a:lstStyle/>
            <a:p>
              <a:pPr algn="ctr">
                <a:lnSpc>
                  <a:spcPct val="90000"/>
                </a:lnSpc>
                <a:spcAft>
                  <a:spcPts val="600"/>
                </a:spcAft>
              </a:pPr>
              <a:r>
                <a:rPr lang="pt-BR" sz="1200" b="1" dirty="0" err="1"/>
                <a:t>Mast</a:t>
              </a:r>
              <a:r>
                <a:rPr lang="pt-BR" sz="1200" b="1" dirty="0"/>
                <a:t> </a:t>
              </a:r>
              <a:r>
                <a:rPr lang="pt-BR" sz="1200" b="1" dirty="0" err="1"/>
                <a:t>cell</a:t>
              </a:r>
              <a:endParaRPr lang="pt-BR" sz="1200" b="1" dirty="0"/>
            </a:p>
          </p:txBody>
        </p:sp>
        <p:sp>
          <p:nvSpPr>
            <p:cNvPr id="15" name="CaixaDeTexto 14">
              <a:extLst>
                <a:ext uri="{FF2B5EF4-FFF2-40B4-BE49-F238E27FC236}">
                  <a16:creationId xmlns:a16="http://schemas.microsoft.com/office/drawing/2014/main" id="{1C7C9200-0FC8-3A19-1C1C-8A2A3EFCAF7B}"/>
                </a:ext>
              </a:extLst>
            </p:cNvPr>
            <p:cNvSpPr txBox="1"/>
            <p:nvPr/>
          </p:nvSpPr>
          <p:spPr>
            <a:xfrm>
              <a:off x="6140956" y="1789638"/>
              <a:ext cx="985847" cy="258532"/>
            </a:xfrm>
            <a:prstGeom prst="rect">
              <a:avLst/>
            </a:prstGeom>
            <a:noFill/>
          </p:spPr>
          <p:txBody>
            <a:bodyPr wrap="none" rtlCol="0">
              <a:spAutoFit/>
            </a:bodyPr>
            <a:lstStyle/>
            <a:p>
              <a:pPr algn="ctr">
                <a:lnSpc>
                  <a:spcPct val="90000"/>
                </a:lnSpc>
                <a:spcAft>
                  <a:spcPts val="600"/>
                </a:spcAft>
              </a:pPr>
              <a:r>
                <a:rPr lang="pt-BR" sz="1200" b="1" dirty="0" err="1"/>
                <a:t>Macrophage</a:t>
              </a:r>
              <a:endParaRPr lang="pt-BR" sz="1200" b="1" dirty="0"/>
            </a:p>
          </p:txBody>
        </p:sp>
        <p:sp>
          <p:nvSpPr>
            <p:cNvPr id="16" name="CaixaDeTexto 15">
              <a:extLst>
                <a:ext uri="{FF2B5EF4-FFF2-40B4-BE49-F238E27FC236}">
                  <a16:creationId xmlns:a16="http://schemas.microsoft.com/office/drawing/2014/main" id="{F5318C59-04D5-30C4-DC32-E16B34B41420}"/>
                </a:ext>
              </a:extLst>
            </p:cNvPr>
            <p:cNvSpPr txBox="1"/>
            <p:nvPr/>
          </p:nvSpPr>
          <p:spPr>
            <a:xfrm>
              <a:off x="5587355" y="3201795"/>
              <a:ext cx="927100" cy="424732"/>
            </a:xfrm>
            <a:prstGeom prst="rect">
              <a:avLst/>
            </a:prstGeom>
            <a:noFill/>
          </p:spPr>
          <p:txBody>
            <a:bodyPr wrap="square" rtlCol="0">
              <a:spAutoFit/>
            </a:bodyPr>
            <a:lstStyle/>
            <a:p>
              <a:pPr algn="r">
                <a:lnSpc>
                  <a:spcPct val="90000"/>
                </a:lnSpc>
                <a:spcAft>
                  <a:spcPts val="600"/>
                </a:spcAft>
              </a:pPr>
              <a:r>
                <a:rPr lang="pt-BR" sz="1200" b="1" dirty="0"/>
                <a:t>Natural killer </a:t>
              </a:r>
              <a:r>
                <a:rPr lang="pt-BR" sz="1200" b="1" dirty="0" err="1"/>
                <a:t>cell</a:t>
              </a:r>
              <a:endParaRPr lang="pt-BR" sz="1200" b="1" dirty="0"/>
            </a:p>
          </p:txBody>
        </p:sp>
        <p:sp>
          <p:nvSpPr>
            <p:cNvPr id="20" name="CaixaDeTexto 19">
              <a:extLst>
                <a:ext uri="{FF2B5EF4-FFF2-40B4-BE49-F238E27FC236}">
                  <a16:creationId xmlns:a16="http://schemas.microsoft.com/office/drawing/2014/main" id="{48419D35-2AB8-1F84-87C6-8073065ADC74}"/>
                </a:ext>
              </a:extLst>
            </p:cNvPr>
            <p:cNvSpPr txBox="1"/>
            <p:nvPr/>
          </p:nvSpPr>
          <p:spPr>
            <a:xfrm>
              <a:off x="5705442" y="3890026"/>
              <a:ext cx="1306529" cy="424732"/>
            </a:xfrm>
            <a:prstGeom prst="rect">
              <a:avLst/>
            </a:prstGeom>
            <a:noFill/>
          </p:spPr>
          <p:txBody>
            <a:bodyPr wrap="square" rtlCol="0">
              <a:spAutoFit/>
            </a:bodyPr>
            <a:lstStyle/>
            <a:p>
              <a:pPr>
                <a:lnSpc>
                  <a:spcPct val="90000"/>
                </a:lnSpc>
                <a:spcAft>
                  <a:spcPts val="600"/>
                </a:spcAft>
              </a:pPr>
              <a:r>
                <a:rPr lang="pt-BR" sz="1200" b="1" dirty="0" err="1"/>
                <a:t>Complement</a:t>
              </a:r>
              <a:r>
                <a:rPr lang="pt-BR" sz="1200" b="1" dirty="0"/>
                <a:t> protein</a:t>
              </a:r>
            </a:p>
          </p:txBody>
        </p:sp>
        <p:sp>
          <p:nvSpPr>
            <p:cNvPr id="24" name="CaixaDeTexto 23">
              <a:extLst>
                <a:ext uri="{FF2B5EF4-FFF2-40B4-BE49-F238E27FC236}">
                  <a16:creationId xmlns:a16="http://schemas.microsoft.com/office/drawing/2014/main" id="{1F63240A-0EB6-5A97-42D7-5451F14AE24C}"/>
                </a:ext>
              </a:extLst>
            </p:cNvPr>
            <p:cNvSpPr txBox="1"/>
            <p:nvPr/>
          </p:nvSpPr>
          <p:spPr>
            <a:xfrm>
              <a:off x="7318385" y="5010219"/>
              <a:ext cx="1306529" cy="258532"/>
            </a:xfrm>
            <a:prstGeom prst="rect">
              <a:avLst/>
            </a:prstGeom>
            <a:noFill/>
          </p:spPr>
          <p:txBody>
            <a:bodyPr wrap="square" rtlCol="0">
              <a:spAutoFit/>
            </a:bodyPr>
            <a:lstStyle/>
            <a:p>
              <a:pPr>
                <a:lnSpc>
                  <a:spcPct val="90000"/>
                </a:lnSpc>
                <a:spcAft>
                  <a:spcPts val="600"/>
                </a:spcAft>
              </a:pPr>
              <a:r>
                <a:rPr lang="pt-BR" sz="1200" b="1" dirty="0" err="1"/>
                <a:t>Neutrophil</a:t>
              </a:r>
              <a:endParaRPr lang="pt-BR" sz="1200" b="1" dirty="0"/>
            </a:p>
          </p:txBody>
        </p:sp>
        <p:sp>
          <p:nvSpPr>
            <p:cNvPr id="28" name="CaixaDeTexto 27">
              <a:extLst>
                <a:ext uri="{FF2B5EF4-FFF2-40B4-BE49-F238E27FC236}">
                  <a16:creationId xmlns:a16="http://schemas.microsoft.com/office/drawing/2014/main" id="{AC7B020D-C98F-D704-85E4-82606ED641F2}"/>
                </a:ext>
              </a:extLst>
            </p:cNvPr>
            <p:cNvSpPr txBox="1"/>
            <p:nvPr/>
          </p:nvSpPr>
          <p:spPr>
            <a:xfrm>
              <a:off x="7633014" y="4200460"/>
              <a:ext cx="1306529" cy="258532"/>
            </a:xfrm>
            <a:prstGeom prst="rect">
              <a:avLst/>
            </a:prstGeom>
            <a:noFill/>
          </p:spPr>
          <p:txBody>
            <a:bodyPr wrap="square" rtlCol="0">
              <a:spAutoFit/>
            </a:bodyPr>
            <a:lstStyle/>
            <a:p>
              <a:pPr>
                <a:lnSpc>
                  <a:spcPct val="90000"/>
                </a:lnSpc>
                <a:spcAft>
                  <a:spcPts val="600"/>
                </a:spcAft>
              </a:pPr>
              <a:r>
                <a:rPr lang="pt-BR" sz="1200" b="1" dirty="0" err="1"/>
                <a:t>Eosinophil</a:t>
              </a:r>
              <a:endParaRPr lang="pt-BR" sz="1200" b="1" dirty="0"/>
            </a:p>
          </p:txBody>
        </p:sp>
        <p:sp>
          <p:nvSpPr>
            <p:cNvPr id="30" name="CaixaDeTexto 29">
              <a:extLst>
                <a:ext uri="{FF2B5EF4-FFF2-40B4-BE49-F238E27FC236}">
                  <a16:creationId xmlns:a16="http://schemas.microsoft.com/office/drawing/2014/main" id="{D945EB8A-1AB4-D802-D418-ECE8E5B92D0F}"/>
                </a:ext>
              </a:extLst>
            </p:cNvPr>
            <p:cNvSpPr txBox="1"/>
            <p:nvPr/>
          </p:nvSpPr>
          <p:spPr>
            <a:xfrm>
              <a:off x="7838242" y="3367995"/>
              <a:ext cx="1306529" cy="258532"/>
            </a:xfrm>
            <a:prstGeom prst="rect">
              <a:avLst/>
            </a:prstGeom>
            <a:noFill/>
          </p:spPr>
          <p:txBody>
            <a:bodyPr wrap="square" rtlCol="0">
              <a:spAutoFit/>
            </a:bodyPr>
            <a:lstStyle/>
            <a:p>
              <a:pPr>
                <a:lnSpc>
                  <a:spcPct val="90000"/>
                </a:lnSpc>
                <a:spcAft>
                  <a:spcPts val="600"/>
                </a:spcAft>
              </a:pPr>
              <a:r>
                <a:rPr lang="pt-BR" sz="1200" b="1" dirty="0" err="1"/>
                <a:t>Basophil</a:t>
              </a:r>
              <a:endParaRPr lang="pt-BR" sz="1200" b="1" dirty="0"/>
            </a:p>
          </p:txBody>
        </p:sp>
        <p:sp>
          <p:nvSpPr>
            <p:cNvPr id="31" name="CaixaDeTexto 30">
              <a:extLst>
                <a:ext uri="{FF2B5EF4-FFF2-40B4-BE49-F238E27FC236}">
                  <a16:creationId xmlns:a16="http://schemas.microsoft.com/office/drawing/2014/main" id="{D6833A5E-D17E-756D-4D22-60D3A4B754DB}"/>
                </a:ext>
              </a:extLst>
            </p:cNvPr>
            <p:cNvSpPr txBox="1"/>
            <p:nvPr/>
          </p:nvSpPr>
          <p:spPr>
            <a:xfrm>
              <a:off x="8595768" y="4548721"/>
              <a:ext cx="1306529" cy="258532"/>
            </a:xfrm>
            <a:prstGeom prst="rect">
              <a:avLst/>
            </a:prstGeom>
            <a:noFill/>
          </p:spPr>
          <p:txBody>
            <a:bodyPr wrap="square" rtlCol="0">
              <a:spAutoFit/>
            </a:bodyPr>
            <a:lstStyle/>
            <a:p>
              <a:pPr>
                <a:lnSpc>
                  <a:spcPct val="90000"/>
                </a:lnSpc>
                <a:spcAft>
                  <a:spcPts val="600"/>
                </a:spcAft>
              </a:pPr>
              <a:r>
                <a:rPr lang="pt-BR" sz="1200" b="1" dirty="0" err="1"/>
                <a:t>Granulocytes</a:t>
              </a:r>
              <a:endParaRPr lang="pt-BR" sz="1200" b="1" dirty="0"/>
            </a:p>
          </p:txBody>
        </p:sp>
        <p:sp>
          <p:nvSpPr>
            <p:cNvPr id="38" name="Forma Livre: Forma 37">
              <a:extLst>
                <a:ext uri="{FF2B5EF4-FFF2-40B4-BE49-F238E27FC236}">
                  <a16:creationId xmlns:a16="http://schemas.microsoft.com/office/drawing/2014/main" id="{3162334D-CDD5-6F8E-3432-D2DA55030915}"/>
                </a:ext>
              </a:extLst>
            </p:cNvPr>
            <p:cNvSpPr/>
            <p:nvPr/>
          </p:nvSpPr>
          <p:spPr>
            <a:xfrm>
              <a:off x="8335567" y="2642080"/>
              <a:ext cx="298077" cy="2770361"/>
            </a:xfrm>
            <a:custGeom>
              <a:avLst/>
              <a:gdLst>
                <a:gd name="connsiteX0" fmla="*/ 18107 w 172016"/>
                <a:gd name="connsiteY0" fmla="*/ 0 h 2770361"/>
                <a:gd name="connsiteX1" fmla="*/ 172016 w 172016"/>
                <a:gd name="connsiteY1" fmla="*/ 0 h 2770361"/>
                <a:gd name="connsiteX2" fmla="*/ 172016 w 172016"/>
                <a:gd name="connsiteY2" fmla="*/ 2770361 h 2770361"/>
                <a:gd name="connsiteX3" fmla="*/ 0 w 172016"/>
                <a:gd name="connsiteY3" fmla="*/ 2770361 h 2770361"/>
              </a:gdLst>
              <a:ahLst/>
              <a:cxnLst>
                <a:cxn ang="0">
                  <a:pos x="connsiteX0" y="connsiteY0"/>
                </a:cxn>
                <a:cxn ang="0">
                  <a:pos x="connsiteX1" y="connsiteY1"/>
                </a:cxn>
                <a:cxn ang="0">
                  <a:pos x="connsiteX2" y="connsiteY2"/>
                </a:cxn>
                <a:cxn ang="0">
                  <a:pos x="connsiteX3" y="connsiteY3"/>
                </a:cxn>
              </a:cxnLst>
              <a:rect l="l" t="t" r="r" b="b"/>
              <a:pathLst>
                <a:path w="172016" h="2770361">
                  <a:moveTo>
                    <a:pt x="18107" y="0"/>
                  </a:moveTo>
                  <a:lnTo>
                    <a:pt x="172016" y="0"/>
                  </a:lnTo>
                  <a:lnTo>
                    <a:pt x="172016" y="2770361"/>
                  </a:lnTo>
                  <a:lnTo>
                    <a:pt x="0" y="2770361"/>
                  </a:lnTo>
                </a:path>
              </a:pathLst>
            </a:custGeom>
            <a:no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pic>
          <p:nvPicPr>
            <p:cNvPr id="5" name="Picture 2">
              <a:extLst>
                <a:ext uri="{FF2B5EF4-FFF2-40B4-BE49-F238E27FC236}">
                  <a16:creationId xmlns:a16="http://schemas.microsoft.com/office/drawing/2014/main" id="{0E7715C9-8F5C-B6FB-B540-48B3B4A259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3814"/>
            <a:stretch/>
          </p:blipFill>
          <p:spPr bwMode="auto">
            <a:xfrm>
              <a:off x="5327350" y="844967"/>
              <a:ext cx="5320329" cy="4870339"/>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5C89E138-60B8-A0F5-96B0-92CAE119F561}"/>
                </a:ext>
              </a:extLst>
            </p:cNvPr>
            <p:cNvSpPr txBox="1"/>
            <p:nvPr/>
          </p:nvSpPr>
          <p:spPr>
            <a:xfrm>
              <a:off x="8636192" y="3600716"/>
              <a:ext cx="927100" cy="424732"/>
            </a:xfrm>
            <a:prstGeom prst="rect">
              <a:avLst/>
            </a:prstGeom>
            <a:noFill/>
          </p:spPr>
          <p:txBody>
            <a:bodyPr wrap="square" rtlCol="0">
              <a:spAutoFit/>
            </a:bodyPr>
            <a:lstStyle/>
            <a:p>
              <a:pPr algn="r">
                <a:lnSpc>
                  <a:spcPct val="90000"/>
                </a:lnSpc>
                <a:spcAft>
                  <a:spcPts val="600"/>
                </a:spcAft>
              </a:pPr>
              <a:r>
                <a:rPr lang="pt-BR" sz="1200" b="1" dirty="0"/>
                <a:t>Natural killer T </a:t>
              </a:r>
              <a:r>
                <a:rPr lang="pt-BR" sz="1200" b="1" dirty="0" err="1"/>
                <a:t>cell</a:t>
              </a:r>
              <a:endParaRPr lang="pt-BR" sz="1200" b="1" dirty="0"/>
            </a:p>
          </p:txBody>
        </p:sp>
        <p:sp>
          <p:nvSpPr>
            <p:cNvPr id="7" name="CaixaDeTexto 6">
              <a:extLst>
                <a:ext uri="{FF2B5EF4-FFF2-40B4-BE49-F238E27FC236}">
                  <a16:creationId xmlns:a16="http://schemas.microsoft.com/office/drawing/2014/main" id="{5C0E5C5B-62E4-5AAA-974C-2AF56F5A7825}"/>
                </a:ext>
              </a:extLst>
            </p:cNvPr>
            <p:cNvSpPr txBox="1"/>
            <p:nvPr/>
          </p:nvSpPr>
          <p:spPr>
            <a:xfrm>
              <a:off x="8890635" y="2527753"/>
              <a:ext cx="1110066" cy="258532"/>
            </a:xfrm>
            <a:prstGeom prst="rect">
              <a:avLst/>
            </a:prstGeom>
            <a:noFill/>
          </p:spPr>
          <p:txBody>
            <a:bodyPr wrap="square" rtlCol="0">
              <a:spAutoFit/>
            </a:bodyPr>
            <a:lstStyle/>
            <a:p>
              <a:pPr>
                <a:lnSpc>
                  <a:spcPct val="90000"/>
                </a:lnSpc>
                <a:spcAft>
                  <a:spcPts val="600"/>
                </a:spcAft>
              </a:pPr>
              <a:r>
                <a:rPr lang="el-GR" sz="1200" b="1" dirty="0">
                  <a:latin typeface="Cambria Math" panose="02040503050406030204" pitchFamily="18" charset="0"/>
                  <a:ea typeface="Cambria Math" panose="02040503050406030204" pitchFamily="18" charset="0"/>
                </a:rPr>
                <a:t>γ</a:t>
              </a:r>
              <a:r>
                <a:rPr lang="pt-BR" sz="1200" b="1" dirty="0">
                  <a:latin typeface="Cambria Math" panose="02040503050406030204" pitchFamily="18" charset="0"/>
                  <a:ea typeface="Cambria Math" panose="02040503050406030204" pitchFamily="18" charset="0"/>
                </a:rPr>
                <a:t>6 </a:t>
              </a:r>
              <a:r>
                <a:rPr lang="pt-BR" sz="1200" b="1" dirty="0"/>
                <a:t>T </a:t>
              </a:r>
              <a:r>
                <a:rPr lang="pt-BR" sz="1200" b="1" dirty="0" err="1"/>
                <a:t>cell</a:t>
              </a:r>
              <a:endParaRPr lang="pt-BR" sz="1200" b="1" dirty="0"/>
            </a:p>
          </p:txBody>
        </p:sp>
      </p:grpSp>
    </p:spTree>
    <p:extLst>
      <p:ext uri="{BB962C8B-B14F-4D97-AF65-F5344CB8AC3E}">
        <p14:creationId xmlns:p14="http://schemas.microsoft.com/office/powerpoint/2010/main" val="12943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Cantos Arredondados 9">
            <a:extLst>
              <a:ext uri="{FF2B5EF4-FFF2-40B4-BE49-F238E27FC236}">
                <a16:creationId xmlns:a16="http://schemas.microsoft.com/office/drawing/2014/main" id="{10E2FAAF-4E60-665A-1022-4A067926AB92}"/>
              </a:ext>
            </a:extLst>
          </p:cNvPr>
          <p:cNvSpPr/>
          <p:nvPr/>
        </p:nvSpPr>
        <p:spPr>
          <a:xfrm>
            <a:off x="802979" y="1497817"/>
            <a:ext cx="10225174" cy="453722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47" name="Retângulo: Cantos Arredondados 46">
            <a:extLst>
              <a:ext uri="{FF2B5EF4-FFF2-40B4-BE49-F238E27FC236}">
                <a16:creationId xmlns:a16="http://schemas.microsoft.com/office/drawing/2014/main" id="{5FC6E811-F70D-F7D2-77E7-0992E2CA8F6B}"/>
              </a:ext>
            </a:extLst>
          </p:cNvPr>
          <p:cNvSpPr/>
          <p:nvPr/>
        </p:nvSpPr>
        <p:spPr>
          <a:xfrm>
            <a:off x="560666" y="1755433"/>
            <a:ext cx="10724105" cy="664068"/>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en-US" b="0" i="0" dirty="0" err="1">
                <a:solidFill>
                  <a:srgbClr val="1D1D1D"/>
                </a:solidFill>
                <a:effectLst/>
                <a:latin typeface="Arial" panose="020B0604020202020204" pitchFamily="34" charset="0"/>
              </a:rPr>
              <a:t>Walport</a:t>
            </a:r>
            <a:r>
              <a:rPr lang="en-US" b="0" i="0" dirty="0">
                <a:solidFill>
                  <a:srgbClr val="1D1D1D"/>
                </a:solidFill>
                <a:effectLst/>
                <a:latin typeface="Arial" panose="020B0604020202020204" pitchFamily="34" charset="0"/>
              </a:rPr>
              <a:t> MJ. Complement. First of two parts. N Engl J Med. 2001 Apr 5;344(14):1058-66. </a:t>
            </a:r>
            <a:r>
              <a:rPr lang="en-US" b="0" i="0" dirty="0" err="1">
                <a:solidFill>
                  <a:srgbClr val="1D1D1D"/>
                </a:solidFill>
                <a:effectLst/>
                <a:latin typeface="Arial" panose="020B0604020202020204" pitchFamily="34" charset="0"/>
              </a:rPr>
              <a:t>doi</a:t>
            </a:r>
            <a:r>
              <a:rPr lang="en-US" b="0" i="0" dirty="0">
                <a:solidFill>
                  <a:srgbClr val="1D1D1D"/>
                </a:solidFill>
                <a:effectLst/>
                <a:latin typeface="Arial" panose="020B0604020202020204" pitchFamily="34" charset="0"/>
              </a:rPr>
              <a:t>: 10.1056/NEJM200104053441406. PMID: 11287977.</a:t>
            </a:r>
            <a:endParaRPr lang="pt-BR"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2276732"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Componentes da imunidade inata</a:t>
            </a:r>
          </a:p>
        </p:txBody>
      </p:sp>
      <p:pic>
        <p:nvPicPr>
          <p:cNvPr id="52" name="Imagem 51" descr="Texto&#10;&#10;Descrição gerada automaticamente">
            <a:extLst>
              <a:ext uri="{FF2B5EF4-FFF2-40B4-BE49-F238E27FC236}">
                <a16:creationId xmlns:a16="http://schemas.microsoft.com/office/drawing/2014/main" id="{12F505F1-B10C-962E-8BFC-F7378B1059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0304" y="-898079"/>
            <a:ext cx="3080444" cy="3080444"/>
          </a:xfrm>
          <a:prstGeom prst="rect">
            <a:avLst/>
          </a:prstGeom>
        </p:spPr>
      </p:pic>
      <p:grpSp>
        <p:nvGrpSpPr>
          <p:cNvPr id="77" name="Agrupar 76">
            <a:extLst>
              <a:ext uri="{FF2B5EF4-FFF2-40B4-BE49-F238E27FC236}">
                <a16:creationId xmlns:a16="http://schemas.microsoft.com/office/drawing/2014/main" id="{9F4AD68A-197A-4CA5-43C5-1960605E2809}"/>
              </a:ext>
            </a:extLst>
          </p:cNvPr>
          <p:cNvGrpSpPr/>
          <p:nvPr/>
        </p:nvGrpSpPr>
        <p:grpSpPr>
          <a:xfrm>
            <a:off x="961556" y="1525140"/>
            <a:ext cx="9905520" cy="4428438"/>
            <a:chOff x="961556" y="1525140"/>
            <a:chExt cx="9905520" cy="4428438"/>
          </a:xfrm>
        </p:grpSpPr>
        <p:sp>
          <p:nvSpPr>
            <p:cNvPr id="30" name="Retângulo 29">
              <a:extLst>
                <a:ext uri="{FF2B5EF4-FFF2-40B4-BE49-F238E27FC236}">
                  <a16:creationId xmlns:a16="http://schemas.microsoft.com/office/drawing/2014/main" id="{BF7F17B9-1CC0-55DA-D6C8-B20C588C7C2E}"/>
                </a:ext>
              </a:extLst>
            </p:cNvPr>
            <p:cNvSpPr/>
            <p:nvPr/>
          </p:nvSpPr>
          <p:spPr>
            <a:xfrm>
              <a:off x="4191294" y="5006850"/>
              <a:ext cx="1439502" cy="778353"/>
            </a:xfrm>
            <a:prstGeom prst="rect">
              <a:avLst/>
            </a:prstGeom>
            <a:solidFill>
              <a:schemeClr val="bg1"/>
            </a:solidFill>
            <a:ln w="9525">
              <a:solidFill>
                <a:srgbClr val="0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31" name="Retângulo 30">
              <a:extLst>
                <a:ext uri="{FF2B5EF4-FFF2-40B4-BE49-F238E27FC236}">
                  <a16:creationId xmlns:a16="http://schemas.microsoft.com/office/drawing/2014/main" id="{1F7B8E51-7BB0-97F8-8ECD-308122005BED}"/>
                </a:ext>
              </a:extLst>
            </p:cNvPr>
            <p:cNvSpPr/>
            <p:nvPr/>
          </p:nvSpPr>
          <p:spPr>
            <a:xfrm>
              <a:off x="5758615" y="5006850"/>
              <a:ext cx="1643070" cy="778353"/>
            </a:xfrm>
            <a:prstGeom prst="rect">
              <a:avLst/>
            </a:prstGeom>
            <a:solidFill>
              <a:schemeClr val="bg1"/>
            </a:solidFill>
            <a:ln w="9525">
              <a:solidFill>
                <a:srgbClr val="0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32" name="Retângulo 31">
              <a:extLst>
                <a:ext uri="{FF2B5EF4-FFF2-40B4-BE49-F238E27FC236}">
                  <a16:creationId xmlns:a16="http://schemas.microsoft.com/office/drawing/2014/main" id="{75178FB7-C3C4-965F-4CC9-005C4D8B6EB7}"/>
                </a:ext>
              </a:extLst>
            </p:cNvPr>
            <p:cNvSpPr/>
            <p:nvPr/>
          </p:nvSpPr>
          <p:spPr>
            <a:xfrm>
              <a:off x="7559005" y="5006850"/>
              <a:ext cx="1439502" cy="778352"/>
            </a:xfrm>
            <a:prstGeom prst="rect">
              <a:avLst/>
            </a:prstGeom>
            <a:solidFill>
              <a:schemeClr val="bg1"/>
            </a:solidFill>
            <a:ln w="9525">
              <a:solidFill>
                <a:srgbClr val="0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33" name="Retângulo 32">
              <a:extLst>
                <a:ext uri="{FF2B5EF4-FFF2-40B4-BE49-F238E27FC236}">
                  <a16:creationId xmlns:a16="http://schemas.microsoft.com/office/drawing/2014/main" id="{807322E1-D1DA-C66A-A2EE-DF9AF5220B65}"/>
                </a:ext>
              </a:extLst>
            </p:cNvPr>
            <p:cNvSpPr/>
            <p:nvPr/>
          </p:nvSpPr>
          <p:spPr>
            <a:xfrm>
              <a:off x="9126326" y="5006850"/>
              <a:ext cx="1439369" cy="778352"/>
            </a:xfrm>
            <a:prstGeom prst="rect">
              <a:avLst/>
            </a:prstGeom>
            <a:solidFill>
              <a:schemeClr val="bg1"/>
            </a:solidFill>
            <a:ln w="9525">
              <a:solidFill>
                <a:srgbClr val="0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6" name="Retângulo 5">
              <a:extLst>
                <a:ext uri="{FF2B5EF4-FFF2-40B4-BE49-F238E27FC236}">
                  <a16:creationId xmlns:a16="http://schemas.microsoft.com/office/drawing/2014/main" id="{C1B4F920-5F4F-8CF3-93F5-628224658056}"/>
                </a:ext>
              </a:extLst>
            </p:cNvPr>
            <p:cNvSpPr/>
            <p:nvPr/>
          </p:nvSpPr>
          <p:spPr>
            <a:xfrm>
              <a:off x="1158926" y="2508257"/>
              <a:ext cx="1765246" cy="850425"/>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7" name="Retângulo 6">
              <a:extLst>
                <a:ext uri="{FF2B5EF4-FFF2-40B4-BE49-F238E27FC236}">
                  <a16:creationId xmlns:a16="http://schemas.microsoft.com/office/drawing/2014/main" id="{25CE3339-C939-927A-BA6F-1D6475E43C47}"/>
                </a:ext>
              </a:extLst>
            </p:cNvPr>
            <p:cNvSpPr/>
            <p:nvPr/>
          </p:nvSpPr>
          <p:spPr>
            <a:xfrm>
              <a:off x="1158926" y="4716298"/>
              <a:ext cx="1765246" cy="1131228"/>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8" name="Retângulo 7">
              <a:extLst>
                <a:ext uri="{FF2B5EF4-FFF2-40B4-BE49-F238E27FC236}">
                  <a16:creationId xmlns:a16="http://schemas.microsoft.com/office/drawing/2014/main" id="{A60E6D4F-0972-A346-DED2-49FD8586DC0C}"/>
                </a:ext>
              </a:extLst>
            </p:cNvPr>
            <p:cNvSpPr/>
            <p:nvPr/>
          </p:nvSpPr>
          <p:spPr>
            <a:xfrm>
              <a:off x="1158926" y="3430784"/>
              <a:ext cx="1765246" cy="120666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13" name="CaixaDeTexto 12">
              <a:extLst>
                <a:ext uri="{FF2B5EF4-FFF2-40B4-BE49-F238E27FC236}">
                  <a16:creationId xmlns:a16="http://schemas.microsoft.com/office/drawing/2014/main" id="{C8B1D540-B3DF-FA20-5BF7-319A4D2ACD67}"/>
                </a:ext>
              </a:extLst>
            </p:cNvPr>
            <p:cNvSpPr txBox="1"/>
            <p:nvPr/>
          </p:nvSpPr>
          <p:spPr>
            <a:xfrm>
              <a:off x="961556" y="1774849"/>
              <a:ext cx="2347962" cy="674031"/>
            </a:xfrm>
            <a:prstGeom prst="rect">
              <a:avLst/>
            </a:prstGeom>
            <a:noFill/>
          </p:spPr>
          <p:txBody>
            <a:bodyPr wrap="square" rtlCol="0">
              <a:spAutoFit/>
            </a:bodyPr>
            <a:lstStyle/>
            <a:p>
              <a:pPr algn="ctr">
                <a:lnSpc>
                  <a:spcPct val="90000"/>
                </a:lnSpc>
                <a:spcAft>
                  <a:spcPts val="600"/>
                </a:spcAft>
              </a:pPr>
              <a:r>
                <a:rPr lang="pt-BR" sz="1400" b="1" dirty="0">
                  <a:solidFill>
                    <a:schemeClr val="bg1"/>
                  </a:solidFill>
                  <a:latin typeface="+mj-lt"/>
                </a:rPr>
                <a:t>INÍCIO DA ATIVAÇÃO DO SISTEMA COMPLEMENTO</a:t>
              </a:r>
            </a:p>
          </p:txBody>
        </p:sp>
        <p:sp>
          <p:nvSpPr>
            <p:cNvPr id="17" name="CaixaDeTexto 16">
              <a:extLst>
                <a:ext uri="{FF2B5EF4-FFF2-40B4-BE49-F238E27FC236}">
                  <a16:creationId xmlns:a16="http://schemas.microsoft.com/office/drawing/2014/main" id="{48FAFA33-FFBB-A4B6-15F9-D3B4EFC7E8A0}"/>
                </a:ext>
              </a:extLst>
            </p:cNvPr>
            <p:cNvSpPr txBox="1"/>
            <p:nvPr/>
          </p:nvSpPr>
          <p:spPr>
            <a:xfrm>
              <a:off x="7859661" y="1978095"/>
              <a:ext cx="3007415"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latin typeface="+mj-lt"/>
                </a:rPr>
                <a:t>ETAPAS TARDIAS</a:t>
              </a:r>
            </a:p>
          </p:txBody>
        </p:sp>
        <p:sp>
          <p:nvSpPr>
            <p:cNvPr id="18" name="CaixaDeTexto 17">
              <a:extLst>
                <a:ext uri="{FF2B5EF4-FFF2-40B4-BE49-F238E27FC236}">
                  <a16:creationId xmlns:a16="http://schemas.microsoft.com/office/drawing/2014/main" id="{D8EE5E4F-8279-B178-0606-023283A1B8E8}"/>
                </a:ext>
              </a:extLst>
            </p:cNvPr>
            <p:cNvSpPr txBox="1"/>
            <p:nvPr/>
          </p:nvSpPr>
          <p:spPr>
            <a:xfrm>
              <a:off x="1602879" y="2535597"/>
              <a:ext cx="1278042" cy="258532"/>
            </a:xfrm>
            <a:prstGeom prst="rect">
              <a:avLst/>
            </a:prstGeom>
            <a:noFill/>
          </p:spPr>
          <p:txBody>
            <a:bodyPr wrap="none" rtlCol="0">
              <a:spAutoFit/>
            </a:bodyPr>
            <a:lstStyle/>
            <a:p>
              <a:pPr algn="l">
                <a:lnSpc>
                  <a:spcPct val="90000"/>
                </a:lnSpc>
                <a:spcAft>
                  <a:spcPts val="600"/>
                </a:spcAft>
              </a:pPr>
              <a:r>
                <a:rPr lang="pt-BR" sz="1200" b="1" dirty="0"/>
                <a:t>Micro-organismo</a:t>
              </a:r>
            </a:p>
          </p:txBody>
        </p:sp>
        <p:sp>
          <p:nvSpPr>
            <p:cNvPr id="20" name="CaixaDeTexto 19">
              <a:extLst>
                <a:ext uri="{FF2B5EF4-FFF2-40B4-BE49-F238E27FC236}">
                  <a16:creationId xmlns:a16="http://schemas.microsoft.com/office/drawing/2014/main" id="{A275E3F7-9882-432C-AD1B-7785A2E88023}"/>
                </a:ext>
              </a:extLst>
            </p:cNvPr>
            <p:cNvSpPr txBox="1"/>
            <p:nvPr/>
          </p:nvSpPr>
          <p:spPr>
            <a:xfrm>
              <a:off x="1136570" y="2892251"/>
              <a:ext cx="1300046" cy="480131"/>
            </a:xfrm>
            <a:prstGeom prst="rect">
              <a:avLst/>
            </a:prstGeom>
            <a:noFill/>
          </p:spPr>
          <p:txBody>
            <a:bodyPr wrap="square" rtlCol="0">
              <a:spAutoFit/>
            </a:bodyPr>
            <a:lstStyle/>
            <a:p>
              <a:pPr algn="l">
                <a:lnSpc>
                  <a:spcPct val="90000"/>
                </a:lnSpc>
                <a:spcAft>
                  <a:spcPts val="600"/>
                </a:spcAft>
              </a:pPr>
              <a:r>
                <a:rPr lang="pt-BR" sz="1400" b="1" dirty="0">
                  <a:solidFill>
                    <a:schemeClr val="accent1"/>
                  </a:solidFill>
                </a:rPr>
                <a:t>Via ALTERNATIVA</a:t>
              </a:r>
            </a:p>
          </p:txBody>
        </p:sp>
        <p:sp>
          <p:nvSpPr>
            <p:cNvPr id="21" name="CaixaDeTexto 20">
              <a:extLst>
                <a:ext uri="{FF2B5EF4-FFF2-40B4-BE49-F238E27FC236}">
                  <a16:creationId xmlns:a16="http://schemas.microsoft.com/office/drawing/2014/main" id="{5BF9B3B3-B10B-0D1B-67CB-747B171CD4CA}"/>
                </a:ext>
              </a:extLst>
            </p:cNvPr>
            <p:cNvSpPr txBox="1"/>
            <p:nvPr/>
          </p:nvSpPr>
          <p:spPr>
            <a:xfrm>
              <a:off x="1136570" y="4160510"/>
              <a:ext cx="978556" cy="480131"/>
            </a:xfrm>
            <a:prstGeom prst="rect">
              <a:avLst/>
            </a:prstGeom>
            <a:noFill/>
          </p:spPr>
          <p:txBody>
            <a:bodyPr wrap="square" rtlCol="0">
              <a:spAutoFit/>
            </a:bodyPr>
            <a:lstStyle/>
            <a:p>
              <a:pPr algn="l">
                <a:lnSpc>
                  <a:spcPct val="90000"/>
                </a:lnSpc>
                <a:spcAft>
                  <a:spcPts val="600"/>
                </a:spcAft>
              </a:pPr>
              <a:r>
                <a:rPr lang="pt-BR" sz="1400" b="1" dirty="0">
                  <a:solidFill>
                    <a:schemeClr val="accent1"/>
                  </a:solidFill>
                </a:rPr>
                <a:t>Via CLÁSSICA</a:t>
              </a:r>
            </a:p>
          </p:txBody>
        </p:sp>
        <p:sp>
          <p:nvSpPr>
            <p:cNvPr id="22" name="CaixaDeTexto 21">
              <a:extLst>
                <a:ext uri="{FF2B5EF4-FFF2-40B4-BE49-F238E27FC236}">
                  <a16:creationId xmlns:a16="http://schemas.microsoft.com/office/drawing/2014/main" id="{76A30BD7-ABCA-3AC8-B3E3-44E291807B03}"/>
                </a:ext>
              </a:extLst>
            </p:cNvPr>
            <p:cNvSpPr txBox="1"/>
            <p:nvPr/>
          </p:nvSpPr>
          <p:spPr>
            <a:xfrm>
              <a:off x="2062042" y="4373383"/>
              <a:ext cx="818879" cy="258532"/>
            </a:xfrm>
            <a:prstGeom prst="rect">
              <a:avLst/>
            </a:prstGeom>
            <a:noFill/>
          </p:spPr>
          <p:txBody>
            <a:bodyPr wrap="none" rtlCol="0">
              <a:spAutoFit/>
            </a:bodyPr>
            <a:lstStyle/>
            <a:p>
              <a:pPr algn="l">
                <a:lnSpc>
                  <a:spcPct val="90000"/>
                </a:lnSpc>
                <a:spcAft>
                  <a:spcPts val="600"/>
                </a:spcAft>
              </a:pPr>
              <a:r>
                <a:rPr lang="pt-BR" sz="1200" b="1" dirty="0"/>
                <a:t>Anticorpo</a:t>
              </a:r>
            </a:p>
          </p:txBody>
        </p:sp>
        <p:sp>
          <p:nvSpPr>
            <p:cNvPr id="23" name="CaixaDeTexto 22">
              <a:extLst>
                <a:ext uri="{FF2B5EF4-FFF2-40B4-BE49-F238E27FC236}">
                  <a16:creationId xmlns:a16="http://schemas.microsoft.com/office/drawing/2014/main" id="{DD5E17AF-D74D-41D2-5F1F-1424134691FF}"/>
                </a:ext>
              </a:extLst>
            </p:cNvPr>
            <p:cNvSpPr txBox="1"/>
            <p:nvPr/>
          </p:nvSpPr>
          <p:spPr>
            <a:xfrm>
              <a:off x="1322877" y="4761715"/>
              <a:ext cx="1318358" cy="424732"/>
            </a:xfrm>
            <a:prstGeom prst="rect">
              <a:avLst/>
            </a:prstGeom>
            <a:noFill/>
          </p:spPr>
          <p:txBody>
            <a:bodyPr wrap="square" rtlCol="0">
              <a:spAutoFit/>
            </a:bodyPr>
            <a:lstStyle/>
            <a:p>
              <a:pPr algn="l">
                <a:lnSpc>
                  <a:spcPct val="90000"/>
                </a:lnSpc>
                <a:spcAft>
                  <a:spcPts val="600"/>
                </a:spcAft>
              </a:pPr>
              <a:r>
                <a:rPr lang="pt-BR" sz="1200" b="1" dirty="0"/>
                <a:t>Lectina ligante de manose</a:t>
              </a:r>
            </a:p>
          </p:txBody>
        </p:sp>
        <p:sp>
          <p:nvSpPr>
            <p:cNvPr id="24" name="CaixaDeTexto 23">
              <a:extLst>
                <a:ext uri="{FF2B5EF4-FFF2-40B4-BE49-F238E27FC236}">
                  <a16:creationId xmlns:a16="http://schemas.microsoft.com/office/drawing/2014/main" id="{6F713078-AE5B-D7BC-2556-A6192267A5C0}"/>
                </a:ext>
              </a:extLst>
            </p:cNvPr>
            <p:cNvSpPr txBox="1"/>
            <p:nvPr/>
          </p:nvSpPr>
          <p:spPr>
            <a:xfrm>
              <a:off x="1156981" y="5402161"/>
              <a:ext cx="978556" cy="480131"/>
            </a:xfrm>
            <a:prstGeom prst="rect">
              <a:avLst/>
            </a:prstGeom>
            <a:noFill/>
          </p:spPr>
          <p:txBody>
            <a:bodyPr wrap="square" rtlCol="0">
              <a:spAutoFit/>
            </a:bodyPr>
            <a:lstStyle/>
            <a:p>
              <a:pPr algn="l">
                <a:lnSpc>
                  <a:spcPct val="90000"/>
                </a:lnSpc>
                <a:spcAft>
                  <a:spcPts val="600"/>
                </a:spcAft>
              </a:pPr>
              <a:r>
                <a:rPr lang="pt-BR" sz="1400" b="1" dirty="0">
                  <a:solidFill>
                    <a:schemeClr val="accent1"/>
                  </a:solidFill>
                </a:rPr>
                <a:t>Via das LECTINAS</a:t>
              </a:r>
            </a:p>
          </p:txBody>
        </p:sp>
        <p:sp>
          <p:nvSpPr>
            <p:cNvPr id="25" name="CaixaDeTexto 24">
              <a:extLst>
                <a:ext uri="{FF2B5EF4-FFF2-40B4-BE49-F238E27FC236}">
                  <a16:creationId xmlns:a16="http://schemas.microsoft.com/office/drawing/2014/main" id="{FA930D45-5557-3480-B53B-7BFB37B41906}"/>
                </a:ext>
              </a:extLst>
            </p:cNvPr>
            <p:cNvSpPr txBox="1"/>
            <p:nvPr/>
          </p:nvSpPr>
          <p:spPr>
            <a:xfrm>
              <a:off x="4395504" y="5155422"/>
              <a:ext cx="1129733" cy="507831"/>
            </a:xfrm>
            <a:prstGeom prst="rect">
              <a:avLst/>
            </a:prstGeom>
            <a:noFill/>
          </p:spPr>
          <p:txBody>
            <a:bodyPr wrap="none" rtlCol="0">
              <a:spAutoFit/>
            </a:bodyPr>
            <a:lstStyle/>
            <a:p>
              <a:pPr algn="ctr">
                <a:lnSpc>
                  <a:spcPct val="90000"/>
                </a:lnSpc>
                <a:spcAft>
                  <a:spcPts val="600"/>
                </a:spcAft>
              </a:pPr>
              <a:r>
                <a:rPr lang="pt-BR" sz="1400" dirty="0"/>
                <a:t>C3a:</a:t>
              </a:r>
              <a:br>
                <a:rPr lang="pt-BR" sz="1600" b="1" dirty="0"/>
              </a:br>
              <a:r>
                <a:rPr lang="pt-BR" sz="1600" b="1" dirty="0"/>
                <a:t>Inflamação</a:t>
              </a:r>
            </a:p>
          </p:txBody>
        </p:sp>
        <p:sp>
          <p:nvSpPr>
            <p:cNvPr id="26" name="CaixaDeTexto 25">
              <a:extLst>
                <a:ext uri="{FF2B5EF4-FFF2-40B4-BE49-F238E27FC236}">
                  <a16:creationId xmlns:a16="http://schemas.microsoft.com/office/drawing/2014/main" id="{CD177A31-14B2-FD7A-117A-EA549FEA2A3C}"/>
                </a:ext>
              </a:extLst>
            </p:cNvPr>
            <p:cNvSpPr txBox="1"/>
            <p:nvPr/>
          </p:nvSpPr>
          <p:spPr>
            <a:xfrm>
              <a:off x="5689009" y="5031311"/>
              <a:ext cx="1794159" cy="729430"/>
            </a:xfrm>
            <a:prstGeom prst="rect">
              <a:avLst/>
            </a:prstGeom>
            <a:noFill/>
          </p:spPr>
          <p:txBody>
            <a:bodyPr wrap="square" rtlCol="0">
              <a:spAutoFit/>
            </a:bodyPr>
            <a:lstStyle/>
            <a:p>
              <a:pPr algn="ctr">
                <a:lnSpc>
                  <a:spcPct val="90000"/>
                </a:lnSpc>
                <a:spcAft>
                  <a:spcPts val="600"/>
                </a:spcAft>
              </a:pPr>
              <a:r>
                <a:rPr lang="pt-BR" sz="1400" dirty="0"/>
                <a:t>C3b:</a:t>
              </a:r>
              <a:br>
                <a:rPr lang="pt-BR" sz="1600" b="1" dirty="0"/>
              </a:br>
              <a:r>
                <a:rPr lang="pt-BR" sz="1600" b="1" dirty="0"/>
                <a:t>Opsonização e fagocitose</a:t>
              </a:r>
            </a:p>
          </p:txBody>
        </p:sp>
        <p:sp>
          <p:nvSpPr>
            <p:cNvPr id="28" name="CaixaDeTexto 27">
              <a:extLst>
                <a:ext uri="{FF2B5EF4-FFF2-40B4-BE49-F238E27FC236}">
                  <a16:creationId xmlns:a16="http://schemas.microsoft.com/office/drawing/2014/main" id="{2C248C46-7B3B-C114-A61F-4421925ED7B4}"/>
                </a:ext>
              </a:extLst>
            </p:cNvPr>
            <p:cNvSpPr txBox="1"/>
            <p:nvPr/>
          </p:nvSpPr>
          <p:spPr>
            <a:xfrm>
              <a:off x="8948930" y="5141573"/>
              <a:ext cx="1794159" cy="535531"/>
            </a:xfrm>
            <a:prstGeom prst="rect">
              <a:avLst/>
            </a:prstGeom>
            <a:noFill/>
          </p:spPr>
          <p:txBody>
            <a:bodyPr wrap="square" rtlCol="0">
              <a:spAutoFit/>
            </a:bodyPr>
            <a:lstStyle/>
            <a:p>
              <a:pPr algn="ctr">
                <a:lnSpc>
                  <a:spcPct val="90000"/>
                </a:lnSpc>
                <a:spcAft>
                  <a:spcPts val="600"/>
                </a:spcAft>
              </a:pPr>
              <a:r>
                <a:rPr lang="pt-BR" sz="1600" b="1" dirty="0"/>
                <a:t>Lise do micro-organismo</a:t>
              </a:r>
            </a:p>
          </p:txBody>
        </p:sp>
        <p:sp>
          <p:nvSpPr>
            <p:cNvPr id="29" name="CaixaDeTexto 28">
              <a:extLst>
                <a:ext uri="{FF2B5EF4-FFF2-40B4-BE49-F238E27FC236}">
                  <a16:creationId xmlns:a16="http://schemas.microsoft.com/office/drawing/2014/main" id="{EA1A19E8-C79B-CEC3-5754-8D7A273C0591}"/>
                </a:ext>
              </a:extLst>
            </p:cNvPr>
            <p:cNvSpPr txBox="1"/>
            <p:nvPr/>
          </p:nvSpPr>
          <p:spPr>
            <a:xfrm>
              <a:off x="7682345" y="5142111"/>
              <a:ext cx="1129733" cy="507831"/>
            </a:xfrm>
            <a:prstGeom prst="rect">
              <a:avLst/>
            </a:prstGeom>
            <a:noFill/>
          </p:spPr>
          <p:txBody>
            <a:bodyPr wrap="none" rtlCol="0">
              <a:spAutoFit/>
            </a:bodyPr>
            <a:lstStyle/>
            <a:p>
              <a:pPr algn="ctr">
                <a:lnSpc>
                  <a:spcPct val="90000"/>
                </a:lnSpc>
                <a:spcAft>
                  <a:spcPts val="600"/>
                </a:spcAft>
              </a:pPr>
              <a:r>
                <a:rPr lang="pt-BR" sz="1400" dirty="0"/>
                <a:t>C5a:</a:t>
              </a:r>
              <a:br>
                <a:rPr lang="pt-BR" sz="1600" b="1" dirty="0"/>
              </a:br>
              <a:r>
                <a:rPr lang="pt-BR" sz="1600" b="1" dirty="0"/>
                <a:t>Inflamação</a:t>
              </a:r>
            </a:p>
          </p:txBody>
        </p:sp>
        <p:sp>
          <p:nvSpPr>
            <p:cNvPr id="34" name="CaixaDeTexto 33">
              <a:extLst>
                <a:ext uri="{FF2B5EF4-FFF2-40B4-BE49-F238E27FC236}">
                  <a16:creationId xmlns:a16="http://schemas.microsoft.com/office/drawing/2014/main" id="{C2DA6A42-491A-C054-1769-9BD27BCC441F}"/>
                </a:ext>
              </a:extLst>
            </p:cNvPr>
            <p:cNvSpPr txBox="1"/>
            <p:nvPr/>
          </p:nvSpPr>
          <p:spPr>
            <a:xfrm>
              <a:off x="8714520" y="3045043"/>
              <a:ext cx="2038854" cy="535531"/>
            </a:xfrm>
            <a:prstGeom prst="rect">
              <a:avLst/>
            </a:prstGeom>
            <a:noFill/>
          </p:spPr>
          <p:txBody>
            <a:bodyPr wrap="square" rtlCol="0">
              <a:spAutoFit/>
            </a:bodyPr>
            <a:lstStyle/>
            <a:p>
              <a:pPr algn="ctr">
                <a:lnSpc>
                  <a:spcPct val="90000"/>
                </a:lnSpc>
                <a:spcAft>
                  <a:spcPts val="600"/>
                </a:spcAft>
              </a:pPr>
              <a:r>
                <a:rPr lang="pt-BR" sz="1600" b="1" dirty="0"/>
                <a:t>Complexo de ataque à membrana (MAC)</a:t>
              </a:r>
            </a:p>
          </p:txBody>
        </p:sp>
        <p:sp>
          <p:nvSpPr>
            <p:cNvPr id="44" name="Retângulo 43">
              <a:extLst>
                <a:ext uri="{FF2B5EF4-FFF2-40B4-BE49-F238E27FC236}">
                  <a16:creationId xmlns:a16="http://schemas.microsoft.com/office/drawing/2014/main" id="{44E24FB3-41C2-64F5-3075-F85CC40C21D7}"/>
                </a:ext>
              </a:extLst>
            </p:cNvPr>
            <p:cNvSpPr/>
            <p:nvPr/>
          </p:nvSpPr>
          <p:spPr>
            <a:xfrm>
              <a:off x="3016789" y="4958612"/>
              <a:ext cx="1270794" cy="886693"/>
            </a:xfrm>
            <a:prstGeom prst="rect">
              <a:avLst/>
            </a:prstGeom>
            <a:solidFill>
              <a:schemeClr val="tx2"/>
            </a:solidFill>
            <a:ln w="19050">
              <a:solidFill>
                <a:srgbClr val="0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p>
          </p:txBody>
        </p:sp>
        <p:sp>
          <p:nvSpPr>
            <p:cNvPr id="45" name="CaixaDeTexto 44">
              <a:extLst>
                <a:ext uri="{FF2B5EF4-FFF2-40B4-BE49-F238E27FC236}">
                  <a16:creationId xmlns:a16="http://schemas.microsoft.com/office/drawing/2014/main" id="{688CF8A6-175F-1885-190C-AFF1718B8ED8}"/>
                </a:ext>
              </a:extLst>
            </p:cNvPr>
            <p:cNvSpPr txBox="1"/>
            <p:nvPr/>
          </p:nvSpPr>
          <p:spPr>
            <a:xfrm>
              <a:off x="3150286" y="5169271"/>
              <a:ext cx="1018803" cy="480131"/>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FUNÇÕES EFETORAS</a:t>
              </a:r>
            </a:p>
          </p:txBody>
        </p:sp>
        <p:pic>
          <p:nvPicPr>
            <p:cNvPr id="11" name="Picture 2">
              <a:extLst>
                <a:ext uri="{FF2B5EF4-FFF2-40B4-BE49-F238E27FC236}">
                  <a16:creationId xmlns:a16="http://schemas.microsoft.com/office/drawing/2014/main" id="{00D0E4EF-34CA-F34A-BFB3-F59CB76A07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023125" y="1525140"/>
              <a:ext cx="9542569" cy="4428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Fluxograma: Atraso 52">
              <a:extLst>
                <a:ext uri="{FF2B5EF4-FFF2-40B4-BE49-F238E27FC236}">
                  <a16:creationId xmlns:a16="http://schemas.microsoft.com/office/drawing/2014/main" id="{A42F66B8-25A5-2D7B-FDBE-F754B3EAA1D3}"/>
                </a:ext>
              </a:extLst>
            </p:cNvPr>
            <p:cNvSpPr/>
            <p:nvPr/>
          </p:nvSpPr>
          <p:spPr>
            <a:xfrm rot="5400000">
              <a:off x="3960154" y="2936473"/>
              <a:ext cx="430875" cy="332007"/>
            </a:xfrm>
            <a:prstGeom prst="flowChartDelay">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defTabSz="914377" fontAlgn="base">
                <a:spcBef>
                  <a:spcPct val="0"/>
                </a:spcBef>
                <a:spcAft>
                  <a:spcPct val="0"/>
                </a:spcAft>
              </a:pPr>
              <a:endParaRPr lang="pt-BR" sz="1867" b="1" kern="0" dirty="0" err="1">
                <a:solidFill>
                  <a:srgbClr val="FFFFFF"/>
                </a:solidFill>
                <a:ea typeface="ヒラギノ角ゴ Pro W3" panose="020B0300000000000000" pitchFamily="34" charset="-128"/>
                <a:cs typeface="Arial"/>
              </a:endParaRPr>
            </a:p>
          </p:txBody>
        </p:sp>
        <p:sp>
          <p:nvSpPr>
            <p:cNvPr id="54" name="CaixaDeTexto 53">
              <a:extLst>
                <a:ext uri="{FF2B5EF4-FFF2-40B4-BE49-F238E27FC236}">
                  <a16:creationId xmlns:a16="http://schemas.microsoft.com/office/drawing/2014/main" id="{F69819F6-2606-BAF7-1C8A-685F0403BE5C}"/>
                </a:ext>
              </a:extLst>
            </p:cNvPr>
            <p:cNvSpPr txBox="1"/>
            <p:nvPr/>
          </p:nvSpPr>
          <p:spPr>
            <a:xfrm>
              <a:off x="3958310" y="3007065"/>
              <a:ext cx="41140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a:t>
              </a:r>
            </a:p>
          </p:txBody>
        </p:sp>
        <p:sp>
          <p:nvSpPr>
            <p:cNvPr id="16" name="CaixaDeTexto 15">
              <a:extLst>
                <a:ext uri="{FF2B5EF4-FFF2-40B4-BE49-F238E27FC236}">
                  <a16:creationId xmlns:a16="http://schemas.microsoft.com/office/drawing/2014/main" id="{E343A9CA-8B1B-1ECC-121D-1F1FC50D9E84}"/>
                </a:ext>
              </a:extLst>
            </p:cNvPr>
            <p:cNvSpPr txBox="1"/>
            <p:nvPr/>
          </p:nvSpPr>
          <p:spPr>
            <a:xfrm>
              <a:off x="4193689" y="1954192"/>
              <a:ext cx="3621472"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latin typeface="+mj-lt"/>
                </a:rPr>
                <a:t>ETAPAS INICIAIS</a:t>
              </a:r>
            </a:p>
          </p:txBody>
        </p:sp>
        <p:sp>
          <p:nvSpPr>
            <p:cNvPr id="35" name="CaixaDeTexto 34">
              <a:extLst>
                <a:ext uri="{FF2B5EF4-FFF2-40B4-BE49-F238E27FC236}">
                  <a16:creationId xmlns:a16="http://schemas.microsoft.com/office/drawing/2014/main" id="{3C0EEB40-0287-096E-FE24-D8C793797BF1}"/>
                </a:ext>
              </a:extLst>
            </p:cNvPr>
            <p:cNvSpPr txBox="1"/>
            <p:nvPr/>
          </p:nvSpPr>
          <p:spPr>
            <a:xfrm>
              <a:off x="5692626" y="2606089"/>
              <a:ext cx="1643070" cy="978729"/>
            </a:xfrm>
            <a:prstGeom prst="rect">
              <a:avLst/>
            </a:prstGeom>
            <a:noFill/>
          </p:spPr>
          <p:txBody>
            <a:bodyPr wrap="square" rtlCol="0">
              <a:spAutoFit/>
            </a:bodyPr>
            <a:lstStyle/>
            <a:p>
              <a:pPr algn="ctr">
                <a:lnSpc>
                  <a:spcPct val="90000"/>
                </a:lnSpc>
                <a:spcAft>
                  <a:spcPts val="600"/>
                </a:spcAft>
              </a:pPr>
              <a:r>
                <a:rPr lang="pt-BR" sz="1600" b="1" dirty="0"/>
                <a:t>C3b é depositado sobre o </a:t>
              </a:r>
              <a:br>
                <a:rPr lang="pt-BR" sz="1600" b="1" dirty="0"/>
              </a:br>
              <a:r>
                <a:rPr lang="pt-BR" sz="1600" b="1" dirty="0"/>
                <a:t>micro-organismo</a:t>
              </a:r>
            </a:p>
          </p:txBody>
        </p:sp>
        <p:sp>
          <p:nvSpPr>
            <p:cNvPr id="36" name="CaixaDeTexto 35">
              <a:extLst>
                <a:ext uri="{FF2B5EF4-FFF2-40B4-BE49-F238E27FC236}">
                  <a16:creationId xmlns:a16="http://schemas.microsoft.com/office/drawing/2014/main" id="{36D3B556-44D7-5607-A8D6-3F2028A96CB8}"/>
                </a:ext>
              </a:extLst>
            </p:cNvPr>
            <p:cNvSpPr txBox="1"/>
            <p:nvPr/>
          </p:nvSpPr>
          <p:spPr>
            <a:xfrm>
              <a:off x="8360816" y="4277424"/>
              <a:ext cx="821535" cy="286232"/>
            </a:xfrm>
            <a:prstGeom prst="rect">
              <a:avLst/>
            </a:prstGeom>
            <a:noFill/>
          </p:spPr>
          <p:txBody>
            <a:bodyPr wrap="square" rtlCol="0">
              <a:spAutoFit/>
            </a:bodyPr>
            <a:lstStyle/>
            <a:p>
              <a:pPr algn="ctr">
                <a:lnSpc>
                  <a:spcPct val="90000"/>
                </a:lnSpc>
                <a:spcAft>
                  <a:spcPts val="600"/>
                </a:spcAft>
              </a:pPr>
              <a:r>
                <a:rPr lang="pt-BR" sz="1400" b="1" dirty="0"/>
                <a:t>C5a</a:t>
              </a:r>
            </a:p>
          </p:txBody>
        </p:sp>
        <p:cxnSp>
          <p:nvCxnSpPr>
            <p:cNvPr id="37" name="Conector de Seta Reta 36">
              <a:extLst>
                <a:ext uri="{FF2B5EF4-FFF2-40B4-BE49-F238E27FC236}">
                  <a16:creationId xmlns:a16="http://schemas.microsoft.com/office/drawing/2014/main" id="{8C150E2F-DFBA-D36B-3257-5AD46484B964}"/>
                </a:ext>
              </a:extLst>
            </p:cNvPr>
            <p:cNvCxnSpPr/>
            <p:nvPr/>
          </p:nvCxnSpPr>
          <p:spPr>
            <a:xfrm>
              <a:off x="4287583" y="3312808"/>
              <a:ext cx="370904" cy="830124"/>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Conector de Seta Reta 37">
              <a:extLst>
                <a:ext uri="{FF2B5EF4-FFF2-40B4-BE49-F238E27FC236}">
                  <a16:creationId xmlns:a16="http://schemas.microsoft.com/office/drawing/2014/main" id="{9BE782B7-72F6-3079-8986-2341F6C8AA8A}"/>
                </a:ext>
              </a:extLst>
            </p:cNvPr>
            <p:cNvCxnSpPr>
              <a:cxnSpLocks/>
              <a:stCxn id="6" idx="3"/>
            </p:cNvCxnSpPr>
            <p:nvPr/>
          </p:nvCxnSpPr>
          <p:spPr>
            <a:xfrm>
              <a:off x="2924172" y="2933470"/>
              <a:ext cx="1339551" cy="659292"/>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Conector de Seta Reta 38">
              <a:extLst>
                <a:ext uri="{FF2B5EF4-FFF2-40B4-BE49-F238E27FC236}">
                  <a16:creationId xmlns:a16="http://schemas.microsoft.com/office/drawing/2014/main" id="{69BE03FB-10C7-922F-F687-940DEFBC58EF}"/>
                </a:ext>
              </a:extLst>
            </p:cNvPr>
            <p:cNvCxnSpPr>
              <a:cxnSpLocks/>
            </p:cNvCxnSpPr>
            <p:nvPr/>
          </p:nvCxnSpPr>
          <p:spPr>
            <a:xfrm flipV="1">
              <a:off x="2967260" y="3770575"/>
              <a:ext cx="1358779" cy="201525"/>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Conector de Seta Reta 39">
              <a:extLst>
                <a:ext uri="{FF2B5EF4-FFF2-40B4-BE49-F238E27FC236}">
                  <a16:creationId xmlns:a16="http://schemas.microsoft.com/office/drawing/2014/main" id="{15416460-D94F-DF25-30D2-9A47296F9AF8}"/>
                </a:ext>
              </a:extLst>
            </p:cNvPr>
            <p:cNvCxnSpPr>
              <a:cxnSpLocks/>
            </p:cNvCxnSpPr>
            <p:nvPr/>
          </p:nvCxnSpPr>
          <p:spPr>
            <a:xfrm flipV="1">
              <a:off x="2932886" y="3924699"/>
              <a:ext cx="1486992" cy="928027"/>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1" name="Conector de Seta Reta 40">
              <a:extLst>
                <a:ext uri="{FF2B5EF4-FFF2-40B4-BE49-F238E27FC236}">
                  <a16:creationId xmlns:a16="http://schemas.microsoft.com/office/drawing/2014/main" id="{B40C7748-50E4-47FC-73FB-4911BBC0FFD5}"/>
                </a:ext>
              </a:extLst>
            </p:cNvPr>
            <p:cNvCxnSpPr>
              <a:cxnSpLocks/>
            </p:cNvCxnSpPr>
            <p:nvPr/>
          </p:nvCxnSpPr>
          <p:spPr>
            <a:xfrm>
              <a:off x="5417316" y="4170687"/>
              <a:ext cx="579301"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Conector de Seta Reta 41">
              <a:extLst>
                <a:ext uri="{FF2B5EF4-FFF2-40B4-BE49-F238E27FC236}">
                  <a16:creationId xmlns:a16="http://schemas.microsoft.com/office/drawing/2014/main" id="{4695CD77-E6C9-BEC7-EE84-5B1196DC38D8}"/>
                </a:ext>
              </a:extLst>
            </p:cNvPr>
            <p:cNvCxnSpPr>
              <a:cxnSpLocks/>
            </p:cNvCxnSpPr>
            <p:nvPr/>
          </p:nvCxnSpPr>
          <p:spPr>
            <a:xfrm>
              <a:off x="7193457" y="4170687"/>
              <a:ext cx="488888"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3" name="Conector de Seta Reta 42">
              <a:extLst>
                <a:ext uri="{FF2B5EF4-FFF2-40B4-BE49-F238E27FC236}">
                  <a16:creationId xmlns:a16="http://schemas.microsoft.com/office/drawing/2014/main" id="{03E6267B-7465-B192-F50D-C58280FBBA12}"/>
                </a:ext>
              </a:extLst>
            </p:cNvPr>
            <p:cNvCxnSpPr>
              <a:cxnSpLocks/>
            </p:cNvCxnSpPr>
            <p:nvPr/>
          </p:nvCxnSpPr>
          <p:spPr>
            <a:xfrm>
              <a:off x="7559005" y="2996201"/>
              <a:ext cx="413051" cy="861801"/>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CaixaDeTexto 4">
              <a:extLst>
                <a:ext uri="{FF2B5EF4-FFF2-40B4-BE49-F238E27FC236}">
                  <a16:creationId xmlns:a16="http://schemas.microsoft.com/office/drawing/2014/main" id="{906070A2-AC70-DB7B-38AE-B5BB5FC6EF02}"/>
                </a:ext>
              </a:extLst>
            </p:cNvPr>
            <p:cNvSpPr txBox="1"/>
            <p:nvPr/>
          </p:nvSpPr>
          <p:spPr>
            <a:xfrm>
              <a:off x="5082365" y="3427101"/>
              <a:ext cx="821535" cy="286232"/>
            </a:xfrm>
            <a:prstGeom prst="rect">
              <a:avLst/>
            </a:prstGeom>
            <a:noFill/>
          </p:spPr>
          <p:txBody>
            <a:bodyPr wrap="square" rtlCol="0">
              <a:spAutoFit/>
            </a:bodyPr>
            <a:lstStyle/>
            <a:p>
              <a:pPr algn="ctr">
                <a:lnSpc>
                  <a:spcPct val="90000"/>
                </a:lnSpc>
                <a:spcAft>
                  <a:spcPts val="600"/>
                </a:spcAft>
              </a:pPr>
              <a:r>
                <a:rPr lang="pt-BR" sz="1400" b="1" dirty="0"/>
                <a:t>C3a</a:t>
              </a:r>
            </a:p>
          </p:txBody>
        </p:sp>
        <p:cxnSp>
          <p:nvCxnSpPr>
            <p:cNvPr id="49" name="Conector reto 48">
              <a:extLst>
                <a:ext uri="{FF2B5EF4-FFF2-40B4-BE49-F238E27FC236}">
                  <a16:creationId xmlns:a16="http://schemas.microsoft.com/office/drawing/2014/main" id="{7120F54A-00E6-189C-C630-83148D2128D1}"/>
                </a:ext>
              </a:extLst>
            </p:cNvPr>
            <p:cNvCxnSpPr/>
            <p:nvPr/>
          </p:nvCxnSpPr>
          <p:spPr>
            <a:xfrm>
              <a:off x="3948056" y="1804518"/>
              <a:ext cx="0" cy="532907"/>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Conector reto 49">
              <a:extLst>
                <a:ext uri="{FF2B5EF4-FFF2-40B4-BE49-F238E27FC236}">
                  <a16:creationId xmlns:a16="http://schemas.microsoft.com/office/drawing/2014/main" id="{D7607D6B-BED6-AC7A-ED6F-D8E1C6666B5A}"/>
                </a:ext>
              </a:extLst>
            </p:cNvPr>
            <p:cNvCxnSpPr/>
            <p:nvPr/>
          </p:nvCxnSpPr>
          <p:spPr>
            <a:xfrm>
              <a:off x="7765530" y="1804518"/>
              <a:ext cx="0" cy="532907"/>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Freeform 8975">
              <a:extLst>
                <a:ext uri="{FF2B5EF4-FFF2-40B4-BE49-F238E27FC236}">
                  <a16:creationId xmlns:a16="http://schemas.microsoft.com/office/drawing/2014/main" id="{1E9311BE-A75C-160E-126A-8F4FA91E15A1}"/>
                </a:ext>
              </a:extLst>
            </p:cNvPr>
            <p:cNvSpPr/>
            <p:nvPr/>
          </p:nvSpPr>
          <p:spPr>
            <a:xfrm rot="14202250">
              <a:off x="5347924" y="3636483"/>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2" name="Freeform 8974">
              <a:extLst>
                <a:ext uri="{FF2B5EF4-FFF2-40B4-BE49-F238E27FC236}">
                  <a16:creationId xmlns:a16="http://schemas.microsoft.com/office/drawing/2014/main" id="{7459ADDC-CDED-52D4-5D5D-BB50D3A5E85A}"/>
                </a:ext>
              </a:extLst>
            </p:cNvPr>
            <p:cNvSpPr/>
            <p:nvPr/>
          </p:nvSpPr>
          <p:spPr>
            <a:xfrm rot="8100000">
              <a:off x="4631747" y="3894370"/>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15" name="Fluxograma: Atraso 14">
              <a:extLst>
                <a:ext uri="{FF2B5EF4-FFF2-40B4-BE49-F238E27FC236}">
                  <a16:creationId xmlns:a16="http://schemas.microsoft.com/office/drawing/2014/main" id="{DDA0DE86-72D3-DD61-B9EB-2314ACFCA08A}"/>
                </a:ext>
              </a:extLst>
            </p:cNvPr>
            <p:cNvSpPr/>
            <p:nvPr/>
          </p:nvSpPr>
          <p:spPr>
            <a:xfrm rot="5400000">
              <a:off x="3752576" y="2708287"/>
              <a:ext cx="430875" cy="332007"/>
            </a:xfrm>
            <a:prstGeom prst="flowChartDelay">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defTabSz="914377" fontAlgn="base">
                <a:spcBef>
                  <a:spcPct val="0"/>
                </a:spcBef>
                <a:spcAft>
                  <a:spcPct val="0"/>
                </a:spcAft>
              </a:pPr>
              <a:endParaRPr lang="pt-BR" sz="1867" b="1" kern="0" dirty="0" err="1">
                <a:solidFill>
                  <a:srgbClr val="FFFFFF"/>
                </a:solidFill>
                <a:ea typeface="ヒラギノ角ゴ Pro W3" panose="020B0300000000000000" pitchFamily="34" charset="-128"/>
                <a:cs typeface="Arial"/>
              </a:endParaRPr>
            </a:p>
          </p:txBody>
        </p:sp>
        <p:sp>
          <p:nvSpPr>
            <p:cNvPr id="19" name="CaixaDeTexto 18">
              <a:extLst>
                <a:ext uri="{FF2B5EF4-FFF2-40B4-BE49-F238E27FC236}">
                  <a16:creationId xmlns:a16="http://schemas.microsoft.com/office/drawing/2014/main" id="{77C9054D-6499-F4A8-A0F2-8665B3DFEE1F}"/>
                </a:ext>
              </a:extLst>
            </p:cNvPr>
            <p:cNvSpPr txBox="1"/>
            <p:nvPr/>
          </p:nvSpPr>
          <p:spPr>
            <a:xfrm>
              <a:off x="3752610" y="2713292"/>
              <a:ext cx="41140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a:t>
              </a:r>
            </a:p>
          </p:txBody>
        </p:sp>
        <p:sp>
          <p:nvSpPr>
            <p:cNvPr id="27" name="Fluxograma: Atraso 26">
              <a:extLst>
                <a:ext uri="{FF2B5EF4-FFF2-40B4-BE49-F238E27FC236}">
                  <a16:creationId xmlns:a16="http://schemas.microsoft.com/office/drawing/2014/main" id="{634BE98A-D4B6-3D62-4BD9-CEA318A80DFA}"/>
                </a:ext>
              </a:extLst>
            </p:cNvPr>
            <p:cNvSpPr/>
            <p:nvPr/>
          </p:nvSpPr>
          <p:spPr>
            <a:xfrm rot="5400000">
              <a:off x="4160075" y="2660085"/>
              <a:ext cx="430875" cy="332007"/>
            </a:xfrm>
            <a:prstGeom prst="flowChartDelay">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defTabSz="914377" fontAlgn="base">
                <a:spcBef>
                  <a:spcPct val="0"/>
                </a:spcBef>
                <a:spcAft>
                  <a:spcPct val="0"/>
                </a:spcAft>
              </a:pPr>
              <a:endParaRPr lang="pt-BR" sz="1867" b="1" kern="0" dirty="0" err="1">
                <a:solidFill>
                  <a:srgbClr val="FFFFFF"/>
                </a:solidFill>
                <a:ea typeface="ヒラギノ角ゴ Pro W3" panose="020B0300000000000000" pitchFamily="34" charset="-128"/>
                <a:cs typeface="Arial"/>
              </a:endParaRPr>
            </a:p>
          </p:txBody>
        </p:sp>
        <p:sp>
          <p:nvSpPr>
            <p:cNvPr id="48" name="CaixaDeTexto 47">
              <a:extLst>
                <a:ext uri="{FF2B5EF4-FFF2-40B4-BE49-F238E27FC236}">
                  <a16:creationId xmlns:a16="http://schemas.microsoft.com/office/drawing/2014/main" id="{6FF443A9-16D5-F0E4-2BE9-D3FA68703E89}"/>
                </a:ext>
              </a:extLst>
            </p:cNvPr>
            <p:cNvSpPr txBox="1"/>
            <p:nvPr/>
          </p:nvSpPr>
          <p:spPr>
            <a:xfrm>
              <a:off x="4160109" y="2665090"/>
              <a:ext cx="41140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a:t>
              </a:r>
            </a:p>
          </p:txBody>
        </p:sp>
        <p:sp>
          <p:nvSpPr>
            <p:cNvPr id="55" name="CaixaDeTexto 54">
              <a:extLst>
                <a:ext uri="{FF2B5EF4-FFF2-40B4-BE49-F238E27FC236}">
                  <a16:creationId xmlns:a16="http://schemas.microsoft.com/office/drawing/2014/main" id="{99F73A5D-F69D-9F7D-1A3B-918152353C0E}"/>
                </a:ext>
              </a:extLst>
            </p:cNvPr>
            <p:cNvSpPr txBox="1"/>
            <p:nvPr/>
          </p:nvSpPr>
          <p:spPr>
            <a:xfrm>
              <a:off x="4676217" y="3889849"/>
              <a:ext cx="488729"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b</a:t>
              </a:r>
            </a:p>
          </p:txBody>
        </p:sp>
        <p:sp>
          <p:nvSpPr>
            <p:cNvPr id="56" name="Freeform 8974">
              <a:extLst>
                <a:ext uri="{FF2B5EF4-FFF2-40B4-BE49-F238E27FC236}">
                  <a16:creationId xmlns:a16="http://schemas.microsoft.com/office/drawing/2014/main" id="{E25C77C0-828C-841A-7892-77D72EE4293E}"/>
                </a:ext>
              </a:extLst>
            </p:cNvPr>
            <p:cNvSpPr/>
            <p:nvPr/>
          </p:nvSpPr>
          <p:spPr>
            <a:xfrm rot="8100000">
              <a:off x="4421762" y="4256460"/>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57" name="CaixaDeTexto 56">
              <a:extLst>
                <a:ext uri="{FF2B5EF4-FFF2-40B4-BE49-F238E27FC236}">
                  <a16:creationId xmlns:a16="http://schemas.microsoft.com/office/drawing/2014/main" id="{1DE3695D-9CB1-460F-833D-6588463F3CB6}"/>
                </a:ext>
              </a:extLst>
            </p:cNvPr>
            <p:cNvSpPr txBox="1"/>
            <p:nvPr/>
          </p:nvSpPr>
          <p:spPr>
            <a:xfrm>
              <a:off x="4466232" y="4251939"/>
              <a:ext cx="488729"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b</a:t>
              </a:r>
            </a:p>
          </p:txBody>
        </p:sp>
        <p:sp>
          <p:nvSpPr>
            <p:cNvPr id="58" name="Freeform 8974">
              <a:extLst>
                <a:ext uri="{FF2B5EF4-FFF2-40B4-BE49-F238E27FC236}">
                  <a16:creationId xmlns:a16="http://schemas.microsoft.com/office/drawing/2014/main" id="{36C8E115-788A-7E40-7171-EE773F28741F}"/>
                </a:ext>
              </a:extLst>
            </p:cNvPr>
            <p:cNvSpPr/>
            <p:nvPr/>
          </p:nvSpPr>
          <p:spPr>
            <a:xfrm rot="8100000">
              <a:off x="4840730" y="4242366"/>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59" name="CaixaDeTexto 58">
              <a:extLst>
                <a:ext uri="{FF2B5EF4-FFF2-40B4-BE49-F238E27FC236}">
                  <a16:creationId xmlns:a16="http://schemas.microsoft.com/office/drawing/2014/main" id="{96D855DF-33AD-9DEE-8651-8CACDDC9AB62}"/>
                </a:ext>
              </a:extLst>
            </p:cNvPr>
            <p:cNvSpPr txBox="1"/>
            <p:nvPr/>
          </p:nvSpPr>
          <p:spPr>
            <a:xfrm>
              <a:off x="4885200" y="4237845"/>
              <a:ext cx="488729"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b</a:t>
              </a:r>
            </a:p>
          </p:txBody>
        </p:sp>
        <p:sp>
          <p:nvSpPr>
            <p:cNvPr id="60" name="Freeform 8975">
              <a:extLst>
                <a:ext uri="{FF2B5EF4-FFF2-40B4-BE49-F238E27FC236}">
                  <a16:creationId xmlns:a16="http://schemas.microsoft.com/office/drawing/2014/main" id="{64929779-C4DD-2217-329B-359393642A59}"/>
                </a:ext>
              </a:extLst>
            </p:cNvPr>
            <p:cNvSpPr/>
            <p:nvPr/>
          </p:nvSpPr>
          <p:spPr>
            <a:xfrm rot="7135790">
              <a:off x="5091358" y="3474656"/>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 name="Freeform 8975">
              <a:extLst>
                <a:ext uri="{FF2B5EF4-FFF2-40B4-BE49-F238E27FC236}">
                  <a16:creationId xmlns:a16="http://schemas.microsoft.com/office/drawing/2014/main" id="{FE8EDBF6-11F2-3D80-BF57-C1FA7A8396C9}"/>
                </a:ext>
              </a:extLst>
            </p:cNvPr>
            <p:cNvSpPr/>
            <p:nvPr/>
          </p:nvSpPr>
          <p:spPr>
            <a:xfrm rot="14615073">
              <a:off x="4912899" y="3607112"/>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 name="Freeform 8975">
              <a:extLst>
                <a:ext uri="{FF2B5EF4-FFF2-40B4-BE49-F238E27FC236}">
                  <a16:creationId xmlns:a16="http://schemas.microsoft.com/office/drawing/2014/main" id="{C7A37C25-4D95-D463-8D2E-6DDA6EACB0B7}"/>
                </a:ext>
              </a:extLst>
            </p:cNvPr>
            <p:cNvSpPr/>
            <p:nvPr/>
          </p:nvSpPr>
          <p:spPr>
            <a:xfrm rot="10602549">
              <a:off x="5128726" y="3761876"/>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 name="Freeform 8974">
              <a:extLst>
                <a:ext uri="{FF2B5EF4-FFF2-40B4-BE49-F238E27FC236}">
                  <a16:creationId xmlns:a16="http://schemas.microsoft.com/office/drawing/2014/main" id="{6FC875EE-8311-80AB-F4F8-CB734D477495}"/>
                </a:ext>
              </a:extLst>
            </p:cNvPr>
            <p:cNvSpPr/>
            <p:nvPr/>
          </p:nvSpPr>
          <p:spPr>
            <a:xfrm rot="2700000">
              <a:off x="6595992" y="4021061"/>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64" name="CaixaDeTexto 63">
              <a:extLst>
                <a:ext uri="{FF2B5EF4-FFF2-40B4-BE49-F238E27FC236}">
                  <a16:creationId xmlns:a16="http://schemas.microsoft.com/office/drawing/2014/main" id="{B520207B-F8FB-3EE3-D9CC-AEC8FD5257A6}"/>
                </a:ext>
              </a:extLst>
            </p:cNvPr>
            <p:cNvSpPr txBox="1"/>
            <p:nvPr/>
          </p:nvSpPr>
          <p:spPr>
            <a:xfrm>
              <a:off x="6560056" y="4109910"/>
              <a:ext cx="488729"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b</a:t>
              </a:r>
            </a:p>
          </p:txBody>
        </p:sp>
        <p:sp>
          <p:nvSpPr>
            <p:cNvPr id="65" name="Freeform 8974">
              <a:extLst>
                <a:ext uri="{FF2B5EF4-FFF2-40B4-BE49-F238E27FC236}">
                  <a16:creationId xmlns:a16="http://schemas.microsoft.com/office/drawing/2014/main" id="{BFF210B2-32FB-EB26-3017-266827C59B98}"/>
                </a:ext>
              </a:extLst>
            </p:cNvPr>
            <p:cNvSpPr/>
            <p:nvPr/>
          </p:nvSpPr>
          <p:spPr>
            <a:xfrm rot="20990466">
              <a:off x="6397532" y="3575623"/>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66" name="CaixaDeTexto 65">
              <a:extLst>
                <a:ext uri="{FF2B5EF4-FFF2-40B4-BE49-F238E27FC236}">
                  <a16:creationId xmlns:a16="http://schemas.microsoft.com/office/drawing/2014/main" id="{8B8B64E4-EFA2-B818-E602-36CCF9A71E1F}"/>
                </a:ext>
              </a:extLst>
            </p:cNvPr>
            <p:cNvSpPr txBox="1"/>
            <p:nvPr/>
          </p:nvSpPr>
          <p:spPr>
            <a:xfrm>
              <a:off x="6361596" y="3664472"/>
              <a:ext cx="488729"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3b</a:t>
              </a:r>
            </a:p>
          </p:txBody>
        </p:sp>
        <p:sp>
          <p:nvSpPr>
            <p:cNvPr id="67" name="Fluxograma: Atraso 66">
              <a:extLst>
                <a:ext uri="{FF2B5EF4-FFF2-40B4-BE49-F238E27FC236}">
                  <a16:creationId xmlns:a16="http://schemas.microsoft.com/office/drawing/2014/main" id="{D8958BFA-9F89-ADF2-6447-4BCDB2922607}"/>
                </a:ext>
              </a:extLst>
            </p:cNvPr>
            <p:cNvSpPr/>
            <p:nvPr/>
          </p:nvSpPr>
          <p:spPr>
            <a:xfrm>
              <a:off x="7216516" y="2659644"/>
              <a:ext cx="430875" cy="332007"/>
            </a:xfrm>
            <a:prstGeom prst="flowChartDelay">
              <a:avLst/>
            </a:pr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pt-BR" sz="1867" b="1" kern="0" dirty="0" err="1">
                <a:solidFill>
                  <a:srgbClr val="FFFFFF"/>
                </a:solidFill>
                <a:ea typeface="ヒラギノ角ゴ Pro W3" panose="020B0300000000000000" pitchFamily="34" charset="-128"/>
                <a:cs typeface="Arial"/>
              </a:endParaRPr>
            </a:p>
          </p:txBody>
        </p:sp>
        <p:sp>
          <p:nvSpPr>
            <p:cNvPr id="68" name="CaixaDeTexto 67">
              <a:extLst>
                <a:ext uri="{FF2B5EF4-FFF2-40B4-BE49-F238E27FC236}">
                  <a16:creationId xmlns:a16="http://schemas.microsoft.com/office/drawing/2014/main" id="{6AADDA98-5E85-6E6F-530D-7DBDCC74EB02}"/>
                </a:ext>
              </a:extLst>
            </p:cNvPr>
            <p:cNvSpPr txBox="1"/>
            <p:nvPr/>
          </p:nvSpPr>
          <p:spPr>
            <a:xfrm>
              <a:off x="7201395" y="2684270"/>
              <a:ext cx="41140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5</a:t>
              </a:r>
            </a:p>
          </p:txBody>
        </p:sp>
        <p:sp>
          <p:nvSpPr>
            <p:cNvPr id="69" name="Freeform 8974">
              <a:extLst>
                <a:ext uri="{FF2B5EF4-FFF2-40B4-BE49-F238E27FC236}">
                  <a16:creationId xmlns:a16="http://schemas.microsoft.com/office/drawing/2014/main" id="{CB85A0A1-3517-47D1-053C-1147317F4F2E}"/>
                </a:ext>
              </a:extLst>
            </p:cNvPr>
            <p:cNvSpPr/>
            <p:nvPr/>
          </p:nvSpPr>
          <p:spPr>
            <a:xfrm rot="18900000" flipV="1">
              <a:off x="7707281" y="3930455"/>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sp>
          <p:nvSpPr>
            <p:cNvPr id="70" name="CaixaDeTexto 69">
              <a:extLst>
                <a:ext uri="{FF2B5EF4-FFF2-40B4-BE49-F238E27FC236}">
                  <a16:creationId xmlns:a16="http://schemas.microsoft.com/office/drawing/2014/main" id="{1D271891-042A-14A5-E175-C42C0BEB9C15}"/>
                </a:ext>
              </a:extLst>
            </p:cNvPr>
            <p:cNvSpPr txBox="1"/>
            <p:nvPr/>
          </p:nvSpPr>
          <p:spPr>
            <a:xfrm>
              <a:off x="7635089" y="3987259"/>
              <a:ext cx="61391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5b</a:t>
              </a:r>
            </a:p>
          </p:txBody>
        </p:sp>
        <p:sp>
          <p:nvSpPr>
            <p:cNvPr id="71" name="Freeform 8974">
              <a:extLst>
                <a:ext uri="{FF2B5EF4-FFF2-40B4-BE49-F238E27FC236}">
                  <a16:creationId xmlns:a16="http://schemas.microsoft.com/office/drawing/2014/main" id="{0EC9B3E9-8896-1F14-58AC-9FA91EB2AD8E}"/>
                </a:ext>
              </a:extLst>
            </p:cNvPr>
            <p:cNvSpPr/>
            <p:nvPr/>
          </p:nvSpPr>
          <p:spPr>
            <a:xfrm rot="18900000" flipV="1">
              <a:off x="8043486" y="3654301"/>
              <a:ext cx="523531" cy="423338"/>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sp>
          <p:nvSpPr>
            <p:cNvPr id="72" name="CaixaDeTexto 71">
              <a:extLst>
                <a:ext uri="{FF2B5EF4-FFF2-40B4-BE49-F238E27FC236}">
                  <a16:creationId xmlns:a16="http://schemas.microsoft.com/office/drawing/2014/main" id="{5653D958-C18F-AA7D-9268-C9CA86F534CD}"/>
                </a:ext>
              </a:extLst>
            </p:cNvPr>
            <p:cNvSpPr txBox="1"/>
            <p:nvPr/>
          </p:nvSpPr>
          <p:spPr>
            <a:xfrm>
              <a:off x="7971294" y="3711105"/>
              <a:ext cx="613911" cy="286232"/>
            </a:xfrm>
            <a:prstGeom prst="rect">
              <a:avLst/>
            </a:prstGeom>
            <a:noFill/>
          </p:spPr>
          <p:txBody>
            <a:bodyPr wrap="square" rtlCol="0">
              <a:spAutoFit/>
            </a:bodyPr>
            <a:lstStyle/>
            <a:p>
              <a:pPr algn="ctr">
                <a:lnSpc>
                  <a:spcPct val="90000"/>
                </a:lnSpc>
                <a:spcAft>
                  <a:spcPts val="600"/>
                </a:spcAft>
              </a:pPr>
              <a:r>
                <a:rPr lang="pt-BR" sz="1400" b="1" dirty="0">
                  <a:solidFill>
                    <a:schemeClr val="bg1"/>
                  </a:solidFill>
                </a:rPr>
                <a:t>C5b</a:t>
              </a:r>
            </a:p>
          </p:txBody>
        </p:sp>
        <p:sp>
          <p:nvSpPr>
            <p:cNvPr id="73" name="Freeform 8975">
              <a:extLst>
                <a:ext uri="{FF2B5EF4-FFF2-40B4-BE49-F238E27FC236}">
                  <a16:creationId xmlns:a16="http://schemas.microsoft.com/office/drawing/2014/main" id="{05F5E6B0-3CED-0057-26FB-FD7354EEFFEC}"/>
                </a:ext>
              </a:extLst>
            </p:cNvPr>
            <p:cNvSpPr/>
            <p:nvPr/>
          </p:nvSpPr>
          <p:spPr>
            <a:xfrm rot="14202250">
              <a:off x="8226882" y="4142219"/>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sp>
          <p:nvSpPr>
            <p:cNvPr id="74" name="Freeform 8975">
              <a:extLst>
                <a:ext uri="{FF2B5EF4-FFF2-40B4-BE49-F238E27FC236}">
                  <a16:creationId xmlns:a16="http://schemas.microsoft.com/office/drawing/2014/main" id="{327B8050-1733-AEB6-14A1-6E8EAFAABBCD}"/>
                </a:ext>
              </a:extLst>
            </p:cNvPr>
            <p:cNvSpPr/>
            <p:nvPr/>
          </p:nvSpPr>
          <p:spPr>
            <a:xfrm rot="20968611">
              <a:off x="8498449" y="4065760"/>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sp>
          <p:nvSpPr>
            <p:cNvPr id="75" name="Freeform 8975">
              <a:extLst>
                <a:ext uri="{FF2B5EF4-FFF2-40B4-BE49-F238E27FC236}">
                  <a16:creationId xmlns:a16="http://schemas.microsoft.com/office/drawing/2014/main" id="{D59881A3-42A1-C57A-57E0-F3F4F706A876}"/>
                </a:ext>
              </a:extLst>
            </p:cNvPr>
            <p:cNvSpPr/>
            <p:nvPr/>
          </p:nvSpPr>
          <p:spPr>
            <a:xfrm rot="14707714">
              <a:off x="8383972" y="4378157"/>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sp>
          <p:nvSpPr>
            <p:cNvPr id="76" name="Freeform 8975">
              <a:extLst>
                <a:ext uri="{FF2B5EF4-FFF2-40B4-BE49-F238E27FC236}">
                  <a16:creationId xmlns:a16="http://schemas.microsoft.com/office/drawing/2014/main" id="{57182E52-BA34-F739-008A-87E00C760B39}"/>
                </a:ext>
              </a:extLst>
            </p:cNvPr>
            <p:cNvSpPr/>
            <p:nvPr/>
          </p:nvSpPr>
          <p:spPr>
            <a:xfrm rot="18797521">
              <a:off x="8139626" y="4417737"/>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a:gsLst>
                <a:gs pos="0">
                  <a:schemeClr val="tx2">
                    <a:lumMod val="90000"/>
                    <a:lumOff val="10000"/>
                  </a:schemeClr>
                </a:gs>
                <a:gs pos="100000">
                  <a:schemeClr val="tx2"/>
                </a:gs>
              </a:gsLst>
              <a:lin ang="7800000" scaled="0"/>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sz="1867" b="1" kern="0">
                <a:solidFill>
                  <a:srgbClr val="FFFFFF"/>
                </a:solidFill>
                <a:ea typeface="ヒラギノ角ゴ Pro W3" panose="020B0300000000000000" pitchFamily="34" charset="-128"/>
                <a:cs typeface="Arial"/>
              </a:endParaRPr>
            </a:p>
          </p:txBody>
        </p:sp>
      </p:grpSp>
    </p:spTree>
    <p:extLst>
      <p:ext uri="{BB962C8B-B14F-4D97-AF65-F5344CB8AC3E}">
        <p14:creationId xmlns:p14="http://schemas.microsoft.com/office/powerpoint/2010/main" val="35608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2" presetClass="entr" presetSubtype="8" accel="42000" decel="58000" fill="hold" grpId="0" nodeType="withEffect">
                                  <p:stCondLst>
                                    <p:cond delay="500"/>
                                  </p:stCondLst>
                                  <p:childTnLst>
                                    <p:set>
                                      <p:cBhvr>
                                        <p:cTn id="9" dur="1" fill="hold">
                                          <p:stCondLst>
                                            <p:cond delay="0"/>
                                          </p:stCondLst>
                                        </p:cTn>
                                        <p:tgtEl>
                                          <p:spTgt spid="47"/>
                                        </p:tgtEl>
                                        <p:attrNameLst>
                                          <p:attrName>style.visibility</p:attrName>
                                        </p:attrNameLst>
                                      </p:cBhvr>
                                      <p:to>
                                        <p:strVal val="visible"/>
                                      </p:to>
                                    </p:set>
                                    <p:anim calcmode="lin" valueType="num">
                                      <p:cBhvr additive="base">
                                        <p:cTn id="10" dur="1000" fill="hold"/>
                                        <p:tgtEl>
                                          <p:spTgt spid="47"/>
                                        </p:tgtEl>
                                        <p:attrNameLst>
                                          <p:attrName>ppt_x</p:attrName>
                                        </p:attrNameLst>
                                      </p:cBhvr>
                                      <p:tavLst>
                                        <p:tav tm="0">
                                          <p:val>
                                            <p:strVal val="0-#ppt_w/2"/>
                                          </p:val>
                                        </p:tav>
                                        <p:tav tm="100000">
                                          <p:val>
                                            <p:strVal val="#ppt_x"/>
                                          </p:val>
                                        </p:tav>
                                      </p:tavLst>
                                    </p:anim>
                                    <p:anim calcmode="lin" valueType="num">
                                      <p:cBhvr additive="base">
                                        <p:cTn id="11" dur="1000" fill="hold"/>
                                        <p:tgtEl>
                                          <p:spTgt spid="47"/>
                                        </p:tgtEl>
                                        <p:attrNameLst>
                                          <p:attrName>ppt_y</p:attrName>
                                        </p:attrNameLst>
                                      </p:cBhvr>
                                      <p:tavLst>
                                        <p:tav tm="0">
                                          <p:val>
                                            <p:strVal val="#ppt_y"/>
                                          </p:val>
                                        </p:tav>
                                        <p:tav tm="100000">
                                          <p:val>
                                            <p:strVal val="#ppt_y"/>
                                          </p:val>
                                        </p:tav>
                                      </p:tavLst>
                                    </p:anim>
                                  </p:childTnLst>
                                </p:cTn>
                              </p:par>
                              <p:par>
                                <p:cTn id="12" presetID="10" presetClass="entr" presetSubtype="0" fill="hold" nodeType="withEffect">
                                  <p:stCondLst>
                                    <p:cond delay="500"/>
                                  </p:stCondLst>
                                  <p:childTnLst>
                                    <p:set>
                                      <p:cBhvr>
                                        <p:cTn id="13" dur="1" fill="hold">
                                          <p:stCondLst>
                                            <p:cond delay="0"/>
                                          </p:stCondLst>
                                        </p:cTn>
                                        <p:tgtEl>
                                          <p:spTgt spid="77"/>
                                        </p:tgtEl>
                                        <p:attrNameLst>
                                          <p:attrName>style.visibility</p:attrName>
                                        </p:attrNameLst>
                                      </p:cBhvr>
                                      <p:to>
                                        <p:strVal val="visible"/>
                                      </p:to>
                                    </p:set>
                                    <p:animEffect transition="in" filter="fade">
                                      <p:cBhvr>
                                        <p:cTn id="14"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Cantos Arredondados 9">
            <a:extLst>
              <a:ext uri="{FF2B5EF4-FFF2-40B4-BE49-F238E27FC236}">
                <a16:creationId xmlns:a16="http://schemas.microsoft.com/office/drawing/2014/main" id="{10E2FAAF-4E60-665A-1022-4A067926AB92}"/>
              </a:ext>
            </a:extLst>
          </p:cNvPr>
          <p:cNvSpPr/>
          <p:nvPr/>
        </p:nvSpPr>
        <p:spPr>
          <a:xfrm>
            <a:off x="4465277" y="1376845"/>
            <a:ext cx="7522564" cy="4312716"/>
          </a:xfrm>
          <a:prstGeom prst="roundRect">
            <a:avLst>
              <a:gd name="adj" fmla="val 0"/>
            </a:avLst>
          </a:prstGeom>
          <a:solidFill>
            <a:schemeClr val="bg1"/>
          </a:soli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pt-BR" dirty="0"/>
              <a:t>Figura Adaptada de </a:t>
            </a:r>
            <a:r>
              <a:rPr lang="pt-BR" dirty="0" err="1"/>
              <a:t>McInturff</a:t>
            </a:r>
            <a:r>
              <a:rPr lang="pt-BR" dirty="0"/>
              <a:t> JE, </a:t>
            </a:r>
            <a:r>
              <a:rPr lang="pt-BR" dirty="0" err="1"/>
              <a:t>Modlin</a:t>
            </a:r>
            <a:r>
              <a:rPr lang="pt-BR" dirty="0"/>
              <a:t> RL, Kim J. The role </a:t>
            </a:r>
            <a:r>
              <a:rPr lang="pt-BR" dirty="0" err="1"/>
              <a:t>of</a:t>
            </a:r>
            <a:r>
              <a:rPr lang="pt-BR" dirty="0"/>
              <a:t> </a:t>
            </a:r>
            <a:r>
              <a:rPr lang="pt-BR" dirty="0" err="1"/>
              <a:t>toll</a:t>
            </a:r>
            <a:r>
              <a:rPr lang="pt-BR" dirty="0"/>
              <a:t>-like </a:t>
            </a:r>
            <a:r>
              <a:rPr lang="pt-BR" dirty="0" err="1"/>
              <a:t>receptors</a:t>
            </a:r>
            <a:r>
              <a:rPr lang="pt-BR" dirty="0"/>
              <a:t> in </a:t>
            </a:r>
            <a:r>
              <a:rPr lang="pt-BR" dirty="0" err="1"/>
              <a:t>the</a:t>
            </a:r>
            <a:r>
              <a:rPr lang="pt-BR" dirty="0"/>
              <a:t> </a:t>
            </a:r>
            <a:r>
              <a:rPr lang="pt-BR" dirty="0" err="1"/>
              <a:t>pathogenesis</a:t>
            </a:r>
            <a:r>
              <a:rPr lang="pt-BR" dirty="0"/>
              <a:t> </a:t>
            </a:r>
            <a:r>
              <a:rPr lang="pt-BR" dirty="0" err="1"/>
              <a:t>and</a:t>
            </a:r>
            <a:r>
              <a:rPr lang="pt-BR" dirty="0"/>
              <a:t> </a:t>
            </a:r>
            <a:r>
              <a:rPr lang="pt-BR" dirty="0" err="1"/>
              <a:t>treatment</a:t>
            </a:r>
            <a:r>
              <a:rPr lang="pt-BR" dirty="0"/>
              <a:t> </a:t>
            </a:r>
            <a:r>
              <a:rPr lang="pt-BR" dirty="0" err="1"/>
              <a:t>of</a:t>
            </a:r>
            <a:r>
              <a:rPr lang="pt-BR" dirty="0"/>
              <a:t> </a:t>
            </a:r>
            <a:r>
              <a:rPr lang="pt-BR" dirty="0" err="1"/>
              <a:t>dermatological</a:t>
            </a:r>
            <a:r>
              <a:rPr lang="pt-BR" dirty="0"/>
              <a:t> </a:t>
            </a:r>
            <a:r>
              <a:rPr lang="pt-BR" dirty="0" err="1"/>
              <a:t>disease</a:t>
            </a:r>
            <a:r>
              <a:rPr lang="pt-BR" dirty="0"/>
              <a:t>. J </a:t>
            </a:r>
            <a:r>
              <a:rPr lang="pt-BR" dirty="0" err="1"/>
              <a:t>Invest</a:t>
            </a:r>
            <a:r>
              <a:rPr lang="pt-BR" dirty="0"/>
              <a:t> Dermatol. 2005 Jul;125(1):1-8. </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Reconhecimento de antígenos </a:t>
            </a:r>
          </a:p>
        </p:txBody>
      </p:sp>
      <p:sp>
        <p:nvSpPr>
          <p:cNvPr id="4" name="Retângulo: Cantos Arredondados 3">
            <a:extLst>
              <a:ext uri="{FF2B5EF4-FFF2-40B4-BE49-F238E27FC236}">
                <a16:creationId xmlns:a16="http://schemas.microsoft.com/office/drawing/2014/main" id="{DD848B26-1C9D-0232-7ECE-005379B25EEC}"/>
              </a:ext>
            </a:extLst>
          </p:cNvPr>
          <p:cNvSpPr/>
          <p:nvPr/>
        </p:nvSpPr>
        <p:spPr>
          <a:xfrm>
            <a:off x="-97442" y="1588959"/>
            <a:ext cx="4897403" cy="2582366"/>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5" name="CaixaDeTexto 4">
            <a:extLst>
              <a:ext uri="{FF2B5EF4-FFF2-40B4-BE49-F238E27FC236}">
                <a16:creationId xmlns:a16="http://schemas.microsoft.com/office/drawing/2014/main" id="{80B2EF4F-0937-FD63-122A-4ACFAE2D0DF9}"/>
              </a:ext>
            </a:extLst>
          </p:cNvPr>
          <p:cNvSpPr txBox="1"/>
          <p:nvPr/>
        </p:nvSpPr>
        <p:spPr>
          <a:xfrm>
            <a:off x="296269" y="792070"/>
            <a:ext cx="2829429" cy="523220"/>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defRPr/>
            </a:pPr>
            <a:r>
              <a:rPr lang="en-US" sz="2800" dirty="0">
                <a:solidFill>
                  <a:srgbClr val="003865"/>
                </a:solidFill>
              </a:rPr>
              <a:t>Toll-like receptors </a:t>
            </a:r>
          </a:p>
        </p:txBody>
      </p:sp>
      <p:grpSp>
        <p:nvGrpSpPr>
          <p:cNvPr id="138" name="Agrupar 137">
            <a:extLst>
              <a:ext uri="{FF2B5EF4-FFF2-40B4-BE49-F238E27FC236}">
                <a16:creationId xmlns:a16="http://schemas.microsoft.com/office/drawing/2014/main" id="{04A16FB2-39D3-2ACC-56D8-42B9EF6AB0A9}"/>
              </a:ext>
            </a:extLst>
          </p:cNvPr>
          <p:cNvGrpSpPr/>
          <p:nvPr/>
        </p:nvGrpSpPr>
        <p:grpSpPr>
          <a:xfrm>
            <a:off x="5116410" y="1600468"/>
            <a:ext cx="6701501" cy="3875708"/>
            <a:chOff x="5116410" y="1945947"/>
            <a:chExt cx="6701501" cy="3875708"/>
          </a:xfrm>
        </p:grpSpPr>
        <p:pic>
          <p:nvPicPr>
            <p:cNvPr id="9" name="Imagem 8">
              <a:extLst>
                <a:ext uri="{FF2B5EF4-FFF2-40B4-BE49-F238E27FC236}">
                  <a16:creationId xmlns:a16="http://schemas.microsoft.com/office/drawing/2014/main" id="{31E3C803-FA43-1A1D-5528-56663951D26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54509" y="2026689"/>
              <a:ext cx="6267006" cy="3794966"/>
            </a:xfrm>
            <a:prstGeom prst="rect">
              <a:avLst/>
            </a:prstGeom>
          </p:spPr>
        </p:pic>
        <p:sp>
          <p:nvSpPr>
            <p:cNvPr id="56" name="CaixaDeTexto 55">
              <a:extLst>
                <a:ext uri="{FF2B5EF4-FFF2-40B4-BE49-F238E27FC236}">
                  <a16:creationId xmlns:a16="http://schemas.microsoft.com/office/drawing/2014/main" id="{BE14BAD1-4822-A9DD-BBCF-172491523F3D}"/>
                </a:ext>
              </a:extLst>
            </p:cNvPr>
            <p:cNvSpPr txBox="1"/>
            <p:nvPr/>
          </p:nvSpPr>
          <p:spPr>
            <a:xfrm>
              <a:off x="5135457" y="1945947"/>
              <a:ext cx="1313895" cy="424732"/>
            </a:xfrm>
            <a:prstGeom prst="rect">
              <a:avLst/>
            </a:prstGeom>
            <a:noFill/>
          </p:spPr>
          <p:txBody>
            <a:bodyPr wrap="square" rtlCol="0">
              <a:spAutoFit/>
            </a:bodyPr>
            <a:lstStyle/>
            <a:p>
              <a:pPr algn="ctr">
                <a:lnSpc>
                  <a:spcPct val="90000"/>
                </a:lnSpc>
                <a:spcAft>
                  <a:spcPts val="600"/>
                </a:spcAft>
              </a:pPr>
              <a:r>
                <a:rPr lang="pt-BR" sz="1200" b="1" dirty="0" err="1"/>
                <a:t>triacylated</a:t>
              </a:r>
              <a:r>
                <a:rPr lang="pt-BR" sz="1200" b="1" dirty="0"/>
                <a:t> </a:t>
              </a:r>
              <a:r>
                <a:rPr lang="pt-BR" sz="1200" b="1" dirty="0" err="1"/>
                <a:t>lipoprotein</a:t>
              </a:r>
              <a:endParaRPr lang="pt-BR" sz="1200" b="1" dirty="0"/>
            </a:p>
          </p:txBody>
        </p:sp>
        <p:sp>
          <p:nvSpPr>
            <p:cNvPr id="57" name="CaixaDeTexto 56">
              <a:extLst>
                <a:ext uri="{FF2B5EF4-FFF2-40B4-BE49-F238E27FC236}">
                  <a16:creationId xmlns:a16="http://schemas.microsoft.com/office/drawing/2014/main" id="{D17BCABA-6950-8A0A-60CD-069DE67530DE}"/>
                </a:ext>
              </a:extLst>
            </p:cNvPr>
            <p:cNvSpPr txBox="1"/>
            <p:nvPr/>
          </p:nvSpPr>
          <p:spPr>
            <a:xfrm>
              <a:off x="6158716" y="1945947"/>
              <a:ext cx="1313895" cy="424732"/>
            </a:xfrm>
            <a:prstGeom prst="rect">
              <a:avLst/>
            </a:prstGeom>
            <a:noFill/>
          </p:spPr>
          <p:txBody>
            <a:bodyPr wrap="square" rtlCol="0">
              <a:spAutoFit/>
            </a:bodyPr>
            <a:lstStyle/>
            <a:p>
              <a:pPr algn="ctr">
                <a:lnSpc>
                  <a:spcPct val="90000"/>
                </a:lnSpc>
                <a:spcAft>
                  <a:spcPts val="600"/>
                </a:spcAft>
              </a:pPr>
              <a:r>
                <a:rPr lang="pt-BR" sz="1200" b="1" dirty="0" err="1"/>
                <a:t>diacylated</a:t>
              </a:r>
              <a:r>
                <a:rPr lang="pt-BR" sz="1200" b="1" dirty="0"/>
                <a:t> </a:t>
              </a:r>
              <a:r>
                <a:rPr lang="pt-BR" sz="1200" b="1" dirty="0" err="1"/>
                <a:t>lipoprotein</a:t>
              </a:r>
              <a:endParaRPr lang="pt-BR" sz="1200" b="1" dirty="0"/>
            </a:p>
          </p:txBody>
        </p:sp>
        <p:sp>
          <p:nvSpPr>
            <p:cNvPr id="58" name="CaixaDeTexto 57">
              <a:extLst>
                <a:ext uri="{FF2B5EF4-FFF2-40B4-BE49-F238E27FC236}">
                  <a16:creationId xmlns:a16="http://schemas.microsoft.com/office/drawing/2014/main" id="{B73AC904-F9A8-28A1-117A-16A31FE35076}"/>
                </a:ext>
              </a:extLst>
            </p:cNvPr>
            <p:cNvSpPr txBox="1"/>
            <p:nvPr/>
          </p:nvSpPr>
          <p:spPr>
            <a:xfrm>
              <a:off x="7335992" y="2126105"/>
              <a:ext cx="833577" cy="258532"/>
            </a:xfrm>
            <a:prstGeom prst="rect">
              <a:avLst/>
            </a:prstGeom>
            <a:noFill/>
          </p:spPr>
          <p:txBody>
            <a:bodyPr wrap="square" rtlCol="0">
              <a:spAutoFit/>
            </a:bodyPr>
            <a:lstStyle/>
            <a:p>
              <a:pPr algn="ctr">
                <a:lnSpc>
                  <a:spcPct val="90000"/>
                </a:lnSpc>
                <a:spcAft>
                  <a:spcPts val="600"/>
                </a:spcAft>
              </a:pPr>
              <a:r>
                <a:rPr lang="pt-BR" sz="1200" b="1" dirty="0" err="1"/>
                <a:t>flagellin</a:t>
              </a:r>
              <a:endParaRPr lang="pt-BR" sz="1200" b="1" dirty="0"/>
            </a:p>
          </p:txBody>
        </p:sp>
        <p:sp>
          <p:nvSpPr>
            <p:cNvPr id="59" name="CaixaDeTexto 58">
              <a:extLst>
                <a:ext uri="{FF2B5EF4-FFF2-40B4-BE49-F238E27FC236}">
                  <a16:creationId xmlns:a16="http://schemas.microsoft.com/office/drawing/2014/main" id="{81362B69-B228-4DFD-EAEC-1352502E3372}"/>
                </a:ext>
              </a:extLst>
            </p:cNvPr>
            <p:cNvSpPr txBox="1"/>
            <p:nvPr/>
          </p:nvSpPr>
          <p:spPr>
            <a:xfrm>
              <a:off x="8023068" y="2126105"/>
              <a:ext cx="833577" cy="258532"/>
            </a:xfrm>
            <a:prstGeom prst="rect">
              <a:avLst/>
            </a:prstGeom>
            <a:noFill/>
          </p:spPr>
          <p:txBody>
            <a:bodyPr wrap="square" rtlCol="0">
              <a:spAutoFit/>
            </a:bodyPr>
            <a:lstStyle/>
            <a:p>
              <a:pPr algn="ctr">
                <a:lnSpc>
                  <a:spcPct val="90000"/>
                </a:lnSpc>
                <a:spcAft>
                  <a:spcPts val="600"/>
                </a:spcAft>
              </a:pPr>
              <a:r>
                <a:rPr lang="pt-BR" sz="1200" b="1" dirty="0" err="1"/>
                <a:t>unknown</a:t>
              </a:r>
              <a:endParaRPr lang="pt-BR" sz="1200" b="1" dirty="0"/>
            </a:p>
          </p:txBody>
        </p:sp>
        <p:sp>
          <p:nvSpPr>
            <p:cNvPr id="60" name="CaixaDeTexto 59">
              <a:extLst>
                <a:ext uri="{FF2B5EF4-FFF2-40B4-BE49-F238E27FC236}">
                  <a16:creationId xmlns:a16="http://schemas.microsoft.com/office/drawing/2014/main" id="{502D07F8-7258-40D8-A42A-AD66DDFDF8C2}"/>
                </a:ext>
              </a:extLst>
            </p:cNvPr>
            <p:cNvSpPr txBox="1"/>
            <p:nvPr/>
          </p:nvSpPr>
          <p:spPr>
            <a:xfrm>
              <a:off x="8710144" y="2126105"/>
              <a:ext cx="833577" cy="258532"/>
            </a:xfrm>
            <a:prstGeom prst="rect">
              <a:avLst/>
            </a:prstGeom>
            <a:noFill/>
          </p:spPr>
          <p:txBody>
            <a:bodyPr wrap="square" rtlCol="0">
              <a:spAutoFit/>
            </a:bodyPr>
            <a:lstStyle/>
            <a:p>
              <a:pPr algn="ctr">
                <a:lnSpc>
                  <a:spcPct val="90000"/>
                </a:lnSpc>
                <a:spcAft>
                  <a:spcPts val="600"/>
                </a:spcAft>
              </a:pPr>
              <a:r>
                <a:rPr lang="pt-BR" sz="1200" b="1" dirty="0" err="1"/>
                <a:t>dsRNA</a:t>
              </a:r>
              <a:endParaRPr lang="pt-BR" sz="1200" b="1" dirty="0"/>
            </a:p>
          </p:txBody>
        </p:sp>
        <p:sp>
          <p:nvSpPr>
            <p:cNvPr id="61" name="CaixaDeTexto 60">
              <a:extLst>
                <a:ext uri="{FF2B5EF4-FFF2-40B4-BE49-F238E27FC236}">
                  <a16:creationId xmlns:a16="http://schemas.microsoft.com/office/drawing/2014/main" id="{51E276C8-6CE8-0AE7-BBAF-D836CD9D805C}"/>
                </a:ext>
              </a:extLst>
            </p:cNvPr>
            <p:cNvSpPr txBox="1"/>
            <p:nvPr/>
          </p:nvSpPr>
          <p:spPr>
            <a:xfrm>
              <a:off x="9426792" y="2126105"/>
              <a:ext cx="833577" cy="258532"/>
            </a:xfrm>
            <a:prstGeom prst="rect">
              <a:avLst/>
            </a:prstGeom>
            <a:noFill/>
          </p:spPr>
          <p:txBody>
            <a:bodyPr wrap="square" rtlCol="0">
              <a:spAutoFit/>
            </a:bodyPr>
            <a:lstStyle/>
            <a:p>
              <a:pPr algn="ctr">
                <a:lnSpc>
                  <a:spcPct val="90000"/>
                </a:lnSpc>
                <a:spcAft>
                  <a:spcPts val="600"/>
                </a:spcAft>
              </a:pPr>
              <a:r>
                <a:rPr lang="pt-BR" sz="1200" b="1" dirty="0" err="1"/>
                <a:t>CpG</a:t>
              </a:r>
              <a:r>
                <a:rPr lang="pt-BR" sz="1200" b="1" dirty="0"/>
                <a:t> DNA</a:t>
              </a:r>
            </a:p>
          </p:txBody>
        </p:sp>
        <p:sp>
          <p:nvSpPr>
            <p:cNvPr id="62" name="CaixaDeTexto 61">
              <a:extLst>
                <a:ext uri="{FF2B5EF4-FFF2-40B4-BE49-F238E27FC236}">
                  <a16:creationId xmlns:a16="http://schemas.microsoft.com/office/drawing/2014/main" id="{C4F64DDB-A4C0-003E-C8E3-7249F1CB3264}"/>
                </a:ext>
              </a:extLst>
            </p:cNvPr>
            <p:cNvSpPr txBox="1"/>
            <p:nvPr/>
          </p:nvSpPr>
          <p:spPr>
            <a:xfrm>
              <a:off x="10055167" y="2010614"/>
              <a:ext cx="1463071" cy="258532"/>
            </a:xfrm>
            <a:prstGeom prst="rect">
              <a:avLst/>
            </a:prstGeom>
            <a:noFill/>
          </p:spPr>
          <p:txBody>
            <a:bodyPr wrap="square" rtlCol="0">
              <a:spAutoFit/>
            </a:bodyPr>
            <a:lstStyle/>
            <a:p>
              <a:pPr algn="ctr">
                <a:lnSpc>
                  <a:spcPct val="90000"/>
                </a:lnSpc>
                <a:spcAft>
                  <a:spcPts val="600"/>
                </a:spcAft>
              </a:pPr>
              <a:r>
                <a:rPr lang="pt-BR" sz="1200" b="1" dirty="0" err="1"/>
                <a:t>imidazoquinolones</a:t>
              </a:r>
              <a:endParaRPr lang="pt-BR" sz="1200" b="1" dirty="0"/>
            </a:p>
          </p:txBody>
        </p:sp>
        <p:sp>
          <p:nvSpPr>
            <p:cNvPr id="63" name="CaixaDeTexto 62">
              <a:extLst>
                <a:ext uri="{FF2B5EF4-FFF2-40B4-BE49-F238E27FC236}">
                  <a16:creationId xmlns:a16="http://schemas.microsoft.com/office/drawing/2014/main" id="{B0B05922-2103-3689-705C-92CA20AB3F3F}"/>
                </a:ext>
              </a:extLst>
            </p:cNvPr>
            <p:cNvSpPr txBox="1"/>
            <p:nvPr/>
          </p:nvSpPr>
          <p:spPr>
            <a:xfrm>
              <a:off x="10981910" y="2194331"/>
              <a:ext cx="731536" cy="258532"/>
            </a:xfrm>
            <a:prstGeom prst="rect">
              <a:avLst/>
            </a:prstGeom>
            <a:noFill/>
          </p:spPr>
          <p:txBody>
            <a:bodyPr wrap="square" rtlCol="0">
              <a:spAutoFit/>
            </a:bodyPr>
            <a:lstStyle/>
            <a:p>
              <a:pPr algn="ctr">
                <a:lnSpc>
                  <a:spcPct val="90000"/>
                </a:lnSpc>
                <a:spcAft>
                  <a:spcPts val="600"/>
                </a:spcAft>
              </a:pPr>
              <a:r>
                <a:rPr lang="pt-BR" sz="1200" b="1" dirty="0" err="1"/>
                <a:t>ssRNA</a:t>
              </a:r>
              <a:endParaRPr lang="pt-BR" sz="1200" b="1" dirty="0"/>
            </a:p>
          </p:txBody>
        </p:sp>
        <p:sp>
          <p:nvSpPr>
            <p:cNvPr id="64" name="CaixaDeTexto 63">
              <a:extLst>
                <a:ext uri="{FF2B5EF4-FFF2-40B4-BE49-F238E27FC236}">
                  <a16:creationId xmlns:a16="http://schemas.microsoft.com/office/drawing/2014/main" id="{F954FA4A-8DF6-3F59-D2D4-DE95AD21B3FA}"/>
                </a:ext>
              </a:extLst>
            </p:cNvPr>
            <p:cNvSpPr txBox="1"/>
            <p:nvPr/>
          </p:nvSpPr>
          <p:spPr>
            <a:xfrm>
              <a:off x="5116410" y="3605065"/>
              <a:ext cx="1275473"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2  TLR1</a:t>
              </a:r>
            </a:p>
          </p:txBody>
        </p:sp>
        <p:sp>
          <p:nvSpPr>
            <p:cNvPr id="65" name="CaixaDeTexto 64">
              <a:extLst>
                <a:ext uri="{FF2B5EF4-FFF2-40B4-BE49-F238E27FC236}">
                  <a16:creationId xmlns:a16="http://schemas.microsoft.com/office/drawing/2014/main" id="{0D1A2644-4100-348E-1990-0ED0C7A708D8}"/>
                </a:ext>
              </a:extLst>
            </p:cNvPr>
            <p:cNvSpPr txBox="1"/>
            <p:nvPr/>
          </p:nvSpPr>
          <p:spPr>
            <a:xfrm>
              <a:off x="6173435" y="3605065"/>
              <a:ext cx="1224176"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2  TLR6</a:t>
              </a:r>
            </a:p>
          </p:txBody>
        </p:sp>
        <p:sp>
          <p:nvSpPr>
            <p:cNvPr id="66" name="CaixaDeTexto 65">
              <a:extLst>
                <a:ext uri="{FF2B5EF4-FFF2-40B4-BE49-F238E27FC236}">
                  <a16:creationId xmlns:a16="http://schemas.microsoft.com/office/drawing/2014/main" id="{02A54B53-5A9D-82F7-CA46-D8DB7D0E879D}"/>
                </a:ext>
              </a:extLst>
            </p:cNvPr>
            <p:cNvSpPr txBox="1"/>
            <p:nvPr/>
          </p:nvSpPr>
          <p:spPr>
            <a:xfrm>
              <a:off x="7259206"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5</a:t>
              </a:r>
            </a:p>
          </p:txBody>
        </p:sp>
        <p:sp>
          <p:nvSpPr>
            <p:cNvPr id="67" name="CaixaDeTexto 66">
              <a:extLst>
                <a:ext uri="{FF2B5EF4-FFF2-40B4-BE49-F238E27FC236}">
                  <a16:creationId xmlns:a16="http://schemas.microsoft.com/office/drawing/2014/main" id="{B5D2E45F-17CD-03E9-A5DA-E300039E0903}"/>
                </a:ext>
              </a:extLst>
            </p:cNvPr>
            <p:cNvSpPr txBox="1"/>
            <p:nvPr/>
          </p:nvSpPr>
          <p:spPr>
            <a:xfrm>
              <a:off x="7936441"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10</a:t>
              </a:r>
            </a:p>
          </p:txBody>
        </p:sp>
        <p:sp>
          <p:nvSpPr>
            <p:cNvPr id="68" name="CaixaDeTexto 67">
              <a:extLst>
                <a:ext uri="{FF2B5EF4-FFF2-40B4-BE49-F238E27FC236}">
                  <a16:creationId xmlns:a16="http://schemas.microsoft.com/office/drawing/2014/main" id="{2636EF4C-EAB1-FBA8-36DD-FA5B5E0E087A}"/>
                </a:ext>
              </a:extLst>
            </p:cNvPr>
            <p:cNvSpPr txBox="1"/>
            <p:nvPr/>
          </p:nvSpPr>
          <p:spPr>
            <a:xfrm>
              <a:off x="8647142"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3</a:t>
              </a:r>
            </a:p>
          </p:txBody>
        </p:sp>
        <p:sp>
          <p:nvSpPr>
            <p:cNvPr id="69" name="CaixaDeTexto 68">
              <a:extLst>
                <a:ext uri="{FF2B5EF4-FFF2-40B4-BE49-F238E27FC236}">
                  <a16:creationId xmlns:a16="http://schemas.microsoft.com/office/drawing/2014/main" id="{8CD8BEFD-090F-FC7D-BBE7-390B20FDD0E8}"/>
                </a:ext>
              </a:extLst>
            </p:cNvPr>
            <p:cNvSpPr txBox="1"/>
            <p:nvPr/>
          </p:nvSpPr>
          <p:spPr>
            <a:xfrm>
              <a:off x="9392006"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9</a:t>
              </a:r>
            </a:p>
          </p:txBody>
        </p:sp>
        <p:sp>
          <p:nvSpPr>
            <p:cNvPr id="70" name="CaixaDeTexto 69">
              <a:extLst>
                <a:ext uri="{FF2B5EF4-FFF2-40B4-BE49-F238E27FC236}">
                  <a16:creationId xmlns:a16="http://schemas.microsoft.com/office/drawing/2014/main" id="{BB6C279C-FA2A-48EF-F597-25FE57C0DC9C}"/>
                </a:ext>
              </a:extLst>
            </p:cNvPr>
            <p:cNvSpPr txBox="1"/>
            <p:nvPr/>
          </p:nvSpPr>
          <p:spPr>
            <a:xfrm>
              <a:off x="10143203"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7</a:t>
              </a:r>
            </a:p>
          </p:txBody>
        </p:sp>
        <p:sp>
          <p:nvSpPr>
            <p:cNvPr id="71" name="CaixaDeTexto 70">
              <a:extLst>
                <a:ext uri="{FF2B5EF4-FFF2-40B4-BE49-F238E27FC236}">
                  <a16:creationId xmlns:a16="http://schemas.microsoft.com/office/drawing/2014/main" id="{4FBD8359-D387-34FB-D59B-FBA961595AD1}"/>
                </a:ext>
              </a:extLst>
            </p:cNvPr>
            <p:cNvSpPr txBox="1"/>
            <p:nvPr/>
          </p:nvSpPr>
          <p:spPr>
            <a:xfrm>
              <a:off x="10801367" y="3605065"/>
              <a:ext cx="1016544" cy="258532"/>
            </a:xfrm>
            <a:prstGeom prst="rect">
              <a:avLst/>
            </a:prstGeom>
            <a:noFill/>
          </p:spPr>
          <p:txBody>
            <a:bodyPr wrap="square" rtlCol="0">
              <a:spAutoFit/>
            </a:bodyPr>
            <a:lstStyle/>
            <a:p>
              <a:pPr algn="ctr">
                <a:lnSpc>
                  <a:spcPct val="90000"/>
                </a:lnSpc>
                <a:spcAft>
                  <a:spcPts val="600"/>
                </a:spcAft>
              </a:pPr>
              <a:r>
                <a:rPr lang="pt-BR" sz="1200" b="1" dirty="0">
                  <a:solidFill>
                    <a:schemeClr val="tx2"/>
                  </a:solidFill>
                  <a:latin typeface="+mj-lt"/>
                </a:rPr>
                <a:t>TLR8</a:t>
              </a:r>
            </a:p>
          </p:txBody>
        </p:sp>
        <p:sp>
          <p:nvSpPr>
            <p:cNvPr id="72" name="CaixaDeTexto 71">
              <a:extLst>
                <a:ext uri="{FF2B5EF4-FFF2-40B4-BE49-F238E27FC236}">
                  <a16:creationId xmlns:a16="http://schemas.microsoft.com/office/drawing/2014/main" id="{6376CFFD-9316-FE46-3E23-CCE2205318DD}"/>
                </a:ext>
              </a:extLst>
            </p:cNvPr>
            <p:cNvSpPr txBox="1"/>
            <p:nvPr/>
          </p:nvSpPr>
          <p:spPr>
            <a:xfrm>
              <a:off x="6449276" y="5397168"/>
              <a:ext cx="1386884" cy="286232"/>
            </a:xfrm>
            <a:prstGeom prst="rect">
              <a:avLst/>
            </a:prstGeom>
            <a:noFill/>
          </p:spPr>
          <p:txBody>
            <a:bodyPr wrap="square" rtlCol="0">
              <a:spAutoFit/>
            </a:bodyPr>
            <a:lstStyle/>
            <a:p>
              <a:pPr algn="ctr">
                <a:lnSpc>
                  <a:spcPct val="90000"/>
                </a:lnSpc>
                <a:spcAft>
                  <a:spcPts val="600"/>
                </a:spcAft>
              </a:pPr>
              <a:r>
                <a:rPr lang="pt-BR" sz="1400" b="1" dirty="0">
                  <a:solidFill>
                    <a:schemeClr val="tx2"/>
                  </a:solidFill>
                </a:rPr>
                <a:t>Extracelular </a:t>
              </a:r>
            </a:p>
          </p:txBody>
        </p:sp>
        <p:sp>
          <p:nvSpPr>
            <p:cNvPr id="73" name="CaixaDeTexto 72">
              <a:extLst>
                <a:ext uri="{FF2B5EF4-FFF2-40B4-BE49-F238E27FC236}">
                  <a16:creationId xmlns:a16="http://schemas.microsoft.com/office/drawing/2014/main" id="{759FBE24-63A6-AD09-A62C-F8D5BB764165}"/>
                </a:ext>
              </a:extLst>
            </p:cNvPr>
            <p:cNvSpPr txBox="1"/>
            <p:nvPr/>
          </p:nvSpPr>
          <p:spPr>
            <a:xfrm>
              <a:off x="9550897" y="5397168"/>
              <a:ext cx="1386884" cy="286232"/>
            </a:xfrm>
            <a:prstGeom prst="rect">
              <a:avLst/>
            </a:prstGeom>
            <a:noFill/>
          </p:spPr>
          <p:txBody>
            <a:bodyPr wrap="square" rtlCol="0">
              <a:spAutoFit/>
            </a:bodyPr>
            <a:lstStyle/>
            <a:p>
              <a:pPr algn="ctr">
                <a:lnSpc>
                  <a:spcPct val="90000"/>
                </a:lnSpc>
                <a:spcAft>
                  <a:spcPts val="600"/>
                </a:spcAft>
              </a:pPr>
              <a:r>
                <a:rPr lang="pt-BR" sz="1400" b="1" dirty="0">
                  <a:solidFill>
                    <a:schemeClr val="tx2"/>
                  </a:solidFill>
                </a:rPr>
                <a:t>Intracelular </a:t>
              </a:r>
            </a:p>
          </p:txBody>
        </p:sp>
        <p:cxnSp>
          <p:nvCxnSpPr>
            <p:cNvPr id="74" name="Conector de Seta Reta 73">
              <a:extLst>
                <a:ext uri="{FF2B5EF4-FFF2-40B4-BE49-F238E27FC236}">
                  <a16:creationId xmlns:a16="http://schemas.microsoft.com/office/drawing/2014/main" id="{F4CBCF98-BD55-D3BA-6365-78ABE365CCF9}"/>
                </a:ext>
              </a:extLst>
            </p:cNvPr>
            <p:cNvCxnSpPr/>
            <p:nvPr/>
          </p:nvCxnSpPr>
          <p:spPr>
            <a:xfrm>
              <a:off x="5798082"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Conector de Seta Reta 74">
              <a:extLst>
                <a:ext uri="{FF2B5EF4-FFF2-40B4-BE49-F238E27FC236}">
                  <a16:creationId xmlns:a16="http://schemas.microsoft.com/office/drawing/2014/main" id="{7CCE321A-73F7-FE03-12EE-38604FE85DFD}"/>
                </a:ext>
              </a:extLst>
            </p:cNvPr>
            <p:cNvCxnSpPr/>
            <p:nvPr/>
          </p:nvCxnSpPr>
          <p:spPr>
            <a:xfrm>
              <a:off x="6815663"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Conector de Seta Reta 75">
              <a:extLst>
                <a:ext uri="{FF2B5EF4-FFF2-40B4-BE49-F238E27FC236}">
                  <a16:creationId xmlns:a16="http://schemas.microsoft.com/office/drawing/2014/main" id="{D5E9C802-EB34-A225-12D2-2EA9C3DD9253}"/>
                </a:ext>
              </a:extLst>
            </p:cNvPr>
            <p:cNvCxnSpPr/>
            <p:nvPr/>
          </p:nvCxnSpPr>
          <p:spPr>
            <a:xfrm>
              <a:off x="7787035"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Conector de Seta Reta 76">
              <a:extLst>
                <a:ext uri="{FF2B5EF4-FFF2-40B4-BE49-F238E27FC236}">
                  <a16:creationId xmlns:a16="http://schemas.microsoft.com/office/drawing/2014/main" id="{A8134CAF-78DD-4CF9-7B86-11BE852852F7}"/>
                </a:ext>
              </a:extLst>
            </p:cNvPr>
            <p:cNvCxnSpPr/>
            <p:nvPr/>
          </p:nvCxnSpPr>
          <p:spPr>
            <a:xfrm>
              <a:off x="8477743"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Conector de Seta Reta 77">
              <a:extLst>
                <a:ext uri="{FF2B5EF4-FFF2-40B4-BE49-F238E27FC236}">
                  <a16:creationId xmlns:a16="http://schemas.microsoft.com/office/drawing/2014/main" id="{D75F49C8-7D6E-6974-C85B-C47F2058F7DE}"/>
                </a:ext>
              </a:extLst>
            </p:cNvPr>
            <p:cNvCxnSpPr/>
            <p:nvPr/>
          </p:nvCxnSpPr>
          <p:spPr>
            <a:xfrm>
              <a:off x="9131627"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Conector de Seta Reta 78">
              <a:extLst>
                <a:ext uri="{FF2B5EF4-FFF2-40B4-BE49-F238E27FC236}">
                  <a16:creationId xmlns:a16="http://schemas.microsoft.com/office/drawing/2014/main" id="{AB2A5D57-95B7-3AC2-DE55-31930E5238F6}"/>
                </a:ext>
              </a:extLst>
            </p:cNvPr>
            <p:cNvCxnSpPr/>
            <p:nvPr/>
          </p:nvCxnSpPr>
          <p:spPr>
            <a:xfrm>
              <a:off x="9877418"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Conector de Seta Reta 79">
              <a:extLst>
                <a:ext uri="{FF2B5EF4-FFF2-40B4-BE49-F238E27FC236}">
                  <a16:creationId xmlns:a16="http://schemas.microsoft.com/office/drawing/2014/main" id="{466F87FB-1F65-CF74-E2AC-1AA52DF63A44}"/>
                </a:ext>
              </a:extLst>
            </p:cNvPr>
            <p:cNvCxnSpPr/>
            <p:nvPr/>
          </p:nvCxnSpPr>
          <p:spPr>
            <a:xfrm>
              <a:off x="10628615" y="2969202"/>
              <a:ext cx="0" cy="574684"/>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Conector de Seta Reta 80">
              <a:extLst>
                <a:ext uri="{FF2B5EF4-FFF2-40B4-BE49-F238E27FC236}">
                  <a16:creationId xmlns:a16="http://schemas.microsoft.com/office/drawing/2014/main" id="{CB3B3219-88B9-E146-C4D2-B08155911B38}"/>
                </a:ext>
              </a:extLst>
            </p:cNvPr>
            <p:cNvCxnSpPr>
              <a:cxnSpLocks/>
            </p:cNvCxnSpPr>
            <p:nvPr/>
          </p:nvCxnSpPr>
          <p:spPr>
            <a:xfrm>
              <a:off x="10801367" y="2969202"/>
              <a:ext cx="277721" cy="620457"/>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2" name="Conector de Seta Reta 81">
              <a:extLst>
                <a:ext uri="{FF2B5EF4-FFF2-40B4-BE49-F238E27FC236}">
                  <a16:creationId xmlns:a16="http://schemas.microsoft.com/office/drawing/2014/main" id="{8A8EC47F-5406-97BE-E66E-609BC14556A4}"/>
                </a:ext>
              </a:extLst>
            </p:cNvPr>
            <p:cNvCxnSpPr>
              <a:cxnSpLocks/>
            </p:cNvCxnSpPr>
            <p:nvPr/>
          </p:nvCxnSpPr>
          <p:spPr>
            <a:xfrm>
              <a:off x="11339226" y="3042880"/>
              <a:ext cx="0" cy="501006"/>
            </a:xfrm>
            <a:prstGeom prst="straightConnector1">
              <a:avLst/>
            </a:prstGeom>
            <a:ln w="19050">
              <a:solidFill>
                <a:schemeClr val="accent6">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Forma Livre: Forma 82">
              <a:extLst>
                <a:ext uri="{FF2B5EF4-FFF2-40B4-BE49-F238E27FC236}">
                  <a16:creationId xmlns:a16="http://schemas.microsoft.com/office/drawing/2014/main" id="{B4912398-6CB4-E2A9-D3F7-511D5F2CF792}"/>
                </a:ext>
              </a:extLst>
            </p:cNvPr>
            <p:cNvSpPr/>
            <p:nvPr/>
          </p:nvSpPr>
          <p:spPr>
            <a:xfrm>
              <a:off x="5455528" y="4951345"/>
              <a:ext cx="3215640" cy="406926"/>
            </a:xfrm>
            <a:custGeom>
              <a:avLst/>
              <a:gdLst>
                <a:gd name="connsiteX0" fmla="*/ 0 w 3215640"/>
                <a:gd name="connsiteY0" fmla="*/ 7620 h 502920"/>
                <a:gd name="connsiteX1" fmla="*/ 0 w 3215640"/>
                <a:gd name="connsiteY1" fmla="*/ 502920 h 502920"/>
                <a:gd name="connsiteX2" fmla="*/ 3215640 w 3215640"/>
                <a:gd name="connsiteY2" fmla="*/ 502920 h 502920"/>
                <a:gd name="connsiteX3" fmla="*/ 3215640 w 3215640"/>
                <a:gd name="connsiteY3" fmla="*/ 0 h 502920"/>
              </a:gdLst>
              <a:ahLst/>
              <a:cxnLst>
                <a:cxn ang="0">
                  <a:pos x="connsiteX0" y="connsiteY0"/>
                </a:cxn>
                <a:cxn ang="0">
                  <a:pos x="connsiteX1" y="connsiteY1"/>
                </a:cxn>
                <a:cxn ang="0">
                  <a:pos x="connsiteX2" y="connsiteY2"/>
                </a:cxn>
                <a:cxn ang="0">
                  <a:pos x="connsiteX3" y="connsiteY3"/>
                </a:cxn>
              </a:cxnLst>
              <a:rect l="l" t="t" r="r" b="b"/>
              <a:pathLst>
                <a:path w="3215640" h="502920">
                  <a:moveTo>
                    <a:pt x="0" y="7620"/>
                  </a:moveTo>
                  <a:lnTo>
                    <a:pt x="0" y="502920"/>
                  </a:lnTo>
                  <a:lnTo>
                    <a:pt x="3215640" y="502920"/>
                  </a:lnTo>
                  <a:lnTo>
                    <a:pt x="3215640"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4" name="Forma Livre: Forma 83">
              <a:extLst>
                <a:ext uri="{FF2B5EF4-FFF2-40B4-BE49-F238E27FC236}">
                  <a16:creationId xmlns:a16="http://schemas.microsoft.com/office/drawing/2014/main" id="{797F686C-F5BC-6AA1-E601-9EC1DED307A1}"/>
                </a:ext>
              </a:extLst>
            </p:cNvPr>
            <p:cNvSpPr/>
            <p:nvPr/>
          </p:nvSpPr>
          <p:spPr>
            <a:xfrm>
              <a:off x="8969091" y="4951345"/>
              <a:ext cx="2582708" cy="406926"/>
            </a:xfrm>
            <a:custGeom>
              <a:avLst/>
              <a:gdLst>
                <a:gd name="connsiteX0" fmla="*/ 0 w 3215640"/>
                <a:gd name="connsiteY0" fmla="*/ 7620 h 502920"/>
                <a:gd name="connsiteX1" fmla="*/ 0 w 3215640"/>
                <a:gd name="connsiteY1" fmla="*/ 502920 h 502920"/>
                <a:gd name="connsiteX2" fmla="*/ 3215640 w 3215640"/>
                <a:gd name="connsiteY2" fmla="*/ 502920 h 502920"/>
                <a:gd name="connsiteX3" fmla="*/ 3215640 w 3215640"/>
                <a:gd name="connsiteY3" fmla="*/ 0 h 502920"/>
              </a:gdLst>
              <a:ahLst/>
              <a:cxnLst>
                <a:cxn ang="0">
                  <a:pos x="connsiteX0" y="connsiteY0"/>
                </a:cxn>
                <a:cxn ang="0">
                  <a:pos x="connsiteX1" y="connsiteY1"/>
                </a:cxn>
                <a:cxn ang="0">
                  <a:pos x="connsiteX2" y="connsiteY2"/>
                </a:cxn>
                <a:cxn ang="0">
                  <a:pos x="connsiteX3" y="connsiteY3"/>
                </a:cxn>
              </a:cxnLst>
              <a:rect l="l" t="t" r="r" b="b"/>
              <a:pathLst>
                <a:path w="3215640" h="502920">
                  <a:moveTo>
                    <a:pt x="0" y="7620"/>
                  </a:moveTo>
                  <a:lnTo>
                    <a:pt x="0" y="502920"/>
                  </a:lnTo>
                  <a:lnTo>
                    <a:pt x="3215640" y="502920"/>
                  </a:lnTo>
                  <a:lnTo>
                    <a:pt x="3215640"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142" name="Agrupar 141">
            <a:extLst>
              <a:ext uri="{FF2B5EF4-FFF2-40B4-BE49-F238E27FC236}">
                <a16:creationId xmlns:a16="http://schemas.microsoft.com/office/drawing/2014/main" id="{67CAA418-D808-9CBB-112D-55298BDE3EF2}"/>
              </a:ext>
            </a:extLst>
          </p:cNvPr>
          <p:cNvGrpSpPr/>
          <p:nvPr/>
        </p:nvGrpSpPr>
        <p:grpSpPr>
          <a:xfrm>
            <a:off x="204159" y="1817409"/>
            <a:ext cx="4484955" cy="1483584"/>
            <a:chOff x="204159" y="1722324"/>
            <a:chExt cx="4484955" cy="1483584"/>
          </a:xfrm>
        </p:grpSpPr>
        <p:grpSp>
          <p:nvGrpSpPr>
            <p:cNvPr id="12" name="Group 3">
              <a:extLst>
                <a:ext uri="{FF2B5EF4-FFF2-40B4-BE49-F238E27FC236}">
                  <a16:creationId xmlns:a16="http://schemas.microsoft.com/office/drawing/2014/main" id="{39195DCC-CE59-33BD-5431-EA294943CD3D}"/>
                </a:ext>
              </a:extLst>
            </p:cNvPr>
            <p:cNvGrpSpPr/>
            <p:nvPr/>
          </p:nvGrpSpPr>
          <p:grpSpPr>
            <a:xfrm>
              <a:off x="204159" y="1722324"/>
              <a:ext cx="4484955" cy="954107"/>
              <a:chOff x="2364814" y="5877782"/>
              <a:chExt cx="4484955" cy="954107"/>
            </a:xfrm>
          </p:grpSpPr>
          <p:sp>
            <p:nvSpPr>
              <p:cNvPr id="14" name="Rectangle 20">
                <a:extLst>
                  <a:ext uri="{FF2B5EF4-FFF2-40B4-BE49-F238E27FC236}">
                    <a16:creationId xmlns:a16="http://schemas.microsoft.com/office/drawing/2014/main" id="{0CDC2CD6-431A-FD86-36BA-D95BA7477F24}"/>
                  </a:ext>
                </a:extLst>
              </p:cNvPr>
              <p:cNvSpPr/>
              <p:nvPr/>
            </p:nvSpPr>
            <p:spPr>
              <a:xfrm>
                <a:off x="2364814" y="5877782"/>
                <a:ext cx="2135854"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0" cap="none" spc="0" normalizeH="0" baseline="0" noProof="0" dirty="0" err="1">
                    <a:ln>
                      <a:noFill/>
                    </a:ln>
                    <a:solidFill>
                      <a:schemeClr val="accent2"/>
                    </a:solidFill>
                    <a:effectLst/>
                    <a:uLnTx/>
                    <a:uFillTx/>
                    <a:latin typeface="Calibri"/>
                    <a:ea typeface="Cambria" panose="02040503050406030204" pitchFamily="18" charset="0"/>
                    <a:cs typeface="+mn-cs"/>
                  </a:rPr>
                  <a:t>PAMPs</a:t>
                </a:r>
                <a:endParaRPr kumimoji="0" lang="pt-BR" sz="1400" b="1"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0" cap="none" spc="0" normalizeH="0" baseline="0" noProof="0" dirty="0">
                    <a:ln>
                      <a:noFill/>
                    </a:ln>
                    <a:solidFill>
                      <a:schemeClr val="bg1"/>
                    </a:solidFill>
                    <a:effectLst/>
                    <a:uLnTx/>
                    <a:uFillTx/>
                    <a:latin typeface="Calibri"/>
                    <a:ea typeface="Cambria" panose="02040503050406030204" pitchFamily="18" charset="0"/>
                    <a:cs typeface="+mn-cs"/>
                  </a:rPr>
                  <a:t>(padrões moleculares associados à patógenos – </a:t>
                </a:r>
                <a:r>
                  <a:rPr kumimoji="0" lang="pt-BR" sz="1400" b="1"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rPr>
                  <a:t>não próprio</a:t>
                </a:r>
                <a:r>
                  <a:rPr kumimoji="0" lang="pt-BR" sz="1400" b="0"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rPr>
                  <a:t>)</a:t>
                </a:r>
              </a:p>
            </p:txBody>
          </p:sp>
          <p:sp>
            <p:nvSpPr>
              <p:cNvPr id="135" name="Rectangle 20">
                <a:extLst>
                  <a:ext uri="{FF2B5EF4-FFF2-40B4-BE49-F238E27FC236}">
                    <a16:creationId xmlns:a16="http://schemas.microsoft.com/office/drawing/2014/main" id="{7259B35A-9DE6-F3AB-1344-AD6352A0D508}"/>
                  </a:ext>
                </a:extLst>
              </p:cNvPr>
              <p:cNvSpPr/>
              <p:nvPr/>
            </p:nvSpPr>
            <p:spPr>
              <a:xfrm>
                <a:off x="5046888" y="5877782"/>
                <a:ext cx="1802881"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0" cap="none" spc="0" normalizeH="0" baseline="0" noProof="0" dirty="0" err="1">
                    <a:ln>
                      <a:noFill/>
                    </a:ln>
                    <a:solidFill>
                      <a:schemeClr val="accent2"/>
                    </a:solidFill>
                    <a:effectLst/>
                    <a:uLnTx/>
                    <a:uFillTx/>
                    <a:latin typeface="Calibri"/>
                    <a:ea typeface="Cambria" panose="02040503050406030204" pitchFamily="18" charset="0"/>
                    <a:cs typeface="+mn-cs"/>
                  </a:rPr>
                  <a:t>DAMPs</a:t>
                </a:r>
                <a:r>
                  <a:rPr kumimoji="0" lang="pt-BR" sz="1400" b="0" i="0" u="none" strike="noStrike" kern="0" cap="none" spc="0" normalizeH="0" baseline="0" noProof="0" dirty="0">
                    <a:ln>
                      <a:noFill/>
                    </a:ln>
                    <a:solidFill>
                      <a:schemeClr val="bg1"/>
                    </a:solidFill>
                    <a:effectLst/>
                    <a:uLnTx/>
                    <a:uFillTx/>
                    <a:latin typeface="Calibri"/>
                    <a:ea typeface="Cambria" panose="02040503050406030204" pitchFamily="18" charset="0"/>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0" cap="none" spc="0" normalizeH="0" baseline="0" noProof="0" dirty="0">
                    <a:ln>
                      <a:noFill/>
                    </a:ln>
                    <a:solidFill>
                      <a:schemeClr val="bg1"/>
                    </a:solidFill>
                    <a:effectLst/>
                    <a:uLnTx/>
                    <a:uFillTx/>
                    <a:latin typeface="Calibri"/>
                    <a:ea typeface="Cambria" panose="02040503050406030204" pitchFamily="18" charset="0"/>
                    <a:cs typeface="+mn-cs"/>
                  </a:rPr>
                  <a:t>(padrões moleculares associados à danos – </a:t>
                </a:r>
                <a:r>
                  <a:rPr kumimoji="0" lang="pt-BR" sz="1400" b="1"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rPr>
                  <a:t>próprio</a:t>
                </a:r>
                <a:r>
                  <a:rPr kumimoji="0" lang="pt-BR" sz="1400" b="0"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rPr>
                  <a:t>) </a:t>
                </a:r>
                <a:endParaRPr kumimoji="0" lang="en-US" sz="1400" b="0" i="0" u="none" strike="noStrike" kern="0" cap="none" spc="0" normalizeH="0" baseline="0" noProof="0" dirty="0">
                  <a:ln>
                    <a:noFill/>
                  </a:ln>
                  <a:solidFill>
                    <a:schemeClr val="accent2"/>
                  </a:solidFill>
                  <a:effectLst/>
                  <a:uLnTx/>
                  <a:uFillTx/>
                  <a:latin typeface="Calibri"/>
                  <a:ea typeface="Cambria" panose="02040503050406030204" pitchFamily="18" charset="0"/>
                  <a:cs typeface="+mn-cs"/>
                </a:endParaRPr>
              </a:p>
            </p:txBody>
          </p:sp>
        </p:grpSp>
        <p:sp>
          <p:nvSpPr>
            <p:cNvPr id="136" name="Forma Livre: Forma 135">
              <a:extLst>
                <a:ext uri="{FF2B5EF4-FFF2-40B4-BE49-F238E27FC236}">
                  <a16:creationId xmlns:a16="http://schemas.microsoft.com/office/drawing/2014/main" id="{F4733842-580D-2C17-2C1F-4D5A679231FC}"/>
                </a:ext>
              </a:extLst>
            </p:cNvPr>
            <p:cNvSpPr/>
            <p:nvPr/>
          </p:nvSpPr>
          <p:spPr>
            <a:xfrm>
              <a:off x="3162131" y="2721166"/>
              <a:ext cx="572877" cy="484742"/>
            </a:xfrm>
            <a:custGeom>
              <a:avLst/>
              <a:gdLst>
                <a:gd name="connsiteX0" fmla="*/ 572877 w 572877"/>
                <a:gd name="connsiteY0" fmla="*/ 0 h 484742"/>
                <a:gd name="connsiteX1" fmla="*/ 572877 w 572877"/>
                <a:gd name="connsiteY1" fmla="*/ 484742 h 484742"/>
                <a:gd name="connsiteX2" fmla="*/ 0 w 572877"/>
                <a:gd name="connsiteY2" fmla="*/ 484742 h 484742"/>
              </a:gdLst>
              <a:ahLst/>
              <a:cxnLst>
                <a:cxn ang="0">
                  <a:pos x="connsiteX0" y="connsiteY0"/>
                </a:cxn>
                <a:cxn ang="0">
                  <a:pos x="connsiteX1" y="connsiteY1"/>
                </a:cxn>
                <a:cxn ang="0">
                  <a:pos x="connsiteX2" y="connsiteY2"/>
                </a:cxn>
              </a:cxnLst>
              <a:rect l="l" t="t" r="r" b="b"/>
              <a:pathLst>
                <a:path w="572877" h="484742">
                  <a:moveTo>
                    <a:pt x="572877" y="0"/>
                  </a:moveTo>
                  <a:lnTo>
                    <a:pt x="572877" y="484742"/>
                  </a:lnTo>
                  <a:lnTo>
                    <a:pt x="0" y="484742"/>
                  </a:lnTo>
                </a:path>
              </a:pathLst>
            </a:custGeom>
            <a:noFill/>
            <a:ln>
              <a:solidFill>
                <a:schemeClr val="bg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7" name="Forma Livre: Forma 136">
              <a:extLst>
                <a:ext uri="{FF2B5EF4-FFF2-40B4-BE49-F238E27FC236}">
                  <a16:creationId xmlns:a16="http://schemas.microsoft.com/office/drawing/2014/main" id="{CFC35F8F-0599-1BF5-7C3B-4223679ABC53}"/>
                </a:ext>
              </a:extLst>
            </p:cNvPr>
            <p:cNvSpPr/>
            <p:nvPr/>
          </p:nvSpPr>
          <p:spPr>
            <a:xfrm flipH="1">
              <a:off x="1107572" y="2721166"/>
              <a:ext cx="572877" cy="484742"/>
            </a:xfrm>
            <a:custGeom>
              <a:avLst/>
              <a:gdLst>
                <a:gd name="connsiteX0" fmla="*/ 572877 w 572877"/>
                <a:gd name="connsiteY0" fmla="*/ 0 h 484742"/>
                <a:gd name="connsiteX1" fmla="*/ 572877 w 572877"/>
                <a:gd name="connsiteY1" fmla="*/ 484742 h 484742"/>
                <a:gd name="connsiteX2" fmla="*/ 0 w 572877"/>
                <a:gd name="connsiteY2" fmla="*/ 484742 h 484742"/>
              </a:gdLst>
              <a:ahLst/>
              <a:cxnLst>
                <a:cxn ang="0">
                  <a:pos x="connsiteX0" y="connsiteY0"/>
                </a:cxn>
                <a:cxn ang="0">
                  <a:pos x="connsiteX1" y="connsiteY1"/>
                </a:cxn>
                <a:cxn ang="0">
                  <a:pos x="connsiteX2" y="connsiteY2"/>
                </a:cxn>
              </a:cxnLst>
              <a:rect l="l" t="t" r="r" b="b"/>
              <a:pathLst>
                <a:path w="572877" h="484742">
                  <a:moveTo>
                    <a:pt x="572877" y="0"/>
                  </a:moveTo>
                  <a:lnTo>
                    <a:pt x="572877" y="484742"/>
                  </a:lnTo>
                  <a:lnTo>
                    <a:pt x="0" y="484742"/>
                  </a:lnTo>
                </a:path>
              </a:pathLst>
            </a:custGeom>
            <a:noFill/>
            <a:ln>
              <a:solidFill>
                <a:schemeClr val="bg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139" name="Retângulo: Cantos Arredondados 138">
            <a:extLst>
              <a:ext uri="{FF2B5EF4-FFF2-40B4-BE49-F238E27FC236}">
                <a16:creationId xmlns:a16="http://schemas.microsoft.com/office/drawing/2014/main" id="{72F0FDC4-A376-0D8A-5411-ECFBF18737AF}"/>
              </a:ext>
            </a:extLst>
          </p:cNvPr>
          <p:cNvSpPr/>
          <p:nvPr/>
        </p:nvSpPr>
        <p:spPr>
          <a:xfrm>
            <a:off x="4219460" y="5407259"/>
            <a:ext cx="8478584" cy="490040"/>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grpSp>
        <p:nvGrpSpPr>
          <p:cNvPr id="145" name="Agrupar 144">
            <a:extLst>
              <a:ext uri="{FF2B5EF4-FFF2-40B4-BE49-F238E27FC236}">
                <a16:creationId xmlns:a16="http://schemas.microsoft.com/office/drawing/2014/main" id="{7A963D1F-20D4-9764-5E17-B42E0D6BF6AF}"/>
              </a:ext>
            </a:extLst>
          </p:cNvPr>
          <p:cNvGrpSpPr/>
          <p:nvPr/>
        </p:nvGrpSpPr>
        <p:grpSpPr>
          <a:xfrm>
            <a:off x="4557670" y="5517757"/>
            <a:ext cx="7768381" cy="307777"/>
            <a:chOff x="4557670" y="5863236"/>
            <a:chExt cx="7768381" cy="307777"/>
          </a:xfrm>
        </p:grpSpPr>
        <p:grpSp>
          <p:nvGrpSpPr>
            <p:cNvPr id="27" name="Agrupar 26">
              <a:extLst>
                <a:ext uri="{FF2B5EF4-FFF2-40B4-BE49-F238E27FC236}">
                  <a16:creationId xmlns:a16="http://schemas.microsoft.com/office/drawing/2014/main" id="{E84B37FA-A2F6-97D5-B2AD-0C779F8D5375}"/>
                </a:ext>
              </a:extLst>
            </p:cNvPr>
            <p:cNvGrpSpPr/>
            <p:nvPr/>
          </p:nvGrpSpPr>
          <p:grpSpPr>
            <a:xfrm>
              <a:off x="4557670" y="5863236"/>
              <a:ext cx="7768381" cy="307777"/>
              <a:chOff x="2257429" y="5894926"/>
              <a:chExt cx="7768381" cy="307777"/>
            </a:xfrm>
          </p:grpSpPr>
          <p:sp>
            <p:nvSpPr>
              <p:cNvPr id="48" name="Rectangle 23">
                <a:extLst>
                  <a:ext uri="{FF2B5EF4-FFF2-40B4-BE49-F238E27FC236}">
                    <a16:creationId xmlns:a16="http://schemas.microsoft.com/office/drawing/2014/main" id="{D5FCE1F3-7AAA-3EBE-CF1D-25A1CCD3CFEB}"/>
                  </a:ext>
                </a:extLst>
              </p:cNvPr>
              <p:cNvSpPr/>
              <p:nvPr/>
            </p:nvSpPr>
            <p:spPr>
              <a:xfrm>
                <a:off x="2257429" y="5894926"/>
                <a:ext cx="490165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chemeClr val="bg1"/>
                    </a:solidFill>
                    <a:effectLst/>
                    <a:uLnTx/>
                    <a:uFillTx/>
                    <a:latin typeface="Calibri"/>
                    <a:ea typeface="Cambria" panose="02040503050406030204" pitchFamily="18" charset="0"/>
                    <a:cs typeface="+mn-cs"/>
                  </a:rPr>
                  <a:t>PRRs</a:t>
                </a:r>
                <a:r>
                  <a:rPr kumimoji="0" lang="pt-BR" sz="1400" b="0" i="0" u="none" strike="noStrike" kern="1200" cap="none" spc="0" normalizeH="0" baseline="0" noProof="0" dirty="0">
                    <a:ln>
                      <a:noFill/>
                    </a:ln>
                    <a:solidFill>
                      <a:schemeClr val="bg1"/>
                    </a:solidFill>
                    <a:effectLst/>
                    <a:uLnTx/>
                    <a:uFillTx/>
                    <a:latin typeface="Calibri"/>
                    <a:ea typeface="Cambria" panose="02040503050406030204" pitchFamily="18" charset="0"/>
                    <a:cs typeface="+mn-cs"/>
                  </a:rPr>
                  <a:t> (receptores de reconhecimento de padrões moleculares) </a:t>
                </a:r>
                <a:endParaRPr kumimoji="0" lang="en-US" sz="1400" b="0" i="0" u="none" strike="noStrike" kern="1200" cap="none" spc="0" normalizeH="0" baseline="0" noProof="0" dirty="0">
                  <a:ln>
                    <a:noFill/>
                  </a:ln>
                  <a:solidFill>
                    <a:schemeClr val="bg1"/>
                  </a:solidFill>
                  <a:effectLst/>
                  <a:uLnTx/>
                  <a:uFillTx/>
                  <a:latin typeface="Calibri"/>
                  <a:ea typeface="Cambria" panose="02040503050406030204" pitchFamily="18" charset="0"/>
                  <a:cs typeface="+mn-cs"/>
                </a:endParaRPr>
              </a:p>
            </p:txBody>
          </p:sp>
          <p:sp>
            <p:nvSpPr>
              <p:cNvPr id="54" name="TextBox 25">
                <a:extLst>
                  <a:ext uri="{FF2B5EF4-FFF2-40B4-BE49-F238E27FC236}">
                    <a16:creationId xmlns:a16="http://schemas.microsoft.com/office/drawing/2014/main" id="{27FFD772-BF3D-2A70-34C7-622DBF7602A3}"/>
                  </a:ext>
                </a:extLst>
              </p:cNvPr>
              <p:cNvSpPr txBox="1"/>
              <p:nvPr/>
            </p:nvSpPr>
            <p:spPr>
              <a:xfrm>
                <a:off x="7504641" y="5894926"/>
                <a:ext cx="25211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bg1"/>
                    </a:solidFill>
                    <a:effectLst/>
                    <a:uLnTx/>
                    <a:uFillTx/>
                    <a:latin typeface="Calibri"/>
                    <a:ea typeface="Cambria" panose="02040503050406030204" pitchFamily="18" charset="0"/>
                    <a:cs typeface="+mn-cs"/>
                  </a:rPr>
                  <a:t>Receptores </a:t>
                </a:r>
                <a:r>
                  <a:rPr kumimoji="0" lang="pt-BR" sz="1400" b="1" i="0" u="none" strike="noStrike" kern="1200" cap="none" spc="0" normalizeH="0" baseline="0" noProof="0" dirty="0" err="1">
                    <a:ln>
                      <a:noFill/>
                    </a:ln>
                    <a:solidFill>
                      <a:schemeClr val="bg1"/>
                    </a:solidFill>
                    <a:effectLst/>
                    <a:uLnTx/>
                    <a:uFillTx/>
                    <a:latin typeface="Calibri"/>
                    <a:ea typeface="Cambria" panose="02040503050406030204" pitchFamily="18" charset="0"/>
                    <a:cs typeface="+mn-cs"/>
                  </a:rPr>
                  <a:t>Toll</a:t>
                </a:r>
                <a:r>
                  <a:rPr kumimoji="0" lang="pt-BR" sz="1400" b="1" i="0" u="none" strike="noStrike" kern="1200" cap="none" spc="0" normalizeH="0" baseline="0" noProof="0" dirty="0">
                    <a:ln>
                      <a:noFill/>
                    </a:ln>
                    <a:solidFill>
                      <a:schemeClr val="bg1"/>
                    </a:solidFill>
                    <a:effectLst/>
                    <a:uLnTx/>
                    <a:uFillTx/>
                    <a:latin typeface="Calibri"/>
                    <a:ea typeface="Cambria" panose="02040503050406030204" pitchFamily="18" charset="0"/>
                    <a:cs typeface="+mn-cs"/>
                  </a:rPr>
                  <a:t> </a:t>
                </a:r>
                <a:r>
                  <a:rPr kumimoji="0" lang="pt-BR" sz="1400" b="1" i="0" u="none" strike="noStrike" kern="1200" cap="none" spc="0" normalizeH="0" baseline="0" noProof="0" dirty="0" err="1">
                    <a:ln>
                      <a:noFill/>
                    </a:ln>
                    <a:solidFill>
                      <a:schemeClr val="bg1"/>
                    </a:solidFill>
                    <a:effectLst/>
                    <a:uLnTx/>
                    <a:uFillTx/>
                    <a:latin typeface="Calibri"/>
                    <a:ea typeface="Cambria" panose="02040503050406030204" pitchFamily="18" charset="0"/>
                    <a:cs typeface="+mn-cs"/>
                  </a:rPr>
                  <a:t>Like</a:t>
                </a:r>
                <a:r>
                  <a:rPr kumimoji="0" lang="pt-BR" sz="1400" b="1" i="0" u="none" strike="noStrike" kern="1200" cap="none" spc="0" normalizeH="0" baseline="0" noProof="0" dirty="0">
                    <a:ln>
                      <a:noFill/>
                    </a:ln>
                    <a:solidFill>
                      <a:schemeClr val="bg1"/>
                    </a:solidFill>
                    <a:effectLst/>
                    <a:uLnTx/>
                    <a:uFillTx/>
                    <a:latin typeface="Calibri"/>
                    <a:ea typeface="Cambria" panose="02040503050406030204" pitchFamily="18" charset="0"/>
                    <a:cs typeface="+mn-cs"/>
                  </a:rPr>
                  <a:t> - </a:t>
                </a:r>
                <a:r>
                  <a:rPr kumimoji="0" lang="pt-BR" sz="1400" b="1" i="0" u="none" strike="noStrike" kern="1200" cap="none" spc="0" normalizeH="0" baseline="0" noProof="0" dirty="0" err="1">
                    <a:ln>
                      <a:noFill/>
                    </a:ln>
                    <a:solidFill>
                      <a:schemeClr val="bg1"/>
                    </a:solidFill>
                    <a:effectLst/>
                    <a:uLnTx/>
                    <a:uFillTx/>
                    <a:latin typeface="Calibri"/>
                    <a:ea typeface="Cambria" panose="02040503050406030204" pitchFamily="18" charset="0"/>
                    <a:cs typeface="+mn-cs"/>
                  </a:rPr>
                  <a:t>TLRs</a:t>
                </a:r>
                <a:endParaRPr kumimoji="0" lang="en-US" sz="1400" b="1" i="0" u="none" strike="noStrike" kern="1200" cap="none" spc="0" normalizeH="0" baseline="0" noProof="0" dirty="0">
                  <a:ln>
                    <a:noFill/>
                  </a:ln>
                  <a:solidFill>
                    <a:schemeClr val="bg1"/>
                  </a:solidFill>
                  <a:effectLst/>
                  <a:uLnTx/>
                  <a:uFillTx/>
                  <a:latin typeface="Calibri"/>
                  <a:ea typeface="Cambria" panose="02040503050406030204" pitchFamily="18" charset="0"/>
                  <a:cs typeface="+mn-cs"/>
                </a:endParaRPr>
              </a:p>
            </p:txBody>
          </p:sp>
        </p:grpSp>
        <p:cxnSp>
          <p:nvCxnSpPr>
            <p:cNvPr id="141" name="Conector de Seta Reta 140">
              <a:extLst>
                <a:ext uri="{FF2B5EF4-FFF2-40B4-BE49-F238E27FC236}">
                  <a16:creationId xmlns:a16="http://schemas.microsoft.com/office/drawing/2014/main" id="{3ACDB213-039A-72AD-7A83-2095079B8B2F}"/>
                </a:ext>
              </a:extLst>
            </p:cNvPr>
            <p:cNvCxnSpPr/>
            <p:nvPr/>
          </p:nvCxnSpPr>
          <p:spPr>
            <a:xfrm>
              <a:off x="9265185" y="6013006"/>
              <a:ext cx="506646" cy="0"/>
            </a:xfrm>
            <a:prstGeom prst="straightConnector1">
              <a:avLst/>
            </a:prstGeom>
            <a:ln w="12700">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44" name="Agrupar 143">
            <a:extLst>
              <a:ext uri="{FF2B5EF4-FFF2-40B4-BE49-F238E27FC236}">
                <a16:creationId xmlns:a16="http://schemas.microsoft.com/office/drawing/2014/main" id="{6D09F529-36E5-21C1-0406-EA592E3A4E69}"/>
              </a:ext>
            </a:extLst>
          </p:cNvPr>
          <p:cNvGrpSpPr/>
          <p:nvPr/>
        </p:nvGrpSpPr>
        <p:grpSpPr>
          <a:xfrm>
            <a:off x="1581479" y="3125011"/>
            <a:ext cx="1685276" cy="902050"/>
            <a:chOff x="1581479" y="3029926"/>
            <a:chExt cx="1685276" cy="902050"/>
          </a:xfrm>
        </p:grpSpPr>
        <p:sp>
          <p:nvSpPr>
            <p:cNvPr id="98" name="Elipse 97">
              <a:extLst>
                <a:ext uri="{FF2B5EF4-FFF2-40B4-BE49-F238E27FC236}">
                  <a16:creationId xmlns:a16="http://schemas.microsoft.com/office/drawing/2014/main" id="{72AC8F9E-7AA0-9FA0-AFDE-298DCCEC4E59}"/>
                </a:ext>
              </a:extLst>
            </p:cNvPr>
            <p:cNvSpPr/>
            <p:nvPr/>
          </p:nvSpPr>
          <p:spPr>
            <a:xfrm>
              <a:off x="2142119" y="3355354"/>
              <a:ext cx="576622" cy="5766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grpSp>
          <p:nvGrpSpPr>
            <p:cNvPr id="90" name="Gráfico 87">
              <a:extLst>
                <a:ext uri="{FF2B5EF4-FFF2-40B4-BE49-F238E27FC236}">
                  <a16:creationId xmlns:a16="http://schemas.microsoft.com/office/drawing/2014/main" id="{657B6665-6D04-7FED-D57E-15B4B9FAA98B}"/>
                </a:ext>
              </a:extLst>
            </p:cNvPr>
            <p:cNvGrpSpPr/>
            <p:nvPr/>
          </p:nvGrpSpPr>
          <p:grpSpPr>
            <a:xfrm>
              <a:off x="2204953" y="3451347"/>
              <a:ext cx="424630" cy="424630"/>
              <a:chOff x="11943230" y="1687137"/>
              <a:chExt cx="590550" cy="590550"/>
            </a:xfrm>
            <a:solidFill>
              <a:schemeClr val="accent1"/>
            </a:solidFill>
          </p:grpSpPr>
          <p:sp>
            <p:nvSpPr>
              <p:cNvPr id="91" name="Forma Livre: Forma 90">
                <a:extLst>
                  <a:ext uri="{FF2B5EF4-FFF2-40B4-BE49-F238E27FC236}">
                    <a16:creationId xmlns:a16="http://schemas.microsoft.com/office/drawing/2014/main" id="{FC9677EB-F8CD-AB2F-91D2-9F57C5AD355A}"/>
                  </a:ext>
                </a:extLst>
              </p:cNvPr>
              <p:cNvSpPr/>
              <p:nvPr/>
            </p:nvSpPr>
            <p:spPr>
              <a:xfrm>
                <a:off x="12133730" y="1687137"/>
                <a:ext cx="209550" cy="209550"/>
              </a:xfrm>
              <a:custGeom>
                <a:avLst/>
                <a:gdLst>
                  <a:gd name="connsiteX0" fmla="*/ 19050 w 209550"/>
                  <a:gd name="connsiteY0" fmla="*/ 114300 h 209550"/>
                  <a:gd name="connsiteX1" fmla="*/ 38862 w 209550"/>
                  <a:gd name="connsiteY1" fmla="*/ 114300 h 209550"/>
                  <a:gd name="connsiteX2" fmla="*/ 51454 w 209550"/>
                  <a:gd name="connsiteY2" fmla="*/ 144628 h 209550"/>
                  <a:gd name="connsiteX3" fmla="*/ 38100 w 209550"/>
                  <a:gd name="connsiteY3" fmla="*/ 157982 h 209550"/>
                  <a:gd name="connsiteX4" fmla="*/ 25784 w 209550"/>
                  <a:gd name="connsiteY4" fmla="*/ 145666 h 209550"/>
                  <a:gd name="connsiteX5" fmla="*/ 12316 w 209550"/>
                  <a:gd name="connsiteY5" fmla="*/ 159134 h 209550"/>
                  <a:gd name="connsiteX6" fmla="*/ 50416 w 209550"/>
                  <a:gd name="connsiteY6" fmla="*/ 197234 h 209550"/>
                  <a:gd name="connsiteX7" fmla="*/ 63884 w 209550"/>
                  <a:gd name="connsiteY7" fmla="*/ 183766 h 209550"/>
                  <a:gd name="connsiteX8" fmla="*/ 51568 w 209550"/>
                  <a:gd name="connsiteY8" fmla="*/ 171450 h 209550"/>
                  <a:gd name="connsiteX9" fmla="*/ 64922 w 209550"/>
                  <a:gd name="connsiteY9" fmla="*/ 158096 h 209550"/>
                  <a:gd name="connsiteX10" fmla="*/ 95250 w 209550"/>
                  <a:gd name="connsiteY10" fmla="*/ 170688 h 209550"/>
                  <a:gd name="connsiteX11" fmla="*/ 95250 w 209550"/>
                  <a:gd name="connsiteY11" fmla="*/ 190500 h 209550"/>
                  <a:gd name="connsiteX12" fmla="*/ 76200 w 209550"/>
                  <a:gd name="connsiteY12" fmla="*/ 190500 h 209550"/>
                  <a:gd name="connsiteX13" fmla="*/ 76200 w 209550"/>
                  <a:gd name="connsiteY13" fmla="*/ 209550 h 209550"/>
                  <a:gd name="connsiteX14" fmla="*/ 133350 w 209550"/>
                  <a:gd name="connsiteY14" fmla="*/ 209550 h 209550"/>
                  <a:gd name="connsiteX15" fmla="*/ 133350 w 209550"/>
                  <a:gd name="connsiteY15" fmla="*/ 190500 h 209550"/>
                  <a:gd name="connsiteX16" fmla="*/ 114300 w 209550"/>
                  <a:gd name="connsiteY16" fmla="*/ 190500 h 209550"/>
                  <a:gd name="connsiteX17" fmla="*/ 114300 w 209550"/>
                  <a:gd name="connsiteY17" fmla="*/ 170688 h 209550"/>
                  <a:gd name="connsiteX18" fmla="*/ 144628 w 209550"/>
                  <a:gd name="connsiteY18" fmla="*/ 158096 h 209550"/>
                  <a:gd name="connsiteX19" fmla="*/ 157982 w 209550"/>
                  <a:gd name="connsiteY19" fmla="*/ 171450 h 209550"/>
                  <a:gd name="connsiteX20" fmla="*/ 145666 w 209550"/>
                  <a:gd name="connsiteY20" fmla="*/ 183766 h 209550"/>
                  <a:gd name="connsiteX21" fmla="*/ 159134 w 209550"/>
                  <a:gd name="connsiteY21" fmla="*/ 197234 h 209550"/>
                  <a:gd name="connsiteX22" fmla="*/ 197234 w 209550"/>
                  <a:gd name="connsiteY22" fmla="*/ 159134 h 209550"/>
                  <a:gd name="connsiteX23" fmla="*/ 183766 w 209550"/>
                  <a:gd name="connsiteY23" fmla="*/ 145666 h 209550"/>
                  <a:gd name="connsiteX24" fmla="*/ 171450 w 209550"/>
                  <a:gd name="connsiteY24" fmla="*/ 157982 h 209550"/>
                  <a:gd name="connsiteX25" fmla="*/ 158096 w 209550"/>
                  <a:gd name="connsiteY25" fmla="*/ 144628 h 209550"/>
                  <a:gd name="connsiteX26" fmla="*/ 170688 w 209550"/>
                  <a:gd name="connsiteY26" fmla="*/ 114300 h 209550"/>
                  <a:gd name="connsiteX27" fmla="*/ 190500 w 209550"/>
                  <a:gd name="connsiteY27" fmla="*/ 114300 h 209550"/>
                  <a:gd name="connsiteX28" fmla="*/ 190500 w 209550"/>
                  <a:gd name="connsiteY28" fmla="*/ 133350 h 209550"/>
                  <a:gd name="connsiteX29" fmla="*/ 209550 w 209550"/>
                  <a:gd name="connsiteY29" fmla="*/ 133350 h 209550"/>
                  <a:gd name="connsiteX30" fmla="*/ 209550 w 209550"/>
                  <a:gd name="connsiteY30" fmla="*/ 76200 h 209550"/>
                  <a:gd name="connsiteX31" fmla="*/ 190500 w 209550"/>
                  <a:gd name="connsiteY31" fmla="*/ 76200 h 209550"/>
                  <a:gd name="connsiteX32" fmla="*/ 190500 w 209550"/>
                  <a:gd name="connsiteY32" fmla="*/ 95250 h 209550"/>
                  <a:gd name="connsiteX33" fmla="*/ 170688 w 209550"/>
                  <a:gd name="connsiteY33" fmla="*/ 95250 h 209550"/>
                  <a:gd name="connsiteX34" fmla="*/ 158096 w 209550"/>
                  <a:gd name="connsiteY34" fmla="*/ 64922 h 209550"/>
                  <a:gd name="connsiteX35" fmla="*/ 171450 w 209550"/>
                  <a:gd name="connsiteY35" fmla="*/ 51568 h 209550"/>
                  <a:gd name="connsiteX36" fmla="*/ 183766 w 209550"/>
                  <a:gd name="connsiteY36" fmla="*/ 63884 h 209550"/>
                  <a:gd name="connsiteX37" fmla="*/ 197234 w 209550"/>
                  <a:gd name="connsiteY37" fmla="*/ 50416 h 209550"/>
                  <a:gd name="connsiteX38" fmla="*/ 159134 w 209550"/>
                  <a:gd name="connsiteY38" fmla="*/ 12316 h 209550"/>
                  <a:gd name="connsiteX39" fmla="*/ 145666 w 209550"/>
                  <a:gd name="connsiteY39" fmla="*/ 25784 h 209550"/>
                  <a:gd name="connsiteX40" fmla="*/ 157982 w 209550"/>
                  <a:gd name="connsiteY40" fmla="*/ 38100 h 209550"/>
                  <a:gd name="connsiteX41" fmla="*/ 144628 w 209550"/>
                  <a:gd name="connsiteY41" fmla="*/ 51454 h 209550"/>
                  <a:gd name="connsiteX42" fmla="*/ 114300 w 209550"/>
                  <a:gd name="connsiteY42" fmla="*/ 38862 h 209550"/>
                  <a:gd name="connsiteX43" fmla="*/ 114300 w 209550"/>
                  <a:gd name="connsiteY43" fmla="*/ 19050 h 209550"/>
                  <a:gd name="connsiteX44" fmla="*/ 133350 w 209550"/>
                  <a:gd name="connsiteY44" fmla="*/ 19050 h 209550"/>
                  <a:gd name="connsiteX45" fmla="*/ 133350 w 209550"/>
                  <a:gd name="connsiteY45" fmla="*/ 0 h 209550"/>
                  <a:gd name="connsiteX46" fmla="*/ 76200 w 209550"/>
                  <a:gd name="connsiteY46" fmla="*/ 0 h 209550"/>
                  <a:gd name="connsiteX47" fmla="*/ 76200 w 209550"/>
                  <a:gd name="connsiteY47" fmla="*/ 19050 h 209550"/>
                  <a:gd name="connsiteX48" fmla="*/ 95250 w 209550"/>
                  <a:gd name="connsiteY48" fmla="*/ 19050 h 209550"/>
                  <a:gd name="connsiteX49" fmla="*/ 95250 w 209550"/>
                  <a:gd name="connsiteY49" fmla="*/ 38862 h 209550"/>
                  <a:gd name="connsiteX50" fmla="*/ 64922 w 209550"/>
                  <a:gd name="connsiteY50" fmla="*/ 51454 h 209550"/>
                  <a:gd name="connsiteX51" fmla="*/ 51568 w 209550"/>
                  <a:gd name="connsiteY51" fmla="*/ 38100 h 209550"/>
                  <a:gd name="connsiteX52" fmla="*/ 63884 w 209550"/>
                  <a:gd name="connsiteY52" fmla="*/ 25784 h 209550"/>
                  <a:gd name="connsiteX53" fmla="*/ 50416 w 209550"/>
                  <a:gd name="connsiteY53" fmla="*/ 12316 h 209550"/>
                  <a:gd name="connsiteX54" fmla="*/ 12316 w 209550"/>
                  <a:gd name="connsiteY54" fmla="*/ 50416 h 209550"/>
                  <a:gd name="connsiteX55" fmla="*/ 25784 w 209550"/>
                  <a:gd name="connsiteY55" fmla="*/ 63884 h 209550"/>
                  <a:gd name="connsiteX56" fmla="*/ 38100 w 209550"/>
                  <a:gd name="connsiteY56" fmla="*/ 51568 h 209550"/>
                  <a:gd name="connsiteX57" fmla="*/ 51454 w 209550"/>
                  <a:gd name="connsiteY57" fmla="*/ 64922 h 209550"/>
                  <a:gd name="connsiteX58" fmla="*/ 38862 w 209550"/>
                  <a:gd name="connsiteY58" fmla="*/ 95250 h 209550"/>
                  <a:gd name="connsiteX59" fmla="*/ 19050 w 209550"/>
                  <a:gd name="connsiteY59" fmla="*/ 95250 h 209550"/>
                  <a:gd name="connsiteX60" fmla="*/ 19050 w 209550"/>
                  <a:gd name="connsiteY60" fmla="*/ 76200 h 209550"/>
                  <a:gd name="connsiteX61" fmla="*/ 0 w 209550"/>
                  <a:gd name="connsiteY61" fmla="*/ 76200 h 209550"/>
                  <a:gd name="connsiteX62" fmla="*/ 0 w 209550"/>
                  <a:gd name="connsiteY62" fmla="*/ 133350 h 209550"/>
                  <a:gd name="connsiteX63" fmla="*/ 19050 w 209550"/>
                  <a:gd name="connsiteY63" fmla="*/ 133350 h 209550"/>
                  <a:gd name="connsiteX64" fmla="*/ 19050 w 209550"/>
                  <a:gd name="connsiteY64" fmla="*/ 114300 h 209550"/>
                  <a:gd name="connsiteX65" fmla="*/ 91659 w 209550"/>
                  <a:gd name="connsiteY65" fmla="*/ 150333 h 209550"/>
                  <a:gd name="connsiteX66" fmla="*/ 76238 w 209550"/>
                  <a:gd name="connsiteY66" fmla="*/ 142665 h 209550"/>
                  <a:gd name="connsiteX67" fmla="*/ 85725 w 209550"/>
                  <a:gd name="connsiteY67" fmla="*/ 133350 h 209550"/>
                  <a:gd name="connsiteX68" fmla="*/ 95250 w 209550"/>
                  <a:gd name="connsiteY68" fmla="*/ 142875 h 209550"/>
                  <a:gd name="connsiteX69" fmla="*/ 91659 w 209550"/>
                  <a:gd name="connsiteY69" fmla="*/ 150333 h 209550"/>
                  <a:gd name="connsiteX70" fmla="*/ 142875 w 209550"/>
                  <a:gd name="connsiteY70" fmla="*/ 114300 h 209550"/>
                  <a:gd name="connsiteX71" fmla="*/ 133350 w 209550"/>
                  <a:gd name="connsiteY71" fmla="*/ 104775 h 209550"/>
                  <a:gd name="connsiteX72" fmla="*/ 142875 w 209550"/>
                  <a:gd name="connsiteY72" fmla="*/ 95250 h 209550"/>
                  <a:gd name="connsiteX73" fmla="*/ 152400 w 209550"/>
                  <a:gd name="connsiteY73" fmla="*/ 104775 h 209550"/>
                  <a:gd name="connsiteX74" fmla="*/ 142875 w 209550"/>
                  <a:gd name="connsiteY74" fmla="*/ 114300 h 209550"/>
                  <a:gd name="connsiteX75" fmla="*/ 142646 w 209550"/>
                  <a:gd name="connsiteY75" fmla="*/ 76219 h 209550"/>
                  <a:gd name="connsiteX76" fmla="*/ 114300 w 209550"/>
                  <a:gd name="connsiteY76" fmla="*/ 104775 h 209550"/>
                  <a:gd name="connsiteX77" fmla="*/ 142646 w 209550"/>
                  <a:gd name="connsiteY77" fmla="*/ 133331 h 209550"/>
                  <a:gd name="connsiteX78" fmla="*/ 112957 w 209550"/>
                  <a:gd name="connsiteY78" fmla="*/ 151581 h 209550"/>
                  <a:gd name="connsiteX79" fmla="*/ 114300 w 209550"/>
                  <a:gd name="connsiteY79" fmla="*/ 142875 h 209550"/>
                  <a:gd name="connsiteX80" fmla="*/ 85725 w 209550"/>
                  <a:gd name="connsiteY80" fmla="*/ 114300 h 209550"/>
                  <a:gd name="connsiteX81" fmla="*/ 62532 w 209550"/>
                  <a:gd name="connsiteY81" fmla="*/ 126302 h 209550"/>
                  <a:gd name="connsiteX82" fmla="*/ 57150 w 209550"/>
                  <a:gd name="connsiteY82" fmla="*/ 104775 h 209550"/>
                  <a:gd name="connsiteX83" fmla="*/ 62532 w 209550"/>
                  <a:gd name="connsiteY83" fmla="*/ 83249 h 209550"/>
                  <a:gd name="connsiteX84" fmla="*/ 85725 w 209550"/>
                  <a:gd name="connsiteY84" fmla="*/ 95250 h 209550"/>
                  <a:gd name="connsiteX85" fmla="*/ 114300 w 209550"/>
                  <a:gd name="connsiteY85" fmla="*/ 66675 h 209550"/>
                  <a:gd name="connsiteX86" fmla="*/ 112957 w 209550"/>
                  <a:gd name="connsiteY86" fmla="*/ 57979 h 209550"/>
                  <a:gd name="connsiteX87" fmla="*/ 142646 w 209550"/>
                  <a:gd name="connsiteY87" fmla="*/ 76219 h 209550"/>
                  <a:gd name="connsiteX88" fmla="*/ 95250 w 209550"/>
                  <a:gd name="connsiteY88" fmla="*/ 66675 h 209550"/>
                  <a:gd name="connsiteX89" fmla="*/ 85725 w 209550"/>
                  <a:gd name="connsiteY89" fmla="*/ 76200 h 209550"/>
                  <a:gd name="connsiteX90" fmla="*/ 76238 w 209550"/>
                  <a:gd name="connsiteY90" fmla="*/ 66885 h 209550"/>
                  <a:gd name="connsiteX91" fmla="*/ 91659 w 209550"/>
                  <a:gd name="connsiteY91" fmla="*/ 59217 h 209550"/>
                  <a:gd name="connsiteX92" fmla="*/ 95250 w 209550"/>
                  <a:gd name="connsiteY92" fmla="*/ 6667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9550" h="209550">
                    <a:moveTo>
                      <a:pt x="19050" y="114300"/>
                    </a:moveTo>
                    <a:lnTo>
                      <a:pt x="38862" y="114300"/>
                    </a:lnTo>
                    <a:cubicBezTo>
                      <a:pt x="40481" y="125568"/>
                      <a:pt x="44920" y="135912"/>
                      <a:pt x="51454" y="144628"/>
                    </a:cubicBezTo>
                    <a:lnTo>
                      <a:pt x="38100" y="157982"/>
                    </a:lnTo>
                    <a:lnTo>
                      <a:pt x="25784" y="145666"/>
                    </a:lnTo>
                    <a:lnTo>
                      <a:pt x="12316" y="159134"/>
                    </a:lnTo>
                    <a:lnTo>
                      <a:pt x="50416" y="197234"/>
                    </a:lnTo>
                    <a:lnTo>
                      <a:pt x="63884" y="183766"/>
                    </a:lnTo>
                    <a:lnTo>
                      <a:pt x="51568" y="171450"/>
                    </a:lnTo>
                    <a:lnTo>
                      <a:pt x="64922" y="158096"/>
                    </a:lnTo>
                    <a:cubicBezTo>
                      <a:pt x="73638" y="164630"/>
                      <a:pt x="83982" y="169059"/>
                      <a:pt x="95250" y="170688"/>
                    </a:cubicBezTo>
                    <a:lnTo>
                      <a:pt x="95250" y="190500"/>
                    </a:lnTo>
                    <a:lnTo>
                      <a:pt x="76200" y="190500"/>
                    </a:lnTo>
                    <a:lnTo>
                      <a:pt x="76200" y="209550"/>
                    </a:lnTo>
                    <a:lnTo>
                      <a:pt x="133350" y="209550"/>
                    </a:lnTo>
                    <a:lnTo>
                      <a:pt x="133350" y="190500"/>
                    </a:lnTo>
                    <a:lnTo>
                      <a:pt x="114300" y="190500"/>
                    </a:lnTo>
                    <a:lnTo>
                      <a:pt x="114300" y="170688"/>
                    </a:lnTo>
                    <a:cubicBezTo>
                      <a:pt x="125568" y="169069"/>
                      <a:pt x="135912" y="164630"/>
                      <a:pt x="144628" y="158096"/>
                    </a:cubicBezTo>
                    <a:lnTo>
                      <a:pt x="157982" y="171450"/>
                    </a:lnTo>
                    <a:lnTo>
                      <a:pt x="145666" y="183766"/>
                    </a:lnTo>
                    <a:lnTo>
                      <a:pt x="159134" y="197234"/>
                    </a:lnTo>
                    <a:lnTo>
                      <a:pt x="197234" y="159134"/>
                    </a:lnTo>
                    <a:lnTo>
                      <a:pt x="183766" y="145666"/>
                    </a:lnTo>
                    <a:lnTo>
                      <a:pt x="171450" y="157982"/>
                    </a:lnTo>
                    <a:lnTo>
                      <a:pt x="158096" y="144628"/>
                    </a:lnTo>
                    <a:cubicBezTo>
                      <a:pt x="164630" y="135912"/>
                      <a:pt x="169059" y="125568"/>
                      <a:pt x="170688" y="114300"/>
                    </a:cubicBezTo>
                    <a:lnTo>
                      <a:pt x="190500" y="114300"/>
                    </a:lnTo>
                    <a:lnTo>
                      <a:pt x="190500" y="133350"/>
                    </a:lnTo>
                    <a:lnTo>
                      <a:pt x="209550" y="133350"/>
                    </a:lnTo>
                    <a:lnTo>
                      <a:pt x="209550" y="76200"/>
                    </a:lnTo>
                    <a:lnTo>
                      <a:pt x="190500" y="76200"/>
                    </a:lnTo>
                    <a:lnTo>
                      <a:pt x="190500" y="95250"/>
                    </a:lnTo>
                    <a:lnTo>
                      <a:pt x="170688" y="95250"/>
                    </a:lnTo>
                    <a:cubicBezTo>
                      <a:pt x="169069" y="83982"/>
                      <a:pt x="164630" y="73638"/>
                      <a:pt x="158096" y="64922"/>
                    </a:cubicBezTo>
                    <a:lnTo>
                      <a:pt x="171450" y="51568"/>
                    </a:lnTo>
                    <a:lnTo>
                      <a:pt x="183766" y="63884"/>
                    </a:lnTo>
                    <a:lnTo>
                      <a:pt x="197234" y="50416"/>
                    </a:lnTo>
                    <a:lnTo>
                      <a:pt x="159134" y="12316"/>
                    </a:lnTo>
                    <a:lnTo>
                      <a:pt x="145666" y="25784"/>
                    </a:lnTo>
                    <a:lnTo>
                      <a:pt x="157982" y="38100"/>
                    </a:lnTo>
                    <a:lnTo>
                      <a:pt x="144628" y="51454"/>
                    </a:lnTo>
                    <a:cubicBezTo>
                      <a:pt x="135912" y="44920"/>
                      <a:pt x="125568" y="40481"/>
                      <a:pt x="114300" y="38862"/>
                    </a:cubicBezTo>
                    <a:lnTo>
                      <a:pt x="114300" y="19050"/>
                    </a:lnTo>
                    <a:lnTo>
                      <a:pt x="133350" y="19050"/>
                    </a:lnTo>
                    <a:lnTo>
                      <a:pt x="133350" y="0"/>
                    </a:lnTo>
                    <a:lnTo>
                      <a:pt x="76200" y="0"/>
                    </a:lnTo>
                    <a:lnTo>
                      <a:pt x="76200" y="19050"/>
                    </a:lnTo>
                    <a:lnTo>
                      <a:pt x="95250" y="19050"/>
                    </a:lnTo>
                    <a:lnTo>
                      <a:pt x="95250" y="38862"/>
                    </a:lnTo>
                    <a:cubicBezTo>
                      <a:pt x="83982" y="40481"/>
                      <a:pt x="73638" y="44920"/>
                      <a:pt x="64922" y="51454"/>
                    </a:cubicBezTo>
                    <a:lnTo>
                      <a:pt x="51568" y="38100"/>
                    </a:lnTo>
                    <a:lnTo>
                      <a:pt x="63884" y="25784"/>
                    </a:lnTo>
                    <a:lnTo>
                      <a:pt x="50416" y="12316"/>
                    </a:lnTo>
                    <a:lnTo>
                      <a:pt x="12316" y="50416"/>
                    </a:lnTo>
                    <a:lnTo>
                      <a:pt x="25784" y="63884"/>
                    </a:lnTo>
                    <a:lnTo>
                      <a:pt x="38100" y="51568"/>
                    </a:lnTo>
                    <a:lnTo>
                      <a:pt x="51454" y="64922"/>
                    </a:lnTo>
                    <a:cubicBezTo>
                      <a:pt x="44920" y="73638"/>
                      <a:pt x="40481" y="83982"/>
                      <a:pt x="38862" y="95250"/>
                    </a:cubicBezTo>
                    <a:lnTo>
                      <a:pt x="19050" y="95250"/>
                    </a:lnTo>
                    <a:lnTo>
                      <a:pt x="19050" y="76200"/>
                    </a:lnTo>
                    <a:lnTo>
                      <a:pt x="0" y="76200"/>
                    </a:lnTo>
                    <a:lnTo>
                      <a:pt x="0" y="133350"/>
                    </a:lnTo>
                    <a:lnTo>
                      <a:pt x="19050" y="133350"/>
                    </a:lnTo>
                    <a:lnTo>
                      <a:pt x="19050" y="114300"/>
                    </a:lnTo>
                    <a:close/>
                    <a:moveTo>
                      <a:pt x="91659" y="150333"/>
                    </a:moveTo>
                    <a:cubicBezTo>
                      <a:pt x="86011" y="148704"/>
                      <a:pt x="80820" y="146123"/>
                      <a:pt x="76238" y="142665"/>
                    </a:cubicBezTo>
                    <a:cubicBezTo>
                      <a:pt x="76362" y="137522"/>
                      <a:pt x="80543" y="133350"/>
                      <a:pt x="85725" y="133350"/>
                    </a:cubicBezTo>
                    <a:cubicBezTo>
                      <a:pt x="90973" y="133350"/>
                      <a:pt x="95250" y="137627"/>
                      <a:pt x="95250" y="142875"/>
                    </a:cubicBezTo>
                    <a:cubicBezTo>
                      <a:pt x="95250" y="145856"/>
                      <a:pt x="93897" y="148561"/>
                      <a:pt x="91659" y="150333"/>
                    </a:cubicBezTo>
                    <a:close/>
                    <a:moveTo>
                      <a:pt x="142875" y="114300"/>
                    </a:moveTo>
                    <a:cubicBezTo>
                      <a:pt x="137627" y="114300"/>
                      <a:pt x="133350" y="110023"/>
                      <a:pt x="133350" y="104775"/>
                    </a:cubicBezTo>
                    <a:cubicBezTo>
                      <a:pt x="133350" y="99527"/>
                      <a:pt x="137627" y="95250"/>
                      <a:pt x="142875" y="95250"/>
                    </a:cubicBezTo>
                    <a:cubicBezTo>
                      <a:pt x="148123" y="95250"/>
                      <a:pt x="152400" y="99527"/>
                      <a:pt x="152400" y="104775"/>
                    </a:cubicBezTo>
                    <a:cubicBezTo>
                      <a:pt x="152400" y="110023"/>
                      <a:pt x="148123" y="114300"/>
                      <a:pt x="142875" y="114300"/>
                    </a:cubicBezTo>
                    <a:close/>
                    <a:moveTo>
                      <a:pt x="142646" y="76219"/>
                    </a:moveTo>
                    <a:cubicBezTo>
                      <a:pt x="126997" y="76343"/>
                      <a:pt x="114300" y="89097"/>
                      <a:pt x="114300" y="104775"/>
                    </a:cubicBezTo>
                    <a:cubicBezTo>
                      <a:pt x="114300" y="120453"/>
                      <a:pt x="126997" y="133207"/>
                      <a:pt x="142646" y="133331"/>
                    </a:cubicBezTo>
                    <a:cubicBezTo>
                      <a:pt x="135522" y="142761"/>
                      <a:pt x="125063" y="149457"/>
                      <a:pt x="112957" y="151581"/>
                    </a:cubicBezTo>
                    <a:cubicBezTo>
                      <a:pt x="113833" y="148819"/>
                      <a:pt x="114300" y="145894"/>
                      <a:pt x="114300" y="142875"/>
                    </a:cubicBezTo>
                    <a:cubicBezTo>
                      <a:pt x="114300" y="127121"/>
                      <a:pt x="101479" y="114300"/>
                      <a:pt x="85725" y="114300"/>
                    </a:cubicBezTo>
                    <a:cubicBezTo>
                      <a:pt x="76162" y="114300"/>
                      <a:pt x="67723" y="119063"/>
                      <a:pt x="62532" y="126302"/>
                    </a:cubicBezTo>
                    <a:cubicBezTo>
                      <a:pt x="59207" y="119805"/>
                      <a:pt x="57150" y="112566"/>
                      <a:pt x="57150" y="104775"/>
                    </a:cubicBezTo>
                    <a:cubicBezTo>
                      <a:pt x="57150" y="96984"/>
                      <a:pt x="59207" y="89745"/>
                      <a:pt x="62532" y="83249"/>
                    </a:cubicBezTo>
                    <a:cubicBezTo>
                      <a:pt x="67723" y="90488"/>
                      <a:pt x="76162" y="95250"/>
                      <a:pt x="85725" y="95250"/>
                    </a:cubicBezTo>
                    <a:cubicBezTo>
                      <a:pt x="101479" y="95250"/>
                      <a:pt x="114300" y="82429"/>
                      <a:pt x="114300" y="66675"/>
                    </a:cubicBezTo>
                    <a:cubicBezTo>
                      <a:pt x="114300" y="63656"/>
                      <a:pt x="113833" y="60731"/>
                      <a:pt x="112957" y="57979"/>
                    </a:cubicBezTo>
                    <a:cubicBezTo>
                      <a:pt x="125063" y="60093"/>
                      <a:pt x="135522" y="66789"/>
                      <a:pt x="142646" y="76219"/>
                    </a:cubicBezTo>
                    <a:close/>
                    <a:moveTo>
                      <a:pt x="95250" y="66675"/>
                    </a:moveTo>
                    <a:cubicBezTo>
                      <a:pt x="95250" y="71923"/>
                      <a:pt x="90973" y="76200"/>
                      <a:pt x="85725" y="76200"/>
                    </a:cubicBezTo>
                    <a:cubicBezTo>
                      <a:pt x="80543" y="76200"/>
                      <a:pt x="76362" y="72028"/>
                      <a:pt x="76238" y="66885"/>
                    </a:cubicBezTo>
                    <a:cubicBezTo>
                      <a:pt x="80820" y="63427"/>
                      <a:pt x="86011" y="60846"/>
                      <a:pt x="91659" y="59217"/>
                    </a:cubicBezTo>
                    <a:cubicBezTo>
                      <a:pt x="93897" y="60989"/>
                      <a:pt x="95250" y="63694"/>
                      <a:pt x="95250" y="66675"/>
                    </a:cubicBezTo>
                    <a:close/>
                  </a:path>
                </a:pathLst>
              </a:custGeom>
              <a:grpFill/>
              <a:ln w="9525" cap="flat">
                <a:noFill/>
                <a:prstDash val="solid"/>
                <a:miter/>
              </a:ln>
            </p:spPr>
            <p:txBody>
              <a:bodyPr rtlCol="0" anchor="ctr"/>
              <a:lstStyle/>
              <a:p>
                <a:endParaRPr lang="pt-BR"/>
              </a:p>
            </p:txBody>
          </p:sp>
          <p:sp>
            <p:nvSpPr>
              <p:cNvPr id="92" name="Forma Livre: Forma 91">
                <a:extLst>
                  <a:ext uri="{FF2B5EF4-FFF2-40B4-BE49-F238E27FC236}">
                    <a16:creationId xmlns:a16="http://schemas.microsoft.com/office/drawing/2014/main" id="{F01DC360-F50C-C667-B003-704BD34D2D86}"/>
                  </a:ext>
                </a:extLst>
              </p:cNvPr>
              <p:cNvSpPr/>
              <p:nvPr/>
            </p:nvSpPr>
            <p:spPr>
              <a:xfrm>
                <a:off x="11943230" y="1725237"/>
                <a:ext cx="285750" cy="552450"/>
              </a:xfrm>
              <a:custGeom>
                <a:avLst/>
                <a:gdLst>
                  <a:gd name="connsiteX0" fmla="*/ 260737 w 285750"/>
                  <a:gd name="connsiteY0" fmla="*/ 250107 h 552450"/>
                  <a:gd name="connsiteX1" fmla="*/ 266700 w 285750"/>
                  <a:gd name="connsiteY1" fmla="*/ 230229 h 552450"/>
                  <a:gd name="connsiteX2" fmla="*/ 256013 w 285750"/>
                  <a:gd name="connsiteY2" fmla="*/ 204445 h 552450"/>
                  <a:gd name="connsiteX3" fmla="*/ 62255 w 285750"/>
                  <a:gd name="connsiteY3" fmla="*/ 10687 h 552450"/>
                  <a:gd name="connsiteX4" fmla="*/ 36471 w 285750"/>
                  <a:gd name="connsiteY4" fmla="*/ 0 h 552450"/>
                  <a:gd name="connsiteX5" fmla="*/ 0 w 285750"/>
                  <a:gd name="connsiteY5" fmla="*/ 36471 h 552450"/>
                  <a:gd name="connsiteX6" fmla="*/ 10687 w 285750"/>
                  <a:gd name="connsiteY6" fmla="*/ 62255 h 552450"/>
                  <a:gd name="connsiteX7" fmla="*/ 204454 w 285750"/>
                  <a:gd name="connsiteY7" fmla="*/ 256022 h 552450"/>
                  <a:gd name="connsiteX8" fmla="*/ 216456 w 285750"/>
                  <a:gd name="connsiteY8" fmla="*/ 264004 h 552450"/>
                  <a:gd name="connsiteX9" fmla="*/ 209550 w 285750"/>
                  <a:gd name="connsiteY9" fmla="*/ 285750 h 552450"/>
                  <a:gd name="connsiteX10" fmla="*/ 209550 w 285750"/>
                  <a:gd name="connsiteY10" fmla="*/ 514350 h 552450"/>
                  <a:gd name="connsiteX11" fmla="*/ 247650 w 285750"/>
                  <a:gd name="connsiteY11" fmla="*/ 552450 h 552450"/>
                  <a:gd name="connsiteX12" fmla="*/ 285750 w 285750"/>
                  <a:gd name="connsiteY12" fmla="*/ 514350 h 552450"/>
                  <a:gd name="connsiteX13" fmla="*/ 285750 w 285750"/>
                  <a:gd name="connsiteY13" fmla="*/ 285750 h 552450"/>
                  <a:gd name="connsiteX14" fmla="*/ 260737 w 285750"/>
                  <a:gd name="connsiteY14" fmla="*/ 250107 h 552450"/>
                  <a:gd name="connsiteX15" fmla="*/ 266700 w 285750"/>
                  <a:gd name="connsiteY15" fmla="*/ 285750 h 552450"/>
                  <a:gd name="connsiteX16" fmla="*/ 266700 w 285750"/>
                  <a:gd name="connsiteY16" fmla="*/ 342900 h 552450"/>
                  <a:gd name="connsiteX17" fmla="*/ 228600 w 285750"/>
                  <a:gd name="connsiteY17" fmla="*/ 342900 h 552450"/>
                  <a:gd name="connsiteX18" fmla="*/ 228600 w 285750"/>
                  <a:gd name="connsiteY18" fmla="*/ 285750 h 552450"/>
                  <a:gd name="connsiteX19" fmla="*/ 247650 w 285750"/>
                  <a:gd name="connsiteY19" fmla="*/ 266700 h 552450"/>
                  <a:gd name="connsiteX20" fmla="*/ 266700 w 285750"/>
                  <a:gd name="connsiteY20" fmla="*/ 285750 h 552450"/>
                  <a:gd name="connsiteX21" fmla="*/ 228600 w 285750"/>
                  <a:gd name="connsiteY21" fmla="*/ 361950 h 552450"/>
                  <a:gd name="connsiteX22" fmla="*/ 266700 w 285750"/>
                  <a:gd name="connsiteY22" fmla="*/ 361950 h 552450"/>
                  <a:gd name="connsiteX23" fmla="*/ 266700 w 285750"/>
                  <a:gd name="connsiteY23" fmla="*/ 438150 h 552450"/>
                  <a:gd name="connsiteX24" fmla="*/ 228600 w 285750"/>
                  <a:gd name="connsiteY24" fmla="*/ 438150 h 552450"/>
                  <a:gd name="connsiteX25" fmla="*/ 228600 w 285750"/>
                  <a:gd name="connsiteY25" fmla="*/ 361950 h 552450"/>
                  <a:gd name="connsiteX26" fmla="*/ 181794 w 285750"/>
                  <a:gd name="connsiteY26" fmla="*/ 157163 h 552450"/>
                  <a:gd name="connsiteX27" fmla="*/ 157163 w 285750"/>
                  <a:gd name="connsiteY27" fmla="*/ 181794 h 552450"/>
                  <a:gd name="connsiteX28" fmla="*/ 84906 w 285750"/>
                  <a:gd name="connsiteY28" fmla="*/ 109538 h 552450"/>
                  <a:gd name="connsiteX29" fmla="*/ 109538 w 285750"/>
                  <a:gd name="connsiteY29" fmla="*/ 84906 h 552450"/>
                  <a:gd name="connsiteX30" fmla="*/ 181794 w 285750"/>
                  <a:gd name="connsiteY30" fmla="*/ 157163 h 552450"/>
                  <a:gd name="connsiteX31" fmla="*/ 19050 w 285750"/>
                  <a:gd name="connsiteY31" fmla="*/ 36471 h 552450"/>
                  <a:gd name="connsiteX32" fmla="*/ 36471 w 285750"/>
                  <a:gd name="connsiteY32" fmla="*/ 19050 h 552450"/>
                  <a:gd name="connsiteX33" fmla="*/ 48787 w 285750"/>
                  <a:gd name="connsiteY33" fmla="*/ 24155 h 552450"/>
                  <a:gd name="connsiteX34" fmla="*/ 96069 w 285750"/>
                  <a:gd name="connsiteY34" fmla="*/ 71438 h 552450"/>
                  <a:gd name="connsiteX35" fmla="*/ 71438 w 285750"/>
                  <a:gd name="connsiteY35" fmla="*/ 96069 h 552450"/>
                  <a:gd name="connsiteX36" fmla="*/ 24155 w 285750"/>
                  <a:gd name="connsiteY36" fmla="*/ 48787 h 552450"/>
                  <a:gd name="connsiteX37" fmla="*/ 19050 w 285750"/>
                  <a:gd name="connsiteY37" fmla="*/ 36471 h 552450"/>
                  <a:gd name="connsiteX38" fmla="*/ 170631 w 285750"/>
                  <a:gd name="connsiteY38" fmla="*/ 195263 h 552450"/>
                  <a:gd name="connsiteX39" fmla="*/ 195263 w 285750"/>
                  <a:gd name="connsiteY39" fmla="*/ 170631 h 552450"/>
                  <a:gd name="connsiteX40" fmla="*/ 242545 w 285750"/>
                  <a:gd name="connsiteY40" fmla="*/ 217913 h 552450"/>
                  <a:gd name="connsiteX41" fmla="*/ 247650 w 285750"/>
                  <a:gd name="connsiteY41" fmla="*/ 230229 h 552450"/>
                  <a:gd name="connsiteX42" fmla="*/ 230229 w 285750"/>
                  <a:gd name="connsiteY42" fmla="*/ 247650 h 552450"/>
                  <a:gd name="connsiteX43" fmla="*/ 217913 w 285750"/>
                  <a:gd name="connsiteY43" fmla="*/ 242545 h 552450"/>
                  <a:gd name="connsiteX44" fmla="*/ 170631 w 285750"/>
                  <a:gd name="connsiteY44" fmla="*/ 195263 h 552450"/>
                  <a:gd name="connsiteX45" fmla="*/ 247650 w 285750"/>
                  <a:gd name="connsiteY45" fmla="*/ 533400 h 552450"/>
                  <a:gd name="connsiteX46" fmla="*/ 228600 w 285750"/>
                  <a:gd name="connsiteY46" fmla="*/ 514350 h 552450"/>
                  <a:gd name="connsiteX47" fmla="*/ 228600 w 285750"/>
                  <a:gd name="connsiteY47" fmla="*/ 457200 h 552450"/>
                  <a:gd name="connsiteX48" fmla="*/ 266700 w 285750"/>
                  <a:gd name="connsiteY48" fmla="*/ 457200 h 552450"/>
                  <a:gd name="connsiteX49" fmla="*/ 266700 w 285750"/>
                  <a:gd name="connsiteY49" fmla="*/ 514350 h 552450"/>
                  <a:gd name="connsiteX50" fmla="*/ 247650 w 285750"/>
                  <a:gd name="connsiteY50" fmla="*/ 5334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60737" y="250107"/>
                    </a:moveTo>
                    <a:cubicBezTo>
                      <a:pt x="264481" y="244383"/>
                      <a:pt x="266700" y="237573"/>
                      <a:pt x="266700" y="230229"/>
                    </a:cubicBezTo>
                    <a:cubicBezTo>
                      <a:pt x="266700" y="220494"/>
                      <a:pt x="262909" y="211331"/>
                      <a:pt x="256013" y="204445"/>
                    </a:cubicBezTo>
                    <a:lnTo>
                      <a:pt x="62255" y="10687"/>
                    </a:lnTo>
                    <a:cubicBezTo>
                      <a:pt x="55369" y="3791"/>
                      <a:pt x="46206" y="0"/>
                      <a:pt x="36471" y="0"/>
                    </a:cubicBezTo>
                    <a:cubicBezTo>
                      <a:pt x="16354" y="0"/>
                      <a:pt x="0" y="16354"/>
                      <a:pt x="0" y="36471"/>
                    </a:cubicBezTo>
                    <a:cubicBezTo>
                      <a:pt x="0" y="46206"/>
                      <a:pt x="3791" y="55369"/>
                      <a:pt x="10687" y="62255"/>
                    </a:cubicBezTo>
                    <a:lnTo>
                      <a:pt x="204454" y="256022"/>
                    </a:lnTo>
                    <a:cubicBezTo>
                      <a:pt x="207940" y="259509"/>
                      <a:pt x="212027" y="262195"/>
                      <a:pt x="216456" y="264004"/>
                    </a:cubicBezTo>
                    <a:cubicBezTo>
                      <a:pt x="212131" y="270177"/>
                      <a:pt x="209550" y="277654"/>
                      <a:pt x="209550" y="285750"/>
                    </a:cubicBezTo>
                    <a:lnTo>
                      <a:pt x="209550" y="514350"/>
                    </a:lnTo>
                    <a:cubicBezTo>
                      <a:pt x="209550" y="535362"/>
                      <a:pt x="226638" y="552450"/>
                      <a:pt x="247650" y="552450"/>
                    </a:cubicBezTo>
                    <a:cubicBezTo>
                      <a:pt x="268662" y="552450"/>
                      <a:pt x="285750" y="535362"/>
                      <a:pt x="285750" y="514350"/>
                    </a:cubicBezTo>
                    <a:lnTo>
                      <a:pt x="285750" y="285750"/>
                    </a:lnTo>
                    <a:cubicBezTo>
                      <a:pt x="285750" y="269357"/>
                      <a:pt x="275292" y="255480"/>
                      <a:pt x="260737" y="250107"/>
                    </a:cubicBezTo>
                    <a:close/>
                    <a:moveTo>
                      <a:pt x="266700" y="285750"/>
                    </a:moveTo>
                    <a:lnTo>
                      <a:pt x="266700" y="342900"/>
                    </a:lnTo>
                    <a:lnTo>
                      <a:pt x="228600" y="342900"/>
                    </a:lnTo>
                    <a:lnTo>
                      <a:pt x="228600" y="285750"/>
                    </a:lnTo>
                    <a:cubicBezTo>
                      <a:pt x="228600" y="275244"/>
                      <a:pt x="237144" y="266700"/>
                      <a:pt x="247650" y="266700"/>
                    </a:cubicBezTo>
                    <a:cubicBezTo>
                      <a:pt x="258156" y="266700"/>
                      <a:pt x="266700" y="275244"/>
                      <a:pt x="266700" y="285750"/>
                    </a:cubicBezTo>
                    <a:close/>
                    <a:moveTo>
                      <a:pt x="228600" y="361950"/>
                    </a:moveTo>
                    <a:lnTo>
                      <a:pt x="266700" y="361950"/>
                    </a:lnTo>
                    <a:lnTo>
                      <a:pt x="266700" y="438150"/>
                    </a:lnTo>
                    <a:lnTo>
                      <a:pt x="228600" y="438150"/>
                    </a:lnTo>
                    <a:lnTo>
                      <a:pt x="228600" y="361950"/>
                    </a:lnTo>
                    <a:close/>
                    <a:moveTo>
                      <a:pt x="181794" y="157163"/>
                    </a:moveTo>
                    <a:lnTo>
                      <a:pt x="157163" y="181794"/>
                    </a:lnTo>
                    <a:lnTo>
                      <a:pt x="84906" y="109538"/>
                    </a:lnTo>
                    <a:lnTo>
                      <a:pt x="109538" y="84906"/>
                    </a:lnTo>
                    <a:lnTo>
                      <a:pt x="181794" y="157163"/>
                    </a:lnTo>
                    <a:close/>
                    <a:moveTo>
                      <a:pt x="19050" y="36471"/>
                    </a:moveTo>
                    <a:cubicBezTo>
                      <a:pt x="19050" y="26861"/>
                      <a:pt x="26861" y="19050"/>
                      <a:pt x="36471" y="19050"/>
                    </a:cubicBezTo>
                    <a:cubicBezTo>
                      <a:pt x="41119" y="19050"/>
                      <a:pt x="45491" y="20860"/>
                      <a:pt x="48787" y="24155"/>
                    </a:cubicBezTo>
                    <a:lnTo>
                      <a:pt x="96069" y="71438"/>
                    </a:lnTo>
                    <a:lnTo>
                      <a:pt x="71438" y="96069"/>
                    </a:lnTo>
                    <a:lnTo>
                      <a:pt x="24155" y="48787"/>
                    </a:lnTo>
                    <a:cubicBezTo>
                      <a:pt x="20860" y="45491"/>
                      <a:pt x="19050" y="41119"/>
                      <a:pt x="19050" y="36471"/>
                    </a:cubicBezTo>
                    <a:close/>
                    <a:moveTo>
                      <a:pt x="170631" y="195263"/>
                    </a:moveTo>
                    <a:lnTo>
                      <a:pt x="195263" y="170631"/>
                    </a:lnTo>
                    <a:lnTo>
                      <a:pt x="242545" y="217913"/>
                    </a:lnTo>
                    <a:cubicBezTo>
                      <a:pt x="245840" y="221209"/>
                      <a:pt x="247650" y="225581"/>
                      <a:pt x="247650" y="230229"/>
                    </a:cubicBezTo>
                    <a:cubicBezTo>
                      <a:pt x="247650" y="239840"/>
                      <a:pt x="239840" y="247650"/>
                      <a:pt x="230229" y="247650"/>
                    </a:cubicBezTo>
                    <a:cubicBezTo>
                      <a:pt x="225581" y="247650"/>
                      <a:pt x="221209" y="245840"/>
                      <a:pt x="217913" y="242545"/>
                    </a:cubicBezTo>
                    <a:lnTo>
                      <a:pt x="170631" y="195263"/>
                    </a:lnTo>
                    <a:close/>
                    <a:moveTo>
                      <a:pt x="247650" y="533400"/>
                    </a:moveTo>
                    <a:cubicBezTo>
                      <a:pt x="237144" y="533400"/>
                      <a:pt x="228600" y="524856"/>
                      <a:pt x="228600" y="514350"/>
                    </a:cubicBezTo>
                    <a:lnTo>
                      <a:pt x="228600" y="457200"/>
                    </a:lnTo>
                    <a:lnTo>
                      <a:pt x="266700" y="457200"/>
                    </a:lnTo>
                    <a:lnTo>
                      <a:pt x="266700" y="514350"/>
                    </a:lnTo>
                    <a:cubicBezTo>
                      <a:pt x="266700" y="524856"/>
                      <a:pt x="258156" y="533400"/>
                      <a:pt x="247650" y="533400"/>
                    </a:cubicBezTo>
                    <a:close/>
                  </a:path>
                </a:pathLst>
              </a:custGeom>
              <a:grpFill/>
              <a:ln w="9525" cap="flat">
                <a:noFill/>
                <a:prstDash val="solid"/>
                <a:miter/>
              </a:ln>
            </p:spPr>
            <p:txBody>
              <a:bodyPr rtlCol="0" anchor="ctr"/>
              <a:lstStyle/>
              <a:p>
                <a:endParaRPr lang="pt-BR"/>
              </a:p>
            </p:txBody>
          </p:sp>
          <p:sp>
            <p:nvSpPr>
              <p:cNvPr id="93" name="Forma Livre: Forma 92">
                <a:extLst>
                  <a:ext uri="{FF2B5EF4-FFF2-40B4-BE49-F238E27FC236}">
                    <a16:creationId xmlns:a16="http://schemas.microsoft.com/office/drawing/2014/main" id="{90CD073B-1432-2CA0-89FC-15B18A157AD8}"/>
                  </a:ext>
                </a:extLst>
              </p:cNvPr>
              <p:cNvSpPr/>
              <p:nvPr/>
            </p:nvSpPr>
            <p:spPr>
              <a:xfrm>
                <a:off x="12000380" y="1906212"/>
                <a:ext cx="114300" cy="114300"/>
              </a:xfrm>
              <a:custGeom>
                <a:avLst/>
                <a:gdLst>
                  <a:gd name="connsiteX0" fmla="*/ 50749 w 114300"/>
                  <a:gd name="connsiteY0" fmla="*/ 8706 h 114300"/>
                  <a:gd name="connsiteX1" fmla="*/ 29728 w 114300"/>
                  <a:gd name="connsiteY1" fmla="*/ 0 h 114300"/>
                  <a:gd name="connsiteX2" fmla="*/ 0 w 114300"/>
                  <a:gd name="connsiteY2" fmla="*/ 29728 h 114300"/>
                  <a:gd name="connsiteX3" fmla="*/ 8706 w 114300"/>
                  <a:gd name="connsiteY3" fmla="*/ 50749 h 114300"/>
                  <a:gd name="connsiteX4" fmla="*/ 63551 w 114300"/>
                  <a:gd name="connsiteY4" fmla="*/ 105594 h 114300"/>
                  <a:gd name="connsiteX5" fmla="*/ 84572 w 114300"/>
                  <a:gd name="connsiteY5" fmla="*/ 114300 h 114300"/>
                  <a:gd name="connsiteX6" fmla="*/ 114300 w 114300"/>
                  <a:gd name="connsiteY6" fmla="*/ 84572 h 114300"/>
                  <a:gd name="connsiteX7" fmla="*/ 105594 w 114300"/>
                  <a:gd name="connsiteY7" fmla="*/ 63551 h 114300"/>
                  <a:gd name="connsiteX8" fmla="*/ 50749 w 114300"/>
                  <a:gd name="connsiteY8" fmla="*/ 8706 h 114300"/>
                  <a:gd name="connsiteX9" fmla="*/ 19050 w 114300"/>
                  <a:gd name="connsiteY9" fmla="*/ 29728 h 114300"/>
                  <a:gd name="connsiteX10" fmla="*/ 29728 w 114300"/>
                  <a:gd name="connsiteY10" fmla="*/ 19050 h 114300"/>
                  <a:gd name="connsiteX11" fmla="*/ 37281 w 114300"/>
                  <a:gd name="connsiteY11" fmla="*/ 22174 h 114300"/>
                  <a:gd name="connsiteX12" fmla="*/ 57969 w 114300"/>
                  <a:gd name="connsiteY12" fmla="*/ 42863 h 114300"/>
                  <a:gd name="connsiteX13" fmla="*/ 42863 w 114300"/>
                  <a:gd name="connsiteY13" fmla="*/ 57969 h 114300"/>
                  <a:gd name="connsiteX14" fmla="*/ 22174 w 114300"/>
                  <a:gd name="connsiteY14" fmla="*/ 37281 h 114300"/>
                  <a:gd name="connsiteX15" fmla="*/ 19050 w 114300"/>
                  <a:gd name="connsiteY15" fmla="*/ 29728 h 114300"/>
                  <a:gd name="connsiteX16" fmla="*/ 84572 w 114300"/>
                  <a:gd name="connsiteY16" fmla="*/ 95250 h 114300"/>
                  <a:gd name="connsiteX17" fmla="*/ 77019 w 114300"/>
                  <a:gd name="connsiteY17" fmla="*/ 92126 h 114300"/>
                  <a:gd name="connsiteX18" fmla="*/ 56331 w 114300"/>
                  <a:gd name="connsiteY18" fmla="*/ 71438 h 114300"/>
                  <a:gd name="connsiteX19" fmla="*/ 71438 w 114300"/>
                  <a:gd name="connsiteY19" fmla="*/ 56331 h 114300"/>
                  <a:gd name="connsiteX20" fmla="*/ 92126 w 114300"/>
                  <a:gd name="connsiteY20" fmla="*/ 77019 h 114300"/>
                  <a:gd name="connsiteX21" fmla="*/ 95250 w 114300"/>
                  <a:gd name="connsiteY21" fmla="*/ 84572 h 114300"/>
                  <a:gd name="connsiteX22" fmla="*/ 84572 w 114300"/>
                  <a:gd name="connsiteY22"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50749" y="8706"/>
                    </a:moveTo>
                    <a:cubicBezTo>
                      <a:pt x="45139" y="3096"/>
                      <a:pt x="37671" y="0"/>
                      <a:pt x="29728" y="0"/>
                    </a:cubicBezTo>
                    <a:cubicBezTo>
                      <a:pt x="13335" y="0"/>
                      <a:pt x="0" y="13335"/>
                      <a:pt x="0" y="29728"/>
                    </a:cubicBezTo>
                    <a:cubicBezTo>
                      <a:pt x="0" y="37671"/>
                      <a:pt x="3096" y="45139"/>
                      <a:pt x="8706" y="50749"/>
                    </a:cubicBezTo>
                    <a:lnTo>
                      <a:pt x="63551" y="105594"/>
                    </a:lnTo>
                    <a:cubicBezTo>
                      <a:pt x="69161" y="111204"/>
                      <a:pt x="76629" y="114300"/>
                      <a:pt x="84572" y="114300"/>
                    </a:cubicBezTo>
                    <a:cubicBezTo>
                      <a:pt x="100965" y="114300"/>
                      <a:pt x="114300" y="100965"/>
                      <a:pt x="114300" y="84572"/>
                    </a:cubicBezTo>
                    <a:cubicBezTo>
                      <a:pt x="114300" y="76629"/>
                      <a:pt x="111204" y="69161"/>
                      <a:pt x="105594" y="63551"/>
                    </a:cubicBezTo>
                    <a:lnTo>
                      <a:pt x="50749" y="8706"/>
                    </a:lnTo>
                    <a:close/>
                    <a:moveTo>
                      <a:pt x="19050" y="29728"/>
                    </a:moveTo>
                    <a:cubicBezTo>
                      <a:pt x="19050" y="23841"/>
                      <a:pt x="23841" y="19050"/>
                      <a:pt x="29728" y="19050"/>
                    </a:cubicBezTo>
                    <a:cubicBezTo>
                      <a:pt x="32585" y="19050"/>
                      <a:pt x="35262" y="20164"/>
                      <a:pt x="37281" y="22174"/>
                    </a:cubicBezTo>
                    <a:lnTo>
                      <a:pt x="57969" y="42863"/>
                    </a:lnTo>
                    <a:lnTo>
                      <a:pt x="42863" y="57969"/>
                    </a:lnTo>
                    <a:lnTo>
                      <a:pt x="22174" y="37281"/>
                    </a:lnTo>
                    <a:cubicBezTo>
                      <a:pt x="20164" y="35262"/>
                      <a:pt x="19050" y="32585"/>
                      <a:pt x="19050" y="29728"/>
                    </a:cubicBezTo>
                    <a:close/>
                    <a:moveTo>
                      <a:pt x="84572" y="95250"/>
                    </a:moveTo>
                    <a:cubicBezTo>
                      <a:pt x="81715" y="95250"/>
                      <a:pt x="79038" y="94136"/>
                      <a:pt x="77019" y="92126"/>
                    </a:cubicBezTo>
                    <a:lnTo>
                      <a:pt x="56331" y="71438"/>
                    </a:lnTo>
                    <a:lnTo>
                      <a:pt x="71438" y="56331"/>
                    </a:lnTo>
                    <a:lnTo>
                      <a:pt x="92126" y="77019"/>
                    </a:lnTo>
                    <a:cubicBezTo>
                      <a:pt x="94136" y="79038"/>
                      <a:pt x="95250" y="81715"/>
                      <a:pt x="95250" y="84572"/>
                    </a:cubicBezTo>
                    <a:cubicBezTo>
                      <a:pt x="95250" y="90459"/>
                      <a:pt x="90459" y="95250"/>
                      <a:pt x="84572" y="95250"/>
                    </a:cubicBezTo>
                    <a:close/>
                  </a:path>
                </a:pathLst>
              </a:custGeom>
              <a:grpFill/>
              <a:ln w="9525" cap="flat">
                <a:noFill/>
                <a:prstDash val="solid"/>
                <a:miter/>
              </a:ln>
            </p:spPr>
            <p:txBody>
              <a:bodyPr rtlCol="0" anchor="ctr"/>
              <a:lstStyle/>
              <a:p>
                <a:endParaRPr lang="pt-BR"/>
              </a:p>
            </p:txBody>
          </p:sp>
          <p:sp>
            <p:nvSpPr>
              <p:cNvPr id="94" name="Forma Livre: Forma 93">
                <a:extLst>
                  <a:ext uri="{FF2B5EF4-FFF2-40B4-BE49-F238E27FC236}">
                    <a16:creationId xmlns:a16="http://schemas.microsoft.com/office/drawing/2014/main" id="{301E275E-670A-F544-D439-A1F5BF8A5383}"/>
                  </a:ext>
                </a:extLst>
              </p:cNvPr>
              <p:cNvSpPr/>
              <p:nvPr/>
            </p:nvSpPr>
            <p:spPr>
              <a:xfrm>
                <a:off x="12248030" y="1725237"/>
                <a:ext cx="285750" cy="552450"/>
              </a:xfrm>
              <a:custGeom>
                <a:avLst/>
                <a:gdLst>
                  <a:gd name="connsiteX0" fmla="*/ 249279 w 285750"/>
                  <a:gd name="connsiteY0" fmla="*/ 0 h 552450"/>
                  <a:gd name="connsiteX1" fmla="*/ 223495 w 285750"/>
                  <a:gd name="connsiteY1" fmla="*/ 10687 h 552450"/>
                  <a:gd name="connsiteX2" fmla="*/ 29737 w 285750"/>
                  <a:gd name="connsiteY2" fmla="*/ 204445 h 552450"/>
                  <a:gd name="connsiteX3" fmla="*/ 19050 w 285750"/>
                  <a:gd name="connsiteY3" fmla="*/ 230229 h 552450"/>
                  <a:gd name="connsiteX4" fmla="*/ 25013 w 285750"/>
                  <a:gd name="connsiteY4" fmla="*/ 250107 h 552450"/>
                  <a:gd name="connsiteX5" fmla="*/ 0 w 285750"/>
                  <a:gd name="connsiteY5" fmla="*/ 285750 h 552450"/>
                  <a:gd name="connsiteX6" fmla="*/ 0 w 285750"/>
                  <a:gd name="connsiteY6" fmla="*/ 514350 h 552450"/>
                  <a:gd name="connsiteX7" fmla="*/ 38100 w 285750"/>
                  <a:gd name="connsiteY7" fmla="*/ 552450 h 552450"/>
                  <a:gd name="connsiteX8" fmla="*/ 76200 w 285750"/>
                  <a:gd name="connsiteY8" fmla="*/ 514350 h 552450"/>
                  <a:gd name="connsiteX9" fmla="*/ 76200 w 285750"/>
                  <a:gd name="connsiteY9" fmla="*/ 285750 h 552450"/>
                  <a:gd name="connsiteX10" fmla="*/ 69294 w 285750"/>
                  <a:gd name="connsiteY10" fmla="*/ 263995 h 552450"/>
                  <a:gd name="connsiteX11" fmla="*/ 81296 w 285750"/>
                  <a:gd name="connsiteY11" fmla="*/ 256013 h 552450"/>
                  <a:gd name="connsiteX12" fmla="*/ 275063 w 285750"/>
                  <a:gd name="connsiteY12" fmla="*/ 62246 h 552450"/>
                  <a:gd name="connsiteX13" fmla="*/ 285750 w 285750"/>
                  <a:gd name="connsiteY13" fmla="*/ 36471 h 552450"/>
                  <a:gd name="connsiteX14" fmla="*/ 249279 w 285750"/>
                  <a:gd name="connsiteY14" fmla="*/ 0 h 552450"/>
                  <a:gd name="connsiteX15" fmla="*/ 176213 w 285750"/>
                  <a:gd name="connsiteY15" fmla="*/ 84906 h 552450"/>
                  <a:gd name="connsiteX16" fmla="*/ 200844 w 285750"/>
                  <a:gd name="connsiteY16" fmla="*/ 109538 h 552450"/>
                  <a:gd name="connsiteX17" fmla="*/ 128588 w 285750"/>
                  <a:gd name="connsiteY17" fmla="*/ 181794 h 552450"/>
                  <a:gd name="connsiteX18" fmla="*/ 103956 w 285750"/>
                  <a:gd name="connsiteY18" fmla="*/ 157163 h 552450"/>
                  <a:gd name="connsiteX19" fmla="*/ 176213 w 285750"/>
                  <a:gd name="connsiteY19" fmla="*/ 84906 h 552450"/>
                  <a:gd name="connsiteX20" fmla="*/ 38100 w 285750"/>
                  <a:gd name="connsiteY20" fmla="*/ 266700 h 552450"/>
                  <a:gd name="connsiteX21" fmla="*/ 57150 w 285750"/>
                  <a:gd name="connsiteY21" fmla="*/ 285750 h 552450"/>
                  <a:gd name="connsiteX22" fmla="*/ 57150 w 285750"/>
                  <a:gd name="connsiteY22" fmla="*/ 342900 h 552450"/>
                  <a:gd name="connsiteX23" fmla="*/ 19050 w 285750"/>
                  <a:gd name="connsiteY23" fmla="*/ 342900 h 552450"/>
                  <a:gd name="connsiteX24" fmla="*/ 19050 w 285750"/>
                  <a:gd name="connsiteY24" fmla="*/ 285750 h 552450"/>
                  <a:gd name="connsiteX25" fmla="*/ 38100 w 285750"/>
                  <a:gd name="connsiteY25" fmla="*/ 266700 h 552450"/>
                  <a:gd name="connsiteX26" fmla="*/ 57150 w 285750"/>
                  <a:gd name="connsiteY26" fmla="*/ 361950 h 552450"/>
                  <a:gd name="connsiteX27" fmla="*/ 57150 w 285750"/>
                  <a:gd name="connsiteY27" fmla="*/ 438150 h 552450"/>
                  <a:gd name="connsiteX28" fmla="*/ 19050 w 285750"/>
                  <a:gd name="connsiteY28" fmla="*/ 438150 h 552450"/>
                  <a:gd name="connsiteX29" fmla="*/ 19050 w 285750"/>
                  <a:gd name="connsiteY29" fmla="*/ 361950 h 552450"/>
                  <a:gd name="connsiteX30" fmla="*/ 57150 w 285750"/>
                  <a:gd name="connsiteY30" fmla="*/ 361950 h 552450"/>
                  <a:gd name="connsiteX31" fmla="*/ 38100 w 285750"/>
                  <a:gd name="connsiteY31" fmla="*/ 533400 h 552450"/>
                  <a:gd name="connsiteX32" fmla="*/ 19050 w 285750"/>
                  <a:gd name="connsiteY32" fmla="*/ 514350 h 552450"/>
                  <a:gd name="connsiteX33" fmla="*/ 19050 w 285750"/>
                  <a:gd name="connsiteY33" fmla="*/ 457200 h 552450"/>
                  <a:gd name="connsiteX34" fmla="*/ 57150 w 285750"/>
                  <a:gd name="connsiteY34" fmla="*/ 457200 h 552450"/>
                  <a:gd name="connsiteX35" fmla="*/ 57150 w 285750"/>
                  <a:gd name="connsiteY35" fmla="*/ 514350 h 552450"/>
                  <a:gd name="connsiteX36" fmla="*/ 38100 w 285750"/>
                  <a:gd name="connsiteY36" fmla="*/ 533400 h 552450"/>
                  <a:gd name="connsiteX37" fmla="*/ 67837 w 285750"/>
                  <a:gd name="connsiteY37" fmla="*/ 242545 h 552450"/>
                  <a:gd name="connsiteX38" fmla="*/ 55521 w 285750"/>
                  <a:gd name="connsiteY38" fmla="*/ 247650 h 552450"/>
                  <a:gd name="connsiteX39" fmla="*/ 38100 w 285750"/>
                  <a:gd name="connsiteY39" fmla="*/ 230229 h 552450"/>
                  <a:gd name="connsiteX40" fmla="*/ 43205 w 285750"/>
                  <a:gd name="connsiteY40" fmla="*/ 217913 h 552450"/>
                  <a:gd name="connsiteX41" fmla="*/ 90488 w 285750"/>
                  <a:gd name="connsiteY41" fmla="*/ 170631 h 552450"/>
                  <a:gd name="connsiteX42" fmla="*/ 115119 w 285750"/>
                  <a:gd name="connsiteY42" fmla="*/ 195263 h 552450"/>
                  <a:gd name="connsiteX43" fmla="*/ 67837 w 285750"/>
                  <a:gd name="connsiteY43" fmla="*/ 242545 h 552450"/>
                  <a:gd name="connsiteX44" fmla="*/ 261595 w 285750"/>
                  <a:gd name="connsiteY44" fmla="*/ 48787 h 552450"/>
                  <a:gd name="connsiteX45" fmla="*/ 214313 w 285750"/>
                  <a:gd name="connsiteY45" fmla="*/ 96069 h 552450"/>
                  <a:gd name="connsiteX46" fmla="*/ 189681 w 285750"/>
                  <a:gd name="connsiteY46" fmla="*/ 71438 h 552450"/>
                  <a:gd name="connsiteX47" fmla="*/ 236963 w 285750"/>
                  <a:gd name="connsiteY47" fmla="*/ 24155 h 552450"/>
                  <a:gd name="connsiteX48" fmla="*/ 249279 w 285750"/>
                  <a:gd name="connsiteY48" fmla="*/ 19050 h 552450"/>
                  <a:gd name="connsiteX49" fmla="*/ 266700 w 285750"/>
                  <a:gd name="connsiteY49" fmla="*/ 36471 h 552450"/>
                  <a:gd name="connsiteX50" fmla="*/ 261595 w 285750"/>
                  <a:gd name="connsiteY50" fmla="*/ 48787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49279" y="0"/>
                    </a:moveTo>
                    <a:cubicBezTo>
                      <a:pt x="239544" y="0"/>
                      <a:pt x="230381" y="3791"/>
                      <a:pt x="223495" y="10687"/>
                    </a:cubicBezTo>
                    <a:lnTo>
                      <a:pt x="29737" y="204445"/>
                    </a:lnTo>
                    <a:cubicBezTo>
                      <a:pt x="22841" y="211341"/>
                      <a:pt x="19050" y="220494"/>
                      <a:pt x="19050" y="230229"/>
                    </a:cubicBezTo>
                    <a:cubicBezTo>
                      <a:pt x="19050" y="237573"/>
                      <a:pt x="21269" y="244383"/>
                      <a:pt x="25013" y="250107"/>
                    </a:cubicBezTo>
                    <a:cubicBezTo>
                      <a:pt x="10458" y="255480"/>
                      <a:pt x="0" y="269357"/>
                      <a:pt x="0" y="285750"/>
                    </a:cubicBezTo>
                    <a:lnTo>
                      <a:pt x="0" y="514350"/>
                    </a:lnTo>
                    <a:cubicBezTo>
                      <a:pt x="0" y="535362"/>
                      <a:pt x="17088" y="552450"/>
                      <a:pt x="38100" y="552450"/>
                    </a:cubicBezTo>
                    <a:cubicBezTo>
                      <a:pt x="59112" y="552450"/>
                      <a:pt x="76200" y="535362"/>
                      <a:pt x="76200" y="514350"/>
                    </a:cubicBezTo>
                    <a:lnTo>
                      <a:pt x="76200" y="285750"/>
                    </a:lnTo>
                    <a:cubicBezTo>
                      <a:pt x="76200" y="277654"/>
                      <a:pt x="73619" y="270177"/>
                      <a:pt x="69294" y="263995"/>
                    </a:cubicBezTo>
                    <a:cubicBezTo>
                      <a:pt x="73733" y="262185"/>
                      <a:pt x="77810" y="259509"/>
                      <a:pt x="81296" y="256013"/>
                    </a:cubicBezTo>
                    <a:lnTo>
                      <a:pt x="275063" y="62246"/>
                    </a:lnTo>
                    <a:cubicBezTo>
                      <a:pt x="281959" y="55369"/>
                      <a:pt x="285750" y="46206"/>
                      <a:pt x="285750" y="36471"/>
                    </a:cubicBezTo>
                    <a:cubicBezTo>
                      <a:pt x="285750" y="16354"/>
                      <a:pt x="269396" y="0"/>
                      <a:pt x="249279" y="0"/>
                    </a:cubicBezTo>
                    <a:close/>
                    <a:moveTo>
                      <a:pt x="176213" y="84906"/>
                    </a:moveTo>
                    <a:lnTo>
                      <a:pt x="200844" y="109538"/>
                    </a:lnTo>
                    <a:lnTo>
                      <a:pt x="128588" y="181794"/>
                    </a:lnTo>
                    <a:lnTo>
                      <a:pt x="103956" y="157163"/>
                    </a:lnTo>
                    <a:lnTo>
                      <a:pt x="176213" y="84906"/>
                    </a:lnTo>
                    <a:close/>
                    <a:moveTo>
                      <a:pt x="38100" y="266700"/>
                    </a:moveTo>
                    <a:cubicBezTo>
                      <a:pt x="48606" y="266700"/>
                      <a:pt x="57150" y="275244"/>
                      <a:pt x="57150" y="285750"/>
                    </a:cubicBezTo>
                    <a:lnTo>
                      <a:pt x="57150" y="342900"/>
                    </a:lnTo>
                    <a:lnTo>
                      <a:pt x="19050" y="342900"/>
                    </a:lnTo>
                    <a:lnTo>
                      <a:pt x="19050" y="285750"/>
                    </a:lnTo>
                    <a:cubicBezTo>
                      <a:pt x="19050" y="275244"/>
                      <a:pt x="27594" y="266700"/>
                      <a:pt x="38100" y="266700"/>
                    </a:cubicBezTo>
                    <a:close/>
                    <a:moveTo>
                      <a:pt x="57150" y="361950"/>
                    </a:moveTo>
                    <a:lnTo>
                      <a:pt x="57150" y="438150"/>
                    </a:lnTo>
                    <a:lnTo>
                      <a:pt x="19050" y="438150"/>
                    </a:lnTo>
                    <a:lnTo>
                      <a:pt x="19050" y="361950"/>
                    </a:lnTo>
                    <a:lnTo>
                      <a:pt x="57150" y="361950"/>
                    </a:lnTo>
                    <a:close/>
                    <a:moveTo>
                      <a:pt x="38100" y="533400"/>
                    </a:moveTo>
                    <a:cubicBezTo>
                      <a:pt x="27594" y="533400"/>
                      <a:pt x="19050" y="524856"/>
                      <a:pt x="19050" y="514350"/>
                    </a:cubicBezTo>
                    <a:lnTo>
                      <a:pt x="19050" y="457200"/>
                    </a:lnTo>
                    <a:lnTo>
                      <a:pt x="57150" y="457200"/>
                    </a:lnTo>
                    <a:lnTo>
                      <a:pt x="57150" y="514350"/>
                    </a:lnTo>
                    <a:cubicBezTo>
                      <a:pt x="57150" y="524856"/>
                      <a:pt x="48606" y="533400"/>
                      <a:pt x="38100" y="533400"/>
                    </a:cubicBezTo>
                    <a:close/>
                    <a:moveTo>
                      <a:pt x="67837" y="242545"/>
                    </a:moveTo>
                    <a:cubicBezTo>
                      <a:pt x="64541" y="245840"/>
                      <a:pt x="60169" y="247650"/>
                      <a:pt x="55521" y="247650"/>
                    </a:cubicBezTo>
                    <a:cubicBezTo>
                      <a:pt x="45910" y="247650"/>
                      <a:pt x="38100" y="239840"/>
                      <a:pt x="38100" y="230229"/>
                    </a:cubicBezTo>
                    <a:cubicBezTo>
                      <a:pt x="38100" y="225581"/>
                      <a:pt x="39910" y="221209"/>
                      <a:pt x="43205" y="217913"/>
                    </a:cubicBezTo>
                    <a:lnTo>
                      <a:pt x="90488" y="170631"/>
                    </a:lnTo>
                    <a:lnTo>
                      <a:pt x="115119" y="195263"/>
                    </a:lnTo>
                    <a:lnTo>
                      <a:pt x="67837" y="242545"/>
                    </a:lnTo>
                    <a:close/>
                    <a:moveTo>
                      <a:pt x="261595" y="48787"/>
                    </a:moveTo>
                    <a:lnTo>
                      <a:pt x="214313" y="96069"/>
                    </a:lnTo>
                    <a:lnTo>
                      <a:pt x="189681" y="71438"/>
                    </a:lnTo>
                    <a:lnTo>
                      <a:pt x="236963" y="24155"/>
                    </a:lnTo>
                    <a:cubicBezTo>
                      <a:pt x="240259" y="20860"/>
                      <a:pt x="244631" y="19050"/>
                      <a:pt x="249279" y="19050"/>
                    </a:cubicBezTo>
                    <a:cubicBezTo>
                      <a:pt x="258890" y="19050"/>
                      <a:pt x="266700" y="26861"/>
                      <a:pt x="266700" y="36471"/>
                    </a:cubicBezTo>
                    <a:cubicBezTo>
                      <a:pt x="266700" y="41119"/>
                      <a:pt x="264890" y="45491"/>
                      <a:pt x="261595" y="48787"/>
                    </a:cubicBezTo>
                    <a:close/>
                  </a:path>
                </a:pathLst>
              </a:custGeom>
              <a:grpFill/>
              <a:ln w="9525" cap="flat">
                <a:noFill/>
                <a:prstDash val="solid"/>
                <a:miter/>
              </a:ln>
            </p:spPr>
            <p:txBody>
              <a:bodyPr rtlCol="0" anchor="ctr"/>
              <a:lstStyle/>
              <a:p>
                <a:endParaRPr lang="pt-BR"/>
              </a:p>
            </p:txBody>
          </p:sp>
          <p:sp>
            <p:nvSpPr>
              <p:cNvPr id="95" name="Forma Livre: Forma 94">
                <a:extLst>
                  <a:ext uri="{FF2B5EF4-FFF2-40B4-BE49-F238E27FC236}">
                    <a16:creationId xmlns:a16="http://schemas.microsoft.com/office/drawing/2014/main" id="{91BC30E2-D457-B5FA-552A-7F0AAF658136}"/>
                  </a:ext>
                </a:extLst>
              </p:cNvPr>
              <p:cNvSpPr/>
              <p:nvPr/>
            </p:nvSpPr>
            <p:spPr>
              <a:xfrm>
                <a:off x="12362330" y="1906212"/>
                <a:ext cx="114300" cy="114300"/>
              </a:xfrm>
              <a:custGeom>
                <a:avLst/>
                <a:gdLst>
                  <a:gd name="connsiteX0" fmla="*/ 84572 w 114300"/>
                  <a:gd name="connsiteY0" fmla="*/ 0 h 114300"/>
                  <a:gd name="connsiteX1" fmla="*/ 63551 w 114300"/>
                  <a:gd name="connsiteY1" fmla="*/ 8706 h 114300"/>
                  <a:gd name="connsiteX2" fmla="*/ 8706 w 114300"/>
                  <a:gd name="connsiteY2" fmla="*/ 63551 h 114300"/>
                  <a:gd name="connsiteX3" fmla="*/ 0 w 114300"/>
                  <a:gd name="connsiteY3" fmla="*/ 84572 h 114300"/>
                  <a:gd name="connsiteX4" fmla="*/ 29728 w 114300"/>
                  <a:gd name="connsiteY4" fmla="*/ 114300 h 114300"/>
                  <a:gd name="connsiteX5" fmla="*/ 50749 w 114300"/>
                  <a:gd name="connsiteY5" fmla="*/ 105594 h 114300"/>
                  <a:gd name="connsiteX6" fmla="*/ 105594 w 114300"/>
                  <a:gd name="connsiteY6" fmla="*/ 50749 h 114300"/>
                  <a:gd name="connsiteX7" fmla="*/ 114300 w 114300"/>
                  <a:gd name="connsiteY7" fmla="*/ 29728 h 114300"/>
                  <a:gd name="connsiteX8" fmla="*/ 84572 w 114300"/>
                  <a:gd name="connsiteY8" fmla="*/ 0 h 114300"/>
                  <a:gd name="connsiteX9" fmla="*/ 37281 w 114300"/>
                  <a:gd name="connsiteY9" fmla="*/ 92126 h 114300"/>
                  <a:gd name="connsiteX10" fmla="*/ 29728 w 114300"/>
                  <a:gd name="connsiteY10" fmla="*/ 95250 h 114300"/>
                  <a:gd name="connsiteX11" fmla="*/ 19050 w 114300"/>
                  <a:gd name="connsiteY11" fmla="*/ 84572 h 114300"/>
                  <a:gd name="connsiteX12" fmla="*/ 22174 w 114300"/>
                  <a:gd name="connsiteY12" fmla="*/ 77019 h 114300"/>
                  <a:gd name="connsiteX13" fmla="*/ 42863 w 114300"/>
                  <a:gd name="connsiteY13" fmla="*/ 56331 h 114300"/>
                  <a:gd name="connsiteX14" fmla="*/ 57969 w 114300"/>
                  <a:gd name="connsiteY14" fmla="*/ 71438 h 114300"/>
                  <a:gd name="connsiteX15" fmla="*/ 37281 w 114300"/>
                  <a:gd name="connsiteY15" fmla="*/ 92126 h 114300"/>
                  <a:gd name="connsiteX16" fmla="*/ 92126 w 114300"/>
                  <a:gd name="connsiteY16" fmla="*/ 37281 h 114300"/>
                  <a:gd name="connsiteX17" fmla="*/ 71438 w 114300"/>
                  <a:gd name="connsiteY17" fmla="*/ 57969 h 114300"/>
                  <a:gd name="connsiteX18" fmla="*/ 56331 w 114300"/>
                  <a:gd name="connsiteY18" fmla="*/ 42863 h 114300"/>
                  <a:gd name="connsiteX19" fmla="*/ 77019 w 114300"/>
                  <a:gd name="connsiteY19" fmla="*/ 22174 h 114300"/>
                  <a:gd name="connsiteX20" fmla="*/ 84572 w 114300"/>
                  <a:gd name="connsiteY20" fmla="*/ 19050 h 114300"/>
                  <a:gd name="connsiteX21" fmla="*/ 95250 w 114300"/>
                  <a:gd name="connsiteY21" fmla="*/ 29728 h 114300"/>
                  <a:gd name="connsiteX22" fmla="*/ 92126 w 114300"/>
                  <a:gd name="connsiteY22" fmla="*/ 3728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84572" y="0"/>
                    </a:moveTo>
                    <a:cubicBezTo>
                      <a:pt x="76629" y="0"/>
                      <a:pt x="69161" y="3096"/>
                      <a:pt x="63551" y="8706"/>
                    </a:cubicBezTo>
                    <a:lnTo>
                      <a:pt x="8706" y="63551"/>
                    </a:lnTo>
                    <a:cubicBezTo>
                      <a:pt x="3096" y="69161"/>
                      <a:pt x="0" y="76629"/>
                      <a:pt x="0" y="84572"/>
                    </a:cubicBezTo>
                    <a:cubicBezTo>
                      <a:pt x="0" y="100965"/>
                      <a:pt x="13335" y="114300"/>
                      <a:pt x="29728" y="114300"/>
                    </a:cubicBezTo>
                    <a:cubicBezTo>
                      <a:pt x="37671" y="114300"/>
                      <a:pt x="45139" y="111204"/>
                      <a:pt x="50749" y="105594"/>
                    </a:cubicBezTo>
                    <a:lnTo>
                      <a:pt x="105594" y="50749"/>
                    </a:lnTo>
                    <a:cubicBezTo>
                      <a:pt x="111204" y="45139"/>
                      <a:pt x="114300" y="37671"/>
                      <a:pt x="114300" y="29728"/>
                    </a:cubicBezTo>
                    <a:cubicBezTo>
                      <a:pt x="114300" y="13335"/>
                      <a:pt x="100965" y="0"/>
                      <a:pt x="84572" y="0"/>
                    </a:cubicBezTo>
                    <a:close/>
                    <a:moveTo>
                      <a:pt x="37281" y="92126"/>
                    </a:moveTo>
                    <a:cubicBezTo>
                      <a:pt x="35262" y="94136"/>
                      <a:pt x="32585" y="95250"/>
                      <a:pt x="29728" y="95250"/>
                    </a:cubicBezTo>
                    <a:cubicBezTo>
                      <a:pt x="23841" y="95250"/>
                      <a:pt x="19050" y="90459"/>
                      <a:pt x="19050" y="84572"/>
                    </a:cubicBezTo>
                    <a:cubicBezTo>
                      <a:pt x="19050" y="81715"/>
                      <a:pt x="20164" y="79038"/>
                      <a:pt x="22174" y="77019"/>
                    </a:cubicBezTo>
                    <a:lnTo>
                      <a:pt x="42863" y="56331"/>
                    </a:lnTo>
                    <a:lnTo>
                      <a:pt x="57969" y="71438"/>
                    </a:lnTo>
                    <a:lnTo>
                      <a:pt x="37281" y="92126"/>
                    </a:lnTo>
                    <a:close/>
                    <a:moveTo>
                      <a:pt x="92126" y="37281"/>
                    </a:moveTo>
                    <a:lnTo>
                      <a:pt x="71438" y="57969"/>
                    </a:lnTo>
                    <a:lnTo>
                      <a:pt x="56331" y="42863"/>
                    </a:lnTo>
                    <a:lnTo>
                      <a:pt x="77019" y="22174"/>
                    </a:lnTo>
                    <a:cubicBezTo>
                      <a:pt x="79038" y="20164"/>
                      <a:pt x="81715" y="19050"/>
                      <a:pt x="84572" y="19050"/>
                    </a:cubicBezTo>
                    <a:cubicBezTo>
                      <a:pt x="90459" y="19050"/>
                      <a:pt x="95250" y="23841"/>
                      <a:pt x="95250" y="29728"/>
                    </a:cubicBezTo>
                    <a:cubicBezTo>
                      <a:pt x="95250" y="32585"/>
                      <a:pt x="94136" y="35262"/>
                      <a:pt x="92126" y="37281"/>
                    </a:cubicBezTo>
                    <a:close/>
                  </a:path>
                </a:pathLst>
              </a:custGeom>
              <a:grpFill/>
              <a:ln w="9525" cap="flat">
                <a:noFill/>
                <a:prstDash val="solid"/>
                <a:miter/>
              </a:ln>
            </p:spPr>
            <p:txBody>
              <a:bodyPr rtlCol="0" anchor="ctr"/>
              <a:lstStyle/>
              <a:p>
                <a:endParaRPr lang="pt-BR"/>
              </a:p>
            </p:txBody>
          </p:sp>
        </p:grpSp>
        <p:sp>
          <p:nvSpPr>
            <p:cNvPr id="143" name="TextBox 22">
              <a:extLst>
                <a:ext uri="{FF2B5EF4-FFF2-40B4-BE49-F238E27FC236}">
                  <a16:creationId xmlns:a16="http://schemas.microsoft.com/office/drawing/2014/main" id="{C046DCF1-1F45-8E5D-4F6C-4314D10697A9}"/>
                </a:ext>
              </a:extLst>
            </p:cNvPr>
            <p:cNvSpPr txBox="1"/>
            <p:nvPr/>
          </p:nvSpPr>
          <p:spPr>
            <a:xfrm>
              <a:off x="1581479" y="3029926"/>
              <a:ext cx="168527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chemeClr val="bg1"/>
                  </a:solidFill>
                  <a:effectLst/>
                  <a:uLnTx/>
                  <a:uFillTx/>
                  <a:latin typeface="+mj-lt"/>
                  <a:ea typeface="Cambria" panose="02040503050406030204" pitchFamily="18" charset="0"/>
                  <a:cs typeface="+mn-cs"/>
                </a:rPr>
                <a:t>ANTÍGENOS</a:t>
              </a:r>
              <a:endParaRPr kumimoji="0" lang="en-US" sz="1400" b="1" i="0" u="none" strike="noStrike" kern="0" cap="none" spc="0" normalizeH="0" baseline="0" noProof="0" dirty="0">
                <a:ln>
                  <a:noFill/>
                </a:ln>
                <a:solidFill>
                  <a:schemeClr val="bg1"/>
                </a:solidFill>
                <a:effectLst/>
                <a:uLnTx/>
                <a:uFillTx/>
                <a:latin typeface="+mj-lt"/>
                <a:ea typeface="Cambria" panose="02040503050406030204" pitchFamily="18" charset="0"/>
                <a:cs typeface="+mn-cs"/>
              </a:endParaRPr>
            </a:p>
          </p:txBody>
        </p:sp>
      </p:grpSp>
      <p:sp>
        <p:nvSpPr>
          <p:cNvPr id="7" name="CaixaDeTexto 6">
            <a:extLst>
              <a:ext uri="{FF2B5EF4-FFF2-40B4-BE49-F238E27FC236}">
                <a16:creationId xmlns:a16="http://schemas.microsoft.com/office/drawing/2014/main" id="{8BDC4FCF-8B81-5F10-673E-EEF3CBB9B3CC}"/>
              </a:ext>
            </a:extLst>
          </p:cNvPr>
          <p:cNvSpPr txBox="1"/>
          <p:nvPr/>
        </p:nvSpPr>
        <p:spPr>
          <a:xfrm>
            <a:off x="4170404" y="5913184"/>
            <a:ext cx="6394862" cy="200055"/>
          </a:xfrm>
          <a:prstGeom prst="rect">
            <a:avLst/>
          </a:prstGeom>
          <a:noFill/>
        </p:spPr>
        <p:txBody>
          <a:bodyPr wrap="square">
            <a:spAutoFit/>
          </a:bodyPr>
          <a:lstStyle/>
          <a:p>
            <a:r>
              <a:rPr lang="pt-BR" sz="700" b="0" i="0" dirty="0">
                <a:solidFill>
                  <a:srgbClr val="1D1D1D"/>
                </a:solidFill>
                <a:effectLst/>
                <a:latin typeface="Arial" panose="020B0604020202020204" pitchFamily="34" charset="0"/>
              </a:rPr>
              <a:t>Adaptado de </a:t>
            </a:r>
            <a:r>
              <a:rPr lang="pt-BR" sz="700" b="0" i="0" dirty="0" err="1">
                <a:solidFill>
                  <a:srgbClr val="1D1D1D"/>
                </a:solidFill>
                <a:effectLst/>
                <a:latin typeface="Arial" panose="020B0604020202020204" pitchFamily="34" charset="0"/>
              </a:rPr>
              <a:t>McInturff</a:t>
            </a:r>
            <a:r>
              <a:rPr lang="pt-BR" sz="700" b="0" i="0" dirty="0">
                <a:solidFill>
                  <a:srgbClr val="1D1D1D"/>
                </a:solidFill>
                <a:effectLst/>
                <a:latin typeface="Arial" panose="020B0604020202020204" pitchFamily="34" charset="0"/>
              </a:rPr>
              <a:t> JE et al. J </a:t>
            </a:r>
            <a:r>
              <a:rPr lang="pt-BR" sz="700" b="0" i="0" dirty="0" err="1">
                <a:solidFill>
                  <a:srgbClr val="1D1D1D"/>
                </a:solidFill>
                <a:effectLst/>
                <a:latin typeface="Arial" panose="020B0604020202020204" pitchFamily="34" charset="0"/>
              </a:rPr>
              <a:t>Invest</a:t>
            </a:r>
            <a:r>
              <a:rPr lang="pt-BR" sz="700" b="0" i="0" dirty="0">
                <a:solidFill>
                  <a:srgbClr val="1D1D1D"/>
                </a:solidFill>
                <a:effectLst/>
                <a:latin typeface="Arial" panose="020B0604020202020204" pitchFamily="34" charset="0"/>
              </a:rPr>
              <a:t> Dermatol. 2005 Jul;125(1):1-8.</a:t>
            </a:r>
            <a:endParaRPr lang="pt-BR" sz="700" dirty="0"/>
          </a:p>
        </p:txBody>
      </p:sp>
    </p:spTree>
    <p:extLst>
      <p:ext uri="{BB962C8B-B14F-4D97-AF65-F5344CB8AC3E}">
        <p14:creationId xmlns:p14="http://schemas.microsoft.com/office/powerpoint/2010/main" val="44454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500"/>
                                  </p:stCondLst>
                                  <p:childTnLst>
                                    <p:set>
                                      <p:cBhvr>
                                        <p:cTn id="9" dur="1" fill="hold">
                                          <p:stCondLst>
                                            <p:cond delay="0"/>
                                          </p:stCondLst>
                                        </p:cTn>
                                        <p:tgtEl>
                                          <p:spTgt spid="142"/>
                                        </p:tgtEl>
                                        <p:attrNameLst>
                                          <p:attrName>style.visibility</p:attrName>
                                        </p:attrNameLst>
                                      </p:cBhvr>
                                      <p:to>
                                        <p:strVal val="visible"/>
                                      </p:to>
                                    </p:set>
                                    <p:animEffect transition="in" filter="fade">
                                      <p:cBhvr>
                                        <p:cTn id="10" dur="500"/>
                                        <p:tgtEl>
                                          <p:spTgt spid="142"/>
                                        </p:tgtEl>
                                      </p:cBhvr>
                                    </p:animEffect>
                                  </p:childTnLst>
                                </p:cTn>
                              </p:par>
                              <p:par>
                                <p:cTn id="11" presetID="53" presetClass="entr" presetSubtype="16" fill="hold" nodeType="withEffect">
                                  <p:stCondLst>
                                    <p:cond delay="750"/>
                                  </p:stCondLst>
                                  <p:childTnLst>
                                    <p:set>
                                      <p:cBhvr>
                                        <p:cTn id="12" dur="1" fill="hold">
                                          <p:stCondLst>
                                            <p:cond delay="0"/>
                                          </p:stCondLst>
                                        </p:cTn>
                                        <p:tgtEl>
                                          <p:spTgt spid="144"/>
                                        </p:tgtEl>
                                        <p:attrNameLst>
                                          <p:attrName>style.visibility</p:attrName>
                                        </p:attrNameLst>
                                      </p:cBhvr>
                                      <p:to>
                                        <p:strVal val="visible"/>
                                      </p:to>
                                    </p:set>
                                    <p:anim calcmode="lin" valueType="num">
                                      <p:cBhvr>
                                        <p:cTn id="13" dur="500" fill="hold"/>
                                        <p:tgtEl>
                                          <p:spTgt spid="144"/>
                                        </p:tgtEl>
                                        <p:attrNameLst>
                                          <p:attrName>ppt_w</p:attrName>
                                        </p:attrNameLst>
                                      </p:cBhvr>
                                      <p:tavLst>
                                        <p:tav tm="0">
                                          <p:val>
                                            <p:fltVal val="0"/>
                                          </p:val>
                                        </p:tav>
                                        <p:tav tm="100000">
                                          <p:val>
                                            <p:strVal val="#ppt_w"/>
                                          </p:val>
                                        </p:tav>
                                      </p:tavLst>
                                    </p:anim>
                                    <p:anim calcmode="lin" valueType="num">
                                      <p:cBhvr>
                                        <p:cTn id="14" dur="500" fill="hold"/>
                                        <p:tgtEl>
                                          <p:spTgt spid="144"/>
                                        </p:tgtEl>
                                        <p:attrNameLst>
                                          <p:attrName>ppt_h</p:attrName>
                                        </p:attrNameLst>
                                      </p:cBhvr>
                                      <p:tavLst>
                                        <p:tav tm="0">
                                          <p:val>
                                            <p:fltVal val="0"/>
                                          </p:val>
                                        </p:tav>
                                        <p:tav tm="100000">
                                          <p:val>
                                            <p:strVal val="#ppt_h"/>
                                          </p:val>
                                        </p:tav>
                                      </p:tavLst>
                                    </p:anim>
                                    <p:animEffect transition="in" filter="fade">
                                      <p:cBhvr>
                                        <p:cTn id="15" dur="500"/>
                                        <p:tgtEl>
                                          <p:spTgt spid="144"/>
                                        </p:tgtEl>
                                      </p:cBhvr>
                                    </p:animEffect>
                                  </p:childTnLst>
                                </p:cTn>
                              </p:par>
                            </p:childTnLst>
                          </p:cTn>
                        </p:par>
                        <p:par>
                          <p:cTn id="16" fill="hold">
                            <p:stCondLst>
                              <p:cond delay="1250"/>
                            </p:stCondLst>
                            <p:childTnLst>
                              <p:par>
                                <p:cTn id="17" presetID="10" presetClass="entr" presetSubtype="0" fill="hold" grpId="0" nodeType="afterEffect">
                                  <p:stCondLst>
                                    <p:cond delay="10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1250"/>
                                  </p:stCondLst>
                                  <p:childTnLst>
                                    <p:set>
                                      <p:cBhvr>
                                        <p:cTn id="21" dur="1" fill="hold">
                                          <p:stCondLst>
                                            <p:cond delay="0"/>
                                          </p:stCondLst>
                                        </p:cTn>
                                        <p:tgtEl>
                                          <p:spTgt spid="138"/>
                                        </p:tgtEl>
                                        <p:attrNameLst>
                                          <p:attrName>style.visibility</p:attrName>
                                        </p:attrNameLst>
                                      </p:cBhvr>
                                      <p:to>
                                        <p:strVal val="visible"/>
                                      </p:to>
                                    </p:set>
                                    <p:animEffect transition="in" filter="fade">
                                      <p:cBhvr>
                                        <p:cTn id="22" dur="500"/>
                                        <p:tgtEl>
                                          <p:spTgt spid="138"/>
                                        </p:tgtEl>
                                      </p:cBhvr>
                                    </p:animEffect>
                                  </p:childTnLst>
                                </p:cTn>
                              </p:par>
                            </p:childTnLst>
                          </p:cTn>
                        </p:par>
                        <p:par>
                          <p:cTn id="23" fill="hold">
                            <p:stCondLst>
                              <p:cond delay="3000"/>
                            </p:stCondLst>
                            <p:childTnLst>
                              <p:par>
                                <p:cTn id="24" presetID="2" presetClass="entr" presetSubtype="8" accel="42000" decel="58000" fill="hold" grpId="0" nodeType="afterEffect">
                                  <p:stCondLst>
                                    <p:cond delay="500"/>
                                  </p:stCondLst>
                                  <p:childTnLst>
                                    <p:set>
                                      <p:cBhvr>
                                        <p:cTn id="25" dur="1" fill="hold">
                                          <p:stCondLst>
                                            <p:cond delay="0"/>
                                          </p:stCondLst>
                                        </p:cTn>
                                        <p:tgtEl>
                                          <p:spTgt spid="139"/>
                                        </p:tgtEl>
                                        <p:attrNameLst>
                                          <p:attrName>style.visibility</p:attrName>
                                        </p:attrNameLst>
                                      </p:cBhvr>
                                      <p:to>
                                        <p:strVal val="visible"/>
                                      </p:to>
                                    </p:set>
                                    <p:anim calcmode="lin" valueType="num">
                                      <p:cBhvr additive="base">
                                        <p:cTn id="26" dur="1000" fill="hold"/>
                                        <p:tgtEl>
                                          <p:spTgt spid="139"/>
                                        </p:tgtEl>
                                        <p:attrNameLst>
                                          <p:attrName>ppt_x</p:attrName>
                                        </p:attrNameLst>
                                      </p:cBhvr>
                                      <p:tavLst>
                                        <p:tav tm="0">
                                          <p:val>
                                            <p:strVal val="0-#ppt_w/2"/>
                                          </p:val>
                                        </p:tav>
                                        <p:tav tm="100000">
                                          <p:val>
                                            <p:strVal val="#ppt_x"/>
                                          </p:val>
                                        </p:tav>
                                      </p:tavLst>
                                    </p:anim>
                                    <p:anim calcmode="lin" valueType="num">
                                      <p:cBhvr additive="base">
                                        <p:cTn id="27" dur="1000" fill="hold"/>
                                        <p:tgtEl>
                                          <p:spTgt spid="139"/>
                                        </p:tgtEl>
                                        <p:attrNameLst>
                                          <p:attrName>ppt_y</p:attrName>
                                        </p:attrNameLst>
                                      </p:cBhvr>
                                      <p:tavLst>
                                        <p:tav tm="0">
                                          <p:val>
                                            <p:strVal val="#ppt_y"/>
                                          </p:val>
                                        </p:tav>
                                        <p:tav tm="100000">
                                          <p:val>
                                            <p:strVal val="#ppt_y"/>
                                          </p:val>
                                        </p:tav>
                                      </p:tavLst>
                                    </p:anim>
                                  </p:childTnLst>
                                </p:cTn>
                              </p:par>
                              <p:par>
                                <p:cTn id="28" presetID="10" presetClass="entr" presetSubtype="0" fill="hold" nodeType="withEffect">
                                  <p:stCondLst>
                                    <p:cond delay="750"/>
                                  </p:stCondLst>
                                  <p:childTnLst>
                                    <p:set>
                                      <p:cBhvr>
                                        <p:cTn id="29" dur="1" fill="hold">
                                          <p:stCondLst>
                                            <p:cond delay="0"/>
                                          </p:stCondLst>
                                        </p:cTn>
                                        <p:tgtEl>
                                          <p:spTgt spid="145"/>
                                        </p:tgtEl>
                                        <p:attrNameLst>
                                          <p:attrName>style.visibility</p:attrName>
                                        </p:attrNameLst>
                                      </p:cBhvr>
                                      <p:to>
                                        <p:strVal val="visible"/>
                                      </p:to>
                                    </p:set>
                                    <p:animEffect transition="in" filter="fade">
                                      <p:cBhvr>
                                        <p:cTn id="30"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animBg="1"/>
      <p:bldP spid="13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18358" y="6410857"/>
            <a:ext cx="10239690" cy="565786"/>
          </a:xfrm>
        </p:spPr>
        <p:txBody>
          <a:bodyPr/>
          <a:lstStyle/>
          <a:p>
            <a:pPr algn="l" fontAlgn="base"/>
            <a:r>
              <a:rPr lang="pt-BR" sz="700" b="0" i="0" dirty="0" err="1">
                <a:solidFill>
                  <a:srgbClr val="1D1D1D"/>
                </a:solidFill>
                <a:effectLst/>
                <a:latin typeface="Arial" panose="020B0604020202020204" pitchFamily="34" charset="0"/>
              </a:rPr>
              <a:t>Medzhitov</a:t>
            </a:r>
            <a:r>
              <a:rPr lang="pt-BR" sz="700" b="0" i="0" dirty="0">
                <a:solidFill>
                  <a:srgbClr val="1D1D1D"/>
                </a:solidFill>
                <a:effectLst/>
                <a:latin typeface="Arial" panose="020B0604020202020204" pitchFamily="34" charset="0"/>
              </a:rPr>
              <a:t> R. </a:t>
            </a:r>
            <a:r>
              <a:rPr lang="pt-BR" sz="700" b="0" i="0" dirty="0" err="1">
                <a:solidFill>
                  <a:srgbClr val="1D1D1D"/>
                </a:solidFill>
                <a:effectLst/>
                <a:latin typeface="Arial" panose="020B0604020202020204" pitchFamily="34" charset="0"/>
              </a:rPr>
              <a:t>Origi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hysiological</a:t>
            </a:r>
            <a:r>
              <a:rPr lang="pt-BR" sz="700" b="0" i="0" dirty="0">
                <a:solidFill>
                  <a:srgbClr val="1D1D1D"/>
                </a:solidFill>
                <a:effectLst/>
                <a:latin typeface="Arial" panose="020B0604020202020204" pitchFamily="34" charset="0"/>
              </a:rPr>
              <a:t> role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flamma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2008 Jul 24;454(7203):428-35.</a:t>
            </a:r>
          </a:p>
          <a:p>
            <a:pPr algn="l" fontAlgn="base"/>
            <a:r>
              <a:rPr lang="pt-BR" sz="700" b="0" i="0" dirty="0">
                <a:solidFill>
                  <a:srgbClr val="1D1D1D"/>
                </a:solidFill>
                <a:effectLst/>
                <a:latin typeface="Arial" panose="020B0604020202020204" pitchFamily="34" charset="0"/>
              </a:rPr>
              <a:t>Cho JH, </a:t>
            </a:r>
            <a:r>
              <a:rPr lang="pt-BR" sz="700" b="0" i="0" dirty="0" err="1">
                <a:solidFill>
                  <a:srgbClr val="1D1D1D"/>
                </a:solidFill>
                <a:effectLst/>
                <a:latin typeface="Arial" panose="020B0604020202020204" pitchFamily="34" charset="0"/>
              </a:rPr>
              <a:t>Gregersen</a:t>
            </a:r>
            <a:r>
              <a:rPr lang="pt-BR" sz="700" b="0" i="0" dirty="0">
                <a:solidFill>
                  <a:srgbClr val="1D1D1D"/>
                </a:solidFill>
                <a:effectLst/>
                <a:latin typeface="Arial" panose="020B0604020202020204" pitchFamily="34" charset="0"/>
              </a:rPr>
              <a:t> PK. </a:t>
            </a:r>
            <a:r>
              <a:rPr lang="pt-BR" sz="700" b="0" i="0" dirty="0" err="1">
                <a:solidFill>
                  <a:srgbClr val="1D1D1D"/>
                </a:solidFill>
                <a:effectLst/>
                <a:latin typeface="Arial" panose="020B0604020202020204" pitchFamily="34" charset="0"/>
              </a:rPr>
              <a:t>Genomic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ultifactori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uma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utoimmun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isease</a:t>
            </a:r>
            <a:r>
              <a:rPr lang="pt-BR" sz="700" b="0" i="0" dirty="0">
                <a:solidFill>
                  <a:srgbClr val="1D1D1D"/>
                </a:solidFill>
                <a:effectLst/>
                <a:latin typeface="Arial" panose="020B0604020202020204" pitchFamily="34" charset="0"/>
              </a:rPr>
              <a:t>.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11 </a:t>
            </a:r>
            <a:r>
              <a:rPr lang="pt-BR" sz="700" b="0" i="0" dirty="0" err="1">
                <a:solidFill>
                  <a:srgbClr val="1D1D1D"/>
                </a:solidFill>
                <a:effectLst/>
                <a:latin typeface="Arial" panose="020B0604020202020204" pitchFamily="34" charset="0"/>
              </a:rPr>
              <a:t>Oct</a:t>
            </a:r>
            <a:r>
              <a:rPr lang="pt-BR" sz="700" b="0" i="0" dirty="0">
                <a:solidFill>
                  <a:srgbClr val="1D1D1D"/>
                </a:solidFill>
                <a:effectLst/>
                <a:latin typeface="Arial" panose="020B0604020202020204" pitchFamily="34" charset="0"/>
              </a:rPr>
              <a:t> 27;365(17):1612-23.</a:t>
            </a:r>
          </a:p>
          <a:p>
            <a:pPr algn="l" fontAlgn="base"/>
            <a:r>
              <a:rPr lang="pt-BR" sz="700" b="0" i="0" dirty="0">
                <a:solidFill>
                  <a:srgbClr val="1D1D1D"/>
                </a:solidFill>
                <a:effectLst/>
                <a:latin typeface="Arial" panose="020B0604020202020204" pitchFamily="34" charset="0"/>
              </a:rPr>
              <a:t>Nathan C. Point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ontrol</a:t>
            </a:r>
            <a:r>
              <a:rPr lang="pt-BR" sz="700" b="0" i="0" dirty="0">
                <a:solidFill>
                  <a:srgbClr val="1D1D1D"/>
                </a:solidFill>
                <a:effectLst/>
                <a:latin typeface="Arial" panose="020B0604020202020204" pitchFamily="34" charset="0"/>
              </a:rPr>
              <a:t> in </a:t>
            </a:r>
            <a:r>
              <a:rPr lang="pt-BR" sz="700" b="0" i="0" dirty="0" err="1">
                <a:solidFill>
                  <a:srgbClr val="1D1D1D"/>
                </a:solidFill>
                <a:effectLst/>
                <a:latin typeface="Arial" panose="020B0604020202020204" pitchFamily="34" charset="0"/>
              </a:rPr>
              <a:t>inflamma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2002 </a:t>
            </a:r>
            <a:r>
              <a:rPr lang="pt-BR" sz="700" b="0" i="0" dirty="0" err="1">
                <a:solidFill>
                  <a:srgbClr val="1D1D1D"/>
                </a:solidFill>
                <a:effectLst/>
                <a:latin typeface="Arial" panose="020B0604020202020204" pitchFamily="34" charset="0"/>
              </a:rPr>
              <a:t>Dec</a:t>
            </a:r>
            <a:r>
              <a:rPr lang="pt-BR" sz="700" b="0" i="0" dirty="0">
                <a:solidFill>
                  <a:srgbClr val="1D1D1D"/>
                </a:solidFill>
                <a:effectLst/>
                <a:latin typeface="Arial" panose="020B0604020202020204" pitchFamily="34" charset="0"/>
              </a:rPr>
              <a:t> 19-26;420(6917):846-52.</a:t>
            </a:r>
          </a:p>
          <a:p>
            <a:pPr algn="l" fontAlgn="base"/>
            <a:r>
              <a:rPr lang="pt-BR" sz="700" b="0" i="0" dirty="0" err="1">
                <a:solidFill>
                  <a:srgbClr val="1D1D1D"/>
                </a:solidFill>
                <a:effectLst/>
                <a:latin typeface="Arial" panose="020B0604020202020204" pitchFamily="34" charset="0"/>
              </a:rPr>
              <a:t>Parkin</a:t>
            </a:r>
            <a:r>
              <a:rPr lang="pt-BR" sz="700" b="0" i="0" dirty="0">
                <a:solidFill>
                  <a:srgbClr val="1D1D1D"/>
                </a:solidFill>
                <a:effectLst/>
                <a:latin typeface="Arial" panose="020B0604020202020204" pitchFamily="34" charset="0"/>
              </a:rPr>
              <a:t> J, Cohen B. </a:t>
            </a:r>
            <a:r>
              <a:rPr lang="pt-BR" sz="700" b="0" i="0" dirty="0" err="1">
                <a:solidFill>
                  <a:srgbClr val="1D1D1D"/>
                </a:solidFill>
                <a:effectLst/>
                <a:latin typeface="Arial" panose="020B0604020202020204" pitchFamily="34" charset="0"/>
              </a:rPr>
              <a:t>An</a:t>
            </a:r>
            <a:r>
              <a:rPr lang="pt-BR" sz="700" b="0" i="0" dirty="0">
                <a:solidFill>
                  <a:srgbClr val="1D1D1D"/>
                </a:solidFill>
                <a:effectLst/>
                <a:latin typeface="Arial" panose="020B0604020202020204" pitchFamily="34" charset="0"/>
              </a:rPr>
              <a:t> overview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system. Lancet. 2001 </a:t>
            </a:r>
            <a:r>
              <a:rPr lang="pt-BR" sz="700" b="0" i="0" dirty="0" err="1">
                <a:solidFill>
                  <a:srgbClr val="1D1D1D"/>
                </a:solidFill>
                <a:effectLst/>
                <a:latin typeface="Arial" panose="020B0604020202020204" pitchFamily="34" charset="0"/>
              </a:rPr>
              <a:t>Jun</a:t>
            </a:r>
            <a:r>
              <a:rPr lang="pt-BR" sz="700" b="0" i="0" dirty="0">
                <a:solidFill>
                  <a:srgbClr val="1D1D1D"/>
                </a:solidFill>
                <a:effectLst/>
                <a:latin typeface="Arial" panose="020B0604020202020204" pitchFamily="34" charset="0"/>
              </a:rPr>
              <a:t> 2;357(9270):1777-89.</a:t>
            </a:r>
          </a:p>
          <a:p>
            <a:endParaRPr lang="pt-BR" sz="700"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Resposta imune inata</a:t>
            </a:r>
          </a:p>
        </p:txBody>
      </p:sp>
      <p:grpSp>
        <p:nvGrpSpPr>
          <p:cNvPr id="379" name="Agrupar 378">
            <a:extLst>
              <a:ext uri="{FF2B5EF4-FFF2-40B4-BE49-F238E27FC236}">
                <a16:creationId xmlns:a16="http://schemas.microsoft.com/office/drawing/2014/main" id="{C21C3F13-FE31-8C00-F160-B2B249BABC30}"/>
              </a:ext>
            </a:extLst>
          </p:cNvPr>
          <p:cNvGrpSpPr/>
          <p:nvPr/>
        </p:nvGrpSpPr>
        <p:grpSpPr>
          <a:xfrm>
            <a:off x="1108405" y="1102706"/>
            <a:ext cx="10616938" cy="5095991"/>
            <a:chOff x="1108405" y="1102706"/>
            <a:chExt cx="10616938" cy="5095991"/>
          </a:xfrm>
        </p:grpSpPr>
        <p:grpSp>
          <p:nvGrpSpPr>
            <p:cNvPr id="6" name="Group 4">
              <a:extLst>
                <a:ext uri="{FF2B5EF4-FFF2-40B4-BE49-F238E27FC236}">
                  <a16:creationId xmlns:a16="http://schemas.microsoft.com/office/drawing/2014/main" id="{7831C44E-1C97-A76F-1CF4-84B744350465}"/>
                </a:ext>
              </a:extLst>
            </p:cNvPr>
            <p:cNvGrpSpPr>
              <a:grpSpLocks/>
            </p:cNvGrpSpPr>
            <p:nvPr/>
          </p:nvGrpSpPr>
          <p:grpSpPr bwMode="auto">
            <a:xfrm>
              <a:off x="2304682" y="2766452"/>
              <a:ext cx="8280322" cy="909288"/>
              <a:chOff x="1402921" y="2478822"/>
              <a:chExt cx="6794459" cy="746764"/>
            </a:xfrm>
          </p:grpSpPr>
          <p:pic>
            <p:nvPicPr>
              <p:cNvPr id="7"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1627C1A6-B2CB-593E-8194-47FBC1475D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745" y="2725756"/>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0A4E1F0-0D75-E596-9B5A-7F374C57A3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81713">
                <a:off x="3045353" y="2640372"/>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D5CD5060-5545-77B6-E69B-712131EDDC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81391">
                <a:off x="1402921" y="2478822"/>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3076A0EF-C228-44D1-A587-C3F0E19191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92851">
                <a:off x="6192075" y="2586554"/>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 name="Picture 324">
              <a:extLst>
                <a:ext uri="{FF2B5EF4-FFF2-40B4-BE49-F238E27FC236}">
                  <a16:creationId xmlns:a16="http://schemas.microsoft.com/office/drawing/2014/main" id="{09CD4C8E-75B5-63C2-854D-495D121883C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20671747">
              <a:off x="8160883" y="2785798"/>
              <a:ext cx="657783" cy="1021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Freeform 2">
              <a:extLst>
                <a:ext uri="{FF2B5EF4-FFF2-40B4-BE49-F238E27FC236}">
                  <a16:creationId xmlns:a16="http://schemas.microsoft.com/office/drawing/2014/main" id="{CB14C37C-D7FB-AA15-9079-0452B6009084}"/>
                </a:ext>
              </a:extLst>
            </p:cNvPr>
            <p:cNvSpPr>
              <a:spLocks/>
            </p:cNvSpPr>
            <p:nvPr/>
          </p:nvSpPr>
          <p:spPr bwMode="auto">
            <a:xfrm>
              <a:off x="2433008" y="2934627"/>
              <a:ext cx="7937460" cy="2837383"/>
            </a:xfrm>
            <a:custGeom>
              <a:avLst/>
              <a:gdLst>
                <a:gd name="connsiteX0" fmla="*/ 19 w 9676"/>
                <a:gd name="connsiteY0" fmla="*/ 8681 h 10000"/>
                <a:gd name="connsiteX1" fmla="*/ 1210 w 9676"/>
                <a:gd name="connsiteY1" fmla="*/ 8367 h 10000"/>
                <a:gd name="connsiteX2" fmla="*/ 1737 w 9676"/>
                <a:gd name="connsiteY2" fmla="*/ 8478 h 10000"/>
                <a:gd name="connsiteX3" fmla="*/ 2921 w 9676"/>
                <a:gd name="connsiteY3" fmla="*/ 8812 h 10000"/>
                <a:gd name="connsiteX4" fmla="*/ 5830 w 9676"/>
                <a:gd name="connsiteY4" fmla="*/ 9840 h 10000"/>
                <a:gd name="connsiteX5" fmla="*/ 7488 w 9676"/>
                <a:gd name="connsiteY5" fmla="*/ 9785 h 10000"/>
                <a:gd name="connsiteX6" fmla="*/ 9365 w 9676"/>
                <a:gd name="connsiteY6" fmla="*/ 8589 h 10000"/>
                <a:gd name="connsiteX7" fmla="*/ 9350 w 9676"/>
                <a:gd name="connsiteY7" fmla="*/ 3002 h 10000"/>
                <a:gd name="connsiteX8" fmla="*/ 9290 w 9676"/>
                <a:gd name="connsiteY8" fmla="*/ 334 h 10000"/>
                <a:gd name="connsiteX9" fmla="*/ 8280 w 9676"/>
                <a:gd name="connsiteY9" fmla="*/ 1001 h 10000"/>
                <a:gd name="connsiteX10" fmla="*/ 5958 w 9676"/>
                <a:gd name="connsiteY10" fmla="*/ 1751 h 10000"/>
                <a:gd name="connsiteX11" fmla="*/ 4029 w 9676"/>
                <a:gd name="connsiteY11" fmla="*/ 1306 h 10000"/>
                <a:gd name="connsiteX12" fmla="*/ 2996 w 9676"/>
                <a:gd name="connsiteY12" fmla="*/ 1028 h 10000"/>
                <a:gd name="connsiteX13" fmla="*/ 2499 w 9676"/>
                <a:gd name="connsiteY13" fmla="*/ 973 h 10000"/>
                <a:gd name="connsiteX14" fmla="*/ 2137 w 9676"/>
                <a:gd name="connsiteY14" fmla="*/ 667 h 10000"/>
                <a:gd name="connsiteX15" fmla="*/ 1489 w 9676"/>
                <a:gd name="connsiteY15" fmla="*/ 473 h 10000"/>
                <a:gd name="connsiteX16" fmla="*/ 825 w 9676"/>
                <a:gd name="connsiteY16" fmla="*/ 3141 h 10000"/>
                <a:gd name="connsiteX17" fmla="*/ 19 w 9676"/>
                <a:gd name="connsiteY17" fmla="*/ 8681 h 1000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583 w 10000"/>
                <a:gd name="connsiteY13" fmla="*/ 1943 h 10970"/>
                <a:gd name="connsiteX14" fmla="*/ 2209 w 10000"/>
                <a:gd name="connsiteY14" fmla="*/ 1637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583 w 10000"/>
                <a:gd name="connsiteY13" fmla="*/ 1943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306 w 10000"/>
                <a:gd name="connsiteY10" fmla="*/ 1530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20 w 10000"/>
                <a:gd name="connsiteY9" fmla="*/ 1530 h 10970"/>
                <a:gd name="connsiteX10" fmla="*/ 6306 w 10000"/>
                <a:gd name="connsiteY10" fmla="*/ 1530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666"/>
                <a:gd name="connsiteY0" fmla="*/ 9855 h 11174"/>
                <a:gd name="connsiteX1" fmla="*/ 1251 w 10666"/>
                <a:gd name="connsiteY1" fmla="*/ 9541 h 11174"/>
                <a:gd name="connsiteX2" fmla="*/ 1795 w 10666"/>
                <a:gd name="connsiteY2" fmla="*/ 9652 h 11174"/>
                <a:gd name="connsiteX3" fmla="*/ 3019 w 10666"/>
                <a:gd name="connsiteY3" fmla="*/ 9986 h 11174"/>
                <a:gd name="connsiteX4" fmla="*/ 6025 w 10666"/>
                <a:gd name="connsiteY4" fmla="*/ 11014 h 11174"/>
                <a:gd name="connsiteX5" fmla="*/ 7739 w 10666"/>
                <a:gd name="connsiteY5" fmla="*/ 10959 h 11174"/>
                <a:gd name="connsiteX6" fmla="*/ 9679 w 10666"/>
                <a:gd name="connsiteY6" fmla="*/ 9763 h 11174"/>
                <a:gd name="connsiteX7" fmla="*/ 9663 w 10666"/>
                <a:gd name="connsiteY7" fmla="*/ 4176 h 11174"/>
                <a:gd name="connsiteX8" fmla="*/ 10645 w 10666"/>
                <a:gd name="connsiteY8" fmla="*/ 334 h 11174"/>
                <a:gd name="connsiteX9" fmla="*/ 8520 w 10666"/>
                <a:gd name="connsiteY9" fmla="*/ 1734 h 11174"/>
                <a:gd name="connsiteX10" fmla="*/ 6306 w 10666"/>
                <a:gd name="connsiteY10" fmla="*/ 1734 h 11174"/>
                <a:gd name="connsiteX11" fmla="*/ 4447 w 10666"/>
                <a:gd name="connsiteY11" fmla="*/ 894 h 11174"/>
                <a:gd name="connsiteX12" fmla="*/ 3561 w 10666"/>
                <a:gd name="connsiteY12" fmla="*/ 894 h 11174"/>
                <a:gd name="connsiteX13" fmla="*/ 2941 w 10666"/>
                <a:gd name="connsiteY13" fmla="*/ 614 h 11174"/>
                <a:gd name="connsiteX14" fmla="*/ 2233 w 10666"/>
                <a:gd name="connsiteY14" fmla="*/ 614 h 11174"/>
                <a:gd name="connsiteX15" fmla="*/ 728 w 10666"/>
                <a:gd name="connsiteY15" fmla="*/ 614 h 11174"/>
                <a:gd name="connsiteX16" fmla="*/ 853 w 10666"/>
                <a:gd name="connsiteY16" fmla="*/ 4315 h 11174"/>
                <a:gd name="connsiteX17" fmla="*/ 20 w 10666"/>
                <a:gd name="connsiteY17" fmla="*/ 9855 h 11174"/>
                <a:gd name="connsiteX0" fmla="*/ 20 w 10400"/>
                <a:gd name="connsiteY0" fmla="*/ 9651 h 10970"/>
                <a:gd name="connsiteX1" fmla="*/ 1251 w 10400"/>
                <a:gd name="connsiteY1" fmla="*/ 9337 h 10970"/>
                <a:gd name="connsiteX2" fmla="*/ 1795 w 10400"/>
                <a:gd name="connsiteY2" fmla="*/ 9448 h 10970"/>
                <a:gd name="connsiteX3" fmla="*/ 3019 w 10400"/>
                <a:gd name="connsiteY3" fmla="*/ 9782 h 10970"/>
                <a:gd name="connsiteX4" fmla="*/ 6025 w 10400"/>
                <a:gd name="connsiteY4" fmla="*/ 10810 h 10970"/>
                <a:gd name="connsiteX5" fmla="*/ 7739 w 10400"/>
                <a:gd name="connsiteY5" fmla="*/ 10755 h 10970"/>
                <a:gd name="connsiteX6" fmla="*/ 9679 w 10400"/>
                <a:gd name="connsiteY6" fmla="*/ 9559 h 10970"/>
                <a:gd name="connsiteX7" fmla="*/ 9663 w 10400"/>
                <a:gd name="connsiteY7" fmla="*/ 3972 h 10970"/>
                <a:gd name="connsiteX8" fmla="*/ 10379 w 10400"/>
                <a:gd name="connsiteY8" fmla="*/ 410 h 10970"/>
                <a:gd name="connsiteX9" fmla="*/ 8520 w 10400"/>
                <a:gd name="connsiteY9" fmla="*/ 1530 h 10970"/>
                <a:gd name="connsiteX10" fmla="*/ 6306 w 10400"/>
                <a:gd name="connsiteY10" fmla="*/ 1530 h 10970"/>
                <a:gd name="connsiteX11" fmla="*/ 4447 w 10400"/>
                <a:gd name="connsiteY11" fmla="*/ 690 h 10970"/>
                <a:gd name="connsiteX12" fmla="*/ 3561 w 10400"/>
                <a:gd name="connsiteY12" fmla="*/ 690 h 10970"/>
                <a:gd name="connsiteX13" fmla="*/ 2941 w 10400"/>
                <a:gd name="connsiteY13" fmla="*/ 410 h 10970"/>
                <a:gd name="connsiteX14" fmla="*/ 2233 w 10400"/>
                <a:gd name="connsiteY14" fmla="*/ 410 h 10970"/>
                <a:gd name="connsiteX15" fmla="*/ 728 w 10400"/>
                <a:gd name="connsiteY15" fmla="*/ 410 h 10970"/>
                <a:gd name="connsiteX16" fmla="*/ 853 w 10400"/>
                <a:gd name="connsiteY16" fmla="*/ 4111 h 10970"/>
                <a:gd name="connsiteX17" fmla="*/ 20 w 10400"/>
                <a:gd name="connsiteY17" fmla="*/ 9651 h 10970"/>
                <a:gd name="connsiteX0" fmla="*/ 20 w 10400"/>
                <a:gd name="connsiteY0" fmla="*/ 9651 h 10970"/>
                <a:gd name="connsiteX1" fmla="*/ 1251 w 10400"/>
                <a:gd name="connsiteY1" fmla="*/ 9337 h 10970"/>
                <a:gd name="connsiteX2" fmla="*/ 1795 w 10400"/>
                <a:gd name="connsiteY2" fmla="*/ 9448 h 10970"/>
                <a:gd name="connsiteX3" fmla="*/ 3019 w 10400"/>
                <a:gd name="connsiteY3" fmla="*/ 9782 h 10970"/>
                <a:gd name="connsiteX4" fmla="*/ 6025 w 10400"/>
                <a:gd name="connsiteY4" fmla="*/ 10810 h 10970"/>
                <a:gd name="connsiteX5" fmla="*/ 7739 w 10400"/>
                <a:gd name="connsiteY5" fmla="*/ 10755 h 10970"/>
                <a:gd name="connsiteX6" fmla="*/ 9679 w 10400"/>
                <a:gd name="connsiteY6" fmla="*/ 9559 h 10970"/>
                <a:gd name="connsiteX7" fmla="*/ 10379 w 10400"/>
                <a:gd name="connsiteY7" fmla="*/ 4331 h 10970"/>
                <a:gd name="connsiteX8" fmla="*/ 10379 w 10400"/>
                <a:gd name="connsiteY8" fmla="*/ 410 h 10970"/>
                <a:gd name="connsiteX9" fmla="*/ 8520 w 10400"/>
                <a:gd name="connsiteY9" fmla="*/ 1530 h 10970"/>
                <a:gd name="connsiteX10" fmla="*/ 6306 w 10400"/>
                <a:gd name="connsiteY10" fmla="*/ 1530 h 10970"/>
                <a:gd name="connsiteX11" fmla="*/ 4447 w 10400"/>
                <a:gd name="connsiteY11" fmla="*/ 690 h 10970"/>
                <a:gd name="connsiteX12" fmla="*/ 3561 w 10400"/>
                <a:gd name="connsiteY12" fmla="*/ 690 h 10970"/>
                <a:gd name="connsiteX13" fmla="*/ 2941 w 10400"/>
                <a:gd name="connsiteY13" fmla="*/ 410 h 10970"/>
                <a:gd name="connsiteX14" fmla="*/ 2233 w 10400"/>
                <a:gd name="connsiteY14" fmla="*/ 410 h 10970"/>
                <a:gd name="connsiteX15" fmla="*/ 728 w 10400"/>
                <a:gd name="connsiteY15" fmla="*/ 410 h 10970"/>
                <a:gd name="connsiteX16" fmla="*/ 853 w 10400"/>
                <a:gd name="connsiteY16" fmla="*/ 4111 h 10970"/>
                <a:gd name="connsiteX17" fmla="*/ 20 w 10400"/>
                <a:gd name="connsiteY17" fmla="*/ 9651 h 10970"/>
                <a:gd name="connsiteX0" fmla="*/ 20 w 10700"/>
                <a:gd name="connsiteY0" fmla="*/ 9651 h 10970"/>
                <a:gd name="connsiteX1" fmla="*/ 1251 w 10700"/>
                <a:gd name="connsiteY1" fmla="*/ 9337 h 10970"/>
                <a:gd name="connsiteX2" fmla="*/ 1795 w 10700"/>
                <a:gd name="connsiteY2" fmla="*/ 9448 h 10970"/>
                <a:gd name="connsiteX3" fmla="*/ 3019 w 10700"/>
                <a:gd name="connsiteY3" fmla="*/ 9782 h 10970"/>
                <a:gd name="connsiteX4" fmla="*/ 6025 w 10700"/>
                <a:gd name="connsiteY4" fmla="*/ 10810 h 10970"/>
                <a:gd name="connsiteX5" fmla="*/ 7739 w 10700"/>
                <a:gd name="connsiteY5" fmla="*/ 10755 h 10970"/>
                <a:gd name="connsiteX6" fmla="*/ 10379 w 10700"/>
                <a:gd name="connsiteY6" fmla="*/ 9651 h 10970"/>
                <a:gd name="connsiteX7" fmla="*/ 10379 w 10700"/>
                <a:gd name="connsiteY7" fmla="*/ 4331 h 10970"/>
                <a:gd name="connsiteX8" fmla="*/ 10379 w 10700"/>
                <a:gd name="connsiteY8" fmla="*/ 410 h 10970"/>
                <a:gd name="connsiteX9" fmla="*/ 8520 w 10700"/>
                <a:gd name="connsiteY9" fmla="*/ 1530 h 10970"/>
                <a:gd name="connsiteX10" fmla="*/ 6306 w 10700"/>
                <a:gd name="connsiteY10" fmla="*/ 1530 h 10970"/>
                <a:gd name="connsiteX11" fmla="*/ 4447 w 10700"/>
                <a:gd name="connsiteY11" fmla="*/ 690 h 10970"/>
                <a:gd name="connsiteX12" fmla="*/ 3561 w 10700"/>
                <a:gd name="connsiteY12" fmla="*/ 690 h 10970"/>
                <a:gd name="connsiteX13" fmla="*/ 2941 w 10700"/>
                <a:gd name="connsiteY13" fmla="*/ 410 h 10970"/>
                <a:gd name="connsiteX14" fmla="*/ 2233 w 10700"/>
                <a:gd name="connsiteY14" fmla="*/ 410 h 10970"/>
                <a:gd name="connsiteX15" fmla="*/ 728 w 10700"/>
                <a:gd name="connsiteY15" fmla="*/ 410 h 10970"/>
                <a:gd name="connsiteX16" fmla="*/ 853 w 10700"/>
                <a:gd name="connsiteY16" fmla="*/ 4111 h 10970"/>
                <a:gd name="connsiteX17" fmla="*/ 20 w 10700"/>
                <a:gd name="connsiteY17" fmla="*/ 9651 h 10970"/>
                <a:gd name="connsiteX0" fmla="*/ 20 w 10526"/>
                <a:gd name="connsiteY0" fmla="*/ 9651 h 10970"/>
                <a:gd name="connsiteX1" fmla="*/ 1251 w 10526"/>
                <a:gd name="connsiteY1" fmla="*/ 9337 h 10970"/>
                <a:gd name="connsiteX2" fmla="*/ 1795 w 10526"/>
                <a:gd name="connsiteY2" fmla="*/ 9448 h 10970"/>
                <a:gd name="connsiteX3" fmla="*/ 3019 w 10526"/>
                <a:gd name="connsiteY3" fmla="*/ 9782 h 10970"/>
                <a:gd name="connsiteX4" fmla="*/ 6025 w 10526"/>
                <a:gd name="connsiteY4" fmla="*/ 10810 h 10970"/>
                <a:gd name="connsiteX5" fmla="*/ 7739 w 10526"/>
                <a:gd name="connsiteY5" fmla="*/ 10755 h 10970"/>
                <a:gd name="connsiteX6" fmla="*/ 10379 w 10526"/>
                <a:gd name="connsiteY6" fmla="*/ 9651 h 10970"/>
                <a:gd name="connsiteX7" fmla="*/ 10379 w 10526"/>
                <a:gd name="connsiteY7" fmla="*/ 4331 h 10970"/>
                <a:gd name="connsiteX8" fmla="*/ 10379 w 10526"/>
                <a:gd name="connsiteY8" fmla="*/ 410 h 10970"/>
                <a:gd name="connsiteX9" fmla="*/ 8520 w 10526"/>
                <a:gd name="connsiteY9" fmla="*/ 1530 h 10970"/>
                <a:gd name="connsiteX10" fmla="*/ 6306 w 10526"/>
                <a:gd name="connsiteY10" fmla="*/ 1530 h 10970"/>
                <a:gd name="connsiteX11" fmla="*/ 4447 w 10526"/>
                <a:gd name="connsiteY11" fmla="*/ 690 h 10970"/>
                <a:gd name="connsiteX12" fmla="*/ 3561 w 10526"/>
                <a:gd name="connsiteY12" fmla="*/ 690 h 10970"/>
                <a:gd name="connsiteX13" fmla="*/ 2941 w 10526"/>
                <a:gd name="connsiteY13" fmla="*/ 410 h 10970"/>
                <a:gd name="connsiteX14" fmla="*/ 2233 w 10526"/>
                <a:gd name="connsiteY14" fmla="*/ 410 h 10970"/>
                <a:gd name="connsiteX15" fmla="*/ 728 w 10526"/>
                <a:gd name="connsiteY15" fmla="*/ 410 h 10970"/>
                <a:gd name="connsiteX16" fmla="*/ 853 w 10526"/>
                <a:gd name="connsiteY16" fmla="*/ 4111 h 10970"/>
                <a:gd name="connsiteX17" fmla="*/ 20 w 10526"/>
                <a:gd name="connsiteY17" fmla="*/ 9651 h 10970"/>
                <a:gd name="connsiteX0" fmla="*/ 20 w 10526"/>
                <a:gd name="connsiteY0" fmla="*/ 9651 h 10928"/>
                <a:gd name="connsiteX1" fmla="*/ 1251 w 10526"/>
                <a:gd name="connsiteY1" fmla="*/ 9337 h 10928"/>
                <a:gd name="connsiteX2" fmla="*/ 1795 w 10526"/>
                <a:gd name="connsiteY2" fmla="*/ 9448 h 10928"/>
                <a:gd name="connsiteX3" fmla="*/ 3019 w 10526"/>
                <a:gd name="connsiteY3" fmla="*/ 9782 h 10928"/>
                <a:gd name="connsiteX4" fmla="*/ 6025 w 10526"/>
                <a:gd name="connsiteY4" fmla="*/ 10810 h 10928"/>
                <a:gd name="connsiteX5" fmla="*/ 7723 w 10526"/>
                <a:gd name="connsiteY5" fmla="*/ 10492 h 10928"/>
                <a:gd name="connsiteX6" fmla="*/ 10379 w 10526"/>
                <a:gd name="connsiteY6" fmla="*/ 9651 h 10928"/>
                <a:gd name="connsiteX7" fmla="*/ 10379 w 10526"/>
                <a:gd name="connsiteY7" fmla="*/ 4331 h 10928"/>
                <a:gd name="connsiteX8" fmla="*/ 10379 w 10526"/>
                <a:gd name="connsiteY8" fmla="*/ 410 h 10928"/>
                <a:gd name="connsiteX9" fmla="*/ 8520 w 10526"/>
                <a:gd name="connsiteY9" fmla="*/ 1530 h 10928"/>
                <a:gd name="connsiteX10" fmla="*/ 6306 w 10526"/>
                <a:gd name="connsiteY10" fmla="*/ 1530 h 10928"/>
                <a:gd name="connsiteX11" fmla="*/ 4447 w 10526"/>
                <a:gd name="connsiteY11" fmla="*/ 690 h 10928"/>
                <a:gd name="connsiteX12" fmla="*/ 3561 w 10526"/>
                <a:gd name="connsiteY12" fmla="*/ 690 h 10928"/>
                <a:gd name="connsiteX13" fmla="*/ 2941 w 10526"/>
                <a:gd name="connsiteY13" fmla="*/ 410 h 10928"/>
                <a:gd name="connsiteX14" fmla="*/ 2233 w 10526"/>
                <a:gd name="connsiteY14" fmla="*/ 410 h 10928"/>
                <a:gd name="connsiteX15" fmla="*/ 728 w 10526"/>
                <a:gd name="connsiteY15" fmla="*/ 410 h 10928"/>
                <a:gd name="connsiteX16" fmla="*/ 853 w 10526"/>
                <a:gd name="connsiteY16" fmla="*/ 4111 h 10928"/>
                <a:gd name="connsiteX17" fmla="*/ 20 w 10526"/>
                <a:gd name="connsiteY17" fmla="*/ 9651 h 10928"/>
                <a:gd name="connsiteX0" fmla="*/ 20 w 10526"/>
                <a:gd name="connsiteY0" fmla="*/ 9651 h 10700"/>
                <a:gd name="connsiteX1" fmla="*/ 1251 w 10526"/>
                <a:gd name="connsiteY1" fmla="*/ 9337 h 10700"/>
                <a:gd name="connsiteX2" fmla="*/ 1795 w 10526"/>
                <a:gd name="connsiteY2" fmla="*/ 9448 h 10700"/>
                <a:gd name="connsiteX3" fmla="*/ 3019 w 10526"/>
                <a:gd name="connsiteY3" fmla="*/ 9782 h 10700"/>
                <a:gd name="connsiteX4" fmla="*/ 5952 w 10526"/>
                <a:gd name="connsiteY4" fmla="*/ 10212 h 10700"/>
                <a:gd name="connsiteX5" fmla="*/ 7723 w 10526"/>
                <a:gd name="connsiteY5" fmla="*/ 10492 h 10700"/>
                <a:gd name="connsiteX6" fmla="*/ 10379 w 10526"/>
                <a:gd name="connsiteY6" fmla="*/ 9651 h 10700"/>
                <a:gd name="connsiteX7" fmla="*/ 10379 w 10526"/>
                <a:gd name="connsiteY7" fmla="*/ 4331 h 10700"/>
                <a:gd name="connsiteX8" fmla="*/ 10379 w 10526"/>
                <a:gd name="connsiteY8" fmla="*/ 410 h 10700"/>
                <a:gd name="connsiteX9" fmla="*/ 8520 w 10526"/>
                <a:gd name="connsiteY9" fmla="*/ 1530 h 10700"/>
                <a:gd name="connsiteX10" fmla="*/ 6306 w 10526"/>
                <a:gd name="connsiteY10" fmla="*/ 1530 h 10700"/>
                <a:gd name="connsiteX11" fmla="*/ 4447 w 10526"/>
                <a:gd name="connsiteY11" fmla="*/ 690 h 10700"/>
                <a:gd name="connsiteX12" fmla="*/ 3561 w 10526"/>
                <a:gd name="connsiteY12" fmla="*/ 690 h 10700"/>
                <a:gd name="connsiteX13" fmla="*/ 2941 w 10526"/>
                <a:gd name="connsiteY13" fmla="*/ 410 h 10700"/>
                <a:gd name="connsiteX14" fmla="*/ 2233 w 10526"/>
                <a:gd name="connsiteY14" fmla="*/ 410 h 10700"/>
                <a:gd name="connsiteX15" fmla="*/ 728 w 10526"/>
                <a:gd name="connsiteY15" fmla="*/ 410 h 10700"/>
                <a:gd name="connsiteX16" fmla="*/ 853 w 10526"/>
                <a:gd name="connsiteY16" fmla="*/ 4111 h 10700"/>
                <a:gd name="connsiteX17" fmla="*/ 20 w 10526"/>
                <a:gd name="connsiteY17" fmla="*/ 9651 h 10700"/>
                <a:gd name="connsiteX0" fmla="*/ 20 w 10526"/>
                <a:gd name="connsiteY0" fmla="*/ 9651 h 10700"/>
                <a:gd name="connsiteX1" fmla="*/ 1251 w 10526"/>
                <a:gd name="connsiteY1" fmla="*/ 9337 h 10700"/>
                <a:gd name="connsiteX2" fmla="*/ 1795 w 10526"/>
                <a:gd name="connsiteY2" fmla="*/ 9448 h 10700"/>
                <a:gd name="connsiteX3" fmla="*/ 3019 w 10526"/>
                <a:gd name="connsiteY3" fmla="*/ 9782 h 10700"/>
                <a:gd name="connsiteX4" fmla="*/ 5952 w 10526"/>
                <a:gd name="connsiteY4" fmla="*/ 10212 h 10700"/>
                <a:gd name="connsiteX5" fmla="*/ 7723 w 10526"/>
                <a:gd name="connsiteY5" fmla="*/ 10492 h 10700"/>
                <a:gd name="connsiteX6" fmla="*/ 10379 w 10526"/>
                <a:gd name="connsiteY6" fmla="*/ 9651 h 10700"/>
                <a:gd name="connsiteX7" fmla="*/ 10379 w 10526"/>
                <a:gd name="connsiteY7" fmla="*/ 4331 h 10700"/>
                <a:gd name="connsiteX8" fmla="*/ 10379 w 10526"/>
                <a:gd name="connsiteY8" fmla="*/ 410 h 10700"/>
                <a:gd name="connsiteX9" fmla="*/ 8520 w 10526"/>
                <a:gd name="connsiteY9" fmla="*/ 1530 h 10700"/>
                <a:gd name="connsiteX10" fmla="*/ 6306 w 10526"/>
                <a:gd name="connsiteY10" fmla="*/ 1530 h 10700"/>
                <a:gd name="connsiteX11" fmla="*/ 4447 w 10526"/>
                <a:gd name="connsiteY11" fmla="*/ 690 h 10700"/>
                <a:gd name="connsiteX12" fmla="*/ 3561 w 10526"/>
                <a:gd name="connsiteY12" fmla="*/ 690 h 10700"/>
                <a:gd name="connsiteX13" fmla="*/ 2941 w 10526"/>
                <a:gd name="connsiteY13" fmla="*/ 410 h 10700"/>
                <a:gd name="connsiteX14" fmla="*/ 2233 w 10526"/>
                <a:gd name="connsiteY14" fmla="*/ 410 h 10700"/>
                <a:gd name="connsiteX15" fmla="*/ 728 w 10526"/>
                <a:gd name="connsiteY15" fmla="*/ 410 h 10700"/>
                <a:gd name="connsiteX16" fmla="*/ 816 w 10526"/>
                <a:gd name="connsiteY16" fmla="*/ 3490 h 10700"/>
                <a:gd name="connsiteX17" fmla="*/ 20 w 10526"/>
                <a:gd name="connsiteY17" fmla="*/ 965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177 w 9798"/>
                <a:gd name="connsiteY0" fmla="*/ 7691 h 10700"/>
                <a:gd name="connsiteX1" fmla="*/ 523 w 9798"/>
                <a:gd name="connsiteY1" fmla="*/ 9337 h 10700"/>
                <a:gd name="connsiteX2" fmla="*/ 1067 w 9798"/>
                <a:gd name="connsiteY2" fmla="*/ 9448 h 10700"/>
                <a:gd name="connsiteX3" fmla="*/ 2291 w 9798"/>
                <a:gd name="connsiteY3" fmla="*/ 9782 h 10700"/>
                <a:gd name="connsiteX4" fmla="*/ 5224 w 9798"/>
                <a:gd name="connsiteY4" fmla="*/ 10212 h 10700"/>
                <a:gd name="connsiteX5" fmla="*/ 6995 w 9798"/>
                <a:gd name="connsiteY5" fmla="*/ 10492 h 10700"/>
                <a:gd name="connsiteX6" fmla="*/ 9651 w 9798"/>
                <a:gd name="connsiteY6" fmla="*/ 9651 h 10700"/>
                <a:gd name="connsiteX7" fmla="*/ 9651 w 9798"/>
                <a:gd name="connsiteY7" fmla="*/ 4331 h 10700"/>
                <a:gd name="connsiteX8" fmla="*/ 9651 w 9798"/>
                <a:gd name="connsiteY8" fmla="*/ 410 h 10700"/>
                <a:gd name="connsiteX9" fmla="*/ 7792 w 9798"/>
                <a:gd name="connsiteY9" fmla="*/ 1530 h 10700"/>
                <a:gd name="connsiteX10" fmla="*/ 5578 w 9798"/>
                <a:gd name="connsiteY10" fmla="*/ 1530 h 10700"/>
                <a:gd name="connsiteX11" fmla="*/ 3719 w 9798"/>
                <a:gd name="connsiteY11" fmla="*/ 690 h 10700"/>
                <a:gd name="connsiteX12" fmla="*/ 2833 w 9798"/>
                <a:gd name="connsiteY12" fmla="*/ 690 h 10700"/>
                <a:gd name="connsiteX13" fmla="*/ 2213 w 9798"/>
                <a:gd name="connsiteY13" fmla="*/ 410 h 10700"/>
                <a:gd name="connsiteX14" fmla="*/ 1505 w 9798"/>
                <a:gd name="connsiteY14" fmla="*/ 410 h 10700"/>
                <a:gd name="connsiteX15" fmla="*/ 0 w 9798"/>
                <a:gd name="connsiteY15" fmla="*/ 410 h 10700"/>
                <a:gd name="connsiteX16" fmla="*/ 88 w 9798"/>
                <a:gd name="connsiteY16" fmla="*/ 3490 h 10700"/>
                <a:gd name="connsiteX17" fmla="*/ 177 w 9798"/>
                <a:gd name="connsiteY17" fmla="*/ 7691 h 10700"/>
                <a:gd name="connsiteX0" fmla="*/ 181 w 10000"/>
                <a:gd name="connsiteY0" fmla="*/ 7188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181 w 10000"/>
                <a:gd name="connsiteY17" fmla="*/ 7188 h 10000"/>
                <a:gd name="connsiteX0" fmla="*/ 271 w 10000"/>
                <a:gd name="connsiteY0" fmla="*/ 6926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271 w 10000"/>
                <a:gd name="connsiteY17" fmla="*/ 6926 h 10000"/>
                <a:gd name="connsiteX0" fmla="*/ 271 w 10000"/>
                <a:gd name="connsiteY0" fmla="*/ 6926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271 w 10000"/>
                <a:gd name="connsiteY17" fmla="*/ 6926 h 10000"/>
                <a:gd name="connsiteX0" fmla="*/ 362 w 10091"/>
                <a:gd name="connsiteY0" fmla="*/ 7188 h 10262"/>
                <a:gd name="connsiteX1" fmla="*/ 625 w 10091"/>
                <a:gd name="connsiteY1" fmla="*/ 8988 h 10262"/>
                <a:gd name="connsiteX2" fmla="*/ 1180 w 10091"/>
                <a:gd name="connsiteY2" fmla="*/ 9092 h 10262"/>
                <a:gd name="connsiteX3" fmla="*/ 2429 w 10091"/>
                <a:gd name="connsiteY3" fmla="*/ 9404 h 10262"/>
                <a:gd name="connsiteX4" fmla="*/ 5423 w 10091"/>
                <a:gd name="connsiteY4" fmla="*/ 9806 h 10262"/>
                <a:gd name="connsiteX5" fmla="*/ 7230 w 10091"/>
                <a:gd name="connsiteY5" fmla="*/ 10068 h 10262"/>
                <a:gd name="connsiteX6" fmla="*/ 9941 w 10091"/>
                <a:gd name="connsiteY6" fmla="*/ 9282 h 10262"/>
                <a:gd name="connsiteX7" fmla="*/ 9941 w 10091"/>
                <a:gd name="connsiteY7" fmla="*/ 4310 h 10262"/>
                <a:gd name="connsiteX8" fmla="*/ 9941 w 10091"/>
                <a:gd name="connsiteY8" fmla="*/ 645 h 10262"/>
                <a:gd name="connsiteX9" fmla="*/ 8044 w 10091"/>
                <a:gd name="connsiteY9" fmla="*/ 1692 h 10262"/>
                <a:gd name="connsiteX10" fmla="*/ 5784 w 10091"/>
                <a:gd name="connsiteY10" fmla="*/ 1692 h 10262"/>
                <a:gd name="connsiteX11" fmla="*/ 3887 w 10091"/>
                <a:gd name="connsiteY11" fmla="*/ 907 h 10262"/>
                <a:gd name="connsiteX12" fmla="*/ 2982 w 10091"/>
                <a:gd name="connsiteY12" fmla="*/ 907 h 10262"/>
                <a:gd name="connsiteX13" fmla="*/ 2350 w 10091"/>
                <a:gd name="connsiteY13" fmla="*/ 645 h 10262"/>
                <a:gd name="connsiteX14" fmla="*/ 1627 w 10091"/>
                <a:gd name="connsiteY14" fmla="*/ 645 h 10262"/>
                <a:gd name="connsiteX15" fmla="*/ 0 w 10091"/>
                <a:gd name="connsiteY15" fmla="*/ 383 h 10262"/>
                <a:gd name="connsiteX16" fmla="*/ 181 w 10091"/>
                <a:gd name="connsiteY16" fmla="*/ 3524 h 10262"/>
                <a:gd name="connsiteX17" fmla="*/ 362 w 10091"/>
                <a:gd name="connsiteY17" fmla="*/ 7188 h 10262"/>
                <a:gd name="connsiteX0" fmla="*/ 362 w 10091"/>
                <a:gd name="connsiteY0" fmla="*/ 7188 h 10262"/>
                <a:gd name="connsiteX1" fmla="*/ 625 w 10091"/>
                <a:gd name="connsiteY1" fmla="*/ 8988 h 10262"/>
                <a:gd name="connsiteX2" fmla="*/ 1180 w 10091"/>
                <a:gd name="connsiteY2" fmla="*/ 9092 h 10262"/>
                <a:gd name="connsiteX3" fmla="*/ 2429 w 10091"/>
                <a:gd name="connsiteY3" fmla="*/ 9404 h 10262"/>
                <a:gd name="connsiteX4" fmla="*/ 5423 w 10091"/>
                <a:gd name="connsiteY4" fmla="*/ 9806 h 10262"/>
                <a:gd name="connsiteX5" fmla="*/ 7230 w 10091"/>
                <a:gd name="connsiteY5" fmla="*/ 10068 h 10262"/>
                <a:gd name="connsiteX6" fmla="*/ 9941 w 10091"/>
                <a:gd name="connsiteY6" fmla="*/ 9282 h 10262"/>
                <a:gd name="connsiteX7" fmla="*/ 9941 w 10091"/>
                <a:gd name="connsiteY7" fmla="*/ 4310 h 10262"/>
                <a:gd name="connsiteX8" fmla="*/ 9941 w 10091"/>
                <a:gd name="connsiteY8" fmla="*/ 645 h 10262"/>
                <a:gd name="connsiteX9" fmla="*/ 8044 w 10091"/>
                <a:gd name="connsiteY9" fmla="*/ 1692 h 10262"/>
                <a:gd name="connsiteX10" fmla="*/ 5784 w 10091"/>
                <a:gd name="connsiteY10" fmla="*/ 1692 h 10262"/>
                <a:gd name="connsiteX11" fmla="*/ 3887 w 10091"/>
                <a:gd name="connsiteY11" fmla="*/ 907 h 10262"/>
                <a:gd name="connsiteX12" fmla="*/ 2982 w 10091"/>
                <a:gd name="connsiteY12" fmla="*/ 907 h 10262"/>
                <a:gd name="connsiteX13" fmla="*/ 2350 w 10091"/>
                <a:gd name="connsiteY13" fmla="*/ 645 h 10262"/>
                <a:gd name="connsiteX14" fmla="*/ 1627 w 10091"/>
                <a:gd name="connsiteY14" fmla="*/ 645 h 10262"/>
                <a:gd name="connsiteX15" fmla="*/ 0 w 10091"/>
                <a:gd name="connsiteY15" fmla="*/ 383 h 10262"/>
                <a:gd name="connsiteX16" fmla="*/ 181 w 10091"/>
                <a:gd name="connsiteY16" fmla="*/ 3262 h 10262"/>
                <a:gd name="connsiteX17" fmla="*/ 362 w 10091"/>
                <a:gd name="connsiteY17" fmla="*/ 7188 h 10262"/>
                <a:gd name="connsiteX0" fmla="*/ 362 w 10226"/>
                <a:gd name="connsiteY0" fmla="*/ 7188 h 10262"/>
                <a:gd name="connsiteX1" fmla="*/ 625 w 10226"/>
                <a:gd name="connsiteY1" fmla="*/ 8988 h 10262"/>
                <a:gd name="connsiteX2" fmla="*/ 1180 w 10226"/>
                <a:gd name="connsiteY2" fmla="*/ 9092 h 10262"/>
                <a:gd name="connsiteX3" fmla="*/ 2429 w 10226"/>
                <a:gd name="connsiteY3" fmla="*/ 9404 h 10262"/>
                <a:gd name="connsiteX4" fmla="*/ 5423 w 10226"/>
                <a:gd name="connsiteY4" fmla="*/ 9806 h 10262"/>
                <a:gd name="connsiteX5" fmla="*/ 7230 w 10226"/>
                <a:gd name="connsiteY5" fmla="*/ 10068 h 10262"/>
                <a:gd name="connsiteX6" fmla="*/ 9941 w 10226"/>
                <a:gd name="connsiteY6" fmla="*/ 9282 h 10262"/>
                <a:gd name="connsiteX7" fmla="*/ 10212 w 10226"/>
                <a:gd name="connsiteY7" fmla="*/ 4571 h 10262"/>
                <a:gd name="connsiteX8" fmla="*/ 9941 w 10226"/>
                <a:gd name="connsiteY8" fmla="*/ 645 h 10262"/>
                <a:gd name="connsiteX9" fmla="*/ 8044 w 10226"/>
                <a:gd name="connsiteY9" fmla="*/ 1692 h 10262"/>
                <a:gd name="connsiteX10" fmla="*/ 5784 w 10226"/>
                <a:gd name="connsiteY10" fmla="*/ 1692 h 10262"/>
                <a:gd name="connsiteX11" fmla="*/ 3887 w 10226"/>
                <a:gd name="connsiteY11" fmla="*/ 907 h 10262"/>
                <a:gd name="connsiteX12" fmla="*/ 2982 w 10226"/>
                <a:gd name="connsiteY12" fmla="*/ 907 h 10262"/>
                <a:gd name="connsiteX13" fmla="*/ 2350 w 10226"/>
                <a:gd name="connsiteY13" fmla="*/ 645 h 10262"/>
                <a:gd name="connsiteX14" fmla="*/ 1627 w 10226"/>
                <a:gd name="connsiteY14" fmla="*/ 645 h 10262"/>
                <a:gd name="connsiteX15" fmla="*/ 0 w 10226"/>
                <a:gd name="connsiteY15" fmla="*/ 383 h 10262"/>
                <a:gd name="connsiteX16" fmla="*/ 181 w 10226"/>
                <a:gd name="connsiteY16" fmla="*/ 3262 h 10262"/>
                <a:gd name="connsiteX17" fmla="*/ 362 w 10226"/>
                <a:gd name="connsiteY17" fmla="*/ 7188 h 10262"/>
                <a:gd name="connsiteX0" fmla="*/ 362 w 10362"/>
                <a:gd name="connsiteY0" fmla="*/ 7188 h 10262"/>
                <a:gd name="connsiteX1" fmla="*/ 625 w 10362"/>
                <a:gd name="connsiteY1" fmla="*/ 8988 h 10262"/>
                <a:gd name="connsiteX2" fmla="*/ 1180 w 10362"/>
                <a:gd name="connsiteY2" fmla="*/ 9092 h 10262"/>
                <a:gd name="connsiteX3" fmla="*/ 2429 w 10362"/>
                <a:gd name="connsiteY3" fmla="*/ 9404 h 10262"/>
                <a:gd name="connsiteX4" fmla="*/ 5423 w 10362"/>
                <a:gd name="connsiteY4" fmla="*/ 9806 h 10262"/>
                <a:gd name="connsiteX5" fmla="*/ 7230 w 10362"/>
                <a:gd name="connsiteY5" fmla="*/ 10068 h 10262"/>
                <a:gd name="connsiteX6" fmla="*/ 10212 w 10362"/>
                <a:gd name="connsiteY6" fmla="*/ 9282 h 10262"/>
                <a:gd name="connsiteX7" fmla="*/ 10212 w 10362"/>
                <a:gd name="connsiteY7" fmla="*/ 4571 h 10262"/>
                <a:gd name="connsiteX8" fmla="*/ 9941 w 10362"/>
                <a:gd name="connsiteY8" fmla="*/ 645 h 10262"/>
                <a:gd name="connsiteX9" fmla="*/ 8044 w 10362"/>
                <a:gd name="connsiteY9" fmla="*/ 1692 h 10262"/>
                <a:gd name="connsiteX10" fmla="*/ 5784 w 10362"/>
                <a:gd name="connsiteY10" fmla="*/ 1692 h 10262"/>
                <a:gd name="connsiteX11" fmla="*/ 3887 w 10362"/>
                <a:gd name="connsiteY11" fmla="*/ 907 h 10262"/>
                <a:gd name="connsiteX12" fmla="*/ 2982 w 10362"/>
                <a:gd name="connsiteY12" fmla="*/ 907 h 10262"/>
                <a:gd name="connsiteX13" fmla="*/ 2350 w 10362"/>
                <a:gd name="connsiteY13" fmla="*/ 645 h 10262"/>
                <a:gd name="connsiteX14" fmla="*/ 1627 w 10362"/>
                <a:gd name="connsiteY14" fmla="*/ 645 h 10262"/>
                <a:gd name="connsiteX15" fmla="*/ 0 w 10362"/>
                <a:gd name="connsiteY15" fmla="*/ 383 h 10262"/>
                <a:gd name="connsiteX16" fmla="*/ 181 w 10362"/>
                <a:gd name="connsiteY16" fmla="*/ 3262 h 10262"/>
                <a:gd name="connsiteX17" fmla="*/ 362 w 10362"/>
                <a:gd name="connsiteY17" fmla="*/ 7188 h 10262"/>
                <a:gd name="connsiteX0" fmla="*/ 362 w 10326"/>
                <a:gd name="connsiteY0" fmla="*/ 7188 h 10262"/>
                <a:gd name="connsiteX1" fmla="*/ 625 w 10326"/>
                <a:gd name="connsiteY1" fmla="*/ 8988 h 10262"/>
                <a:gd name="connsiteX2" fmla="*/ 1180 w 10326"/>
                <a:gd name="connsiteY2" fmla="*/ 9092 h 10262"/>
                <a:gd name="connsiteX3" fmla="*/ 2429 w 10326"/>
                <a:gd name="connsiteY3" fmla="*/ 9404 h 10262"/>
                <a:gd name="connsiteX4" fmla="*/ 5423 w 10326"/>
                <a:gd name="connsiteY4" fmla="*/ 9806 h 10262"/>
                <a:gd name="connsiteX5" fmla="*/ 7230 w 10326"/>
                <a:gd name="connsiteY5" fmla="*/ 10068 h 10262"/>
                <a:gd name="connsiteX6" fmla="*/ 10212 w 10326"/>
                <a:gd name="connsiteY6" fmla="*/ 9282 h 10262"/>
                <a:gd name="connsiteX7" fmla="*/ 10212 w 10326"/>
                <a:gd name="connsiteY7" fmla="*/ 4571 h 10262"/>
                <a:gd name="connsiteX8" fmla="*/ 9941 w 10326"/>
                <a:gd name="connsiteY8" fmla="*/ 645 h 10262"/>
                <a:gd name="connsiteX9" fmla="*/ 8044 w 10326"/>
                <a:gd name="connsiteY9" fmla="*/ 1692 h 10262"/>
                <a:gd name="connsiteX10" fmla="*/ 5784 w 10326"/>
                <a:gd name="connsiteY10" fmla="*/ 1692 h 10262"/>
                <a:gd name="connsiteX11" fmla="*/ 3887 w 10326"/>
                <a:gd name="connsiteY11" fmla="*/ 907 h 10262"/>
                <a:gd name="connsiteX12" fmla="*/ 2982 w 10326"/>
                <a:gd name="connsiteY12" fmla="*/ 907 h 10262"/>
                <a:gd name="connsiteX13" fmla="*/ 2350 w 10326"/>
                <a:gd name="connsiteY13" fmla="*/ 645 h 10262"/>
                <a:gd name="connsiteX14" fmla="*/ 1627 w 10326"/>
                <a:gd name="connsiteY14" fmla="*/ 645 h 10262"/>
                <a:gd name="connsiteX15" fmla="*/ 0 w 10326"/>
                <a:gd name="connsiteY15" fmla="*/ 383 h 10262"/>
                <a:gd name="connsiteX16" fmla="*/ 181 w 10326"/>
                <a:gd name="connsiteY16" fmla="*/ 3262 h 10262"/>
                <a:gd name="connsiteX17" fmla="*/ 362 w 10326"/>
                <a:gd name="connsiteY17" fmla="*/ 7188 h 10262"/>
                <a:gd name="connsiteX0" fmla="*/ 362 w 10255"/>
                <a:gd name="connsiteY0" fmla="*/ 7188 h 10262"/>
                <a:gd name="connsiteX1" fmla="*/ 625 w 10255"/>
                <a:gd name="connsiteY1" fmla="*/ 8988 h 10262"/>
                <a:gd name="connsiteX2" fmla="*/ 1180 w 10255"/>
                <a:gd name="connsiteY2" fmla="*/ 9092 h 10262"/>
                <a:gd name="connsiteX3" fmla="*/ 2429 w 10255"/>
                <a:gd name="connsiteY3" fmla="*/ 9404 h 10262"/>
                <a:gd name="connsiteX4" fmla="*/ 5423 w 10255"/>
                <a:gd name="connsiteY4" fmla="*/ 9806 h 10262"/>
                <a:gd name="connsiteX5" fmla="*/ 7230 w 10255"/>
                <a:gd name="connsiteY5" fmla="*/ 10068 h 10262"/>
                <a:gd name="connsiteX6" fmla="*/ 10212 w 10255"/>
                <a:gd name="connsiteY6" fmla="*/ 9282 h 10262"/>
                <a:gd name="connsiteX7" fmla="*/ 10212 w 10255"/>
                <a:gd name="connsiteY7" fmla="*/ 4571 h 10262"/>
                <a:gd name="connsiteX8" fmla="*/ 9941 w 10255"/>
                <a:gd name="connsiteY8" fmla="*/ 645 h 10262"/>
                <a:gd name="connsiteX9" fmla="*/ 8044 w 10255"/>
                <a:gd name="connsiteY9" fmla="*/ 1692 h 10262"/>
                <a:gd name="connsiteX10" fmla="*/ 5784 w 10255"/>
                <a:gd name="connsiteY10" fmla="*/ 1692 h 10262"/>
                <a:gd name="connsiteX11" fmla="*/ 3887 w 10255"/>
                <a:gd name="connsiteY11" fmla="*/ 907 h 10262"/>
                <a:gd name="connsiteX12" fmla="*/ 2982 w 10255"/>
                <a:gd name="connsiteY12" fmla="*/ 907 h 10262"/>
                <a:gd name="connsiteX13" fmla="*/ 2350 w 10255"/>
                <a:gd name="connsiteY13" fmla="*/ 645 h 10262"/>
                <a:gd name="connsiteX14" fmla="*/ 1627 w 10255"/>
                <a:gd name="connsiteY14" fmla="*/ 645 h 10262"/>
                <a:gd name="connsiteX15" fmla="*/ 0 w 10255"/>
                <a:gd name="connsiteY15" fmla="*/ 383 h 10262"/>
                <a:gd name="connsiteX16" fmla="*/ 181 w 10255"/>
                <a:gd name="connsiteY16" fmla="*/ 3262 h 10262"/>
                <a:gd name="connsiteX17" fmla="*/ 362 w 10255"/>
                <a:gd name="connsiteY17" fmla="*/ 7188 h 10262"/>
                <a:gd name="connsiteX0" fmla="*/ 362 w 10237"/>
                <a:gd name="connsiteY0" fmla="*/ 7188 h 10262"/>
                <a:gd name="connsiteX1" fmla="*/ 625 w 10237"/>
                <a:gd name="connsiteY1" fmla="*/ 8988 h 10262"/>
                <a:gd name="connsiteX2" fmla="*/ 1180 w 10237"/>
                <a:gd name="connsiteY2" fmla="*/ 9092 h 10262"/>
                <a:gd name="connsiteX3" fmla="*/ 2429 w 10237"/>
                <a:gd name="connsiteY3" fmla="*/ 9404 h 10262"/>
                <a:gd name="connsiteX4" fmla="*/ 5423 w 10237"/>
                <a:gd name="connsiteY4" fmla="*/ 9806 h 10262"/>
                <a:gd name="connsiteX5" fmla="*/ 7230 w 10237"/>
                <a:gd name="connsiteY5" fmla="*/ 10068 h 10262"/>
                <a:gd name="connsiteX6" fmla="*/ 10212 w 10237"/>
                <a:gd name="connsiteY6" fmla="*/ 9282 h 10262"/>
                <a:gd name="connsiteX7" fmla="*/ 10212 w 10237"/>
                <a:gd name="connsiteY7" fmla="*/ 4571 h 10262"/>
                <a:gd name="connsiteX8" fmla="*/ 9941 w 10237"/>
                <a:gd name="connsiteY8" fmla="*/ 645 h 10262"/>
                <a:gd name="connsiteX9" fmla="*/ 8044 w 10237"/>
                <a:gd name="connsiteY9" fmla="*/ 1692 h 10262"/>
                <a:gd name="connsiteX10" fmla="*/ 5784 w 10237"/>
                <a:gd name="connsiteY10" fmla="*/ 1692 h 10262"/>
                <a:gd name="connsiteX11" fmla="*/ 3887 w 10237"/>
                <a:gd name="connsiteY11" fmla="*/ 907 h 10262"/>
                <a:gd name="connsiteX12" fmla="*/ 2982 w 10237"/>
                <a:gd name="connsiteY12" fmla="*/ 907 h 10262"/>
                <a:gd name="connsiteX13" fmla="*/ 2350 w 10237"/>
                <a:gd name="connsiteY13" fmla="*/ 645 h 10262"/>
                <a:gd name="connsiteX14" fmla="*/ 1627 w 10237"/>
                <a:gd name="connsiteY14" fmla="*/ 645 h 10262"/>
                <a:gd name="connsiteX15" fmla="*/ 0 w 10237"/>
                <a:gd name="connsiteY15" fmla="*/ 383 h 10262"/>
                <a:gd name="connsiteX16" fmla="*/ 181 w 10237"/>
                <a:gd name="connsiteY16" fmla="*/ 3262 h 10262"/>
                <a:gd name="connsiteX17" fmla="*/ 362 w 10237"/>
                <a:gd name="connsiteY17" fmla="*/ 7188 h 10262"/>
                <a:gd name="connsiteX0" fmla="*/ 362 w 10237"/>
                <a:gd name="connsiteY0" fmla="*/ 7188 h 10262"/>
                <a:gd name="connsiteX1" fmla="*/ 625 w 10237"/>
                <a:gd name="connsiteY1" fmla="*/ 8988 h 10262"/>
                <a:gd name="connsiteX2" fmla="*/ 1180 w 10237"/>
                <a:gd name="connsiteY2" fmla="*/ 9092 h 10262"/>
                <a:gd name="connsiteX3" fmla="*/ 2429 w 10237"/>
                <a:gd name="connsiteY3" fmla="*/ 9404 h 10262"/>
                <a:gd name="connsiteX4" fmla="*/ 5423 w 10237"/>
                <a:gd name="connsiteY4" fmla="*/ 9806 h 10262"/>
                <a:gd name="connsiteX5" fmla="*/ 7230 w 10237"/>
                <a:gd name="connsiteY5" fmla="*/ 10068 h 10262"/>
                <a:gd name="connsiteX6" fmla="*/ 10212 w 10237"/>
                <a:gd name="connsiteY6" fmla="*/ 9282 h 10262"/>
                <a:gd name="connsiteX7" fmla="*/ 10212 w 10237"/>
                <a:gd name="connsiteY7" fmla="*/ 4571 h 10262"/>
                <a:gd name="connsiteX8" fmla="*/ 10212 w 10237"/>
                <a:gd name="connsiteY8" fmla="*/ 645 h 10262"/>
                <a:gd name="connsiteX9" fmla="*/ 8044 w 10237"/>
                <a:gd name="connsiteY9" fmla="*/ 1692 h 10262"/>
                <a:gd name="connsiteX10" fmla="*/ 5784 w 10237"/>
                <a:gd name="connsiteY10" fmla="*/ 1692 h 10262"/>
                <a:gd name="connsiteX11" fmla="*/ 3887 w 10237"/>
                <a:gd name="connsiteY11" fmla="*/ 907 h 10262"/>
                <a:gd name="connsiteX12" fmla="*/ 2982 w 10237"/>
                <a:gd name="connsiteY12" fmla="*/ 907 h 10262"/>
                <a:gd name="connsiteX13" fmla="*/ 2350 w 10237"/>
                <a:gd name="connsiteY13" fmla="*/ 645 h 10262"/>
                <a:gd name="connsiteX14" fmla="*/ 1627 w 10237"/>
                <a:gd name="connsiteY14" fmla="*/ 645 h 10262"/>
                <a:gd name="connsiteX15" fmla="*/ 0 w 10237"/>
                <a:gd name="connsiteY15" fmla="*/ 383 h 10262"/>
                <a:gd name="connsiteX16" fmla="*/ 181 w 10237"/>
                <a:gd name="connsiteY16" fmla="*/ 3262 h 10262"/>
                <a:gd name="connsiteX17" fmla="*/ 362 w 10237"/>
                <a:gd name="connsiteY17" fmla="*/ 7188 h 10262"/>
                <a:gd name="connsiteX0" fmla="*/ 594 w 10469"/>
                <a:gd name="connsiteY0" fmla="*/ 6969 h 10043"/>
                <a:gd name="connsiteX1" fmla="*/ 857 w 10469"/>
                <a:gd name="connsiteY1" fmla="*/ 8769 h 10043"/>
                <a:gd name="connsiteX2" fmla="*/ 1412 w 10469"/>
                <a:gd name="connsiteY2" fmla="*/ 8873 h 10043"/>
                <a:gd name="connsiteX3" fmla="*/ 2661 w 10469"/>
                <a:gd name="connsiteY3" fmla="*/ 9185 h 10043"/>
                <a:gd name="connsiteX4" fmla="*/ 5655 w 10469"/>
                <a:gd name="connsiteY4" fmla="*/ 9587 h 10043"/>
                <a:gd name="connsiteX5" fmla="*/ 7462 w 10469"/>
                <a:gd name="connsiteY5" fmla="*/ 9849 h 10043"/>
                <a:gd name="connsiteX6" fmla="*/ 10444 w 10469"/>
                <a:gd name="connsiteY6" fmla="*/ 9063 h 10043"/>
                <a:gd name="connsiteX7" fmla="*/ 10444 w 10469"/>
                <a:gd name="connsiteY7" fmla="*/ 4352 h 10043"/>
                <a:gd name="connsiteX8" fmla="*/ 10444 w 10469"/>
                <a:gd name="connsiteY8" fmla="*/ 426 h 10043"/>
                <a:gd name="connsiteX9" fmla="*/ 8276 w 10469"/>
                <a:gd name="connsiteY9" fmla="*/ 1473 h 10043"/>
                <a:gd name="connsiteX10" fmla="*/ 6016 w 10469"/>
                <a:gd name="connsiteY10" fmla="*/ 1473 h 10043"/>
                <a:gd name="connsiteX11" fmla="*/ 4119 w 10469"/>
                <a:gd name="connsiteY11" fmla="*/ 688 h 10043"/>
                <a:gd name="connsiteX12" fmla="*/ 3214 w 10469"/>
                <a:gd name="connsiteY12" fmla="*/ 688 h 10043"/>
                <a:gd name="connsiteX13" fmla="*/ 2582 w 10469"/>
                <a:gd name="connsiteY13" fmla="*/ 426 h 10043"/>
                <a:gd name="connsiteX14" fmla="*/ 1859 w 10469"/>
                <a:gd name="connsiteY14" fmla="*/ 426 h 10043"/>
                <a:gd name="connsiteX15" fmla="*/ 0 w 10469"/>
                <a:gd name="connsiteY15" fmla="*/ 383 h 10043"/>
                <a:gd name="connsiteX16" fmla="*/ 413 w 10469"/>
                <a:gd name="connsiteY16" fmla="*/ 3043 h 10043"/>
                <a:gd name="connsiteX17" fmla="*/ 594 w 10469"/>
                <a:gd name="connsiteY17" fmla="*/ 6969 h 10043"/>
                <a:gd name="connsiteX0" fmla="*/ 687 w 10562"/>
                <a:gd name="connsiteY0" fmla="*/ 6969 h 10043"/>
                <a:gd name="connsiteX1" fmla="*/ 950 w 10562"/>
                <a:gd name="connsiteY1" fmla="*/ 8769 h 10043"/>
                <a:gd name="connsiteX2" fmla="*/ 1505 w 10562"/>
                <a:gd name="connsiteY2" fmla="*/ 8873 h 10043"/>
                <a:gd name="connsiteX3" fmla="*/ 2754 w 10562"/>
                <a:gd name="connsiteY3" fmla="*/ 9185 h 10043"/>
                <a:gd name="connsiteX4" fmla="*/ 5748 w 10562"/>
                <a:gd name="connsiteY4" fmla="*/ 9587 h 10043"/>
                <a:gd name="connsiteX5" fmla="*/ 7555 w 10562"/>
                <a:gd name="connsiteY5" fmla="*/ 9849 h 10043"/>
                <a:gd name="connsiteX6" fmla="*/ 10537 w 10562"/>
                <a:gd name="connsiteY6" fmla="*/ 9063 h 10043"/>
                <a:gd name="connsiteX7" fmla="*/ 10537 w 10562"/>
                <a:gd name="connsiteY7" fmla="*/ 4352 h 10043"/>
                <a:gd name="connsiteX8" fmla="*/ 10537 w 10562"/>
                <a:gd name="connsiteY8" fmla="*/ 426 h 10043"/>
                <a:gd name="connsiteX9" fmla="*/ 8369 w 10562"/>
                <a:gd name="connsiteY9" fmla="*/ 1473 h 10043"/>
                <a:gd name="connsiteX10" fmla="*/ 6109 w 10562"/>
                <a:gd name="connsiteY10" fmla="*/ 1473 h 10043"/>
                <a:gd name="connsiteX11" fmla="*/ 4212 w 10562"/>
                <a:gd name="connsiteY11" fmla="*/ 688 h 10043"/>
                <a:gd name="connsiteX12" fmla="*/ 3307 w 10562"/>
                <a:gd name="connsiteY12" fmla="*/ 688 h 10043"/>
                <a:gd name="connsiteX13" fmla="*/ 2675 w 10562"/>
                <a:gd name="connsiteY13" fmla="*/ 426 h 10043"/>
                <a:gd name="connsiteX14" fmla="*/ 1952 w 10562"/>
                <a:gd name="connsiteY14" fmla="*/ 426 h 10043"/>
                <a:gd name="connsiteX15" fmla="*/ 0 w 10562"/>
                <a:gd name="connsiteY15" fmla="*/ 383 h 10043"/>
                <a:gd name="connsiteX16" fmla="*/ 506 w 10562"/>
                <a:gd name="connsiteY16" fmla="*/ 3043 h 10043"/>
                <a:gd name="connsiteX17" fmla="*/ 687 w 10562"/>
                <a:gd name="connsiteY17" fmla="*/ 6969 h 10043"/>
                <a:gd name="connsiteX0" fmla="*/ 687 w 10562"/>
                <a:gd name="connsiteY0" fmla="*/ 6969 h 10043"/>
                <a:gd name="connsiteX1" fmla="*/ 950 w 10562"/>
                <a:gd name="connsiteY1" fmla="*/ 8769 h 10043"/>
                <a:gd name="connsiteX2" fmla="*/ 1505 w 10562"/>
                <a:gd name="connsiteY2" fmla="*/ 8873 h 10043"/>
                <a:gd name="connsiteX3" fmla="*/ 2754 w 10562"/>
                <a:gd name="connsiteY3" fmla="*/ 9185 h 10043"/>
                <a:gd name="connsiteX4" fmla="*/ 5748 w 10562"/>
                <a:gd name="connsiteY4" fmla="*/ 9587 h 10043"/>
                <a:gd name="connsiteX5" fmla="*/ 7555 w 10562"/>
                <a:gd name="connsiteY5" fmla="*/ 9849 h 10043"/>
                <a:gd name="connsiteX6" fmla="*/ 10537 w 10562"/>
                <a:gd name="connsiteY6" fmla="*/ 9063 h 10043"/>
                <a:gd name="connsiteX7" fmla="*/ 10537 w 10562"/>
                <a:gd name="connsiteY7" fmla="*/ 4352 h 10043"/>
                <a:gd name="connsiteX8" fmla="*/ 10537 w 10562"/>
                <a:gd name="connsiteY8" fmla="*/ 426 h 10043"/>
                <a:gd name="connsiteX9" fmla="*/ 8369 w 10562"/>
                <a:gd name="connsiteY9" fmla="*/ 1473 h 10043"/>
                <a:gd name="connsiteX10" fmla="*/ 6109 w 10562"/>
                <a:gd name="connsiteY10" fmla="*/ 1473 h 10043"/>
                <a:gd name="connsiteX11" fmla="*/ 4212 w 10562"/>
                <a:gd name="connsiteY11" fmla="*/ 688 h 10043"/>
                <a:gd name="connsiteX12" fmla="*/ 3307 w 10562"/>
                <a:gd name="connsiteY12" fmla="*/ 688 h 10043"/>
                <a:gd name="connsiteX13" fmla="*/ 2675 w 10562"/>
                <a:gd name="connsiteY13" fmla="*/ 426 h 10043"/>
                <a:gd name="connsiteX14" fmla="*/ 1952 w 10562"/>
                <a:gd name="connsiteY14" fmla="*/ 426 h 10043"/>
                <a:gd name="connsiteX15" fmla="*/ 0 w 10562"/>
                <a:gd name="connsiteY15" fmla="*/ 383 h 10043"/>
                <a:gd name="connsiteX16" fmla="*/ 506 w 10562"/>
                <a:gd name="connsiteY16" fmla="*/ 3043 h 10043"/>
                <a:gd name="connsiteX17" fmla="*/ 687 w 10562"/>
                <a:gd name="connsiteY17" fmla="*/ 6969 h 10043"/>
                <a:gd name="connsiteX0" fmla="*/ 687 w 10562"/>
                <a:gd name="connsiteY0" fmla="*/ 6952 h 10026"/>
                <a:gd name="connsiteX1" fmla="*/ 950 w 10562"/>
                <a:gd name="connsiteY1" fmla="*/ 8752 h 10026"/>
                <a:gd name="connsiteX2" fmla="*/ 1505 w 10562"/>
                <a:gd name="connsiteY2" fmla="*/ 8856 h 10026"/>
                <a:gd name="connsiteX3" fmla="*/ 2754 w 10562"/>
                <a:gd name="connsiteY3" fmla="*/ 9168 h 10026"/>
                <a:gd name="connsiteX4" fmla="*/ 5748 w 10562"/>
                <a:gd name="connsiteY4" fmla="*/ 9570 h 10026"/>
                <a:gd name="connsiteX5" fmla="*/ 7555 w 10562"/>
                <a:gd name="connsiteY5" fmla="*/ 9832 h 10026"/>
                <a:gd name="connsiteX6" fmla="*/ 10537 w 10562"/>
                <a:gd name="connsiteY6" fmla="*/ 9046 h 10026"/>
                <a:gd name="connsiteX7" fmla="*/ 10537 w 10562"/>
                <a:gd name="connsiteY7" fmla="*/ 4335 h 10026"/>
                <a:gd name="connsiteX8" fmla="*/ 10537 w 10562"/>
                <a:gd name="connsiteY8" fmla="*/ 409 h 10026"/>
                <a:gd name="connsiteX9" fmla="*/ 8369 w 10562"/>
                <a:gd name="connsiteY9" fmla="*/ 1456 h 10026"/>
                <a:gd name="connsiteX10" fmla="*/ 6109 w 10562"/>
                <a:gd name="connsiteY10" fmla="*/ 1456 h 10026"/>
                <a:gd name="connsiteX11" fmla="*/ 4212 w 10562"/>
                <a:gd name="connsiteY11" fmla="*/ 671 h 10026"/>
                <a:gd name="connsiteX12" fmla="*/ 3307 w 10562"/>
                <a:gd name="connsiteY12" fmla="*/ 671 h 10026"/>
                <a:gd name="connsiteX13" fmla="*/ 2675 w 10562"/>
                <a:gd name="connsiteY13" fmla="*/ 409 h 10026"/>
                <a:gd name="connsiteX14" fmla="*/ 1952 w 10562"/>
                <a:gd name="connsiteY14" fmla="*/ 409 h 10026"/>
                <a:gd name="connsiteX15" fmla="*/ 0 w 10562"/>
                <a:gd name="connsiteY15" fmla="*/ 366 h 10026"/>
                <a:gd name="connsiteX16" fmla="*/ 506 w 10562"/>
                <a:gd name="connsiteY16" fmla="*/ 3026 h 10026"/>
                <a:gd name="connsiteX17" fmla="*/ 687 w 10562"/>
                <a:gd name="connsiteY17" fmla="*/ 6952 h 10026"/>
                <a:gd name="connsiteX0" fmla="*/ 687 w 10562"/>
                <a:gd name="connsiteY0" fmla="*/ 7199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506 w 10562"/>
                <a:gd name="connsiteY16" fmla="*/ 3273 h 10273"/>
                <a:gd name="connsiteX17" fmla="*/ 687 w 10562"/>
                <a:gd name="connsiteY17" fmla="*/ 7199 h 10273"/>
                <a:gd name="connsiteX0" fmla="*/ 687 w 10562"/>
                <a:gd name="connsiteY0" fmla="*/ 7199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687 w 10562"/>
                <a:gd name="connsiteY17" fmla="*/ 7199 h 10273"/>
                <a:gd name="connsiteX0" fmla="*/ 442 w 10562"/>
                <a:gd name="connsiteY0" fmla="*/ 7325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747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747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495 w 10562"/>
                <a:gd name="connsiteY2" fmla="*/ 9530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079"/>
                <a:gd name="connsiteX1" fmla="*/ 654 w 10562"/>
                <a:gd name="connsiteY1" fmla="*/ 9282 h 10079"/>
                <a:gd name="connsiteX2" fmla="*/ 1495 w 10562"/>
                <a:gd name="connsiteY2" fmla="*/ 9530 h 10079"/>
                <a:gd name="connsiteX3" fmla="*/ 2754 w 10562"/>
                <a:gd name="connsiteY3" fmla="*/ 9415 h 10079"/>
                <a:gd name="connsiteX4" fmla="*/ 5748 w 10562"/>
                <a:gd name="connsiteY4" fmla="*/ 9817 h 10079"/>
                <a:gd name="connsiteX5" fmla="*/ 7555 w 10562"/>
                <a:gd name="connsiteY5" fmla="*/ 10079 h 10079"/>
                <a:gd name="connsiteX6" fmla="*/ 10537 w 10562"/>
                <a:gd name="connsiteY6" fmla="*/ 9293 h 10079"/>
                <a:gd name="connsiteX7" fmla="*/ 10537 w 10562"/>
                <a:gd name="connsiteY7" fmla="*/ 4582 h 10079"/>
                <a:gd name="connsiteX8" fmla="*/ 10537 w 10562"/>
                <a:gd name="connsiteY8" fmla="*/ 656 h 10079"/>
                <a:gd name="connsiteX9" fmla="*/ 8369 w 10562"/>
                <a:gd name="connsiteY9" fmla="*/ 1703 h 10079"/>
                <a:gd name="connsiteX10" fmla="*/ 6109 w 10562"/>
                <a:gd name="connsiteY10" fmla="*/ 1703 h 10079"/>
                <a:gd name="connsiteX11" fmla="*/ 4212 w 10562"/>
                <a:gd name="connsiteY11" fmla="*/ 918 h 10079"/>
                <a:gd name="connsiteX12" fmla="*/ 3307 w 10562"/>
                <a:gd name="connsiteY12" fmla="*/ 918 h 10079"/>
                <a:gd name="connsiteX13" fmla="*/ 2675 w 10562"/>
                <a:gd name="connsiteY13" fmla="*/ 656 h 10079"/>
                <a:gd name="connsiteX14" fmla="*/ 1952 w 10562"/>
                <a:gd name="connsiteY14" fmla="*/ 656 h 10079"/>
                <a:gd name="connsiteX15" fmla="*/ 0 w 10562"/>
                <a:gd name="connsiteY15" fmla="*/ 366 h 10079"/>
                <a:gd name="connsiteX16" fmla="*/ 143 w 10562"/>
                <a:gd name="connsiteY16" fmla="*/ 3506 h 10079"/>
                <a:gd name="connsiteX17" fmla="*/ 442 w 10562"/>
                <a:gd name="connsiteY17" fmla="*/ 7325 h 10079"/>
                <a:gd name="connsiteX0" fmla="*/ 442 w 10562"/>
                <a:gd name="connsiteY0" fmla="*/ 7325 h 10025"/>
                <a:gd name="connsiteX1" fmla="*/ 654 w 10562"/>
                <a:gd name="connsiteY1" fmla="*/ 9282 h 10025"/>
                <a:gd name="connsiteX2" fmla="*/ 1495 w 10562"/>
                <a:gd name="connsiteY2" fmla="*/ 9530 h 10025"/>
                <a:gd name="connsiteX3" fmla="*/ 2754 w 10562"/>
                <a:gd name="connsiteY3" fmla="*/ 9415 h 10025"/>
                <a:gd name="connsiteX4" fmla="*/ 5748 w 10562"/>
                <a:gd name="connsiteY4" fmla="*/ 9817 h 10025"/>
                <a:gd name="connsiteX5" fmla="*/ 7664 w 10562"/>
                <a:gd name="connsiteY5" fmla="*/ 10025 h 10025"/>
                <a:gd name="connsiteX6" fmla="*/ 10537 w 10562"/>
                <a:gd name="connsiteY6" fmla="*/ 9293 h 10025"/>
                <a:gd name="connsiteX7" fmla="*/ 10537 w 10562"/>
                <a:gd name="connsiteY7" fmla="*/ 4582 h 10025"/>
                <a:gd name="connsiteX8" fmla="*/ 10537 w 10562"/>
                <a:gd name="connsiteY8" fmla="*/ 656 h 10025"/>
                <a:gd name="connsiteX9" fmla="*/ 8369 w 10562"/>
                <a:gd name="connsiteY9" fmla="*/ 1703 h 10025"/>
                <a:gd name="connsiteX10" fmla="*/ 6109 w 10562"/>
                <a:gd name="connsiteY10" fmla="*/ 1703 h 10025"/>
                <a:gd name="connsiteX11" fmla="*/ 4212 w 10562"/>
                <a:gd name="connsiteY11" fmla="*/ 918 h 10025"/>
                <a:gd name="connsiteX12" fmla="*/ 3307 w 10562"/>
                <a:gd name="connsiteY12" fmla="*/ 918 h 10025"/>
                <a:gd name="connsiteX13" fmla="*/ 2675 w 10562"/>
                <a:gd name="connsiteY13" fmla="*/ 656 h 10025"/>
                <a:gd name="connsiteX14" fmla="*/ 1952 w 10562"/>
                <a:gd name="connsiteY14" fmla="*/ 656 h 10025"/>
                <a:gd name="connsiteX15" fmla="*/ 0 w 10562"/>
                <a:gd name="connsiteY15" fmla="*/ 366 h 10025"/>
                <a:gd name="connsiteX16" fmla="*/ 143 w 10562"/>
                <a:gd name="connsiteY16" fmla="*/ 3506 h 10025"/>
                <a:gd name="connsiteX17" fmla="*/ 442 w 10562"/>
                <a:gd name="connsiteY17" fmla="*/ 7325 h 10025"/>
                <a:gd name="connsiteX0" fmla="*/ 442 w 10562"/>
                <a:gd name="connsiteY0" fmla="*/ 7325 h 10025"/>
                <a:gd name="connsiteX1" fmla="*/ 654 w 10562"/>
                <a:gd name="connsiteY1" fmla="*/ 9282 h 10025"/>
                <a:gd name="connsiteX2" fmla="*/ 1495 w 10562"/>
                <a:gd name="connsiteY2" fmla="*/ 9530 h 10025"/>
                <a:gd name="connsiteX3" fmla="*/ 2754 w 10562"/>
                <a:gd name="connsiteY3" fmla="*/ 9415 h 10025"/>
                <a:gd name="connsiteX4" fmla="*/ 5748 w 10562"/>
                <a:gd name="connsiteY4" fmla="*/ 9817 h 10025"/>
                <a:gd name="connsiteX5" fmla="*/ 7664 w 10562"/>
                <a:gd name="connsiteY5" fmla="*/ 10025 h 10025"/>
                <a:gd name="connsiteX6" fmla="*/ 10537 w 10562"/>
                <a:gd name="connsiteY6" fmla="*/ 9293 h 10025"/>
                <a:gd name="connsiteX7" fmla="*/ 10537 w 10562"/>
                <a:gd name="connsiteY7" fmla="*/ 4582 h 10025"/>
                <a:gd name="connsiteX8" fmla="*/ 10537 w 10562"/>
                <a:gd name="connsiteY8" fmla="*/ 656 h 10025"/>
                <a:gd name="connsiteX9" fmla="*/ 8369 w 10562"/>
                <a:gd name="connsiteY9" fmla="*/ 1703 h 10025"/>
                <a:gd name="connsiteX10" fmla="*/ 6109 w 10562"/>
                <a:gd name="connsiteY10" fmla="*/ 1703 h 10025"/>
                <a:gd name="connsiteX11" fmla="*/ 4212 w 10562"/>
                <a:gd name="connsiteY11" fmla="*/ 918 h 10025"/>
                <a:gd name="connsiteX12" fmla="*/ 3307 w 10562"/>
                <a:gd name="connsiteY12" fmla="*/ 918 h 10025"/>
                <a:gd name="connsiteX13" fmla="*/ 2675 w 10562"/>
                <a:gd name="connsiteY13" fmla="*/ 656 h 10025"/>
                <a:gd name="connsiteX14" fmla="*/ 1952 w 10562"/>
                <a:gd name="connsiteY14" fmla="*/ 656 h 10025"/>
                <a:gd name="connsiteX15" fmla="*/ 0 w 10562"/>
                <a:gd name="connsiteY15" fmla="*/ 366 h 10025"/>
                <a:gd name="connsiteX16" fmla="*/ 143 w 10562"/>
                <a:gd name="connsiteY16" fmla="*/ 3506 h 10025"/>
                <a:gd name="connsiteX17" fmla="*/ 442 w 10562"/>
                <a:gd name="connsiteY17" fmla="*/ 7325 h 10025"/>
                <a:gd name="connsiteX0" fmla="*/ 442 w 10576"/>
                <a:gd name="connsiteY0" fmla="*/ 7325 h 10025"/>
                <a:gd name="connsiteX1" fmla="*/ 654 w 10576"/>
                <a:gd name="connsiteY1" fmla="*/ 9282 h 10025"/>
                <a:gd name="connsiteX2" fmla="*/ 1495 w 10576"/>
                <a:gd name="connsiteY2" fmla="*/ 9530 h 10025"/>
                <a:gd name="connsiteX3" fmla="*/ 2754 w 10576"/>
                <a:gd name="connsiteY3" fmla="*/ 9415 h 10025"/>
                <a:gd name="connsiteX4" fmla="*/ 5748 w 10576"/>
                <a:gd name="connsiteY4" fmla="*/ 9817 h 10025"/>
                <a:gd name="connsiteX5" fmla="*/ 7664 w 10576"/>
                <a:gd name="connsiteY5" fmla="*/ 10025 h 10025"/>
                <a:gd name="connsiteX6" fmla="*/ 10537 w 10576"/>
                <a:gd name="connsiteY6" fmla="*/ 9293 h 10025"/>
                <a:gd name="connsiteX7" fmla="*/ 10562 w 10576"/>
                <a:gd name="connsiteY7" fmla="*/ 4576 h 10025"/>
                <a:gd name="connsiteX8" fmla="*/ 10537 w 10576"/>
                <a:gd name="connsiteY8" fmla="*/ 656 h 10025"/>
                <a:gd name="connsiteX9" fmla="*/ 8369 w 10576"/>
                <a:gd name="connsiteY9" fmla="*/ 1703 h 10025"/>
                <a:gd name="connsiteX10" fmla="*/ 6109 w 10576"/>
                <a:gd name="connsiteY10" fmla="*/ 1703 h 10025"/>
                <a:gd name="connsiteX11" fmla="*/ 4212 w 10576"/>
                <a:gd name="connsiteY11" fmla="*/ 918 h 10025"/>
                <a:gd name="connsiteX12" fmla="*/ 3307 w 10576"/>
                <a:gd name="connsiteY12" fmla="*/ 918 h 10025"/>
                <a:gd name="connsiteX13" fmla="*/ 2675 w 10576"/>
                <a:gd name="connsiteY13" fmla="*/ 656 h 10025"/>
                <a:gd name="connsiteX14" fmla="*/ 1952 w 10576"/>
                <a:gd name="connsiteY14" fmla="*/ 656 h 10025"/>
                <a:gd name="connsiteX15" fmla="*/ 0 w 10576"/>
                <a:gd name="connsiteY15" fmla="*/ 366 h 10025"/>
                <a:gd name="connsiteX16" fmla="*/ 143 w 10576"/>
                <a:gd name="connsiteY16" fmla="*/ 3506 h 10025"/>
                <a:gd name="connsiteX17" fmla="*/ 442 w 10576"/>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07 w 10583"/>
                <a:gd name="connsiteY12" fmla="*/ 918 h 10025"/>
                <a:gd name="connsiteX13" fmla="*/ 2675 w 10583"/>
                <a:gd name="connsiteY13" fmla="*/ 656 h 10025"/>
                <a:gd name="connsiteX14" fmla="*/ 1952 w 10583"/>
                <a:gd name="connsiteY14" fmla="*/ 65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07 w 10583"/>
                <a:gd name="connsiteY12" fmla="*/ 918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65 w 10583"/>
                <a:gd name="connsiteY12" fmla="*/ 613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19 w 10583"/>
                <a:gd name="connsiteY9" fmla="*/ 1604 h 10025"/>
                <a:gd name="connsiteX10" fmla="*/ 6109 w 10583"/>
                <a:gd name="connsiteY10" fmla="*/ 1703 h 10025"/>
                <a:gd name="connsiteX11" fmla="*/ 4212 w 10583"/>
                <a:gd name="connsiteY11" fmla="*/ 918 h 10025"/>
                <a:gd name="connsiteX12" fmla="*/ 3365 w 10583"/>
                <a:gd name="connsiteY12" fmla="*/ 613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049 w 10583"/>
                <a:gd name="connsiteY15" fmla="*/ 362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121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121 w 10583"/>
                <a:gd name="connsiteY15" fmla="*/ 1546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215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215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76"/>
                <a:gd name="connsiteY0" fmla="*/ 7514 h 10214"/>
                <a:gd name="connsiteX1" fmla="*/ 654 w 10576"/>
                <a:gd name="connsiteY1" fmla="*/ 9471 h 10214"/>
                <a:gd name="connsiteX2" fmla="*/ 1495 w 10576"/>
                <a:gd name="connsiteY2" fmla="*/ 9719 h 10214"/>
                <a:gd name="connsiteX3" fmla="*/ 2754 w 10576"/>
                <a:gd name="connsiteY3" fmla="*/ 9604 h 10214"/>
                <a:gd name="connsiteX4" fmla="*/ 5748 w 10576"/>
                <a:gd name="connsiteY4" fmla="*/ 10006 h 10214"/>
                <a:gd name="connsiteX5" fmla="*/ 7664 w 10576"/>
                <a:gd name="connsiteY5" fmla="*/ 10214 h 10214"/>
                <a:gd name="connsiteX6" fmla="*/ 10537 w 10576"/>
                <a:gd name="connsiteY6" fmla="*/ 9482 h 10214"/>
                <a:gd name="connsiteX7" fmla="*/ 10562 w 10576"/>
                <a:gd name="connsiteY7" fmla="*/ 4765 h 10214"/>
                <a:gd name="connsiteX8" fmla="*/ 10562 w 10576"/>
                <a:gd name="connsiteY8" fmla="*/ 802 h 10214"/>
                <a:gd name="connsiteX9" fmla="*/ 8319 w 10576"/>
                <a:gd name="connsiteY9" fmla="*/ 1793 h 10214"/>
                <a:gd name="connsiteX10" fmla="*/ 6109 w 10576"/>
                <a:gd name="connsiteY10" fmla="*/ 1892 h 10214"/>
                <a:gd name="connsiteX11" fmla="*/ 4212 w 10576"/>
                <a:gd name="connsiteY11" fmla="*/ 1107 h 10214"/>
                <a:gd name="connsiteX12" fmla="*/ 3365 w 10576"/>
                <a:gd name="connsiteY12" fmla="*/ 802 h 10214"/>
                <a:gd name="connsiteX13" fmla="*/ 2675 w 10576"/>
                <a:gd name="connsiteY13" fmla="*/ 845 h 10214"/>
                <a:gd name="connsiteX14" fmla="*/ 1962 w 10576"/>
                <a:gd name="connsiteY14" fmla="*/ 555 h 10214"/>
                <a:gd name="connsiteX15" fmla="*/ 1215 w 10576"/>
                <a:gd name="connsiteY15" fmla="*/ 59 h 10214"/>
                <a:gd name="connsiteX16" fmla="*/ 0 w 10576"/>
                <a:gd name="connsiteY16" fmla="*/ 555 h 10214"/>
                <a:gd name="connsiteX17" fmla="*/ 143 w 10576"/>
                <a:gd name="connsiteY17" fmla="*/ 3695 h 10214"/>
                <a:gd name="connsiteX18" fmla="*/ 442 w 10576"/>
                <a:gd name="connsiteY18" fmla="*/ 7514 h 10214"/>
                <a:gd name="connsiteX0" fmla="*/ 442 w 10576"/>
                <a:gd name="connsiteY0" fmla="*/ 7514 h 10214"/>
                <a:gd name="connsiteX1" fmla="*/ 654 w 10576"/>
                <a:gd name="connsiteY1" fmla="*/ 9471 h 10214"/>
                <a:gd name="connsiteX2" fmla="*/ 1495 w 10576"/>
                <a:gd name="connsiteY2" fmla="*/ 9719 h 10214"/>
                <a:gd name="connsiteX3" fmla="*/ 2754 w 10576"/>
                <a:gd name="connsiteY3" fmla="*/ 9604 h 10214"/>
                <a:gd name="connsiteX4" fmla="*/ 5748 w 10576"/>
                <a:gd name="connsiteY4" fmla="*/ 10006 h 10214"/>
                <a:gd name="connsiteX5" fmla="*/ 7664 w 10576"/>
                <a:gd name="connsiteY5" fmla="*/ 10214 h 10214"/>
                <a:gd name="connsiteX6" fmla="*/ 10537 w 10576"/>
                <a:gd name="connsiteY6" fmla="*/ 9482 h 10214"/>
                <a:gd name="connsiteX7" fmla="*/ 10562 w 10576"/>
                <a:gd name="connsiteY7" fmla="*/ 4765 h 10214"/>
                <a:gd name="connsiteX8" fmla="*/ 10562 w 10576"/>
                <a:gd name="connsiteY8" fmla="*/ 802 h 10214"/>
                <a:gd name="connsiteX9" fmla="*/ 8319 w 10576"/>
                <a:gd name="connsiteY9" fmla="*/ 1793 h 10214"/>
                <a:gd name="connsiteX10" fmla="*/ 6109 w 10576"/>
                <a:gd name="connsiteY10" fmla="*/ 1892 h 10214"/>
                <a:gd name="connsiteX11" fmla="*/ 4212 w 10576"/>
                <a:gd name="connsiteY11" fmla="*/ 1107 h 10214"/>
                <a:gd name="connsiteX12" fmla="*/ 3365 w 10576"/>
                <a:gd name="connsiteY12" fmla="*/ 802 h 10214"/>
                <a:gd name="connsiteX13" fmla="*/ 2675 w 10576"/>
                <a:gd name="connsiteY13" fmla="*/ 845 h 10214"/>
                <a:gd name="connsiteX14" fmla="*/ 1962 w 10576"/>
                <a:gd name="connsiteY14" fmla="*/ 555 h 10214"/>
                <a:gd name="connsiteX15" fmla="*/ 1215 w 10576"/>
                <a:gd name="connsiteY15" fmla="*/ 59 h 10214"/>
                <a:gd name="connsiteX16" fmla="*/ 0 w 10576"/>
                <a:gd name="connsiteY16" fmla="*/ 555 h 10214"/>
                <a:gd name="connsiteX17" fmla="*/ 143 w 10576"/>
                <a:gd name="connsiteY17" fmla="*/ 3695 h 10214"/>
                <a:gd name="connsiteX18" fmla="*/ 442 w 10576"/>
                <a:gd name="connsiteY18" fmla="*/ 7514 h 10214"/>
                <a:gd name="connsiteX0" fmla="*/ 509 w 10634"/>
                <a:gd name="connsiteY0" fmla="*/ 7674 h 10374"/>
                <a:gd name="connsiteX1" fmla="*/ 721 w 10634"/>
                <a:gd name="connsiteY1" fmla="*/ 9631 h 10374"/>
                <a:gd name="connsiteX2" fmla="*/ 1562 w 10634"/>
                <a:gd name="connsiteY2" fmla="*/ 9879 h 10374"/>
                <a:gd name="connsiteX3" fmla="*/ 2821 w 10634"/>
                <a:gd name="connsiteY3" fmla="*/ 9764 h 10374"/>
                <a:gd name="connsiteX4" fmla="*/ 5815 w 10634"/>
                <a:gd name="connsiteY4" fmla="*/ 10166 h 10374"/>
                <a:gd name="connsiteX5" fmla="*/ 7731 w 10634"/>
                <a:gd name="connsiteY5" fmla="*/ 10374 h 10374"/>
                <a:gd name="connsiteX6" fmla="*/ 10604 w 10634"/>
                <a:gd name="connsiteY6" fmla="*/ 9642 h 10374"/>
                <a:gd name="connsiteX7" fmla="*/ 10629 w 10634"/>
                <a:gd name="connsiteY7" fmla="*/ 4925 h 10374"/>
                <a:gd name="connsiteX8" fmla="*/ 10629 w 10634"/>
                <a:gd name="connsiteY8" fmla="*/ 962 h 10374"/>
                <a:gd name="connsiteX9" fmla="*/ 8386 w 10634"/>
                <a:gd name="connsiteY9" fmla="*/ 1953 h 10374"/>
                <a:gd name="connsiteX10" fmla="*/ 6176 w 10634"/>
                <a:gd name="connsiteY10" fmla="*/ 2052 h 10374"/>
                <a:gd name="connsiteX11" fmla="*/ 4279 w 10634"/>
                <a:gd name="connsiteY11" fmla="*/ 1267 h 10374"/>
                <a:gd name="connsiteX12" fmla="*/ 3432 w 10634"/>
                <a:gd name="connsiteY12" fmla="*/ 962 h 10374"/>
                <a:gd name="connsiteX13" fmla="*/ 2742 w 10634"/>
                <a:gd name="connsiteY13" fmla="*/ 1005 h 10374"/>
                <a:gd name="connsiteX14" fmla="*/ 2029 w 10634"/>
                <a:gd name="connsiteY14" fmla="*/ 715 h 10374"/>
                <a:gd name="connsiteX15" fmla="*/ 1282 w 10634"/>
                <a:gd name="connsiteY15" fmla="*/ 219 h 10374"/>
                <a:gd name="connsiteX16" fmla="*/ 0 w 10634"/>
                <a:gd name="connsiteY16" fmla="*/ 283 h 10374"/>
                <a:gd name="connsiteX17" fmla="*/ 210 w 10634"/>
                <a:gd name="connsiteY17" fmla="*/ 3855 h 10374"/>
                <a:gd name="connsiteX18" fmla="*/ 509 w 10634"/>
                <a:gd name="connsiteY18" fmla="*/ 7674 h 10374"/>
                <a:gd name="connsiteX0" fmla="*/ 509 w 10634"/>
                <a:gd name="connsiteY0" fmla="*/ 7525 h 10225"/>
                <a:gd name="connsiteX1" fmla="*/ 721 w 10634"/>
                <a:gd name="connsiteY1" fmla="*/ 9482 h 10225"/>
                <a:gd name="connsiteX2" fmla="*/ 1562 w 10634"/>
                <a:gd name="connsiteY2" fmla="*/ 9730 h 10225"/>
                <a:gd name="connsiteX3" fmla="*/ 2821 w 10634"/>
                <a:gd name="connsiteY3" fmla="*/ 9615 h 10225"/>
                <a:gd name="connsiteX4" fmla="*/ 5815 w 10634"/>
                <a:gd name="connsiteY4" fmla="*/ 10017 h 10225"/>
                <a:gd name="connsiteX5" fmla="*/ 7731 w 10634"/>
                <a:gd name="connsiteY5" fmla="*/ 10225 h 10225"/>
                <a:gd name="connsiteX6" fmla="*/ 10604 w 10634"/>
                <a:gd name="connsiteY6" fmla="*/ 9493 h 10225"/>
                <a:gd name="connsiteX7" fmla="*/ 10629 w 10634"/>
                <a:gd name="connsiteY7" fmla="*/ 4776 h 10225"/>
                <a:gd name="connsiteX8" fmla="*/ 10629 w 10634"/>
                <a:gd name="connsiteY8" fmla="*/ 813 h 10225"/>
                <a:gd name="connsiteX9" fmla="*/ 8386 w 10634"/>
                <a:gd name="connsiteY9" fmla="*/ 1804 h 10225"/>
                <a:gd name="connsiteX10" fmla="*/ 6176 w 10634"/>
                <a:gd name="connsiteY10" fmla="*/ 1903 h 10225"/>
                <a:gd name="connsiteX11" fmla="*/ 4279 w 10634"/>
                <a:gd name="connsiteY11" fmla="*/ 1118 h 10225"/>
                <a:gd name="connsiteX12" fmla="*/ 3432 w 10634"/>
                <a:gd name="connsiteY12" fmla="*/ 813 h 10225"/>
                <a:gd name="connsiteX13" fmla="*/ 2742 w 10634"/>
                <a:gd name="connsiteY13" fmla="*/ 856 h 10225"/>
                <a:gd name="connsiteX14" fmla="*/ 2029 w 10634"/>
                <a:gd name="connsiteY14" fmla="*/ 566 h 10225"/>
                <a:gd name="connsiteX15" fmla="*/ 1282 w 10634"/>
                <a:gd name="connsiteY15" fmla="*/ 70 h 10225"/>
                <a:gd name="connsiteX16" fmla="*/ 0 w 10634"/>
                <a:gd name="connsiteY16" fmla="*/ 134 h 10225"/>
                <a:gd name="connsiteX17" fmla="*/ 210 w 10634"/>
                <a:gd name="connsiteY17" fmla="*/ 3706 h 10225"/>
                <a:gd name="connsiteX18" fmla="*/ 509 w 1063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86 w 10644"/>
                <a:gd name="connsiteY10" fmla="*/ 1903 h 10225"/>
                <a:gd name="connsiteX11" fmla="*/ 4289 w 10644"/>
                <a:gd name="connsiteY11" fmla="*/ 1118 h 10225"/>
                <a:gd name="connsiteX12" fmla="*/ 3442 w 10644"/>
                <a:gd name="connsiteY12" fmla="*/ 813 h 10225"/>
                <a:gd name="connsiteX13" fmla="*/ 2752 w 10644"/>
                <a:gd name="connsiteY13" fmla="*/ 856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86 w 10644"/>
                <a:gd name="connsiteY10" fmla="*/ 190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76 w 10644"/>
                <a:gd name="connsiteY10" fmla="*/ 157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423 h 10225"/>
                <a:gd name="connsiteX10" fmla="*/ 6176 w 10644"/>
                <a:gd name="connsiteY10" fmla="*/ 157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773"/>
                <a:gd name="connsiteY0" fmla="*/ 7525 h 10225"/>
                <a:gd name="connsiteX1" fmla="*/ 731 w 10773"/>
                <a:gd name="connsiteY1" fmla="*/ 9482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519 w 10773"/>
                <a:gd name="connsiteY18" fmla="*/ 7525 h 10225"/>
                <a:gd name="connsiteX0" fmla="*/ 519 w 10773"/>
                <a:gd name="connsiteY0" fmla="*/ 7525 h 10225"/>
                <a:gd name="connsiteX1" fmla="*/ 210 w 10773"/>
                <a:gd name="connsiteY1" fmla="*/ 9431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519 w 10773"/>
                <a:gd name="connsiteY18" fmla="*/ 7525 h 10225"/>
                <a:gd name="connsiteX0" fmla="*/ 37 w 10773"/>
                <a:gd name="connsiteY0" fmla="*/ 7321 h 10225"/>
                <a:gd name="connsiteX1" fmla="*/ 210 w 10773"/>
                <a:gd name="connsiteY1" fmla="*/ 9431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37 w 10773"/>
                <a:gd name="connsiteY18" fmla="*/ 7321 h 10225"/>
                <a:gd name="connsiteX0" fmla="*/ 77 w 10813"/>
                <a:gd name="connsiteY0" fmla="*/ 7321 h 10225"/>
                <a:gd name="connsiteX1" fmla="*/ 250 w 10813"/>
                <a:gd name="connsiteY1" fmla="*/ 9431 h 10225"/>
                <a:gd name="connsiteX2" fmla="*/ 1612 w 10813"/>
                <a:gd name="connsiteY2" fmla="*/ 9730 h 10225"/>
                <a:gd name="connsiteX3" fmla="*/ 2871 w 10813"/>
                <a:gd name="connsiteY3" fmla="*/ 9615 h 10225"/>
                <a:gd name="connsiteX4" fmla="*/ 5865 w 10813"/>
                <a:gd name="connsiteY4" fmla="*/ 10017 h 10225"/>
                <a:gd name="connsiteX5" fmla="*/ 7781 w 10813"/>
                <a:gd name="connsiteY5" fmla="*/ 10225 h 10225"/>
                <a:gd name="connsiteX6" fmla="*/ 10654 w 10813"/>
                <a:gd name="connsiteY6" fmla="*/ 9493 h 10225"/>
                <a:gd name="connsiteX7" fmla="*/ 10679 w 10813"/>
                <a:gd name="connsiteY7" fmla="*/ 4776 h 10225"/>
                <a:gd name="connsiteX8" fmla="*/ 10813 w 10813"/>
                <a:gd name="connsiteY8" fmla="*/ 153 h 10225"/>
                <a:gd name="connsiteX9" fmla="*/ 8436 w 10813"/>
                <a:gd name="connsiteY9" fmla="*/ 1423 h 10225"/>
                <a:gd name="connsiteX10" fmla="*/ 6216 w 10813"/>
                <a:gd name="connsiteY10" fmla="*/ 1573 h 10225"/>
                <a:gd name="connsiteX11" fmla="*/ 4329 w 10813"/>
                <a:gd name="connsiteY11" fmla="*/ 1118 h 10225"/>
                <a:gd name="connsiteX12" fmla="*/ 3482 w 10813"/>
                <a:gd name="connsiteY12" fmla="*/ 813 h 10225"/>
                <a:gd name="connsiteX13" fmla="*/ 2840 w 10813"/>
                <a:gd name="connsiteY13" fmla="*/ 653 h 10225"/>
                <a:gd name="connsiteX14" fmla="*/ 2079 w 10813"/>
                <a:gd name="connsiteY14" fmla="*/ 566 h 10225"/>
                <a:gd name="connsiteX15" fmla="*/ 1332 w 10813"/>
                <a:gd name="connsiteY15" fmla="*/ 70 h 10225"/>
                <a:gd name="connsiteX16" fmla="*/ 40 w 10813"/>
                <a:gd name="connsiteY16" fmla="*/ 134 h 10225"/>
                <a:gd name="connsiteX17" fmla="*/ 9 w 10813"/>
                <a:gd name="connsiteY17" fmla="*/ 3757 h 10225"/>
                <a:gd name="connsiteX18" fmla="*/ 77 w 10813"/>
                <a:gd name="connsiteY18" fmla="*/ 7321 h 10225"/>
                <a:gd name="connsiteX0" fmla="*/ 77 w 10813"/>
                <a:gd name="connsiteY0" fmla="*/ 7321 h 10225"/>
                <a:gd name="connsiteX1" fmla="*/ 250 w 10813"/>
                <a:gd name="connsiteY1" fmla="*/ 9431 h 10225"/>
                <a:gd name="connsiteX2" fmla="*/ 1612 w 10813"/>
                <a:gd name="connsiteY2" fmla="*/ 9730 h 10225"/>
                <a:gd name="connsiteX3" fmla="*/ 2871 w 10813"/>
                <a:gd name="connsiteY3" fmla="*/ 9615 h 10225"/>
                <a:gd name="connsiteX4" fmla="*/ 5865 w 10813"/>
                <a:gd name="connsiteY4" fmla="*/ 10017 h 10225"/>
                <a:gd name="connsiteX5" fmla="*/ 7781 w 10813"/>
                <a:gd name="connsiteY5" fmla="*/ 10225 h 10225"/>
                <a:gd name="connsiteX6" fmla="*/ 10654 w 10813"/>
                <a:gd name="connsiteY6" fmla="*/ 9493 h 10225"/>
                <a:gd name="connsiteX7" fmla="*/ 10679 w 10813"/>
                <a:gd name="connsiteY7" fmla="*/ 4776 h 10225"/>
                <a:gd name="connsiteX8" fmla="*/ 10813 w 10813"/>
                <a:gd name="connsiteY8" fmla="*/ 153 h 10225"/>
                <a:gd name="connsiteX9" fmla="*/ 8436 w 10813"/>
                <a:gd name="connsiteY9" fmla="*/ 1423 h 10225"/>
                <a:gd name="connsiteX10" fmla="*/ 6216 w 10813"/>
                <a:gd name="connsiteY10" fmla="*/ 1573 h 10225"/>
                <a:gd name="connsiteX11" fmla="*/ 4329 w 10813"/>
                <a:gd name="connsiteY11" fmla="*/ 1118 h 10225"/>
                <a:gd name="connsiteX12" fmla="*/ 3482 w 10813"/>
                <a:gd name="connsiteY12" fmla="*/ 813 h 10225"/>
                <a:gd name="connsiteX13" fmla="*/ 2840 w 10813"/>
                <a:gd name="connsiteY13" fmla="*/ 653 h 10225"/>
                <a:gd name="connsiteX14" fmla="*/ 2079 w 10813"/>
                <a:gd name="connsiteY14" fmla="*/ 566 h 10225"/>
                <a:gd name="connsiteX15" fmla="*/ 1332 w 10813"/>
                <a:gd name="connsiteY15" fmla="*/ 70 h 10225"/>
                <a:gd name="connsiteX16" fmla="*/ 40 w 10813"/>
                <a:gd name="connsiteY16" fmla="*/ 134 h 10225"/>
                <a:gd name="connsiteX17" fmla="*/ 9 w 10813"/>
                <a:gd name="connsiteY17" fmla="*/ 3757 h 10225"/>
                <a:gd name="connsiteX18" fmla="*/ 77 w 10813"/>
                <a:gd name="connsiteY18" fmla="*/ 7321 h 10225"/>
                <a:gd name="connsiteX0" fmla="*/ 116 w 10852"/>
                <a:gd name="connsiteY0" fmla="*/ 7375 h 10279"/>
                <a:gd name="connsiteX1" fmla="*/ 289 w 10852"/>
                <a:gd name="connsiteY1" fmla="*/ 9485 h 10279"/>
                <a:gd name="connsiteX2" fmla="*/ 1651 w 10852"/>
                <a:gd name="connsiteY2" fmla="*/ 9784 h 10279"/>
                <a:gd name="connsiteX3" fmla="*/ 2910 w 10852"/>
                <a:gd name="connsiteY3" fmla="*/ 9669 h 10279"/>
                <a:gd name="connsiteX4" fmla="*/ 5904 w 10852"/>
                <a:gd name="connsiteY4" fmla="*/ 10071 h 10279"/>
                <a:gd name="connsiteX5" fmla="*/ 7820 w 10852"/>
                <a:gd name="connsiteY5" fmla="*/ 10279 h 10279"/>
                <a:gd name="connsiteX6" fmla="*/ 10693 w 10852"/>
                <a:gd name="connsiteY6" fmla="*/ 9547 h 10279"/>
                <a:gd name="connsiteX7" fmla="*/ 10718 w 10852"/>
                <a:gd name="connsiteY7" fmla="*/ 4830 h 10279"/>
                <a:gd name="connsiteX8" fmla="*/ 10852 w 10852"/>
                <a:gd name="connsiteY8" fmla="*/ 207 h 10279"/>
                <a:gd name="connsiteX9" fmla="*/ 8475 w 10852"/>
                <a:gd name="connsiteY9" fmla="*/ 1477 h 10279"/>
                <a:gd name="connsiteX10" fmla="*/ 6255 w 10852"/>
                <a:gd name="connsiteY10" fmla="*/ 1627 h 10279"/>
                <a:gd name="connsiteX11" fmla="*/ 4368 w 10852"/>
                <a:gd name="connsiteY11" fmla="*/ 1172 h 10279"/>
                <a:gd name="connsiteX12" fmla="*/ 3521 w 10852"/>
                <a:gd name="connsiteY12" fmla="*/ 867 h 10279"/>
                <a:gd name="connsiteX13" fmla="*/ 2879 w 10852"/>
                <a:gd name="connsiteY13" fmla="*/ 707 h 10279"/>
                <a:gd name="connsiteX14" fmla="*/ 2118 w 10852"/>
                <a:gd name="connsiteY14" fmla="*/ 620 h 10279"/>
                <a:gd name="connsiteX15" fmla="*/ 1371 w 10852"/>
                <a:gd name="connsiteY15" fmla="*/ 124 h 10279"/>
                <a:gd name="connsiteX16" fmla="*/ 0 w 10852"/>
                <a:gd name="connsiteY16" fmla="*/ 104 h 10279"/>
                <a:gd name="connsiteX17" fmla="*/ 48 w 10852"/>
                <a:gd name="connsiteY17" fmla="*/ 3811 h 10279"/>
                <a:gd name="connsiteX18" fmla="*/ 116 w 10852"/>
                <a:gd name="connsiteY18" fmla="*/ 7375 h 1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52" h="10279">
                  <a:moveTo>
                    <a:pt x="116" y="7375"/>
                  </a:moveTo>
                  <a:cubicBezTo>
                    <a:pt x="206" y="8038"/>
                    <a:pt x="173" y="9062"/>
                    <a:pt x="289" y="9485"/>
                  </a:cubicBezTo>
                  <a:cubicBezTo>
                    <a:pt x="466" y="9781"/>
                    <a:pt x="1214" y="9753"/>
                    <a:pt x="1651" y="9784"/>
                  </a:cubicBezTo>
                  <a:cubicBezTo>
                    <a:pt x="2088" y="9815"/>
                    <a:pt x="2201" y="9621"/>
                    <a:pt x="2910" y="9669"/>
                  </a:cubicBezTo>
                  <a:cubicBezTo>
                    <a:pt x="3619" y="9717"/>
                    <a:pt x="5086" y="9969"/>
                    <a:pt x="5904" y="10071"/>
                  </a:cubicBezTo>
                  <a:cubicBezTo>
                    <a:pt x="6722" y="10173"/>
                    <a:pt x="7153" y="10194"/>
                    <a:pt x="7820" y="10279"/>
                  </a:cubicBezTo>
                  <a:lnTo>
                    <a:pt x="10693" y="9547"/>
                  </a:lnTo>
                  <a:cubicBezTo>
                    <a:pt x="10718" y="7866"/>
                    <a:pt x="10732" y="6116"/>
                    <a:pt x="10718" y="4830"/>
                  </a:cubicBezTo>
                  <a:cubicBezTo>
                    <a:pt x="10709" y="4009"/>
                    <a:pt x="10858" y="1089"/>
                    <a:pt x="10852" y="207"/>
                  </a:cubicBezTo>
                  <a:cubicBezTo>
                    <a:pt x="10692" y="231"/>
                    <a:pt x="9241" y="1240"/>
                    <a:pt x="8475" y="1477"/>
                  </a:cubicBezTo>
                  <a:cubicBezTo>
                    <a:pt x="7709" y="1714"/>
                    <a:pt x="6939" y="1678"/>
                    <a:pt x="6255" y="1627"/>
                  </a:cubicBezTo>
                  <a:cubicBezTo>
                    <a:pt x="5571" y="1576"/>
                    <a:pt x="4824" y="1299"/>
                    <a:pt x="4368" y="1172"/>
                  </a:cubicBezTo>
                  <a:cubicBezTo>
                    <a:pt x="3912" y="1045"/>
                    <a:pt x="3769" y="944"/>
                    <a:pt x="3521" y="867"/>
                  </a:cubicBezTo>
                  <a:cubicBezTo>
                    <a:pt x="3273" y="790"/>
                    <a:pt x="3113" y="748"/>
                    <a:pt x="2879" y="707"/>
                  </a:cubicBezTo>
                  <a:cubicBezTo>
                    <a:pt x="2645" y="666"/>
                    <a:pt x="2369" y="717"/>
                    <a:pt x="2118" y="620"/>
                  </a:cubicBezTo>
                  <a:cubicBezTo>
                    <a:pt x="1867" y="523"/>
                    <a:pt x="1724" y="210"/>
                    <a:pt x="1371" y="124"/>
                  </a:cubicBezTo>
                  <a:cubicBezTo>
                    <a:pt x="1018" y="38"/>
                    <a:pt x="247" y="-96"/>
                    <a:pt x="0" y="104"/>
                  </a:cubicBezTo>
                  <a:cubicBezTo>
                    <a:pt x="43" y="1257"/>
                    <a:pt x="5" y="2657"/>
                    <a:pt x="48" y="3811"/>
                  </a:cubicBezTo>
                  <a:cubicBezTo>
                    <a:pt x="28" y="5297"/>
                    <a:pt x="34" y="6180"/>
                    <a:pt x="116" y="7375"/>
                  </a:cubicBezTo>
                  <a:close/>
                </a:path>
              </a:pathLst>
            </a:custGeom>
            <a:gradFill rotWithShape="1">
              <a:gsLst>
                <a:gs pos="0">
                  <a:srgbClr val="FF0000">
                    <a:alpha val="0"/>
                  </a:srgbClr>
                </a:gs>
                <a:gs pos="8000">
                  <a:srgbClr val="FF8F8F">
                    <a:alpha val="40784"/>
                  </a:srgbClr>
                </a:gs>
                <a:gs pos="100000">
                  <a:srgbClr val="FF0000">
                    <a:alpha val="0"/>
                  </a:srgbClr>
                </a:gs>
              </a:gsLst>
              <a:lin ang="5400000" scaled="0"/>
            </a:gradFill>
            <a:ln w="9525">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 name="Freeform 2">
              <a:extLst>
                <a:ext uri="{FF2B5EF4-FFF2-40B4-BE49-F238E27FC236}">
                  <a16:creationId xmlns:a16="http://schemas.microsoft.com/office/drawing/2014/main" id="{5BE242C6-85C8-C224-1366-1DFAF3BC730A}"/>
                </a:ext>
              </a:extLst>
            </p:cNvPr>
            <p:cNvSpPr>
              <a:spLocks/>
            </p:cNvSpPr>
            <p:nvPr/>
          </p:nvSpPr>
          <p:spPr bwMode="auto">
            <a:xfrm>
              <a:off x="2528830" y="1312434"/>
              <a:ext cx="7831486" cy="2120516"/>
            </a:xfrm>
            <a:custGeom>
              <a:avLst/>
              <a:gdLst>
                <a:gd name="connsiteX0" fmla="*/ 19 w 10022"/>
                <a:gd name="connsiteY0" fmla="*/ 8256 h 10000"/>
                <a:gd name="connsiteX1" fmla="*/ 1534 w 10022"/>
                <a:gd name="connsiteY1" fmla="*/ 8367 h 10000"/>
                <a:gd name="connsiteX2" fmla="*/ 2061 w 10022"/>
                <a:gd name="connsiteY2" fmla="*/ 8478 h 10000"/>
                <a:gd name="connsiteX3" fmla="*/ 3245 w 10022"/>
                <a:gd name="connsiteY3" fmla="*/ 8812 h 10000"/>
                <a:gd name="connsiteX4" fmla="*/ 6154 w 10022"/>
                <a:gd name="connsiteY4" fmla="*/ 9840 h 10000"/>
                <a:gd name="connsiteX5" fmla="*/ 7812 w 10022"/>
                <a:gd name="connsiteY5" fmla="*/ 9785 h 10000"/>
                <a:gd name="connsiteX6" fmla="*/ 9689 w 10022"/>
                <a:gd name="connsiteY6" fmla="*/ 8589 h 10000"/>
                <a:gd name="connsiteX7" fmla="*/ 9808 w 10022"/>
                <a:gd name="connsiteY7" fmla="*/ 7778 h 10000"/>
                <a:gd name="connsiteX8" fmla="*/ 9674 w 10022"/>
                <a:gd name="connsiteY8" fmla="*/ 3002 h 10000"/>
                <a:gd name="connsiteX9" fmla="*/ 9614 w 10022"/>
                <a:gd name="connsiteY9" fmla="*/ 334 h 10000"/>
                <a:gd name="connsiteX10" fmla="*/ 8604 w 10022"/>
                <a:gd name="connsiteY10" fmla="*/ 1001 h 10000"/>
                <a:gd name="connsiteX11" fmla="*/ 6282 w 10022"/>
                <a:gd name="connsiteY11" fmla="*/ 1751 h 10000"/>
                <a:gd name="connsiteX12" fmla="*/ 4353 w 10022"/>
                <a:gd name="connsiteY12" fmla="*/ 1306 h 10000"/>
                <a:gd name="connsiteX13" fmla="*/ 3320 w 10022"/>
                <a:gd name="connsiteY13" fmla="*/ 1028 h 10000"/>
                <a:gd name="connsiteX14" fmla="*/ 2823 w 10022"/>
                <a:gd name="connsiteY14" fmla="*/ 973 h 10000"/>
                <a:gd name="connsiteX15" fmla="*/ 2461 w 10022"/>
                <a:gd name="connsiteY15" fmla="*/ 667 h 10000"/>
                <a:gd name="connsiteX16" fmla="*/ 1813 w 10022"/>
                <a:gd name="connsiteY16" fmla="*/ 473 h 10000"/>
                <a:gd name="connsiteX17" fmla="*/ 1149 w 10022"/>
                <a:gd name="connsiteY17" fmla="*/ 3141 h 10000"/>
                <a:gd name="connsiteX18" fmla="*/ 19 w 10022"/>
                <a:gd name="connsiteY18" fmla="*/ 8256 h 10000"/>
                <a:gd name="connsiteX0" fmla="*/ 19 w 10025"/>
                <a:gd name="connsiteY0" fmla="*/ 8256 h 10000"/>
                <a:gd name="connsiteX1" fmla="*/ 1534 w 10025"/>
                <a:gd name="connsiteY1" fmla="*/ 8367 h 10000"/>
                <a:gd name="connsiteX2" fmla="*/ 2061 w 10025"/>
                <a:gd name="connsiteY2" fmla="*/ 8478 h 10000"/>
                <a:gd name="connsiteX3" fmla="*/ 3245 w 10025"/>
                <a:gd name="connsiteY3" fmla="*/ 8812 h 10000"/>
                <a:gd name="connsiteX4" fmla="*/ 6154 w 10025"/>
                <a:gd name="connsiteY4" fmla="*/ 9840 h 10000"/>
                <a:gd name="connsiteX5" fmla="*/ 7812 w 10025"/>
                <a:gd name="connsiteY5" fmla="*/ 9785 h 10000"/>
                <a:gd name="connsiteX6" fmla="*/ 9689 w 10025"/>
                <a:gd name="connsiteY6" fmla="*/ 8589 h 10000"/>
                <a:gd name="connsiteX7" fmla="*/ 10023 w 10025"/>
                <a:gd name="connsiteY7" fmla="*/ 7654 h 10000"/>
                <a:gd name="connsiteX8" fmla="*/ 9674 w 10025"/>
                <a:gd name="connsiteY8" fmla="*/ 3002 h 10000"/>
                <a:gd name="connsiteX9" fmla="*/ 9614 w 10025"/>
                <a:gd name="connsiteY9" fmla="*/ 334 h 10000"/>
                <a:gd name="connsiteX10" fmla="*/ 8604 w 10025"/>
                <a:gd name="connsiteY10" fmla="*/ 1001 h 10000"/>
                <a:gd name="connsiteX11" fmla="*/ 6282 w 10025"/>
                <a:gd name="connsiteY11" fmla="*/ 1751 h 10000"/>
                <a:gd name="connsiteX12" fmla="*/ 4353 w 10025"/>
                <a:gd name="connsiteY12" fmla="*/ 1306 h 10000"/>
                <a:gd name="connsiteX13" fmla="*/ 3320 w 10025"/>
                <a:gd name="connsiteY13" fmla="*/ 1028 h 10000"/>
                <a:gd name="connsiteX14" fmla="*/ 2823 w 10025"/>
                <a:gd name="connsiteY14" fmla="*/ 973 h 10000"/>
                <a:gd name="connsiteX15" fmla="*/ 2461 w 10025"/>
                <a:gd name="connsiteY15" fmla="*/ 667 h 10000"/>
                <a:gd name="connsiteX16" fmla="*/ 1813 w 10025"/>
                <a:gd name="connsiteY16" fmla="*/ 473 h 10000"/>
                <a:gd name="connsiteX17" fmla="*/ 1149 w 10025"/>
                <a:gd name="connsiteY17" fmla="*/ 3141 h 10000"/>
                <a:gd name="connsiteX18" fmla="*/ 19 w 10025"/>
                <a:gd name="connsiteY18"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9614 w 10079"/>
                <a:gd name="connsiteY9" fmla="*/ 334 h 10000"/>
                <a:gd name="connsiteX10" fmla="*/ 8604 w 10079"/>
                <a:gd name="connsiteY10" fmla="*/ 1001 h 10000"/>
                <a:gd name="connsiteX11" fmla="*/ 6282 w 10079"/>
                <a:gd name="connsiteY11" fmla="*/ 1751 h 10000"/>
                <a:gd name="connsiteX12" fmla="*/ 4353 w 10079"/>
                <a:gd name="connsiteY12" fmla="*/ 1306 h 10000"/>
                <a:gd name="connsiteX13" fmla="*/ 3320 w 10079"/>
                <a:gd name="connsiteY13" fmla="*/ 1028 h 10000"/>
                <a:gd name="connsiteX14" fmla="*/ 2823 w 10079"/>
                <a:gd name="connsiteY14" fmla="*/ 973 h 10000"/>
                <a:gd name="connsiteX15" fmla="*/ 2461 w 10079"/>
                <a:gd name="connsiteY15" fmla="*/ 667 h 10000"/>
                <a:gd name="connsiteX16" fmla="*/ 1813 w 10079"/>
                <a:gd name="connsiteY16" fmla="*/ 473 h 10000"/>
                <a:gd name="connsiteX17" fmla="*/ 1149 w 10079"/>
                <a:gd name="connsiteY17" fmla="*/ 3141 h 10000"/>
                <a:gd name="connsiteX18" fmla="*/ 19 w 10079"/>
                <a:gd name="connsiteY18"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9707 w 10079"/>
                <a:gd name="connsiteY9" fmla="*/ 1199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91"/>
                <a:gd name="connsiteY0" fmla="*/ 8256 h 10000"/>
                <a:gd name="connsiteX1" fmla="*/ 1534 w 10091"/>
                <a:gd name="connsiteY1" fmla="*/ 8367 h 10000"/>
                <a:gd name="connsiteX2" fmla="*/ 2061 w 10091"/>
                <a:gd name="connsiteY2" fmla="*/ 8478 h 10000"/>
                <a:gd name="connsiteX3" fmla="*/ 3245 w 10091"/>
                <a:gd name="connsiteY3" fmla="*/ 8812 h 10000"/>
                <a:gd name="connsiteX4" fmla="*/ 6154 w 10091"/>
                <a:gd name="connsiteY4" fmla="*/ 9840 h 10000"/>
                <a:gd name="connsiteX5" fmla="*/ 7812 w 10091"/>
                <a:gd name="connsiteY5" fmla="*/ 9785 h 10000"/>
                <a:gd name="connsiteX6" fmla="*/ 9689 w 10091"/>
                <a:gd name="connsiteY6" fmla="*/ 8589 h 10000"/>
                <a:gd name="connsiteX7" fmla="*/ 10023 w 10091"/>
                <a:gd name="connsiteY7" fmla="*/ 7654 h 10000"/>
                <a:gd name="connsiteX8" fmla="*/ 10023 w 10091"/>
                <a:gd name="connsiteY8" fmla="*/ 3019 h 10000"/>
                <a:gd name="connsiteX9" fmla="*/ 10023 w 10091"/>
                <a:gd name="connsiteY9" fmla="*/ 992 h 10000"/>
                <a:gd name="connsiteX10" fmla="*/ 9614 w 10091"/>
                <a:gd name="connsiteY10" fmla="*/ 334 h 10000"/>
                <a:gd name="connsiteX11" fmla="*/ 8604 w 10091"/>
                <a:gd name="connsiteY11" fmla="*/ 1001 h 10000"/>
                <a:gd name="connsiteX12" fmla="*/ 6282 w 10091"/>
                <a:gd name="connsiteY12" fmla="*/ 1751 h 10000"/>
                <a:gd name="connsiteX13" fmla="*/ 4353 w 10091"/>
                <a:gd name="connsiteY13" fmla="*/ 1306 h 10000"/>
                <a:gd name="connsiteX14" fmla="*/ 3320 w 10091"/>
                <a:gd name="connsiteY14" fmla="*/ 1028 h 10000"/>
                <a:gd name="connsiteX15" fmla="*/ 2823 w 10091"/>
                <a:gd name="connsiteY15" fmla="*/ 973 h 10000"/>
                <a:gd name="connsiteX16" fmla="*/ 2461 w 10091"/>
                <a:gd name="connsiteY16" fmla="*/ 667 h 10000"/>
                <a:gd name="connsiteX17" fmla="*/ 1813 w 10091"/>
                <a:gd name="connsiteY17" fmla="*/ 473 h 10000"/>
                <a:gd name="connsiteX18" fmla="*/ 1149 w 10091"/>
                <a:gd name="connsiteY18" fmla="*/ 3141 h 10000"/>
                <a:gd name="connsiteX19" fmla="*/ 19 w 10091"/>
                <a:gd name="connsiteY19"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10023 w 10079"/>
                <a:gd name="connsiteY9" fmla="*/ 992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10023 w 10079"/>
                <a:gd name="connsiteY9" fmla="*/ 992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79"/>
                <a:gd name="connsiteY0" fmla="*/ 8423 h 10167"/>
                <a:gd name="connsiteX1" fmla="*/ 1534 w 10079"/>
                <a:gd name="connsiteY1" fmla="*/ 8534 h 10167"/>
                <a:gd name="connsiteX2" fmla="*/ 2061 w 10079"/>
                <a:gd name="connsiteY2" fmla="*/ 8645 h 10167"/>
                <a:gd name="connsiteX3" fmla="*/ 3245 w 10079"/>
                <a:gd name="connsiteY3" fmla="*/ 8979 h 10167"/>
                <a:gd name="connsiteX4" fmla="*/ 6154 w 10079"/>
                <a:gd name="connsiteY4" fmla="*/ 10007 h 10167"/>
                <a:gd name="connsiteX5" fmla="*/ 7812 w 10079"/>
                <a:gd name="connsiteY5" fmla="*/ 9952 h 10167"/>
                <a:gd name="connsiteX6" fmla="*/ 9689 w 10079"/>
                <a:gd name="connsiteY6" fmla="*/ 8756 h 10167"/>
                <a:gd name="connsiteX7" fmla="*/ 10023 w 10079"/>
                <a:gd name="connsiteY7" fmla="*/ 7821 h 10167"/>
                <a:gd name="connsiteX8" fmla="*/ 10023 w 10079"/>
                <a:gd name="connsiteY8" fmla="*/ 3186 h 10167"/>
                <a:gd name="connsiteX9" fmla="*/ 10023 w 10079"/>
                <a:gd name="connsiteY9" fmla="*/ 0 h 10167"/>
                <a:gd name="connsiteX10" fmla="*/ 9614 w 10079"/>
                <a:gd name="connsiteY10" fmla="*/ 501 h 10167"/>
                <a:gd name="connsiteX11" fmla="*/ 8604 w 10079"/>
                <a:gd name="connsiteY11" fmla="*/ 1168 h 10167"/>
                <a:gd name="connsiteX12" fmla="*/ 6282 w 10079"/>
                <a:gd name="connsiteY12" fmla="*/ 1918 h 10167"/>
                <a:gd name="connsiteX13" fmla="*/ 4353 w 10079"/>
                <a:gd name="connsiteY13" fmla="*/ 1473 h 10167"/>
                <a:gd name="connsiteX14" fmla="*/ 3320 w 10079"/>
                <a:gd name="connsiteY14" fmla="*/ 1195 h 10167"/>
                <a:gd name="connsiteX15" fmla="*/ 2823 w 10079"/>
                <a:gd name="connsiteY15" fmla="*/ 1140 h 10167"/>
                <a:gd name="connsiteX16" fmla="*/ 2461 w 10079"/>
                <a:gd name="connsiteY16" fmla="*/ 834 h 10167"/>
                <a:gd name="connsiteX17" fmla="*/ 1813 w 10079"/>
                <a:gd name="connsiteY17" fmla="*/ 640 h 10167"/>
                <a:gd name="connsiteX18" fmla="*/ 1149 w 10079"/>
                <a:gd name="connsiteY18" fmla="*/ 3308 h 10167"/>
                <a:gd name="connsiteX19" fmla="*/ 19 w 10079"/>
                <a:gd name="connsiteY19" fmla="*/ 8423 h 10167"/>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05 w 10029"/>
                <a:gd name="connsiteY15" fmla="*/ 1140 h 10118"/>
                <a:gd name="connsiteX16" fmla="*/ 2443 w 10029"/>
                <a:gd name="connsiteY16" fmla="*/ 834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05 w 10029"/>
                <a:gd name="connsiteY15" fmla="*/ 114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196 w 10029"/>
                <a:gd name="connsiteY13" fmla="*/ 2113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37 w 10029"/>
                <a:gd name="connsiteY11" fmla="*/ 2208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433 w 10029"/>
                <a:gd name="connsiteY10" fmla="*/ 1808 h 10118"/>
                <a:gd name="connsiteX11" fmla="*/ 8537 w 10029"/>
                <a:gd name="connsiteY11" fmla="*/ 2208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49"/>
                <a:gd name="connsiteY0" fmla="*/ 7289 h 8984"/>
                <a:gd name="connsiteX1" fmla="*/ 1516 w 10049"/>
                <a:gd name="connsiteY1" fmla="*/ 7400 h 8984"/>
                <a:gd name="connsiteX2" fmla="*/ 2043 w 10049"/>
                <a:gd name="connsiteY2" fmla="*/ 7511 h 8984"/>
                <a:gd name="connsiteX3" fmla="*/ 3227 w 10049"/>
                <a:gd name="connsiteY3" fmla="*/ 7845 h 8984"/>
                <a:gd name="connsiteX4" fmla="*/ 6136 w 10049"/>
                <a:gd name="connsiteY4" fmla="*/ 8873 h 8984"/>
                <a:gd name="connsiteX5" fmla="*/ 7794 w 10049"/>
                <a:gd name="connsiteY5" fmla="*/ 8818 h 8984"/>
                <a:gd name="connsiteX6" fmla="*/ 9671 w 10049"/>
                <a:gd name="connsiteY6" fmla="*/ 7622 h 8984"/>
                <a:gd name="connsiteX7" fmla="*/ 10005 w 10049"/>
                <a:gd name="connsiteY7" fmla="*/ 6687 h 8984"/>
                <a:gd name="connsiteX8" fmla="*/ 10005 w 10049"/>
                <a:gd name="connsiteY8" fmla="*/ 2052 h 8984"/>
                <a:gd name="connsiteX9" fmla="*/ 9630 w 10049"/>
                <a:gd name="connsiteY9" fmla="*/ 546 h 8984"/>
                <a:gd name="connsiteX10" fmla="*/ 9433 w 10049"/>
                <a:gd name="connsiteY10" fmla="*/ 674 h 8984"/>
                <a:gd name="connsiteX11" fmla="*/ 8537 w 10049"/>
                <a:gd name="connsiteY11" fmla="*/ 1074 h 8984"/>
                <a:gd name="connsiteX12" fmla="*/ 6329 w 10049"/>
                <a:gd name="connsiteY12" fmla="*/ 1344 h 8984"/>
                <a:gd name="connsiteX13" fmla="*/ 4155 w 10049"/>
                <a:gd name="connsiteY13" fmla="*/ 1086 h 8984"/>
                <a:gd name="connsiteX14" fmla="*/ 3310 w 10049"/>
                <a:gd name="connsiteY14" fmla="*/ 568 h 8984"/>
                <a:gd name="connsiteX15" fmla="*/ 2854 w 10049"/>
                <a:gd name="connsiteY15" fmla="*/ 326 h 8984"/>
                <a:gd name="connsiteX16" fmla="*/ 2443 w 10049"/>
                <a:gd name="connsiteY16" fmla="*/ 233 h 8984"/>
                <a:gd name="connsiteX17" fmla="*/ 1583 w 10049"/>
                <a:gd name="connsiteY17" fmla="*/ 173 h 8984"/>
                <a:gd name="connsiteX18" fmla="*/ 1131 w 10049"/>
                <a:gd name="connsiteY18" fmla="*/ 2174 h 8984"/>
                <a:gd name="connsiteX19" fmla="*/ 1 w 10049"/>
                <a:gd name="connsiteY19" fmla="*/ 7289 h 8984"/>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16 w 10000"/>
                <a:gd name="connsiteY12" fmla="*/ 1457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32 w 10000"/>
                <a:gd name="connsiteY12" fmla="*/ 1813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32 w 10000"/>
                <a:gd name="connsiteY12" fmla="*/ 1813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9960"/>
                <a:gd name="connsiteY0" fmla="*/ 8113 h 10000"/>
                <a:gd name="connsiteX1" fmla="*/ 1509 w 9960"/>
                <a:gd name="connsiteY1" fmla="*/ 8237 h 10000"/>
                <a:gd name="connsiteX2" fmla="*/ 2033 w 9960"/>
                <a:gd name="connsiteY2" fmla="*/ 8360 h 10000"/>
                <a:gd name="connsiteX3" fmla="*/ 3211 w 9960"/>
                <a:gd name="connsiteY3" fmla="*/ 8732 h 10000"/>
                <a:gd name="connsiteX4" fmla="*/ 6106 w 9960"/>
                <a:gd name="connsiteY4" fmla="*/ 9876 h 10000"/>
                <a:gd name="connsiteX5" fmla="*/ 7756 w 9960"/>
                <a:gd name="connsiteY5" fmla="*/ 9815 h 10000"/>
                <a:gd name="connsiteX6" fmla="*/ 9624 w 9960"/>
                <a:gd name="connsiteY6" fmla="*/ 8484 h 10000"/>
                <a:gd name="connsiteX7" fmla="*/ 9956 w 9960"/>
                <a:gd name="connsiteY7" fmla="*/ 7443 h 10000"/>
                <a:gd name="connsiteX8" fmla="*/ 9802 w 9960"/>
                <a:gd name="connsiteY8" fmla="*/ 2373 h 10000"/>
                <a:gd name="connsiteX9" fmla="*/ 9583 w 9960"/>
                <a:gd name="connsiteY9" fmla="*/ 608 h 10000"/>
                <a:gd name="connsiteX10" fmla="*/ 9387 w 9960"/>
                <a:gd name="connsiteY10" fmla="*/ 750 h 10000"/>
                <a:gd name="connsiteX11" fmla="*/ 8495 w 9960"/>
                <a:gd name="connsiteY11" fmla="*/ 1195 h 10000"/>
                <a:gd name="connsiteX12" fmla="*/ 6932 w 9960"/>
                <a:gd name="connsiteY12" fmla="*/ 1813 h 10000"/>
                <a:gd name="connsiteX13" fmla="*/ 6298 w 9960"/>
                <a:gd name="connsiteY13" fmla="*/ 1496 h 10000"/>
                <a:gd name="connsiteX14" fmla="*/ 4135 w 9960"/>
                <a:gd name="connsiteY14" fmla="*/ 1209 h 10000"/>
                <a:gd name="connsiteX15" fmla="*/ 3294 w 9960"/>
                <a:gd name="connsiteY15" fmla="*/ 632 h 10000"/>
                <a:gd name="connsiteX16" fmla="*/ 2840 w 9960"/>
                <a:gd name="connsiteY16" fmla="*/ 363 h 10000"/>
                <a:gd name="connsiteX17" fmla="*/ 2431 w 9960"/>
                <a:gd name="connsiteY17" fmla="*/ 259 h 10000"/>
                <a:gd name="connsiteX18" fmla="*/ 1575 w 9960"/>
                <a:gd name="connsiteY18" fmla="*/ 193 h 10000"/>
                <a:gd name="connsiteX19" fmla="*/ 1125 w 9960"/>
                <a:gd name="connsiteY19" fmla="*/ 2420 h 10000"/>
                <a:gd name="connsiteX20" fmla="*/ 1 w 9960"/>
                <a:gd name="connsiteY20" fmla="*/ 8113 h 10000"/>
                <a:gd name="connsiteX0" fmla="*/ 1 w 10143"/>
                <a:gd name="connsiteY0" fmla="*/ 8113 h 10000"/>
                <a:gd name="connsiteX1" fmla="*/ 1515 w 10143"/>
                <a:gd name="connsiteY1" fmla="*/ 8237 h 10000"/>
                <a:gd name="connsiteX2" fmla="*/ 2041 w 10143"/>
                <a:gd name="connsiteY2" fmla="*/ 8360 h 10000"/>
                <a:gd name="connsiteX3" fmla="*/ 3224 w 10143"/>
                <a:gd name="connsiteY3" fmla="*/ 8732 h 10000"/>
                <a:gd name="connsiteX4" fmla="*/ 6131 w 10143"/>
                <a:gd name="connsiteY4" fmla="*/ 9876 h 10000"/>
                <a:gd name="connsiteX5" fmla="*/ 7787 w 10143"/>
                <a:gd name="connsiteY5" fmla="*/ 9815 h 10000"/>
                <a:gd name="connsiteX6" fmla="*/ 9663 w 10143"/>
                <a:gd name="connsiteY6" fmla="*/ 8484 h 10000"/>
                <a:gd name="connsiteX7" fmla="*/ 10141 w 10143"/>
                <a:gd name="connsiteY7" fmla="*/ 7939 h 10000"/>
                <a:gd name="connsiteX8" fmla="*/ 9841 w 10143"/>
                <a:gd name="connsiteY8" fmla="*/ 2373 h 10000"/>
                <a:gd name="connsiteX9" fmla="*/ 9621 w 10143"/>
                <a:gd name="connsiteY9" fmla="*/ 608 h 10000"/>
                <a:gd name="connsiteX10" fmla="*/ 9425 w 10143"/>
                <a:gd name="connsiteY10" fmla="*/ 750 h 10000"/>
                <a:gd name="connsiteX11" fmla="*/ 8529 w 10143"/>
                <a:gd name="connsiteY11" fmla="*/ 1195 h 10000"/>
                <a:gd name="connsiteX12" fmla="*/ 6960 w 10143"/>
                <a:gd name="connsiteY12" fmla="*/ 1813 h 10000"/>
                <a:gd name="connsiteX13" fmla="*/ 6323 w 10143"/>
                <a:gd name="connsiteY13" fmla="*/ 1496 h 10000"/>
                <a:gd name="connsiteX14" fmla="*/ 4152 w 10143"/>
                <a:gd name="connsiteY14" fmla="*/ 1209 h 10000"/>
                <a:gd name="connsiteX15" fmla="*/ 3307 w 10143"/>
                <a:gd name="connsiteY15" fmla="*/ 632 h 10000"/>
                <a:gd name="connsiteX16" fmla="*/ 2851 w 10143"/>
                <a:gd name="connsiteY16" fmla="*/ 363 h 10000"/>
                <a:gd name="connsiteX17" fmla="*/ 2441 w 10143"/>
                <a:gd name="connsiteY17" fmla="*/ 259 h 10000"/>
                <a:gd name="connsiteX18" fmla="*/ 1581 w 10143"/>
                <a:gd name="connsiteY18" fmla="*/ 193 h 10000"/>
                <a:gd name="connsiteX19" fmla="*/ 1130 w 10143"/>
                <a:gd name="connsiteY19" fmla="*/ 2420 h 10000"/>
                <a:gd name="connsiteX20" fmla="*/ 1 w 10143"/>
                <a:gd name="connsiteY20" fmla="*/ 8113 h 10000"/>
                <a:gd name="connsiteX0" fmla="*/ 1 w 10142"/>
                <a:gd name="connsiteY0" fmla="*/ 8113 h 10000"/>
                <a:gd name="connsiteX1" fmla="*/ 1515 w 10142"/>
                <a:gd name="connsiteY1" fmla="*/ 8237 h 10000"/>
                <a:gd name="connsiteX2" fmla="*/ 2041 w 10142"/>
                <a:gd name="connsiteY2" fmla="*/ 8360 h 10000"/>
                <a:gd name="connsiteX3" fmla="*/ 3224 w 10142"/>
                <a:gd name="connsiteY3" fmla="*/ 8732 h 10000"/>
                <a:gd name="connsiteX4" fmla="*/ 6131 w 10142"/>
                <a:gd name="connsiteY4" fmla="*/ 9876 h 10000"/>
                <a:gd name="connsiteX5" fmla="*/ 7787 w 10142"/>
                <a:gd name="connsiteY5" fmla="*/ 9815 h 10000"/>
                <a:gd name="connsiteX6" fmla="*/ 9663 w 10142"/>
                <a:gd name="connsiteY6" fmla="*/ 8484 h 10000"/>
                <a:gd name="connsiteX7" fmla="*/ 10141 w 10142"/>
                <a:gd name="connsiteY7" fmla="*/ 7939 h 10000"/>
                <a:gd name="connsiteX8" fmla="*/ 9841 w 10142"/>
                <a:gd name="connsiteY8" fmla="*/ 2373 h 10000"/>
                <a:gd name="connsiteX9" fmla="*/ 9621 w 10142"/>
                <a:gd name="connsiteY9" fmla="*/ 608 h 10000"/>
                <a:gd name="connsiteX10" fmla="*/ 9425 w 10142"/>
                <a:gd name="connsiteY10" fmla="*/ 750 h 10000"/>
                <a:gd name="connsiteX11" fmla="*/ 8529 w 10142"/>
                <a:gd name="connsiteY11" fmla="*/ 1195 h 10000"/>
                <a:gd name="connsiteX12" fmla="*/ 6960 w 10142"/>
                <a:gd name="connsiteY12" fmla="*/ 1813 h 10000"/>
                <a:gd name="connsiteX13" fmla="*/ 6323 w 10142"/>
                <a:gd name="connsiteY13" fmla="*/ 1496 h 10000"/>
                <a:gd name="connsiteX14" fmla="*/ 4152 w 10142"/>
                <a:gd name="connsiteY14" fmla="*/ 1209 h 10000"/>
                <a:gd name="connsiteX15" fmla="*/ 3307 w 10142"/>
                <a:gd name="connsiteY15" fmla="*/ 632 h 10000"/>
                <a:gd name="connsiteX16" fmla="*/ 2851 w 10142"/>
                <a:gd name="connsiteY16" fmla="*/ 363 h 10000"/>
                <a:gd name="connsiteX17" fmla="*/ 2441 w 10142"/>
                <a:gd name="connsiteY17" fmla="*/ 259 h 10000"/>
                <a:gd name="connsiteX18" fmla="*/ 1581 w 10142"/>
                <a:gd name="connsiteY18" fmla="*/ 193 h 10000"/>
                <a:gd name="connsiteX19" fmla="*/ 1130 w 10142"/>
                <a:gd name="connsiteY19" fmla="*/ 2420 h 10000"/>
                <a:gd name="connsiteX20" fmla="*/ 1 w 10142"/>
                <a:gd name="connsiteY20" fmla="*/ 81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142" h="10000">
                  <a:moveTo>
                    <a:pt x="1" y="8113"/>
                  </a:moveTo>
                  <a:cubicBezTo>
                    <a:pt x="-18" y="8306"/>
                    <a:pt x="1174" y="8198"/>
                    <a:pt x="1515" y="8237"/>
                  </a:cubicBezTo>
                  <a:cubicBezTo>
                    <a:pt x="1855" y="8276"/>
                    <a:pt x="1757" y="8276"/>
                    <a:pt x="2041" y="8360"/>
                  </a:cubicBezTo>
                  <a:cubicBezTo>
                    <a:pt x="2326" y="8446"/>
                    <a:pt x="2543" y="8476"/>
                    <a:pt x="3224" y="8732"/>
                  </a:cubicBezTo>
                  <a:cubicBezTo>
                    <a:pt x="3906" y="8987"/>
                    <a:pt x="5370" y="9698"/>
                    <a:pt x="6131" y="9876"/>
                  </a:cubicBezTo>
                  <a:cubicBezTo>
                    <a:pt x="6891" y="10055"/>
                    <a:pt x="7199" y="10047"/>
                    <a:pt x="7787" y="9815"/>
                  </a:cubicBezTo>
                  <a:lnTo>
                    <a:pt x="9663" y="8484"/>
                  </a:lnTo>
                  <a:cubicBezTo>
                    <a:pt x="9995" y="8112"/>
                    <a:pt x="10120" y="8065"/>
                    <a:pt x="10141" y="7939"/>
                  </a:cubicBezTo>
                  <a:cubicBezTo>
                    <a:pt x="10162" y="7813"/>
                    <a:pt x="9928" y="3595"/>
                    <a:pt x="9841" y="2373"/>
                  </a:cubicBezTo>
                  <a:cubicBezTo>
                    <a:pt x="9754" y="1151"/>
                    <a:pt x="9709" y="1075"/>
                    <a:pt x="9621" y="608"/>
                  </a:cubicBezTo>
                  <a:cubicBezTo>
                    <a:pt x="9566" y="755"/>
                    <a:pt x="9608" y="787"/>
                    <a:pt x="9425" y="750"/>
                  </a:cubicBezTo>
                  <a:cubicBezTo>
                    <a:pt x="9248" y="378"/>
                    <a:pt x="8940" y="1018"/>
                    <a:pt x="8529" y="1195"/>
                  </a:cubicBezTo>
                  <a:cubicBezTo>
                    <a:pt x="8118" y="1372"/>
                    <a:pt x="7327" y="1763"/>
                    <a:pt x="6960" y="1813"/>
                  </a:cubicBezTo>
                  <a:cubicBezTo>
                    <a:pt x="6592" y="1863"/>
                    <a:pt x="6791" y="1597"/>
                    <a:pt x="6323" y="1496"/>
                  </a:cubicBezTo>
                  <a:cubicBezTo>
                    <a:pt x="5855" y="1395"/>
                    <a:pt x="4654" y="1352"/>
                    <a:pt x="4152" y="1209"/>
                  </a:cubicBezTo>
                  <a:cubicBezTo>
                    <a:pt x="3649" y="1065"/>
                    <a:pt x="3524" y="774"/>
                    <a:pt x="3307" y="632"/>
                  </a:cubicBezTo>
                  <a:cubicBezTo>
                    <a:pt x="3090" y="491"/>
                    <a:pt x="2996" y="425"/>
                    <a:pt x="2851" y="363"/>
                  </a:cubicBezTo>
                  <a:cubicBezTo>
                    <a:pt x="2708" y="301"/>
                    <a:pt x="2653" y="287"/>
                    <a:pt x="2441" y="259"/>
                  </a:cubicBezTo>
                  <a:cubicBezTo>
                    <a:pt x="2229" y="232"/>
                    <a:pt x="1799" y="-264"/>
                    <a:pt x="1581" y="193"/>
                  </a:cubicBezTo>
                  <a:cubicBezTo>
                    <a:pt x="1360" y="1182"/>
                    <a:pt x="1350" y="1430"/>
                    <a:pt x="1130" y="2420"/>
                  </a:cubicBezTo>
                  <a:cubicBezTo>
                    <a:pt x="831" y="3867"/>
                    <a:pt x="229" y="6899"/>
                    <a:pt x="1" y="8113"/>
                  </a:cubicBezTo>
                  <a:close/>
                </a:path>
              </a:pathLst>
            </a:custGeom>
            <a:gradFill flip="none" rotWithShape="1">
              <a:gsLst>
                <a:gs pos="0">
                  <a:srgbClr val="FF0000">
                    <a:alpha val="0"/>
                  </a:srgbClr>
                </a:gs>
                <a:gs pos="50000">
                  <a:srgbClr val="FF8F8F">
                    <a:alpha val="41000"/>
                  </a:srgbClr>
                </a:gs>
                <a:gs pos="100000">
                  <a:srgbClr val="FF0000">
                    <a:alpha val="0"/>
                  </a:srgbClr>
                </a:gs>
              </a:gsLst>
              <a:path path="rect">
                <a:fillToRect l="100000" t="100000"/>
              </a:path>
              <a:tileRect r="-100000" b="-100000"/>
            </a:gradFill>
            <a:ln w="9525">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 name="TextBox 756">
              <a:extLst>
                <a:ext uri="{FF2B5EF4-FFF2-40B4-BE49-F238E27FC236}">
                  <a16:creationId xmlns:a16="http://schemas.microsoft.com/office/drawing/2014/main" id="{B2FB0B99-B46A-13F1-3929-13AAF7799B25}"/>
                </a:ext>
              </a:extLst>
            </p:cNvPr>
            <p:cNvSpPr txBox="1">
              <a:spLocks noChangeArrowheads="1"/>
            </p:cNvSpPr>
            <p:nvPr/>
          </p:nvSpPr>
          <p:spPr bwMode="auto">
            <a:xfrm>
              <a:off x="2767065" y="4176816"/>
              <a:ext cx="133104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Macrófago</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grpSp>
          <p:nvGrpSpPr>
            <p:cNvPr id="19" name="Group 728">
              <a:extLst>
                <a:ext uri="{FF2B5EF4-FFF2-40B4-BE49-F238E27FC236}">
                  <a16:creationId xmlns:a16="http://schemas.microsoft.com/office/drawing/2014/main" id="{3B3217B5-24E6-6A3D-B229-D3767D9B834D}"/>
                </a:ext>
              </a:extLst>
            </p:cNvPr>
            <p:cNvGrpSpPr>
              <a:grpSpLocks/>
            </p:cNvGrpSpPr>
            <p:nvPr/>
          </p:nvGrpSpPr>
          <p:grpSpPr bwMode="auto">
            <a:xfrm>
              <a:off x="3768835" y="3123939"/>
              <a:ext cx="1577072" cy="1411629"/>
              <a:chOff x="3504061" y="3599711"/>
              <a:chExt cx="1648033" cy="1379432"/>
            </a:xfrm>
          </p:grpSpPr>
          <p:sp>
            <p:nvSpPr>
              <p:cNvPr id="20" name="Oval 541">
                <a:extLst>
                  <a:ext uri="{FF2B5EF4-FFF2-40B4-BE49-F238E27FC236}">
                    <a16:creationId xmlns:a16="http://schemas.microsoft.com/office/drawing/2014/main" id="{0ECA5843-666D-DB67-C9EA-FDC9B09D3AB7}"/>
                  </a:ext>
                </a:extLst>
              </p:cNvPr>
              <p:cNvSpPr>
                <a:spLocks noChangeArrowheads="1"/>
              </p:cNvSpPr>
              <p:nvPr/>
            </p:nvSpPr>
            <p:spPr bwMode="auto">
              <a:xfrm rot="4371100">
                <a:off x="4092013" y="348510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 name="Oval 545">
                <a:extLst>
                  <a:ext uri="{FF2B5EF4-FFF2-40B4-BE49-F238E27FC236}">
                    <a16:creationId xmlns:a16="http://schemas.microsoft.com/office/drawing/2014/main" id="{C5BA5EC3-0976-8D60-B2ED-05C29E4FC891}"/>
                  </a:ext>
                </a:extLst>
              </p:cNvPr>
              <p:cNvSpPr>
                <a:spLocks noChangeArrowheads="1"/>
              </p:cNvSpPr>
              <p:nvPr/>
            </p:nvSpPr>
            <p:spPr bwMode="auto">
              <a:xfrm rot="4371100">
                <a:off x="4433487" y="354079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 name="Oval 548">
                <a:extLst>
                  <a:ext uri="{FF2B5EF4-FFF2-40B4-BE49-F238E27FC236}">
                    <a16:creationId xmlns:a16="http://schemas.microsoft.com/office/drawing/2014/main" id="{0A27F13E-E2B6-717C-C2F1-AC180C149DE2}"/>
                  </a:ext>
                </a:extLst>
              </p:cNvPr>
              <p:cNvSpPr>
                <a:spLocks noChangeArrowheads="1"/>
              </p:cNvSpPr>
              <p:nvPr/>
            </p:nvSpPr>
            <p:spPr bwMode="auto">
              <a:xfrm rot="4371100">
                <a:off x="4483650" y="352230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 name="Oval 549">
                <a:extLst>
                  <a:ext uri="{FF2B5EF4-FFF2-40B4-BE49-F238E27FC236}">
                    <a16:creationId xmlns:a16="http://schemas.microsoft.com/office/drawing/2014/main" id="{FBA4B6DF-BABA-6CBE-C556-52FAD4F99EDA}"/>
                  </a:ext>
                </a:extLst>
              </p:cNvPr>
              <p:cNvSpPr>
                <a:spLocks noChangeArrowheads="1"/>
              </p:cNvSpPr>
              <p:nvPr/>
            </p:nvSpPr>
            <p:spPr bwMode="auto">
              <a:xfrm rot="4371100">
                <a:off x="4379355" y="353473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 name="Oval 551">
                <a:extLst>
                  <a:ext uri="{FF2B5EF4-FFF2-40B4-BE49-F238E27FC236}">
                    <a16:creationId xmlns:a16="http://schemas.microsoft.com/office/drawing/2014/main" id="{E2CFA6BA-9DE8-2BC7-1AB6-8226E106D080}"/>
                  </a:ext>
                </a:extLst>
              </p:cNvPr>
              <p:cNvSpPr>
                <a:spLocks noChangeArrowheads="1"/>
              </p:cNvSpPr>
              <p:nvPr/>
            </p:nvSpPr>
            <p:spPr bwMode="auto">
              <a:xfrm rot="4371100">
                <a:off x="4117772" y="358351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 name="Oval 552">
                <a:extLst>
                  <a:ext uri="{FF2B5EF4-FFF2-40B4-BE49-F238E27FC236}">
                    <a16:creationId xmlns:a16="http://schemas.microsoft.com/office/drawing/2014/main" id="{1F20D2BD-FFCF-ADA7-B16F-5859542B2C2B}"/>
                  </a:ext>
                </a:extLst>
              </p:cNvPr>
              <p:cNvSpPr>
                <a:spLocks noChangeArrowheads="1"/>
              </p:cNvSpPr>
              <p:nvPr/>
            </p:nvSpPr>
            <p:spPr bwMode="auto">
              <a:xfrm rot="4371100">
                <a:off x="4176752" y="357729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 name="Oval 553">
                <a:extLst>
                  <a:ext uri="{FF2B5EF4-FFF2-40B4-BE49-F238E27FC236}">
                    <a16:creationId xmlns:a16="http://schemas.microsoft.com/office/drawing/2014/main" id="{9717590F-5343-869A-6B95-571A43058505}"/>
                  </a:ext>
                </a:extLst>
              </p:cNvPr>
              <p:cNvSpPr>
                <a:spLocks noChangeArrowheads="1"/>
              </p:cNvSpPr>
              <p:nvPr/>
            </p:nvSpPr>
            <p:spPr bwMode="auto">
              <a:xfrm rot="4371100">
                <a:off x="4263553" y="354404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 name="Oval 554">
                <a:extLst>
                  <a:ext uri="{FF2B5EF4-FFF2-40B4-BE49-F238E27FC236}">
                    <a16:creationId xmlns:a16="http://schemas.microsoft.com/office/drawing/2014/main" id="{522ED240-05AE-E82A-4154-C76BB6ECF2C3}"/>
                  </a:ext>
                </a:extLst>
              </p:cNvPr>
              <p:cNvSpPr>
                <a:spLocks noChangeArrowheads="1"/>
              </p:cNvSpPr>
              <p:nvPr/>
            </p:nvSpPr>
            <p:spPr bwMode="auto">
              <a:xfrm rot="4371100">
                <a:off x="4347501" y="357549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 name="Oval 555">
                <a:extLst>
                  <a:ext uri="{FF2B5EF4-FFF2-40B4-BE49-F238E27FC236}">
                    <a16:creationId xmlns:a16="http://schemas.microsoft.com/office/drawing/2014/main" id="{2CB3C030-B59C-CB8C-7B50-54F66DDA8504}"/>
                  </a:ext>
                </a:extLst>
              </p:cNvPr>
              <p:cNvSpPr>
                <a:spLocks noChangeArrowheads="1"/>
              </p:cNvSpPr>
              <p:nvPr/>
            </p:nvSpPr>
            <p:spPr bwMode="auto">
              <a:xfrm rot="4371100">
                <a:off x="4394891" y="359392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 name="Oval 556">
                <a:extLst>
                  <a:ext uri="{FF2B5EF4-FFF2-40B4-BE49-F238E27FC236}">
                    <a16:creationId xmlns:a16="http://schemas.microsoft.com/office/drawing/2014/main" id="{FB3E2FB1-0A14-1796-7341-FC9EE25102CF}"/>
                  </a:ext>
                </a:extLst>
              </p:cNvPr>
              <p:cNvSpPr>
                <a:spLocks noChangeArrowheads="1"/>
              </p:cNvSpPr>
              <p:nvPr/>
            </p:nvSpPr>
            <p:spPr bwMode="auto">
              <a:xfrm rot="4371100">
                <a:off x="4293001" y="358972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 name="Oval 557">
                <a:extLst>
                  <a:ext uri="{FF2B5EF4-FFF2-40B4-BE49-F238E27FC236}">
                    <a16:creationId xmlns:a16="http://schemas.microsoft.com/office/drawing/2014/main" id="{071069B5-F7E7-4339-B748-3D23A03C7076}"/>
                  </a:ext>
                </a:extLst>
              </p:cNvPr>
              <p:cNvSpPr>
                <a:spLocks noChangeArrowheads="1"/>
              </p:cNvSpPr>
              <p:nvPr/>
            </p:nvSpPr>
            <p:spPr bwMode="auto">
              <a:xfrm rot="4371100">
                <a:off x="4188746" y="36231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 name="Oval 558">
                <a:extLst>
                  <a:ext uri="{FF2B5EF4-FFF2-40B4-BE49-F238E27FC236}">
                    <a16:creationId xmlns:a16="http://schemas.microsoft.com/office/drawing/2014/main" id="{7F52D033-BEAF-6CC3-4E10-3F70DDBC4F87}"/>
                  </a:ext>
                </a:extLst>
              </p:cNvPr>
              <p:cNvSpPr>
                <a:spLocks noChangeArrowheads="1"/>
              </p:cNvSpPr>
              <p:nvPr/>
            </p:nvSpPr>
            <p:spPr bwMode="auto">
              <a:xfrm rot="4371100">
                <a:off x="4178262" y="351717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3" name="Oval 559">
                <a:extLst>
                  <a:ext uri="{FF2B5EF4-FFF2-40B4-BE49-F238E27FC236}">
                    <a16:creationId xmlns:a16="http://schemas.microsoft.com/office/drawing/2014/main" id="{52DC51EB-79CB-A3AC-0844-EA2093D155C9}"/>
                  </a:ext>
                </a:extLst>
              </p:cNvPr>
              <p:cNvSpPr>
                <a:spLocks noChangeArrowheads="1"/>
              </p:cNvSpPr>
              <p:nvPr/>
            </p:nvSpPr>
            <p:spPr bwMode="auto">
              <a:xfrm rot="4371100">
                <a:off x="4447570" y="376141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4" name="Oval 560">
                <a:extLst>
                  <a:ext uri="{FF2B5EF4-FFF2-40B4-BE49-F238E27FC236}">
                    <a16:creationId xmlns:a16="http://schemas.microsoft.com/office/drawing/2014/main" id="{997444AB-1AFA-C715-F084-0D370811F35F}"/>
                  </a:ext>
                </a:extLst>
              </p:cNvPr>
              <p:cNvSpPr>
                <a:spLocks noChangeArrowheads="1"/>
              </p:cNvSpPr>
              <p:nvPr/>
            </p:nvSpPr>
            <p:spPr bwMode="auto">
              <a:xfrm rot="4371100">
                <a:off x="4165179" y="368224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5" name="Oval 561">
                <a:extLst>
                  <a:ext uri="{FF2B5EF4-FFF2-40B4-BE49-F238E27FC236}">
                    <a16:creationId xmlns:a16="http://schemas.microsoft.com/office/drawing/2014/main" id="{09D67FC7-CC5B-84D5-F106-00E6EEABD08B}"/>
                  </a:ext>
                </a:extLst>
              </p:cNvPr>
              <p:cNvSpPr>
                <a:spLocks noChangeArrowheads="1"/>
              </p:cNvSpPr>
              <p:nvPr/>
            </p:nvSpPr>
            <p:spPr bwMode="auto">
              <a:xfrm rot="4371100">
                <a:off x="4444094" y="364002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6" name="Oval 563">
                <a:extLst>
                  <a:ext uri="{FF2B5EF4-FFF2-40B4-BE49-F238E27FC236}">
                    <a16:creationId xmlns:a16="http://schemas.microsoft.com/office/drawing/2014/main" id="{A88796E3-1A61-3647-0F12-B681E5EFE4F5}"/>
                  </a:ext>
                </a:extLst>
              </p:cNvPr>
              <p:cNvSpPr>
                <a:spLocks noChangeArrowheads="1"/>
              </p:cNvSpPr>
              <p:nvPr/>
            </p:nvSpPr>
            <p:spPr bwMode="auto">
              <a:xfrm rot="4371100">
                <a:off x="4523727" y="360792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7" name="Oval 564">
                <a:extLst>
                  <a:ext uri="{FF2B5EF4-FFF2-40B4-BE49-F238E27FC236}">
                    <a16:creationId xmlns:a16="http://schemas.microsoft.com/office/drawing/2014/main" id="{4EE752D1-5143-B204-AC9F-9818A3FE2E4D}"/>
                  </a:ext>
                </a:extLst>
              </p:cNvPr>
              <p:cNvSpPr>
                <a:spLocks noChangeArrowheads="1"/>
              </p:cNvSpPr>
              <p:nvPr/>
            </p:nvSpPr>
            <p:spPr bwMode="auto">
              <a:xfrm rot="4371100">
                <a:off x="4437696" y="369140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8" name="Oval 565">
                <a:extLst>
                  <a:ext uri="{FF2B5EF4-FFF2-40B4-BE49-F238E27FC236}">
                    <a16:creationId xmlns:a16="http://schemas.microsoft.com/office/drawing/2014/main" id="{FBB13019-2303-A7CA-4C9F-F03010CF6BDE}"/>
                  </a:ext>
                </a:extLst>
              </p:cNvPr>
              <p:cNvSpPr>
                <a:spLocks noChangeArrowheads="1"/>
              </p:cNvSpPr>
              <p:nvPr/>
            </p:nvSpPr>
            <p:spPr bwMode="auto">
              <a:xfrm rot="4371100">
                <a:off x="4640747" y="367957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9" name="Oval 566">
                <a:extLst>
                  <a:ext uri="{FF2B5EF4-FFF2-40B4-BE49-F238E27FC236}">
                    <a16:creationId xmlns:a16="http://schemas.microsoft.com/office/drawing/2014/main" id="{5E562B09-4C07-3FE9-A605-BECD54F246EF}"/>
                  </a:ext>
                </a:extLst>
              </p:cNvPr>
              <p:cNvSpPr>
                <a:spLocks noChangeArrowheads="1"/>
              </p:cNvSpPr>
              <p:nvPr/>
            </p:nvSpPr>
            <p:spPr bwMode="auto">
              <a:xfrm rot="4371100">
                <a:off x="4249783" y="363110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0" name="Oval 567">
                <a:extLst>
                  <a:ext uri="{FF2B5EF4-FFF2-40B4-BE49-F238E27FC236}">
                    <a16:creationId xmlns:a16="http://schemas.microsoft.com/office/drawing/2014/main" id="{6D0A6366-78D4-1C73-4F02-50DB9AA0CC81}"/>
                  </a:ext>
                </a:extLst>
              </p:cNvPr>
              <p:cNvSpPr>
                <a:spLocks noChangeArrowheads="1"/>
              </p:cNvSpPr>
              <p:nvPr/>
            </p:nvSpPr>
            <p:spPr bwMode="auto">
              <a:xfrm rot="4371100">
                <a:off x="4561154" y="372370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1" name="Oval 568">
                <a:extLst>
                  <a:ext uri="{FF2B5EF4-FFF2-40B4-BE49-F238E27FC236}">
                    <a16:creationId xmlns:a16="http://schemas.microsoft.com/office/drawing/2014/main" id="{E0F30B31-FE4B-A1C4-0933-7D9DA45F5302}"/>
                  </a:ext>
                </a:extLst>
              </p:cNvPr>
              <p:cNvSpPr>
                <a:spLocks noChangeArrowheads="1"/>
              </p:cNvSpPr>
              <p:nvPr/>
            </p:nvSpPr>
            <p:spPr bwMode="auto">
              <a:xfrm rot="4371100">
                <a:off x="4383972" y="3686080"/>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2" name="Oval 569">
                <a:extLst>
                  <a:ext uri="{FF2B5EF4-FFF2-40B4-BE49-F238E27FC236}">
                    <a16:creationId xmlns:a16="http://schemas.microsoft.com/office/drawing/2014/main" id="{E30102F6-ABE4-ABB9-4455-873541B2FABC}"/>
                  </a:ext>
                </a:extLst>
              </p:cNvPr>
              <p:cNvSpPr>
                <a:spLocks noChangeArrowheads="1"/>
              </p:cNvSpPr>
              <p:nvPr/>
            </p:nvSpPr>
            <p:spPr bwMode="auto">
              <a:xfrm rot="4371100">
                <a:off x="4282895" y="368333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3" name="Oval 570">
                <a:extLst>
                  <a:ext uri="{FF2B5EF4-FFF2-40B4-BE49-F238E27FC236}">
                    <a16:creationId xmlns:a16="http://schemas.microsoft.com/office/drawing/2014/main" id="{893204C3-8F6B-3DE4-A42A-7A042E755973}"/>
                  </a:ext>
                </a:extLst>
              </p:cNvPr>
              <p:cNvSpPr>
                <a:spLocks noChangeArrowheads="1"/>
              </p:cNvSpPr>
              <p:nvPr/>
            </p:nvSpPr>
            <p:spPr bwMode="auto">
              <a:xfrm rot="4371100">
                <a:off x="4121981" y="373412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4" name="Oval 571">
                <a:extLst>
                  <a:ext uri="{FF2B5EF4-FFF2-40B4-BE49-F238E27FC236}">
                    <a16:creationId xmlns:a16="http://schemas.microsoft.com/office/drawing/2014/main" id="{A90940BA-D656-DF99-BDFC-F3424AEA1980}"/>
                  </a:ext>
                </a:extLst>
              </p:cNvPr>
              <p:cNvSpPr>
                <a:spLocks noChangeArrowheads="1"/>
              </p:cNvSpPr>
              <p:nvPr/>
            </p:nvSpPr>
            <p:spPr bwMode="auto">
              <a:xfrm rot="4371100">
                <a:off x="4052551" y="379494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5" name="Oval 572">
                <a:extLst>
                  <a:ext uri="{FF2B5EF4-FFF2-40B4-BE49-F238E27FC236}">
                    <a16:creationId xmlns:a16="http://schemas.microsoft.com/office/drawing/2014/main" id="{D7E8EF48-E0ED-CF10-A831-131C9040FCE1}"/>
                  </a:ext>
                </a:extLst>
              </p:cNvPr>
              <p:cNvSpPr>
                <a:spLocks noChangeArrowheads="1"/>
              </p:cNvSpPr>
              <p:nvPr/>
            </p:nvSpPr>
            <p:spPr bwMode="auto">
              <a:xfrm rot="4371100">
                <a:off x="3954228" y="403183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6" name="Oval 573">
                <a:extLst>
                  <a:ext uri="{FF2B5EF4-FFF2-40B4-BE49-F238E27FC236}">
                    <a16:creationId xmlns:a16="http://schemas.microsoft.com/office/drawing/2014/main" id="{806A5EC3-7394-E668-BAE3-8665635189D3}"/>
                  </a:ext>
                </a:extLst>
              </p:cNvPr>
              <p:cNvSpPr>
                <a:spLocks noChangeArrowheads="1"/>
              </p:cNvSpPr>
              <p:nvPr/>
            </p:nvSpPr>
            <p:spPr bwMode="auto">
              <a:xfrm rot="4371100">
                <a:off x="4350630" y="37276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7" name="Oval 574">
                <a:extLst>
                  <a:ext uri="{FF2B5EF4-FFF2-40B4-BE49-F238E27FC236}">
                    <a16:creationId xmlns:a16="http://schemas.microsoft.com/office/drawing/2014/main" id="{2E02AE95-F157-1B0B-543D-A6EED5E2DD2F}"/>
                  </a:ext>
                </a:extLst>
              </p:cNvPr>
              <p:cNvSpPr>
                <a:spLocks noChangeArrowheads="1"/>
              </p:cNvSpPr>
              <p:nvPr/>
            </p:nvSpPr>
            <p:spPr bwMode="auto">
              <a:xfrm rot="4371100">
                <a:off x="4422009" y="383785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9" name="Oval 575">
                <a:extLst>
                  <a:ext uri="{FF2B5EF4-FFF2-40B4-BE49-F238E27FC236}">
                    <a16:creationId xmlns:a16="http://schemas.microsoft.com/office/drawing/2014/main" id="{B0CABA24-0B8B-671D-6F81-A8E8B9D8DC45}"/>
                  </a:ext>
                </a:extLst>
              </p:cNvPr>
              <p:cNvSpPr>
                <a:spLocks noChangeArrowheads="1"/>
              </p:cNvSpPr>
              <p:nvPr/>
            </p:nvSpPr>
            <p:spPr bwMode="auto">
              <a:xfrm rot="4371100">
                <a:off x="4267511" y="38477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0" name="Oval 576">
                <a:extLst>
                  <a:ext uri="{FF2B5EF4-FFF2-40B4-BE49-F238E27FC236}">
                    <a16:creationId xmlns:a16="http://schemas.microsoft.com/office/drawing/2014/main" id="{142ADEF5-AC23-2A9C-424D-573AD52DF93D}"/>
                  </a:ext>
                </a:extLst>
              </p:cNvPr>
              <p:cNvSpPr>
                <a:spLocks noChangeArrowheads="1"/>
              </p:cNvSpPr>
              <p:nvPr/>
            </p:nvSpPr>
            <p:spPr bwMode="auto">
              <a:xfrm rot="4371100">
                <a:off x="4212160" y="376973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1" name="Oval 577">
                <a:extLst>
                  <a:ext uri="{FF2B5EF4-FFF2-40B4-BE49-F238E27FC236}">
                    <a16:creationId xmlns:a16="http://schemas.microsoft.com/office/drawing/2014/main" id="{303D81ED-E50F-A800-56C0-B7AB277CD9CE}"/>
                  </a:ext>
                </a:extLst>
              </p:cNvPr>
              <p:cNvSpPr>
                <a:spLocks noChangeArrowheads="1"/>
              </p:cNvSpPr>
              <p:nvPr/>
            </p:nvSpPr>
            <p:spPr bwMode="auto">
              <a:xfrm rot="4371100">
                <a:off x="4286739" y="378443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2" name="Oval 578">
                <a:extLst>
                  <a:ext uri="{FF2B5EF4-FFF2-40B4-BE49-F238E27FC236}">
                    <a16:creationId xmlns:a16="http://schemas.microsoft.com/office/drawing/2014/main" id="{107B6775-57C6-5896-1A99-0B72EC18C6AD}"/>
                  </a:ext>
                </a:extLst>
              </p:cNvPr>
              <p:cNvSpPr>
                <a:spLocks noChangeArrowheads="1"/>
              </p:cNvSpPr>
              <p:nvPr/>
            </p:nvSpPr>
            <p:spPr bwMode="auto">
              <a:xfrm rot="13156290">
                <a:off x="4430580" y="4180048"/>
                <a:ext cx="271454" cy="718966"/>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3" name="Oval 579">
                <a:extLst>
                  <a:ext uri="{FF2B5EF4-FFF2-40B4-BE49-F238E27FC236}">
                    <a16:creationId xmlns:a16="http://schemas.microsoft.com/office/drawing/2014/main" id="{C4DE4AD0-244A-2FA2-4EF4-37893CF1A9AE}"/>
                  </a:ext>
                </a:extLst>
              </p:cNvPr>
              <p:cNvSpPr>
                <a:spLocks noChangeArrowheads="1"/>
              </p:cNvSpPr>
              <p:nvPr/>
            </p:nvSpPr>
            <p:spPr bwMode="auto">
              <a:xfrm rot="13156290">
                <a:off x="4492620" y="4074604"/>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5" name="Oval 580">
                <a:extLst>
                  <a:ext uri="{FF2B5EF4-FFF2-40B4-BE49-F238E27FC236}">
                    <a16:creationId xmlns:a16="http://schemas.microsoft.com/office/drawing/2014/main" id="{FC0BF9D1-2B91-0EAC-7B69-6297F5C5F49F}"/>
                  </a:ext>
                </a:extLst>
              </p:cNvPr>
              <p:cNvSpPr>
                <a:spLocks noChangeArrowheads="1"/>
              </p:cNvSpPr>
              <p:nvPr/>
            </p:nvSpPr>
            <p:spPr bwMode="auto">
              <a:xfrm rot="13156290">
                <a:off x="4282170" y="426017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5" name="Oval 583">
                <a:extLst>
                  <a:ext uri="{FF2B5EF4-FFF2-40B4-BE49-F238E27FC236}">
                    <a16:creationId xmlns:a16="http://schemas.microsoft.com/office/drawing/2014/main" id="{EB60E4C9-1F25-497B-6F97-CFFE869624FE}"/>
                  </a:ext>
                </a:extLst>
              </p:cNvPr>
              <p:cNvSpPr>
                <a:spLocks noChangeArrowheads="1"/>
              </p:cNvSpPr>
              <p:nvPr/>
            </p:nvSpPr>
            <p:spPr bwMode="auto">
              <a:xfrm rot="13156290">
                <a:off x="4034276" y="423804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6" name="Oval 584">
                <a:extLst>
                  <a:ext uri="{FF2B5EF4-FFF2-40B4-BE49-F238E27FC236}">
                    <a16:creationId xmlns:a16="http://schemas.microsoft.com/office/drawing/2014/main" id="{34FD51C2-0537-0E47-9D10-794AC4A8F76B}"/>
                  </a:ext>
                </a:extLst>
              </p:cNvPr>
              <p:cNvSpPr>
                <a:spLocks noChangeArrowheads="1"/>
              </p:cNvSpPr>
              <p:nvPr/>
            </p:nvSpPr>
            <p:spPr bwMode="auto">
              <a:xfrm rot="13156290">
                <a:off x="4362252" y="418001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7" name="Oval 585">
                <a:extLst>
                  <a:ext uri="{FF2B5EF4-FFF2-40B4-BE49-F238E27FC236}">
                    <a16:creationId xmlns:a16="http://schemas.microsoft.com/office/drawing/2014/main" id="{F6EB6367-7C5C-5A3B-50D5-642152C32A11}"/>
                  </a:ext>
                </a:extLst>
              </p:cNvPr>
              <p:cNvSpPr>
                <a:spLocks noChangeArrowheads="1"/>
              </p:cNvSpPr>
              <p:nvPr/>
            </p:nvSpPr>
            <p:spPr bwMode="auto">
              <a:xfrm rot="13156290">
                <a:off x="4544427" y="41393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8" name="Oval 586">
                <a:extLst>
                  <a:ext uri="{FF2B5EF4-FFF2-40B4-BE49-F238E27FC236}">
                    <a16:creationId xmlns:a16="http://schemas.microsoft.com/office/drawing/2014/main" id="{5C13330E-6146-7F31-FC68-6D08F8D81A6F}"/>
                  </a:ext>
                </a:extLst>
              </p:cNvPr>
              <p:cNvSpPr>
                <a:spLocks noChangeArrowheads="1"/>
              </p:cNvSpPr>
              <p:nvPr/>
            </p:nvSpPr>
            <p:spPr bwMode="auto">
              <a:xfrm rot="13156290">
                <a:off x="4309503" y="419039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9" name="Oval 587">
                <a:extLst>
                  <a:ext uri="{FF2B5EF4-FFF2-40B4-BE49-F238E27FC236}">
                    <a16:creationId xmlns:a16="http://schemas.microsoft.com/office/drawing/2014/main" id="{338CF04C-B93E-1B3B-6F26-66FDDFBB1B9D}"/>
                  </a:ext>
                </a:extLst>
              </p:cNvPr>
              <p:cNvSpPr>
                <a:spLocks noChangeArrowheads="1"/>
              </p:cNvSpPr>
              <p:nvPr/>
            </p:nvSpPr>
            <p:spPr bwMode="auto">
              <a:xfrm rot="13156290">
                <a:off x="4395593" y="413842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6" name="Oval 588">
                <a:extLst>
                  <a:ext uri="{FF2B5EF4-FFF2-40B4-BE49-F238E27FC236}">
                    <a16:creationId xmlns:a16="http://schemas.microsoft.com/office/drawing/2014/main" id="{A65A1C0D-7F09-C083-232F-E46734408707}"/>
                  </a:ext>
                </a:extLst>
              </p:cNvPr>
              <p:cNvSpPr>
                <a:spLocks noChangeArrowheads="1"/>
              </p:cNvSpPr>
              <p:nvPr/>
            </p:nvSpPr>
            <p:spPr bwMode="auto">
              <a:xfrm rot="13156290">
                <a:off x="4582639" y="402617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7" name="Oval 589">
                <a:extLst>
                  <a:ext uri="{FF2B5EF4-FFF2-40B4-BE49-F238E27FC236}">
                    <a16:creationId xmlns:a16="http://schemas.microsoft.com/office/drawing/2014/main" id="{04635BE3-73AA-24AA-3A43-626175FF183E}"/>
                  </a:ext>
                </a:extLst>
              </p:cNvPr>
              <p:cNvSpPr>
                <a:spLocks noChangeArrowheads="1"/>
              </p:cNvSpPr>
              <p:nvPr/>
            </p:nvSpPr>
            <p:spPr bwMode="auto">
              <a:xfrm rot="13156290">
                <a:off x="4455758" y="404359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9" name="Oval 590">
                <a:extLst>
                  <a:ext uri="{FF2B5EF4-FFF2-40B4-BE49-F238E27FC236}">
                    <a16:creationId xmlns:a16="http://schemas.microsoft.com/office/drawing/2014/main" id="{6E638AD4-5FDE-24C5-933C-F4D0313FCBCA}"/>
                  </a:ext>
                </a:extLst>
              </p:cNvPr>
              <p:cNvSpPr>
                <a:spLocks noChangeArrowheads="1"/>
              </p:cNvSpPr>
              <p:nvPr/>
            </p:nvSpPr>
            <p:spPr bwMode="auto">
              <a:xfrm rot="13156290">
                <a:off x="4427305" y="40939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0" name="Oval 591">
                <a:extLst>
                  <a:ext uri="{FF2B5EF4-FFF2-40B4-BE49-F238E27FC236}">
                    <a16:creationId xmlns:a16="http://schemas.microsoft.com/office/drawing/2014/main" id="{8BA16151-69BF-A8BE-7544-04BCD6FF8D18}"/>
                  </a:ext>
                </a:extLst>
              </p:cNvPr>
              <p:cNvSpPr>
                <a:spLocks noChangeArrowheads="1"/>
              </p:cNvSpPr>
              <p:nvPr/>
            </p:nvSpPr>
            <p:spPr bwMode="auto">
              <a:xfrm rot="13156290">
                <a:off x="4312112" y="413922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1" name="Oval 592">
                <a:extLst>
                  <a:ext uri="{FF2B5EF4-FFF2-40B4-BE49-F238E27FC236}">
                    <a16:creationId xmlns:a16="http://schemas.microsoft.com/office/drawing/2014/main" id="{D032B6B7-003E-7AC0-B397-3A10E8DFB511}"/>
                  </a:ext>
                </a:extLst>
              </p:cNvPr>
              <p:cNvSpPr>
                <a:spLocks noChangeArrowheads="1"/>
              </p:cNvSpPr>
              <p:nvPr/>
            </p:nvSpPr>
            <p:spPr bwMode="auto">
              <a:xfrm rot="13156290">
                <a:off x="4498826" y="420784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2" name="Oval 593">
                <a:extLst>
                  <a:ext uri="{FF2B5EF4-FFF2-40B4-BE49-F238E27FC236}">
                    <a16:creationId xmlns:a16="http://schemas.microsoft.com/office/drawing/2014/main" id="{C5B5924E-7676-4499-E608-484FE1448DCF}"/>
                  </a:ext>
                </a:extLst>
              </p:cNvPr>
              <p:cNvSpPr>
                <a:spLocks noChangeArrowheads="1"/>
              </p:cNvSpPr>
              <p:nvPr/>
            </p:nvSpPr>
            <p:spPr bwMode="auto">
              <a:xfrm rot="13156290">
                <a:off x="4743196" y="403169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3" name="Oval 594">
                <a:extLst>
                  <a:ext uri="{FF2B5EF4-FFF2-40B4-BE49-F238E27FC236}">
                    <a16:creationId xmlns:a16="http://schemas.microsoft.com/office/drawing/2014/main" id="{71FD5666-6949-6BFF-3F3D-4A0E65E479CF}"/>
                  </a:ext>
                </a:extLst>
              </p:cNvPr>
              <p:cNvSpPr>
                <a:spLocks noChangeArrowheads="1"/>
              </p:cNvSpPr>
              <p:nvPr/>
            </p:nvSpPr>
            <p:spPr bwMode="auto">
              <a:xfrm rot="13156290">
                <a:off x="4501219" y="39713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4" name="Oval 595">
                <a:extLst>
                  <a:ext uri="{FF2B5EF4-FFF2-40B4-BE49-F238E27FC236}">
                    <a16:creationId xmlns:a16="http://schemas.microsoft.com/office/drawing/2014/main" id="{5357B840-7674-6697-C727-F766768FBE22}"/>
                  </a:ext>
                </a:extLst>
              </p:cNvPr>
              <p:cNvSpPr>
                <a:spLocks noChangeArrowheads="1"/>
              </p:cNvSpPr>
              <p:nvPr/>
            </p:nvSpPr>
            <p:spPr bwMode="auto">
              <a:xfrm rot="13156290">
                <a:off x="4381769" y="405437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5" name="Oval 596">
                <a:extLst>
                  <a:ext uri="{FF2B5EF4-FFF2-40B4-BE49-F238E27FC236}">
                    <a16:creationId xmlns:a16="http://schemas.microsoft.com/office/drawing/2014/main" id="{D58FDA2B-266C-BFBF-ACCC-EA6BD33B589A}"/>
                  </a:ext>
                </a:extLst>
              </p:cNvPr>
              <p:cNvSpPr>
                <a:spLocks noChangeArrowheads="1"/>
              </p:cNvSpPr>
              <p:nvPr/>
            </p:nvSpPr>
            <p:spPr bwMode="auto">
              <a:xfrm rot="13156290">
                <a:off x="4426619" y="394611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6" name="Oval 597">
                <a:extLst>
                  <a:ext uri="{FF2B5EF4-FFF2-40B4-BE49-F238E27FC236}">
                    <a16:creationId xmlns:a16="http://schemas.microsoft.com/office/drawing/2014/main" id="{7D3F36BC-BD17-4F69-5362-A03279FD09F7}"/>
                  </a:ext>
                </a:extLst>
              </p:cNvPr>
              <p:cNvSpPr>
                <a:spLocks noChangeArrowheads="1"/>
              </p:cNvSpPr>
              <p:nvPr/>
            </p:nvSpPr>
            <p:spPr bwMode="auto">
              <a:xfrm rot="13156290">
                <a:off x="4488778" y="390370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7" name="Oval 598">
                <a:extLst>
                  <a:ext uri="{FF2B5EF4-FFF2-40B4-BE49-F238E27FC236}">
                    <a16:creationId xmlns:a16="http://schemas.microsoft.com/office/drawing/2014/main" id="{DB783FEC-0B3C-6911-D8CC-238249A5638A}"/>
                  </a:ext>
                </a:extLst>
              </p:cNvPr>
              <p:cNvSpPr>
                <a:spLocks noChangeArrowheads="1"/>
              </p:cNvSpPr>
              <p:nvPr/>
            </p:nvSpPr>
            <p:spPr bwMode="auto">
              <a:xfrm rot="13156290">
                <a:off x="4588632" y="390427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8" name="Oval 599">
                <a:extLst>
                  <a:ext uri="{FF2B5EF4-FFF2-40B4-BE49-F238E27FC236}">
                    <a16:creationId xmlns:a16="http://schemas.microsoft.com/office/drawing/2014/main" id="{4F5D0412-CD9F-E44C-D87D-859324BAB946}"/>
                  </a:ext>
                </a:extLst>
              </p:cNvPr>
              <p:cNvSpPr>
                <a:spLocks noChangeArrowheads="1"/>
              </p:cNvSpPr>
              <p:nvPr/>
            </p:nvSpPr>
            <p:spPr bwMode="auto">
              <a:xfrm rot="13156290">
                <a:off x="4158346" y="418411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9" name="Oval 600">
                <a:extLst>
                  <a:ext uri="{FF2B5EF4-FFF2-40B4-BE49-F238E27FC236}">
                    <a16:creationId xmlns:a16="http://schemas.microsoft.com/office/drawing/2014/main" id="{108E46E6-DD3A-CDAA-6515-B277149AB007}"/>
                  </a:ext>
                </a:extLst>
              </p:cNvPr>
              <p:cNvSpPr>
                <a:spLocks noChangeArrowheads="1"/>
              </p:cNvSpPr>
              <p:nvPr/>
            </p:nvSpPr>
            <p:spPr bwMode="auto">
              <a:xfrm rot="13156290">
                <a:off x="4242808" y="412348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0" name="Oval 601">
                <a:extLst>
                  <a:ext uri="{FF2B5EF4-FFF2-40B4-BE49-F238E27FC236}">
                    <a16:creationId xmlns:a16="http://schemas.microsoft.com/office/drawing/2014/main" id="{E2BD2989-2531-DB99-941F-9F4175FEA52B}"/>
                  </a:ext>
                </a:extLst>
              </p:cNvPr>
              <p:cNvSpPr>
                <a:spLocks noChangeArrowheads="1"/>
              </p:cNvSpPr>
              <p:nvPr/>
            </p:nvSpPr>
            <p:spPr bwMode="auto">
              <a:xfrm rot="13156290">
                <a:off x="4172934" y="409277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1" name="Oval 602">
                <a:extLst>
                  <a:ext uri="{FF2B5EF4-FFF2-40B4-BE49-F238E27FC236}">
                    <a16:creationId xmlns:a16="http://schemas.microsoft.com/office/drawing/2014/main" id="{B11FE60A-A535-90DD-EBAA-9D3C1C6028BC}"/>
                  </a:ext>
                </a:extLst>
              </p:cNvPr>
              <p:cNvSpPr>
                <a:spLocks noChangeArrowheads="1"/>
              </p:cNvSpPr>
              <p:nvPr/>
            </p:nvSpPr>
            <p:spPr bwMode="auto">
              <a:xfrm rot="13156290">
                <a:off x="4273666" y="4056515"/>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2" name="Oval 603">
                <a:extLst>
                  <a:ext uri="{FF2B5EF4-FFF2-40B4-BE49-F238E27FC236}">
                    <a16:creationId xmlns:a16="http://schemas.microsoft.com/office/drawing/2014/main" id="{3AE4A87B-D742-273B-529A-178621260D71}"/>
                  </a:ext>
                </a:extLst>
              </p:cNvPr>
              <p:cNvSpPr>
                <a:spLocks noChangeArrowheads="1"/>
              </p:cNvSpPr>
              <p:nvPr/>
            </p:nvSpPr>
            <p:spPr bwMode="auto">
              <a:xfrm rot="13156290">
                <a:off x="4395335" y="400185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3" name="Oval 604">
                <a:extLst>
                  <a:ext uri="{FF2B5EF4-FFF2-40B4-BE49-F238E27FC236}">
                    <a16:creationId xmlns:a16="http://schemas.microsoft.com/office/drawing/2014/main" id="{7C03962E-F9A7-1F68-3A55-7DCE0943249C}"/>
                  </a:ext>
                </a:extLst>
              </p:cNvPr>
              <p:cNvSpPr>
                <a:spLocks noChangeArrowheads="1"/>
              </p:cNvSpPr>
              <p:nvPr/>
            </p:nvSpPr>
            <p:spPr bwMode="auto">
              <a:xfrm rot="13156290">
                <a:off x="4218616" y="406626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4" name="Oval 605">
                <a:extLst>
                  <a:ext uri="{FF2B5EF4-FFF2-40B4-BE49-F238E27FC236}">
                    <a16:creationId xmlns:a16="http://schemas.microsoft.com/office/drawing/2014/main" id="{2902A719-0858-DA8B-9068-0696BBE63C45}"/>
                  </a:ext>
                </a:extLst>
              </p:cNvPr>
              <p:cNvSpPr>
                <a:spLocks noChangeArrowheads="1"/>
              </p:cNvSpPr>
              <p:nvPr/>
            </p:nvSpPr>
            <p:spPr bwMode="auto">
              <a:xfrm rot="13156290">
                <a:off x="4304705" y="401429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5" name="Oval 606">
                <a:extLst>
                  <a:ext uri="{FF2B5EF4-FFF2-40B4-BE49-F238E27FC236}">
                    <a16:creationId xmlns:a16="http://schemas.microsoft.com/office/drawing/2014/main" id="{337E8BB8-9102-BF11-E0B6-F7E2B28E5A0B}"/>
                  </a:ext>
                </a:extLst>
              </p:cNvPr>
              <p:cNvSpPr>
                <a:spLocks noChangeArrowheads="1"/>
              </p:cNvSpPr>
              <p:nvPr/>
            </p:nvSpPr>
            <p:spPr bwMode="auto">
              <a:xfrm rot="13156290">
                <a:off x="4519615" y="382622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6" name="Oval 607">
                <a:extLst>
                  <a:ext uri="{FF2B5EF4-FFF2-40B4-BE49-F238E27FC236}">
                    <a16:creationId xmlns:a16="http://schemas.microsoft.com/office/drawing/2014/main" id="{7FB213E3-9148-55F4-CF5A-62C7ACB6BF45}"/>
                  </a:ext>
                </a:extLst>
              </p:cNvPr>
              <p:cNvSpPr>
                <a:spLocks noChangeArrowheads="1"/>
              </p:cNvSpPr>
              <p:nvPr/>
            </p:nvSpPr>
            <p:spPr bwMode="auto">
              <a:xfrm rot="13156290">
                <a:off x="4367172" y="392008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7" name="Oval 608">
                <a:extLst>
                  <a:ext uri="{FF2B5EF4-FFF2-40B4-BE49-F238E27FC236}">
                    <a16:creationId xmlns:a16="http://schemas.microsoft.com/office/drawing/2014/main" id="{B60D0FB8-AF55-B229-A44D-7F25E46025F0}"/>
                  </a:ext>
                </a:extLst>
              </p:cNvPr>
              <p:cNvSpPr>
                <a:spLocks noChangeArrowheads="1"/>
              </p:cNvSpPr>
              <p:nvPr/>
            </p:nvSpPr>
            <p:spPr bwMode="auto">
              <a:xfrm rot="13156290">
                <a:off x="4063562" y="407407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8" name="Oval 609">
                <a:extLst>
                  <a:ext uri="{FF2B5EF4-FFF2-40B4-BE49-F238E27FC236}">
                    <a16:creationId xmlns:a16="http://schemas.microsoft.com/office/drawing/2014/main" id="{023A5B66-159A-9226-9FF4-AF62E51B55A3}"/>
                  </a:ext>
                </a:extLst>
              </p:cNvPr>
              <p:cNvSpPr>
                <a:spLocks noChangeArrowheads="1"/>
              </p:cNvSpPr>
              <p:nvPr/>
            </p:nvSpPr>
            <p:spPr bwMode="auto">
              <a:xfrm rot="13156290">
                <a:off x="4278986" y="393690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9" name="Oval 610">
                <a:extLst>
                  <a:ext uri="{FF2B5EF4-FFF2-40B4-BE49-F238E27FC236}">
                    <a16:creationId xmlns:a16="http://schemas.microsoft.com/office/drawing/2014/main" id="{E7E85114-1A5A-58B5-9104-2E5D4A1B9851}"/>
                  </a:ext>
                </a:extLst>
              </p:cNvPr>
              <p:cNvSpPr>
                <a:spLocks noChangeArrowheads="1"/>
              </p:cNvSpPr>
              <p:nvPr/>
            </p:nvSpPr>
            <p:spPr bwMode="auto">
              <a:xfrm rot="13156290">
                <a:off x="4073812" y="396677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0" name="Oval 611">
                <a:extLst>
                  <a:ext uri="{FF2B5EF4-FFF2-40B4-BE49-F238E27FC236}">
                    <a16:creationId xmlns:a16="http://schemas.microsoft.com/office/drawing/2014/main" id="{5CA0EBFA-14D3-9A5E-C314-F3C79B5F995E}"/>
                  </a:ext>
                </a:extLst>
              </p:cNvPr>
              <p:cNvSpPr>
                <a:spLocks noChangeArrowheads="1"/>
              </p:cNvSpPr>
              <p:nvPr/>
            </p:nvSpPr>
            <p:spPr bwMode="auto">
              <a:xfrm rot="13156290">
                <a:off x="4150029" y="392966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1" name="Oval 612">
                <a:extLst>
                  <a:ext uri="{FF2B5EF4-FFF2-40B4-BE49-F238E27FC236}">
                    <a16:creationId xmlns:a16="http://schemas.microsoft.com/office/drawing/2014/main" id="{0632ADB0-E21F-3A35-D2AF-4242A40A25ED}"/>
                  </a:ext>
                </a:extLst>
              </p:cNvPr>
              <p:cNvSpPr>
                <a:spLocks noChangeArrowheads="1"/>
              </p:cNvSpPr>
              <p:nvPr/>
            </p:nvSpPr>
            <p:spPr bwMode="auto">
              <a:xfrm rot="13156290">
                <a:off x="3871940" y="380569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2" name="Oval 613">
                <a:extLst>
                  <a:ext uri="{FF2B5EF4-FFF2-40B4-BE49-F238E27FC236}">
                    <a16:creationId xmlns:a16="http://schemas.microsoft.com/office/drawing/2014/main" id="{D27D5119-2FB9-1952-D358-7C07BD34352E}"/>
                  </a:ext>
                </a:extLst>
              </p:cNvPr>
              <p:cNvSpPr>
                <a:spLocks noChangeArrowheads="1"/>
              </p:cNvSpPr>
              <p:nvPr/>
            </p:nvSpPr>
            <p:spPr bwMode="auto">
              <a:xfrm rot="13156290">
                <a:off x="4210437" y="3891105"/>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3" name="Oval 614">
                <a:extLst>
                  <a:ext uri="{FF2B5EF4-FFF2-40B4-BE49-F238E27FC236}">
                    <a16:creationId xmlns:a16="http://schemas.microsoft.com/office/drawing/2014/main" id="{A1C98323-4F6D-51B9-76B5-7944BB572012}"/>
                  </a:ext>
                </a:extLst>
              </p:cNvPr>
              <p:cNvSpPr>
                <a:spLocks noChangeArrowheads="1"/>
              </p:cNvSpPr>
              <p:nvPr/>
            </p:nvSpPr>
            <p:spPr bwMode="auto">
              <a:xfrm rot="15359142">
                <a:off x="4344519" y="421580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4" name="Oval 615">
                <a:extLst>
                  <a:ext uri="{FF2B5EF4-FFF2-40B4-BE49-F238E27FC236}">
                    <a16:creationId xmlns:a16="http://schemas.microsoft.com/office/drawing/2014/main" id="{F0735D85-D80A-6B93-2DE2-318E504DC6F7}"/>
                  </a:ext>
                </a:extLst>
              </p:cNvPr>
              <p:cNvSpPr>
                <a:spLocks noChangeArrowheads="1"/>
              </p:cNvSpPr>
              <p:nvPr/>
            </p:nvSpPr>
            <p:spPr bwMode="auto">
              <a:xfrm rot="15359142">
                <a:off x="4236488" y="397028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5" name="Oval 616">
                <a:extLst>
                  <a:ext uri="{FF2B5EF4-FFF2-40B4-BE49-F238E27FC236}">
                    <a16:creationId xmlns:a16="http://schemas.microsoft.com/office/drawing/2014/main" id="{DD45B40D-8BB3-EF77-BE4F-196DDF9F1748}"/>
                  </a:ext>
                </a:extLst>
              </p:cNvPr>
              <p:cNvSpPr>
                <a:spLocks noChangeArrowheads="1"/>
              </p:cNvSpPr>
              <p:nvPr/>
            </p:nvSpPr>
            <p:spPr bwMode="auto">
              <a:xfrm rot="15359142">
                <a:off x="3949965" y="388050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6" name="Oval 617">
                <a:extLst>
                  <a:ext uri="{FF2B5EF4-FFF2-40B4-BE49-F238E27FC236}">
                    <a16:creationId xmlns:a16="http://schemas.microsoft.com/office/drawing/2014/main" id="{020F5E3B-25E6-F479-037B-239FB432C85D}"/>
                  </a:ext>
                </a:extLst>
              </p:cNvPr>
              <p:cNvSpPr>
                <a:spLocks noChangeArrowheads="1"/>
              </p:cNvSpPr>
              <p:nvPr/>
            </p:nvSpPr>
            <p:spPr bwMode="auto">
              <a:xfrm rot="4371100">
                <a:off x="4042496" y="334220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7" name="Oval 618">
                <a:extLst>
                  <a:ext uri="{FF2B5EF4-FFF2-40B4-BE49-F238E27FC236}">
                    <a16:creationId xmlns:a16="http://schemas.microsoft.com/office/drawing/2014/main" id="{7C3D5D84-26E6-8DAE-EE24-FF03BEE7099F}"/>
                  </a:ext>
                </a:extLst>
              </p:cNvPr>
              <p:cNvSpPr>
                <a:spLocks noChangeArrowheads="1"/>
              </p:cNvSpPr>
              <p:nvPr/>
            </p:nvSpPr>
            <p:spPr bwMode="auto">
              <a:xfrm rot="4371100">
                <a:off x="3949410" y="3488369"/>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8" name="Oval 619">
                <a:extLst>
                  <a:ext uri="{FF2B5EF4-FFF2-40B4-BE49-F238E27FC236}">
                    <a16:creationId xmlns:a16="http://schemas.microsoft.com/office/drawing/2014/main" id="{306425AB-5540-5EC6-25FF-31D8F2051514}"/>
                  </a:ext>
                </a:extLst>
              </p:cNvPr>
              <p:cNvSpPr>
                <a:spLocks noChangeArrowheads="1"/>
              </p:cNvSpPr>
              <p:nvPr/>
            </p:nvSpPr>
            <p:spPr bwMode="auto">
              <a:xfrm rot="4371100">
                <a:off x="4037328" y="354436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9" name="Oval 620">
                <a:extLst>
                  <a:ext uri="{FF2B5EF4-FFF2-40B4-BE49-F238E27FC236}">
                    <a16:creationId xmlns:a16="http://schemas.microsoft.com/office/drawing/2014/main" id="{A56000D7-940E-E561-3DBA-3484A2E9902F}"/>
                  </a:ext>
                </a:extLst>
              </p:cNvPr>
              <p:cNvSpPr>
                <a:spLocks noChangeArrowheads="1"/>
              </p:cNvSpPr>
              <p:nvPr/>
            </p:nvSpPr>
            <p:spPr bwMode="auto">
              <a:xfrm rot="4371100">
                <a:off x="4014838" y="3671670"/>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0" name="Oval 621">
                <a:extLst>
                  <a:ext uri="{FF2B5EF4-FFF2-40B4-BE49-F238E27FC236}">
                    <a16:creationId xmlns:a16="http://schemas.microsoft.com/office/drawing/2014/main" id="{B94E951F-17E5-6ACB-5F3F-C6715CD559CC}"/>
                  </a:ext>
                </a:extLst>
              </p:cNvPr>
              <p:cNvSpPr>
                <a:spLocks noChangeArrowheads="1"/>
              </p:cNvSpPr>
              <p:nvPr/>
            </p:nvSpPr>
            <p:spPr bwMode="auto">
              <a:xfrm rot="4371100">
                <a:off x="3907655" y="358820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1" name="Oval 622">
                <a:extLst>
                  <a:ext uri="{FF2B5EF4-FFF2-40B4-BE49-F238E27FC236}">
                    <a16:creationId xmlns:a16="http://schemas.microsoft.com/office/drawing/2014/main" id="{46D16BA4-6FA0-20F9-AD91-964E49914314}"/>
                  </a:ext>
                </a:extLst>
              </p:cNvPr>
              <p:cNvSpPr>
                <a:spLocks noChangeArrowheads="1"/>
              </p:cNvSpPr>
              <p:nvPr/>
            </p:nvSpPr>
            <p:spPr bwMode="auto">
              <a:xfrm rot="4371100">
                <a:off x="4065000" y="365317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2" name="Oval 623">
                <a:extLst>
                  <a:ext uri="{FF2B5EF4-FFF2-40B4-BE49-F238E27FC236}">
                    <a16:creationId xmlns:a16="http://schemas.microsoft.com/office/drawing/2014/main" id="{358C6DF7-1E55-2499-C5EF-98281680DF41}"/>
                  </a:ext>
                </a:extLst>
              </p:cNvPr>
              <p:cNvSpPr>
                <a:spLocks noChangeArrowheads="1"/>
              </p:cNvSpPr>
              <p:nvPr/>
            </p:nvSpPr>
            <p:spPr bwMode="auto">
              <a:xfrm rot="4371100">
                <a:off x="3960705" y="366561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3" name="Oval 624">
                <a:extLst>
                  <a:ext uri="{FF2B5EF4-FFF2-40B4-BE49-F238E27FC236}">
                    <a16:creationId xmlns:a16="http://schemas.microsoft.com/office/drawing/2014/main" id="{782F271E-529C-3BF4-366F-AFD99149130E}"/>
                  </a:ext>
                </a:extLst>
              </p:cNvPr>
              <p:cNvSpPr>
                <a:spLocks noChangeArrowheads="1"/>
              </p:cNvSpPr>
              <p:nvPr/>
            </p:nvSpPr>
            <p:spPr bwMode="auto">
              <a:xfrm rot="4371100">
                <a:off x="3995792" y="375976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4" name="Oval 625">
                <a:extLst>
                  <a:ext uri="{FF2B5EF4-FFF2-40B4-BE49-F238E27FC236}">
                    <a16:creationId xmlns:a16="http://schemas.microsoft.com/office/drawing/2014/main" id="{0AEA050F-7A33-BEB8-E713-D952AB6C4BBE}"/>
                  </a:ext>
                </a:extLst>
              </p:cNvPr>
              <p:cNvSpPr>
                <a:spLocks noChangeArrowheads="1"/>
              </p:cNvSpPr>
              <p:nvPr/>
            </p:nvSpPr>
            <p:spPr bwMode="auto">
              <a:xfrm rot="4371100">
                <a:off x="3761566" y="402031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40" name="Oval 626">
                <a:extLst>
                  <a:ext uri="{FF2B5EF4-FFF2-40B4-BE49-F238E27FC236}">
                    <a16:creationId xmlns:a16="http://schemas.microsoft.com/office/drawing/2014/main" id="{9C1B79B8-9FA4-90B6-D9DF-D4173C2C138D}"/>
                  </a:ext>
                </a:extLst>
              </p:cNvPr>
              <p:cNvSpPr>
                <a:spLocks noChangeArrowheads="1"/>
              </p:cNvSpPr>
              <p:nvPr/>
            </p:nvSpPr>
            <p:spPr bwMode="auto">
              <a:xfrm rot="4371100">
                <a:off x="4097009" y="383604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46" name="Oval 627">
                <a:extLst>
                  <a:ext uri="{FF2B5EF4-FFF2-40B4-BE49-F238E27FC236}">
                    <a16:creationId xmlns:a16="http://schemas.microsoft.com/office/drawing/2014/main" id="{27B3DA3E-C1BB-DA97-5E59-D6B0D2DEC291}"/>
                  </a:ext>
                </a:extLst>
              </p:cNvPr>
              <p:cNvSpPr>
                <a:spLocks noChangeArrowheads="1"/>
              </p:cNvSpPr>
              <p:nvPr/>
            </p:nvSpPr>
            <p:spPr bwMode="auto">
              <a:xfrm rot="4371100">
                <a:off x="4139839" y="380444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sp>
          <p:nvSpPr>
            <p:cNvPr id="147" name="TextBox 836">
              <a:extLst>
                <a:ext uri="{FF2B5EF4-FFF2-40B4-BE49-F238E27FC236}">
                  <a16:creationId xmlns:a16="http://schemas.microsoft.com/office/drawing/2014/main" id="{EEB42920-37FD-B162-807E-9052C0BB2CFD}"/>
                </a:ext>
              </a:extLst>
            </p:cNvPr>
            <p:cNvSpPr txBox="1">
              <a:spLocks noChangeArrowheads="1"/>
            </p:cNvSpPr>
            <p:nvPr/>
          </p:nvSpPr>
          <p:spPr bwMode="auto">
            <a:xfrm>
              <a:off x="5350365" y="3437349"/>
              <a:ext cx="214671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Citocinas</a:t>
              </a:r>
              <a:r>
                <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quimiocinas</a:t>
              </a:r>
              <a:r>
                <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rPr>
                <a:t>, outros </a:t>
              </a: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fatores</a:t>
              </a:r>
              <a:r>
                <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inflamatórios</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grpSp>
          <p:nvGrpSpPr>
            <p:cNvPr id="148" name="Group 86">
              <a:extLst>
                <a:ext uri="{FF2B5EF4-FFF2-40B4-BE49-F238E27FC236}">
                  <a16:creationId xmlns:a16="http://schemas.microsoft.com/office/drawing/2014/main" id="{30C30E79-ADF3-7BDB-F471-4F345B6D0259}"/>
                </a:ext>
              </a:extLst>
            </p:cNvPr>
            <p:cNvGrpSpPr>
              <a:grpSpLocks noChangeAspect="1"/>
            </p:cNvGrpSpPr>
            <p:nvPr/>
          </p:nvGrpSpPr>
          <p:grpSpPr bwMode="auto">
            <a:xfrm>
              <a:off x="5229880" y="5252484"/>
              <a:ext cx="611351" cy="665521"/>
              <a:chOff x="2425" y="377"/>
              <a:chExt cx="372" cy="423"/>
            </a:xfrm>
          </p:grpSpPr>
          <p:sp>
            <p:nvSpPr>
              <p:cNvPr id="149" name="AutoShape 87">
                <a:extLst>
                  <a:ext uri="{FF2B5EF4-FFF2-40B4-BE49-F238E27FC236}">
                    <a16:creationId xmlns:a16="http://schemas.microsoft.com/office/drawing/2014/main" id="{003AD0D9-1C1B-CCF8-7473-0F82EC5606FD}"/>
                  </a:ext>
                </a:extLst>
              </p:cNvPr>
              <p:cNvSpPr>
                <a:spLocks noChangeAspect="1" noChangeArrowheads="1"/>
              </p:cNvSpPr>
              <p:nvPr/>
            </p:nvSpPr>
            <p:spPr bwMode="auto">
              <a:xfrm rot="1053115">
                <a:off x="2425" y="45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0" name="AutoShape 88">
                <a:extLst>
                  <a:ext uri="{FF2B5EF4-FFF2-40B4-BE49-F238E27FC236}">
                    <a16:creationId xmlns:a16="http://schemas.microsoft.com/office/drawing/2014/main" id="{81BD4B44-9337-C343-0E03-65297994057C}"/>
                  </a:ext>
                </a:extLst>
              </p:cNvPr>
              <p:cNvSpPr>
                <a:spLocks noChangeAspect="1" noChangeArrowheads="1"/>
              </p:cNvSpPr>
              <p:nvPr/>
            </p:nvSpPr>
            <p:spPr bwMode="auto">
              <a:xfrm rot="2463029">
                <a:off x="2741" y="37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1" name="AutoShape 89">
                <a:extLst>
                  <a:ext uri="{FF2B5EF4-FFF2-40B4-BE49-F238E27FC236}">
                    <a16:creationId xmlns:a16="http://schemas.microsoft.com/office/drawing/2014/main" id="{483E4913-68BD-CBF8-3299-ED7249E1497E}"/>
                  </a:ext>
                </a:extLst>
              </p:cNvPr>
              <p:cNvSpPr>
                <a:spLocks noChangeAspect="1" noChangeArrowheads="1"/>
              </p:cNvSpPr>
              <p:nvPr/>
            </p:nvSpPr>
            <p:spPr bwMode="auto">
              <a:xfrm rot="5550558">
                <a:off x="2622" y="380"/>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2" name="AutoShape 90">
                <a:extLst>
                  <a:ext uri="{FF2B5EF4-FFF2-40B4-BE49-F238E27FC236}">
                    <a16:creationId xmlns:a16="http://schemas.microsoft.com/office/drawing/2014/main" id="{7E8A245E-80DB-7E3C-AC42-4D8B2339BA5D}"/>
                  </a:ext>
                </a:extLst>
              </p:cNvPr>
              <p:cNvSpPr>
                <a:spLocks noChangeAspect="1" noChangeArrowheads="1"/>
              </p:cNvSpPr>
              <p:nvPr/>
            </p:nvSpPr>
            <p:spPr bwMode="auto">
              <a:xfrm rot="5550558">
                <a:off x="2675" y="51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3" name="AutoShape 91">
                <a:extLst>
                  <a:ext uri="{FF2B5EF4-FFF2-40B4-BE49-F238E27FC236}">
                    <a16:creationId xmlns:a16="http://schemas.microsoft.com/office/drawing/2014/main" id="{D0677EFB-DFC4-C29C-BBA1-7FCE561E5CEC}"/>
                  </a:ext>
                </a:extLst>
              </p:cNvPr>
              <p:cNvSpPr>
                <a:spLocks noChangeAspect="1" noChangeArrowheads="1"/>
              </p:cNvSpPr>
              <p:nvPr/>
            </p:nvSpPr>
            <p:spPr bwMode="auto">
              <a:xfrm rot="2491721">
                <a:off x="2541" y="650"/>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4" name="AutoShape 92">
                <a:extLst>
                  <a:ext uri="{FF2B5EF4-FFF2-40B4-BE49-F238E27FC236}">
                    <a16:creationId xmlns:a16="http://schemas.microsoft.com/office/drawing/2014/main" id="{5A190389-DEA7-C58C-F88A-B4F501845D20}"/>
                  </a:ext>
                </a:extLst>
              </p:cNvPr>
              <p:cNvSpPr>
                <a:spLocks noChangeAspect="1" noChangeArrowheads="1"/>
              </p:cNvSpPr>
              <p:nvPr/>
            </p:nvSpPr>
            <p:spPr bwMode="auto">
              <a:xfrm rot="3655590">
                <a:off x="2496" y="55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5" name="AutoShape 93">
                <a:extLst>
                  <a:ext uri="{FF2B5EF4-FFF2-40B4-BE49-F238E27FC236}">
                    <a16:creationId xmlns:a16="http://schemas.microsoft.com/office/drawing/2014/main" id="{26659BFF-40CF-1D08-D457-E98E96749E05}"/>
                  </a:ext>
                </a:extLst>
              </p:cNvPr>
              <p:cNvSpPr>
                <a:spLocks noChangeAspect="1" noChangeArrowheads="1"/>
              </p:cNvSpPr>
              <p:nvPr/>
            </p:nvSpPr>
            <p:spPr bwMode="auto">
              <a:xfrm rot="-1259356">
                <a:off x="2514" y="414"/>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grpSp>
          <p:nvGrpSpPr>
            <p:cNvPr id="156" name="Group 726">
              <a:extLst>
                <a:ext uri="{FF2B5EF4-FFF2-40B4-BE49-F238E27FC236}">
                  <a16:creationId xmlns:a16="http://schemas.microsoft.com/office/drawing/2014/main" id="{3080DD56-9F91-7826-E85A-B2E188BE6597}"/>
                </a:ext>
              </a:extLst>
            </p:cNvPr>
            <p:cNvGrpSpPr>
              <a:grpSpLocks/>
            </p:cNvGrpSpPr>
            <p:nvPr/>
          </p:nvGrpSpPr>
          <p:grpSpPr bwMode="auto">
            <a:xfrm>
              <a:off x="9090413" y="3023063"/>
              <a:ext cx="1173301" cy="1541389"/>
              <a:chOff x="7818407" y="3378073"/>
              <a:chExt cx="1289131" cy="1635676"/>
            </a:xfrm>
          </p:grpSpPr>
          <p:sp>
            <p:nvSpPr>
              <p:cNvPr id="157" name="Oval 540">
                <a:extLst>
                  <a:ext uri="{FF2B5EF4-FFF2-40B4-BE49-F238E27FC236}">
                    <a16:creationId xmlns:a16="http://schemas.microsoft.com/office/drawing/2014/main" id="{952D738B-D6CC-89EF-A546-8B145CE703F3}"/>
                  </a:ext>
                </a:extLst>
              </p:cNvPr>
              <p:cNvSpPr>
                <a:spLocks noChangeArrowheads="1"/>
              </p:cNvSpPr>
              <p:nvPr/>
            </p:nvSpPr>
            <p:spPr bwMode="auto">
              <a:xfrm rot="724066">
                <a:off x="8012734" y="354501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8" name="Oval 541">
                <a:extLst>
                  <a:ext uri="{FF2B5EF4-FFF2-40B4-BE49-F238E27FC236}">
                    <a16:creationId xmlns:a16="http://schemas.microsoft.com/office/drawing/2014/main" id="{83BB858A-DA54-4FDA-67D1-A1DD5ABF81B0}"/>
                  </a:ext>
                </a:extLst>
              </p:cNvPr>
              <p:cNvSpPr>
                <a:spLocks noChangeArrowheads="1"/>
              </p:cNvSpPr>
              <p:nvPr/>
            </p:nvSpPr>
            <p:spPr bwMode="auto">
              <a:xfrm rot="724066">
                <a:off x="7984362" y="377428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9" name="Oval 542">
                <a:extLst>
                  <a:ext uri="{FF2B5EF4-FFF2-40B4-BE49-F238E27FC236}">
                    <a16:creationId xmlns:a16="http://schemas.microsoft.com/office/drawing/2014/main" id="{DDB5A834-7616-68A2-FCC2-93E1056C4216}"/>
                  </a:ext>
                </a:extLst>
              </p:cNvPr>
              <p:cNvSpPr>
                <a:spLocks noChangeArrowheads="1"/>
              </p:cNvSpPr>
              <p:nvPr/>
            </p:nvSpPr>
            <p:spPr bwMode="auto">
              <a:xfrm rot="724066">
                <a:off x="8143737" y="337807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0" name="Oval 543">
                <a:extLst>
                  <a:ext uri="{FF2B5EF4-FFF2-40B4-BE49-F238E27FC236}">
                    <a16:creationId xmlns:a16="http://schemas.microsoft.com/office/drawing/2014/main" id="{81AB9222-580C-A0CC-3DE3-000D2521F842}"/>
                  </a:ext>
                </a:extLst>
              </p:cNvPr>
              <p:cNvSpPr>
                <a:spLocks noChangeArrowheads="1"/>
              </p:cNvSpPr>
              <p:nvPr/>
            </p:nvSpPr>
            <p:spPr bwMode="auto">
              <a:xfrm rot="724066">
                <a:off x="8077818" y="346324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1" name="Oval 544">
                <a:extLst>
                  <a:ext uri="{FF2B5EF4-FFF2-40B4-BE49-F238E27FC236}">
                    <a16:creationId xmlns:a16="http://schemas.microsoft.com/office/drawing/2014/main" id="{6EC8FC18-E988-037A-34B1-057A8184AB8B}"/>
                  </a:ext>
                </a:extLst>
              </p:cNvPr>
              <p:cNvSpPr>
                <a:spLocks noChangeArrowheads="1"/>
              </p:cNvSpPr>
              <p:nvPr/>
            </p:nvSpPr>
            <p:spPr bwMode="auto">
              <a:xfrm rot="724066">
                <a:off x="8119539" y="348539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2" name="Oval 545">
                <a:extLst>
                  <a:ext uri="{FF2B5EF4-FFF2-40B4-BE49-F238E27FC236}">
                    <a16:creationId xmlns:a16="http://schemas.microsoft.com/office/drawing/2014/main" id="{87B8EC94-0EF5-6AC9-C7A6-3683335368BF}"/>
                  </a:ext>
                </a:extLst>
              </p:cNvPr>
              <p:cNvSpPr>
                <a:spLocks noChangeArrowheads="1"/>
              </p:cNvSpPr>
              <p:nvPr/>
            </p:nvSpPr>
            <p:spPr bwMode="auto">
              <a:xfrm rot="724066">
                <a:off x="8199644" y="348028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3" name="Oval 546">
                <a:extLst>
                  <a:ext uri="{FF2B5EF4-FFF2-40B4-BE49-F238E27FC236}">
                    <a16:creationId xmlns:a16="http://schemas.microsoft.com/office/drawing/2014/main" id="{CCE33D9A-352B-63B3-C995-1C598424B96B}"/>
                  </a:ext>
                </a:extLst>
              </p:cNvPr>
              <p:cNvSpPr>
                <a:spLocks noChangeArrowheads="1"/>
              </p:cNvSpPr>
              <p:nvPr/>
            </p:nvSpPr>
            <p:spPr bwMode="auto">
              <a:xfrm rot="724066">
                <a:off x="7974075" y="364743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4" name="Oval 547">
                <a:extLst>
                  <a:ext uri="{FF2B5EF4-FFF2-40B4-BE49-F238E27FC236}">
                    <a16:creationId xmlns:a16="http://schemas.microsoft.com/office/drawing/2014/main" id="{3D9A22DC-A6FB-9A67-C322-197C5CA2F205}"/>
                  </a:ext>
                </a:extLst>
              </p:cNvPr>
              <p:cNvSpPr>
                <a:spLocks noChangeArrowheads="1"/>
              </p:cNvSpPr>
              <p:nvPr/>
            </p:nvSpPr>
            <p:spPr bwMode="auto">
              <a:xfrm rot="724066">
                <a:off x="7982693" y="366866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5" name="Oval 548">
                <a:extLst>
                  <a:ext uri="{FF2B5EF4-FFF2-40B4-BE49-F238E27FC236}">
                    <a16:creationId xmlns:a16="http://schemas.microsoft.com/office/drawing/2014/main" id="{95C14E19-0F5F-2B8B-4466-DF0967CABB59}"/>
                  </a:ext>
                </a:extLst>
              </p:cNvPr>
              <p:cNvSpPr>
                <a:spLocks noChangeArrowheads="1"/>
              </p:cNvSpPr>
              <p:nvPr/>
            </p:nvSpPr>
            <p:spPr bwMode="auto">
              <a:xfrm rot="724066">
                <a:off x="8207989" y="3427473"/>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6" name="Oval 549">
                <a:extLst>
                  <a:ext uri="{FF2B5EF4-FFF2-40B4-BE49-F238E27FC236}">
                    <a16:creationId xmlns:a16="http://schemas.microsoft.com/office/drawing/2014/main" id="{7109CB6E-5124-ADA5-3AD9-C3296412F973}"/>
                  </a:ext>
                </a:extLst>
              </p:cNvPr>
              <p:cNvSpPr>
                <a:spLocks noChangeArrowheads="1"/>
              </p:cNvSpPr>
              <p:nvPr/>
            </p:nvSpPr>
            <p:spPr bwMode="auto">
              <a:xfrm rot="724066">
                <a:off x="8167936" y="352457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7" name="Oval 550">
                <a:extLst>
                  <a:ext uri="{FF2B5EF4-FFF2-40B4-BE49-F238E27FC236}">
                    <a16:creationId xmlns:a16="http://schemas.microsoft.com/office/drawing/2014/main" id="{764879B0-59ED-6CC7-DFD5-706F4245BBFB}"/>
                  </a:ext>
                </a:extLst>
              </p:cNvPr>
              <p:cNvSpPr>
                <a:spLocks noChangeArrowheads="1"/>
              </p:cNvSpPr>
              <p:nvPr/>
            </p:nvSpPr>
            <p:spPr bwMode="auto">
              <a:xfrm rot="724066">
                <a:off x="8042773" y="361826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8" name="Oval 551">
                <a:extLst>
                  <a:ext uri="{FF2B5EF4-FFF2-40B4-BE49-F238E27FC236}">
                    <a16:creationId xmlns:a16="http://schemas.microsoft.com/office/drawing/2014/main" id="{1FCA3797-6CE1-3EDB-7491-D4665E804B14}"/>
                  </a:ext>
                </a:extLst>
              </p:cNvPr>
              <p:cNvSpPr>
                <a:spLocks noChangeArrowheads="1"/>
              </p:cNvSpPr>
              <p:nvPr/>
            </p:nvSpPr>
            <p:spPr bwMode="auto">
              <a:xfrm rot="724066">
                <a:off x="8082825" y="379983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9" name="Oval 552">
                <a:extLst>
                  <a:ext uri="{FF2B5EF4-FFF2-40B4-BE49-F238E27FC236}">
                    <a16:creationId xmlns:a16="http://schemas.microsoft.com/office/drawing/2014/main" id="{07F0EC06-DA04-04C7-B6F4-519D8BD59263}"/>
                  </a:ext>
                </a:extLst>
              </p:cNvPr>
              <p:cNvSpPr>
                <a:spLocks noChangeArrowheads="1"/>
              </p:cNvSpPr>
              <p:nvPr/>
            </p:nvSpPr>
            <p:spPr bwMode="auto">
              <a:xfrm rot="724066">
                <a:off x="8106189" y="37453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0" name="Oval 553">
                <a:extLst>
                  <a:ext uri="{FF2B5EF4-FFF2-40B4-BE49-F238E27FC236}">
                    <a16:creationId xmlns:a16="http://schemas.microsoft.com/office/drawing/2014/main" id="{27CBD2DF-DC15-48E7-11B3-DDEC250CC5C6}"/>
                  </a:ext>
                </a:extLst>
              </p:cNvPr>
              <p:cNvSpPr>
                <a:spLocks noChangeArrowheads="1"/>
              </p:cNvSpPr>
              <p:nvPr/>
            </p:nvSpPr>
            <p:spPr bwMode="auto">
              <a:xfrm rot="724066">
                <a:off x="8119539" y="3630184"/>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1" name="Oval 554">
                <a:extLst>
                  <a:ext uri="{FF2B5EF4-FFF2-40B4-BE49-F238E27FC236}">
                    <a16:creationId xmlns:a16="http://schemas.microsoft.com/office/drawing/2014/main" id="{F12F9900-D622-A013-5562-7C7923FCB683}"/>
                  </a:ext>
                </a:extLst>
              </p:cNvPr>
              <p:cNvSpPr>
                <a:spLocks noChangeArrowheads="1"/>
              </p:cNvSpPr>
              <p:nvPr/>
            </p:nvSpPr>
            <p:spPr bwMode="auto">
              <a:xfrm rot="724066">
                <a:off x="7944894" y="3420509"/>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2" name="Oval 555">
                <a:extLst>
                  <a:ext uri="{FF2B5EF4-FFF2-40B4-BE49-F238E27FC236}">
                    <a16:creationId xmlns:a16="http://schemas.microsoft.com/office/drawing/2014/main" id="{B9911FB8-D9DE-9648-6DA6-4B7074D1D9AA}"/>
                  </a:ext>
                </a:extLst>
              </p:cNvPr>
              <p:cNvSpPr>
                <a:spLocks noChangeArrowheads="1"/>
              </p:cNvSpPr>
              <p:nvPr/>
            </p:nvSpPr>
            <p:spPr bwMode="auto">
              <a:xfrm rot="724066">
                <a:off x="8227180" y="353990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3" name="Oval 556">
                <a:extLst>
                  <a:ext uri="{FF2B5EF4-FFF2-40B4-BE49-F238E27FC236}">
                    <a16:creationId xmlns:a16="http://schemas.microsoft.com/office/drawing/2014/main" id="{D671AC7A-BEBA-276C-C937-D09A236EDC4C}"/>
                  </a:ext>
                </a:extLst>
              </p:cNvPr>
              <p:cNvSpPr>
                <a:spLocks noChangeArrowheads="1"/>
              </p:cNvSpPr>
              <p:nvPr/>
            </p:nvSpPr>
            <p:spPr bwMode="auto">
              <a:xfrm rot="724066">
                <a:off x="8173778" y="3626778"/>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4" name="Oval 557">
                <a:extLst>
                  <a:ext uri="{FF2B5EF4-FFF2-40B4-BE49-F238E27FC236}">
                    <a16:creationId xmlns:a16="http://schemas.microsoft.com/office/drawing/2014/main" id="{4D8E0BAA-E888-1F14-5180-05474F075E58}"/>
                  </a:ext>
                </a:extLst>
              </p:cNvPr>
              <p:cNvSpPr>
                <a:spLocks noChangeArrowheads="1"/>
              </p:cNvSpPr>
              <p:nvPr/>
            </p:nvSpPr>
            <p:spPr bwMode="auto">
              <a:xfrm rot="724066">
                <a:off x="8152082" y="38151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5" name="Oval 558">
                <a:extLst>
                  <a:ext uri="{FF2B5EF4-FFF2-40B4-BE49-F238E27FC236}">
                    <a16:creationId xmlns:a16="http://schemas.microsoft.com/office/drawing/2014/main" id="{8E7736AE-1891-F1F0-F81A-05109DB6E3AC}"/>
                  </a:ext>
                </a:extLst>
              </p:cNvPr>
              <p:cNvSpPr>
                <a:spLocks noChangeArrowheads="1"/>
              </p:cNvSpPr>
              <p:nvPr/>
            </p:nvSpPr>
            <p:spPr bwMode="auto">
              <a:xfrm rot="724066">
                <a:off x="8054454" y="371466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6" name="Oval 559">
                <a:extLst>
                  <a:ext uri="{FF2B5EF4-FFF2-40B4-BE49-F238E27FC236}">
                    <a16:creationId xmlns:a16="http://schemas.microsoft.com/office/drawing/2014/main" id="{69F20B2D-7327-ADBD-19BC-E9FBAB8F2852}"/>
                  </a:ext>
                </a:extLst>
              </p:cNvPr>
              <p:cNvSpPr>
                <a:spLocks noChangeArrowheads="1"/>
              </p:cNvSpPr>
              <p:nvPr/>
            </p:nvSpPr>
            <p:spPr bwMode="auto">
              <a:xfrm rot="724066">
                <a:off x="8399073" y="3575674"/>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7" name="Oval 560">
                <a:extLst>
                  <a:ext uri="{FF2B5EF4-FFF2-40B4-BE49-F238E27FC236}">
                    <a16:creationId xmlns:a16="http://schemas.microsoft.com/office/drawing/2014/main" id="{2DF65AEA-9CDC-3AFF-14BD-EFE2B51D31DC}"/>
                  </a:ext>
                </a:extLst>
              </p:cNvPr>
              <p:cNvSpPr>
                <a:spLocks noChangeArrowheads="1"/>
              </p:cNvSpPr>
              <p:nvPr/>
            </p:nvSpPr>
            <p:spPr bwMode="auto">
              <a:xfrm rot="724066">
                <a:off x="8192134" y="38645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8" name="Oval 561">
                <a:extLst>
                  <a:ext uri="{FF2B5EF4-FFF2-40B4-BE49-F238E27FC236}">
                    <a16:creationId xmlns:a16="http://schemas.microsoft.com/office/drawing/2014/main" id="{82118EE9-DCB9-2F50-B81F-6A569B87E7D7}"/>
                  </a:ext>
                </a:extLst>
              </p:cNvPr>
              <p:cNvSpPr>
                <a:spLocks noChangeArrowheads="1"/>
              </p:cNvSpPr>
              <p:nvPr/>
            </p:nvSpPr>
            <p:spPr bwMode="auto">
              <a:xfrm rot="724066">
                <a:off x="8291431" y="3519459"/>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9" name="Oval 562">
                <a:extLst>
                  <a:ext uri="{FF2B5EF4-FFF2-40B4-BE49-F238E27FC236}">
                    <a16:creationId xmlns:a16="http://schemas.microsoft.com/office/drawing/2014/main" id="{80EC718A-A5D1-DBFA-A155-C0C44D604AAB}"/>
                  </a:ext>
                </a:extLst>
              </p:cNvPr>
              <p:cNvSpPr>
                <a:spLocks noChangeArrowheads="1"/>
              </p:cNvSpPr>
              <p:nvPr/>
            </p:nvSpPr>
            <p:spPr bwMode="auto">
              <a:xfrm rot="724066">
                <a:off x="8218002" y="359952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0" name="Oval 563">
                <a:extLst>
                  <a:ext uri="{FF2B5EF4-FFF2-40B4-BE49-F238E27FC236}">
                    <a16:creationId xmlns:a16="http://schemas.microsoft.com/office/drawing/2014/main" id="{9C5754F9-F43D-C852-449A-B51FFDDB6D05}"/>
                  </a:ext>
                </a:extLst>
              </p:cNvPr>
              <p:cNvSpPr>
                <a:spLocks noChangeArrowheads="1"/>
              </p:cNvSpPr>
              <p:nvPr/>
            </p:nvSpPr>
            <p:spPr bwMode="auto">
              <a:xfrm rot="724066">
                <a:off x="8302278" y="3434286"/>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1" name="Oval 564">
                <a:extLst>
                  <a:ext uri="{FF2B5EF4-FFF2-40B4-BE49-F238E27FC236}">
                    <a16:creationId xmlns:a16="http://schemas.microsoft.com/office/drawing/2014/main" id="{5BBD6476-5D73-87D4-3890-DC5A9E3E48E1}"/>
                  </a:ext>
                </a:extLst>
              </p:cNvPr>
              <p:cNvSpPr>
                <a:spLocks noChangeArrowheads="1"/>
              </p:cNvSpPr>
              <p:nvPr/>
            </p:nvSpPr>
            <p:spPr bwMode="auto">
              <a:xfrm rot="724066">
                <a:off x="8333154" y="355012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2" name="Oval 565">
                <a:extLst>
                  <a:ext uri="{FF2B5EF4-FFF2-40B4-BE49-F238E27FC236}">
                    <a16:creationId xmlns:a16="http://schemas.microsoft.com/office/drawing/2014/main" id="{D4BB3703-A9CA-CEA1-45B2-F46E40FD3A72}"/>
                  </a:ext>
                </a:extLst>
              </p:cNvPr>
              <p:cNvSpPr>
                <a:spLocks noChangeArrowheads="1"/>
              </p:cNvSpPr>
              <p:nvPr/>
            </p:nvSpPr>
            <p:spPr bwMode="auto">
              <a:xfrm rot="724066">
                <a:off x="8258888" y="362848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3" name="Oval 566">
                <a:extLst>
                  <a:ext uri="{FF2B5EF4-FFF2-40B4-BE49-F238E27FC236}">
                    <a16:creationId xmlns:a16="http://schemas.microsoft.com/office/drawing/2014/main" id="{0DD9423A-839A-FAED-F50D-2DA95A04018A}"/>
                  </a:ext>
                </a:extLst>
              </p:cNvPr>
              <p:cNvSpPr>
                <a:spLocks noChangeArrowheads="1"/>
              </p:cNvSpPr>
              <p:nvPr/>
            </p:nvSpPr>
            <p:spPr bwMode="auto">
              <a:xfrm rot="724066">
                <a:off x="7818407" y="369999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4" name="Oval 567">
                <a:extLst>
                  <a:ext uri="{FF2B5EF4-FFF2-40B4-BE49-F238E27FC236}">
                    <a16:creationId xmlns:a16="http://schemas.microsoft.com/office/drawing/2014/main" id="{CD9BCEA6-7F1C-47DA-A64A-A458F3EB49B0}"/>
                  </a:ext>
                </a:extLst>
              </p:cNvPr>
              <p:cNvSpPr>
                <a:spLocks noChangeArrowheads="1"/>
              </p:cNvSpPr>
              <p:nvPr/>
            </p:nvSpPr>
            <p:spPr bwMode="auto">
              <a:xfrm rot="724066">
                <a:off x="8421602" y="345813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5" name="Oval 568">
                <a:extLst>
                  <a:ext uri="{FF2B5EF4-FFF2-40B4-BE49-F238E27FC236}">
                    <a16:creationId xmlns:a16="http://schemas.microsoft.com/office/drawing/2014/main" id="{6E26D07D-1622-0BEF-63A6-1790B60F9395}"/>
                  </a:ext>
                </a:extLst>
              </p:cNvPr>
              <p:cNvSpPr>
                <a:spLocks noChangeArrowheads="1"/>
              </p:cNvSpPr>
              <p:nvPr/>
            </p:nvSpPr>
            <p:spPr bwMode="auto">
              <a:xfrm rot="724066">
                <a:off x="8302278" y="359441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6" name="Oval 569">
                <a:extLst>
                  <a:ext uri="{FF2B5EF4-FFF2-40B4-BE49-F238E27FC236}">
                    <a16:creationId xmlns:a16="http://schemas.microsoft.com/office/drawing/2014/main" id="{E4CCAADB-70B1-8BF4-9EAA-569D4D965449}"/>
                  </a:ext>
                </a:extLst>
              </p:cNvPr>
              <p:cNvSpPr>
                <a:spLocks noChangeArrowheads="1"/>
              </p:cNvSpPr>
              <p:nvPr/>
            </p:nvSpPr>
            <p:spPr bwMode="auto">
              <a:xfrm rot="724066">
                <a:off x="8250544" y="3704438"/>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7" name="Oval 570">
                <a:extLst>
                  <a:ext uri="{FF2B5EF4-FFF2-40B4-BE49-F238E27FC236}">
                    <a16:creationId xmlns:a16="http://schemas.microsoft.com/office/drawing/2014/main" id="{91D05E55-16E6-0B5E-A3F2-9DD13DA0BED8}"/>
                  </a:ext>
                </a:extLst>
              </p:cNvPr>
              <p:cNvSpPr>
                <a:spLocks noChangeArrowheads="1"/>
              </p:cNvSpPr>
              <p:nvPr/>
            </p:nvSpPr>
            <p:spPr bwMode="auto">
              <a:xfrm rot="724066">
                <a:off x="8216333" y="392755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8" name="Oval 571">
                <a:extLst>
                  <a:ext uri="{FF2B5EF4-FFF2-40B4-BE49-F238E27FC236}">
                    <a16:creationId xmlns:a16="http://schemas.microsoft.com/office/drawing/2014/main" id="{25609DA9-B0BA-40CD-0DEE-1F07F2E0C2E3}"/>
                  </a:ext>
                </a:extLst>
              </p:cNvPr>
              <p:cNvSpPr>
                <a:spLocks noChangeArrowheads="1"/>
              </p:cNvSpPr>
              <p:nvPr/>
            </p:nvSpPr>
            <p:spPr bwMode="auto">
              <a:xfrm rot="724066">
                <a:off x="8235525" y="401783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9" name="Oval 572">
                <a:extLst>
                  <a:ext uri="{FF2B5EF4-FFF2-40B4-BE49-F238E27FC236}">
                    <a16:creationId xmlns:a16="http://schemas.microsoft.com/office/drawing/2014/main" id="{C72B4E6A-7D2A-88D4-960A-DF3BD4CF9B5E}"/>
                  </a:ext>
                </a:extLst>
              </p:cNvPr>
              <p:cNvSpPr>
                <a:spLocks noChangeArrowheads="1"/>
              </p:cNvSpPr>
              <p:nvPr/>
            </p:nvSpPr>
            <p:spPr bwMode="auto">
              <a:xfrm rot="724066">
                <a:off x="8241366" y="381597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0" name="Oval 573">
                <a:extLst>
                  <a:ext uri="{FF2B5EF4-FFF2-40B4-BE49-F238E27FC236}">
                    <a16:creationId xmlns:a16="http://schemas.microsoft.com/office/drawing/2014/main" id="{3A3D7199-4F6C-EAC2-B9FE-8FF128372672}"/>
                  </a:ext>
                </a:extLst>
              </p:cNvPr>
              <p:cNvSpPr>
                <a:spLocks noChangeArrowheads="1"/>
              </p:cNvSpPr>
              <p:nvPr/>
            </p:nvSpPr>
            <p:spPr bwMode="auto">
              <a:xfrm rot="724066">
                <a:off x="8322305" y="366696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1" name="Oval 574">
                <a:extLst>
                  <a:ext uri="{FF2B5EF4-FFF2-40B4-BE49-F238E27FC236}">
                    <a16:creationId xmlns:a16="http://schemas.microsoft.com/office/drawing/2014/main" id="{D99AFDD5-298D-76CE-A9A7-BC93760455B0}"/>
                  </a:ext>
                </a:extLst>
              </p:cNvPr>
              <p:cNvSpPr>
                <a:spLocks noChangeArrowheads="1"/>
              </p:cNvSpPr>
              <p:nvPr/>
            </p:nvSpPr>
            <p:spPr bwMode="auto">
              <a:xfrm rot="724066">
                <a:off x="8453310" y="363529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2" name="Oval 575">
                <a:extLst>
                  <a:ext uri="{FF2B5EF4-FFF2-40B4-BE49-F238E27FC236}">
                    <a16:creationId xmlns:a16="http://schemas.microsoft.com/office/drawing/2014/main" id="{2C7D454B-37A8-DCCE-4A62-872C521B5538}"/>
                  </a:ext>
                </a:extLst>
              </p:cNvPr>
              <p:cNvSpPr>
                <a:spLocks noChangeArrowheads="1"/>
              </p:cNvSpPr>
              <p:nvPr/>
            </p:nvSpPr>
            <p:spPr bwMode="auto">
              <a:xfrm rot="724066">
                <a:off x="8386556" y="385600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3" name="Oval 576">
                <a:extLst>
                  <a:ext uri="{FF2B5EF4-FFF2-40B4-BE49-F238E27FC236}">
                    <a16:creationId xmlns:a16="http://schemas.microsoft.com/office/drawing/2014/main" id="{AEEA149D-489E-3B7A-E6EB-7515B1FACA77}"/>
                  </a:ext>
                </a:extLst>
              </p:cNvPr>
              <p:cNvSpPr>
                <a:spLocks noChangeArrowheads="1"/>
              </p:cNvSpPr>
              <p:nvPr/>
            </p:nvSpPr>
            <p:spPr bwMode="auto">
              <a:xfrm rot="724066">
                <a:off x="8291431" y="386622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4" name="Oval 577">
                <a:extLst>
                  <a:ext uri="{FF2B5EF4-FFF2-40B4-BE49-F238E27FC236}">
                    <a16:creationId xmlns:a16="http://schemas.microsoft.com/office/drawing/2014/main" id="{3A9E49EE-E8F6-52CB-C805-D52F04F87B7D}"/>
                  </a:ext>
                </a:extLst>
              </p:cNvPr>
              <p:cNvSpPr>
                <a:spLocks noChangeArrowheads="1"/>
              </p:cNvSpPr>
              <p:nvPr/>
            </p:nvSpPr>
            <p:spPr bwMode="auto">
              <a:xfrm rot="724066">
                <a:off x="8340662" y="380830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5" name="Oval 578">
                <a:extLst>
                  <a:ext uri="{FF2B5EF4-FFF2-40B4-BE49-F238E27FC236}">
                    <a16:creationId xmlns:a16="http://schemas.microsoft.com/office/drawing/2014/main" id="{0BCF2C4B-2D55-0126-9BAA-1BEC1AB7A8D8}"/>
                  </a:ext>
                </a:extLst>
              </p:cNvPr>
              <p:cNvSpPr>
                <a:spLocks noChangeArrowheads="1"/>
              </p:cNvSpPr>
              <p:nvPr/>
            </p:nvSpPr>
            <p:spPr bwMode="auto">
              <a:xfrm rot="9509256">
                <a:off x="8738684" y="406435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6" name="Oval 579">
                <a:extLst>
                  <a:ext uri="{FF2B5EF4-FFF2-40B4-BE49-F238E27FC236}">
                    <a16:creationId xmlns:a16="http://schemas.microsoft.com/office/drawing/2014/main" id="{53E3CF46-001D-D4F9-BF3B-DC1B6DE5DB4A}"/>
                  </a:ext>
                </a:extLst>
              </p:cNvPr>
              <p:cNvSpPr>
                <a:spLocks noChangeArrowheads="1"/>
              </p:cNvSpPr>
              <p:nvPr/>
            </p:nvSpPr>
            <p:spPr bwMode="auto">
              <a:xfrm rot="9509256">
                <a:off x="8676937" y="3958740"/>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7" name="Oval 580">
                <a:extLst>
                  <a:ext uri="{FF2B5EF4-FFF2-40B4-BE49-F238E27FC236}">
                    <a16:creationId xmlns:a16="http://schemas.microsoft.com/office/drawing/2014/main" id="{7A52C2D0-EB1A-EFF6-A27A-ADD4B7764617}"/>
                  </a:ext>
                </a:extLst>
              </p:cNvPr>
              <p:cNvSpPr>
                <a:spLocks noChangeArrowheads="1"/>
              </p:cNvSpPr>
              <p:nvPr/>
            </p:nvSpPr>
            <p:spPr bwMode="auto">
              <a:xfrm rot="9509256">
                <a:off x="8736180" y="4232996"/>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8" name="Oval 581">
                <a:extLst>
                  <a:ext uri="{FF2B5EF4-FFF2-40B4-BE49-F238E27FC236}">
                    <a16:creationId xmlns:a16="http://schemas.microsoft.com/office/drawing/2014/main" id="{24DA2C6A-62E7-6E70-6B50-B1915F01D4D0}"/>
                  </a:ext>
                </a:extLst>
              </p:cNvPr>
              <p:cNvSpPr>
                <a:spLocks noChangeArrowheads="1"/>
              </p:cNvSpPr>
              <p:nvPr/>
            </p:nvSpPr>
            <p:spPr bwMode="auto">
              <a:xfrm rot="9509256">
                <a:off x="8822127" y="4137602"/>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9" name="Oval 582">
                <a:extLst>
                  <a:ext uri="{FF2B5EF4-FFF2-40B4-BE49-F238E27FC236}">
                    <a16:creationId xmlns:a16="http://schemas.microsoft.com/office/drawing/2014/main" id="{224FF10F-D1FA-97E6-5575-A9C0F716BF76}"/>
                  </a:ext>
                </a:extLst>
              </p:cNvPr>
              <p:cNvSpPr>
                <a:spLocks noChangeArrowheads="1"/>
              </p:cNvSpPr>
              <p:nvPr/>
            </p:nvSpPr>
            <p:spPr bwMode="auto">
              <a:xfrm rot="9509256">
                <a:off x="8788751" y="423299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0" name="Oval 583">
                <a:extLst>
                  <a:ext uri="{FF2B5EF4-FFF2-40B4-BE49-F238E27FC236}">
                    <a16:creationId xmlns:a16="http://schemas.microsoft.com/office/drawing/2014/main" id="{66EE407F-973D-C43C-DF63-E6BC74433FE2}"/>
                  </a:ext>
                </a:extLst>
              </p:cNvPr>
              <p:cNvSpPr>
                <a:spLocks noChangeArrowheads="1"/>
              </p:cNvSpPr>
              <p:nvPr/>
            </p:nvSpPr>
            <p:spPr bwMode="auto">
              <a:xfrm rot="9509256">
                <a:off x="8513329" y="423129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1" name="Oval 584">
                <a:extLst>
                  <a:ext uri="{FF2B5EF4-FFF2-40B4-BE49-F238E27FC236}">
                    <a16:creationId xmlns:a16="http://schemas.microsoft.com/office/drawing/2014/main" id="{70CF19B6-E4EA-B602-BC43-DF77552B733C}"/>
                  </a:ext>
                </a:extLst>
              </p:cNvPr>
              <p:cNvSpPr>
                <a:spLocks noChangeArrowheads="1"/>
              </p:cNvSpPr>
              <p:nvPr/>
            </p:nvSpPr>
            <p:spPr bwMode="auto">
              <a:xfrm rot="9509256">
                <a:off x="8705307" y="412397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2" name="Oval 585">
                <a:extLst>
                  <a:ext uri="{FF2B5EF4-FFF2-40B4-BE49-F238E27FC236}">
                    <a16:creationId xmlns:a16="http://schemas.microsoft.com/office/drawing/2014/main" id="{D4F83DAF-3E3C-637A-41ED-280017498A1E}"/>
                  </a:ext>
                </a:extLst>
              </p:cNvPr>
              <p:cNvSpPr>
                <a:spLocks noChangeArrowheads="1"/>
              </p:cNvSpPr>
              <p:nvPr/>
            </p:nvSpPr>
            <p:spPr bwMode="auto">
              <a:xfrm rot="9509256">
                <a:off x="8758710" y="394511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3" name="Oval 586">
                <a:extLst>
                  <a:ext uri="{FF2B5EF4-FFF2-40B4-BE49-F238E27FC236}">
                    <a16:creationId xmlns:a16="http://schemas.microsoft.com/office/drawing/2014/main" id="{34A4CEBE-255A-4C03-D745-2C902314F9F0}"/>
                  </a:ext>
                </a:extLst>
              </p:cNvPr>
              <p:cNvSpPr>
                <a:spLocks noChangeArrowheads="1"/>
              </p:cNvSpPr>
              <p:nvPr/>
            </p:nvSpPr>
            <p:spPr bwMode="auto">
              <a:xfrm rot="9509256">
                <a:off x="8688619" y="417507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4" name="Oval 587">
                <a:extLst>
                  <a:ext uri="{FF2B5EF4-FFF2-40B4-BE49-F238E27FC236}">
                    <a16:creationId xmlns:a16="http://schemas.microsoft.com/office/drawing/2014/main" id="{F1205F14-1F0F-FC69-0EB7-8FD3258E4D2C}"/>
                  </a:ext>
                </a:extLst>
              </p:cNvPr>
              <p:cNvSpPr>
                <a:spLocks noChangeArrowheads="1"/>
              </p:cNvSpPr>
              <p:nvPr/>
            </p:nvSpPr>
            <p:spPr bwMode="auto">
              <a:xfrm rot="9509256">
                <a:off x="8685281" y="407457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5" name="Oval 588">
                <a:extLst>
                  <a:ext uri="{FF2B5EF4-FFF2-40B4-BE49-F238E27FC236}">
                    <a16:creationId xmlns:a16="http://schemas.microsoft.com/office/drawing/2014/main" id="{1030C5D5-92BE-5051-D672-2E622EC5EE89}"/>
                  </a:ext>
                </a:extLst>
              </p:cNvPr>
              <p:cNvSpPr>
                <a:spLocks noChangeArrowheads="1"/>
              </p:cNvSpPr>
              <p:nvPr/>
            </p:nvSpPr>
            <p:spPr bwMode="auto">
              <a:xfrm rot="9509256">
                <a:off x="8678605" y="383338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6" name="Oval 589">
                <a:extLst>
                  <a:ext uri="{FF2B5EF4-FFF2-40B4-BE49-F238E27FC236}">
                    <a16:creationId xmlns:a16="http://schemas.microsoft.com/office/drawing/2014/main" id="{1457290F-C19B-E1CB-BD98-D464F4DB72F6}"/>
                  </a:ext>
                </a:extLst>
              </p:cNvPr>
              <p:cNvSpPr>
                <a:spLocks noChangeArrowheads="1"/>
              </p:cNvSpPr>
              <p:nvPr/>
            </p:nvSpPr>
            <p:spPr bwMode="auto">
              <a:xfrm rot="9509256">
                <a:off x="8631877" y="370954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7" name="Oval 590">
                <a:extLst>
                  <a:ext uri="{FF2B5EF4-FFF2-40B4-BE49-F238E27FC236}">
                    <a16:creationId xmlns:a16="http://schemas.microsoft.com/office/drawing/2014/main" id="{1466C706-6706-F1A4-C3D0-A681110E4138}"/>
                  </a:ext>
                </a:extLst>
              </p:cNvPr>
              <p:cNvSpPr>
                <a:spLocks noChangeArrowheads="1"/>
              </p:cNvSpPr>
              <p:nvPr/>
            </p:nvSpPr>
            <p:spPr bwMode="auto">
              <a:xfrm rot="9509256">
                <a:off x="8661917" y="402517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8" name="Oval 591">
                <a:extLst>
                  <a:ext uri="{FF2B5EF4-FFF2-40B4-BE49-F238E27FC236}">
                    <a16:creationId xmlns:a16="http://schemas.microsoft.com/office/drawing/2014/main" id="{098C5B30-F206-EF25-7AAB-ADEDB9F96FE6}"/>
                  </a:ext>
                </a:extLst>
              </p:cNvPr>
              <p:cNvSpPr>
                <a:spLocks noChangeArrowheads="1"/>
              </p:cNvSpPr>
              <p:nvPr/>
            </p:nvSpPr>
            <p:spPr bwMode="auto">
              <a:xfrm rot="9509256">
                <a:off x="8645228" y="414782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9" name="Oval 592">
                <a:extLst>
                  <a:ext uri="{FF2B5EF4-FFF2-40B4-BE49-F238E27FC236}">
                    <a16:creationId xmlns:a16="http://schemas.microsoft.com/office/drawing/2014/main" id="{5665F6A1-F338-5488-06DB-0C1384CBA29D}"/>
                  </a:ext>
                </a:extLst>
              </p:cNvPr>
              <p:cNvSpPr>
                <a:spLocks noChangeArrowheads="1"/>
              </p:cNvSpPr>
              <p:nvPr/>
            </p:nvSpPr>
            <p:spPr bwMode="auto">
              <a:xfrm rot="9509256">
                <a:off x="8796259" y="401836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0" name="Oval 593">
                <a:extLst>
                  <a:ext uri="{FF2B5EF4-FFF2-40B4-BE49-F238E27FC236}">
                    <a16:creationId xmlns:a16="http://schemas.microsoft.com/office/drawing/2014/main" id="{1637BC0D-BBA1-983D-9299-27607D5C4E23}"/>
                  </a:ext>
                </a:extLst>
              </p:cNvPr>
              <p:cNvSpPr>
                <a:spLocks noChangeArrowheads="1"/>
              </p:cNvSpPr>
              <p:nvPr/>
            </p:nvSpPr>
            <p:spPr bwMode="auto">
              <a:xfrm rot="9509256">
                <a:off x="8626037" y="388666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1" name="Oval 594">
                <a:extLst>
                  <a:ext uri="{FF2B5EF4-FFF2-40B4-BE49-F238E27FC236}">
                    <a16:creationId xmlns:a16="http://schemas.microsoft.com/office/drawing/2014/main" id="{081A3E3C-B894-729E-2004-B05E1AC954AA}"/>
                  </a:ext>
                </a:extLst>
              </p:cNvPr>
              <p:cNvSpPr>
                <a:spLocks noChangeArrowheads="1"/>
              </p:cNvSpPr>
              <p:nvPr/>
            </p:nvSpPr>
            <p:spPr bwMode="auto">
              <a:xfrm rot="9509256">
                <a:off x="8590991" y="361144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2" name="Oval 595">
                <a:extLst>
                  <a:ext uri="{FF2B5EF4-FFF2-40B4-BE49-F238E27FC236}">
                    <a16:creationId xmlns:a16="http://schemas.microsoft.com/office/drawing/2014/main" id="{CFED982C-DF3E-E4BD-61F6-2D6287F363F0}"/>
                  </a:ext>
                </a:extLst>
              </p:cNvPr>
              <p:cNvSpPr>
                <a:spLocks noChangeArrowheads="1"/>
              </p:cNvSpPr>
              <p:nvPr/>
            </p:nvSpPr>
            <p:spPr bwMode="auto">
              <a:xfrm rot="9509256">
                <a:off x="8720922" y="370218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3" name="Oval 596">
                <a:extLst>
                  <a:ext uri="{FF2B5EF4-FFF2-40B4-BE49-F238E27FC236}">
                    <a16:creationId xmlns:a16="http://schemas.microsoft.com/office/drawing/2014/main" id="{87302A82-1E23-8DF8-939A-1E8E508299A2}"/>
                  </a:ext>
                </a:extLst>
              </p:cNvPr>
              <p:cNvSpPr>
                <a:spLocks noChangeArrowheads="1"/>
              </p:cNvSpPr>
              <p:nvPr/>
            </p:nvSpPr>
            <p:spPr bwMode="auto">
              <a:xfrm rot="9509256">
                <a:off x="8532580" y="368740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4" name="Oval 597">
                <a:extLst>
                  <a:ext uri="{FF2B5EF4-FFF2-40B4-BE49-F238E27FC236}">
                    <a16:creationId xmlns:a16="http://schemas.microsoft.com/office/drawing/2014/main" id="{8826E6EC-9EC1-F53A-E40F-90235A3767E3}"/>
                  </a:ext>
                </a:extLst>
              </p:cNvPr>
              <p:cNvSpPr>
                <a:spLocks noChangeArrowheads="1"/>
              </p:cNvSpPr>
              <p:nvPr/>
            </p:nvSpPr>
            <p:spPr bwMode="auto">
              <a:xfrm rot="9509256">
                <a:off x="8525905" y="358930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5" name="Oval 598">
                <a:extLst>
                  <a:ext uri="{FF2B5EF4-FFF2-40B4-BE49-F238E27FC236}">
                    <a16:creationId xmlns:a16="http://schemas.microsoft.com/office/drawing/2014/main" id="{FB1BFBB6-1199-50E1-A108-5691EACD81A7}"/>
                  </a:ext>
                </a:extLst>
              </p:cNvPr>
              <p:cNvSpPr>
                <a:spLocks noChangeArrowheads="1"/>
              </p:cNvSpPr>
              <p:nvPr/>
            </p:nvSpPr>
            <p:spPr bwMode="auto">
              <a:xfrm rot="9509256">
                <a:off x="8575136" y="350242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6" name="Oval 599">
                <a:extLst>
                  <a:ext uri="{FF2B5EF4-FFF2-40B4-BE49-F238E27FC236}">
                    <a16:creationId xmlns:a16="http://schemas.microsoft.com/office/drawing/2014/main" id="{3CB556A5-B487-71EC-D159-53DCC78FE31A}"/>
                  </a:ext>
                </a:extLst>
              </p:cNvPr>
              <p:cNvSpPr>
                <a:spLocks noChangeArrowheads="1"/>
              </p:cNvSpPr>
              <p:nvPr/>
            </p:nvSpPr>
            <p:spPr bwMode="auto">
              <a:xfrm rot="9509256">
                <a:off x="8605176" y="393436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7" name="Oval 600">
                <a:extLst>
                  <a:ext uri="{FF2B5EF4-FFF2-40B4-BE49-F238E27FC236}">
                    <a16:creationId xmlns:a16="http://schemas.microsoft.com/office/drawing/2014/main" id="{25B3CB2B-DE4D-9D51-C5A8-28F3405B503F}"/>
                  </a:ext>
                </a:extLst>
              </p:cNvPr>
              <p:cNvSpPr>
                <a:spLocks noChangeArrowheads="1"/>
              </p:cNvSpPr>
              <p:nvPr/>
            </p:nvSpPr>
            <p:spPr bwMode="auto">
              <a:xfrm rot="9509256">
                <a:off x="8597666" y="399228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8" name="Oval 601">
                <a:extLst>
                  <a:ext uri="{FF2B5EF4-FFF2-40B4-BE49-F238E27FC236}">
                    <a16:creationId xmlns:a16="http://schemas.microsoft.com/office/drawing/2014/main" id="{37BC26CE-A097-B96B-80DD-0DBA7A3AB3F5}"/>
                  </a:ext>
                </a:extLst>
              </p:cNvPr>
              <p:cNvSpPr>
                <a:spLocks noChangeArrowheads="1"/>
              </p:cNvSpPr>
              <p:nvPr/>
            </p:nvSpPr>
            <p:spPr bwMode="auto">
              <a:xfrm rot="9509256">
                <a:off x="8536753" y="403827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9" name="Oval 602">
                <a:extLst>
                  <a:ext uri="{FF2B5EF4-FFF2-40B4-BE49-F238E27FC236}">
                    <a16:creationId xmlns:a16="http://schemas.microsoft.com/office/drawing/2014/main" id="{59591698-0CCE-D3F9-6B1F-687F7E0B8749}"/>
                  </a:ext>
                </a:extLst>
              </p:cNvPr>
              <p:cNvSpPr>
                <a:spLocks noChangeArrowheads="1"/>
              </p:cNvSpPr>
              <p:nvPr/>
            </p:nvSpPr>
            <p:spPr bwMode="auto">
              <a:xfrm rot="9509256">
                <a:off x="8554275" y="393266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0" name="Oval 603">
                <a:extLst>
                  <a:ext uri="{FF2B5EF4-FFF2-40B4-BE49-F238E27FC236}">
                    <a16:creationId xmlns:a16="http://schemas.microsoft.com/office/drawing/2014/main" id="{FB9A9C09-782D-3DCF-2B51-48C056E32ABF}"/>
                  </a:ext>
                </a:extLst>
              </p:cNvPr>
              <p:cNvSpPr>
                <a:spLocks noChangeArrowheads="1"/>
              </p:cNvSpPr>
              <p:nvPr/>
            </p:nvSpPr>
            <p:spPr bwMode="auto">
              <a:xfrm rot="9509256">
                <a:off x="8565957" y="379978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1" name="Oval 604">
                <a:extLst>
                  <a:ext uri="{FF2B5EF4-FFF2-40B4-BE49-F238E27FC236}">
                    <a16:creationId xmlns:a16="http://schemas.microsoft.com/office/drawing/2014/main" id="{96E9F96D-9851-1730-354F-51970F1915DD}"/>
                  </a:ext>
                </a:extLst>
              </p:cNvPr>
              <p:cNvSpPr>
                <a:spLocks noChangeArrowheads="1"/>
              </p:cNvSpPr>
              <p:nvPr/>
            </p:nvSpPr>
            <p:spPr bwMode="auto">
              <a:xfrm rot="9509256">
                <a:off x="8512769" y="408964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2" name="Oval 605">
                <a:extLst>
                  <a:ext uri="{FF2B5EF4-FFF2-40B4-BE49-F238E27FC236}">
                    <a16:creationId xmlns:a16="http://schemas.microsoft.com/office/drawing/2014/main" id="{B57664DA-33B5-0A78-CB57-03A67EAF3B4B}"/>
                  </a:ext>
                </a:extLst>
              </p:cNvPr>
              <p:cNvSpPr>
                <a:spLocks noChangeArrowheads="1"/>
              </p:cNvSpPr>
              <p:nvPr/>
            </p:nvSpPr>
            <p:spPr bwMode="auto">
              <a:xfrm rot="9509256">
                <a:off x="8532580" y="388496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3" name="Oval 606">
                <a:extLst>
                  <a:ext uri="{FF2B5EF4-FFF2-40B4-BE49-F238E27FC236}">
                    <a16:creationId xmlns:a16="http://schemas.microsoft.com/office/drawing/2014/main" id="{4F18285C-FB7D-B263-A8BA-1A2CAA1DAF48}"/>
                  </a:ext>
                </a:extLst>
              </p:cNvPr>
              <p:cNvSpPr>
                <a:spLocks noChangeArrowheads="1"/>
              </p:cNvSpPr>
              <p:nvPr/>
            </p:nvSpPr>
            <p:spPr bwMode="auto">
              <a:xfrm rot="9509256">
                <a:off x="8473336" y="352457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4" name="Oval 607">
                <a:extLst>
                  <a:ext uri="{FF2B5EF4-FFF2-40B4-BE49-F238E27FC236}">
                    <a16:creationId xmlns:a16="http://schemas.microsoft.com/office/drawing/2014/main" id="{ADC1BB11-48C9-8F88-38A5-DB36A0CF6EF7}"/>
                  </a:ext>
                </a:extLst>
              </p:cNvPr>
              <p:cNvSpPr>
                <a:spLocks noChangeArrowheads="1"/>
              </p:cNvSpPr>
              <p:nvPr/>
            </p:nvSpPr>
            <p:spPr bwMode="auto">
              <a:xfrm rot="9509256">
                <a:off x="8480846" y="372658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5" name="Oval 608">
                <a:extLst>
                  <a:ext uri="{FF2B5EF4-FFF2-40B4-BE49-F238E27FC236}">
                    <a16:creationId xmlns:a16="http://schemas.microsoft.com/office/drawing/2014/main" id="{B5284B9D-C04C-423F-215B-F04616BA0792}"/>
                  </a:ext>
                </a:extLst>
              </p:cNvPr>
              <p:cNvSpPr>
                <a:spLocks noChangeArrowheads="1"/>
              </p:cNvSpPr>
              <p:nvPr/>
            </p:nvSpPr>
            <p:spPr bwMode="auto">
              <a:xfrm rot="9509256">
                <a:off x="8511720" y="383130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6" name="Oval 609">
                <a:extLst>
                  <a:ext uri="{FF2B5EF4-FFF2-40B4-BE49-F238E27FC236}">
                    <a16:creationId xmlns:a16="http://schemas.microsoft.com/office/drawing/2014/main" id="{AE96812B-C13E-278B-2976-2062BD6A5FB6}"/>
                  </a:ext>
                </a:extLst>
              </p:cNvPr>
              <p:cNvSpPr>
                <a:spLocks noChangeArrowheads="1"/>
              </p:cNvSpPr>
              <p:nvPr/>
            </p:nvSpPr>
            <p:spPr bwMode="auto">
              <a:xfrm rot="9509256">
                <a:off x="8452475" y="386963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7" name="Oval 610">
                <a:extLst>
                  <a:ext uri="{FF2B5EF4-FFF2-40B4-BE49-F238E27FC236}">
                    <a16:creationId xmlns:a16="http://schemas.microsoft.com/office/drawing/2014/main" id="{A3D30918-64CF-F529-97AF-5A2D26B77632}"/>
                  </a:ext>
                </a:extLst>
              </p:cNvPr>
              <p:cNvSpPr>
                <a:spLocks noChangeArrowheads="1"/>
              </p:cNvSpPr>
              <p:nvPr/>
            </p:nvSpPr>
            <p:spPr bwMode="auto">
              <a:xfrm rot="9509256">
                <a:off x="8480012" y="400590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8" name="Oval 611">
                <a:extLst>
                  <a:ext uri="{FF2B5EF4-FFF2-40B4-BE49-F238E27FC236}">
                    <a16:creationId xmlns:a16="http://schemas.microsoft.com/office/drawing/2014/main" id="{7897BBDB-DCDE-574C-70D0-84F0568F279C}"/>
                  </a:ext>
                </a:extLst>
              </p:cNvPr>
              <p:cNvSpPr>
                <a:spLocks noChangeArrowheads="1"/>
              </p:cNvSpPr>
              <p:nvPr/>
            </p:nvSpPr>
            <p:spPr bwMode="auto">
              <a:xfrm rot="9509256">
                <a:off x="8383218" y="397865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9" name="Oval 612">
                <a:extLst>
                  <a:ext uri="{FF2B5EF4-FFF2-40B4-BE49-F238E27FC236}">
                    <a16:creationId xmlns:a16="http://schemas.microsoft.com/office/drawing/2014/main" id="{6CEBC6A4-ADD7-9D31-A644-25E244129BDC}"/>
                  </a:ext>
                </a:extLst>
              </p:cNvPr>
              <p:cNvSpPr>
                <a:spLocks noChangeArrowheads="1"/>
              </p:cNvSpPr>
              <p:nvPr/>
            </p:nvSpPr>
            <p:spPr bwMode="auto">
              <a:xfrm rot="9509256">
                <a:off x="8401576" y="370103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0" name="Oval 613">
                <a:extLst>
                  <a:ext uri="{FF2B5EF4-FFF2-40B4-BE49-F238E27FC236}">
                    <a16:creationId xmlns:a16="http://schemas.microsoft.com/office/drawing/2014/main" id="{92150BA8-46A9-C438-38D9-F0D72DCE8A63}"/>
                  </a:ext>
                </a:extLst>
              </p:cNvPr>
              <p:cNvSpPr>
                <a:spLocks noChangeArrowheads="1"/>
              </p:cNvSpPr>
              <p:nvPr/>
            </p:nvSpPr>
            <p:spPr bwMode="auto">
              <a:xfrm rot="9509256">
                <a:off x="8379046" y="3907108"/>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1" name="Oval 614">
                <a:extLst>
                  <a:ext uri="{FF2B5EF4-FFF2-40B4-BE49-F238E27FC236}">
                    <a16:creationId xmlns:a16="http://schemas.microsoft.com/office/drawing/2014/main" id="{92227A58-89AF-7EE6-720A-E800F3F0219A}"/>
                  </a:ext>
                </a:extLst>
              </p:cNvPr>
              <p:cNvSpPr>
                <a:spLocks noChangeArrowheads="1"/>
              </p:cNvSpPr>
              <p:nvPr/>
            </p:nvSpPr>
            <p:spPr bwMode="auto">
              <a:xfrm rot="11712108">
                <a:off x="8745360" y="417678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2" name="Oval 615">
                <a:extLst>
                  <a:ext uri="{FF2B5EF4-FFF2-40B4-BE49-F238E27FC236}">
                    <a16:creationId xmlns:a16="http://schemas.microsoft.com/office/drawing/2014/main" id="{76E7144B-FBEA-0B1E-B1BD-C494C3F9A8FB}"/>
                  </a:ext>
                </a:extLst>
              </p:cNvPr>
              <p:cNvSpPr>
                <a:spLocks noChangeArrowheads="1"/>
              </p:cNvSpPr>
              <p:nvPr/>
            </p:nvSpPr>
            <p:spPr bwMode="auto">
              <a:xfrm rot="11712108">
                <a:off x="8478343" y="394288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3" name="Oval 616">
                <a:extLst>
                  <a:ext uri="{FF2B5EF4-FFF2-40B4-BE49-F238E27FC236}">
                    <a16:creationId xmlns:a16="http://schemas.microsoft.com/office/drawing/2014/main" id="{45F99B24-EBB2-3A3F-0FB3-3DF464CA2F5F}"/>
                  </a:ext>
                </a:extLst>
              </p:cNvPr>
              <p:cNvSpPr>
                <a:spLocks noChangeArrowheads="1"/>
              </p:cNvSpPr>
              <p:nvPr/>
            </p:nvSpPr>
            <p:spPr bwMode="auto">
              <a:xfrm rot="11712108">
                <a:off x="8369867" y="412270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4" name="Oval 617">
                <a:extLst>
                  <a:ext uri="{FF2B5EF4-FFF2-40B4-BE49-F238E27FC236}">
                    <a16:creationId xmlns:a16="http://schemas.microsoft.com/office/drawing/2014/main" id="{B429075B-7FD4-EDD3-E09F-A070C4E4C580}"/>
                  </a:ext>
                </a:extLst>
              </p:cNvPr>
              <p:cNvSpPr>
                <a:spLocks noChangeArrowheads="1"/>
              </p:cNvSpPr>
              <p:nvPr/>
            </p:nvSpPr>
            <p:spPr bwMode="auto">
              <a:xfrm rot="724066">
                <a:off x="8066970" y="390204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5" name="Oval 618">
                <a:extLst>
                  <a:ext uri="{FF2B5EF4-FFF2-40B4-BE49-F238E27FC236}">
                    <a16:creationId xmlns:a16="http://schemas.microsoft.com/office/drawing/2014/main" id="{B11633CB-9B12-FD18-B793-D0A818ABF141}"/>
                  </a:ext>
                </a:extLst>
              </p:cNvPr>
              <p:cNvSpPr>
                <a:spLocks noChangeArrowheads="1"/>
              </p:cNvSpPr>
              <p:nvPr/>
            </p:nvSpPr>
            <p:spPr bwMode="auto">
              <a:xfrm rot="724066">
                <a:off x="7917608" y="390033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6" name="Oval 619">
                <a:extLst>
                  <a:ext uri="{FF2B5EF4-FFF2-40B4-BE49-F238E27FC236}">
                    <a16:creationId xmlns:a16="http://schemas.microsoft.com/office/drawing/2014/main" id="{0F395401-E1AD-D929-9E2B-26A607C6E4F3}"/>
                  </a:ext>
                </a:extLst>
              </p:cNvPr>
              <p:cNvSpPr>
                <a:spLocks noChangeArrowheads="1"/>
              </p:cNvSpPr>
              <p:nvPr/>
            </p:nvSpPr>
            <p:spPr bwMode="auto">
              <a:xfrm rot="724066">
                <a:off x="8009396" y="385093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7" name="Oval 620">
                <a:extLst>
                  <a:ext uri="{FF2B5EF4-FFF2-40B4-BE49-F238E27FC236}">
                    <a16:creationId xmlns:a16="http://schemas.microsoft.com/office/drawing/2014/main" id="{72B6D75A-D6B0-E753-45D4-F15193A0C7B0}"/>
                  </a:ext>
                </a:extLst>
              </p:cNvPr>
              <p:cNvSpPr>
                <a:spLocks noChangeArrowheads="1"/>
              </p:cNvSpPr>
              <p:nvPr/>
            </p:nvSpPr>
            <p:spPr bwMode="auto">
              <a:xfrm rot="724066">
                <a:off x="8109526" y="393270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8" name="Oval 621">
                <a:extLst>
                  <a:ext uri="{FF2B5EF4-FFF2-40B4-BE49-F238E27FC236}">
                    <a16:creationId xmlns:a16="http://schemas.microsoft.com/office/drawing/2014/main" id="{81C57340-D2D2-27A4-3496-9136DA5792BC}"/>
                  </a:ext>
                </a:extLst>
              </p:cNvPr>
              <p:cNvSpPr>
                <a:spLocks noChangeArrowheads="1"/>
              </p:cNvSpPr>
              <p:nvPr/>
            </p:nvSpPr>
            <p:spPr bwMode="auto">
              <a:xfrm rot="724066">
                <a:off x="7984362" y="398551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9" name="Oval 622">
                <a:extLst>
                  <a:ext uri="{FF2B5EF4-FFF2-40B4-BE49-F238E27FC236}">
                    <a16:creationId xmlns:a16="http://schemas.microsoft.com/office/drawing/2014/main" id="{6161F56F-FE67-4A98-FD42-931883AACE98}"/>
                  </a:ext>
                </a:extLst>
              </p:cNvPr>
              <p:cNvSpPr>
                <a:spLocks noChangeArrowheads="1"/>
              </p:cNvSpPr>
              <p:nvPr/>
            </p:nvSpPr>
            <p:spPr bwMode="auto">
              <a:xfrm rot="724066">
                <a:off x="8117870" y="387989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0" name="Oval 623">
                <a:extLst>
                  <a:ext uri="{FF2B5EF4-FFF2-40B4-BE49-F238E27FC236}">
                    <a16:creationId xmlns:a16="http://schemas.microsoft.com/office/drawing/2014/main" id="{DD020CD0-D505-05A8-CA1B-7CD1EA078189}"/>
                  </a:ext>
                </a:extLst>
              </p:cNvPr>
              <p:cNvSpPr>
                <a:spLocks noChangeArrowheads="1"/>
              </p:cNvSpPr>
              <p:nvPr/>
            </p:nvSpPr>
            <p:spPr bwMode="auto">
              <a:xfrm rot="724066">
                <a:off x="8077818" y="397699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1" name="Oval 624">
                <a:extLst>
                  <a:ext uri="{FF2B5EF4-FFF2-40B4-BE49-F238E27FC236}">
                    <a16:creationId xmlns:a16="http://schemas.microsoft.com/office/drawing/2014/main" id="{DDFD23F4-372A-8DA8-84F1-0BA56242D887}"/>
                  </a:ext>
                </a:extLst>
              </p:cNvPr>
              <p:cNvSpPr>
                <a:spLocks noChangeArrowheads="1"/>
              </p:cNvSpPr>
              <p:nvPr/>
            </p:nvSpPr>
            <p:spPr bwMode="auto">
              <a:xfrm rot="724066">
                <a:off x="8177114" y="405019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2" name="Oval 625">
                <a:extLst>
                  <a:ext uri="{FF2B5EF4-FFF2-40B4-BE49-F238E27FC236}">
                    <a16:creationId xmlns:a16="http://schemas.microsoft.com/office/drawing/2014/main" id="{FCBA45E1-2C28-DACA-7316-88374898A78D}"/>
                  </a:ext>
                </a:extLst>
              </p:cNvPr>
              <p:cNvSpPr>
                <a:spLocks noChangeArrowheads="1"/>
              </p:cNvSpPr>
              <p:nvPr/>
            </p:nvSpPr>
            <p:spPr bwMode="auto">
              <a:xfrm rot="724066">
                <a:off x="8191300" y="4118908"/>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3" name="Oval 626">
                <a:extLst>
                  <a:ext uri="{FF2B5EF4-FFF2-40B4-BE49-F238E27FC236}">
                    <a16:creationId xmlns:a16="http://schemas.microsoft.com/office/drawing/2014/main" id="{8FFCDEE7-F6BF-18DE-AA7C-6B51C16D59E4}"/>
                  </a:ext>
                </a:extLst>
              </p:cNvPr>
              <p:cNvSpPr>
                <a:spLocks noChangeArrowheads="1"/>
              </p:cNvSpPr>
              <p:nvPr/>
            </p:nvSpPr>
            <p:spPr bwMode="auto">
              <a:xfrm rot="724066">
                <a:off x="8293100" y="399909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4" name="Oval 627">
                <a:extLst>
                  <a:ext uri="{FF2B5EF4-FFF2-40B4-BE49-F238E27FC236}">
                    <a16:creationId xmlns:a16="http://schemas.microsoft.com/office/drawing/2014/main" id="{281F46EB-3BAF-1597-3CF8-BAAAFE1D4809}"/>
                  </a:ext>
                </a:extLst>
              </p:cNvPr>
              <p:cNvSpPr>
                <a:spLocks noChangeArrowheads="1"/>
              </p:cNvSpPr>
              <p:nvPr/>
            </p:nvSpPr>
            <p:spPr bwMode="auto">
              <a:xfrm rot="724066">
                <a:off x="8286425" y="394628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grpSp>
          <p:nvGrpSpPr>
            <p:cNvPr id="245" name="Group 728">
              <a:extLst>
                <a:ext uri="{FF2B5EF4-FFF2-40B4-BE49-F238E27FC236}">
                  <a16:creationId xmlns:a16="http://schemas.microsoft.com/office/drawing/2014/main" id="{ABE6A46E-C6FA-96DE-5411-A5DE85D2BCD3}"/>
                </a:ext>
              </a:extLst>
            </p:cNvPr>
            <p:cNvGrpSpPr>
              <a:grpSpLocks/>
            </p:cNvGrpSpPr>
            <p:nvPr/>
          </p:nvGrpSpPr>
          <p:grpSpPr bwMode="auto">
            <a:xfrm>
              <a:off x="7720302" y="3423797"/>
              <a:ext cx="1535994" cy="1334243"/>
              <a:chOff x="3484324" y="3587972"/>
              <a:chExt cx="1687503" cy="1424427"/>
            </a:xfrm>
          </p:grpSpPr>
          <p:sp>
            <p:nvSpPr>
              <p:cNvPr id="246" name="Oval 541">
                <a:extLst>
                  <a:ext uri="{FF2B5EF4-FFF2-40B4-BE49-F238E27FC236}">
                    <a16:creationId xmlns:a16="http://schemas.microsoft.com/office/drawing/2014/main" id="{6B5928E2-C6B6-2A35-277D-0DE09BD805B5}"/>
                  </a:ext>
                </a:extLst>
              </p:cNvPr>
              <p:cNvSpPr>
                <a:spLocks noChangeArrowheads="1"/>
              </p:cNvSpPr>
              <p:nvPr/>
            </p:nvSpPr>
            <p:spPr bwMode="auto">
              <a:xfrm rot="4371100">
                <a:off x="4080272" y="346536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7" name="Oval 545">
                <a:extLst>
                  <a:ext uri="{FF2B5EF4-FFF2-40B4-BE49-F238E27FC236}">
                    <a16:creationId xmlns:a16="http://schemas.microsoft.com/office/drawing/2014/main" id="{56BF0E05-3291-6BAF-BAD3-61F163A1D671}"/>
                  </a:ext>
                </a:extLst>
              </p:cNvPr>
              <p:cNvSpPr>
                <a:spLocks noChangeArrowheads="1"/>
              </p:cNvSpPr>
              <p:nvPr/>
            </p:nvSpPr>
            <p:spPr bwMode="auto">
              <a:xfrm rot="4371100">
                <a:off x="4421746" y="3521061"/>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8" name="Oval 548">
                <a:extLst>
                  <a:ext uri="{FF2B5EF4-FFF2-40B4-BE49-F238E27FC236}">
                    <a16:creationId xmlns:a16="http://schemas.microsoft.com/office/drawing/2014/main" id="{9A84641F-0DD2-C6B1-5786-98A657026BC6}"/>
                  </a:ext>
                </a:extLst>
              </p:cNvPr>
              <p:cNvSpPr>
                <a:spLocks noChangeArrowheads="1"/>
              </p:cNvSpPr>
              <p:nvPr/>
            </p:nvSpPr>
            <p:spPr bwMode="auto">
              <a:xfrm rot="4371100">
                <a:off x="4471908" y="3502567"/>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9" name="Oval 549">
                <a:extLst>
                  <a:ext uri="{FF2B5EF4-FFF2-40B4-BE49-F238E27FC236}">
                    <a16:creationId xmlns:a16="http://schemas.microsoft.com/office/drawing/2014/main" id="{1C81BF1F-5ED2-1E03-CFA4-5DA39D783155}"/>
                  </a:ext>
                </a:extLst>
              </p:cNvPr>
              <p:cNvSpPr>
                <a:spLocks noChangeArrowheads="1"/>
              </p:cNvSpPr>
              <p:nvPr/>
            </p:nvSpPr>
            <p:spPr bwMode="auto">
              <a:xfrm rot="4371100">
                <a:off x="4367613" y="351500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0" name="Oval 551">
                <a:extLst>
                  <a:ext uri="{FF2B5EF4-FFF2-40B4-BE49-F238E27FC236}">
                    <a16:creationId xmlns:a16="http://schemas.microsoft.com/office/drawing/2014/main" id="{C694B051-F5B4-71ED-F7C6-6A7F49F20EB4}"/>
                  </a:ext>
                </a:extLst>
              </p:cNvPr>
              <p:cNvSpPr>
                <a:spLocks noChangeArrowheads="1"/>
              </p:cNvSpPr>
              <p:nvPr/>
            </p:nvSpPr>
            <p:spPr bwMode="auto">
              <a:xfrm rot="4371100">
                <a:off x="4106030" y="356377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1" name="Oval 552">
                <a:extLst>
                  <a:ext uri="{FF2B5EF4-FFF2-40B4-BE49-F238E27FC236}">
                    <a16:creationId xmlns:a16="http://schemas.microsoft.com/office/drawing/2014/main" id="{0A2EFEE7-BF95-C594-53C6-012E0712A682}"/>
                  </a:ext>
                </a:extLst>
              </p:cNvPr>
              <p:cNvSpPr>
                <a:spLocks noChangeArrowheads="1"/>
              </p:cNvSpPr>
              <p:nvPr/>
            </p:nvSpPr>
            <p:spPr bwMode="auto">
              <a:xfrm rot="4371100">
                <a:off x="4165011" y="355756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2" name="Oval 553">
                <a:extLst>
                  <a:ext uri="{FF2B5EF4-FFF2-40B4-BE49-F238E27FC236}">
                    <a16:creationId xmlns:a16="http://schemas.microsoft.com/office/drawing/2014/main" id="{A697D63D-BF34-1F47-8FFD-36E6CA37BE86}"/>
                  </a:ext>
                </a:extLst>
              </p:cNvPr>
              <p:cNvSpPr>
                <a:spLocks noChangeArrowheads="1"/>
              </p:cNvSpPr>
              <p:nvPr/>
            </p:nvSpPr>
            <p:spPr bwMode="auto">
              <a:xfrm rot="4371100">
                <a:off x="4251811" y="352431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3" name="Oval 554">
                <a:extLst>
                  <a:ext uri="{FF2B5EF4-FFF2-40B4-BE49-F238E27FC236}">
                    <a16:creationId xmlns:a16="http://schemas.microsoft.com/office/drawing/2014/main" id="{CBADEF6C-6C05-333E-11B5-997D14CD58BD}"/>
                  </a:ext>
                </a:extLst>
              </p:cNvPr>
              <p:cNvSpPr>
                <a:spLocks noChangeArrowheads="1"/>
              </p:cNvSpPr>
              <p:nvPr/>
            </p:nvSpPr>
            <p:spPr bwMode="auto">
              <a:xfrm rot="4371100">
                <a:off x="4335759" y="355576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4" name="Oval 555">
                <a:extLst>
                  <a:ext uri="{FF2B5EF4-FFF2-40B4-BE49-F238E27FC236}">
                    <a16:creationId xmlns:a16="http://schemas.microsoft.com/office/drawing/2014/main" id="{B86DD190-11EF-B5A5-42EC-9748E3B1AC4F}"/>
                  </a:ext>
                </a:extLst>
              </p:cNvPr>
              <p:cNvSpPr>
                <a:spLocks noChangeArrowheads="1"/>
              </p:cNvSpPr>
              <p:nvPr/>
            </p:nvSpPr>
            <p:spPr bwMode="auto">
              <a:xfrm rot="4371100">
                <a:off x="4383149" y="357419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5" name="Oval 556">
                <a:extLst>
                  <a:ext uri="{FF2B5EF4-FFF2-40B4-BE49-F238E27FC236}">
                    <a16:creationId xmlns:a16="http://schemas.microsoft.com/office/drawing/2014/main" id="{F7AF4BE2-6271-14F9-7482-35A12E65844D}"/>
                  </a:ext>
                </a:extLst>
              </p:cNvPr>
              <p:cNvSpPr>
                <a:spLocks noChangeArrowheads="1"/>
              </p:cNvSpPr>
              <p:nvPr/>
            </p:nvSpPr>
            <p:spPr bwMode="auto">
              <a:xfrm rot="4371100">
                <a:off x="4281258" y="356999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6" name="Oval 557">
                <a:extLst>
                  <a:ext uri="{FF2B5EF4-FFF2-40B4-BE49-F238E27FC236}">
                    <a16:creationId xmlns:a16="http://schemas.microsoft.com/office/drawing/2014/main" id="{3A53D80D-B755-2648-59B3-C8595AEF7EC8}"/>
                  </a:ext>
                </a:extLst>
              </p:cNvPr>
              <p:cNvSpPr>
                <a:spLocks noChangeArrowheads="1"/>
              </p:cNvSpPr>
              <p:nvPr/>
            </p:nvSpPr>
            <p:spPr bwMode="auto">
              <a:xfrm rot="4371100">
                <a:off x="4177004" y="360343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7" name="Oval 558">
                <a:extLst>
                  <a:ext uri="{FF2B5EF4-FFF2-40B4-BE49-F238E27FC236}">
                    <a16:creationId xmlns:a16="http://schemas.microsoft.com/office/drawing/2014/main" id="{0269A9FE-0804-AB5A-7D05-16FC22AA6A2F}"/>
                  </a:ext>
                </a:extLst>
              </p:cNvPr>
              <p:cNvSpPr>
                <a:spLocks noChangeArrowheads="1"/>
              </p:cNvSpPr>
              <p:nvPr/>
            </p:nvSpPr>
            <p:spPr bwMode="auto">
              <a:xfrm rot="4371100">
                <a:off x="4166520" y="349744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8" name="Oval 559">
                <a:extLst>
                  <a:ext uri="{FF2B5EF4-FFF2-40B4-BE49-F238E27FC236}">
                    <a16:creationId xmlns:a16="http://schemas.microsoft.com/office/drawing/2014/main" id="{EC2F1361-64BE-AE06-0442-ABEFDF2BF6B1}"/>
                  </a:ext>
                </a:extLst>
              </p:cNvPr>
              <p:cNvSpPr>
                <a:spLocks noChangeArrowheads="1"/>
              </p:cNvSpPr>
              <p:nvPr/>
            </p:nvSpPr>
            <p:spPr bwMode="auto">
              <a:xfrm rot="4371100">
                <a:off x="4435829" y="374168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9" name="Oval 560">
                <a:extLst>
                  <a:ext uri="{FF2B5EF4-FFF2-40B4-BE49-F238E27FC236}">
                    <a16:creationId xmlns:a16="http://schemas.microsoft.com/office/drawing/2014/main" id="{D29735C2-4D72-822F-3304-C38BF0D1DB68}"/>
                  </a:ext>
                </a:extLst>
              </p:cNvPr>
              <p:cNvSpPr>
                <a:spLocks noChangeArrowheads="1"/>
              </p:cNvSpPr>
              <p:nvPr/>
            </p:nvSpPr>
            <p:spPr bwMode="auto">
              <a:xfrm rot="4371100">
                <a:off x="4153438" y="366250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0" name="Oval 561">
                <a:extLst>
                  <a:ext uri="{FF2B5EF4-FFF2-40B4-BE49-F238E27FC236}">
                    <a16:creationId xmlns:a16="http://schemas.microsoft.com/office/drawing/2014/main" id="{53CA2D66-18FA-6486-5F5D-B51920CF2256}"/>
                  </a:ext>
                </a:extLst>
              </p:cNvPr>
              <p:cNvSpPr>
                <a:spLocks noChangeArrowheads="1"/>
              </p:cNvSpPr>
              <p:nvPr/>
            </p:nvSpPr>
            <p:spPr bwMode="auto">
              <a:xfrm rot="4371100">
                <a:off x="4432353" y="362029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1" name="Oval 563">
                <a:extLst>
                  <a:ext uri="{FF2B5EF4-FFF2-40B4-BE49-F238E27FC236}">
                    <a16:creationId xmlns:a16="http://schemas.microsoft.com/office/drawing/2014/main" id="{36E3D582-00C9-AC49-6AA0-2EB70865B138}"/>
                  </a:ext>
                </a:extLst>
              </p:cNvPr>
              <p:cNvSpPr>
                <a:spLocks noChangeArrowheads="1"/>
              </p:cNvSpPr>
              <p:nvPr/>
            </p:nvSpPr>
            <p:spPr bwMode="auto">
              <a:xfrm rot="4371100">
                <a:off x="4511984" y="3588189"/>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2" name="Oval 564">
                <a:extLst>
                  <a:ext uri="{FF2B5EF4-FFF2-40B4-BE49-F238E27FC236}">
                    <a16:creationId xmlns:a16="http://schemas.microsoft.com/office/drawing/2014/main" id="{9B407F21-CCC0-F67C-5118-CD2BA02680FD}"/>
                  </a:ext>
                </a:extLst>
              </p:cNvPr>
              <p:cNvSpPr>
                <a:spLocks noChangeArrowheads="1"/>
              </p:cNvSpPr>
              <p:nvPr/>
            </p:nvSpPr>
            <p:spPr bwMode="auto">
              <a:xfrm rot="4371100">
                <a:off x="4425954" y="367167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3" name="Oval 565">
                <a:extLst>
                  <a:ext uri="{FF2B5EF4-FFF2-40B4-BE49-F238E27FC236}">
                    <a16:creationId xmlns:a16="http://schemas.microsoft.com/office/drawing/2014/main" id="{0CFAFB1D-8F6A-7049-1244-C7765701AC8C}"/>
                  </a:ext>
                </a:extLst>
              </p:cNvPr>
              <p:cNvSpPr>
                <a:spLocks noChangeArrowheads="1"/>
              </p:cNvSpPr>
              <p:nvPr/>
            </p:nvSpPr>
            <p:spPr bwMode="auto">
              <a:xfrm rot="4371100">
                <a:off x="4629005" y="365984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4" name="Oval 566">
                <a:extLst>
                  <a:ext uri="{FF2B5EF4-FFF2-40B4-BE49-F238E27FC236}">
                    <a16:creationId xmlns:a16="http://schemas.microsoft.com/office/drawing/2014/main" id="{C6C47623-BF99-B21A-5771-4E1C0A73E0A5}"/>
                  </a:ext>
                </a:extLst>
              </p:cNvPr>
              <p:cNvSpPr>
                <a:spLocks noChangeArrowheads="1"/>
              </p:cNvSpPr>
              <p:nvPr/>
            </p:nvSpPr>
            <p:spPr bwMode="auto">
              <a:xfrm rot="4371100">
                <a:off x="4238040" y="3611369"/>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5" name="Oval 567">
                <a:extLst>
                  <a:ext uri="{FF2B5EF4-FFF2-40B4-BE49-F238E27FC236}">
                    <a16:creationId xmlns:a16="http://schemas.microsoft.com/office/drawing/2014/main" id="{55B5769A-692B-6439-4A2C-B1FE0A75F9B5}"/>
                  </a:ext>
                </a:extLst>
              </p:cNvPr>
              <p:cNvSpPr>
                <a:spLocks noChangeArrowheads="1"/>
              </p:cNvSpPr>
              <p:nvPr/>
            </p:nvSpPr>
            <p:spPr bwMode="auto">
              <a:xfrm rot="4371100">
                <a:off x="4549412" y="3703973"/>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6" name="Oval 568">
                <a:extLst>
                  <a:ext uri="{FF2B5EF4-FFF2-40B4-BE49-F238E27FC236}">
                    <a16:creationId xmlns:a16="http://schemas.microsoft.com/office/drawing/2014/main" id="{347B8F38-3BD2-3EED-7094-479AED714612}"/>
                  </a:ext>
                </a:extLst>
              </p:cNvPr>
              <p:cNvSpPr>
                <a:spLocks noChangeArrowheads="1"/>
              </p:cNvSpPr>
              <p:nvPr/>
            </p:nvSpPr>
            <p:spPr bwMode="auto">
              <a:xfrm rot="4371100">
                <a:off x="4372229" y="3666347"/>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7" name="Oval 569">
                <a:extLst>
                  <a:ext uri="{FF2B5EF4-FFF2-40B4-BE49-F238E27FC236}">
                    <a16:creationId xmlns:a16="http://schemas.microsoft.com/office/drawing/2014/main" id="{5A0F3ADD-BF38-31B0-E94A-2FA3A85D7649}"/>
                  </a:ext>
                </a:extLst>
              </p:cNvPr>
              <p:cNvSpPr>
                <a:spLocks noChangeArrowheads="1"/>
              </p:cNvSpPr>
              <p:nvPr/>
            </p:nvSpPr>
            <p:spPr bwMode="auto">
              <a:xfrm rot="4371100">
                <a:off x="4271152" y="3663599"/>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8" name="Oval 570">
                <a:extLst>
                  <a:ext uri="{FF2B5EF4-FFF2-40B4-BE49-F238E27FC236}">
                    <a16:creationId xmlns:a16="http://schemas.microsoft.com/office/drawing/2014/main" id="{104FB9DD-3EB9-3BED-4934-3D2316C3DF37}"/>
                  </a:ext>
                </a:extLst>
              </p:cNvPr>
              <p:cNvSpPr>
                <a:spLocks noChangeArrowheads="1"/>
              </p:cNvSpPr>
              <p:nvPr/>
            </p:nvSpPr>
            <p:spPr bwMode="auto">
              <a:xfrm rot="4371100">
                <a:off x="4110239" y="3714392"/>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9" name="Oval 571">
                <a:extLst>
                  <a:ext uri="{FF2B5EF4-FFF2-40B4-BE49-F238E27FC236}">
                    <a16:creationId xmlns:a16="http://schemas.microsoft.com/office/drawing/2014/main" id="{A8564B62-403B-29B2-8055-644FBC85489D}"/>
                  </a:ext>
                </a:extLst>
              </p:cNvPr>
              <p:cNvSpPr>
                <a:spLocks noChangeArrowheads="1"/>
              </p:cNvSpPr>
              <p:nvPr/>
            </p:nvSpPr>
            <p:spPr bwMode="auto">
              <a:xfrm rot="4371100">
                <a:off x="4040808" y="3775210"/>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0" name="Oval 572">
                <a:extLst>
                  <a:ext uri="{FF2B5EF4-FFF2-40B4-BE49-F238E27FC236}">
                    <a16:creationId xmlns:a16="http://schemas.microsoft.com/office/drawing/2014/main" id="{5E1E7E1E-A591-D993-A553-DDCEE20E10AC}"/>
                  </a:ext>
                </a:extLst>
              </p:cNvPr>
              <p:cNvSpPr>
                <a:spLocks noChangeArrowheads="1"/>
              </p:cNvSpPr>
              <p:nvPr/>
            </p:nvSpPr>
            <p:spPr bwMode="auto">
              <a:xfrm rot="4371100">
                <a:off x="3942486" y="401209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1" name="Oval 573">
                <a:extLst>
                  <a:ext uri="{FF2B5EF4-FFF2-40B4-BE49-F238E27FC236}">
                    <a16:creationId xmlns:a16="http://schemas.microsoft.com/office/drawing/2014/main" id="{549ACA1C-7B30-F385-07C9-D0C632DD4CAA}"/>
                  </a:ext>
                </a:extLst>
              </p:cNvPr>
              <p:cNvSpPr>
                <a:spLocks noChangeArrowheads="1"/>
              </p:cNvSpPr>
              <p:nvPr/>
            </p:nvSpPr>
            <p:spPr bwMode="auto">
              <a:xfrm rot="4371100">
                <a:off x="4338888" y="370793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2" name="Oval 574">
                <a:extLst>
                  <a:ext uri="{FF2B5EF4-FFF2-40B4-BE49-F238E27FC236}">
                    <a16:creationId xmlns:a16="http://schemas.microsoft.com/office/drawing/2014/main" id="{2E4D540F-8E19-5080-B676-D9C18C42D1C1}"/>
                  </a:ext>
                </a:extLst>
              </p:cNvPr>
              <p:cNvSpPr>
                <a:spLocks noChangeArrowheads="1"/>
              </p:cNvSpPr>
              <p:nvPr/>
            </p:nvSpPr>
            <p:spPr bwMode="auto">
              <a:xfrm rot="4371100">
                <a:off x="4410267" y="381811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3" name="Oval 575">
                <a:extLst>
                  <a:ext uri="{FF2B5EF4-FFF2-40B4-BE49-F238E27FC236}">
                    <a16:creationId xmlns:a16="http://schemas.microsoft.com/office/drawing/2014/main" id="{95B207C5-67BC-56F6-9421-2ED5E3065B46}"/>
                  </a:ext>
                </a:extLst>
              </p:cNvPr>
              <p:cNvSpPr>
                <a:spLocks noChangeArrowheads="1"/>
              </p:cNvSpPr>
              <p:nvPr/>
            </p:nvSpPr>
            <p:spPr bwMode="auto">
              <a:xfrm rot="4371100">
                <a:off x="4255770" y="382803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4" name="Oval 576">
                <a:extLst>
                  <a:ext uri="{FF2B5EF4-FFF2-40B4-BE49-F238E27FC236}">
                    <a16:creationId xmlns:a16="http://schemas.microsoft.com/office/drawing/2014/main" id="{60CF51EA-9FDE-8496-523B-8A21D4F82547}"/>
                  </a:ext>
                </a:extLst>
              </p:cNvPr>
              <p:cNvSpPr>
                <a:spLocks noChangeArrowheads="1"/>
              </p:cNvSpPr>
              <p:nvPr/>
            </p:nvSpPr>
            <p:spPr bwMode="auto">
              <a:xfrm rot="4371100">
                <a:off x="4200419" y="375000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5" name="Oval 577">
                <a:extLst>
                  <a:ext uri="{FF2B5EF4-FFF2-40B4-BE49-F238E27FC236}">
                    <a16:creationId xmlns:a16="http://schemas.microsoft.com/office/drawing/2014/main" id="{DC8EE44A-166D-855D-5DDE-29F48B4362CC}"/>
                  </a:ext>
                </a:extLst>
              </p:cNvPr>
              <p:cNvSpPr>
                <a:spLocks noChangeArrowheads="1"/>
              </p:cNvSpPr>
              <p:nvPr/>
            </p:nvSpPr>
            <p:spPr bwMode="auto">
              <a:xfrm rot="4371100">
                <a:off x="4274997" y="376470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6" name="Oval 578">
                <a:extLst>
                  <a:ext uri="{FF2B5EF4-FFF2-40B4-BE49-F238E27FC236}">
                    <a16:creationId xmlns:a16="http://schemas.microsoft.com/office/drawing/2014/main" id="{90639105-D542-CB8F-E8AE-41BC092966C4}"/>
                  </a:ext>
                </a:extLst>
              </p:cNvPr>
              <p:cNvSpPr>
                <a:spLocks noChangeArrowheads="1"/>
              </p:cNvSpPr>
              <p:nvPr/>
            </p:nvSpPr>
            <p:spPr bwMode="auto">
              <a:xfrm rot="13156290">
                <a:off x="4423613" y="4146791"/>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7" name="Oval 579">
                <a:extLst>
                  <a:ext uri="{FF2B5EF4-FFF2-40B4-BE49-F238E27FC236}">
                    <a16:creationId xmlns:a16="http://schemas.microsoft.com/office/drawing/2014/main" id="{AA08E028-E63B-C7E0-429C-7A3179A682C5}"/>
                  </a:ext>
                </a:extLst>
              </p:cNvPr>
              <p:cNvSpPr>
                <a:spLocks noChangeArrowheads="1"/>
              </p:cNvSpPr>
              <p:nvPr/>
            </p:nvSpPr>
            <p:spPr bwMode="auto">
              <a:xfrm rot="13156290">
                <a:off x="4485651" y="4041348"/>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8" name="Oval 580">
                <a:extLst>
                  <a:ext uri="{FF2B5EF4-FFF2-40B4-BE49-F238E27FC236}">
                    <a16:creationId xmlns:a16="http://schemas.microsoft.com/office/drawing/2014/main" id="{E27B7BEE-3F2E-C039-8484-3AFD8FD076A9}"/>
                  </a:ext>
                </a:extLst>
              </p:cNvPr>
              <p:cNvSpPr>
                <a:spLocks noChangeArrowheads="1"/>
              </p:cNvSpPr>
              <p:nvPr/>
            </p:nvSpPr>
            <p:spPr bwMode="auto">
              <a:xfrm rot="13156290">
                <a:off x="4275202" y="4226921"/>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9" name="Oval 583">
                <a:extLst>
                  <a:ext uri="{FF2B5EF4-FFF2-40B4-BE49-F238E27FC236}">
                    <a16:creationId xmlns:a16="http://schemas.microsoft.com/office/drawing/2014/main" id="{575A3242-D2D3-54E2-1E5B-725C60A4CA81}"/>
                  </a:ext>
                </a:extLst>
              </p:cNvPr>
              <p:cNvSpPr>
                <a:spLocks noChangeArrowheads="1"/>
              </p:cNvSpPr>
              <p:nvPr/>
            </p:nvSpPr>
            <p:spPr bwMode="auto">
              <a:xfrm rot="13156290">
                <a:off x="4027308" y="420479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0" name="Oval 584">
                <a:extLst>
                  <a:ext uri="{FF2B5EF4-FFF2-40B4-BE49-F238E27FC236}">
                    <a16:creationId xmlns:a16="http://schemas.microsoft.com/office/drawing/2014/main" id="{24BE21DA-6255-0B24-E6A4-DE8D0614C7D0}"/>
                  </a:ext>
                </a:extLst>
              </p:cNvPr>
              <p:cNvSpPr>
                <a:spLocks noChangeArrowheads="1"/>
              </p:cNvSpPr>
              <p:nvPr/>
            </p:nvSpPr>
            <p:spPr bwMode="auto">
              <a:xfrm rot="13156290">
                <a:off x="4355284" y="414676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1" name="Oval 585">
                <a:extLst>
                  <a:ext uri="{FF2B5EF4-FFF2-40B4-BE49-F238E27FC236}">
                    <a16:creationId xmlns:a16="http://schemas.microsoft.com/office/drawing/2014/main" id="{920BE562-CBCB-3D92-8AA7-033D6C4E8791}"/>
                  </a:ext>
                </a:extLst>
              </p:cNvPr>
              <p:cNvSpPr>
                <a:spLocks noChangeArrowheads="1"/>
              </p:cNvSpPr>
              <p:nvPr/>
            </p:nvSpPr>
            <p:spPr bwMode="auto">
              <a:xfrm rot="13156290">
                <a:off x="4537459" y="410606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2" name="Oval 586">
                <a:extLst>
                  <a:ext uri="{FF2B5EF4-FFF2-40B4-BE49-F238E27FC236}">
                    <a16:creationId xmlns:a16="http://schemas.microsoft.com/office/drawing/2014/main" id="{AA1D4740-1139-1E8A-3DBF-F644E4CAC100}"/>
                  </a:ext>
                </a:extLst>
              </p:cNvPr>
              <p:cNvSpPr>
                <a:spLocks noChangeArrowheads="1"/>
              </p:cNvSpPr>
              <p:nvPr/>
            </p:nvSpPr>
            <p:spPr bwMode="auto">
              <a:xfrm rot="13156290">
                <a:off x="4302535" y="415714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3" name="Oval 587">
                <a:extLst>
                  <a:ext uri="{FF2B5EF4-FFF2-40B4-BE49-F238E27FC236}">
                    <a16:creationId xmlns:a16="http://schemas.microsoft.com/office/drawing/2014/main" id="{BB76DC8D-13E6-E140-B46F-BE5EB1FAD88D}"/>
                  </a:ext>
                </a:extLst>
              </p:cNvPr>
              <p:cNvSpPr>
                <a:spLocks noChangeArrowheads="1"/>
              </p:cNvSpPr>
              <p:nvPr/>
            </p:nvSpPr>
            <p:spPr bwMode="auto">
              <a:xfrm rot="13156290">
                <a:off x="4388625" y="410517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4" name="Oval 588">
                <a:extLst>
                  <a:ext uri="{FF2B5EF4-FFF2-40B4-BE49-F238E27FC236}">
                    <a16:creationId xmlns:a16="http://schemas.microsoft.com/office/drawing/2014/main" id="{2F2F5DE8-53C1-6271-C786-533332061DDA}"/>
                  </a:ext>
                </a:extLst>
              </p:cNvPr>
              <p:cNvSpPr>
                <a:spLocks noChangeArrowheads="1"/>
              </p:cNvSpPr>
              <p:nvPr/>
            </p:nvSpPr>
            <p:spPr bwMode="auto">
              <a:xfrm rot="13156290">
                <a:off x="4575671" y="399291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5" name="Oval 589">
                <a:extLst>
                  <a:ext uri="{FF2B5EF4-FFF2-40B4-BE49-F238E27FC236}">
                    <a16:creationId xmlns:a16="http://schemas.microsoft.com/office/drawing/2014/main" id="{0D088A89-E6E6-28A2-CA48-C21E004E5413}"/>
                  </a:ext>
                </a:extLst>
              </p:cNvPr>
              <p:cNvSpPr>
                <a:spLocks noChangeArrowheads="1"/>
              </p:cNvSpPr>
              <p:nvPr/>
            </p:nvSpPr>
            <p:spPr bwMode="auto">
              <a:xfrm rot="13156290">
                <a:off x="4448790" y="401033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6" name="Oval 590">
                <a:extLst>
                  <a:ext uri="{FF2B5EF4-FFF2-40B4-BE49-F238E27FC236}">
                    <a16:creationId xmlns:a16="http://schemas.microsoft.com/office/drawing/2014/main" id="{9D25D001-2C95-0A19-F0E9-2E8CB52F5551}"/>
                  </a:ext>
                </a:extLst>
              </p:cNvPr>
              <p:cNvSpPr>
                <a:spLocks noChangeArrowheads="1"/>
              </p:cNvSpPr>
              <p:nvPr/>
            </p:nvSpPr>
            <p:spPr bwMode="auto">
              <a:xfrm rot="13156290">
                <a:off x="4420338" y="406066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7" name="Oval 591">
                <a:extLst>
                  <a:ext uri="{FF2B5EF4-FFF2-40B4-BE49-F238E27FC236}">
                    <a16:creationId xmlns:a16="http://schemas.microsoft.com/office/drawing/2014/main" id="{75529CC1-54FE-0824-65B0-FB38686CDD74}"/>
                  </a:ext>
                </a:extLst>
              </p:cNvPr>
              <p:cNvSpPr>
                <a:spLocks noChangeArrowheads="1"/>
              </p:cNvSpPr>
              <p:nvPr/>
            </p:nvSpPr>
            <p:spPr bwMode="auto">
              <a:xfrm rot="13156290">
                <a:off x="4305144" y="410596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8" name="Oval 592">
                <a:extLst>
                  <a:ext uri="{FF2B5EF4-FFF2-40B4-BE49-F238E27FC236}">
                    <a16:creationId xmlns:a16="http://schemas.microsoft.com/office/drawing/2014/main" id="{0DD49257-F19A-98C0-DBFA-9591B10D2A7F}"/>
                  </a:ext>
                </a:extLst>
              </p:cNvPr>
              <p:cNvSpPr>
                <a:spLocks noChangeArrowheads="1"/>
              </p:cNvSpPr>
              <p:nvPr/>
            </p:nvSpPr>
            <p:spPr bwMode="auto">
              <a:xfrm rot="13156290">
                <a:off x="4491858" y="417459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9" name="Oval 593">
                <a:extLst>
                  <a:ext uri="{FF2B5EF4-FFF2-40B4-BE49-F238E27FC236}">
                    <a16:creationId xmlns:a16="http://schemas.microsoft.com/office/drawing/2014/main" id="{2353A6E5-1DEA-6E35-20ED-3006B704DDD2}"/>
                  </a:ext>
                </a:extLst>
              </p:cNvPr>
              <p:cNvSpPr>
                <a:spLocks noChangeArrowheads="1"/>
              </p:cNvSpPr>
              <p:nvPr/>
            </p:nvSpPr>
            <p:spPr bwMode="auto">
              <a:xfrm rot="13156290">
                <a:off x="4736228" y="399843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0" name="Oval 594">
                <a:extLst>
                  <a:ext uri="{FF2B5EF4-FFF2-40B4-BE49-F238E27FC236}">
                    <a16:creationId xmlns:a16="http://schemas.microsoft.com/office/drawing/2014/main" id="{59A412C6-28CB-7844-2349-C54D8B61A4C6}"/>
                  </a:ext>
                </a:extLst>
              </p:cNvPr>
              <p:cNvSpPr>
                <a:spLocks noChangeArrowheads="1"/>
              </p:cNvSpPr>
              <p:nvPr/>
            </p:nvSpPr>
            <p:spPr bwMode="auto">
              <a:xfrm rot="13156290">
                <a:off x="4494251" y="393806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1" name="Oval 595">
                <a:extLst>
                  <a:ext uri="{FF2B5EF4-FFF2-40B4-BE49-F238E27FC236}">
                    <a16:creationId xmlns:a16="http://schemas.microsoft.com/office/drawing/2014/main" id="{61A9045C-F1BB-6E78-6428-9C74FB7D2A82}"/>
                  </a:ext>
                </a:extLst>
              </p:cNvPr>
              <p:cNvSpPr>
                <a:spLocks noChangeArrowheads="1"/>
              </p:cNvSpPr>
              <p:nvPr/>
            </p:nvSpPr>
            <p:spPr bwMode="auto">
              <a:xfrm rot="13156290">
                <a:off x="4374800" y="402112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2" name="Oval 596">
                <a:extLst>
                  <a:ext uri="{FF2B5EF4-FFF2-40B4-BE49-F238E27FC236}">
                    <a16:creationId xmlns:a16="http://schemas.microsoft.com/office/drawing/2014/main" id="{74134EB9-C02D-96BF-26B4-63D6055C8A4A}"/>
                  </a:ext>
                </a:extLst>
              </p:cNvPr>
              <p:cNvSpPr>
                <a:spLocks noChangeArrowheads="1"/>
              </p:cNvSpPr>
              <p:nvPr/>
            </p:nvSpPr>
            <p:spPr bwMode="auto">
              <a:xfrm rot="13156290">
                <a:off x="4419651" y="391286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3" name="Oval 597">
                <a:extLst>
                  <a:ext uri="{FF2B5EF4-FFF2-40B4-BE49-F238E27FC236}">
                    <a16:creationId xmlns:a16="http://schemas.microsoft.com/office/drawing/2014/main" id="{1740703D-51DC-1696-FF99-16DEF87CA4C0}"/>
                  </a:ext>
                </a:extLst>
              </p:cNvPr>
              <p:cNvSpPr>
                <a:spLocks noChangeArrowheads="1"/>
              </p:cNvSpPr>
              <p:nvPr/>
            </p:nvSpPr>
            <p:spPr bwMode="auto">
              <a:xfrm rot="13156290">
                <a:off x="4481810" y="387045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4" name="Oval 598">
                <a:extLst>
                  <a:ext uri="{FF2B5EF4-FFF2-40B4-BE49-F238E27FC236}">
                    <a16:creationId xmlns:a16="http://schemas.microsoft.com/office/drawing/2014/main" id="{D2D6C977-B306-CF2B-34EE-6C1A69DC6C51}"/>
                  </a:ext>
                </a:extLst>
              </p:cNvPr>
              <p:cNvSpPr>
                <a:spLocks noChangeArrowheads="1"/>
              </p:cNvSpPr>
              <p:nvPr/>
            </p:nvSpPr>
            <p:spPr bwMode="auto">
              <a:xfrm rot="13156290">
                <a:off x="4581664" y="387101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5" name="Oval 599">
                <a:extLst>
                  <a:ext uri="{FF2B5EF4-FFF2-40B4-BE49-F238E27FC236}">
                    <a16:creationId xmlns:a16="http://schemas.microsoft.com/office/drawing/2014/main" id="{79675A09-7C49-1A37-0C37-14A75F252452}"/>
                  </a:ext>
                </a:extLst>
              </p:cNvPr>
              <p:cNvSpPr>
                <a:spLocks noChangeArrowheads="1"/>
              </p:cNvSpPr>
              <p:nvPr/>
            </p:nvSpPr>
            <p:spPr bwMode="auto">
              <a:xfrm rot="13156290">
                <a:off x="4151379" y="415085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6" name="Oval 600">
                <a:extLst>
                  <a:ext uri="{FF2B5EF4-FFF2-40B4-BE49-F238E27FC236}">
                    <a16:creationId xmlns:a16="http://schemas.microsoft.com/office/drawing/2014/main" id="{C762B836-CC2C-F41D-42D6-525CD0F185DB}"/>
                  </a:ext>
                </a:extLst>
              </p:cNvPr>
              <p:cNvSpPr>
                <a:spLocks noChangeArrowheads="1"/>
              </p:cNvSpPr>
              <p:nvPr/>
            </p:nvSpPr>
            <p:spPr bwMode="auto">
              <a:xfrm rot="13156290">
                <a:off x="4235840" y="409022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7" name="Oval 601">
                <a:extLst>
                  <a:ext uri="{FF2B5EF4-FFF2-40B4-BE49-F238E27FC236}">
                    <a16:creationId xmlns:a16="http://schemas.microsoft.com/office/drawing/2014/main" id="{CEEA8430-B37B-8E65-1786-C765360EF76E}"/>
                  </a:ext>
                </a:extLst>
              </p:cNvPr>
              <p:cNvSpPr>
                <a:spLocks noChangeArrowheads="1"/>
              </p:cNvSpPr>
              <p:nvPr/>
            </p:nvSpPr>
            <p:spPr bwMode="auto">
              <a:xfrm rot="13156290">
                <a:off x="4165965" y="405951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8" name="Oval 602">
                <a:extLst>
                  <a:ext uri="{FF2B5EF4-FFF2-40B4-BE49-F238E27FC236}">
                    <a16:creationId xmlns:a16="http://schemas.microsoft.com/office/drawing/2014/main" id="{5D615645-B49C-7A27-55DE-68975709924C}"/>
                  </a:ext>
                </a:extLst>
              </p:cNvPr>
              <p:cNvSpPr>
                <a:spLocks noChangeArrowheads="1"/>
              </p:cNvSpPr>
              <p:nvPr/>
            </p:nvSpPr>
            <p:spPr bwMode="auto">
              <a:xfrm rot="13156290">
                <a:off x="4266698" y="402325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9" name="Oval 603">
                <a:extLst>
                  <a:ext uri="{FF2B5EF4-FFF2-40B4-BE49-F238E27FC236}">
                    <a16:creationId xmlns:a16="http://schemas.microsoft.com/office/drawing/2014/main" id="{0F0E65F1-C311-7558-41AC-DF7AF1C5B26A}"/>
                  </a:ext>
                </a:extLst>
              </p:cNvPr>
              <p:cNvSpPr>
                <a:spLocks noChangeArrowheads="1"/>
              </p:cNvSpPr>
              <p:nvPr/>
            </p:nvSpPr>
            <p:spPr bwMode="auto">
              <a:xfrm rot="13156290">
                <a:off x="4388367" y="396860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0" name="Oval 604">
                <a:extLst>
                  <a:ext uri="{FF2B5EF4-FFF2-40B4-BE49-F238E27FC236}">
                    <a16:creationId xmlns:a16="http://schemas.microsoft.com/office/drawing/2014/main" id="{96A06407-1202-9731-9B6C-BEE21EF36C7B}"/>
                  </a:ext>
                </a:extLst>
              </p:cNvPr>
              <p:cNvSpPr>
                <a:spLocks noChangeArrowheads="1"/>
              </p:cNvSpPr>
              <p:nvPr/>
            </p:nvSpPr>
            <p:spPr bwMode="auto">
              <a:xfrm rot="13156290">
                <a:off x="4211648" y="403301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1" name="Oval 605">
                <a:extLst>
                  <a:ext uri="{FF2B5EF4-FFF2-40B4-BE49-F238E27FC236}">
                    <a16:creationId xmlns:a16="http://schemas.microsoft.com/office/drawing/2014/main" id="{163280BB-0E1E-D151-10B9-7B77AB3C1D69}"/>
                  </a:ext>
                </a:extLst>
              </p:cNvPr>
              <p:cNvSpPr>
                <a:spLocks noChangeArrowheads="1"/>
              </p:cNvSpPr>
              <p:nvPr/>
            </p:nvSpPr>
            <p:spPr bwMode="auto">
              <a:xfrm rot="13156290">
                <a:off x="4297737" y="398104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2" name="Oval 606">
                <a:extLst>
                  <a:ext uri="{FF2B5EF4-FFF2-40B4-BE49-F238E27FC236}">
                    <a16:creationId xmlns:a16="http://schemas.microsoft.com/office/drawing/2014/main" id="{2ED2B13A-F8BF-2E7C-9139-95CDBD06B635}"/>
                  </a:ext>
                </a:extLst>
              </p:cNvPr>
              <p:cNvSpPr>
                <a:spLocks noChangeArrowheads="1"/>
              </p:cNvSpPr>
              <p:nvPr/>
            </p:nvSpPr>
            <p:spPr bwMode="auto">
              <a:xfrm rot="13156290">
                <a:off x="4512648" y="3792974"/>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3" name="Oval 607">
                <a:extLst>
                  <a:ext uri="{FF2B5EF4-FFF2-40B4-BE49-F238E27FC236}">
                    <a16:creationId xmlns:a16="http://schemas.microsoft.com/office/drawing/2014/main" id="{AA790F66-DC71-5425-0BC6-8510F8674FB5}"/>
                  </a:ext>
                </a:extLst>
              </p:cNvPr>
              <p:cNvSpPr>
                <a:spLocks noChangeArrowheads="1"/>
              </p:cNvSpPr>
              <p:nvPr/>
            </p:nvSpPr>
            <p:spPr bwMode="auto">
              <a:xfrm rot="13156290">
                <a:off x="4360205" y="388683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4" name="Oval 608">
                <a:extLst>
                  <a:ext uri="{FF2B5EF4-FFF2-40B4-BE49-F238E27FC236}">
                    <a16:creationId xmlns:a16="http://schemas.microsoft.com/office/drawing/2014/main" id="{9A660864-1A0B-54F4-B5ED-CE731648E0E5}"/>
                  </a:ext>
                </a:extLst>
              </p:cNvPr>
              <p:cNvSpPr>
                <a:spLocks noChangeArrowheads="1"/>
              </p:cNvSpPr>
              <p:nvPr/>
            </p:nvSpPr>
            <p:spPr bwMode="auto">
              <a:xfrm rot="13156290">
                <a:off x="4056594" y="404081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5" name="Oval 609">
                <a:extLst>
                  <a:ext uri="{FF2B5EF4-FFF2-40B4-BE49-F238E27FC236}">
                    <a16:creationId xmlns:a16="http://schemas.microsoft.com/office/drawing/2014/main" id="{EF87E084-F79E-89A0-960D-7CE2968F145C}"/>
                  </a:ext>
                </a:extLst>
              </p:cNvPr>
              <p:cNvSpPr>
                <a:spLocks noChangeArrowheads="1"/>
              </p:cNvSpPr>
              <p:nvPr/>
            </p:nvSpPr>
            <p:spPr bwMode="auto">
              <a:xfrm rot="13156290">
                <a:off x="4272018" y="390364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6" name="Oval 610">
                <a:extLst>
                  <a:ext uri="{FF2B5EF4-FFF2-40B4-BE49-F238E27FC236}">
                    <a16:creationId xmlns:a16="http://schemas.microsoft.com/office/drawing/2014/main" id="{7B79BCF4-B193-BAD1-F80C-1B64981E8744}"/>
                  </a:ext>
                </a:extLst>
              </p:cNvPr>
              <p:cNvSpPr>
                <a:spLocks noChangeArrowheads="1"/>
              </p:cNvSpPr>
              <p:nvPr/>
            </p:nvSpPr>
            <p:spPr bwMode="auto">
              <a:xfrm rot="13156290">
                <a:off x="4066844" y="393352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7" name="Oval 611">
                <a:extLst>
                  <a:ext uri="{FF2B5EF4-FFF2-40B4-BE49-F238E27FC236}">
                    <a16:creationId xmlns:a16="http://schemas.microsoft.com/office/drawing/2014/main" id="{A37EB968-FE38-D7C6-5AE5-6C5F170FF945}"/>
                  </a:ext>
                </a:extLst>
              </p:cNvPr>
              <p:cNvSpPr>
                <a:spLocks noChangeArrowheads="1"/>
              </p:cNvSpPr>
              <p:nvPr/>
            </p:nvSpPr>
            <p:spPr bwMode="auto">
              <a:xfrm rot="13156290">
                <a:off x="4143061" y="389641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8" name="Oval 612">
                <a:extLst>
                  <a:ext uri="{FF2B5EF4-FFF2-40B4-BE49-F238E27FC236}">
                    <a16:creationId xmlns:a16="http://schemas.microsoft.com/office/drawing/2014/main" id="{EF3CD233-23B7-B730-8F51-A026A7590384}"/>
                  </a:ext>
                </a:extLst>
              </p:cNvPr>
              <p:cNvSpPr>
                <a:spLocks noChangeArrowheads="1"/>
              </p:cNvSpPr>
              <p:nvPr/>
            </p:nvSpPr>
            <p:spPr bwMode="auto">
              <a:xfrm rot="13156290">
                <a:off x="3864972" y="377244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9" name="Oval 613">
                <a:extLst>
                  <a:ext uri="{FF2B5EF4-FFF2-40B4-BE49-F238E27FC236}">
                    <a16:creationId xmlns:a16="http://schemas.microsoft.com/office/drawing/2014/main" id="{409C6761-C75A-0198-DE42-408C0FDB3BE8}"/>
                  </a:ext>
                </a:extLst>
              </p:cNvPr>
              <p:cNvSpPr>
                <a:spLocks noChangeArrowheads="1"/>
              </p:cNvSpPr>
              <p:nvPr/>
            </p:nvSpPr>
            <p:spPr bwMode="auto">
              <a:xfrm rot="13156290">
                <a:off x="4203469" y="385784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0" name="Oval 614">
                <a:extLst>
                  <a:ext uri="{FF2B5EF4-FFF2-40B4-BE49-F238E27FC236}">
                    <a16:creationId xmlns:a16="http://schemas.microsoft.com/office/drawing/2014/main" id="{239012EA-49B9-3C0F-A5F7-69941BB2577A}"/>
                  </a:ext>
                </a:extLst>
              </p:cNvPr>
              <p:cNvSpPr>
                <a:spLocks noChangeArrowheads="1"/>
              </p:cNvSpPr>
              <p:nvPr/>
            </p:nvSpPr>
            <p:spPr bwMode="auto">
              <a:xfrm rot="15359142">
                <a:off x="4332778" y="419607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1" name="Oval 615">
                <a:extLst>
                  <a:ext uri="{FF2B5EF4-FFF2-40B4-BE49-F238E27FC236}">
                    <a16:creationId xmlns:a16="http://schemas.microsoft.com/office/drawing/2014/main" id="{B1AD0984-4C45-DEF7-FA1B-E4BEA15A423F}"/>
                  </a:ext>
                </a:extLst>
              </p:cNvPr>
              <p:cNvSpPr>
                <a:spLocks noChangeArrowheads="1"/>
              </p:cNvSpPr>
              <p:nvPr/>
            </p:nvSpPr>
            <p:spPr bwMode="auto">
              <a:xfrm rot="15359142">
                <a:off x="4224746" y="395055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2" name="Oval 616">
                <a:extLst>
                  <a:ext uri="{FF2B5EF4-FFF2-40B4-BE49-F238E27FC236}">
                    <a16:creationId xmlns:a16="http://schemas.microsoft.com/office/drawing/2014/main" id="{CB971827-A0D2-46B3-DC3B-EF563556458F}"/>
                  </a:ext>
                </a:extLst>
              </p:cNvPr>
              <p:cNvSpPr>
                <a:spLocks noChangeArrowheads="1"/>
              </p:cNvSpPr>
              <p:nvPr/>
            </p:nvSpPr>
            <p:spPr bwMode="auto">
              <a:xfrm rot="15359142">
                <a:off x="3938223" y="386076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3" name="Oval 617">
                <a:extLst>
                  <a:ext uri="{FF2B5EF4-FFF2-40B4-BE49-F238E27FC236}">
                    <a16:creationId xmlns:a16="http://schemas.microsoft.com/office/drawing/2014/main" id="{9E87C37B-B3B5-C11E-1109-81488BB59742}"/>
                  </a:ext>
                </a:extLst>
              </p:cNvPr>
              <p:cNvSpPr>
                <a:spLocks noChangeArrowheads="1"/>
              </p:cNvSpPr>
              <p:nvPr/>
            </p:nvSpPr>
            <p:spPr bwMode="auto">
              <a:xfrm rot="4371100">
                <a:off x="4030755" y="3322474"/>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4" name="Oval 618">
                <a:extLst>
                  <a:ext uri="{FF2B5EF4-FFF2-40B4-BE49-F238E27FC236}">
                    <a16:creationId xmlns:a16="http://schemas.microsoft.com/office/drawing/2014/main" id="{3300EBFF-AF9B-5476-A3C7-515B6B94F61A}"/>
                  </a:ext>
                </a:extLst>
              </p:cNvPr>
              <p:cNvSpPr>
                <a:spLocks noChangeArrowheads="1"/>
              </p:cNvSpPr>
              <p:nvPr/>
            </p:nvSpPr>
            <p:spPr bwMode="auto">
              <a:xfrm rot="4371100">
                <a:off x="3937669" y="3468635"/>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5" name="Oval 619">
                <a:extLst>
                  <a:ext uri="{FF2B5EF4-FFF2-40B4-BE49-F238E27FC236}">
                    <a16:creationId xmlns:a16="http://schemas.microsoft.com/office/drawing/2014/main" id="{E27E3CB3-2652-7D45-C059-C063F193A7CC}"/>
                  </a:ext>
                </a:extLst>
              </p:cNvPr>
              <p:cNvSpPr>
                <a:spLocks noChangeArrowheads="1"/>
              </p:cNvSpPr>
              <p:nvPr/>
            </p:nvSpPr>
            <p:spPr bwMode="auto">
              <a:xfrm rot="4371100">
                <a:off x="4025586" y="352463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6" name="Oval 620">
                <a:extLst>
                  <a:ext uri="{FF2B5EF4-FFF2-40B4-BE49-F238E27FC236}">
                    <a16:creationId xmlns:a16="http://schemas.microsoft.com/office/drawing/2014/main" id="{5CBBDA1F-D93D-B220-E4C4-4C03837935C6}"/>
                  </a:ext>
                </a:extLst>
              </p:cNvPr>
              <p:cNvSpPr>
                <a:spLocks noChangeArrowheads="1"/>
              </p:cNvSpPr>
              <p:nvPr/>
            </p:nvSpPr>
            <p:spPr bwMode="auto">
              <a:xfrm rot="4371100">
                <a:off x="4003097" y="365193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7" name="Oval 621">
                <a:extLst>
                  <a:ext uri="{FF2B5EF4-FFF2-40B4-BE49-F238E27FC236}">
                    <a16:creationId xmlns:a16="http://schemas.microsoft.com/office/drawing/2014/main" id="{70ABC45E-6E77-70F2-5973-E8F2540ADC3B}"/>
                  </a:ext>
                </a:extLst>
              </p:cNvPr>
              <p:cNvSpPr>
                <a:spLocks noChangeArrowheads="1"/>
              </p:cNvSpPr>
              <p:nvPr/>
            </p:nvSpPr>
            <p:spPr bwMode="auto">
              <a:xfrm rot="4371100">
                <a:off x="3895914" y="356847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8" name="Oval 622">
                <a:extLst>
                  <a:ext uri="{FF2B5EF4-FFF2-40B4-BE49-F238E27FC236}">
                    <a16:creationId xmlns:a16="http://schemas.microsoft.com/office/drawing/2014/main" id="{642B4ABC-4177-ED63-8DC9-A7BE6ACB5047}"/>
                  </a:ext>
                </a:extLst>
              </p:cNvPr>
              <p:cNvSpPr>
                <a:spLocks noChangeArrowheads="1"/>
              </p:cNvSpPr>
              <p:nvPr/>
            </p:nvSpPr>
            <p:spPr bwMode="auto">
              <a:xfrm rot="4371100">
                <a:off x="4053259" y="363344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9" name="Oval 623">
                <a:extLst>
                  <a:ext uri="{FF2B5EF4-FFF2-40B4-BE49-F238E27FC236}">
                    <a16:creationId xmlns:a16="http://schemas.microsoft.com/office/drawing/2014/main" id="{1DBF72E9-376C-D783-4C1B-7095A433F8BA}"/>
                  </a:ext>
                </a:extLst>
              </p:cNvPr>
              <p:cNvSpPr>
                <a:spLocks noChangeArrowheads="1"/>
              </p:cNvSpPr>
              <p:nvPr/>
            </p:nvSpPr>
            <p:spPr bwMode="auto">
              <a:xfrm rot="4371100">
                <a:off x="3948964" y="364588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0" name="Oval 624">
                <a:extLst>
                  <a:ext uri="{FF2B5EF4-FFF2-40B4-BE49-F238E27FC236}">
                    <a16:creationId xmlns:a16="http://schemas.microsoft.com/office/drawing/2014/main" id="{32CFC8A6-9A8D-B0B5-425C-5F8049F6E702}"/>
                  </a:ext>
                </a:extLst>
              </p:cNvPr>
              <p:cNvSpPr>
                <a:spLocks noChangeArrowheads="1"/>
              </p:cNvSpPr>
              <p:nvPr/>
            </p:nvSpPr>
            <p:spPr bwMode="auto">
              <a:xfrm rot="4371100">
                <a:off x="3984049" y="374002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1" name="Oval 625">
                <a:extLst>
                  <a:ext uri="{FF2B5EF4-FFF2-40B4-BE49-F238E27FC236}">
                    <a16:creationId xmlns:a16="http://schemas.microsoft.com/office/drawing/2014/main" id="{124B2D4A-996C-7C55-69B5-7108959AF42D}"/>
                  </a:ext>
                </a:extLst>
              </p:cNvPr>
              <p:cNvSpPr>
                <a:spLocks noChangeArrowheads="1"/>
              </p:cNvSpPr>
              <p:nvPr/>
            </p:nvSpPr>
            <p:spPr bwMode="auto">
              <a:xfrm rot="4371100">
                <a:off x="3749823" y="4000579"/>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2" name="Oval 626">
                <a:extLst>
                  <a:ext uri="{FF2B5EF4-FFF2-40B4-BE49-F238E27FC236}">
                    <a16:creationId xmlns:a16="http://schemas.microsoft.com/office/drawing/2014/main" id="{2ED91D8B-A894-93AB-0830-5B649EEE4C93}"/>
                  </a:ext>
                </a:extLst>
              </p:cNvPr>
              <p:cNvSpPr>
                <a:spLocks noChangeArrowheads="1"/>
              </p:cNvSpPr>
              <p:nvPr/>
            </p:nvSpPr>
            <p:spPr bwMode="auto">
              <a:xfrm rot="4371100">
                <a:off x="4085267" y="3816315"/>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3" name="Oval 627">
                <a:extLst>
                  <a:ext uri="{FF2B5EF4-FFF2-40B4-BE49-F238E27FC236}">
                    <a16:creationId xmlns:a16="http://schemas.microsoft.com/office/drawing/2014/main" id="{DDAA2486-42F7-64C3-26DB-29635E9519B8}"/>
                  </a:ext>
                </a:extLst>
              </p:cNvPr>
              <p:cNvSpPr>
                <a:spLocks noChangeArrowheads="1"/>
              </p:cNvSpPr>
              <p:nvPr/>
            </p:nvSpPr>
            <p:spPr bwMode="auto">
              <a:xfrm rot="4371100">
                <a:off x="4128097" y="3784713"/>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pic>
          <p:nvPicPr>
            <p:cNvPr id="324" name="Picture 1019" descr="E:\AINstills_PSDs_PNGs\PNG_cropped_highres\BCell.png">
              <a:extLst>
                <a:ext uri="{FF2B5EF4-FFF2-40B4-BE49-F238E27FC236}">
                  <a16:creationId xmlns:a16="http://schemas.microsoft.com/office/drawing/2014/main" id="{0FF43114-7274-9EFD-B79A-B2C15C1898AD}"/>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rot="16572503">
              <a:off x="7038783" y="3592550"/>
              <a:ext cx="572658" cy="60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5" name="Picture 1020" descr="E:\AINstills_PSDs_PNGs\PNG_cropped_highres\BCell.png">
              <a:extLst>
                <a:ext uri="{FF2B5EF4-FFF2-40B4-BE49-F238E27FC236}">
                  <a16:creationId xmlns:a16="http://schemas.microsoft.com/office/drawing/2014/main" id="{38646EDB-A83A-28AB-4DE0-342547364A3C}"/>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rot="16572503">
              <a:off x="8844783" y="3982382"/>
              <a:ext cx="526226" cy="555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6" name="TextBox 1021">
              <a:extLst>
                <a:ext uri="{FF2B5EF4-FFF2-40B4-BE49-F238E27FC236}">
                  <a16:creationId xmlns:a16="http://schemas.microsoft.com/office/drawing/2014/main" id="{0B9E1ED8-71B0-6EE3-C77C-B3025AF306F9}"/>
                </a:ext>
              </a:extLst>
            </p:cNvPr>
            <p:cNvSpPr txBox="1">
              <a:spLocks noChangeArrowheads="1"/>
            </p:cNvSpPr>
            <p:nvPr/>
          </p:nvSpPr>
          <p:spPr bwMode="auto">
            <a:xfrm>
              <a:off x="8961068" y="4419610"/>
              <a:ext cx="8113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Linfócito</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27" name="TextBox 277">
              <a:extLst>
                <a:ext uri="{FF2B5EF4-FFF2-40B4-BE49-F238E27FC236}">
                  <a16:creationId xmlns:a16="http://schemas.microsoft.com/office/drawing/2014/main" id="{EA9416FF-14F8-6197-FEC0-F2E1EA627C15}"/>
                </a:ext>
              </a:extLst>
            </p:cNvPr>
            <p:cNvSpPr txBox="1">
              <a:spLocks noChangeArrowheads="1"/>
            </p:cNvSpPr>
            <p:nvPr/>
          </p:nvSpPr>
          <p:spPr bwMode="auto">
            <a:xfrm>
              <a:off x="4937748" y="5890920"/>
              <a:ext cx="8748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Patógeno</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43" name="TextBox 1043">
              <a:extLst>
                <a:ext uri="{FF2B5EF4-FFF2-40B4-BE49-F238E27FC236}">
                  <a16:creationId xmlns:a16="http://schemas.microsoft.com/office/drawing/2014/main" id="{693DF3C1-5D24-229A-FB6D-1B0E3CE4202B}"/>
                </a:ext>
              </a:extLst>
            </p:cNvPr>
            <p:cNvSpPr txBox="1">
              <a:spLocks noChangeArrowheads="1"/>
            </p:cNvSpPr>
            <p:nvPr/>
          </p:nvSpPr>
          <p:spPr bwMode="auto">
            <a:xfrm>
              <a:off x="1840019" y="1102706"/>
              <a:ext cx="193796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Vasos</a:t>
              </a:r>
              <a:r>
                <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rPr>
                <a:t> </a:t>
              </a: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sanguíneos</a:t>
              </a: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p:txBody>
        </p:sp>
        <p:sp>
          <p:nvSpPr>
            <p:cNvPr id="344" name="TextBox 1044">
              <a:extLst>
                <a:ext uri="{FF2B5EF4-FFF2-40B4-BE49-F238E27FC236}">
                  <a16:creationId xmlns:a16="http://schemas.microsoft.com/office/drawing/2014/main" id="{596C54D9-01DD-78A1-5AD0-4D08A3FDA5E9}"/>
                </a:ext>
              </a:extLst>
            </p:cNvPr>
            <p:cNvSpPr txBox="1">
              <a:spLocks noChangeArrowheads="1"/>
            </p:cNvSpPr>
            <p:nvPr/>
          </p:nvSpPr>
          <p:spPr bwMode="auto">
            <a:xfrm>
              <a:off x="1108405" y="3328986"/>
              <a:ext cx="253701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Tecido</a:t>
              </a:r>
              <a:r>
                <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rPr>
                <a:t> </a:t>
              </a: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inflamado</a:t>
              </a: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p:txBody>
        </p:sp>
        <p:sp>
          <p:nvSpPr>
            <p:cNvPr id="345" name="TextBox 1045">
              <a:extLst>
                <a:ext uri="{FF2B5EF4-FFF2-40B4-BE49-F238E27FC236}">
                  <a16:creationId xmlns:a16="http://schemas.microsoft.com/office/drawing/2014/main" id="{49515596-E3B4-6591-722F-B22624BB043A}"/>
                </a:ext>
              </a:extLst>
            </p:cNvPr>
            <p:cNvSpPr txBox="1">
              <a:spLocks noChangeArrowheads="1"/>
            </p:cNvSpPr>
            <p:nvPr/>
          </p:nvSpPr>
          <p:spPr bwMode="auto">
            <a:xfrm>
              <a:off x="5135083" y="2098996"/>
              <a:ext cx="1040670"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Neutrófilos</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46" name="TextBox 329">
              <a:extLst>
                <a:ext uri="{FF2B5EF4-FFF2-40B4-BE49-F238E27FC236}">
                  <a16:creationId xmlns:a16="http://schemas.microsoft.com/office/drawing/2014/main" id="{637C55D6-D313-40F9-954D-4920F31B31BF}"/>
                </a:ext>
              </a:extLst>
            </p:cNvPr>
            <p:cNvSpPr txBox="1">
              <a:spLocks noChangeArrowheads="1"/>
            </p:cNvSpPr>
            <p:nvPr/>
          </p:nvSpPr>
          <p:spPr bwMode="auto">
            <a:xfrm>
              <a:off x="5893467" y="4550203"/>
              <a:ext cx="1613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srgbClr val="000000"/>
                  </a:solidFill>
                  <a:effectLst/>
                  <a:uLnTx/>
                  <a:uFillTx/>
                  <a:latin typeface="+mn-lt"/>
                  <a:ea typeface="+mn-ea"/>
                  <a:cs typeface="Arial" pitchFamily="34" charset="0"/>
                </a:rPr>
                <a:t>Mastócito</a:t>
              </a:r>
              <a:endParaRPr kumimoji="0" lang="en-US" altLang="en-US" sz="1400" b="0" i="0" u="none" strike="noStrike" kern="1200" cap="none" spc="0" normalizeH="0" baseline="0" noProof="0" dirty="0">
                <a:ln>
                  <a:noFill/>
                </a:ln>
                <a:solidFill>
                  <a:srgbClr val="000000"/>
                </a:solidFill>
                <a:effectLst/>
                <a:uLnTx/>
                <a:uFillTx/>
                <a:latin typeface="+mn-lt"/>
                <a:ea typeface="+mn-ea"/>
                <a:cs typeface="Arial" pitchFamily="34" charset="0"/>
              </a:endParaRPr>
            </a:p>
          </p:txBody>
        </p:sp>
        <p:pic>
          <p:nvPicPr>
            <p:cNvPr id="347" name="Picture 2" descr="\\znycfp2\ny dept\NY Bioscience\NOVARTIS\AIN457\PROGRAM (CROSS INDICATION)\Master slide deck\GHP visuals portfolio\GHP visuals portfolio\Cells\PNG files\Macrophage.png">
              <a:extLst>
                <a:ext uri="{FF2B5EF4-FFF2-40B4-BE49-F238E27FC236}">
                  <a16:creationId xmlns:a16="http://schemas.microsoft.com/office/drawing/2014/main" id="{BE3B7BAB-C13F-504E-541B-AECC552C88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3720" y="3499686"/>
              <a:ext cx="822229" cy="822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 name="Picture 2" descr="\\znycfp2\ny dept\NY Bioscience\NOVARTIS\AIN457\PROGRAM (CROSS INDICATION)\Master slide deck\GHP visuals portfolio\GHP visuals portfolio\Cells\PNG files\Macrophage.png">
              <a:extLst>
                <a:ext uri="{FF2B5EF4-FFF2-40B4-BE49-F238E27FC236}">
                  <a16:creationId xmlns:a16="http://schemas.microsoft.com/office/drawing/2014/main" id="{31E97CE3-4812-9918-730D-EDFEE22EB9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5819" y="3147579"/>
              <a:ext cx="822229" cy="8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9"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9EE81700-7628-E1EC-7BCB-CF1288A471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47293" y="1559227"/>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0"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BD1986D9-282B-F8E5-3566-979C33D220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14" y="4163272"/>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1"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C4476A05-2C01-0754-4FAF-A2AFF1A7A2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12902" y="1729477"/>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2"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1DC6AAFA-3C30-BA9B-400B-17184BABAA5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59935" y="3915637"/>
              <a:ext cx="818358" cy="65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3" name="Picture 336" descr="\\znycfp2\ny dept\NY Bioscience\NOVARTIS\AIN457\PROGRAM (CROSS INDICATION)\Master slide deck\GHP visuals portfolio\GHP visuals portfolio\Cells\PNG files\Dendritic cell.png">
              <a:extLst>
                <a:ext uri="{FF2B5EF4-FFF2-40B4-BE49-F238E27FC236}">
                  <a16:creationId xmlns:a16="http://schemas.microsoft.com/office/drawing/2014/main" id="{B347F183-5D12-21A0-BEA7-D1767CE724C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8761017">
              <a:off x="7830056" y="4085886"/>
              <a:ext cx="1209160" cy="87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4" name="Picture 4" descr="\\znycfp2\ny dept\NY Bioscience\NOVARTIS\AIN457\PROGRAM (CROSS INDICATION)\Master slide deck\GHP visuals portfolio\GHP visuals portfolio\Cells\PNG files\Mast Cell.png">
              <a:extLst>
                <a:ext uri="{FF2B5EF4-FFF2-40B4-BE49-F238E27FC236}">
                  <a16:creationId xmlns:a16="http://schemas.microsoft.com/office/drawing/2014/main" id="{0B927377-474D-44DB-5C4B-5ECB8BDDF9C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17156" y="4043324"/>
              <a:ext cx="700345" cy="56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5"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4FA77132-ECF8-949C-060C-5EC759D9E1A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38952" y="4314175"/>
              <a:ext cx="947981" cy="75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6" name="AutoShape 25">
              <a:extLst>
                <a:ext uri="{FF2B5EF4-FFF2-40B4-BE49-F238E27FC236}">
                  <a16:creationId xmlns:a16="http://schemas.microsoft.com/office/drawing/2014/main" id="{1ED07008-0B44-70FA-F467-23C4CE0CC60C}"/>
                </a:ext>
              </a:extLst>
            </p:cNvPr>
            <p:cNvSpPr>
              <a:spLocks noChangeAspect="1" noChangeArrowheads="1"/>
            </p:cNvSpPr>
            <p:nvPr/>
          </p:nvSpPr>
          <p:spPr bwMode="auto">
            <a:xfrm rot="10638973">
              <a:off x="5258901" y="4619851"/>
              <a:ext cx="73517" cy="195401"/>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nvGrpSpPr>
            <p:cNvPr id="357" name="Group 3">
              <a:extLst>
                <a:ext uri="{FF2B5EF4-FFF2-40B4-BE49-F238E27FC236}">
                  <a16:creationId xmlns:a16="http://schemas.microsoft.com/office/drawing/2014/main" id="{25064B88-DBA2-8588-B0FC-24A50378B0F0}"/>
                </a:ext>
              </a:extLst>
            </p:cNvPr>
            <p:cNvGrpSpPr>
              <a:grpSpLocks/>
            </p:cNvGrpSpPr>
            <p:nvPr/>
          </p:nvGrpSpPr>
          <p:grpSpPr bwMode="auto">
            <a:xfrm>
              <a:off x="3571882" y="1170362"/>
              <a:ext cx="6635866" cy="793208"/>
              <a:chOff x="2499687" y="1168927"/>
              <a:chExt cx="5446482" cy="651069"/>
            </a:xfrm>
          </p:grpSpPr>
          <p:pic>
            <p:nvPicPr>
              <p:cNvPr id="358"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A39CCE99-36A6-0B61-1995-837AD1E96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417819">
                <a:off x="2499687" y="1168927"/>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9"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474F9A2-8C4D-BD26-C689-0F2B87CAFB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593436">
                <a:off x="4236831" y="1320166"/>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0"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C39CE47-E775-B4DC-1055-A81445EA6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371852">
                <a:off x="5940864" y="1265739"/>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1" name="TextBox 631">
              <a:extLst>
                <a:ext uri="{FF2B5EF4-FFF2-40B4-BE49-F238E27FC236}">
                  <a16:creationId xmlns:a16="http://schemas.microsoft.com/office/drawing/2014/main" id="{6E33D1C8-5FA7-79E7-6959-F2763A6FCBE8}"/>
                </a:ext>
              </a:extLst>
            </p:cNvPr>
            <p:cNvSpPr txBox="1">
              <a:spLocks noChangeArrowheads="1"/>
            </p:cNvSpPr>
            <p:nvPr/>
          </p:nvSpPr>
          <p:spPr bwMode="auto">
            <a:xfrm>
              <a:off x="4016852" y="2795472"/>
              <a:ext cx="15501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Células</a:t>
              </a:r>
              <a:r>
                <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endoteliais</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62" name="TextBox 632">
              <a:extLst>
                <a:ext uri="{FF2B5EF4-FFF2-40B4-BE49-F238E27FC236}">
                  <a16:creationId xmlns:a16="http://schemas.microsoft.com/office/drawing/2014/main" id="{957A497E-8DBC-406A-C9B2-3D8F1FE7EE9F}"/>
                </a:ext>
              </a:extLst>
            </p:cNvPr>
            <p:cNvSpPr txBox="1">
              <a:spLocks noChangeArrowheads="1"/>
            </p:cNvSpPr>
            <p:nvPr/>
          </p:nvSpPr>
          <p:spPr bwMode="auto">
            <a:xfrm>
              <a:off x="10411712" y="2758442"/>
              <a:ext cx="131363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100" b="0" i="0" u="none" strike="noStrike" kern="1200" cap="none" spc="0" normalizeH="0" baseline="0" noProof="0" dirty="0" err="1">
                  <a:ln>
                    <a:noFill/>
                  </a:ln>
                  <a:solidFill>
                    <a:prstClr val="black"/>
                  </a:solidFill>
                  <a:effectLst/>
                  <a:uLnTx/>
                  <a:uFillTx/>
                  <a:latin typeface="+mn-lt"/>
                  <a:ea typeface="+mn-ea"/>
                  <a:cs typeface="Arial" pitchFamily="34" charset="0"/>
                </a:rPr>
                <a:t>Aumento</a:t>
              </a:r>
              <a:r>
                <a:rPr kumimoji="0" lang="en-US" altLang="en-US" sz="1100" b="0" i="0" u="none" strike="noStrike" kern="1200" cap="none" spc="0" normalizeH="0" baseline="0" noProof="0" dirty="0">
                  <a:ln>
                    <a:noFill/>
                  </a:ln>
                  <a:solidFill>
                    <a:prstClr val="black"/>
                  </a:solidFill>
                  <a:effectLst/>
                  <a:uLnTx/>
                  <a:uFillTx/>
                  <a:latin typeface="+mn-lt"/>
                  <a:ea typeface="+mn-ea"/>
                  <a:cs typeface="Arial" pitchFamily="34" charset="0"/>
                </a:rPr>
                <a:t> da </a:t>
              </a:r>
              <a:r>
                <a:rPr kumimoji="0" lang="en-US" altLang="en-US" sz="1100" b="0" i="0" u="none" strike="noStrike" kern="1200" cap="none" spc="0" normalizeH="0" baseline="0" noProof="0" dirty="0" err="1">
                  <a:ln>
                    <a:noFill/>
                  </a:ln>
                  <a:solidFill>
                    <a:prstClr val="black"/>
                  </a:solidFill>
                  <a:effectLst/>
                  <a:uLnTx/>
                  <a:uFillTx/>
                  <a:latin typeface="+mn-lt"/>
                  <a:ea typeface="+mn-ea"/>
                  <a:cs typeface="Arial" pitchFamily="34" charset="0"/>
                </a:rPr>
                <a:t>permeabilidade</a:t>
              </a:r>
              <a:r>
                <a:rPr kumimoji="0" lang="en-US" altLang="en-US" sz="1100" b="0" i="0" u="none" strike="noStrike" kern="1200" cap="none" spc="0" normalizeH="0" baseline="0" noProof="0" dirty="0">
                  <a:ln>
                    <a:noFill/>
                  </a:ln>
                  <a:solidFill>
                    <a:prstClr val="black"/>
                  </a:solidFill>
                  <a:effectLst/>
                  <a:uLnTx/>
                  <a:uFillTx/>
                  <a:latin typeface="+mn-lt"/>
                  <a:ea typeface="+mn-ea"/>
                  <a:cs typeface="Arial" pitchFamily="34" charset="0"/>
                </a:rPr>
                <a:t> vascular</a:t>
              </a:r>
            </a:p>
          </p:txBody>
        </p:sp>
        <p:sp>
          <p:nvSpPr>
            <p:cNvPr id="363" name="TextBox 633">
              <a:extLst>
                <a:ext uri="{FF2B5EF4-FFF2-40B4-BE49-F238E27FC236}">
                  <a16:creationId xmlns:a16="http://schemas.microsoft.com/office/drawing/2014/main" id="{55CFFFF3-FA31-B26A-49CF-C2B2A4E0CC32}"/>
                </a:ext>
              </a:extLst>
            </p:cNvPr>
            <p:cNvSpPr txBox="1">
              <a:spLocks noChangeArrowheads="1"/>
            </p:cNvSpPr>
            <p:nvPr/>
          </p:nvSpPr>
          <p:spPr bwMode="auto">
            <a:xfrm>
              <a:off x="6158514" y="2571052"/>
              <a:ext cx="111436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Hemácias</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64" name="TextBox 1022">
              <a:extLst>
                <a:ext uri="{FF2B5EF4-FFF2-40B4-BE49-F238E27FC236}">
                  <a16:creationId xmlns:a16="http://schemas.microsoft.com/office/drawing/2014/main" id="{F9F85499-D023-8E0E-68AA-855FD9D0513F}"/>
                </a:ext>
              </a:extLst>
            </p:cNvPr>
            <p:cNvSpPr txBox="1">
              <a:spLocks noChangeArrowheads="1"/>
            </p:cNvSpPr>
            <p:nvPr/>
          </p:nvSpPr>
          <p:spPr bwMode="auto">
            <a:xfrm>
              <a:off x="8035162" y="4858414"/>
              <a:ext cx="14159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Célula</a:t>
              </a:r>
              <a:r>
                <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prstClr val="black"/>
                  </a:solidFill>
                  <a:effectLst/>
                  <a:uLnTx/>
                  <a:uFillTx/>
                  <a:latin typeface="+mn-lt"/>
                  <a:ea typeface="+mn-ea"/>
                  <a:cs typeface="Arial" pitchFamily="34" charset="0"/>
                </a:rPr>
                <a:t>dendrítica</a:t>
              </a:r>
              <a:endParaRPr kumimoji="0" lang="en-US" altLang="en-US" sz="1400" b="0" i="0" u="none" strike="noStrike" kern="1200" cap="none" spc="0" normalizeH="0" baseline="0" noProof="0" dirty="0">
                <a:ln>
                  <a:noFill/>
                </a:ln>
                <a:solidFill>
                  <a:prstClr val="black"/>
                </a:solidFill>
                <a:effectLst/>
                <a:uLnTx/>
                <a:uFillTx/>
                <a:latin typeface="+mn-lt"/>
                <a:ea typeface="+mn-ea"/>
                <a:cs typeface="Arial" pitchFamily="34" charset="0"/>
              </a:endParaRPr>
            </a:p>
          </p:txBody>
        </p:sp>
        <p:pic>
          <p:nvPicPr>
            <p:cNvPr id="365" name="Imagem 364" descr="Uma imagem contendo escuro, computador, mesa, maçã&#10;&#10;Descrição gerada automaticamente">
              <a:extLst>
                <a:ext uri="{FF2B5EF4-FFF2-40B4-BE49-F238E27FC236}">
                  <a16:creationId xmlns:a16="http://schemas.microsoft.com/office/drawing/2014/main" id="{D6427C90-09EF-DB83-0458-B1F17BB9C83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52958" y="1984651"/>
              <a:ext cx="652364" cy="519717"/>
            </a:xfrm>
            <a:prstGeom prst="rect">
              <a:avLst/>
            </a:prstGeom>
          </p:spPr>
        </p:pic>
        <p:pic>
          <p:nvPicPr>
            <p:cNvPr id="366" name="Imagem 365" descr="Uma imagem contendo escuro, luz, comida&#10;&#10;Descrição gerada automaticamente">
              <a:extLst>
                <a:ext uri="{FF2B5EF4-FFF2-40B4-BE49-F238E27FC236}">
                  <a16:creationId xmlns:a16="http://schemas.microsoft.com/office/drawing/2014/main" id="{7D93054B-5330-580D-B02F-57C1409B65B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17206" y="2493082"/>
              <a:ext cx="652364" cy="607786"/>
            </a:xfrm>
            <a:prstGeom prst="rect">
              <a:avLst/>
            </a:prstGeom>
          </p:spPr>
        </p:pic>
        <p:pic>
          <p:nvPicPr>
            <p:cNvPr id="367" name="Imagem 366" descr="Uma imagem contendo escuro, computador, mesa, maçã&#10;&#10;Descrição gerada automaticamente">
              <a:extLst>
                <a:ext uri="{FF2B5EF4-FFF2-40B4-BE49-F238E27FC236}">
                  <a16:creationId xmlns:a16="http://schemas.microsoft.com/office/drawing/2014/main" id="{8925D95C-D89B-02F8-BFB2-FCBF9975057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9112324">
              <a:off x="4502745" y="1550968"/>
              <a:ext cx="652364" cy="519717"/>
            </a:xfrm>
            <a:prstGeom prst="rect">
              <a:avLst/>
            </a:prstGeom>
          </p:spPr>
        </p:pic>
        <p:pic>
          <p:nvPicPr>
            <p:cNvPr id="368" name="Imagem 367" descr="Uma imagem contendo escuro, luz, comida&#10;&#10;Descrição gerada automaticamente">
              <a:extLst>
                <a:ext uri="{FF2B5EF4-FFF2-40B4-BE49-F238E27FC236}">
                  <a16:creationId xmlns:a16="http://schemas.microsoft.com/office/drawing/2014/main" id="{C5FB2333-8B55-0B27-51A0-C9A62346A19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6300000">
              <a:off x="4591680" y="2068667"/>
              <a:ext cx="652364" cy="607786"/>
            </a:xfrm>
            <a:prstGeom prst="rect">
              <a:avLst/>
            </a:prstGeom>
          </p:spPr>
        </p:pic>
      </p:grpSp>
      <p:grpSp>
        <p:nvGrpSpPr>
          <p:cNvPr id="376" name="Agrupar 375">
            <a:extLst>
              <a:ext uri="{FF2B5EF4-FFF2-40B4-BE49-F238E27FC236}">
                <a16:creationId xmlns:a16="http://schemas.microsoft.com/office/drawing/2014/main" id="{4ADE8FDD-5DEE-8343-89C3-4B1F353C27C0}"/>
              </a:ext>
            </a:extLst>
          </p:cNvPr>
          <p:cNvGrpSpPr/>
          <p:nvPr/>
        </p:nvGrpSpPr>
        <p:grpSpPr>
          <a:xfrm>
            <a:off x="1592437" y="1849719"/>
            <a:ext cx="2634243" cy="642862"/>
            <a:chOff x="1592437" y="1849719"/>
            <a:chExt cx="2634243" cy="642862"/>
          </a:xfrm>
        </p:grpSpPr>
        <p:sp>
          <p:nvSpPr>
            <p:cNvPr id="370" name="Retângulo: Cantos Arredondados 369">
              <a:extLst>
                <a:ext uri="{FF2B5EF4-FFF2-40B4-BE49-F238E27FC236}">
                  <a16:creationId xmlns:a16="http://schemas.microsoft.com/office/drawing/2014/main" id="{264BC764-1A7E-64A5-4292-C1CD77E4C22F}"/>
                </a:ext>
              </a:extLst>
            </p:cNvPr>
            <p:cNvSpPr/>
            <p:nvPr/>
          </p:nvSpPr>
          <p:spPr>
            <a:xfrm>
              <a:off x="1592437" y="1849719"/>
              <a:ext cx="2634243" cy="642862"/>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334" name="TextBox 1032">
              <a:extLst>
                <a:ext uri="{FF2B5EF4-FFF2-40B4-BE49-F238E27FC236}">
                  <a16:creationId xmlns:a16="http://schemas.microsoft.com/office/drawing/2014/main" id="{2F0796D9-94B5-F9C8-8985-0A50ED8B718F}"/>
                </a:ext>
              </a:extLst>
            </p:cNvPr>
            <p:cNvSpPr txBox="1">
              <a:spLocks noChangeArrowheads="1"/>
            </p:cNvSpPr>
            <p:nvPr/>
          </p:nvSpPr>
          <p:spPr bwMode="auto">
            <a:xfrm>
              <a:off x="2113853" y="1920062"/>
              <a:ext cx="210023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Fagócito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vão</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até</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o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lugar</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da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infecção</a:t>
              </a:r>
              <a:endPar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endParaRPr>
            </a:p>
          </p:txBody>
        </p:sp>
      </p:grpSp>
      <p:grpSp>
        <p:nvGrpSpPr>
          <p:cNvPr id="377" name="Agrupar 376">
            <a:extLst>
              <a:ext uri="{FF2B5EF4-FFF2-40B4-BE49-F238E27FC236}">
                <a16:creationId xmlns:a16="http://schemas.microsoft.com/office/drawing/2014/main" id="{618A43FF-CA17-D73F-A9D5-58DA7BF765DC}"/>
              </a:ext>
            </a:extLst>
          </p:cNvPr>
          <p:cNvGrpSpPr/>
          <p:nvPr/>
        </p:nvGrpSpPr>
        <p:grpSpPr>
          <a:xfrm>
            <a:off x="1334322" y="4830886"/>
            <a:ext cx="3338377" cy="1291107"/>
            <a:chOff x="1334322" y="4830886"/>
            <a:chExt cx="3338377" cy="1291107"/>
          </a:xfrm>
        </p:grpSpPr>
        <p:sp>
          <p:nvSpPr>
            <p:cNvPr id="371" name="Retângulo: Cantos Arredondados 370">
              <a:extLst>
                <a:ext uri="{FF2B5EF4-FFF2-40B4-BE49-F238E27FC236}">
                  <a16:creationId xmlns:a16="http://schemas.microsoft.com/office/drawing/2014/main" id="{A01DB378-5F5F-AFE2-3902-5FB240E072F8}"/>
                </a:ext>
              </a:extLst>
            </p:cNvPr>
            <p:cNvSpPr/>
            <p:nvPr/>
          </p:nvSpPr>
          <p:spPr>
            <a:xfrm>
              <a:off x="1334322" y="4830886"/>
              <a:ext cx="2857097" cy="1291107"/>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331" name="TextBox 1028">
              <a:extLst>
                <a:ext uri="{FF2B5EF4-FFF2-40B4-BE49-F238E27FC236}">
                  <a16:creationId xmlns:a16="http://schemas.microsoft.com/office/drawing/2014/main" id="{A46B6A31-34FA-E65E-26B5-22FB551E1AF0}"/>
                </a:ext>
              </a:extLst>
            </p:cNvPr>
            <p:cNvSpPr txBox="1">
              <a:spLocks noChangeArrowheads="1"/>
            </p:cNvSpPr>
            <p:nvPr/>
          </p:nvSpPr>
          <p:spPr bwMode="auto">
            <a:xfrm>
              <a:off x="1863581" y="4865556"/>
              <a:ext cx="280911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Monócito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e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macrófago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reconhecem</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o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antígeno</a:t>
              </a:r>
              <a:endPar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Célul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ativad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reconhecem</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citocin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e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quimiocinas</a:t>
              </a:r>
              <a:endPar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endParaRPr>
            </a:p>
          </p:txBody>
        </p:sp>
      </p:grpSp>
      <p:grpSp>
        <p:nvGrpSpPr>
          <p:cNvPr id="375" name="Agrupar 374">
            <a:extLst>
              <a:ext uri="{FF2B5EF4-FFF2-40B4-BE49-F238E27FC236}">
                <a16:creationId xmlns:a16="http://schemas.microsoft.com/office/drawing/2014/main" id="{0E966120-2E0B-7013-2B7B-CC572995317E}"/>
              </a:ext>
            </a:extLst>
          </p:cNvPr>
          <p:cNvGrpSpPr/>
          <p:nvPr/>
        </p:nvGrpSpPr>
        <p:grpSpPr>
          <a:xfrm>
            <a:off x="8013436" y="1838896"/>
            <a:ext cx="3707559" cy="804960"/>
            <a:chOff x="8013436" y="1838896"/>
            <a:chExt cx="3707559" cy="804960"/>
          </a:xfrm>
        </p:grpSpPr>
        <p:sp>
          <p:nvSpPr>
            <p:cNvPr id="373" name="Retângulo: Cantos Arredondados 372">
              <a:extLst>
                <a:ext uri="{FF2B5EF4-FFF2-40B4-BE49-F238E27FC236}">
                  <a16:creationId xmlns:a16="http://schemas.microsoft.com/office/drawing/2014/main" id="{97CE0255-7077-5FCF-7B46-607563D47BF8}"/>
                </a:ext>
              </a:extLst>
            </p:cNvPr>
            <p:cNvSpPr/>
            <p:nvPr/>
          </p:nvSpPr>
          <p:spPr>
            <a:xfrm>
              <a:off x="8013436" y="1838896"/>
              <a:ext cx="3363693" cy="804960"/>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342" name="TextBox 1038">
              <a:extLst>
                <a:ext uri="{FF2B5EF4-FFF2-40B4-BE49-F238E27FC236}">
                  <a16:creationId xmlns:a16="http://schemas.microsoft.com/office/drawing/2014/main" id="{45203FBE-F139-DE51-873F-A158C67F1FF7}"/>
                </a:ext>
              </a:extLst>
            </p:cNvPr>
            <p:cNvSpPr txBox="1">
              <a:spLocks noChangeArrowheads="1"/>
            </p:cNvSpPr>
            <p:nvPr/>
          </p:nvSpPr>
          <p:spPr bwMode="auto">
            <a:xfrm>
              <a:off x="8615874" y="1873087"/>
              <a:ext cx="310512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Citocin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e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quimiocin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pró</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inflamatória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auxiliam</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o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fagócitos</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entrar</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no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tecido</a:t>
              </a:r>
              <a:r>
                <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400" b="0" i="0" u="none" strike="noStrike" kern="1200" cap="none" spc="0" normalizeH="0" baseline="0" noProof="0" dirty="0" err="1">
                  <a:ln>
                    <a:noFill/>
                  </a:ln>
                  <a:solidFill>
                    <a:schemeClr val="bg1"/>
                  </a:solidFill>
                  <a:effectLst/>
                  <a:uLnTx/>
                  <a:uFillTx/>
                  <a:latin typeface="+mn-lt"/>
                  <a:ea typeface="+mn-ea"/>
                  <a:cs typeface="Arial" pitchFamily="34" charset="0"/>
                </a:rPr>
                <a:t>inflamado</a:t>
              </a:r>
              <a:endParaRPr kumimoji="0" lang="en-US" altLang="en-US" sz="1400" b="0" i="0" u="none" strike="noStrike" kern="1200" cap="none" spc="0" normalizeH="0" baseline="0" noProof="0" dirty="0">
                <a:ln>
                  <a:noFill/>
                </a:ln>
                <a:solidFill>
                  <a:schemeClr val="bg1"/>
                </a:solidFill>
                <a:effectLst/>
                <a:uLnTx/>
                <a:uFillTx/>
                <a:latin typeface="+mn-lt"/>
                <a:ea typeface="+mn-ea"/>
                <a:cs typeface="Arial" pitchFamily="34" charset="0"/>
              </a:endParaRPr>
            </a:p>
          </p:txBody>
        </p:sp>
      </p:grpSp>
      <p:sp>
        <p:nvSpPr>
          <p:cNvPr id="336" name="Oval 286">
            <a:extLst>
              <a:ext uri="{FF2B5EF4-FFF2-40B4-BE49-F238E27FC236}">
                <a16:creationId xmlns:a16="http://schemas.microsoft.com/office/drawing/2014/main" id="{A8F6BC0D-3B1D-8164-198A-6E56809E54D3}"/>
              </a:ext>
            </a:extLst>
          </p:cNvPr>
          <p:cNvSpPr/>
          <p:nvPr/>
        </p:nvSpPr>
        <p:spPr bwMode="auto">
          <a:xfrm>
            <a:off x="1647879" y="1939274"/>
            <a:ext cx="456578" cy="4565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2</a:t>
            </a:r>
          </a:p>
        </p:txBody>
      </p:sp>
      <p:sp>
        <p:nvSpPr>
          <p:cNvPr id="372" name="Oval 286">
            <a:extLst>
              <a:ext uri="{FF2B5EF4-FFF2-40B4-BE49-F238E27FC236}">
                <a16:creationId xmlns:a16="http://schemas.microsoft.com/office/drawing/2014/main" id="{AD4E6A8F-9367-51D3-C2A7-02EBA205AD96}"/>
              </a:ext>
            </a:extLst>
          </p:cNvPr>
          <p:cNvSpPr/>
          <p:nvPr/>
        </p:nvSpPr>
        <p:spPr bwMode="auto">
          <a:xfrm>
            <a:off x="1389764" y="5253718"/>
            <a:ext cx="456578" cy="4565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1</a:t>
            </a:r>
          </a:p>
        </p:txBody>
      </p:sp>
      <p:sp>
        <p:nvSpPr>
          <p:cNvPr id="374" name="Oval 286">
            <a:extLst>
              <a:ext uri="{FF2B5EF4-FFF2-40B4-BE49-F238E27FC236}">
                <a16:creationId xmlns:a16="http://schemas.microsoft.com/office/drawing/2014/main" id="{27411DB3-2200-77B3-71F6-023FA7662F84}"/>
              </a:ext>
            </a:extLst>
          </p:cNvPr>
          <p:cNvSpPr/>
          <p:nvPr/>
        </p:nvSpPr>
        <p:spPr bwMode="auto">
          <a:xfrm>
            <a:off x="8098210" y="2016193"/>
            <a:ext cx="456578" cy="4565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3</a:t>
            </a:r>
          </a:p>
        </p:txBody>
      </p:sp>
    </p:spTree>
    <p:extLst>
      <p:ext uri="{BB962C8B-B14F-4D97-AF65-F5344CB8AC3E}">
        <p14:creationId xmlns:p14="http://schemas.microsoft.com/office/powerpoint/2010/main" val="36347304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9"/>
                                        </p:tgtEl>
                                        <p:attrNameLst>
                                          <p:attrName>style.visibility</p:attrName>
                                        </p:attrNameLst>
                                      </p:cBhvr>
                                      <p:to>
                                        <p:strVal val="visible"/>
                                      </p:to>
                                    </p:set>
                                    <p:animEffect transition="in" filter="fade">
                                      <p:cBhvr>
                                        <p:cTn id="7" dur="1000"/>
                                        <p:tgtEl>
                                          <p:spTgt spid="379"/>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377"/>
                                        </p:tgtEl>
                                        <p:attrNameLst>
                                          <p:attrName>style.visibility</p:attrName>
                                        </p:attrNameLst>
                                      </p:cBhvr>
                                      <p:to>
                                        <p:strVal val="visible"/>
                                      </p:to>
                                    </p:set>
                                    <p:animEffect transition="in" filter="fade">
                                      <p:cBhvr>
                                        <p:cTn id="11" dur="500"/>
                                        <p:tgtEl>
                                          <p:spTgt spid="377"/>
                                        </p:tgtEl>
                                      </p:cBhvr>
                                    </p:animEffect>
                                  </p:childTnLst>
                                </p:cTn>
                              </p:par>
                              <p:par>
                                <p:cTn id="12" presetID="53" presetClass="entr" presetSubtype="16" fill="hold" grpId="0" nodeType="withEffect">
                                  <p:stCondLst>
                                    <p:cond delay="750"/>
                                  </p:stCondLst>
                                  <p:childTnLst>
                                    <p:set>
                                      <p:cBhvr>
                                        <p:cTn id="13" dur="1" fill="hold">
                                          <p:stCondLst>
                                            <p:cond delay="0"/>
                                          </p:stCondLst>
                                        </p:cTn>
                                        <p:tgtEl>
                                          <p:spTgt spid="372"/>
                                        </p:tgtEl>
                                        <p:attrNameLst>
                                          <p:attrName>style.visibility</p:attrName>
                                        </p:attrNameLst>
                                      </p:cBhvr>
                                      <p:to>
                                        <p:strVal val="visible"/>
                                      </p:to>
                                    </p:set>
                                    <p:anim calcmode="lin" valueType="num">
                                      <p:cBhvr>
                                        <p:cTn id="14" dur="500" fill="hold"/>
                                        <p:tgtEl>
                                          <p:spTgt spid="372"/>
                                        </p:tgtEl>
                                        <p:attrNameLst>
                                          <p:attrName>ppt_w</p:attrName>
                                        </p:attrNameLst>
                                      </p:cBhvr>
                                      <p:tavLst>
                                        <p:tav tm="0">
                                          <p:val>
                                            <p:fltVal val="0"/>
                                          </p:val>
                                        </p:tav>
                                        <p:tav tm="100000">
                                          <p:val>
                                            <p:strVal val="#ppt_w"/>
                                          </p:val>
                                        </p:tav>
                                      </p:tavLst>
                                    </p:anim>
                                    <p:anim calcmode="lin" valueType="num">
                                      <p:cBhvr>
                                        <p:cTn id="15" dur="500" fill="hold"/>
                                        <p:tgtEl>
                                          <p:spTgt spid="372"/>
                                        </p:tgtEl>
                                        <p:attrNameLst>
                                          <p:attrName>ppt_h</p:attrName>
                                        </p:attrNameLst>
                                      </p:cBhvr>
                                      <p:tavLst>
                                        <p:tav tm="0">
                                          <p:val>
                                            <p:fltVal val="0"/>
                                          </p:val>
                                        </p:tav>
                                        <p:tav tm="100000">
                                          <p:val>
                                            <p:strVal val="#ppt_h"/>
                                          </p:val>
                                        </p:tav>
                                      </p:tavLst>
                                    </p:anim>
                                    <p:animEffect transition="in" filter="fade">
                                      <p:cBhvr>
                                        <p:cTn id="16" dur="500"/>
                                        <p:tgtEl>
                                          <p:spTgt spid="372"/>
                                        </p:tgtEl>
                                      </p:cBhvr>
                                    </p:animEffect>
                                  </p:childTnLst>
                                </p:cTn>
                              </p:par>
                            </p:childTnLst>
                          </p:cTn>
                        </p:par>
                        <p:par>
                          <p:cTn id="17" fill="hold">
                            <p:stCondLst>
                              <p:cond delay="2250"/>
                            </p:stCondLst>
                            <p:childTnLst>
                              <p:par>
                                <p:cTn id="18" presetID="10" presetClass="entr" presetSubtype="0" fill="hold" nodeType="afterEffect">
                                  <p:stCondLst>
                                    <p:cond delay="500"/>
                                  </p:stCondLst>
                                  <p:childTnLst>
                                    <p:set>
                                      <p:cBhvr>
                                        <p:cTn id="19" dur="1" fill="hold">
                                          <p:stCondLst>
                                            <p:cond delay="0"/>
                                          </p:stCondLst>
                                        </p:cTn>
                                        <p:tgtEl>
                                          <p:spTgt spid="376"/>
                                        </p:tgtEl>
                                        <p:attrNameLst>
                                          <p:attrName>style.visibility</p:attrName>
                                        </p:attrNameLst>
                                      </p:cBhvr>
                                      <p:to>
                                        <p:strVal val="visible"/>
                                      </p:to>
                                    </p:set>
                                    <p:animEffect transition="in" filter="fade">
                                      <p:cBhvr>
                                        <p:cTn id="20" dur="500"/>
                                        <p:tgtEl>
                                          <p:spTgt spid="376"/>
                                        </p:tgtEl>
                                      </p:cBhvr>
                                    </p:animEffect>
                                  </p:childTnLst>
                                </p:cTn>
                              </p:par>
                              <p:par>
                                <p:cTn id="21" presetID="53" presetClass="entr" presetSubtype="16" fill="hold" grpId="0" nodeType="withEffect">
                                  <p:stCondLst>
                                    <p:cond delay="750"/>
                                  </p:stCondLst>
                                  <p:childTnLst>
                                    <p:set>
                                      <p:cBhvr>
                                        <p:cTn id="22" dur="1" fill="hold">
                                          <p:stCondLst>
                                            <p:cond delay="0"/>
                                          </p:stCondLst>
                                        </p:cTn>
                                        <p:tgtEl>
                                          <p:spTgt spid="336"/>
                                        </p:tgtEl>
                                        <p:attrNameLst>
                                          <p:attrName>style.visibility</p:attrName>
                                        </p:attrNameLst>
                                      </p:cBhvr>
                                      <p:to>
                                        <p:strVal val="visible"/>
                                      </p:to>
                                    </p:set>
                                    <p:anim calcmode="lin" valueType="num">
                                      <p:cBhvr>
                                        <p:cTn id="23" dur="500" fill="hold"/>
                                        <p:tgtEl>
                                          <p:spTgt spid="336"/>
                                        </p:tgtEl>
                                        <p:attrNameLst>
                                          <p:attrName>ppt_w</p:attrName>
                                        </p:attrNameLst>
                                      </p:cBhvr>
                                      <p:tavLst>
                                        <p:tav tm="0">
                                          <p:val>
                                            <p:fltVal val="0"/>
                                          </p:val>
                                        </p:tav>
                                        <p:tav tm="100000">
                                          <p:val>
                                            <p:strVal val="#ppt_w"/>
                                          </p:val>
                                        </p:tav>
                                      </p:tavLst>
                                    </p:anim>
                                    <p:anim calcmode="lin" valueType="num">
                                      <p:cBhvr>
                                        <p:cTn id="24" dur="500" fill="hold"/>
                                        <p:tgtEl>
                                          <p:spTgt spid="336"/>
                                        </p:tgtEl>
                                        <p:attrNameLst>
                                          <p:attrName>ppt_h</p:attrName>
                                        </p:attrNameLst>
                                      </p:cBhvr>
                                      <p:tavLst>
                                        <p:tav tm="0">
                                          <p:val>
                                            <p:fltVal val="0"/>
                                          </p:val>
                                        </p:tav>
                                        <p:tav tm="100000">
                                          <p:val>
                                            <p:strVal val="#ppt_h"/>
                                          </p:val>
                                        </p:tav>
                                      </p:tavLst>
                                    </p:anim>
                                    <p:animEffect transition="in" filter="fade">
                                      <p:cBhvr>
                                        <p:cTn id="25" dur="500"/>
                                        <p:tgtEl>
                                          <p:spTgt spid="336"/>
                                        </p:tgtEl>
                                      </p:cBhvr>
                                    </p:animEffect>
                                  </p:childTnLst>
                                </p:cTn>
                              </p:par>
                            </p:childTnLst>
                          </p:cTn>
                        </p:par>
                        <p:par>
                          <p:cTn id="26" fill="hold">
                            <p:stCondLst>
                              <p:cond delay="3500"/>
                            </p:stCondLst>
                            <p:childTnLst>
                              <p:par>
                                <p:cTn id="27" presetID="10" presetClass="entr" presetSubtype="0" fill="hold" nodeType="afterEffect">
                                  <p:stCondLst>
                                    <p:cond delay="500"/>
                                  </p:stCondLst>
                                  <p:childTnLst>
                                    <p:set>
                                      <p:cBhvr>
                                        <p:cTn id="28" dur="1" fill="hold">
                                          <p:stCondLst>
                                            <p:cond delay="0"/>
                                          </p:stCondLst>
                                        </p:cTn>
                                        <p:tgtEl>
                                          <p:spTgt spid="375"/>
                                        </p:tgtEl>
                                        <p:attrNameLst>
                                          <p:attrName>style.visibility</p:attrName>
                                        </p:attrNameLst>
                                      </p:cBhvr>
                                      <p:to>
                                        <p:strVal val="visible"/>
                                      </p:to>
                                    </p:set>
                                    <p:animEffect transition="in" filter="fade">
                                      <p:cBhvr>
                                        <p:cTn id="29" dur="500"/>
                                        <p:tgtEl>
                                          <p:spTgt spid="375"/>
                                        </p:tgtEl>
                                      </p:cBhvr>
                                    </p:animEffect>
                                  </p:childTnLst>
                                </p:cTn>
                              </p:par>
                              <p:par>
                                <p:cTn id="30" presetID="53" presetClass="entr" presetSubtype="16" fill="hold" grpId="0" nodeType="withEffect">
                                  <p:stCondLst>
                                    <p:cond delay="750"/>
                                  </p:stCondLst>
                                  <p:childTnLst>
                                    <p:set>
                                      <p:cBhvr>
                                        <p:cTn id="31" dur="1" fill="hold">
                                          <p:stCondLst>
                                            <p:cond delay="0"/>
                                          </p:stCondLst>
                                        </p:cTn>
                                        <p:tgtEl>
                                          <p:spTgt spid="374"/>
                                        </p:tgtEl>
                                        <p:attrNameLst>
                                          <p:attrName>style.visibility</p:attrName>
                                        </p:attrNameLst>
                                      </p:cBhvr>
                                      <p:to>
                                        <p:strVal val="visible"/>
                                      </p:to>
                                    </p:set>
                                    <p:anim calcmode="lin" valueType="num">
                                      <p:cBhvr>
                                        <p:cTn id="32" dur="500" fill="hold"/>
                                        <p:tgtEl>
                                          <p:spTgt spid="374"/>
                                        </p:tgtEl>
                                        <p:attrNameLst>
                                          <p:attrName>ppt_w</p:attrName>
                                        </p:attrNameLst>
                                      </p:cBhvr>
                                      <p:tavLst>
                                        <p:tav tm="0">
                                          <p:val>
                                            <p:fltVal val="0"/>
                                          </p:val>
                                        </p:tav>
                                        <p:tav tm="100000">
                                          <p:val>
                                            <p:strVal val="#ppt_w"/>
                                          </p:val>
                                        </p:tav>
                                      </p:tavLst>
                                    </p:anim>
                                    <p:anim calcmode="lin" valueType="num">
                                      <p:cBhvr>
                                        <p:cTn id="33" dur="500" fill="hold"/>
                                        <p:tgtEl>
                                          <p:spTgt spid="374"/>
                                        </p:tgtEl>
                                        <p:attrNameLst>
                                          <p:attrName>ppt_h</p:attrName>
                                        </p:attrNameLst>
                                      </p:cBhvr>
                                      <p:tavLst>
                                        <p:tav tm="0">
                                          <p:val>
                                            <p:fltVal val="0"/>
                                          </p:val>
                                        </p:tav>
                                        <p:tav tm="100000">
                                          <p:val>
                                            <p:strVal val="#ppt_h"/>
                                          </p:val>
                                        </p:tav>
                                      </p:tavLst>
                                    </p:anim>
                                    <p:animEffect transition="in" filter="fade">
                                      <p:cBhvr>
                                        <p:cTn id="34" dur="500"/>
                                        <p:tgtEl>
                                          <p:spTgt spid="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72" grpId="0" animBg="1"/>
      <p:bldP spid="37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Cantos Arredondados 9">
            <a:extLst>
              <a:ext uri="{FF2B5EF4-FFF2-40B4-BE49-F238E27FC236}">
                <a16:creationId xmlns:a16="http://schemas.microsoft.com/office/drawing/2014/main" id="{10E2FAAF-4E60-665A-1022-4A067926AB92}"/>
              </a:ext>
            </a:extLst>
          </p:cNvPr>
          <p:cNvSpPr/>
          <p:nvPr/>
        </p:nvSpPr>
        <p:spPr>
          <a:xfrm>
            <a:off x="538580" y="1160388"/>
            <a:ext cx="10239689" cy="4724045"/>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47" name="Retângulo: Cantos Arredondados 46">
            <a:extLst>
              <a:ext uri="{FF2B5EF4-FFF2-40B4-BE49-F238E27FC236}">
                <a16:creationId xmlns:a16="http://schemas.microsoft.com/office/drawing/2014/main" id="{5FC6E811-F70D-F7D2-77E7-0992E2CA8F6B}"/>
              </a:ext>
            </a:extLst>
          </p:cNvPr>
          <p:cNvSpPr/>
          <p:nvPr/>
        </p:nvSpPr>
        <p:spPr>
          <a:xfrm>
            <a:off x="296268" y="1418004"/>
            <a:ext cx="10724105" cy="664068"/>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pt-BR" sz="700" dirty="0"/>
              <a:t>1. </a:t>
            </a:r>
            <a:r>
              <a:rPr lang="pt-BR" sz="700" b="0" i="0" dirty="0">
                <a:solidFill>
                  <a:srgbClr val="1D1D1D"/>
                </a:solidFill>
                <a:effectLst/>
                <a:latin typeface="Arial" panose="020B0604020202020204" pitchFamily="34" charset="0"/>
              </a:rPr>
              <a:t>Cruvinel </a:t>
            </a:r>
            <a:r>
              <a:rPr lang="pt-BR" sz="700" b="0" i="0" dirty="0" err="1">
                <a:solidFill>
                  <a:srgbClr val="1D1D1D"/>
                </a:solidFill>
                <a:effectLst/>
                <a:latin typeface="Arial" panose="020B0604020202020204" pitchFamily="34" charset="0"/>
              </a:rPr>
              <a:t>Wde</a:t>
            </a:r>
            <a:r>
              <a:rPr lang="pt-BR" sz="700" b="0" i="0" dirty="0">
                <a:solidFill>
                  <a:srgbClr val="1D1D1D"/>
                </a:solidFill>
                <a:effectLst/>
                <a:latin typeface="Arial" panose="020B0604020202020204" pitchFamily="34" charset="0"/>
              </a:rPr>
              <a:t> M, Mesquita D Jr, Araújo JA et al.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system - </a:t>
            </a:r>
            <a:r>
              <a:rPr lang="pt-BR" sz="700" b="0" i="0" dirty="0" err="1">
                <a:solidFill>
                  <a:srgbClr val="1D1D1D"/>
                </a:solidFill>
                <a:effectLst/>
                <a:latin typeface="Arial" panose="020B0604020202020204" pitchFamily="34" charset="0"/>
              </a:rPr>
              <a:t>part</a:t>
            </a:r>
            <a:r>
              <a:rPr lang="pt-BR" sz="700" b="0" i="0" dirty="0">
                <a:solidFill>
                  <a:srgbClr val="1D1D1D"/>
                </a:solidFill>
                <a:effectLst/>
                <a:latin typeface="Arial" panose="020B0604020202020204" pitchFamily="34" charset="0"/>
              </a:rPr>
              <a:t> I. Fundamental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nat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ity</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mphasi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n</a:t>
            </a:r>
            <a:r>
              <a:rPr lang="pt-BR" sz="700" b="0" i="0" dirty="0">
                <a:solidFill>
                  <a:srgbClr val="1D1D1D"/>
                </a:solidFill>
                <a:effectLst/>
                <a:latin typeface="Arial" panose="020B0604020202020204" pitchFamily="34" charset="0"/>
              </a:rPr>
              <a:t> molecular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ellula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echanism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flammatory</a:t>
            </a:r>
            <a:r>
              <a:rPr lang="pt-BR" sz="700" b="0" i="0" dirty="0">
                <a:solidFill>
                  <a:srgbClr val="1D1D1D"/>
                </a:solidFill>
                <a:effectLst/>
                <a:latin typeface="Arial" panose="020B0604020202020204" pitchFamily="34" charset="0"/>
              </a:rPr>
              <a:t> response. </a:t>
            </a:r>
            <a:r>
              <a:rPr lang="pt-BR" sz="700" b="0" i="0" dirty="0" err="1">
                <a:solidFill>
                  <a:srgbClr val="1D1D1D"/>
                </a:solidFill>
                <a:effectLst/>
                <a:latin typeface="Arial" panose="020B0604020202020204" pitchFamily="34" charset="0"/>
              </a:rPr>
              <a:t>Rev</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Bra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Reumatol</a:t>
            </a:r>
            <a:r>
              <a:rPr lang="pt-BR" sz="700" b="0" i="0" dirty="0">
                <a:solidFill>
                  <a:srgbClr val="1D1D1D"/>
                </a:solidFill>
                <a:effectLst/>
                <a:latin typeface="Arial" panose="020B0604020202020204" pitchFamily="34" charset="0"/>
              </a:rPr>
              <a:t>. 2010 Jul-Aug;50(4):434-61</a:t>
            </a:r>
            <a:endParaRPr lang="pt-BR" sz="700"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2276732"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Fagocitose</a:t>
            </a:r>
          </a:p>
        </p:txBody>
      </p:sp>
      <p:sp>
        <p:nvSpPr>
          <p:cNvPr id="4" name="Content Placeholder 2">
            <a:extLst>
              <a:ext uri="{FF2B5EF4-FFF2-40B4-BE49-F238E27FC236}">
                <a16:creationId xmlns:a16="http://schemas.microsoft.com/office/drawing/2014/main" id="{746AB8E7-A9E3-2010-51D7-1CB9CE00D744}"/>
              </a:ext>
            </a:extLst>
          </p:cNvPr>
          <p:cNvSpPr txBox="1">
            <a:spLocks/>
          </p:cNvSpPr>
          <p:nvPr/>
        </p:nvSpPr>
        <p:spPr>
          <a:xfrm>
            <a:off x="545732" y="1443577"/>
            <a:ext cx="9678575" cy="896111"/>
          </a:xfrm>
          <a:prstGeom prst="rect">
            <a:avLst/>
          </a:prstGeom>
        </p:spPr>
        <p:txBody>
          <a:bodyPr>
            <a:norm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pt-BR" sz="1600" b="1" i="0" u="none" strike="noStrike" kern="1200" cap="none" spc="0" normalizeH="0" baseline="0" noProof="0" dirty="0">
                <a:ln>
                  <a:noFill/>
                </a:ln>
                <a:solidFill>
                  <a:schemeClr val="bg1"/>
                </a:solidFill>
                <a:effectLst/>
                <a:uLnTx/>
                <a:uFillTx/>
                <a:latin typeface="Calibri"/>
                <a:ea typeface="+mn-ea"/>
                <a:cs typeface="+mn-cs"/>
              </a:rPr>
              <a:t>A fagocitose é o processo pelo qual os fagócitos absorvem o material encontrado em seu exterior, trazendo-o para dentro da célula em uma estrutura chamada fagossomo, onde o conteúdo é decomposto</a:t>
            </a:r>
            <a:r>
              <a:rPr kumimoji="0" lang="en-US" sz="1600" b="1" i="0" u="none" strike="noStrike" kern="1200" cap="none" spc="0" normalizeH="0" baseline="30000" noProof="0" dirty="0">
                <a:ln>
                  <a:noFill/>
                </a:ln>
                <a:solidFill>
                  <a:schemeClr val="bg1"/>
                </a:solidFill>
                <a:effectLst/>
                <a:uLnTx/>
                <a:uFillTx/>
                <a:latin typeface="Calibri"/>
                <a:ea typeface="+mn-ea"/>
                <a:cs typeface="+mn-cs"/>
              </a:rPr>
              <a:t>1</a:t>
            </a:r>
          </a:p>
        </p:txBody>
      </p:sp>
      <p:grpSp>
        <p:nvGrpSpPr>
          <p:cNvPr id="86" name="Agrupar 85">
            <a:extLst>
              <a:ext uri="{FF2B5EF4-FFF2-40B4-BE49-F238E27FC236}">
                <a16:creationId xmlns:a16="http://schemas.microsoft.com/office/drawing/2014/main" id="{3D9287C9-9CA9-C54A-3E1B-8DA21966FA63}"/>
              </a:ext>
            </a:extLst>
          </p:cNvPr>
          <p:cNvGrpSpPr/>
          <p:nvPr/>
        </p:nvGrpSpPr>
        <p:grpSpPr>
          <a:xfrm>
            <a:off x="3775408" y="2682450"/>
            <a:ext cx="2090728" cy="2889602"/>
            <a:chOff x="3975260" y="2682450"/>
            <a:chExt cx="2090728" cy="2889602"/>
          </a:xfrm>
        </p:grpSpPr>
        <p:pic>
          <p:nvPicPr>
            <p:cNvPr id="5" name="Picture 30">
              <a:extLst>
                <a:ext uri="{FF2B5EF4-FFF2-40B4-BE49-F238E27FC236}">
                  <a16:creationId xmlns:a16="http://schemas.microsoft.com/office/drawing/2014/main" id="{B314AC28-5D2C-2516-3E40-ED9FF55148D9}"/>
                </a:ext>
              </a:extLst>
            </p:cNvPr>
            <p:cNvPicPr>
              <a:picLocks noChangeAspect="1"/>
            </p:cNvPicPr>
            <p:nvPr/>
          </p:nvPicPr>
          <p:blipFill>
            <a:blip r:embed="rId3">
              <a:extLst>
                <a:ext uri="{28A0092B-C50C-407E-A947-70E740481C1C}">
                  <a14:useLocalDpi xmlns:a14="http://schemas.microsoft.com/office/drawing/2010/main" val="0"/>
                </a:ext>
              </a:extLst>
            </a:blip>
            <a:srcRect t="157" b="157"/>
            <a:stretch/>
          </p:blipFill>
          <p:spPr>
            <a:xfrm>
              <a:off x="3975260" y="3107236"/>
              <a:ext cx="2090728" cy="2464816"/>
            </a:xfrm>
            <a:prstGeom prst="rect">
              <a:avLst/>
            </a:prstGeom>
          </p:spPr>
        </p:pic>
        <p:sp>
          <p:nvSpPr>
            <p:cNvPr id="9" name="TextBox 23">
              <a:extLst>
                <a:ext uri="{FF2B5EF4-FFF2-40B4-BE49-F238E27FC236}">
                  <a16:creationId xmlns:a16="http://schemas.microsoft.com/office/drawing/2014/main" id="{856B15D2-EEE6-1CF3-4652-B5B5D81DAEDE}"/>
                </a:ext>
              </a:extLst>
            </p:cNvPr>
            <p:cNvSpPr txBox="1"/>
            <p:nvPr/>
          </p:nvSpPr>
          <p:spPr>
            <a:xfrm>
              <a:off x="4417271" y="2682450"/>
              <a:ext cx="129721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chemeClr val="tx2"/>
                  </a:solidFill>
                  <a:effectLst/>
                  <a:uLnTx/>
                  <a:uFillTx/>
                  <a:latin typeface="+mj-lt"/>
                  <a:ea typeface="+mn-ea"/>
                  <a:cs typeface="+mn-cs"/>
                </a:rPr>
                <a:t>Internaliza</a:t>
              </a:r>
              <a:endParaRPr kumimoji="0" lang="en-US" b="1" i="0" u="none" strike="noStrike" kern="1200" cap="none" spc="0" normalizeH="0" baseline="0" noProof="0" dirty="0">
                <a:ln>
                  <a:noFill/>
                </a:ln>
                <a:solidFill>
                  <a:schemeClr val="tx2"/>
                </a:solidFill>
                <a:effectLst/>
                <a:uLnTx/>
                <a:uFillTx/>
                <a:latin typeface="+mj-lt"/>
                <a:ea typeface="+mn-ea"/>
                <a:cs typeface="+mn-cs"/>
              </a:endParaRPr>
            </a:p>
          </p:txBody>
        </p:sp>
      </p:grpSp>
      <p:grpSp>
        <p:nvGrpSpPr>
          <p:cNvPr id="85" name="Agrupar 84">
            <a:extLst>
              <a:ext uri="{FF2B5EF4-FFF2-40B4-BE49-F238E27FC236}">
                <a16:creationId xmlns:a16="http://schemas.microsoft.com/office/drawing/2014/main" id="{9F6A3869-572E-AC8D-A879-9576EE2FF3F9}"/>
              </a:ext>
            </a:extLst>
          </p:cNvPr>
          <p:cNvGrpSpPr/>
          <p:nvPr/>
        </p:nvGrpSpPr>
        <p:grpSpPr>
          <a:xfrm>
            <a:off x="590827" y="2682450"/>
            <a:ext cx="3071120" cy="2889602"/>
            <a:chOff x="790679" y="2682450"/>
            <a:chExt cx="3071120" cy="2889602"/>
          </a:xfrm>
        </p:grpSpPr>
        <p:pic>
          <p:nvPicPr>
            <p:cNvPr id="12" name="Picture 15">
              <a:extLst>
                <a:ext uri="{FF2B5EF4-FFF2-40B4-BE49-F238E27FC236}">
                  <a16:creationId xmlns:a16="http://schemas.microsoft.com/office/drawing/2014/main" id="{23C98806-43FE-BEC0-E586-AF75F003F894}"/>
                </a:ext>
              </a:extLst>
            </p:cNvPr>
            <p:cNvPicPr>
              <a:picLocks noChangeAspect="1"/>
            </p:cNvPicPr>
            <p:nvPr/>
          </p:nvPicPr>
          <p:blipFill>
            <a:blip r:embed="rId4">
              <a:extLst>
                <a:ext uri="{28A0092B-C50C-407E-A947-70E740481C1C}">
                  <a14:useLocalDpi xmlns:a14="http://schemas.microsoft.com/office/drawing/2010/main" val="0"/>
                </a:ext>
              </a:extLst>
            </a:blip>
            <a:srcRect t="70" b="70"/>
            <a:stretch/>
          </p:blipFill>
          <p:spPr>
            <a:xfrm>
              <a:off x="1267479" y="3107236"/>
              <a:ext cx="2087056" cy="2464816"/>
            </a:xfrm>
            <a:prstGeom prst="rect">
              <a:avLst/>
            </a:prstGeom>
          </p:spPr>
        </p:pic>
        <p:sp>
          <p:nvSpPr>
            <p:cNvPr id="14" name="TextBox 16">
              <a:extLst>
                <a:ext uri="{FF2B5EF4-FFF2-40B4-BE49-F238E27FC236}">
                  <a16:creationId xmlns:a16="http://schemas.microsoft.com/office/drawing/2014/main" id="{6E388D8F-BC6F-D70B-87B0-409D0AECA657}"/>
                </a:ext>
              </a:extLst>
            </p:cNvPr>
            <p:cNvSpPr txBox="1"/>
            <p:nvPr/>
          </p:nvSpPr>
          <p:spPr>
            <a:xfrm>
              <a:off x="1817821" y="2682450"/>
              <a:ext cx="127143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chemeClr val="tx2"/>
                  </a:solidFill>
                  <a:effectLst/>
                  <a:uLnTx/>
                  <a:uFillTx/>
                  <a:latin typeface="+mj-lt"/>
                  <a:ea typeface="+mn-ea"/>
                  <a:cs typeface="+mn-cs"/>
                </a:rPr>
                <a:t>Reconhece</a:t>
              </a:r>
              <a:endParaRPr kumimoji="0" lang="en-US" b="1" i="0" u="none" strike="noStrike" kern="1200" cap="none" spc="0" normalizeH="0" baseline="0" noProof="0" dirty="0">
                <a:ln>
                  <a:noFill/>
                </a:ln>
                <a:solidFill>
                  <a:schemeClr val="tx2"/>
                </a:solidFill>
                <a:effectLst/>
                <a:uLnTx/>
                <a:uFillTx/>
                <a:latin typeface="+mj-lt"/>
                <a:ea typeface="+mn-ea"/>
                <a:cs typeface="+mn-cs"/>
              </a:endParaRPr>
            </a:p>
          </p:txBody>
        </p:sp>
        <p:sp>
          <p:nvSpPr>
            <p:cNvPr id="15" name="TextBox 25">
              <a:extLst>
                <a:ext uri="{FF2B5EF4-FFF2-40B4-BE49-F238E27FC236}">
                  <a16:creationId xmlns:a16="http://schemas.microsoft.com/office/drawing/2014/main" id="{11BC708D-314C-A99A-863B-ECEC8D34FCCE}"/>
                </a:ext>
              </a:extLst>
            </p:cNvPr>
            <p:cNvSpPr txBox="1"/>
            <p:nvPr/>
          </p:nvSpPr>
          <p:spPr>
            <a:xfrm>
              <a:off x="790679" y="3146461"/>
              <a:ext cx="103444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3F4444"/>
                  </a:solidFill>
                  <a:effectLst/>
                  <a:uLnTx/>
                  <a:uFillTx/>
                  <a:latin typeface="Calibri"/>
                  <a:ea typeface="+mn-ea"/>
                  <a:cs typeface="+mn-cs"/>
                </a:rPr>
                <a:t>Glóbulo</a:t>
              </a:r>
              <a:r>
                <a:rPr kumimoji="0" lang="en-US" sz="1400" b="0" i="0" u="none" strike="noStrike" kern="1200" cap="none" spc="0" normalizeH="0" baseline="0" noProof="0" dirty="0">
                  <a:ln>
                    <a:noFill/>
                  </a:ln>
                  <a:solidFill>
                    <a:srgbClr val="3F4444"/>
                  </a:solidFill>
                  <a:effectLst/>
                  <a:uLnTx/>
                  <a:uFillTx/>
                  <a:latin typeface="Calibri"/>
                  <a:ea typeface="+mn-ea"/>
                  <a:cs typeface="+mn-cs"/>
                </a:rPr>
                <a:t> </a:t>
              </a:r>
              <a:r>
                <a:rPr kumimoji="0" lang="en-US" sz="1400" b="0" i="0" u="none" strike="noStrike" kern="1200" cap="none" spc="0" normalizeH="0" baseline="0" noProof="0" dirty="0" err="1">
                  <a:ln>
                    <a:noFill/>
                  </a:ln>
                  <a:solidFill>
                    <a:srgbClr val="3F4444"/>
                  </a:solidFill>
                  <a:effectLst/>
                  <a:uLnTx/>
                  <a:uFillTx/>
                  <a:latin typeface="Calibri"/>
                  <a:ea typeface="+mn-ea"/>
                  <a:cs typeface="+mn-cs"/>
                </a:rPr>
                <a:t>branco</a:t>
              </a:r>
              <a:endParaRPr kumimoji="0" lang="en-US" sz="1400" b="0" i="0" u="none" strike="noStrike" kern="1200" cap="none" spc="0" normalizeH="0" baseline="0" noProof="0" dirty="0">
                <a:ln>
                  <a:noFill/>
                </a:ln>
                <a:solidFill>
                  <a:srgbClr val="3F4444"/>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mn-cs"/>
                </a:rPr>
                <a:t> fagocítico</a:t>
              </a:r>
            </a:p>
          </p:txBody>
        </p:sp>
        <p:cxnSp>
          <p:nvCxnSpPr>
            <p:cNvPr id="19" name="Straight Connector 20">
              <a:extLst>
                <a:ext uri="{FF2B5EF4-FFF2-40B4-BE49-F238E27FC236}">
                  <a16:creationId xmlns:a16="http://schemas.microsoft.com/office/drawing/2014/main" id="{4DEC83A1-86CC-DAD3-2C3B-C76E94C9B6C0}"/>
                </a:ext>
              </a:extLst>
            </p:cNvPr>
            <p:cNvCxnSpPr>
              <a:cxnSpLocks/>
            </p:cNvCxnSpPr>
            <p:nvPr/>
          </p:nvCxnSpPr>
          <p:spPr>
            <a:xfrm flipH="1" flipV="1">
              <a:off x="1669126" y="3564457"/>
              <a:ext cx="228812" cy="1526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8">
              <a:extLst>
                <a:ext uri="{FF2B5EF4-FFF2-40B4-BE49-F238E27FC236}">
                  <a16:creationId xmlns:a16="http://schemas.microsoft.com/office/drawing/2014/main" id="{20346FC5-731A-0644-8D6D-4D4BBBAC2289}"/>
                </a:ext>
              </a:extLst>
            </p:cNvPr>
            <p:cNvSpPr txBox="1"/>
            <p:nvPr/>
          </p:nvSpPr>
          <p:spPr>
            <a:xfrm>
              <a:off x="3019902" y="3293543"/>
              <a:ext cx="84189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mn-cs"/>
                </a:rPr>
                <a:t>Bactéria</a:t>
              </a:r>
            </a:p>
          </p:txBody>
        </p:sp>
        <p:cxnSp>
          <p:nvCxnSpPr>
            <p:cNvPr id="48" name="Straight Connector 29">
              <a:extLst>
                <a:ext uri="{FF2B5EF4-FFF2-40B4-BE49-F238E27FC236}">
                  <a16:creationId xmlns:a16="http://schemas.microsoft.com/office/drawing/2014/main" id="{FB44FB2E-8CBB-AF34-8031-3DA39FFC4326}"/>
                </a:ext>
              </a:extLst>
            </p:cNvPr>
            <p:cNvCxnSpPr>
              <a:cxnSpLocks/>
            </p:cNvCxnSpPr>
            <p:nvPr/>
          </p:nvCxnSpPr>
          <p:spPr>
            <a:xfrm flipH="1">
              <a:off x="3133363" y="3564457"/>
              <a:ext cx="148865" cy="1605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Agrupar 86">
            <a:extLst>
              <a:ext uri="{FF2B5EF4-FFF2-40B4-BE49-F238E27FC236}">
                <a16:creationId xmlns:a16="http://schemas.microsoft.com/office/drawing/2014/main" id="{94A12B2C-BAE6-D5E5-6D44-8A03C37A4C56}"/>
              </a:ext>
            </a:extLst>
          </p:cNvPr>
          <p:cNvGrpSpPr/>
          <p:nvPr/>
        </p:nvGrpSpPr>
        <p:grpSpPr>
          <a:xfrm>
            <a:off x="6089541" y="2411480"/>
            <a:ext cx="2164729" cy="3160572"/>
            <a:chOff x="6289393" y="2411480"/>
            <a:chExt cx="2164729" cy="3160572"/>
          </a:xfrm>
        </p:grpSpPr>
        <p:pic>
          <p:nvPicPr>
            <p:cNvPr id="53" name="Picture 26">
              <a:extLst>
                <a:ext uri="{FF2B5EF4-FFF2-40B4-BE49-F238E27FC236}">
                  <a16:creationId xmlns:a16="http://schemas.microsoft.com/office/drawing/2014/main" id="{5D753085-7331-948D-277D-64DBAB3CF686}"/>
                </a:ext>
              </a:extLst>
            </p:cNvPr>
            <p:cNvPicPr>
              <a:picLocks noChangeAspect="1"/>
            </p:cNvPicPr>
            <p:nvPr/>
          </p:nvPicPr>
          <p:blipFill>
            <a:blip r:embed="rId5">
              <a:extLst>
                <a:ext uri="{28A0092B-C50C-407E-A947-70E740481C1C}">
                  <a14:useLocalDpi xmlns:a14="http://schemas.microsoft.com/office/drawing/2010/main" val="0"/>
                </a:ext>
              </a:extLst>
            </a:blip>
            <a:srcRect t="1861" b="1861"/>
            <a:stretch/>
          </p:blipFill>
          <p:spPr>
            <a:xfrm>
              <a:off x="6289393" y="3107236"/>
              <a:ext cx="2164729" cy="2464816"/>
            </a:xfrm>
            <a:prstGeom prst="rect">
              <a:avLst/>
            </a:prstGeom>
          </p:spPr>
        </p:pic>
        <p:sp>
          <p:nvSpPr>
            <p:cNvPr id="54" name="TextBox 24">
              <a:extLst>
                <a:ext uri="{FF2B5EF4-FFF2-40B4-BE49-F238E27FC236}">
                  <a16:creationId xmlns:a16="http://schemas.microsoft.com/office/drawing/2014/main" id="{696764F2-32B4-7F99-8C1B-560CA6127299}"/>
                </a:ext>
              </a:extLst>
            </p:cNvPr>
            <p:cNvSpPr txBox="1"/>
            <p:nvPr/>
          </p:nvSpPr>
          <p:spPr>
            <a:xfrm>
              <a:off x="6499727" y="2411480"/>
              <a:ext cx="1933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mj-lt"/>
                  <a:ea typeface="+mn-ea"/>
                  <a:cs typeface="+mn-cs"/>
                </a:rPr>
                <a:t>Forma o </a:t>
              </a:r>
              <a:r>
                <a:rPr kumimoji="0" lang="en-US" b="1" i="0" u="none" strike="noStrike" kern="1200" cap="none" spc="0" normalizeH="0" baseline="0" noProof="0" dirty="0" err="1">
                  <a:ln>
                    <a:noFill/>
                  </a:ln>
                  <a:solidFill>
                    <a:schemeClr val="accent1"/>
                  </a:solidFill>
                  <a:effectLst/>
                  <a:uLnTx/>
                  <a:uFillTx/>
                  <a:latin typeface="+mj-lt"/>
                  <a:ea typeface="+mn-ea"/>
                  <a:cs typeface="+mn-cs"/>
                </a:rPr>
                <a:t>Fagossomo</a:t>
              </a:r>
              <a:endParaRPr kumimoji="0" lang="en-US" b="1" i="0" u="none" strike="noStrike" kern="1200" cap="none" spc="0" normalizeH="0" baseline="0" noProof="0" dirty="0">
                <a:ln>
                  <a:noFill/>
                </a:ln>
                <a:solidFill>
                  <a:schemeClr val="accent1"/>
                </a:solidFill>
                <a:effectLst/>
                <a:uLnTx/>
                <a:uFillTx/>
                <a:latin typeface="+mj-lt"/>
                <a:ea typeface="+mn-ea"/>
                <a:cs typeface="+mn-cs"/>
              </a:endParaRPr>
            </a:p>
          </p:txBody>
        </p:sp>
      </p:grpSp>
      <p:cxnSp>
        <p:nvCxnSpPr>
          <p:cNvPr id="83" name="Conector reto 82">
            <a:extLst>
              <a:ext uri="{FF2B5EF4-FFF2-40B4-BE49-F238E27FC236}">
                <a16:creationId xmlns:a16="http://schemas.microsoft.com/office/drawing/2014/main" id="{218024AA-909B-C514-9393-0D240EFD4C88}"/>
              </a:ext>
            </a:extLst>
          </p:cNvPr>
          <p:cNvCxnSpPr/>
          <p:nvPr/>
        </p:nvCxnSpPr>
        <p:spPr>
          <a:xfrm>
            <a:off x="3656854" y="2411480"/>
            <a:ext cx="0" cy="32578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4" name="Conector reto 83">
            <a:extLst>
              <a:ext uri="{FF2B5EF4-FFF2-40B4-BE49-F238E27FC236}">
                <a16:creationId xmlns:a16="http://schemas.microsoft.com/office/drawing/2014/main" id="{3B2489A7-4E5F-9522-3836-A4F881578F6B}"/>
              </a:ext>
            </a:extLst>
          </p:cNvPr>
          <p:cNvCxnSpPr/>
          <p:nvPr/>
        </p:nvCxnSpPr>
        <p:spPr>
          <a:xfrm>
            <a:off x="6030962" y="2411480"/>
            <a:ext cx="0" cy="32578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9" name="Forma Livre: Forma 88">
            <a:extLst>
              <a:ext uri="{FF2B5EF4-FFF2-40B4-BE49-F238E27FC236}">
                <a16:creationId xmlns:a16="http://schemas.microsoft.com/office/drawing/2014/main" id="{B7D13670-0A3C-87B1-F9E2-F691EE775CCB}"/>
              </a:ext>
            </a:extLst>
          </p:cNvPr>
          <p:cNvSpPr/>
          <p:nvPr/>
        </p:nvSpPr>
        <p:spPr>
          <a:xfrm>
            <a:off x="6555950" y="2226833"/>
            <a:ext cx="2915323" cy="3410174"/>
          </a:xfrm>
          <a:custGeom>
            <a:avLst/>
            <a:gdLst>
              <a:gd name="connsiteX0" fmla="*/ 688490 w 2915323"/>
              <a:gd name="connsiteY0" fmla="*/ 236668 h 3410174"/>
              <a:gd name="connsiteX1" fmla="*/ 688490 w 2915323"/>
              <a:gd name="connsiteY1" fmla="*/ 0 h 3410174"/>
              <a:gd name="connsiteX2" fmla="*/ 2915323 w 2915323"/>
              <a:gd name="connsiteY2" fmla="*/ 0 h 3410174"/>
              <a:gd name="connsiteX3" fmla="*/ 2915323 w 2915323"/>
              <a:gd name="connsiteY3" fmla="*/ 3410174 h 3410174"/>
              <a:gd name="connsiteX4" fmla="*/ 0 w 2915323"/>
              <a:gd name="connsiteY4" fmla="*/ 3410174 h 3410174"/>
              <a:gd name="connsiteX5" fmla="*/ 0 w 2915323"/>
              <a:gd name="connsiteY5" fmla="*/ 2796988 h 341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23" h="3410174">
                <a:moveTo>
                  <a:pt x="688490" y="236668"/>
                </a:moveTo>
                <a:lnTo>
                  <a:pt x="688490" y="0"/>
                </a:lnTo>
                <a:lnTo>
                  <a:pt x="2915323" y="0"/>
                </a:lnTo>
                <a:lnTo>
                  <a:pt x="2915323" y="3410174"/>
                </a:lnTo>
                <a:lnTo>
                  <a:pt x="0" y="3410174"/>
                </a:lnTo>
                <a:lnTo>
                  <a:pt x="0" y="2796988"/>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81" name="Agrupar 80">
            <a:extLst>
              <a:ext uri="{FF2B5EF4-FFF2-40B4-BE49-F238E27FC236}">
                <a16:creationId xmlns:a16="http://schemas.microsoft.com/office/drawing/2014/main" id="{1E5901B7-969B-CCF7-13BD-3EC7F0723E48}"/>
              </a:ext>
            </a:extLst>
          </p:cNvPr>
          <p:cNvGrpSpPr/>
          <p:nvPr/>
        </p:nvGrpSpPr>
        <p:grpSpPr>
          <a:xfrm>
            <a:off x="8398203" y="2656030"/>
            <a:ext cx="3456589" cy="2871871"/>
            <a:chOff x="8598055" y="2272649"/>
            <a:chExt cx="3456589" cy="2871871"/>
          </a:xfrm>
        </p:grpSpPr>
        <p:sp>
          <p:nvSpPr>
            <p:cNvPr id="56" name="Retângulo: Cantos Arredondados 55">
              <a:extLst>
                <a:ext uri="{FF2B5EF4-FFF2-40B4-BE49-F238E27FC236}">
                  <a16:creationId xmlns:a16="http://schemas.microsoft.com/office/drawing/2014/main" id="{5FCEDE08-E1D0-CD0F-AAA5-2FD1AAD0C03C}"/>
                </a:ext>
              </a:extLst>
            </p:cNvPr>
            <p:cNvSpPr/>
            <p:nvPr/>
          </p:nvSpPr>
          <p:spPr>
            <a:xfrm>
              <a:off x="8598055" y="2272649"/>
              <a:ext cx="3456589" cy="2607097"/>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57" name="Content Placeholder 2">
              <a:extLst>
                <a:ext uri="{FF2B5EF4-FFF2-40B4-BE49-F238E27FC236}">
                  <a16:creationId xmlns:a16="http://schemas.microsoft.com/office/drawing/2014/main" id="{92618FF8-2DF1-F659-3DFB-98833551D098}"/>
                </a:ext>
              </a:extLst>
            </p:cNvPr>
            <p:cNvSpPr txBox="1">
              <a:spLocks/>
            </p:cNvSpPr>
            <p:nvPr/>
          </p:nvSpPr>
          <p:spPr>
            <a:xfrm>
              <a:off x="8828647" y="2537423"/>
              <a:ext cx="3191024" cy="2607097"/>
            </a:xfrm>
            <a:prstGeom prst="rect">
              <a:avLst/>
            </a:prstGeom>
            <a:ln w="19050">
              <a:noFill/>
            </a:ln>
          </p:spPr>
          <p:style>
            <a:lnRef idx="1">
              <a:schemeClr val="accent1"/>
            </a:lnRef>
            <a:fillRef idx="0">
              <a:schemeClr val="accent1"/>
            </a:fillRef>
            <a:effectRef idx="0">
              <a:schemeClr val="accent1"/>
            </a:effectRef>
            <a:fontRef idx="minor">
              <a:schemeClr val="tx1"/>
            </a:fontRef>
          </p:style>
          <p:txBody>
            <a:bodyPr vert="horz" lIns="0" tIns="0" rIns="0" bIns="0" rtlCol="0">
              <a:noAutofit/>
            </a:bodyPr>
            <a:lstStyle>
              <a:lvl1pPr marL="228600" indent="-228600" algn="l" defTabSz="914400" rtl="0" eaLnBrk="1" latinLnBrk="0" hangingPunct="1">
                <a:lnSpc>
                  <a:spcPct val="90000"/>
                </a:lnSpc>
                <a:spcBef>
                  <a:spcPts val="12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Clr>
                  <a:schemeClr val="accent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20725" marR="0" lvl="0" indent="0" defTabSz="914400" rtl="0" eaLnBrk="1" fontAlgn="auto" latinLnBrk="0" hangingPunct="1">
                <a:lnSpc>
                  <a:spcPct val="90000"/>
                </a:lnSpc>
                <a:spcBef>
                  <a:spcPts val="1200"/>
                </a:spcBef>
                <a:spcAft>
                  <a:spcPts val="0"/>
                </a:spcAft>
                <a:buClr>
                  <a:srgbClr val="F0AB00"/>
                </a:buClr>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Calibri"/>
                  <a:ea typeface="+mn-ea"/>
                  <a:cs typeface="+mn-cs"/>
                </a:rPr>
                <a:t>A fagocitose é importante </a:t>
              </a:r>
              <a:br>
                <a:rPr kumimoji="0" lang="en-US" sz="1600" b="1" i="0" u="none" strike="noStrike" kern="1200" cap="none" spc="0" normalizeH="0" baseline="0" noProof="0" dirty="0">
                  <a:ln>
                    <a:noFill/>
                  </a:ln>
                  <a:solidFill>
                    <a:schemeClr val="bg1"/>
                  </a:solidFill>
                  <a:effectLst/>
                  <a:uLnTx/>
                  <a:uFillTx/>
                  <a:latin typeface="Calibri"/>
                  <a:ea typeface="+mn-ea"/>
                  <a:cs typeface="+mn-cs"/>
                </a:rPr>
              </a:br>
              <a:r>
                <a:rPr kumimoji="0" lang="en-US" sz="1600" b="1" i="0" u="none" strike="noStrike" kern="1200" cap="none" spc="0" normalizeH="0" baseline="0" noProof="0" dirty="0">
                  <a:ln>
                    <a:noFill/>
                  </a:ln>
                  <a:solidFill>
                    <a:schemeClr val="bg1"/>
                  </a:solidFill>
                  <a:effectLst/>
                  <a:uLnTx/>
                  <a:uFillTx/>
                  <a:latin typeface="Calibri"/>
                  <a:ea typeface="+mn-ea"/>
                  <a:cs typeface="+mn-cs"/>
                </a:rPr>
                <a:t>por muitas razões</a:t>
              </a:r>
              <a:r>
                <a:rPr kumimoji="0" lang="en-US" sz="1600" b="1" i="0" u="none" strike="noStrike" kern="1200" cap="none" spc="0" normalizeH="0" baseline="30000" noProof="0" dirty="0">
                  <a:ln>
                    <a:noFill/>
                  </a:ln>
                  <a:solidFill>
                    <a:schemeClr val="bg1"/>
                  </a:solidFill>
                  <a:effectLst/>
                  <a:uLnTx/>
                  <a:uFillTx/>
                  <a:latin typeface="Calibri"/>
                  <a:ea typeface="+mn-ea"/>
                  <a:cs typeface="+mn-cs"/>
                </a:rPr>
                <a:t>1</a:t>
              </a:r>
              <a:r>
                <a:rPr kumimoji="0" lang="en-US" sz="1600" b="1" i="0" u="none" strike="noStrike" kern="1200" cap="none" spc="0" normalizeH="0" baseline="0" noProof="0" dirty="0">
                  <a:ln>
                    <a:noFill/>
                  </a:ln>
                  <a:solidFill>
                    <a:schemeClr val="bg1"/>
                  </a:solidFill>
                  <a:effectLst/>
                  <a:uLnTx/>
                  <a:uFillTx/>
                  <a:latin typeface="Calibri"/>
                  <a:ea typeface="+mn-ea"/>
                  <a:cs typeface="+mn-cs"/>
                </a:rPr>
                <a:t>:</a:t>
              </a:r>
            </a:p>
            <a:p>
              <a:pPr marL="0" marR="0" lvl="0" indent="0" defTabSz="914400" rtl="0" eaLnBrk="1" fontAlgn="auto" latinLnBrk="0" hangingPunct="1">
                <a:lnSpc>
                  <a:spcPct val="90000"/>
                </a:lnSpc>
                <a:spcBef>
                  <a:spcPts val="1800"/>
                </a:spcBef>
                <a:spcAft>
                  <a:spcPts val="0"/>
                </a:spcAft>
                <a:buClr>
                  <a:srgbClr val="F0AB00"/>
                </a:buClr>
                <a:buSzTx/>
                <a:buFont typeface="Arial" panose="020B0604020202020204" pitchFamily="34" charset="0"/>
                <a:buNone/>
                <a:tabLst/>
                <a:defRPr/>
              </a:pPr>
              <a:r>
                <a:rPr kumimoji="0" lang="pt-BR" sz="1400" b="1" i="0" u="none" strike="noStrike" kern="1200" cap="none" spc="0" normalizeH="0" baseline="0" noProof="0" dirty="0">
                  <a:ln>
                    <a:noFill/>
                  </a:ln>
                  <a:solidFill>
                    <a:schemeClr val="bg1"/>
                  </a:solidFill>
                  <a:effectLst/>
                  <a:uLnTx/>
                  <a:uFillTx/>
                  <a:latin typeface="Calibri"/>
                  <a:ea typeface="+mn-ea"/>
                  <a:cs typeface="+mn-cs"/>
                </a:rPr>
                <a:t>Destrói ameaças </a:t>
              </a:r>
              <a:r>
                <a:rPr kumimoji="0" lang="pt-BR" sz="1400" b="0" i="0" u="none" strike="noStrike" kern="1200" cap="none" spc="0" normalizeH="0" baseline="0" noProof="0" dirty="0">
                  <a:ln>
                    <a:noFill/>
                  </a:ln>
                  <a:solidFill>
                    <a:schemeClr val="bg1"/>
                  </a:solidFill>
                  <a:effectLst/>
                  <a:uLnTx/>
                  <a:uFillTx/>
                  <a:latin typeface="Calibri"/>
                  <a:ea typeface="+mn-ea"/>
                  <a:cs typeface="+mn-cs"/>
                </a:rPr>
                <a:t>invasoras</a:t>
              </a:r>
            </a:p>
            <a:p>
              <a:pPr marL="0" marR="0" lvl="0" indent="0" defTabSz="914400" rtl="0" eaLnBrk="1" fontAlgn="auto" latinLnBrk="0" hangingPunct="1">
                <a:lnSpc>
                  <a:spcPct val="90000"/>
                </a:lnSpc>
                <a:spcBef>
                  <a:spcPts val="1800"/>
                </a:spcBef>
                <a:spcAft>
                  <a:spcPts val="0"/>
                </a:spcAft>
                <a:buClr>
                  <a:srgbClr val="F0AB00"/>
                </a:buClr>
                <a:buSzTx/>
                <a:buFont typeface="Arial" panose="020B0604020202020204" pitchFamily="34" charset="0"/>
                <a:buNone/>
                <a:tabLst/>
                <a:defRPr/>
              </a:pPr>
              <a:r>
                <a:rPr kumimoji="0" lang="pt-BR" sz="1400" b="0" i="0" u="none" strike="noStrike" kern="1200" cap="none" spc="0" normalizeH="0" baseline="0" noProof="0" dirty="0">
                  <a:ln>
                    <a:noFill/>
                  </a:ln>
                  <a:solidFill>
                    <a:schemeClr val="bg1"/>
                  </a:solidFill>
                  <a:effectLst/>
                  <a:uLnTx/>
                  <a:uFillTx/>
                  <a:latin typeface="Calibri"/>
                  <a:ea typeface="+mn-ea"/>
                  <a:cs typeface="+mn-cs"/>
                </a:rPr>
                <a:t>Leva à produção de </a:t>
              </a:r>
              <a:r>
                <a:rPr kumimoji="0" lang="pt-BR" sz="1400" b="1" i="0" u="none" strike="noStrike" kern="1200" cap="none" spc="0" normalizeH="0" baseline="0" noProof="0" dirty="0">
                  <a:ln>
                    <a:noFill/>
                  </a:ln>
                  <a:solidFill>
                    <a:schemeClr val="bg1"/>
                  </a:solidFill>
                  <a:effectLst/>
                  <a:uLnTx/>
                  <a:uFillTx/>
                  <a:latin typeface="Calibri"/>
                  <a:ea typeface="+mn-ea"/>
                  <a:cs typeface="+mn-cs"/>
                </a:rPr>
                <a:t>moléculas de sinalização pró-inflamatórias</a:t>
              </a:r>
            </a:p>
            <a:p>
              <a:pPr marL="0" marR="0" lvl="0" indent="0" defTabSz="914400" rtl="0" eaLnBrk="1" fontAlgn="auto" latinLnBrk="0" hangingPunct="1">
                <a:lnSpc>
                  <a:spcPct val="90000"/>
                </a:lnSpc>
                <a:spcBef>
                  <a:spcPts val="1800"/>
                </a:spcBef>
                <a:spcAft>
                  <a:spcPts val="0"/>
                </a:spcAft>
                <a:buClr>
                  <a:srgbClr val="F0AB00"/>
                </a:buClr>
                <a:buSzTx/>
                <a:buFont typeface="Arial" panose="020B0604020202020204" pitchFamily="34" charset="0"/>
                <a:buNone/>
                <a:tabLst/>
                <a:defRPr/>
              </a:pPr>
              <a:r>
                <a:rPr kumimoji="0" lang="pt-BR" sz="1400" b="0" i="0" u="none" strike="noStrike" kern="1200" cap="none" spc="0" normalizeH="0" baseline="0" noProof="0" dirty="0">
                  <a:ln>
                    <a:noFill/>
                  </a:ln>
                  <a:solidFill>
                    <a:schemeClr val="bg1"/>
                  </a:solidFill>
                  <a:effectLst/>
                  <a:uLnTx/>
                  <a:uFillTx/>
                  <a:latin typeface="Calibri"/>
                  <a:ea typeface="+mn-ea"/>
                  <a:cs typeface="+mn-cs"/>
                </a:rPr>
                <a:t>Ativa o </a:t>
              </a:r>
              <a:r>
                <a:rPr kumimoji="0" lang="pt-BR" sz="1400" b="1" i="0" u="none" strike="noStrike" kern="1200" cap="none" spc="0" normalizeH="0" baseline="0" noProof="0" dirty="0">
                  <a:ln>
                    <a:noFill/>
                  </a:ln>
                  <a:solidFill>
                    <a:schemeClr val="bg1"/>
                  </a:solidFill>
                  <a:effectLst/>
                  <a:uLnTx/>
                  <a:uFillTx/>
                  <a:latin typeface="Calibri"/>
                  <a:ea typeface="+mn-ea"/>
                  <a:cs typeface="+mn-cs"/>
                </a:rPr>
                <a:t>sistema imunológico adaptativo </a:t>
              </a:r>
              <a:r>
                <a:rPr kumimoji="0" lang="pt-BR" sz="1400" b="0" i="0" u="none" strike="noStrike" kern="1200" cap="none" spc="0" normalizeH="0" baseline="0" noProof="0" dirty="0">
                  <a:ln>
                    <a:noFill/>
                  </a:ln>
                  <a:solidFill>
                    <a:schemeClr val="bg1"/>
                  </a:solidFill>
                  <a:effectLst/>
                  <a:uLnTx/>
                  <a:uFillTx/>
                  <a:latin typeface="Calibri"/>
                  <a:ea typeface="+mn-ea"/>
                  <a:cs typeface="+mn-cs"/>
                </a:rPr>
                <a:t>(através da apresentação de antígenos)</a:t>
              </a:r>
            </a:p>
          </p:txBody>
        </p:sp>
        <p:sp>
          <p:nvSpPr>
            <p:cNvPr id="77" name="Elipse 76">
              <a:extLst>
                <a:ext uri="{FF2B5EF4-FFF2-40B4-BE49-F238E27FC236}">
                  <a16:creationId xmlns:a16="http://schemas.microsoft.com/office/drawing/2014/main" id="{CC6835AB-18BD-5346-90B8-3BB655455252}"/>
                </a:ext>
              </a:extLst>
            </p:cNvPr>
            <p:cNvSpPr/>
            <p:nvPr/>
          </p:nvSpPr>
          <p:spPr>
            <a:xfrm>
              <a:off x="8784828" y="2404608"/>
              <a:ext cx="702628" cy="702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grpSp>
          <p:nvGrpSpPr>
            <p:cNvPr id="61" name="Gráfico 58">
              <a:extLst>
                <a:ext uri="{FF2B5EF4-FFF2-40B4-BE49-F238E27FC236}">
                  <a16:creationId xmlns:a16="http://schemas.microsoft.com/office/drawing/2014/main" id="{7B354C0C-5558-128B-ED41-4F8B1D468857}"/>
                </a:ext>
              </a:extLst>
            </p:cNvPr>
            <p:cNvGrpSpPr/>
            <p:nvPr/>
          </p:nvGrpSpPr>
          <p:grpSpPr>
            <a:xfrm>
              <a:off x="8897056" y="2507703"/>
              <a:ext cx="493680" cy="493680"/>
              <a:chOff x="11724396" y="364408"/>
              <a:chExt cx="590550" cy="590550"/>
            </a:xfrm>
            <a:solidFill>
              <a:schemeClr val="accent1"/>
            </a:solidFill>
          </p:grpSpPr>
          <p:sp>
            <p:nvSpPr>
              <p:cNvPr id="62" name="Forma Livre: Forma 61">
                <a:extLst>
                  <a:ext uri="{FF2B5EF4-FFF2-40B4-BE49-F238E27FC236}">
                    <a16:creationId xmlns:a16="http://schemas.microsoft.com/office/drawing/2014/main" id="{72CD7B8D-B346-78DA-B317-1D0B6BE6DE2D}"/>
                  </a:ext>
                </a:extLst>
              </p:cNvPr>
              <p:cNvSpPr/>
              <p:nvPr/>
            </p:nvSpPr>
            <p:spPr>
              <a:xfrm>
                <a:off x="11724396" y="364408"/>
                <a:ext cx="95250" cy="95250"/>
              </a:xfrm>
              <a:custGeom>
                <a:avLst/>
                <a:gdLst>
                  <a:gd name="connsiteX0" fmla="*/ 47625 w 95250"/>
                  <a:gd name="connsiteY0" fmla="*/ 95250 h 95250"/>
                  <a:gd name="connsiteX1" fmla="*/ 95250 w 95250"/>
                  <a:gd name="connsiteY1" fmla="*/ 47625 h 95250"/>
                  <a:gd name="connsiteX2" fmla="*/ 47625 w 95250"/>
                  <a:gd name="connsiteY2" fmla="*/ 0 h 95250"/>
                  <a:gd name="connsiteX3" fmla="*/ 0 w 95250"/>
                  <a:gd name="connsiteY3" fmla="*/ 47625 h 95250"/>
                  <a:gd name="connsiteX4" fmla="*/ 47625 w 95250"/>
                  <a:gd name="connsiteY4" fmla="*/ 95250 h 95250"/>
                  <a:gd name="connsiteX5" fmla="*/ 47625 w 95250"/>
                  <a:gd name="connsiteY5" fmla="*/ 19050 h 95250"/>
                  <a:gd name="connsiteX6" fmla="*/ 76200 w 95250"/>
                  <a:gd name="connsiteY6" fmla="*/ 47625 h 95250"/>
                  <a:gd name="connsiteX7" fmla="*/ 47625 w 95250"/>
                  <a:gd name="connsiteY7" fmla="*/ 76200 h 95250"/>
                  <a:gd name="connsiteX8" fmla="*/ 1905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73885" y="95250"/>
                      <a:pt x="95250" y="73885"/>
                      <a:pt x="95250" y="47625"/>
                    </a:cubicBezTo>
                    <a:cubicBezTo>
                      <a:pt x="95250" y="21365"/>
                      <a:pt x="73885" y="0"/>
                      <a:pt x="47625" y="0"/>
                    </a:cubicBezTo>
                    <a:cubicBezTo>
                      <a:pt x="21365" y="0"/>
                      <a:pt x="0" y="21365"/>
                      <a:pt x="0" y="47625"/>
                    </a:cubicBezTo>
                    <a:cubicBezTo>
                      <a:pt x="0" y="73885"/>
                      <a:pt x="21365" y="95250"/>
                      <a:pt x="47625" y="95250"/>
                    </a:cubicBezTo>
                    <a:close/>
                    <a:moveTo>
                      <a:pt x="47625" y="19050"/>
                    </a:moveTo>
                    <a:cubicBezTo>
                      <a:pt x="63379" y="19050"/>
                      <a:pt x="76200" y="31871"/>
                      <a:pt x="76200" y="47625"/>
                    </a:cubicBezTo>
                    <a:cubicBezTo>
                      <a:pt x="76200" y="63379"/>
                      <a:pt x="63379" y="76200"/>
                      <a:pt x="47625" y="76200"/>
                    </a:cubicBezTo>
                    <a:cubicBezTo>
                      <a:pt x="31871" y="76200"/>
                      <a:pt x="19050" y="63379"/>
                      <a:pt x="19050" y="47625"/>
                    </a:cubicBezTo>
                    <a:cubicBezTo>
                      <a:pt x="19050" y="31871"/>
                      <a:pt x="31871" y="19050"/>
                      <a:pt x="47625" y="19050"/>
                    </a:cubicBezTo>
                    <a:close/>
                  </a:path>
                </a:pathLst>
              </a:custGeom>
              <a:grpFill/>
              <a:ln w="9525"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C311F765-E613-5513-E9F8-BAA30F854453}"/>
                  </a:ext>
                </a:extLst>
              </p:cNvPr>
              <p:cNvSpPr/>
              <p:nvPr/>
            </p:nvSpPr>
            <p:spPr>
              <a:xfrm>
                <a:off x="11762496" y="40250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pt-BR"/>
              </a:p>
            </p:txBody>
          </p:sp>
          <p:sp>
            <p:nvSpPr>
              <p:cNvPr id="64" name="Forma Livre: Forma 63">
                <a:extLst>
                  <a:ext uri="{FF2B5EF4-FFF2-40B4-BE49-F238E27FC236}">
                    <a16:creationId xmlns:a16="http://schemas.microsoft.com/office/drawing/2014/main" id="{A2AB95D4-E5FF-718F-05F6-BB15E708F1E5}"/>
                  </a:ext>
                </a:extLst>
              </p:cNvPr>
              <p:cNvSpPr/>
              <p:nvPr/>
            </p:nvSpPr>
            <p:spPr>
              <a:xfrm>
                <a:off x="12124446" y="40250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pt-BR"/>
              </a:p>
            </p:txBody>
          </p:sp>
          <p:sp>
            <p:nvSpPr>
              <p:cNvPr id="65" name="Forma Livre: Forma 64">
                <a:extLst>
                  <a:ext uri="{FF2B5EF4-FFF2-40B4-BE49-F238E27FC236}">
                    <a16:creationId xmlns:a16="http://schemas.microsoft.com/office/drawing/2014/main" id="{EA9BF1C2-179D-0769-7626-FFA4142083B8}"/>
                  </a:ext>
                </a:extLst>
              </p:cNvPr>
              <p:cNvSpPr/>
              <p:nvPr/>
            </p:nvSpPr>
            <p:spPr>
              <a:xfrm>
                <a:off x="12143496" y="45965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pt-BR"/>
              </a:p>
            </p:txBody>
          </p:sp>
          <p:sp>
            <p:nvSpPr>
              <p:cNvPr id="66" name="Forma Livre: Forma 65">
                <a:extLst>
                  <a:ext uri="{FF2B5EF4-FFF2-40B4-BE49-F238E27FC236}">
                    <a16:creationId xmlns:a16="http://schemas.microsoft.com/office/drawing/2014/main" id="{1AA38327-F32C-32F9-FFD7-AA13F821A1AD}"/>
                  </a:ext>
                </a:extLst>
              </p:cNvPr>
              <p:cNvSpPr/>
              <p:nvPr/>
            </p:nvSpPr>
            <p:spPr>
              <a:xfrm>
                <a:off x="12219696" y="45965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pt-BR"/>
              </a:p>
            </p:txBody>
          </p:sp>
          <p:sp>
            <p:nvSpPr>
              <p:cNvPr id="67" name="Forma Livre: Forma 66">
                <a:extLst>
                  <a:ext uri="{FF2B5EF4-FFF2-40B4-BE49-F238E27FC236}">
                    <a16:creationId xmlns:a16="http://schemas.microsoft.com/office/drawing/2014/main" id="{4DB38E23-EA22-018E-D90D-32AF5DD68795}"/>
                  </a:ext>
                </a:extLst>
              </p:cNvPr>
              <p:cNvSpPr/>
              <p:nvPr/>
            </p:nvSpPr>
            <p:spPr>
              <a:xfrm>
                <a:off x="11952996" y="593008"/>
                <a:ext cx="95250" cy="95250"/>
              </a:xfrm>
              <a:custGeom>
                <a:avLst/>
                <a:gdLst>
                  <a:gd name="connsiteX0" fmla="*/ 57150 w 95250"/>
                  <a:gd name="connsiteY0" fmla="*/ 95250 h 95250"/>
                  <a:gd name="connsiteX1" fmla="*/ 57150 w 95250"/>
                  <a:gd name="connsiteY1" fmla="*/ 74447 h 95250"/>
                  <a:gd name="connsiteX2" fmla="*/ 74447 w 95250"/>
                  <a:gd name="connsiteY2" fmla="*/ 57150 h 95250"/>
                  <a:gd name="connsiteX3" fmla="*/ 95250 w 95250"/>
                  <a:gd name="connsiteY3" fmla="*/ 57150 h 95250"/>
                  <a:gd name="connsiteX4" fmla="*/ 95250 w 95250"/>
                  <a:gd name="connsiteY4" fmla="*/ 38100 h 95250"/>
                  <a:gd name="connsiteX5" fmla="*/ 74447 w 95250"/>
                  <a:gd name="connsiteY5" fmla="*/ 38100 h 95250"/>
                  <a:gd name="connsiteX6" fmla="*/ 57150 w 95250"/>
                  <a:gd name="connsiteY6" fmla="*/ 20803 h 95250"/>
                  <a:gd name="connsiteX7" fmla="*/ 57150 w 95250"/>
                  <a:gd name="connsiteY7" fmla="*/ 0 h 95250"/>
                  <a:gd name="connsiteX8" fmla="*/ 38100 w 95250"/>
                  <a:gd name="connsiteY8" fmla="*/ 0 h 95250"/>
                  <a:gd name="connsiteX9" fmla="*/ 38100 w 95250"/>
                  <a:gd name="connsiteY9" fmla="*/ 20803 h 95250"/>
                  <a:gd name="connsiteX10" fmla="*/ 20803 w 95250"/>
                  <a:gd name="connsiteY10" fmla="*/ 38100 h 95250"/>
                  <a:gd name="connsiteX11" fmla="*/ 0 w 95250"/>
                  <a:gd name="connsiteY11" fmla="*/ 38100 h 95250"/>
                  <a:gd name="connsiteX12" fmla="*/ 0 w 95250"/>
                  <a:gd name="connsiteY12" fmla="*/ 57150 h 95250"/>
                  <a:gd name="connsiteX13" fmla="*/ 20803 w 95250"/>
                  <a:gd name="connsiteY13" fmla="*/ 57150 h 95250"/>
                  <a:gd name="connsiteX14" fmla="*/ 38100 w 95250"/>
                  <a:gd name="connsiteY14" fmla="*/ 74447 h 95250"/>
                  <a:gd name="connsiteX15" fmla="*/ 38100 w 95250"/>
                  <a:gd name="connsiteY15" fmla="*/ 95250 h 95250"/>
                  <a:gd name="connsiteX16" fmla="*/ 57150 w 95250"/>
                  <a:gd name="connsiteY16" fmla="*/ 95250 h 95250"/>
                  <a:gd name="connsiteX17" fmla="*/ 47625 w 95250"/>
                  <a:gd name="connsiteY17" fmla="*/ 38100 h 95250"/>
                  <a:gd name="connsiteX18" fmla="*/ 57150 w 95250"/>
                  <a:gd name="connsiteY18" fmla="*/ 47625 h 95250"/>
                  <a:gd name="connsiteX19" fmla="*/ 47625 w 95250"/>
                  <a:gd name="connsiteY19" fmla="*/ 57150 h 95250"/>
                  <a:gd name="connsiteX20" fmla="*/ 38100 w 95250"/>
                  <a:gd name="connsiteY20" fmla="*/ 47625 h 95250"/>
                  <a:gd name="connsiteX21" fmla="*/ 47625 w 95250"/>
                  <a:gd name="connsiteY21" fmla="*/ 3810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95250">
                    <a:moveTo>
                      <a:pt x="57150" y="95250"/>
                    </a:moveTo>
                    <a:lnTo>
                      <a:pt x="57150" y="74447"/>
                    </a:lnTo>
                    <a:cubicBezTo>
                      <a:pt x="65218" y="71571"/>
                      <a:pt x="71571" y="65218"/>
                      <a:pt x="74447" y="57150"/>
                    </a:cubicBezTo>
                    <a:lnTo>
                      <a:pt x="95250" y="57150"/>
                    </a:lnTo>
                    <a:lnTo>
                      <a:pt x="95250" y="38100"/>
                    </a:lnTo>
                    <a:lnTo>
                      <a:pt x="74447" y="38100"/>
                    </a:lnTo>
                    <a:cubicBezTo>
                      <a:pt x="71571" y="30032"/>
                      <a:pt x="65218" y="23679"/>
                      <a:pt x="57150" y="20803"/>
                    </a:cubicBezTo>
                    <a:lnTo>
                      <a:pt x="57150" y="0"/>
                    </a:lnTo>
                    <a:lnTo>
                      <a:pt x="38100" y="0"/>
                    </a:lnTo>
                    <a:lnTo>
                      <a:pt x="38100" y="20803"/>
                    </a:lnTo>
                    <a:cubicBezTo>
                      <a:pt x="30032" y="23679"/>
                      <a:pt x="23679" y="30032"/>
                      <a:pt x="20803" y="38100"/>
                    </a:cubicBezTo>
                    <a:lnTo>
                      <a:pt x="0" y="38100"/>
                    </a:lnTo>
                    <a:lnTo>
                      <a:pt x="0" y="57150"/>
                    </a:lnTo>
                    <a:lnTo>
                      <a:pt x="20803" y="57150"/>
                    </a:lnTo>
                    <a:cubicBezTo>
                      <a:pt x="23679" y="65218"/>
                      <a:pt x="30032" y="71571"/>
                      <a:pt x="38100" y="74447"/>
                    </a:cubicBezTo>
                    <a:lnTo>
                      <a:pt x="38100" y="95250"/>
                    </a:lnTo>
                    <a:lnTo>
                      <a:pt x="57150" y="95250"/>
                    </a:lnTo>
                    <a:close/>
                    <a:moveTo>
                      <a:pt x="47625" y="38100"/>
                    </a:moveTo>
                    <a:cubicBezTo>
                      <a:pt x="52883" y="38100"/>
                      <a:pt x="57150" y="42367"/>
                      <a:pt x="57150" y="47625"/>
                    </a:cubicBezTo>
                    <a:cubicBezTo>
                      <a:pt x="57150" y="52883"/>
                      <a:pt x="52883" y="57150"/>
                      <a:pt x="47625" y="57150"/>
                    </a:cubicBezTo>
                    <a:cubicBezTo>
                      <a:pt x="42367" y="57150"/>
                      <a:pt x="38100" y="52883"/>
                      <a:pt x="38100" y="47625"/>
                    </a:cubicBezTo>
                    <a:cubicBezTo>
                      <a:pt x="38100" y="42367"/>
                      <a:pt x="42367" y="38100"/>
                      <a:pt x="47625" y="38100"/>
                    </a:cubicBezTo>
                    <a:close/>
                  </a:path>
                </a:pathLst>
              </a:custGeom>
              <a:grpFill/>
              <a:ln w="9525" cap="flat">
                <a:noFill/>
                <a:prstDash val="solid"/>
                <a:miter/>
              </a:ln>
            </p:spPr>
            <p:txBody>
              <a:bodyPr rtlCol="0" anchor="ctr"/>
              <a:lstStyle/>
              <a:p>
                <a:endParaRPr lang="pt-BR"/>
              </a:p>
            </p:txBody>
          </p:sp>
          <p:sp>
            <p:nvSpPr>
              <p:cNvPr id="68" name="Forma Livre: Forma 67">
                <a:extLst>
                  <a:ext uri="{FF2B5EF4-FFF2-40B4-BE49-F238E27FC236}">
                    <a16:creationId xmlns:a16="http://schemas.microsoft.com/office/drawing/2014/main" id="{683310D3-E0A4-1A1B-97B4-1087D1B1A7B1}"/>
                  </a:ext>
                </a:extLst>
              </p:cNvPr>
              <p:cNvSpPr/>
              <p:nvPr/>
            </p:nvSpPr>
            <p:spPr>
              <a:xfrm>
                <a:off x="11955786" y="364408"/>
                <a:ext cx="359159" cy="590550"/>
              </a:xfrm>
              <a:custGeom>
                <a:avLst/>
                <a:gdLst>
                  <a:gd name="connsiteX0" fmla="*/ 341557 w 359159"/>
                  <a:gd name="connsiteY0" fmla="*/ 248355 h 590550"/>
                  <a:gd name="connsiteX1" fmla="*/ 359159 w 359159"/>
                  <a:gd name="connsiteY1" fmla="*/ 190243 h 590550"/>
                  <a:gd name="connsiteX2" fmla="*/ 359159 w 359159"/>
                  <a:gd name="connsiteY2" fmla="*/ 152400 h 590550"/>
                  <a:gd name="connsiteX3" fmla="*/ 321059 w 359159"/>
                  <a:gd name="connsiteY3" fmla="*/ 114300 h 590550"/>
                  <a:gd name="connsiteX4" fmla="*/ 320078 w 359159"/>
                  <a:gd name="connsiteY4" fmla="*/ 114395 h 590550"/>
                  <a:gd name="connsiteX5" fmla="*/ 321059 w 359159"/>
                  <a:gd name="connsiteY5" fmla="*/ 104775 h 590550"/>
                  <a:gd name="connsiteX6" fmla="*/ 281721 w 359159"/>
                  <a:gd name="connsiteY6" fmla="*/ 57988 h 590550"/>
                  <a:gd name="connsiteX7" fmla="*/ 282959 w 359159"/>
                  <a:gd name="connsiteY7" fmla="*/ 47625 h 590550"/>
                  <a:gd name="connsiteX8" fmla="*/ 235334 w 359159"/>
                  <a:gd name="connsiteY8" fmla="*/ 0 h 590550"/>
                  <a:gd name="connsiteX9" fmla="*/ 206626 w 359159"/>
                  <a:gd name="connsiteY9" fmla="*/ 9658 h 590550"/>
                  <a:gd name="connsiteX10" fmla="*/ 178184 w 359159"/>
                  <a:gd name="connsiteY10" fmla="*/ 0 h 590550"/>
                  <a:gd name="connsiteX11" fmla="*/ 130559 w 359159"/>
                  <a:gd name="connsiteY11" fmla="*/ 47625 h 590550"/>
                  <a:gd name="connsiteX12" fmla="*/ 152857 w 359159"/>
                  <a:gd name="connsiteY12" fmla="*/ 87801 h 590550"/>
                  <a:gd name="connsiteX13" fmla="*/ 149609 w 359159"/>
                  <a:gd name="connsiteY13" fmla="*/ 104775 h 590550"/>
                  <a:gd name="connsiteX14" fmla="*/ 197234 w 359159"/>
                  <a:gd name="connsiteY14" fmla="*/ 152400 h 590550"/>
                  <a:gd name="connsiteX15" fmla="*/ 235334 w 359159"/>
                  <a:gd name="connsiteY15" fmla="*/ 133055 h 590550"/>
                  <a:gd name="connsiteX16" fmla="*/ 273434 w 359159"/>
                  <a:gd name="connsiteY16" fmla="*/ 152400 h 590550"/>
                  <a:gd name="connsiteX17" fmla="*/ 283054 w 359159"/>
                  <a:gd name="connsiteY17" fmla="*/ 151419 h 590550"/>
                  <a:gd name="connsiteX18" fmla="*/ 282959 w 359159"/>
                  <a:gd name="connsiteY18" fmla="*/ 152400 h 590550"/>
                  <a:gd name="connsiteX19" fmla="*/ 282959 w 359159"/>
                  <a:gd name="connsiteY19" fmla="*/ 182185 h 590550"/>
                  <a:gd name="connsiteX20" fmla="*/ 272672 w 359159"/>
                  <a:gd name="connsiteY20" fmla="*/ 204130 h 590550"/>
                  <a:gd name="connsiteX21" fmla="*/ 254851 w 359159"/>
                  <a:gd name="connsiteY21" fmla="*/ 218999 h 590550"/>
                  <a:gd name="connsiteX22" fmla="*/ 225809 w 359159"/>
                  <a:gd name="connsiteY22" fmla="*/ 280988 h 590550"/>
                  <a:gd name="connsiteX23" fmla="*/ 254841 w 359159"/>
                  <a:gd name="connsiteY23" fmla="*/ 342986 h 590550"/>
                  <a:gd name="connsiteX24" fmla="*/ 274120 w 359159"/>
                  <a:gd name="connsiteY24" fmla="*/ 359064 h 590550"/>
                  <a:gd name="connsiteX25" fmla="*/ 282959 w 359159"/>
                  <a:gd name="connsiteY25" fmla="*/ 377914 h 590550"/>
                  <a:gd name="connsiteX26" fmla="*/ 268386 w 359159"/>
                  <a:gd name="connsiteY26" fmla="*/ 400336 h 590550"/>
                  <a:gd name="connsiteX27" fmla="*/ 141170 w 359159"/>
                  <a:gd name="connsiteY27" fmla="*/ 456876 h 590550"/>
                  <a:gd name="connsiteX28" fmla="*/ 111509 w 359159"/>
                  <a:gd name="connsiteY28" fmla="*/ 502510 h 590550"/>
                  <a:gd name="connsiteX29" fmla="*/ 112100 w 359159"/>
                  <a:gd name="connsiteY29" fmla="*/ 508330 h 590550"/>
                  <a:gd name="connsiteX30" fmla="*/ 90202 w 359159"/>
                  <a:gd name="connsiteY30" fmla="*/ 512712 h 590550"/>
                  <a:gd name="connsiteX31" fmla="*/ 70247 w 359159"/>
                  <a:gd name="connsiteY31" fmla="*/ 527952 h 590550"/>
                  <a:gd name="connsiteX32" fmla="*/ 60627 w 359159"/>
                  <a:gd name="connsiteY32" fmla="*/ 547192 h 590550"/>
                  <a:gd name="connsiteX33" fmla="*/ 52111 w 359159"/>
                  <a:gd name="connsiteY33" fmla="*/ 552450 h 590550"/>
                  <a:gd name="connsiteX34" fmla="*/ 33671 w 359159"/>
                  <a:gd name="connsiteY34" fmla="*/ 552450 h 590550"/>
                  <a:gd name="connsiteX35" fmla="*/ 13468 w 359159"/>
                  <a:gd name="connsiteY35" fmla="*/ 560823 h 590550"/>
                  <a:gd name="connsiteX36" fmla="*/ 0 w 359159"/>
                  <a:gd name="connsiteY36" fmla="*/ 574291 h 590550"/>
                  <a:gd name="connsiteX37" fmla="*/ 13468 w 359159"/>
                  <a:gd name="connsiteY37" fmla="*/ 587759 h 590550"/>
                  <a:gd name="connsiteX38" fmla="*/ 26937 w 359159"/>
                  <a:gd name="connsiteY38" fmla="*/ 574291 h 590550"/>
                  <a:gd name="connsiteX39" fmla="*/ 33671 w 359159"/>
                  <a:gd name="connsiteY39" fmla="*/ 571500 h 590550"/>
                  <a:gd name="connsiteX40" fmla="*/ 52111 w 359159"/>
                  <a:gd name="connsiteY40" fmla="*/ 571500 h 590550"/>
                  <a:gd name="connsiteX41" fmla="*/ 77676 w 359159"/>
                  <a:gd name="connsiteY41" fmla="*/ 555708 h 590550"/>
                  <a:gd name="connsiteX42" fmla="*/ 87297 w 359159"/>
                  <a:gd name="connsiteY42" fmla="*/ 536477 h 590550"/>
                  <a:gd name="connsiteX43" fmla="*/ 93945 w 359159"/>
                  <a:gd name="connsiteY43" fmla="*/ 531390 h 590550"/>
                  <a:gd name="connsiteX44" fmla="*/ 117977 w 359159"/>
                  <a:gd name="connsiteY44" fmla="*/ 526580 h 590550"/>
                  <a:gd name="connsiteX45" fmla="*/ 130521 w 359159"/>
                  <a:gd name="connsiteY45" fmla="*/ 541401 h 590550"/>
                  <a:gd name="connsiteX46" fmla="*/ 118462 w 359159"/>
                  <a:gd name="connsiteY46" fmla="*/ 558651 h 590550"/>
                  <a:gd name="connsiteX47" fmla="*/ 100622 w 359159"/>
                  <a:gd name="connsiteY47" fmla="*/ 571500 h 590550"/>
                  <a:gd name="connsiteX48" fmla="*/ 92459 w 359159"/>
                  <a:gd name="connsiteY48" fmla="*/ 571500 h 590550"/>
                  <a:gd name="connsiteX49" fmla="*/ 92459 w 359159"/>
                  <a:gd name="connsiteY49" fmla="*/ 590550 h 590550"/>
                  <a:gd name="connsiteX50" fmla="*/ 100622 w 359159"/>
                  <a:gd name="connsiteY50" fmla="*/ 590550 h 590550"/>
                  <a:gd name="connsiteX51" fmla="*/ 136522 w 359159"/>
                  <a:gd name="connsiteY51" fmla="*/ 564680 h 590550"/>
                  <a:gd name="connsiteX52" fmla="*/ 143923 w 359159"/>
                  <a:gd name="connsiteY52" fmla="*/ 554984 h 590550"/>
                  <a:gd name="connsiteX53" fmla="*/ 149933 w 359159"/>
                  <a:gd name="connsiteY53" fmla="*/ 550974 h 590550"/>
                  <a:gd name="connsiteX54" fmla="*/ 161449 w 359159"/>
                  <a:gd name="connsiteY54" fmla="*/ 552450 h 590550"/>
                  <a:gd name="connsiteX55" fmla="*/ 207978 w 359159"/>
                  <a:gd name="connsiteY55" fmla="*/ 523685 h 590550"/>
                  <a:gd name="connsiteX56" fmla="*/ 213560 w 359159"/>
                  <a:gd name="connsiteY56" fmla="*/ 512512 h 590550"/>
                  <a:gd name="connsiteX57" fmla="*/ 243078 w 359159"/>
                  <a:gd name="connsiteY57" fmla="*/ 488023 h 590550"/>
                  <a:gd name="connsiteX58" fmla="*/ 287226 w 359159"/>
                  <a:gd name="connsiteY58" fmla="*/ 475421 h 590550"/>
                  <a:gd name="connsiteX59" fmla="*/ 359159 w 359159"/>
                  <a:gd name="connsiteY59" fmla="*/ 380038 h 590550"/>
                  <a:gd name="connsiteX60" fmla="*/ 329946 w 359159"/>
                  <a:gd name="connsiteY60" fmla="*/ 309734 h 590550"/>
                  <a:gd name="connsiteX61" fmla="*/ 321059 w 359159"/>
                  <a:gd name="connsiteY61" fmla="*/ 288293 h 590550"/>
                  <a:gd name="connsiteX62" fmla="*/ 326155 w 359159"/>
                  <a:gd name="connsiteY62" fmla="*/ 271472 h 590550"/>
                  <a:gd name="connsiteX63" fmla="*/ 341557 w 359159"/>
                  <a:gd name="connsiteY63" fmla="*/ 248355 h 590550"/>
                  <a:gd name="connsiteX64" fmla="*/ 340109 w 359159"/>
                  <a:gd name="connsiteY64" fmla="*/ 152400 h 590550"/>
                  <a:gd name="connsiteX65" fmla="*/ 340109 w 359159"/>
                  <a:gd name="connsiteY65" fmla="*/ 176765 h 590550"/>
                  <a:gd name="connsiteX66" fmla="*/ 303648 w 359159"/>
                  <a:gd name="connsiteY66" fmla="*/ 190500 h 590550"/>
                  <a:gd name="connsiteX67" fmla="*/ 301209 w 359159"/>
                  <a:gd name="connsiteY67" fmla="*/ 190500 h 590550"/>
                  <a:gd name="connsiteX68" fmla="*/ 302009 w 359159"/>
                  <a:gd name="connsiteY68" fmla="*/ 182185 h 590550"/>
                  <a:gd name="connsiteX69" fmla="*/ 302009 w 359159"/>
                  <a:gd name="connsiteY69" fmla="*/ 152400 h 590550"/>
                  <a:gd name="connsiteX70" fmla="*/ 321059 w 359159"/>
                  <a:gd name="connsiteY70" fmla="*/ 133350 h 590550"/>
                  <a:gd name="connsiteX71" fmla="*/ 340109 w 359159"/>
                  <a:gd name="connsiteY71" fmla="*/ 152400 h 590550"/>
                  <a:gd name="connsiteX72" fmla="*/ 263909 w 359159"/>
                  <a:gd name="connsiteY72" fmla="*/ 47625 h 590550"/>
                  <a:gd name="connsiteX73" fmla="*/ 261318 w 359159"/>
                  <a:gd name="connsiteY73" fmla="*/ 58903 h 590550"/>
                  <a:gd name="connsiteX74" fmla="*/ 235401 w 359159"/>
                  <a:gd name="connsiteY74" fmla="*/ 76410 h 590550"/>
                  <a:gd name="connsiteX75" fmla="*/ 222542 w 359159"/>
                  <a:gd name="connsiteY75" fmla="*/ 64589 h 590550"/>
                  <a:gd name="connsiteX76" fmla="*/ 225809 w 359159"/>
                  <a:gd name="connsiteY76" fmla="*/ 47625 h 590550"/>
                  <a:gd name="connsiteX77" fmla="*/ 219323 w 359159"/>
                  <a:gd name="connsiteY77" fmla="*/ 24070 h 590550"/>
                  <a:gd name="connsiteX78" fmla="*/ 235334 w 359159"/>
                  <a:gd name="connsiteY78" fmla="*/ 19050 h 590550"/>
                  <a:gd name="connsiteX79" fmla="*/ 263909 w 359159"/>
                  <a:gd name="connsiteY79" fmla="*/ 47625 h 590550"/>
                  <a:gd name="connsiteX80" fmla="*/ 178184 w 359159"/>
                  <a:gd name="connsiteY80" fmla="*/ 19050 h 590550"/>
                  <a:gd name="connsiteX81" fmla="*/ 206759 w 359159"/>
                  <a:gd name="connsiteY81" fmla="*/ 47625 h 590550"/>
                  <a:gd name="connsiteX82" fmla="*/ 178184 w 359159"/>
                  <a:gd name="connsiteY82" fmla="*/ 76200 h 590550"/>
                  <a:gd name="connsiteX83" fmla="*/ 149609 w 359159"/>
                  <a:gd name="connsiteY83" fmla="*/ 47625 h 590550"/>
                  <a:gd name="connsiteX84" fmla="*/ 178184 w 359159"/>
                  <a:gd name="connsiteY84" fmla="*/ 19050 h 590550"/>
                  <a:gd name="connsiteX85" fmla="*/ 197234 w 359159"/>
                  <a:gd name="connsiteY85" fmla="*/ 133350 h 590550"/>
                  <a:gd name="connsiteX86" fmla="*/ 168659 w 359159"/>
                  <a:gd name="connsiteY86" fmla="*/ 104775 h 590550"/>
                  <a:gd name="connsiteX87" fmla="*/ 170650 w 359159"/>
                  <a:gd name="connsiteY87" fmla="*/ 94488 h 590550"/>
                  <a:gd name="connsiteX88" fmla="*/ 178184 w 359159"/>
                  <a:gd name="connsiteY88" fmla="*/ 95250 h 590550"/>
                  <a:gd name="connsiteX89" fmla="*/ 212379 w 359159"/>
                  <a:gd name="connsiteY89" fmla="*/ 80639 h 590550"/>
                  <a:gd name="connsiteX90" fmla="*/ 225809 w 359159"/>
                  <a:gd name="connsiteY90" fmla="*/ 104775 h 590550"/>
                  <a:gd name="connsiteX91" fmla="*/ 197234 w 359159"/>
                  <a:gd name="connsiteY91" fmla="*/ 133350 h 590550"/>
                  <a:gd name="connsiteX92" fmla="*/ 244859 w 359159"/>
                  <a:gd name="connsiteY92" fmla="*/ 104775 h 590550"/>
                  <a:gd name="connsiteX93" fmla="*/ 273434 w 359159"/>
                  <a:gd name="connsiteY93" fmla="*/ 76200 h 590550"/>
                  <a:gd name="connsiteX94" fmla="*/ 302009 w 359159"/>
                  <a:gd name="connsiteY94" fmla="*/ 104775 h 590550"/>
                  <a:gd name="connsiteX95" fmla="*/ 273434 w 359159"/>
                  <a:gd name="connsiteY95" fmla="*/ 133350 h 590550"/>
                  <a:gd name="connsiteX96" fmla="*/ 244859 w 359159"/>
                  <a:gd name="connsiteY96" fmla="*/ 104775 h 590550"/>
                  <a:gd name="connsiteX97" fmla="*/ 245688 w 359159"/>
                  <a:gd name="connsiteY97" fmla="*/ 290551 h 590550"/>
                  <a:gd name="connsiteX98" fmla="*/ 298247 w 359159"/>
                  <a:gd name="connsiteY98" fmla="*/ 276225 h 590550"/>
                  <a:gd name="connsiteX99" fmla="*/ 303609 w 359159"/>
                  <a:gd name="connsiteY99" fmla="*/ 276225 h 590550"/>
                  <a:gd name="connsiteX100" fmla="*/ 302009 w 359159"/>
                  <a:gd name="connsiteY100" fmla="*/ 288293 h 590550"/>
                  <a:gd name="connsiteX101" fmla="*/ 316640 w 359159"/>
                  <a:gd name="connsiteY101" fmla="*/ 323383 h 590550"/>
                  <a:gd name="connsiteX102" fmla="*/ 317583 w 359159"/>
                  <a:gd name="connsiteY102" fmla="*/ 324422 h 590550"/>
                  <a:gd name="connsiteX103" fmla="*/ 275434 w 359159"/>
                  <a:gd name="connsiteY103" fmla="*/ 335356 h 590550"/>
                  <a:gd name="connsiteX104" fmla="*/ 267024 w 359159"/>
                  <a:gd name="connsiteY104" fmla="*/ 328355 h 590550"/>
                  <a:gd name="connsiteX105" fmla="*/ 245688 w 359159"/>
                  <a:gd name="connsiteY105" fmla="*/ 290551 h 590550"/>
                  <a:gd name="connsiteX106" fmla="*/ 130559 w 359159"/>
                  <a:gd name="connsiteY106" fmla="*/ 502510 h 590550"/>
                  <a:gd name="connsiteX107" fmla="*/ 148904 w 359159"/>
                  <a:gd name="connsiteY107" fmla="*/ 474288 h 590550"/>
                  <a:gd name="connsiteX108" fmla="*/ 149609 w 359159"/>
                  <a:gd name="connsiteY108" fmla="*/ 473974 h 590550"/>
                  <a:gd name="connsiteX109" fmla="*/ 149609 w 359159"/>
                  <a:gd name="connsiteY109" fmla="*/ 476869 h 590550"/>
                  <a:gd name="connsiteX110" fmla="*/ 171726 w 359159"/>
                  <a:gd name="connsiteY110" fmla="*/ 531705 h 590550"/>
                  <a:gd name="connsiteX111" fmla="*/ 161449 w 359159"/>
                  <a:gd name="connsiteY111" fmla="*/ 533400 h 590550"/>
                  <a:gd name="connsiteX112" fmla="*/ 130559 w 359159"/>
                  <a:gd name="connsiteY112" fmla="*/ 502510 h 590550"/>
                  <a:gd name="connsiteX113" fmla="*/ 196520 w 359159"/>
                  <a:gd name="connsiteY113" fmla="*/ 504006 h 590550"/>
                  <a:gd name="connsiteX114" fmla="*/ 190938 w 359159"/>
                  <a:gd name="connsiteY114" fmla="*/ 515179 h 590550"/>
                  <a:gd name="connsiteX115" fmla="*/ 187433 w 359159"/>
                  <a:gd name="connsiteY115" fmla="*/ 520617 h 590550"/>
                  <a:gd name="connsiteX116" fmla="*/ 168659 w 359159"/>
                  <a:gd name="connsiteY116" fmla="*/ 476869 h 590550"/>
                  <a:gd name="connsiteX117" fmla="*/ 168659 w 359159"/>
                  <a:gd name="connsiteY117" fmla="*/ 465506 h 590550"/>
                  <a:gd name="connsiteX118" fmla="*/ 199168 w 359159"/>
                  <a:gd name="connsiteY118" fmla="*/ 451952 h 590550"/>
                  <a:gd name="connsiteX119" fmla="*/ 219989 w 359159"/>
                  <a:gd name="connsiteY119" fmla="*/ 477879 h 590550"/>
                  <a:gd name="connsiteX120" fmla="*/ 196520 w 359159"/>
                  <a:gd name="connsiteY120" fmla="*/ 504006 h 590550"/>
                  <a:gd name="connsiteX121" fmla="*/ 281988 w 359159"/>
                  <a:gd name="connsiteY121" fmla="*/ 457095 h 590550"/>
                  <a:gd name="connsiteX122" fmla="*/ 239106 w 359159"/>
                  <a:gd name="connsiteY122" fmla="*/ 469344 h 590550"/>
                  <a:gd name="connsiteX123" fmla="*/ 216694 w 359159"/>
                  <a:gd name="connsiteY123" fmla="*/ 444151 h 590550"/>
                  <a:gd name="connsiteX124" fmla="*/ 276111 w 359159"/>
                  <a:gd name="connsiteY124" fmla="*/ 417747 h 590550"/>
                  <a:gd name="connsiteX125" fmla="*/ 277263 w 359159"/>
                  <a:gd name="connsiteY125" fmla="*/ 417128 h 590550"/>
                  <a:gd name="connsiteX126" fmla="*/ 317478 w 359159"/>
                  <a:gd name="connsiteY126" fmla="*/ 435645 h 590550"/>
                  <a:gd name="connsiteX127" fmla="*/ 281988 w 359159"/>
                  <a:gd name="connsiteY127" fmla="*/ 457095 h 590550"/>
                  <a:gd name="connsiteX128" fmla="*/ 330165 w 359159"/>
                  <a:gd name="connsiteY128" fmla="*/ 418471 h 590550"/>
                  <a:gd name="connsiteX129" fmla="*/ 292675 w 359159"/>
                  <a:gd name="connsiteY129" fmla="*/ 404679 h 590550"/>
                  <a:gd name="connsiteX130" fmla="*/ 302000 w 359159"/>
                  <a:gd name="connsiteY130" fmla="*/ 377904 h 590550"/>
                  <a:gd name="connsiteX131" fmla="*/ 291046 w 359159"/>
                  <a:gd name="connsiteY131" fmla="*/ 349320 h 590550"/>
                  <a:gd name="connsiteX132" fmla="*/ 326822 w 359159"/>
                  <a:gd name="connsiteY132" fmla="*/ 342890 h 590550"/>
                  <a:gd name="connsiteX133" fmla="*/ 330994 w 359159"/>
                  <a:gd name="connsiteY133" fmla="*/ 342890 h 590550"/>
                  <a:gd name="connsiteX134" fmla="*/ 340109 w 359159"/>
                  <a:gd name="connsiteY134" fmla="*/ 380038 h 590550"/>
                  <a:gd name="connsiteX135" fmla="*/ 330165 w 359159"/>
                  <a:gd name="connsiteY135" fmla="*/ 418471 h 590550"/>
                  <a:gd name="connsiteX136" fmla="*/ 312791 w 359159"/>
                  <a:gd name="connsiteY136" fmla="*/ 257175 h 590550"/>
                  <a:gd name="connsiteX137" fmla="*/ 298247 w 359159"/>
                  <a:gd name="connsiteY137" fmla="*/ 257175 h 590550"/>
                  <a:gd name="connsiteX138" fmla="*/ 246126 w 359159"/>
                  <a:gd name="connsiteY138" fmla="*/ 268767 h 590550"/>
                  <a:gd name="connsiteX139" fmla="*/ 267033 w 359159"/>
                  <a:gd name="connsiteY139" fmla="*/ 233639 h 590550"/>
                  <a:gd name="connsiteX140" fmla="*/ 284855 w 359159"/>
                  <a:gd name="connsiteY140" fmla="*/ 218770 h 590550"/>
                  <a:gd name="connsiteX141" fmla="*/ 293275 w 359159"/>
                  <a:gd name="connsiteY141" fmla="*/ 209550 h 590550"/>
                  <a:gd name="connsiteX142" fmla="*/ 303638 w 359159"/>
                  <a:gd name="connsiteY142" fmla="*/ 209550 h 590550"/>
                  <a:gd name="connsiteX143" fmla="*/ 339357 w 359159"/>
                  <a:gd name="connsiteY143" fmla="*/ 200358 h 590550"/>
                  <a:gd name="connsiteX144" fmla="*/ 325698 w 359159"/>
                  <a:gd name="connsiteY144" fmla="*/ 237792 h 590550"/>
                  <a:gd name="connsiteX145" fmla="*/ 312791 w 359159"/>
                  <a:gd name="connsiteY145" fmla="*/ 25717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59159" h="590550">
                    <a:moveTo>
                      <a:pt x="341557" y="248355"/>
                    </a:moveTo>
                    <a:cubicBezTo>
                      <a:pt x="353073" y="231105"/>
                      <a:pt x="359159" y="210998"/>
                      <a:pt x="359159" y="190243"/>
                    </a:cubicBezTo>
                    <a:lnTo>
                      <a:pt x="359159" y="152400"/>
                    </a:lnTo>
                    <a:cubicBezTo>
                      <a:pt x="359159" y="131388"/>
                      <a:pt x="342071" y="114300"/>
                      <a:pt x="321059" y="114300"/>
                    </a:cubicBezTo>
                    <a:cubicBezTo>
                      <a:pt x="320726" y="114300"/>
                      <a:pt x="320411" y="114395"/>
                      <a:pt x="320078" y="114395"/>
                    </a:cubicBezTo>
                    <a:cubicBezTo>
                      <a:pt x="320716" y="111290"/>
                      <a:pt x="321059" y="108071"/>
                      <a:pt x="321059" y="104775"/>
                    </a:cubicBezTo>
                    <a:cubicBezTo>
                      <a:pt x="321059" y="81353"/>
                      <a:pt x="304029" y="61932"/>
                      <a:pt x="281721" y="57988"/>
                    </a:cubicBezTo>
                    <a:cubicBezTo>
                      <a:pt x="282473" y="54597"/>
                      <a:pt x="282959" y="51130"/>
                      <a:pt x="282959" y="47625"/>
                    </a:cubicBezTo>
                    <a:cubicBezTo>
                      <a:pt x="282959" y="21365"/>
                      <a:pt x="261595" y="0"/>
                      <a:pt x="235334" y="0"/>
                    </a:cubicBezTo>
                    <a:cubicBezTo>
                      <a:pt x="224885" y="0"/>
                      <a:pt x="214827" y="3458"/>
                      <a:pt x="206626" y="9658"/>
                    </a:cubicBezTo>
                    <a:cubicBezTo>
                      <a:pt x="198663" y="3677"/>
                      <a:pt x="188890" y="0"/>
                      <a:pt x="178184" y="0"/>
                    </a:cubicBezTo>
                    <a:cubicBezTo>
                      <a:pt x="151924" y="0"/>
                      <a:pt x="130559" y="21365"/>
                      <a:pt x="130559" y="47625"/>
                    </a:cubicBezTo>
                    <a:cubicBezTo>
                      <a:pt x="130559" y="64560"/>
                      <a:pt x="139513" y="79353"/>
                      <a:pt x="152857" y="87801"/>
                    </a:cubicBezTo>
                    <a:cubicBezTo>
                      <a:pt x="150800" y="93193"/>
                      <a:pt x="149609" y="98898"/>
                      <a:pt x="149609" y="104775"/>
                    </a:cubicBezTo>
                    <a:cubicBezTo>
                      <a:pt x="149609" y="131035"/>
                      <a:pt x="170974" y="152400"/>
                      <a:pt x="197234" y="152400"/>
                    </a:cubicBezTo>
                    <a:cubicBezTo>
                      <a:pt x="212865" y="152400"/>
                      <a:pt x="226647" y="144723"/>
                      <a:pt x="235334" y="133055"/>
                    </a:cubicBezTo>
                    <a:cubicBezTo>
                      <a:pt x="244021" y="144723"/>
                      <a:pt x="257804" y="152400"/>
                      <a:pt x="273434" y="152400"/>
                    </a:cubicBezTo>
                    <a:cubicBezTo>
                      <a:pt x="276730" y="152400"/>
                      <a:pt x="279949" y="152057"/>
                      <a:pt x="283054" y="151419"/>
                    </a:cubicBezTo>
                    <a:cubicBezTo>
                      <a:pt x="283054" y="151752"/>
                      <a:pt x="282959" y="152067"/>
                      <a:pt x="282959" y="152400"/>
                    </a:cubicBezTo>
                    <a:lnTo>
                      <a:pt x="282959" y="182185"/>
                    </a:lnTo>
                    <a:cubicBezTo>
                      <a:pt x="282959" y="190691"/>
                      <a:pt x="279206" y="198682"/>
                      <a:pt x="272672" y="204130"/>
                    </a:cubicBezTo>
                    <a:lnTo>
                      <a:pt x="254851" y="218999"/>
                    </a:lnTo>
                    <a:cubicBezTo>
                      <a:pt x="236391" y="234363"/>
                      <a:pt x="225809" y="256965"/>
                      <a:pt x="225809" y="280988"/>
                    </a:cubicBezTo>
                    <a:cubicBezTo>
                      <a:pt x="225809" y="305010"/>
                      <a:pt x="236391" y="327612"/>
                      <a:pt x="254841" y="342986"/>
                    </a:cubicBezTo>
                    <a:lnTo>
                      <a:pt x="274120" y="359064"/>
                    </a:lnTo>
                    <a:cubicBezTo>
                      <a:pt x="279740" y="363741"/>
                      <a:pt x="282959" y="370608"/>
                      <a:pt x="282959" y="377914"/>
                    </a:cubicBezTo>
                    <a:cubicBezTo>
                      <a:pt x="282959" y="387610"/>
                      <a:pt x="277235" y="396402"/>
                      <a:pt x="268386" y="400336"/>
                    </a:cubicBezTo>
                    <a:lnTo>
                      <a:pt x="141170" y="456876"/>
                    </a:lnTo>
                    <a:cubicBezTo>
                      <a:pt x="123149" y="464896"/>
                      <a:pt x="111509" y="482803"/>
                      <a:pt x="111509" y="502510"/>
                    </a:cubicBezTo>
                    <a:cubicBezTo>
                      <a:pt x="111509" y="504501"/>
                      <a:pt x="111871" y="506397"/>
                      <a:pt x="112100" y="508330"/>
                    </a:cubicBezTo>
                    <a:lnTo>
                      <a:pt x="90202" y="512712"/>
                    </a:lnTo>
                    <a:cubicBezTo>
                      <a:pt x="81505" y="514455"/>
                      <a:pt x="74228" y="520008"/>
                      <a:pt x="70247" y="527952"/>
                    </a:cubicBezTo>
                    <a:lnTo>
                      <a:pt x="60627" y="547192"/>
                    </a:lnTo>
                    <a:cubicBezTo>
                      <a:pt x="59007" y="550431"/>
                      <a:pt x="55750" y="552450"/>
                      <a:pt x="52111" y="552450"/>
                    </a:cubicBezTo>
                    <a:lnTo>
                      <a:pt x="33671" y="552450"/>
                    </a:lnTo>
                    <a:cubicBezTo>
                      <a:pt x="26041" y="552450"/>
                      <a:pt x="18860" y="555431"/>
                      <a:pt x="13468" y="560823"/>
                    </a:cubicBezTo>
                    <a:lnTo>
                      <a:pt x="0" y="574291"/>
                    </a:lnTo>
                    <a:lnTo>
                      <a:pt x="13468" y="587759"/>
                    </a:lnTo>
                    <a:lnTo>
                      <a:pt x="26937" y="574291"/>
                    </a:lnTo>
                    <a:cubicBezTo>
                      <a:pt x="28718" y="572510"/>
                      <a:pt x="31166" y="571500"/>
                      <a:pt x="33671" y="571500"/>
                    </a:cubicBezTo>
                    <a:lnTo>
                      <a:pt x="52111" y="571500"/>
                    </a:lnTo>
                    <a:cubicBezTo>
                      <a:pt x="63008" y="571500"/>
                      <a:pt x="72800" y="565442"/>
                      <a:pt x="77676" y="555708"/>
                    </a:cubicBezTo>
                    <a:lnTo>
                      <a:pt x="87297" y="536477"/>
                    </a:lnTo>
                    <a:cubicBezTo>
                      <a:pt x="88621" y="533829"/>
                      <a:pt x="91049" y="531962"/>
                      <a:pt x="93945" y="531390"/>
                    </a:cubicBezTo>
                    <a:lnTo>
                      <a:pt x="117977" y="526580"/>
                    </a:lnTo>
                    <a:cubicBezTo>
                      <a:pt x="121168" y="532324"/>
                      <a:pt x="125416" y="537324"/>
                      <a:pt x="130521" y="541401"/>
                    </a:cubicBezTo>
                    <a:cubicBezTo>
                      <a:pt x="125006" y="545906"/>
                      <a:pt x="120720" y="551869"/>
                      <a:pt x="118462" y="558651"/>
                    </a:cubicBezTo>
                    <a:cubicBezTo>
                      <a:pt x="115891" y="566337"/>
                      <a:pt x="108728" y="571500"/>
                      <a:pt x="100622" y="571500"/>
                    </a:cubicBezTo>
                    <a:lnTo>
                      <a:pt x="92459" y="571500"/>
                    </a:lnTo>
                    <a:lnTo>
                      <a:pt x="92459" y="590550"/>
                    </a:lnTo>
                    <a:lnTo>
                      <a:pt x="100622" y="590550"/>
                    </a:lnTo>
                    <a:cubicBezTo>
                      <a:pt x="116929" y="590550"/>
                      <a:pt x="131359" y="580158"/>
                      <a:pt x="136522" y="564680"/>
                    </a:cubicBezTo>
                    <a:cubicBezTo>
                      <a:pt x="137846" y="560737"/>
                      <a:pt x="140465" y="557298"/>
                      <a:pt x="143923" y="554984"/>
                    </a:cubicBezTo>
                    <a:lnTo>
                      <a:pt x="149933" y="550974"/>
                    </a:lnTo>
                    <a:cubicBezTo>
                      <a:pt x="153648" y="551859"/>
                      <a:pt x="157477" y="552450"/>
                      <a:pt x="161449" y="552450"/>
                    </a:cubicBezTo>
                    <a:cubicBezTo>
                      <a:pt x="181270" y="552450"/>
                      <a:pt x="199101" y="541439"/>
                      <a:pt x="207978" y="523685"/>
                    </a:cubicBezTo>
                    <a:lnTo>
                      <a:pt x="213560" y="512512"/>
                    </a:lnTo>
                    <a:cubicBezTo>
                      <a:pt x="219513" y="500615"/>
                      <a:pt x="230267" y="491681"/>
                      <a:pt x="243078" y="488023"/>
                    </a:cubicBezTo>
                    <a:lnTo>
                      <a:pt x="287226" y="475421"/>
                    </a:lnTo>
                    <a:cubicBezTo>
                      <a:pt x="329584" y="463315"/>
                      <a:pt x="359159" y="424082"/>
                      <a:pt x="359159" y="380038"/>
                    </a:cubicBezTo>
                    <a:cubicBezTo>
                      <a:pt x="359159" y="353549"/>
                      <a:pt x="348844" y="328641"/>
                      <a:pt x="329946" y="309734"/>
                    </a:cubicBezTo>
                    <a:cubicBezTo>
                      <a:pt x="324212" y="304009"/>
                      <a:pt x="321059" y="296389"/>
                      <a:pt x="321059" y="288293"/>
                    </a:cubicBezTo>
                    <a:cubicBezTo>
                      <a:pt x="321059" y="282273"/>
                      <a:pt x="322821" y="276473"/>
                      <a:pt x="326155" y="271472"/>
                    </a:cubicBezTo>
                    <a:lnTo>
                      <a:pt x="341557" y="248355"/>
                    </a:lnTo>
                    <a:close/>
                    <a:moveTo>
                      <a:pt x="340109" y="152400"/>
                    </a:moveTo>
                    <a:lnTo>
                      <a:pt x="340109" y="176765"/>
                    </a:lnTo>
                    <a:cubicBezTo>
                      <a:pt x="330060" y="185509"/>
                      <a:pt x="317002" y="190500"/>
                      <a:pt x="303648" y="190500"/>
                    </a:cubicBezTo>
                    <a:lnTo>
                      <a:pt x="301209" y="190500"/>
                    </a:lnTo>
                    <a:cubicBezTo>
                      <a:pt x="301695" y="187776"/>
                      <a:pt x="302009" y="185004"/>
                      <a:pt x="302009" y="182185"/>
                    </a:cubicBezTo>
                    <a:lnTo>
                      <a:pt x="302009" y="152400"/>
                    </a:lnTo>
                    <a:cubicBezTo>
                      <a:pt x="302009" y="141894"/>
                      <a:pt x="310553" y="133350"/>
                      <a:pt x="321059" y="133350"/>
                    </a:cubicBezTo>
                    <a:cubicBezTo>
                      <a:pt x="331565" y="133350"/>
                      <a:pt x="340109" y="141894"/>
                      <a:pt x="340109" y="152400"/>
                    </a:cubicBezTo>
                    <a:close/>
                    <a:moveTo>
                      <a:pt x="263909" y="47625"/>
                    </a:moveTo>
                    <a:cubicBezTo>
                      <a:pt x="263909" y="51559"/>
                      <a:pt x="262861" y="55340"/>
                      <a:pt x="261318" y="58903"/>
                    </a:cubicBezTo>
                    <a:cubicBezTo>
                      <a:pt x="250803" y="61693"/>
                      <a:pt x="241745" y="67932"/>
                      <a:pt x="235401" y="76410"/>
                    </a:cubicBezTo>
                    <a:cubicBezTo>
                      <a:pt x="231924" y="71733"/>
                      <a:pt x="227562" y="67751"/>
                      <a:pt x="222542" y="64589"/>
                    </a:cubicBezTo>
                    <a:cubicBezTo>
                      <a:pt x="224571" y="59303"/>
                      <a:pt x="225809" y="53616"/>
                      <a:pt x="225809" y="47625"/>
                    </a:cubicBezTo>
                    <a:cubicBezTo>
                      <a:pt x="225809" y="39014"/>
                      <a:pt x="223333" y="31042"/>
                      <a:pt x="219323" y="24070"/>
                    </a:cubicBezTo>
                    <a:cubicBezTo>
                      <a:pt x="224018" y="20879"/>
                      <a:pt x="229553" y="19050"/>
                      <a:pt x="235334" y="19050"/>
                    </a:cubicBezTo>
                    <a:cubicBezTo>
                      <a:pt x="251089" y="19050"/>
                      <a:pt x="263909" y="31871"/>
                      <a:pt x="263909" y="47625"/>
                    </a:cubicBezTo>
                    <a:close/>
                    <a:moveTo>
                      <a:pt x="178184" y="19050"/>
                    </a:moveTo>
                    <a:cubicBezTo>
                      <a:pt x="193939" y="19050"/>
                      <a:pt x="206759" y="31871"/>
                      <a:pt x="206759" y="47625"/>
                    </a:cubicBezTo>
                    <a:cubicBezTo>
                      <a:pt x="206759" y="63379"/>
                      <a:pt x="193939" y="76200"/>
                      <a:pt x="178184" y="76200"/>
                    </a:cubicBezTo>
                    <a:cubicBezTo>
                      <a:pt x="162430" y="76200"/>
                      <a:pt x="149609" y="63379"/>
                      <a:pt x="149609" y="47625"/>
                    </a:cubicBezTo>
                    <a:cubicBezTo>
                      <a:pt x="149609" y="31871"/>
                      <a:pt x="162430" y="19050"/>
                      <a:pt x="178184" y="19050"/>
                    </a:cubicBezTo>
                    <a:close/>
                    <a:moveTo>
                      <a:pt x="197234" y="133350"/>
                    </a:moveTo>
                    <a:cubicBezTo>
                      <a:pt x="181480" y="133350"/>
                      <a:pt x="168659" y="120529"/>
                      <a:pt x="168659" y="104775"/>
                    </a:cubicBezTo>
                    <a:cubicBezTo>
                      <a:pt x="168659" y="101213"/>
                      <a:pt x="169383" y="97746"/>
                      <a:pt x="170650" y="94488"/>
                    </a:cubicBezTo>
                    <a:cubicBezTo>
                      <a:pt x="173117" y="94888"/>
                      <a:pt x="175603" y="95250"/>
                      <a:pt x="178184" y="95250"/>
                    </a:cubicBezTo>
                    <a:cubicBezTo>
                      <a:pt x="191614" y="95250"/>
                      <a:pt x="203711" y="89611"/>
                      <a:pt x="212379" y="80639"/>
                    </a:cubicBezTo>
                    <a:cubicBezTo>
                      <a:pt x="220570" y="85792"/>
                      <a:pt x="225809" y="94812"/>
                      <a:pt x="225809" y="104775"/>
                    </a:cubicBezTo>
                    <a:cubicBezTo>
                      <a:pt x="225809" y="120529"/>
                      <a:pt x="212989" y="133350"/>
                      <a:pt x="197234" y="133350"/>
                    </a:cubicBezTo>
                    <a:close/>
                    <a:moveTo>
                      <a:pt x="244859" y="104775"/>
                    </a:moveTo>
                    <a:cubicBezTo>
                      <a:pt x="244859" y="89021"/>
                      <a:pt x="257680" y="76200"/>
                      <a:pt x="273434" y="76200"/>
                    </a:cubicBezTo>
                    <a:cubicBezTo>
                      <a:pt x="289189" y="76200"/>
                      <a:pt x="302009" y="89021"/>
                      <a:pt x="302009" y="104775"/>
                    </a:cubicBezTo>
                    <a:cubicBezTo>
                      <a:pt x="302009" y="120529"/>
                      <a:pt x="289189" y="133350"/>
                      <a:pt x="273434" y="133350"/>
                    </a:cubicBezTo>
                    <a:cubicBezTo>
                      <a:pt x="257680" y="133350"/>
                      <a:pt x="244859" y="120529"/>
                      <a:pt x="244859" y="104775"/>
                    </a:cubicBezTo>
                    <a:close/>
                    <a:moveTo>
                      <a:pt x="245688" y="290551"/>
                    </a:moveTo>
                    <a:cubicBezTo>
                      <a:pt x="261642" y="281188"/>
                      <a:pt x="279683" y="276225"/>
                      <a:pt x="298247" y="276225"/>
                    </a:cubicBezTo>
                    <a:lnTo>
                      <a:pt x="303609" y="276225"/>
                    </a:lnTo>
                    <a:cubicBezTo>
                      <a:pt x="302628" y="280149"/>
                      <a:pt x="302009" y="284178"/>
                      <a:pt x="302009" y="288293"/>
                    </a:cubicBezTo>
                    <a:cubicBezTo>
                      <a:pt x="302009" y="301485"/>
                      <a:pt x="307143" y="313887"/>
                      <a:pt x="316640" y="323383"/>
                    </a:cubicBezTo>
                    <a:cubicBezTo>
                      <a:pt x="316973" y="323717"/>
                      <a:pt x="317259" y="324088"/>
                      <a:pt x="317583" y="324422"/>
                    </a:cubicBezTo>
                    <a:cubicBezTo>
                      <a:pt x="303000" y="325536"/>
                      <a:pt x="288722" y="329241"/>
                      <a:pt x="275434" y="335356"/>
                    </a:cubicBezTo>
                    <a:lnTo>
                      <a:pt x="267024" y="328355"/>
                    </a:lnTo>
                    <a:cubicBezTo>
                      <a:pt x="255432" y="318678"/>
                      <a:pt x="247983" y="305238"/>
                      <a:pt x="245688" y="290551"/>
                    </a:cubicBezTo>
                    <a:close/>
                    <a:moveTo>
                      <a:pt x="130559" y="502510"/>
                    </a:moveTo>
                    <a:cubicBezTo>
                      <a:pt x="130559" y="490328"/>
                      <a:pt x="137760" y="479250"/>
                      <a:pt x="148904" y="474288"/>
                    </a:cubicBezTo>
                    <a:lnTo>
                      <a:pt x="149609" y="473974"/>
                    </a:lnTo>
                    <a:lnTo>
                      <a:pt x="149609" y="476869"/>
                    </a:lnTo>
                    <a:cubicBezTo>
                      <a:pt x="149609" y="497443"/>
                      <a:pt x="157753" y="517046"/>
                      <a:pt x="171726" y="531705"/>
                    </a:cubicBezTo>
                    <a:cubicBezTo>
                      <a:pt x="168469" y="532781"/>
                      <a:pt x="165021" y="533400"/>
                      <a:pt x="161449" y="533400"/>
                    </a:cubicBezTo>
                    <a:cubicBezTo>
                      <a:pt x="144418" y="533400"/>
                      <a:pt x="130559" y="519541"/>
                      <a:pt x="130559" y="502510"/>
                    </a:cubicBezTo>
                    <a:close/>
                    <a:moveTo>
                      <a:pt x="196520" y="504006"/>
                    </a:moveTo>
                    <a:lnTo>
                      <a:pt x="190938" y="515179"/>
                    </a:lnTo>
                    <a:cubicBezTo>
                      <a:pt x="189957" y="517141"/>
                      <a:pt x="188747" y="518932"/>
                      <a:pt x="187433" y="520617"/>
                    </a:cubicBezTo>
                    <a:cubicBezTo>
                      <a:pt x="175584" y="509292"/>
                      <a:pt x="168659" y="493471"/>
                      <a:pt x="168659" y="476869"/>
                    </a:cubicBezTo>
                    <a:lnTo>
                      <a:pt x="168659" y="465506"/>
                    </a:lnTo>
                    <a:lnTo>
                      <a:pt x="199168" y="451952"/>
                    </a:lnTo>
                    <a:cubicBezTo>
                      <a:pt x="205102" y="461410"/>
                      <a:pt x="211988" y="470145"/>
                      <a:pt x="219989" y="477879"/>
                    </a:cubicBezTo>
                    <a:cubicBezTo>
                      <a:pt x="210064" y="484299"/>
                      <a:pt x="201882" y="493271"/>
                      <a:pt x="196520" y="504006"/>
                    </a:cubicBezTo>
                    <a:close/>
                    <a:moveTo>
                      <a:pt x="281988" y="457095"/>
                    </a:moveTo>
                    <a:lnTo>
                      <a:pt x="239106" y="469344"/>
                    </a:lnTo>
                    <a:cubicBezTo>
                      <a:pt x="230457" y="462001"/>
                      <a:pt x="222923" y="453600"/>
                      <a:pt x="216694" y="444151"/>
                    </a:cubicBezTo>
                    <a:lnTo>
                      <a:pt x="276111" y="417747"/>
                    </a:lnTo>
                    <a:cubicBezTo>
                      <a:pt x="276511" y="417566"/>
                      <a:pt x="276863" y="417319"/>
                      <a:pt x="277263" y="417128"/>
                    </a:cubicBezTo>
                    <a:cubicBezTo>
                      <a:pt x="289198" y="426063"/>
                      <a:pt x="302962" y="432406"/>
                      <a:pt x="317478" y="435645"/>
                    </a:cubicBezTo>
                    <a:cubicBezTo>
                      <a:pt x="307924" y="445570"/>
                      <a:pt x="295827" y="453142"/>
                      <a:pt x="281988" y="457095"/>
                    </a:cubicBezTo>
                    <a:close/>
                    <a:moveTo>
                      <a:pt x="330165" y="418471"/>
                    </a:moveTo>
                    <a:cubicBezTo>
                      <a:pt x="316782" y="416900"/>
                      <a:pt x="303905" y="412128"/>
                      <a:pt x="292675" y="404679"/>
                    </a:cubicBezTo>
                    <a:cubicBezTo>
                      <a:pt x="298542" y="397154"/>
                      <a:pt x="302000" y="387820"/>
                      <a:pt x="302000" y="377904"/>
                    </a:cubicBezTo>
                    <a:cubicBezTo>
                      <a:pt x="302000" y="367236"/>
                      <a:pt x="297961" y="357216"/>
                      <a:pt x="291046" y="349320"/>
                    </a:cubicBezTo>
                    <a:cubicBezTo>
                      <a:pt x="302476" y="345129"/>
                      <a:pt x="314620" y="342890"/>
                      <a:pt x="326822" y="342890"/>
                    </a:cubicBezTo>
                    <a:lnTo>
                      <a:pt x="330994" y="342890"/>
                    </a:lnTo>
                    <a:cubicBezTo>
                      <a:pt x="336937" y="354225"/>
                      <a:pt x="340109" y="366884"/>
                      <a:pt x="340109" y="380038"/>
                    </a:cubicBezTo>
                    <a:cubicBezTo>
                      <a:pt x="340109" y="393783"/>
                      <a:pt x="336509" y="406927"/>
                      <a:pt x="330165" y="418471"/>
                    </a:cubicBezTo>
                    <a:close/>
                    <a:moveTo>
                      <a:pt x="312791" y="257175"/>
                    </a:moveTo>
                    <a:lnTo>
                      <a:pt x="298247" y="257175"/>
                    </a:lnTo>
                    <a:cubicBezTo>
                      <a:pt x="280102" y="257175"/>
                      <a:pt x="262376" y="261147"/>
                      <a:pt x="246126" y="268767"/>
                    </a:cubicBezTo>
                    <a:cubicBezTo>
                      <a:pt x="248879" y="255127"/>
                      <a:pt x="256127" y="242716"/>
                      <a:pt x="267033" y="233639"/>
                    </a:cubicBezTo>
                    <a:lnTo>
                      <a:pt x="284855" y="218770"/>
                    </a:lnTo>
                    <a:cubicBezTo>
                      <a:pt x="288112" y="216056"/>
                      <a:pt x="290894" y="212931"/>
                      <a:pt x="293275" y="209550"/>
                    </a:cubicBezTo>
                    <a:lnTo>
                      <a:pt x="303638" y="209550"/>
                    </a:lnTo>
                    <a:cubicBezTo>
                      <a:pt x="316144" y="209550"/>
                      <a:pt x="328460" y="206292"/>
                      <a:pt x="339357" y="200358"/>
                    </a:cubicBezTo>
                    <a:cubicBezTo>
                      <a:pt x="337776" y="213703"/>
                      <a:pt x="333232" y="226505"/>
                      <a:pt x="325698" y="237792"/>
                    </a:cubicBezTo>
                    <a:lnTo>
                      <a:pt x="312791" y="257175"/>
                    </a:lnTo>
                    <a:close/>
                  </a:path>
                </a:pathLst>
              </a:custGeom>
              <a:grpFill/>
              <a:ln w="9525"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936625E0-1393-7E3D-D891-93E787AEC6E8}"/>
                  </a:ext>
                </a:extLst>
              </p:cNvPr>
              <p:cNvSpPr/>
              <p:nvPr/>
            </p:nvSpPr>
            <p:spPr>
              <a:xfrm>
                <a:off x="11762496" y="745408"/>
                <a:ext cx="209550" cy="209550"/>
              </a:xfrm>
              <a:custGeom>
                <a:avLst/>
                <a:gdLst>
                  <a:gd name="connsiteX0" fmla="*/ 183766 w 209550"/>
                  <a:gd name="connsiteY0" fmla="*/ 145666 h 209550"/>
                  <a:gd name="connsiteX1" fmla="*/ 171450 w 209550"/>
                  <a:gd name="connsiteY1" fmla="*/ 157982 h 209550"/>
                  <a:gd name="connsiteX2" fmla="*/ 158096 w 209550"/>
                  <a:gd name="connsiteY2" fmla="*/ 144628 h 209550"/>
                  <a:gd name="connsiteX3" fmla="*/ 170688 w 209550"/>
                  <a:gd name="connsiteY3" fmla="*/ 114300 h 209550"/>
                  <a:gd name="connsiteX4" fmla="*/ 190500 w 209550"/>
                  <a:gd name="connsiteY4" fmla="*/ 114300 h 209550"/>
                  <a:gd name="connsiteX5" fmla="*/ 190500 w 209550"/>
                  <a:gd name="connsiteY5" fmla="*/ 133350 h 209550"/>
                  <a:gd name="connsiteX6" fmla="*/ 209550 w 209550"/>
                  <a:gd name="connsiteY6" fmla="*/ 133350 h 209550"/>
                  <a:gd name="connsiteX7" fmla="*/ 209550 w 209550"/>
                  <a:gd name="connsiteY7" fmla="*/ 76200 h 209550"/>
                  <a:gd name="connsiteX8" fmla="*/ 190500 w 209550"/>
                  <a:gd name="connsiteY8" fmla="*/ 76200 h 209550"/>
                  <a:gd name="connsiteX9" fmla="*/ 190500 w 209550"/>
                  <a:gd name="connsiteY9" fmla="*/ 95250 h 209550"/>
                  <a:gd name="connsiteX10" fmla="*/ 170688 w 209550"/>
                  <a:gd name="connsiteY10" fmla="*/ 95250 h 209550"/>
                  <a:gd name="connsiteX11" fmla="*/ 158096 w 209550"/>
                  <a:gd name="connsiteY11" fmla="*/ 64922 h 209550"/>
                  <a:gd name="connsiteX12" fmla="*/ 171450 w 209550"/>
                  <a:gd name="connsiteY12" fmla="*/ 51568 h 209550"/>
                  <a:gd name="connsiteX13" fmla="*/ 183766 w 209550"/>
                  <a:gd name="connsiteY13" fmla="*/ 63884 h 209550"/>
                  <a:gd name="connsiteX14" fmla="*/ 197234 w 209550"/>
                  <a:gd name="connsiteY14" fmla="*/ 50416 h 209550"/>
                  <a:gd name="connsiteX15" fmla="*/ 159134 w 209550"/>
                  <a:gd name="connsiteY15" fmla="*/ 12316 h 209550"/>
                  <a:gd name="connsiteX16" fmla="*/ 145666 w 209550"/>
                  <a:gd name="connsiteY16" fmla="*/ 25784 h 209550"/>
                  <a:gd name="connsiteX17" fmla="*/ 157982 w 209550"/>
                  <a:gd name="connsiteY17" fmla="*/ 38100 h 209550"/>
                  <a:gd name="connsiteX18" fmla="*/ 144628 w 209550"/>
                  <a:gd name="connsiteY18" fmla="*/ 51454 h 209550"/>
                  <a:gd name="connsiteX19" fmla="*/ 114300 w 209550"/>
                  <a:gd name="connsiteY19" fmla="*/ 38862 h 209550"/>
                  <a:gd name="connsiteX20" fmla="*/ 114300 w 209550"/>
                  <a:gd name="connsiteY20" fmla="*/ 19050 h 209550"/>
                  <a:gd name="connsiteX21" fmla="*/ 133350 w 209550"/>
                  <a:gd name="connsiteY21" fmla="*/ 19050 h 209550"/>
                  <a:gd name="connsiteX22" fmla="*/ 133350 w 209550"/>
                  <a:gd name="connsiteY22" fmla="*/ 0 h 209550"/>
                  <a:gd name="connsiteX23" fmla="*/ 76200 w 209550"/>
                  <a:gd name="connsiteY23" fmla="*/ 0 h 209550"/>
                  <a:gd name="connsiteX24" fmla="*/ 76200 w 209550"/>
                  <a:gd name="connsiteY24" fmla="*/ 19050 h 209550"/>
                  <a:gd name="connsiteX25" fmla="*/ 95250 w 209550"/>
                  <a:gd name="connsiteY25" fmla="*/ 19050 h 209550"/>
                  <a:gd name="connsiteX26" fmla="*/ 95250 w 209550"/>
                  <a:gd name="connsiteY26" fmla="*/ 38862 h 209550"/>
                  <a:gd name="connsiteX27" fmla="*/ 64922 w 209550"/>
                  <a:gd name="connsiteY27" fmla="*/ 51454 h 209550"/>
                  <a:gd name="connsiteX28" fmla="*/ 51568 w 209550"/>
                  <a:gd name="connsiteY28" fmla="*/ 38100 h 209550"/>
                  <a:gd name="connsiteX29" fmla="*/ 63884 w 209550"/>
                  <a:gd name="connsiteY29" fmla="*/ 25784 h 209550"/>
                  <a:gd name="connsiteX30" fmla="*/ 50416 w 209550"/>
                  <a:gd name="connsiteY30" fmla="*/ 12316 h 209550"/>
                  <a:gd name="connsiteX31" fmla="*/ 12316 w 209550"/>
                  <a:gd name="connsiteY31" fmla="*/ 50416 h 209550"/>
                  <a:gd name="connsiteX32" fmla="*/ 25784 w 209550"/>
                  <a:gd name="connsiteY32" fmla="*/ 63884 h 209550"/>
                  <a:gd name="connsiteX33" fmla="*/ 38100 w 209550"/>
                  <a:gd name="connsiteY33" fmla="*/ 51568 h 209550"/>
                  <a:gd name="connsiteX34" fmla="*/ 51454 w 209550"/>
                  <a:gd name="connsiteY34" fmla="*/ 64922 h 209550"/>
                  <a:gd name="connsiteX35" fmla="*/ 38862 w 209550"/>
                  <a:gd name="connsiteY35" fmla="*/ 95250 h 209550"/>
                  <a:gd name="connsiteX36" fmla="*/ 19050 w 209550"/>
                  <a:gd name="connsiteY36" fmla="*/ 95250 h 209550"/>
                  <a:gd name="connsiteX37" fmla="*/ 19050 w 209550"/>
                  <a:gd name="connsiteY37" fmla="*/ 76200 h 209550"/>
                  <a:gd name="connsiteX38" fmla="*/ 0 w 209550"/>
                  <a:gd name="connsiteY38" fmla="*/ 76200 h 209550"/>
                  <a:gd name="connsiteX39" fmla="*/ 0 w 209550"/>
                  <a:gd name="connsiteY39" fmla="*/ 133350 h 209550"/>
                  <a:gd name="connsiteX40" fmla="*/ 19050 w 209550"/>
                  <a:gd name="connsiteY40" fmla="*/ 133350 h 209550"/>
                  <a:gd name="connsiteX41" fmla="*/ 19050 w 209550"/>
                  <a:gd name="connsiteY41" fmla="*/ 114300 h 209550"/>
                  <a:gd name="connsiteX42" fmla="*/ 38862 w 209550"/>
                  <a:gd name="connsiteY42" fmla="*/ 114300 h 209550"/>
                  <a:gd name="connsiteX43" fmla="*/ 51454 w 209550"/>
                  <a:gd name="connsiteY43" fmla="*/ 144628 h 209550"/>
                  <a:gd name="connsiteX44" fmla="*/ 38100 w 209550"/>
                  <a:gd name="connsiteY44" fmla="*/ 157982 h 209550"/>
                  <a:gd name="connsiteX45" fmla="*/ 25784 w 209550"/>
                  <a:gd name="connsiteY45" fmla="*/ 145666 h 209550"/>
                  <a:gd name="connsiteX46" fmla="*/ 12316 w 209550"/>
                  <a:gd name="connsiteY46" fmla="*/ 159134 h 209550"/>
                  <a:gd name="connsiteX47" fmla="*/ 50416 w 209550"/>
                  <a:gd name="connsiteY47" fmla="*/ 197234 h 209550"/>
                  <a:gd name="connsiteX48" fmla="*/ 63884 w 209550"/>
                  <a:gd name="connsiteY48" fmla="*/ 183766 h 209550"/>
                  <a:gd name="connsiteX49" fmla="*/ 51568 w 209550"/>
                  <a:gd name="connsiteY49" fmla="*/ 171450 h 209550"/>
                  <a:gd name="connsiteX50" fmla="*/ 64922 w 209550"/>
                  <a:gd name="connsiteY50" fmla="*/ 158096 h 209550"/>
                  <a:gd name="connsiteX51" fmla="*/ 95250 w 209550"/>
                  <a:gd name="connsiteY51" fmla="*/ 170688 h 209550"/>
                  <a:gd name="connsiteX52" fmla="*/ 95250 w 209550"/>
                  <a:gd name="connsiteY52" fmla="*/ 190500 h 209550"/>
                  <a:gd name="connsiteX53" fmla="*/ 76200 w 209550"/>
                  <a:gd name="connsiteY53" fmla="*/ 190500 h 209550"/>
                  <a:gd name="connsiteX54" fmla="*/ 76200 w 209550"/>
                  <a:gd name="connsiteY54" fmla="*/ 209550 h 209550"/>
                  <a:gd name="connsiteX55" fmla="*/ 133350 w 209550"/>
                  <a:gd name="connsiteY55" fmla="*/ 209550 h 209550"/>
                  <a:gd name="connsiteX56" fmla="*/ 133350 w 209550"/>
                  <a:gd name="connsiteY56" fmla="*/ 190500 h 209550"/>
                  <a:gd name="connsiteX57" fmla="*/ 114300 w 209550"/>
                  <a:gd name="connsiteY57" fmla="*/ 190500 h 209550"/>
                  <a:gd name="connsiteX58" fmla="*/ 114300 w 209550"/>
                  <a:gd name="connsiteY58" fmla="*/ 170688 h 209550"/>
                  <a:gd name="connsiteX59" fmla="*/ 144628 w 209550"/>
                  <a:gd name="connsiteY59" fmla="*/ 158096 h 209550"/>
                  <a:gd name="connsiteX60" fmla="*/ 157982 w 209550"/>
                  <a:gd name="connsiteY60" fmla="*/ 171450 h 209550"/>
                  <a:gd name="connsiteX61" fmla="*/ 145666 w 209550"/>
                  <a:gd name="connsiteY61" fmla="*/ 183766 h 209550"/>
                  <a:gd name="connsiteX62" fmla="*/ 159134 w 209550"/>
                  <a:gd name="connsiteY62" fmla="*/ 197234 h 209550"/>
                  <a:gd name="connsiteX63" fmla="*/ 197234 w 209550"/>
                  <a:gd name="connsiteY63" fmla="*/ 159134 h 209550"/>
                  <a:gd name="connsiteX64" fmla="*/ 183766 w 209550"/>
                  <a:gd name="connsiteY64" fmla="*/ 145666 h 209550"/>
                  <a:gd name="connsiteX65" fmla="*/ 142704 w 209550"/>
                  <a:gd name="connsiteY65" fmla="*/ 133264 h 209550"/>
                  <a:gd name="connsiteX66" fmla="*/ 133350 w 209550"/>
                  <a:gd name="connsiteY66" fmla="*/ 123825 h 209550"/>
                  <a:gd name="connsiteX67" fmla="*/ 142875 w 209550"/>
                  <a:gd name="connsiteY67" fmla="*/ 114300 h 209550"/>
                  <a:gd name="connsiteX68" fmla="*/ 150333 w 209550"/>
                  <a:gd name="connsiteY68" fmla="*/ 117900 h 209550"/>
                  <a:gd name="connsiteX69" fmla="*/ 142704 w 209550"/>
                  <a:gd name="connsiteY69" fmla="*/ 133264 h 209550"/>
                  <a:gd name="connsiteX70" fmla="*/ 114300 w 209550"/>
                  <a:gd name="connsiteY70" fmla="*/ 66675 h 209550"/>
                  <a:gd name="connsiteX71" fmla="*/ 104775 w 209550"/>
                  <a:gd name="connsiteY71" fmla="*/ 76200 h 209550"/>
                  <a:gd name="connsiteX72" fmla="*/ 95250 w 209550"/>
                  <a:gd name="connsiteY72" fmla="*/ 66675 h 209550"/>
                  <a:gd name="connsiteX73" fmla="*/ 104775 w 209550"/>
                  <a:gd name="connsiteY73" fmla="*/ 57150 h 209550"/>
                  <a:gd name="connsiteX74" fmla="*/ 114300 w 209550"/>
                  <a:gd name="connsiteY74" fmla="*/ 66675 h 209550"/>
                  <a:gd name="connsiteX75" fmla="*/ 76219 w 209550"/>
                  <a:gd name="connsiteY75" fmla="*/ 66904 h 209550"/>
                  <a:gd name="connsiteX76" fmla="*/ 104775 w 209550"/>
                  <a:gd name="connsiteY76" fmla="*/ 95250 h 209550"/>
                  <a:gd name="connsiteX77" fmla="*/ 133331 w 209550"/>
                  <a:gd name="connsiteY77" fmla="*/ 66904 h 209550"/>
                  <a:gd name="connsiteX78" fmla="*/ 151581 w 209550"/>
                  <a:gd name="connsiteY78" fmla="*/ 96593 h 209550"/>
                  <a:gd name="connsiteX79" fmla="*/ 142875 w 209550"/>
                  <a:gd name="connsiteY79" fmla="*/ 95250 h 209550"/>
                  <a:gd name="connsiteX80" fmla="*/ 114300 w 209550"/>
                  <a:gd name="connsiteY80" fmla="*/ 123825 h 209550"/>
                  <a:gd name="connsiteX81" fmla="*/ 126302 w 209550"/>
                  <a:gd name="connsiteY81" fmla="*/ 147018 h 209550"/>
                  <a:gd name="connsiteX82" fmla="*/ 104775 w 209550"/>
                  <a:gd name="connsiteY82" fmla="*/ 152400 h 209550"/>
                  <a:gd name="connsiteX83" fmla="*/ 83249 w 209550"/>
                  <a:gd name="connsiteY83" fmla="*/ 147018 h 209550"/>
                  <a:gd name="connsiteX84" fmla="*/ 95250 w 209550"/>
                  <a:gd name="connsiteY84" fmla="*/ 123825 h 209550"/>
                  <a:gd name="connsiteX85" fmla="*/ 66675 w 209550"/>
                  <a:gd name="connsiteY85" fmla="*/ 95250 h 209550"/>
                  <a:gd name="connsiteX86" fmla="*/ 57979 w 209550"/>
                  <a:gd name="connsiteY86" fmla="*/ 96593 h 209550"/>
                  <a:gd name="connsiteX87" fmla="*/ 76219 w 209550"/>
                  <a:gd name="connsiteY87" fmla="*/ 66904 h 209550"/>
                  <a:gd name="connsiteX88" fmla="*/ 66846 w 209550"/>
                  <a:gd name="connsiteY88" fmla="*/ 133264 h 209550"/>
                  <a:gd name="connsiteX89" fmla="*/ 59217 w 209550"/>
                  <a:gd name="connsiteY89" fmla="*/ 117900 h 209550"/>
                  <a:gd name="connsiteX90" fmla="*/ 66675 w 209550"/>
                  <a:gd name="connsiteY90" fmla="*/ 114300 h 209550"/>
                  <a:gd name="connsiteX91" fmla="*/ 76200 w 209550"/>
                  <a:gd name="connsiteY91" fmla="*/ 123825 h 209550"/>
                  <a:gd name="connsiteX92" fmla="*/ 66846 w 209550"/>
                  <a:gd name="connsiteY92" fmla="*/ 133264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9550" h="209550">
                    <a:moveTo>
                      <a:pt x="183766" y="145666"/>
                    </a:moveTo>
                    <a:lnTo>
                      <a:pt x="171450" y="157982"/>
                    </a:lnTo>
                    <a:lnTo>
                      <a:pt x="158096" y="144628"/>
                    </a:lnTo>
                    <a:cubicBezTo>
                      <a:pt x="164630" y="135912"/>
                      <a:pt x="169059" y="125568"/>
                      <a:pt x="170688" y="114300"/>
                    </a:cubicBezTo>
                    <a:lnTo>
                      <a:pt x="190500" y="114300"/>
                    </a:lnTo>
                    <a:lnTo>
                      <a:pt x="190500" y="133350"/>
                    </a:lnTo>
                    <a:lnTo>
                      <a:pt x="209550" y="133350"/>
                    </a:lnTo>
                    <a:lnTo>
                      <a:pt x="209550" y="76200"/>
                    </a:lnTo>
                    <a:lnTo>
                      <a:pt x="190500" y="76200"/>
                    </a:lnTo>
                    <a:lnTo>
                      <a:pt x="190500" y="95250"/>
                    </a:lnTo>
                    <a:lnTo>
                      <a:pt x="170688" y="95250"/>
                    </a:lnTo>
                    <a:cubicBezTo>
                      <a:pt x="169069" y="83982"/>
                      <a:pt x="164630" y="73638"/>
                      <a:pt x="158096" y="64922"/>
                    </a:cubicBezTo>
                    <a:lnTo>
                      <a:pt x="171450" y="51568"/>
                    </a:lnTo>
                    <a:lnTo>
                      <a:pt x="183766" y="63884"/>
                    </a:lnTo>
                    <a:lnTo>
                      <a:pt x="197234" y="50416"/>
                    </a:lnTo>
                    <a:lnTo>
                      <a:pt x="159134" y="12316"/>
                    </a:lnTo>
                    <a:lnTo>
                      <a:pt x="145666" y="25784"/>
                    </a:lnTo>
                    <a:lnTo>
                      <a:pt x="157982" y="38100"/>
                    </a:lnTo>
                    <a:lnTo>
                      <a:pt x="144628" y="51454"/>
                    </a:lnTo>
                    <a:cubicBezTo>
                      <a:pt x="135912" y="44920"/>
                      <a:pt x="125568" y="40481"/>
                      <a:pt x="114300" y="38862"/>
                    </a:cubicBezTo>
                    <a:lnTo>
                      <a:pt x="114300" y="19050"/>
                    </a:lnTo>
                    <a:lnTo>
                      <a:pt x="133350" y="19050"/>
                    </a:lnTo>
                    <a:lnTo>
                      <a:pt x="133350" y="0"/>
                    </a:lnTo>
                    <a:lnTo>
                      <a:pt x="76200" y="0"/>
                    </a:lnTo>
                    <a:lnTo>
                      <a:pt x="76200" y="19050"/>
                    </a:lnTo>
                    <a:lnTo>
                      <a:pt x="95250" y="19050"/>
                    </a:lnTo>
                    <a:lnTo>
                      <a:pt x="95250" y="38862"/>
                    </a:lnTo>
                    <a:cubicBezTo>
                      <a:pt x="83982" y="40481"/>
                      <a:pt x="73638" y="44920"/>
                      <a:pt x="64922" y="51454"/>
                    </a:cubicBezTo>
                    <a:lnTo>
                      <a:pt x="51568" y="38100"/>
                    </a:lnTo>
                    <a:lnTo>
                      <a:pt x="63884" y="25784"/>
                    </a:lnTo>
                    <a:lnTo>
                      <a:pt x="50416" y="12316"/>
                    </a:lnTo>
                    <a:lnTo>
                      <a:pt x="12316" y="50416"/>
                    </a:lnTo>
                    <a:lnTo>
                      <a:pt x="25784" y="63884"/>
                    </a:lnTo>
                    <a:lnTo>
                      <a:pt x="38100" y="51568"/>
                    </a:lnTo>
                    <a:lnTo>
                      <a:pt x="51454" y="64922"/>
                    </a:lnTo>
                    <a:cubicBezTo>
                      <a:pt x="44920" y="73638"/>
                      <a:pt x="40481" y="83982"/>
                      <a:pt x="38862" y="95250"/>
                    </a:cubicBezTo>
                    <a:lnTo>
                      <a:pt x="19050" y="95250"/>
                    </a:lnTo>
                    <a:lnTo>
                      <a:pt x="19050" y="76200"/>
                    </a:lnTo>
                    <a:lnTo>
                      <a:pt x="0" y="76200"/>
                    </a:lnTo>
                    <a:lnTo>
                      <a:pt x="0" y="133350"/>
                    </a:lnTo>
                    <a:lnTo>
                      <a:pt x="19050" y="133350"/>
                    </a:lnTo>
                    <a:lnTo>
                      <a:pt x="19050" y="114300"/>
                    </a:lnTo>
                    <a:lnTo>
                      <a:pt x="38862" y="114300"/>
                    </a:lnTo>
                    <a:cubicBezTo>
                      <a:pt x="40481" y="125568"/>
                      <a:pt x="44920" y="135912"/>
                      <a:pt x="51454" y="144628"/>
                    </a:cubicBezTo>
                    <a:lnTo>
                      <a:pt x="38100" y="157982"/>
                    </a:lnTo>
                    <a:lnTo>
                      <a:pt x="25784" y="145666"/>
                    </a:lnTo>
                    <a:lnTo>
                      <a:pt x="12316" y="159134"/>
                    </a:lnTo>
                    <a:lnTo>
                      <a:pt x="50416" y="197234"/>
                    </a:lnTo>
                    <a:lnTo>
                      <a:pt x="63884" y="183766"/>
                    </a:lnTo>
                    <a:lnTo>
                      <a:pt x="51568" y="171450"/>
                    </a:lnTo>
                    <a:lnTo>
                      <a:pt x="64922" y="158096"/>
                    </a:lnTo>
                    <a:cubicBezTo>
                      <a:pt x="73638" y="164630"/>
                      <a:pt x="83982" y="169059"/>
                      <a:pt x="95250" y="170688"/>
                    </a:cubicBezTo>
                    <a:lnTo>
                      <a:pt x="95250" y="190500"/>
                    </a:lnTo>
                    <a:lnTo>
                      <a:pt x="76200" y="190500"/>
                    </a:lnTo>
                    <a:lnTo>
                      <a:pt x="76200" y="209550"/>
                    </a:lnTo>
                    <a:lnTo>
                      <a:pt x="133350" y="209550"/>
                    </a:lnTo>
                    <a:lnTo>
                      <a:pt x="133350" y="190500"/>
                    </a:lnTo>
                    <a:lnTo>
                      <a:pt x="114300" y="190500"/>
                    </a:lnTo>
                    <a:lnTo>
                      <a:pt x="114300" y="170688"/>
                    </a:lnTo>
                    <a:cubicBezTo>
                      <a:pt x="125568" y="169069"/>
                      <a:pt x="135912" y="164630"/>
                      <a:pt x="144628" y="158096"/>
                    </a:cubicBezTo>
                    <a:lnTo>
                      <a:pt x="157982" y="171450"/>
                    </a:lnTo>
                    <a:lnTo>
                      <a:pt x="145666" y="183766"/>
                    </a:lnTo>
                    <a:lnTo>
                      <a:pt x="159134" y="197234"/>
                    </a:lnTo>
                    <a:lnTo>
                      <a:pt x="197234" y="159134"/>
                    </a:lnTo>
                    <a:lnTo>
                      <a:pt x="183766" y="145666"/>
                    </a:lnTo>
                    <a:close/>
                    <a:moveTo>
                      <a:pt x="142704" y="133264"/>
                    </a:moveTo>
                    <a:cubicBezTo>
                      <a:pt x="137751" y="133074"/>
                      <a:pt x="133350" y="128997"/>
                      <a:pt x="133350" y="123825"/>
                    </a:cubicBezTo>
                    <a:cubicBezTo>
                      <a:pt x="133350" y="118567"/>
                      <a:pt x="137617" y="114300"/>
                      <a:pt x="142875" y="114300"/>
                    </a:cubicBezTo>
                    <a:cubicBezTo>
                      <a:pt x="145799" y="114300"/>
                      <a:pt x="148542" y="115681"/>
                      <a:pt x="150333" y="117900"/>
                    </a:cubicBezTo>
                    <a:cubicBezTo>
                      <a:pt x="148704" y="123520"/>
                      <a:pt x="146142" y="128702"/>
                      <a:pt x="142704" y="133264"/>
                    </a:cubicBezTo>
                    <a:close/>
                    <a:moveTo>
                      <a:pt x="114300" y="66675"/>
                    </a:moveTo>
                    <a:cubicBezTo>
                      <a:pt x="114300" y="71933"/>
                      <a:pt x="110033" y="76200"/>
                      <a:pt x="104775" y="76200"/>
                    </a:cubicBezTo>
                    <a:cubicBezTo>
                      <a:pt x="99517" y="76200"/>
                      <a:pt x="95250" y="71933"/>
                      <a:pt x="95250" y="66675"/>
                    </a:cubicBezTo>
                    <a:cubicBezTo>
                      <a:pt x="95250" y="61417"/>
                      <a:pt x="99517" y="57150"/>
                      <a:pt x="104775" y="57150"/>
                    </a:cubicBezTo>
                    <a:cubicBezTo>
                      <a:pt x="110033" y="57150"/>
                      <a:pt x="114300" y="61417"/>
                      <a:pt x="114300" y="66675"/>
                    </a:cubicBezTo>
                    <a:close/>
                    <a:moveTo>
                      <a:pt x="76219" y="66904"/>
                    </a:moveTo>
                    <a:cubicBezTo>
                      <a:pt x="76343" y="82553"/>
                      <a:pt x="89097" y="95250"/>
                      <a:pt x="104775" y="95250"/>
                    </a:cubicBezTo>
                    <a:cubicBezTo>
                      <a:pt x="120453" y="95250"/>
                      <a:pt x="133207" y="82553"/>
                      <a:pt x="133331" y="66904"/>
                    </a:cubicBezTo>
                    <a:cubicBezTo>
                      <a:pt x="142761" y="74028"/>
                      <a:pt x="149457" y="84487"/>
                      <a:pt x="151581" y="96593"/>
                    </a:cubicBezTo>
                    <a:cubicBezTo>
                      <a:pt x="148819" y="95717"/>
                      <a:pt x="145894" y="95250"/>
                      <a:pt x="142875" y="95250"/>
                    </a:cubicBezTo>
                    <a:cubicBezTo>
                      <a:pt x="127121" y="95250"/>
                      <a:pt x="114300" y="108071"/>
                      <a:pt x="114300" y="123825"/>
                    </a:cubicBezTo>
                    <a:cubicBezTo>
                      <a:pt x="114300" y="133388"/>
                      <a:pt x="119063" y="141827"/>
                      <a:pt x="126302" y="147018"/>
                    </a:cubicBezTo>
                    <a:cubicBezTo>
                      <a:pt x="119805" y="150343"/>
                      <a:pt x="112566" y="152400"/>
                      <a:pt x="104775" y="152400"/>
                    </a:cubicBezTo>
                    <a:cubicBezTo>
                      <a:pt x="96984" y="152400"/>
                      <a:pt x="89745" y="150343"/>
                      <a:pt x="83249" y="147018"/>
                    </a:cubicBezTo>
                    <a:cubicBezTo>
                      <a:pt x="90488" y="141827"/>
                      <a:pt x="95250" y="133388"/>
                      <a:pt x="95250" y="123825"/>
                    </a:cubicBezTo>
                    <a:cubicBezTo>
                      <a:pt x="95250" y="108071"/>
                      <a:pt x="82429" y="95250"/>
                      <a:pt x="66675" y="95250"/>
                    </a:cubicBezTo>
                    <a:cubicBezTo>
                      <a:pt x="63656" y="95250"/>
                      <a:pt x="60731" y="95717"/>
                      <a:pt x="57979" y="96593"/>
                    </a:cubicBezTo>
                    <a:cubicBezTo>
                      <a:pt x="60093" y="84487"/>
                      <a:pt x="66789" y="74028"/>
                      <a:pt x="76219" y="66904"/>
                    </a:cubicBezTo>
                    <a:close/>
                    <a:moveTo>
                      <a:pt x="66846" y="133264"/>
                    </a:moveTo>
                    <a:cubicBezTo>
                      <a:pt x="63408" y="128702"/>
                      <a:pt x="60846" y="123520"/>
                      <a:pt x="59217" y="117900"/>
                    </a:cubicBezTo>
                    <a:cubicBezTo>
                      <a:pt x="61008" y="115681"/>
                      <a:pt x="63751" y="114300"/>
                      <a:pt x="66675" y="114300"/>
                    </a:cubicBezTo>
                    <a:cubicBezTo>
                      <a:pt x="71933" y="114300"/>
                      <a:pt x="76200" y="118567"/>
                      <a:pt x="76200" y="123825"/>
                    </a:cubicBezTo>
                    <a:cubicBezTo>
                      <a:pt x="76200" y="128997"/>
                      <a:pt x="71780" y="133074"/>
                      <a:pt x="66846" y="133264"/>
                    </a:cubicBezTo>
                    <a:close/>
                  </a:path>
                </a:pathLst>
              </a:custGeom>
              <a:grpFill/>
              <a:ln w="9525" cap="flat">
                <a:noFill/>
                <a:prstDash val="solid"/>
                <a:miter/>
              </a:ln>
            </p:spPr>
            <p:txBody>
              <a:bodyPr rtlCol="0" anchor="ctr"/>
              <a:lstStyle/>
              <a:p>
                <a:endParaRPr lang="pt-BR"/>
              </a:p>
            </p:txBody>
          </p:sp>
          <p:sp>
            <p:nvSpPr>
              <p:cNvPr id="70" name="Forma Livre: Forma 69">
                <a:extLst>
                  <a:ext uri="{FF2B5EF4-FFF2-40B4-BE49-F238E27FC236}">
                    <a16:creationId xmlns:a16="http://schemas.microsoft.com/office/drawing/2014/main" id="{69B71490-BBDA-79A8-3BAD-C736B0A779EB}"/>
                  </a:ext>
                </a:extLst>
              </p:cNvPr>
              <p:cNvSpPr/>
              <p:nvPr/>
            </p:nvSpPr>
            <p:spPr>
              <a:xfrm>
                <a:off x="11724396" y="364408"/>
                <a:ext cx="342900" cy="419100"/>
              </a:xfrm>
              <a:custGeom>
                <a:avLst/>
                <a:gdLst>
                  <a:gd name="connsiteX0" fmla="*/ 86878 w 342900"/>
                  <a:gd name="connsiteY0" fmla="*/ 372628 h 419100"/>
                  <a:gd name="connsiteX1" fmla="*/ 95250 w 342900"/>
                  <a:gd name="connsiteY1" fmla="*/ 352425 h 419100"/>
                  <a:gd name="connsiteX2" fmla="*/ 92926 w 342900"/>
                  <a:gd name="connsiteY2" fmla="*/ 341186 h 419100"/>
                  <a:gd name="connsiteX3" fmla="*/ 111757 w 342900"/>
                  <a:gd name="connsiteY3" fmla="*/ 342900 h 419100"/>
                  <a:gd name="connsiteX4" fmla="*/ 215532 w 342900"/>
                  <a:gd name="connsiteY4" fmla="*/ 272644 h 419100"/>
                  <a:gd name="connsiteX5" fmla="*/ 222914 w 342900"/>
                  <a:gd name="connsiteY5" fmla="*/ 254175 h 419100"/>
                  <a:gd name="connsiteX6" fmla="*/ 235334 w 342900"/>
                  <a:gd name="connsiteY6" fmla="*/ 235334 h 419100"/>
                  <a:gd name="connsiteX7" fmla="*/ 254175 w 342900"/>
                  <a:gd name="connsiteY7" fmla="*/ 222914 h 419100"/>
                  <a:gd name="connsiteX8" fmla="*/ 272644 w 342900"/>
                  <a:gd name="connsiteY8" fmla="*/ 215532 h 419100"/>
                  <a:gd name="connsiteX9" fmla="*/ 342900 w 342900"/>
                  <a:gd name="connsiteY9" fmla="*/ 111757 h 419100"/>
                  <a:gd name="connsiteX10" fmla="*/ 231143 w 342900"/>
                  <a:gd name="connsiteY10" fmla="*/ 0 h 419100"/>
                  <a:gd name="connsiteX11" fmla="*/ 127368 w 342900"/>
                  <a:gd name="connsiteY11" fmla="*/ 70256 h 419100"/>
                  <a:gd name="connsiteX12" fmla="*/ 119986 w 342900"/>
                  <a:gd name="connsiteY12" fmla="*/ 88725 h 419100"/>
                  <a:gd name="connsiteX13" fmla="*/ 107566 w 342900"/>
                  <a:gd name="connsiteY13" fmla="*/ 107566 h 419100"/>
                  <a:gd name="connsiteX14" fmla="*/ 88725 w 342900"/>
                  <a:gd name="connsiteY14" fmla="*/ 119986 h 419100"/>
                  <a:gd name="connsiteX15" fmla="*/ 70256 w 342900"/>
                  <a:gd name="connsiteY15" fmla="*/ 127368 h 419100"/>
                  <a:gd name="connsiteX16" fmla="*/ 0 w 342900"/>
                  <a:gd name="connsiteY16" fmla="*/ 231143 h 419100"/>
                  <a:gd name="connsiteX17" fmla="*/ 54397 w 342900"/>
                  <a:gd name="connsiteY17" fmla="*/ 326879 h 419100"/>
                  <a:gd name="connsiteX18" fmla="*/ 46472 w 342900"/>
                  <a:gd name="connsiteY18" fmla="*/ 332223 h 419100"/>
                  <a:gd name="connsiteX19" fmla="*/ 8372 w 342900"/>
                  <a:gd name="connsiteY19" fmla="*/ 370323 h 419100"/>
                  <a:gd name="connsiteX20" fmla="*/ 0 w 342900"/>
                  <a:gd name="connsiteY20" fmla="*/ 390525 h 419100"/>
                  <a:gd name="connsiteX21" fmla="*/ 8372 w 342900"/>
                  <a:gd name="connsiteY21" fmla="*/ 410728 h 419100"/>
                  <a:gd name="connsiteX22" fmla="*/ 28575 w 342900"/>
                  <a:gd name="connsiteY22" fmla="*/ 419100 h 419100"/>
                  <a:gd name="connsiteX23" fmla="*/ 48778 w 342900"/>
                  <a:gd name="connsiteY23" fmla="*/ 410728 h 419100"/>
                  <a:gd name="connsiteX24" fmla="*/ 86878 w 342900"/>
                  <a:gd name="connsiteY24" fmla="*/ 372628 h 419100"/>
                  <a:gd name="connsiteX25" fmla="*/ 80153 w 342900"/>
                  <a:gd name="connsiteY25" fmla="*/ 318183 h 419100"/>
                  <a:gd name="connsiteX26" fmla="*/ 88716 w 342900"/>
                  <a:gd name="connsiteY26" fmla="*/ 301057 h 419100"/>
                  <a:gd name="connsiteX27" fmla="*/ 111757 w 342900"/>
                  <a:gd name="connsiteY27" fmla="*/ 304800 h 419100"/>
                  <a:gd name="connsiteX28" fmla="*/ 125559 w 342900"/>
                  <a:gd name="connsiteY28" fmla="*/ 303362 h 419100"/>
                  <a:gd name="connsiteX29" fmla="*/ 130169 w 342900"/>
                  <a:gd name="connsiteY29" fmla="*/ 321802 h 419100"/>
                  <a:gd name="connsiteX30" fmla="*/ 111757 w 342900"/>
                  <a:gd name="connsiteY30" fmla="*/ 323850 h 419100"/>
                  <a:gd name="connsiteX31" fmla="*/ 80153 w 342900"/>
                  <a:gd name="connsiteY31" fmla="*/ 318183 h 419100"/>
                  <a:gd name="connsiteX32" fmla="*/ 19050 w 342900"/>
                  <a:gd name="connsiteY32" fmla="*/ 231143 h 419100"/>
                  <a:gd name="connsiteX33" fmla="*/ 19241 w 342900"/>
                  <a:gd name="connsiteY33" fmla="*/ 228600 h 419100"/>
                  <a:gd name="connsiteX34" fmla="*/ 38291 w 342900"/>
                  <a:gd name="connsiteY34" fmla="*/ 228600 h 419100"/>
                  <a:gd name="connsiteX35" fmla="*/ 38100 w 342900"/>
                  <a:gd name="connsiteY35" fmla="*/ 231143 h 419100"/>
                  <a:gd name="connsiteX36" fmla="*/ 41472 w 342900"/>
                  <a:gd name="connsiteY36" fmla="*/ 253184 h 419100"/>
                  <a:gd name="connsiteX37" fmla="*/ 23793 w 342900"/>
                  <a:gd name="connsiteY37" fmla="*/ 260252 h 419100"/>
                  <a:gd name="connsiteX38" fmla="*/ 19050 w 342900"/>
                  <a:gd name="connsiteY38" fmla="*/ 231143 h 419100"/>
                  <a:gd name="connsiteX39" fmla="*/ 54197 w 342900"/>
                  <a:gd name="connsiteY39" fmla="*/ 185385 h 419100"/>
                  <a:gd name="connsiteX40" fmla="*/ 41310 w 342900"/>
                  <a:gd name="connsiteY40" fmla="*/ 209550 h 419100"/>
                  <a:gd name="connsiteX41" fmla="*/ 21822 w 342900"/>
                  <a:gd name="connsiteY41" fmla="*/ 209550 h 419100"/>
                  <a:gd name="connsiteX42" fmla="*/ 36824 w 342900"/>
                  <a:gd name="connsiteY42" fmla="*/ 176698 h 419100"/>
                  <a:gd name="connsiteX43" fmla="*/ 54197 w 342900"/>
                  <a:gd name="connsiteY43" fmla="*/ 185385 h 419100"/>
                  <a:gd name="connsiteX44" fmla="*/ 231143 w 342900"/>
                  <a:gd name="connsiteY44" fmla="*/ 57150 h 419100"/>
                  <a:gd name="connsiteX45" fmla="*/ 243230 w 342900"/>
                  <a:gd name="connsiteY45" fmla="*/ 58541 h 419100"/>
                  <a:gd name="connsiteX46" fmla="*/ 247650 w 342900"/>
                  <a:gd name="connsiteY46" fmla="*/ 76200 h 419100"/>
                  <a:gd name="connsiteX47" fmla="*/ 209550 w 342900"/>
                  <a:gd name="connsiteY47" fmla="*/ 114300 h 419100"/>
                  <a:gd name="connsiteX48" fmla="*/ 178022 w 342900"/>
                  <a:gd name="connsiteY48" fmla="*/ 97498 h 419100"/>
                  <a:gd name="connsiteX49" fmla="*/ 180432 w 342900"/>
                  <a:gd name="connsiteY49" fmla="*/ 91478 h 419100"/>
                  <a:gd name="connsiteX50" fmla="*/ 231143 w 342900"/>
                  <a:gd name="connsiteY50" fmla="*/ 57150 h 419100"/>
                  <a:gd name="connsiteX51" fmla="*/ 143056 w 342900"/>
                  <a:gd name="connsiteY51" fmla="*/ 152419 h 419100"/>
                  <a:gd name="connsiteX52" fmla="*/ 152400 w 342900"/>
                  <a:gd name="connsiteY52" fmla="*/ 161925 h 419100"/>
                  <a:gd name="connsiteX53" fmla="*/ 142875 w 342900"/>
                  <a:gd name="connsiteY53" fmla="*/ 171450 h 419100"/>
                  <a:gd name="connsiteX54" fmla="*/ 133350 w 342900"/>
                  <a:gd name="connsiteY54" fmla="*/ 161925 h 419100"/>
                  <a:gd name="connsiteX55" fmla="*/ 133788 w 342900"/>
                  <a:gd name="connsiteY55" fmla="*/ 159849 h 419100"/>
                  <a:gd name="connsiteX56" fmla="*/ 143056 w 342900"/>
                  <a:gd name="connsiteY56" fmla="*/ 152419 h 419100"/>
                  <a:gd name="connsiteX57" fmla="*/ 109947 w 342900"/>
                  <a:gd name="connsiteY57" fmla="*/ 173050 h 419100"/>
                  <a:gd name="connsiteX58" fmla="*/ 115729 w 342900"/>
                  <a:gd name="connsiteY58" fmla="*/ 170393 h 419100"/>
                  <a:gd name="connsiteX59" fmla="*/ 142875 w 342900"/>
                  <a:gd name="connsiteY59" fmla="*/ 190500 h 419100"/>
                  <a:gd name="connsiteX60" fmla="*/ 171450 w 342900"/>
                  <a:gd name="connsiteY60" fmla="*/ 161925 h 419100"/>
                  <a:gd name="connsiteX61" fmla="*/ 157220 w 342900"/>
                  <a:gd name="connsiteY61" fmla="*/ 137360 h 419100"/>
                  <a:gd name="connsiteX62" fmla="*/ 169755 w 342900"/>
                  <a:gd name="connsiteY62" fmla="*/ 117100 h 419100"/>
                  <a:gd name="connsiteX63" fmla="*/ 209550 w 342900"/>
                  <a:gd name="connsiteY63" fmla="*/ 133350 h 419100"/>
                  <a:gd name="connsiteX64" fmla="*/ 266700 w 342900"/>
                  <a:gd name="connsiteY64" fmla="*/ 76200 h 419100"/>
                  <a:gd name="connsiteX65" fmla="*/ 266252 w 342900"/>
                  <a:gd name="connsiteY65" fmla="*/ 69999 h 419100"/>
                  <a:gd name="connsiteX66" fmla="*/ 285750 w 342900"/>
                  <a:gd name="connsiteY66" fmla="*/ 111757 h 419100"/>
                  <a:gd name="connsiteX67" fmla="*/ 251422 w 342900"/>
                  <a:gd name="connsiteY67" fmla="*/ 162458 h 419100"/>
                  <a:gd name="connsiteX68" fmla="*/ 246688 w 342900"/>
                  <a:gd name="connsiteY68" fmla="*/ 164354 h 419100"/>
                  <a:gd name="connsiteX69" fmla="*/ 219075 w 342900"/>
                  <a:gd name="connsiteY69" fmla="*/ 152400 h 419100"/>
                  <a:gd name="connsiteX70" fmla="*/ 180975 w 342900"/>
                  <a:gd name="connsiteY70" fmla="*/ 190500 h 419100"/>
                  <a:gd name="connsiteX71" fmla="*/ 184728 w 342900"/>
                  <a:gd name="connsiteY71" fmla="*/ 206826 h 419100"/>
                  <a:gd name="connsiteX72" fmla="*/ 178937 w 342900"/>
                  <a:gd name="connsiteY72" fmla="*/ 215217 h 419100"/>
                  <a:gd name="connsiteX73" fmla="*/ 161925 w 342900"/>
                  <a:gd name="connsiteY73" fmla="*/ 209550 h 419100"/>
                  <a:gd name="connsiteX74" fmla="*/ 133350 w 342900"/>
                  <a:gd name="connsiteY74" fmla="*/ 238125 h 419100"/>
                  <a:gd name="connsiteX75" fmla="*/ 154229 w 342900"/>
                  <a:gd name="connsiteY75" fmla="*/ 265509 h 419100"/>
                  <a:gd name="connsiteX76" fmla="*/ 111757 w 342900"/>
                  <a:gd name="connsiteY76" fmla="*/ 285750 h 419100"/>
                  <a:gd name="connsiteX77" fmla="*/ 88230 w 342900"/>
                  <a:gd name="connsiteY77" fmla="*/ 280349 h 419100"/>
                  <a:gd name="connsiteX78" fmla="*/ 114300 w 342900"/>
                  <a:gd name="connsiteY78" fmla="*/ 238125 h 419100"/>
                  <a:gd name="connsiteX79" fmla="*/ 74571 w 342900"/>
                  <a:gd name="connsiteY79" fmla="*/ 191300 h 419100"/>
                  <a:gd name="connsiteX80" fmla="*/ 91478 w 342900"/>
                  <a:gd name="connsiteY80" fmla="*/ 180432 h 419100"/>
                  <a:gd name="connsiteX81" fmla="*/ 109947 w 342900"/>
                  <a:gd name="connsiteY81" fmla="*/ 173050 h 419100"/>
                  <a:gd name="connsiteX82" fmla="*/ 323850 w 342900"/>
                  <a:gd name="connsiteY82" fmla="*/ 111757 h 419100"/>
                  <a:gd name="connsiteX83" fmla="*/ 318668 w 342900"/>
                  <a:gd name="connsiteY83" fmla="*/ 141989 h 419100"/>
                  <a:gd name="connsiteX84" fmla="*/ 301904 w 342900"/>
                  <a:gd name="connsiteY84" fmla="*/ 131931 h 419100"/>
                  <a:gd name="connsiteX85" fmla="*/ 304800 w 342900"/>
                  <a:gd name="connsiteY85" fmla="*/ 111757 h 419100"/>
                  <a:gd name="connsiteX86" fmla="*/ 304200 w 342900"/>
                  <a:gd name="connsiteY86" fmla="*/ 102822 h 419100"/>
                  <a:gd name="connsiteX87" fmla="*/ 322736 w 342900"/>
                  <a:gd name="connsiteY87" fmla="*/ 98184 h 419100"/>
                  <a:gd name="connsiteX88" fmla="*/ 323850 w 342900"/>
                  <a:gd name="connsiteY88" fmla="*/ 111757 h 419100"/>
                  <a:gd name="connsiteX89" fmla="*/ 164087 w 342900"/>
                  <a:gd name="connsiteY89" fmla="*/ 247374 h 419100"/>
                  <a:gd name="connsiteX90" fmla="*/ 161925 w 342900"/>
                  <a:gd name="connsiteY90" fmla="*/ 247650 h 419100"/>
                  <a:gd name="connsiteX91" fmla="*/ 152400 w 342900"/>
                  <a:gd name="connsiteY91" fmla="*/ 238125 h 419100"/>
                  <a:gd name="connsiteX92" fmla="*/ 161925 w 342900"/>
                  <a:gd name="connsiteY92" fmla="*/ 228600 h 419100"/>
                  <a:gd name="connsiteX93" fmla="*/ 169859 w 342900"/>
                  <a:gd name="connsiteY93" fmla="*/ 232934 h 419100"/>
                  <a:gd name="connsiteX94" fmla="*/ 169850 w 342900"/>
                  <a:gd name="connsiteY94" fmla="*/ 232962 h 419100"/>
                  <a:gd name="connsiteX95" fmla="*/ 164087 w 342900"/>
                  <a:gd name="connsiteY95" fmla="*/ 247374 h 419100"/>
                  <a:gd name="connsiteX96" fmla="*/ 200044 w 342900"/>
                  <a:gd name="connsiteY96" fmla="*/ 190300 h 419100"/>
                  <a:gd name="connsiteX97" fmla="*/ 219075 w 342900"/>
                  <a:gd name="connsiteY97" fmla="*/ 171450 h 419100"/>
                  <a:gd name="connsiteX98" fmla="*/ 226171 w 342900"/>
                  <a:gd name="connsiteY98" fmla="*/ 172964 h 419100"/>
                  <a:gd name="connsiteX99" fmla="*/ 200044 w 342900"/>
                  <a:gd name="connsiteY99" fmla="*/ 190300 h 419100"/>
                  <a:gd name="connsiteX100" fmla="*/ 57150 w 342900"/>
                  <a:gd name="connsiteY100" fmla="*/ 231143 h 419100"/>
                  <a:gd name="connsiteX101" fmla="*/ 61484 w 342900"/>
                  <a:gd name="connsiteY101" fmla="*/ 210064 h 419100"/>
                  <a:gd name="connsiteX102" fmla="*/ 66675 w 342900"/>
                  <a:gd name="connsiteY102" fmla="*/ 209550 h 419100"/>
                  <a:gd name="connsiteX103" fmla="*/ 95250 w 342900"/>
                  <a:gd name="connsiteY103" fmla="*/ 238125 h 419100"/>
                  <a:gd name="connsiteX104" fmla="*/ 70056 w 342900"/>
                  <a:gd name="connsiteY104" fmla="*/ 266319 h 419100"/>
                  <a:gd name="connsiteX105" fmla="*/ 57150 w 342900"/>
                  <a:gd name="connsiteY105" fmla="*/ 231143 h 419100"/>
                  <a:gd name="connsiteX106" fmla="*/ 148390 w 342900"/>
                  <a:gd name="connsiteY106" fmla="*/ 316163 h 419100"/>
                  <a:gd name="connsiteX107" fmla="*/ 143742 w 342900"/>
                  <a:gd name="connsiteY107" fmla="*/ 297561 h 419100"/>
                  <a:gd name="connsiteX108" fmla="*/ 174012 w 342900"/>
                  <a:gd name="connsiteY108" fmla="*/ 270320 h 419100"/>
                  <a:gd name="connsiteX109" fmla="*/ 189824 w 342900"/>
                  <a:gd name="connsiteY109" fmla="*/ 280864 h 419100"/>
                  <a:gd name="connsiteX110" fmla="*/ 148390 w 342900"/>
                  <a:gd name="connsiteY110" fmla="*/ 316163 h 419100"/>
                  <a:gd name="connsiteX111" fmla="*/ 205226 w 342900"/>
                  <a:gd name="connsiteY111" fmla="*/ 247098 h 419100"/>
                  <a:gd name="connsiteX112" fmla="*/ 198549 w 342900"/>
                  <a:gd name="connsiteY112" fmla="*/ 263785 h 419100"/>
                  <a:gd name="connsiteX113" fmla="*/ 182356 w 342900"/>
                  <a:gd name="connsiteY113" fmla="*/ 252984 h 419100"/>
                  <a:gd name="connsiteX114" fmla="*/ 187538 w 342900"/>
                  <a:gd name="connsiteY114" fmla="*/ 240020 h 419100"/>
                  <a:gd name="connsiteX115" fmla="*/ 203102 w 342900"/>
                  <a:gd name="connsiteY115" fmla="*/ 214227 h 419100"/>
                  <a:gd name="connsiteX116" fmla="*/ 218380 w 342900"/>
                  <a:gd name="connsiteY116" fmla="*/ 225685 h 419100"/>
                  <a:gd name="connsiteX117" fmla="*/ 205226 w 342900"/>
                  <a:gd name="connsiteY117" fmla="*/ 247098 h 419100"/>
                  <a:gd name="connsiteX118" fmla="*/ 247098 w 342900"/>
                  <a:gd name="connsiteY118" fmla="*/ 205226 h 419100"/>
                  <a:gd name="connsiteX119" fmla="*/ 232905 w 342900"/>
                  <a:gd name="connsiteY119" fmla="*/ 212789 h 419100"/>
                  <a:gd name="connsiteX120" fmla="*/ 217008 w 342900"/>
                  <a:gd name="connsiteY120" fmla="*/ 200863 h 419100"/>
                  <a:gd name="connsiteX121" fmla="*/ 240020 w 342900"/>
                  <a:gd name="connsiteY121" fmla="*/ 187547 h 419100"/>
                  <a:gd name="connsiteX122" fmla="*/ 252146 w 342900"/>
                  <a:gd name="connsiteY122" fmla="*/ 182699 h 419100"/>
                  <a:gd name="connsiteX123" fmla="*/ 260690 w 342900"/>
                  <a:gd name="connsiteY123" fmla="*/ 199796 h 419100"/>
                  <a:gd name="connsiteX124" fmla="*/ 247098 w 342900"/>
                  <a:gd name="connsiteY124" fmla="*/ 205226 h 419100"/>
                  <a:gd name="connsiteX125" fmla="*/ 277987 w 342900"/>
                  <a:gd name="connsiteY125" fmla="*/ 191767 h 419100"/>
                  <a:gd name="connsiteX126" fmla="*/ 269424 w 342900"/>
                  <a:gd name="connsiteY126" fmla="*/ 174631 h 419100"/>
                  <a:gd name="connsiteX127" fmla="*/ 294237 w 342900"/>
                  <a:gd name="connsiteY127" fmla="*/ 149543 h 419100"/>
                  <a:gd name="connsiteX128" fmla="*/ 310553 w 342900"/>
                  <a:gd name="connsiteY128" fmla="*/ 159325 h 419100"/>
                  <a:gd name="connsiteX129" fmla="*/ 277987 w 342900"/>
                  <a:gd name="connsiteY129" fmla="*/ 191767 h 419100"/>
                  <a:gd name="connsiteX130" fmla="*/ 318030 w 342900"/>
                  <a:gd name="connsiteY130" fmla="*/ 79743 h 419100"/>
                  <a:gd name="connsiteX131" fmla="*/ 299466 w 342900"/>
                  <a:gd name="connsiteY131" fmla="*/ 84382 h 419100"/>
                  <a:gd name="connsiteX132" fmla="*/ 281578 w 342900"/>
                  <a:gd name="connsiteY132" fmla="*/ 58217 h 419100"/>
                  <a:gd name="connsiteX133" fmla="*/ 290417 w 342900"/>
                  <a:gd name="connsiteY133" fmla="*/ 40548 h 419100"/>
                  <a:gd name="connsiteX134" fmla="*/ 318030 w 342900"/>
                  <a:gd name="connsiteY134" fmla="*/ 79743 h 419100"/>
                  <a:gd name="connsiteX135" fmla="*/ 274463 w 342900"/>
                  <a:gd name="connsiteY135" fmla="*/ 29851 h 419100"/>
                  <a:gd name="connsiteX136" fmla="*/ 265957 w 342900"/>
                  <a:gd name="connsiteY136" fmla="*/ 46873 h 419100"/>
                  <a:gd name="connsiteX137" fmla="*/ 231143 w 342900"/>
                  <a:gd name="connsiteY137" fmla="*/ 38100 h 419100"/>
                  <a:gd name="connsiteX138" fmla="*/ 221990 w 342900"/>
                  <a:gd name="connsiteY138" fmla="*/ 38786 h 419100"/>
                  <a:gd name="connsiteX139" fmla="*/ 214732 w 342900"/>
                  <a:gd name="connsiteY139" fmla="*/ 20641 h 419100"/>
                  <a:gd name="connsiteX140" fmla="*/ 231143 w 342900"/>
                  <a:gd name="connsiteY140" fmla="*/ 19050 h 419100"/>
                  <a:gd name="connsiteX141" fmla="*/ 274463 w 342900"/>
                  <a:gd name="connsiteY141" fmla="*/ 29851 h 419100"/>
                  <a:gd name="connsiteX142" fmla="*/ 196358 w 342900"/>
                  <a:gd name="connsiteY142" fmla="*/ 26013 h 419100"/>
                  <a:gd name="connsiteX143" fmla="*/ 203416 w 342900"/>
                  <a:gd name="connsiteY143" fmla="*/ 43672 h 419100"/>
                  <a:gd name="connsiteX144" fmla="*/ 176946 w 342900"/>
                  <a:gd name="connsiteY144" fmla="*/ 62084 h 419100"/>
                  <a:gd name="connsiteX145" fmla="*/ 160906 w 342900"/>
                  <a:gd name="connsiteY145" fmla="*/ 51387 h 419100"/>
                  <a:gd name="connsiteX146" fmla="*/ 196358 w 342900"/>
                  <a:gd name="connsiteY146" fmla="*/ 26013 h 419100"/>
                  <a:gd name="connsiteX147" fmla="*/ 145056 w 342900"/>
                  <a:gd name="connsiteY147" fmla="*/ 77324 h 419100"/>
                  <a:gd name="connsiteX148" fmla="*/ 150085 w 342900"/>
                  <a:gd name="connsiteY148" fmla="*/ 67056 h 419100"/>
                  <a:gd name="connsiteX149" fmla="*/ 166030 w 342900"/>
                  <a:gd name="connsiteY149" fmla="*/ 77686 h 419100"/>
                  <a:gd name="connsiteX150" fmla="*/ 162744 w 342900"/>
                  <a:gd name="connsiteY150" fmla="*/ 84401 h 419100"/>
                  <a:gd name="connsiteX151" fmla="*/ 155362 w 342900"/>
                  <a:gd name="connsiteY151" fmla="*/ 102870 h 419100"/>
                  <a:gd name="connsiteX152" fmla="*/ 152743 w 342900"/>
                  <a:gd name="connsiteY152" fmla="*/ 108585 h 419100"/>
                  <a:gd name="connsiteX153" fmla="*/ 135722 w 342900"/>
                  <a:gd name="connsiteY153" fmla="*/ 100070 h 419100"/>
                  <a:gd name="connsiteX154" fmla="*/ 137684 w 342900"/>
                  <a:gd name="connsiteY154" fmla="*/ 95793 h 419100"/>
                  <a:gd name="connsiteX155" fmla="*/ 145056 w 342900"/>
                  <a:gd name="connsiteY155" fmla="*/ 77324 h 419100"/>
                  <a:gd name="connsiteX156" fmla="*/ 121034 w 342900"/>
                  <a:gd name="connsiteY156" fmla="*/ 121034 h 419100"/>
                  <a:gd name="connsiteX157" fmla="*/ 125397 w 342900"/>
                  <a:gd name="connsiteY157" fmla="*/ 116215 h 419100"/>
                  <a:gd name="connsiteX158" fmla="*/ 142761 w 342900"/>
                  <a:gd name="connsiteY158" fmla="*/ 124901 h 419100"/>
                  <a:gd name="connsiteX159" fmla="*/ 134503 w 342900"/>
                  <a:gd name="connsiteY159" fmla="*/ 134503 h 419100"/>
                  <a:gd name="connsiteX160" fmla="*/ 115119 w 342900"/>
                  <a:gd name="connsiteY160" fmla="*/ 149276 h 419100"/>
                  <a:gd name="connsiteX161" fmla="*/ 101089 w 342900"/>
                  <a:gd name="connsiteY161" fmla="*/ 135245 h 419100"/>
                  <a:gd name="connsiteX162" fmla="*/ 121034 w 342900"/>
                  <a:gd name="connsiteY162" fmla="*/ 121034 h 419100"/>
                  <a:gd name="connsiteX163" fmla="*/ 77324 w 342900"/>
                  <a:gd name="connsiteY163" fmla="*/ 145056 h 419100"/>
                  <a:gd name="connsiteX164" fmla="*/ 82067 w 342900"/>
                  <a:gd name="connsiteY164" fmla="*/ 143161 h 419100"/>
                  <a:gd name="connsiteX165" fmla="*/ 96726 w 342900"/>
                  <a:gd name="connsiteY165" fmla="*/ 157820 h 419100"/>
                  <a:gd name="connsiteX166" fmla="*/ 84411 w 342900"/>
                  <a:gd name="connsiteY166" fmla="*/ 162744 h 419100"/>
                  <a:gd name="connsiteX167" fmla="*/ 68904 w 342900"/>
                  <a:gd name="connsiteY167" fmla="*/ 171440 h 419100"/>
                  <a:gd name="connsiteX168" fmla="*/ 50159 w 342900"/>
                  <a:gd name="connsiteY168" fmla="*/ 162068 h 419100"/>
                  <a:gd name="connsiteX169" fmla="*/ 77324 w 342900"/>
                  <a:gd name="connsiteY169" fmla="*/ 145056 h 419100"/>
                  <a:gd name="connsiteX170" fmla="*/ 31671 w 342900"/>
                  <a:gd name="connsiteY170" fmla="*/ 277625 h 419100"/>
                  <a:gd name="connsiteX171" fmla="*/ 49578 w 342900"/>
                  <a:gd name="connsiteY171" fmla="*/ 270462 h 419100"/>
                  <a:gd name="connsiteX172" fmla="*/ 71552 w 342900"/>
                  <a:gd name="connsiteY172" fmla="*/ 292789 h 419100"/>
                  <a:gd name="connsiteX173" fmla="*/ 63017 w 342900"/>
                  <a:gd name="connsiteY173" fmla="*/ 309867 h 419100"/>
                  <a:gd name="connsiteX174" fmla="*/ 31671 w 342900"/>
                  <a:gd name="connsiteY174" fmla="*/ 277625 h 419100"/>
                  <a:gd name="connsiteX175" fmla="*/ 73409 w 342900"/>
                  <a:gd name="connsiteY175" fmla="*/ 359159 h 419100"/>
                  <a:gd name="connsiteX176" fmla="*/ 61093 w 342900"/>
                  <a:gd name="connsiteY176" fmla="*/ 371475 h 419100"/>
                  <a:gd name="connsiteX177" fmla="*/ 47625 w 342900"/>
                  <a:gd name="connsiteY177" fmla="*/ 358007 h 419100"/>
                  <a:gd name="connsiteX178" fmla="*/ 59941 w 342900"/>
                  <a:gd name="connsiteY178" fmla="*/ 345691 h 419100"/>
                  <a:gd name="connsiteX179" fmla="*/ 66675 w 342900"/>
                  <a:gd name="connsiteY179" fmla="*/ 342900 h 419100"/>
                  <a:gd name="connsiteX180" fmla="*/ 73409 w 342900"/>
                  <a:gd name="connsiteY180" fmla="*/ 345691 h 419100"/>
                  <a:gd name="connsiteX181" fmla="*/ 76200 w 342900"/>
                  <a:gd name="connsiteY181" fmla="*/ 352425 h 419100"/>
                  <a:gd name="connsiteX182" fmla="*/ 73409 w 342900"/>
                  <a:gd name="connsiteY182" fmla="*/ 359159 h 419100"/>
                  <a:gd name="connsiteX183" fmla="*/ 21841 w 342900"/>
                  <a:gd name="connsiteY183" fmla="*/ 397259 h 419100"/>
                  <a:gd name="connsiteX184" fmla="*/ 19050 w 342900"/>
                  <a:gd name="connsiteY184" fmla="*/ 390525 h 419100"/>
                  <a:gd name="connsiteX185" fmla="*/ 21841 w 342900"/>
                  <a:gd name="connsiteY185" fmla="*/ 383791 h 419100"/>
                  <a:gd name="connsiteX186" fmla="*/ 34157 w 342900"/>
                  <a:gd name="connsiteY186" fmla="*/ 371475 h 419100"/>
                  <a:gd name="connsiteX187" fmla="*/ 47625 w 342900"/>
                  <a:gd name="connsiteY187" fmla="*/ 384943 h 419100"/>
                  <a:gd name="connsiteX188" fmla="*/ 35309 w 342900"/>
                  <a:gd name="connsiteY188" fmla="*/ 397259 h 419100"/>
                  <a:gd name="connsiteX189" fmla="*/ 21841 w 342900"/>
                  <a:gd name="connsiteY189" fmla="*/ 397259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342900" h="419100">
                    <a:moveTo>
                      <a:pt x="86878" y="372628"/>
                    </a:moveTo>
                    <a:cubicBezTo>
                      <a:pt x="92278" y="367236"/>
                      <a:pt x="95250" y="360055"/>
                      <a:pt x="95250" y="352425"/>
                    </a:cubicBezTo>
                    <a:cubicBezTo>
                      <a:pt x="95250" y="348491"/>
                      <a:pt x="94431" y="344691"/>
                      <a:pt x="92926" y="341186"/>
                    </a:cubicBezTo>
                    <a:cubicBezTo>
                      <a:pt x="99060" y="342233"/>
                      <a:pt x="105327" y="342900"/>
                      <a:pt x="111757" y="342900"/>
                    </a:cubicBezTo>
                    <a:cubicBezTo>
                      <a:pt x="157715" y="342900"/>
                      <a:pt x="198453" y="315316"/>
                      <a:pt x="215532" y="272644"/>
                    </a:cubicBezTo>
                    <a:lnTo>
                      <a:pt x="222914" y="254175"/>
                    </a:lnTo>
                    <a:cubicBezTo>
                      <a:pt x="225752" y="247088"/>
                      <a:pt x="229924" y="240744"/>
                      <a:pt x="235334" y="235334"/>
                    </a:cubicBezTo>
                    <a:cubicBezTo>
                      <a:pt x="240744" y="229924"/>
                      <a:pt x="247079" y="225752"/>
                      <a:pt x="254175" y="222914"/>
                    </a:cubicBezTo>
                    <a:lnTo>
                      <a:pt x="272644" y="215532"/>
                    </a:lnTo>
                    <a:cubicBezTo>
                      <a:pt x="315316" y="198453"/>
                      <a:pt x="342900" y="157724"/>
                      <a:pt x="342900" y="111757"/>
                    </a:cubicBezTo>
                    <a:cubicBezTo>
                      <a:pt x="342900" y="50140"/>
                      <a:pt x="292760" y="0"/>
                      <a:pt x="231143" y="0"/>
                    </a:cubicBezTo>
                    <a:cubicBezTo>
                      <a:pt x="185185" y="0"/>
                      <a:pt x="144447" y="27584"/>
                      <a:pt x="127368" y="70256"/>
                    </a:cubicBezTo>
                    <a:lnTo>
                      <a:pt x="119986" y="88725"/>
                    </a:lnTo>
                    <a:cubicBezTo>
                      <a:pt x="117148" y="95812"/>
                      <a:pt x="112976" y="102156"/>
                      <a:pt x="107566" y="107566"/>
                    </a:cubicBezTo>
                    <a:cubicBezTo>
                      <a:pt x="102156" y="112976"/>
                      <a:pt x="95822" y="117148"/>
                      <a:pt x="88725" y="119986"/>
                    </a:cubicBezTo>
                    <a:lnTo>
                      <a:pt x="70256" y="127368"/>
                    </a:lnTo>
                    <a:cubicBezTo>
                      <a:pt x="27584" y="144447"/>
                      <a:pt x="0" y="185176"/>
                      <a:pt x="0" y="231143"/>
                    </a:cubicBezTo>
                    <a:cubicBezTo>
                      <a:pt x="0" y="271786"/>
                      <a:pt x="21879" y="307315"/>
                      <a:pt x="54397" y="326879"/>
                    </a:cubicBezTo>
                    <a:cubicBezTo>
                      <a:pt x="51511" y="328203"/>
                      <a:pt x="48778" y="329908"/>
                      <a:pt x="46472" y="332223"/>
                    </a:cubicBezTo>
                    <a:lnTo>
                      <a:pt x="8372" y="370323"/>
                    </a:lnTo>
                    <a:cubicBezTo>
                      <a:pt x="2981" y="375714"/>
                      <a:pt x="0" y="382896"/>
                      <a:pt x="0" y="390525"/>
                    </a:cubicBezTo>
                    <a:cubicBezTo>
                      <a:pt x="0" y="398155"/>
                      <a:pt x="2981" y="405336"/>
                      <a:pt x="8372" y="410728"/>
                    </a:cubicBezTo>
                    <a:cubicBezTo>
                      <a:pt x="13764" y="416119"/>
                      <a:pt x="20945" y="419100"/>
                      <a:pt x="28575" y="419100"/>
                    </a:cubicBezTo>
                    <a:cubicBezTo>
                      <a:pt x="36205" y="419100"/>
                      <a:pt x="43386" y="416119"/>
                      <a:pt x="48778" y="410728"/>
                    </a:cubicBezTo>
                    <a:lnTo>
                      <a:pt x="86878" y="372628"/>
                    </a:lnTo>
                    <a:close/>
                    <a:moveTo>
                      <a:pt x="80153" y="318183"/>
                    </a:moveTo>
                    <a:lnTo>
                      <a:pt x="88716" y="301057"/>
                    </a:lnTo>
                    <a:cubicBezTo>
                      <a:pt x="95974" y="303457"/>
                      <a:pt x="103708" y="304800"/>
                      <a:pt x="111757" y="304800"/>
                    </a:cubicBezTo>
                    <a:cubicBezTo>
                      <a:pt x="116472" y="304800"/>
                      <a:pt x="121053" y="304209"/>
                      <a:pt x="125559" y="303362"/>
                    </a:cubicBezTo>
                    <a:lnTo>
                      <a:pt x="130169" y="321802"/>
                    </a:lnTo>
                    <a:cubicBezTo>
                      <a:pt x="124177" y="323012"/>
                      <a:pt x="118062" y="323850"/>
                      <a:pt x="111757" y="323850"/>
                    </a:cubicBezTo>
                    <a:cubicBezTo>
                      <a:pt x="100651" y="323850"/>
                      <a:pt x="90040" y="321783"/>
                      <a:pt x="80153" y="318183"/>
                    </a:cubicBezTo>
                    <a:close/>
                    <a:moveTo>
                      <a:pt x="19050" y="231143"/>
                    </a:moveTo>
                    <a:cubicBezTo>
                      <a:pt x="19050" y="230276"/>
                      <a:pt x="19221" y="229457"/>
                      <a:pt x="19241" y="228600"/>
                    </a:cubicBezTo>
                    <a:lnTo>
                      <a:pt x="38291" y="228600"/>
                    </a:lnTo>
                    <a:cubicBezTo>
                      <a:pt x="38262" y="229457"/>
                      <a:pt x="38100" y="230276"/>
                      <a:pt x="38100" y="231143"/>
                    </a:cubicBezTo>
                    <a:cubicBezTo>
                      <a:pt x="38100" y="238820"/>
                      <a:pt x="39291" y="246221"/>
                      <a:pt x="41472" y="253184"/>
                    </a:cubicBezTo>
                    <a:lnTo>
                      <a:pt x="23793" y="260252"/>
                    </a:lnTo>
                    <a:cubicBezTo>
                      <a:pt x="20755" y="251079"/>
                      <a:pt x="19050" y="241316"/>
                      <a:pt x="19050" y="231143"/>
                    </a:cubicBezTo>
                    <a:close/>
                    <a:moveTo>
                      <a:pt x="54197" y="185385"/>
                    </a:moveTo>
                    <a:cubicBezTo>
                      <a:pt x="48482" y="192557"/>
                      <a:pt x="44006" y="200673"/>
                      <a:pt x="41310" y="209550"/>
                    </a:cubicBezTo>
                    <a:lnTo>
                      <a:pt x="21822" y="209550"/>
                    </a:lnTo>
                    <a:cubicBezTo>
                      <a:pt x="24660" y="197587"/>
                      <a:pt x="29728" y="186461"/>
                      <a:pt x="36824" y="176698"/>
                    </a:cubicBezTo>
                    <a:lnTo>
                      <a:pt x="54197" y="185385"/>
                    </a:lnTo>
                    <a:close/>
                    <a:moveTo>
                      <a:pt x="231143" y="57150"/>
                    </a:moveTo>
                    <a:cubicBezTo>
                      <a:pt x="235296" y="57150"/>
                      <a:pt x="239335" y="57655"/>
                      <a:pt x="243230" y="58541"/>
                    </a:cubicBezTo>
                    <a:cubicBezTo>
                      <a:pt x="246078" y="63979"/>
                      <a:pt x="247650" y="69990"/>
                      <a:pt x="247650" y="76200"/>
                    </a:cubicBezTo>
                    <a:cubicBezTo>
                      <a:pt x="247650" y="97212"/>
                      <a:pt x="230562" y="114300"/>
                      <a:pt x="209550" y="114300"/>
                    </a:cubicBezTo>
                    <a:cubicBezTo>
                      <a:pt x="196777" y="114300"/>
                      <a:pt x="185071" y="107937"/>
                      <a:pt x="178022" y="97498"/>
                    </a:cubicBezTo>
                    <a:lnTo>
                      <a:pt x="180432" y="91478"/>
                    </a:lnTo>
                    <a:cubicBezTo>
                      <a:pt x="188776" y="70628"/>
                      <a:pt x="208683" y="57150"/>
                      <a:pt x="231143" y="57150"/>
                    </a:cubicBezTo>
                    <a:close/>
                    <a:moveTo>
                      <a:pt x="143056" y="152419"/>
                    </a:moveTo>
                    <a:cubicBezTo>
                      <a:pt x="147914" y="152610"/>
                      <a:pt x="152400" y="156753"/>
                      <a:pt x="152400" y="161925"/>
                    </a:cubicBezTo>
                    <a:cubicBezTo>
                      <a:pt x="152400" y="167183"/>
                      <a:pt x="148133" y="171450"/>
                      <a:pt x="142875" y="171450"/>
                    </a:cubicBezTo>
                    <a:cubicBezTo>
                      <a:pt x="137617" y="171450"/>
                      <a:pt x="133350" y="167183"/>
                      <a:pt x="133350" y="161925"/>
                    </a:cubicBezTo>
                    <a:cubicBezTo>
                      <a:pt x="133350" y="161201"/>
                      <a:pt x="133636" y="160534"/>
                      <a:pt x="133788" y="159849"/>
                    </a:cubicBezTo>
                    <a:cubicBezTo>
                      <a:pt x="136998" y="157544"/>
                      <a:pt x="140084" y="155067"/>
                      <a:pt x="143056" y="152419"/>
                    </a:cubicBezTo>
                    <a:close/>
                    <a:moveTo>
                      <a:pt x="109947" y="173050"/>
                    </a:moveTo>
                    <a:cubicBezTo>
                      <a:pt x="111928" y="172260"/>
                      <a:pt x="113805" y="171288"/>
                      <a:pt x="115729" y="170393"/>
                    </a:cubicBezTo>
                    <a:cubicBezTo>
                      <a:pt x="119358" y="182004"/>
                      <a:pt x="130083" y="190500"/>
                      <a:pt x="142875" y="190500"/>
                    </a:cubicBezTo>
                    <a:cubicBezTo>
                      <a:pt x="158629" y="190500"/>
                      <a:pt x="171450" y="177679"/>
                      <a:pt x="171450" y="161925"/>
                    </a:cubicBezTo>
                    <a:cubicBezTo>
                      <a:pt x="171450" y="151419"/>
                      <a:pt x="165687" y="142323"/>
                      <a:pt x="157220" y="137360"/>
                    </a:cubicBezTo>
                    <a:cubicBezTo>
                      <a:pt x="162106" y="131083"/>
                      <a:pt x="166287" y="124311"/>
                      <a:pt x="169755" y="117100"/>
                    </a:cubicBezTo>
                    <a:cubicBezTo>
                      <a:pt x="180261" y="127321"/>
                      <a:pt x="194396" y="133350"/>
                      <a:pt x="209550" y="133350"/>
                    </a:cubicBezTo>
                    <a:cubicBezTo>
                      <a:pt x="241068" y="133350"/>
                      <a:pt x="266700" y="107718"/>
                      <a:pt x="266700" y="76200"/>
                    </a:cubicBezTo>
                    <a:cubicBezTo>
                      <a:pt x="266700" y="74114"/>
                      <a:pt x="266481" y="72057"/>
                      <a:pt x="266252" y="69999"/>
                    </a:cubicBezTo>
                    <a:cubicBezTo>
                      <a:pt x="278159" y="80029"/>
                      <a:pt x="285750" y="95021"/>
                      <a:pt x="285750" y="111757"/>
                    </a:cubicBezTo>
                    <a:cubicBezTo>
                      <a:pt x="285750" y="134207"/>
                      <a:pt x="272272" y="154115"/>
                      <a:pt x="251422" y="162458"/>
                    </a:cubicBezTo>
                    <a:lnTo>
                      <a:pt x="246688" y="164354"/>
                    </a:lnTo>
                    <a:cubicBezTo>
                      <a:pt x="239554" y="156867"/>
                      <a:pt x="229581" y="152400"/>
                      <a:pt x="219075" y="152400"/>
                    </a:cubicBezTo>
                    <a:cubicBezTo>
                      <a:pt x="198063" y="152400"/>
                      <a:pt x="180975" y="169488"/>
                      <a:pt x="180975" y="190500"/>
                    </a:cubicBezTo>
                    <a:cubicBezTo>
                      <a:pt x="180975" y="196244"/>
                      <a:pt x="182309" y="201759"/>
                      <a:pt x="184728" y="206826"/>
                    </a:cubicBezTo>
                    <a:cubicBezTo>
                      <a:pt x="182670" y="209540"/>
                      <a:pt x="180727" y="212331"/>
                      <a:pt x="178937" y="215217"/>
                    </a:cubicBezTo>
                    <a:cubicBezTo>
                      <a:pt x="174117" y="211646"/>
                      <a:pt x="168192" y="209550"/>
                      <a:pt x="161925" y="209550"/>
                    </a:cubicBezTo>
                    <a:cubicBezTo>
                      <a:pt x="146171" y="209550"/>
                      <a:pt x="133350" y="222371"/>
                      <a:pt x="133350" y="238125"/>
                    </a:cubicBezTo>
                    <a:cubicBezTo>
                      <a:pt x="133350" y="251193"/>
                      <a:pt x="142227" y="262128"/>
                      <a:pt x="154229" y="265509"/>
                    </a:cubicBezTo>
                    <a:cubicBezTo>
                      <a:pt x="144056" y="278140"/>
                      <a:pt x="128626" y="285750"/>
                      <a:pt x="111757" y="285750"/>
                    </a:cubicBezTo>
                    <a:cubicBezTo>
                      <a:pt x="103327" y="285750"/>
                      <a:pt x="95364" y="283769"/>
                      <a:pt x="88230" y="280349"/>
                    </a:cubicBezTo>
                    <a:cubicBezTo>
                      <a:pt x="103632" y="272444"/>
                      <a:pt x="114300" y="256584"/>
                      <a:pt x="114300" y="238125"/>
                    </a:cubicBezTo>
                    <a:cubicBezTo>
                      <a:pt x="114300" y="214570"/>
                      <a:pt x="97069" y="195091"/>
                      <a:pt x="74571" y="191300"/>
                    </a:cubicBezTo>
                    <a:cubicBezTo>
                      <a:pt x="79419" y="186785"/>
                      <a:pt x="85049" y="183013"/>
                      <a:pt x="91478" y="180432"/>
                    </a:cubicBezTo>
                    <a:lnTo>
                      <a:pt x="109947" y="173050"/>
                    </a:lnTo>
                    <a:close/>
                    <a:moveTo>
                      <a:pt x="323850" y="111757"/>
                    </a:moveTo>
                    <a:cubicBezTo>
                      <a:pt x="323850" y="122301"/>
                      <a:pt x="321945" y="132436"/>
                      <a:pt x="318668" y="141989"/>
                    </a:cubicBezTo>
                    <a:lnTo>
                      <a:pt x="301904" y="131931"/>
                    </a:lnTo>
                    <a:cubicBezTo>
                      <a:pt x="303733" y="125482"/>
                      <a:pt x="304800" y="118729"/>
                      <a:pt x="304800" y="111757"/>
                    </a:cubicBezTo>
                    <a:cubicBezTo>
                      <a:pt x="304800" y="108728"/>
                      <a:pt x="304562" y="105756"/>
                      <a:pt x="304200" y="102822"/>
                    </a:cubicBezTo>
                    <a:lnTo>
                      <a:pt x="322736" y="98184"/>
                    </a:lnTo>
                    <a:cubicBezTo>
                      <a:pt x="323402" y="102632"/>
                      <a:pt x="323850" y="107137"/>
                      <a:pt x="323850" y="111757"/>
                    </a:cubicBezTo>
                    <a:close/>
                    <a:moveTo>
                      <a:pt x="164087" y="247374"/>
                    </a:moveTo>
                    <a:cubicBezTo>
                      <a:pt x="163382" y="247536"/>
                      <a:pt x="162668" y="247650"/>
                      <a:pt x="161925" y="247650"/>
                    </a:cubicBezTo>
                    <a:cubicBezTo>
                      <a:pt x="156667" y="247650"/>
                      <a:pt x="152400" y="243383"/>
                      <a:pt x="152400" y="238125"/>
                    </a:cubicBezTo>
                    <a:cubicBezTo>
                      <a:pt x="152400" y="232867"/>
                      <a:pt x="156667" y="228600"/>
                      <a:pt x="161925" y="228600"/>
                    </a:cubicBezTo>
                    <a:cubicBezTo>
                      <a:pt x="165183" y="228600"/>
                      <a:pt x="168135" y="230305"/>
                      <a:pt x="169859" y="232934"/>
                    </a:cubicBezTo>
                    <a:cubicBezTo>
                      <a:pt x="169859" y="232943"/>
                      <a:pt x="169850" y="232953"/>
                      <a:pt x="169850" y="232962"/>
                    </a:cubicBezTo>
                    <a:lnTo>
                      <a:pt x="164087" y="247374"/>
                    </a:lnTo>
                    <a:close/>
                    <a:moveTo>
                      <a:pt x="200044" y="190300"/>
                    </a:moveTo>
                    <a:cubicBezTo>
                      <a:pt x="200158" y="179889"/>
                      <a:pt x="208645" y="171450"/>
                      <a:pt x="219075" y="171450"/>
                    </a:cubicBezTo>
                    <a:cubicBezTo>
                      <a:pt x="221580" y="171450"/>
                      <a:pt x="223942" y="172069"/>
                      <a:pt x="226171" y="172964"/>
                    </a:cubicBezTo>
                    <a:cubicBezTo>
                      <a:pt x="216656" y="177508"/>
                      <a:pt x="207921" y="183309"/>
                      <a:pt x="200044" y="190300"/>
                    </a:cubicBezTo>
                    <a:close/>
                    <a:moveTo>
                      <a:pt x="57150" y="231143"/>
                    </a:moveTo>
                    <a:cubicBezTo>
                      <a:pt x="57150" y="223704"/>
                      <a:pt x="58750" y="216608"/>
                      <a:pt x="61484" y="210064"/>
                    </a:cubicBezTo>
                    <a:cubicBezTo>
                      <a:pt x="63189" y="209750"/>
                      <a:pt x="64922" y="209550"/>
                      <a:pt x="66675" y="209550"/>
                    </a:cubicBezTo>
                    <a:cubicBezTo>
                      <a:pt x="82429" y="209550"/>
                      <a:pt x="95250" y="222371"/>
                      <a:pt x="95250" y="238125"/>
                    </a:cubicBezTo>
                    <a:cubicBezTo>
                      <a:pt x="95250" y="252593"/>
                      <a:pt x="84401" y="264452"/>
                      <a:pt x="70056" y="266319"/>
                    </a:cubicBezTo>
                    <a:cubicBezTo>
                      <a:pt x="62017" y="256804"/>
                      <a:pt x="57150" y="244535"/>
                      <a:pt x="57150" y="231143"/>
                    </a:cubicBezTo>
                    <a:close/>
                    <a:moveTo>
                      <a:pt x="148390" y="316163"/>
                    </a:moveTo>
                    <a:lnTo>
                      <a:pt x="143742" y="297561"/>
                    </a:lnTo>
                    <a:cubicBezTo>
                      <a:pt x="156105" y="291627"/>
                      <a:pt x="166564" y="282197"/>
                      <a:pt x="174012" y="270320"/>
                    </a:cubicBezTo>
                    <a:lnTo>
                      <a:pt x="189824" y="280864"/>
                    </a:lnTo>
                    <a:cubicBezTo>
                      <a:pt x="179765" y="296732"/>
                      <a:pt x="165325" y="308905"/>
                      <a:pt x="148390" y="316163"/>
                    </a:cubicBezTo>
                    <a:close/>
                    <a:moveTo>
                      <a:pt x="205226" y="247098"/>
                    </a:moveTo>
                    <a:lnTo>
                      <a:pt x="198549" y="263785"/>
                    </a:lnTo>
                    <a:lnTo>
                      <a:pt x="182356" y="252984"/>
                    </a:lnTo>
                    <a:lnTo>
                      <a:pt x="187538" y="240020"/>
                    </a:lnTo>
                    <a:cubicBezTo>
                      <a:pt x="191319" y="230553"/>
                      <a:pt x="196577" y="221933"/>
                      <a:pt x="203102" y="214227"/>
                    </a:cubicBezTo>
                    <a:lnTo>
                      <a:pt x="218380" y="225685"/>
                    </a:lnTo>
                    <a:cubicBezTo>
                      <a:pt x="212846" y="232058"/>
                      <a:pt x="208388" y="239211"/>
                      <a:pt x="205226" y="247098"/>
                    </a:cubicBezTo>
                    <a:close/>
                    <a:moveTo>
                      <a:pt x="247098" y="205226"/>
                    </a:moveTo>
                    <a:cubicBezTo>
                      <a:pt x="242059" y="207245"/>
                      <a:pt x="237334" y="209788"/>
                      <a:pt x="232905" y="212789"/>
                    </a:cubicBezTo>
                    <a:lnTo>
                      <a:pt x="217008" y="200863"/>
                    </a:lnTo>
                    <a:cubicBezTo>
                      <a:pt x="223999" y="195386"/>
                      <a:pt x="231677" y="190881"/>
                      <a:pt x="240020" y="187547"/>
                    </a:cubicBezTo>
                    <a:lnTo>
                      <a:pt x="252146" y="182699"/>
                    </a:lnTo>
                    <a:lnTo>
                      <a:pt x="260690" y="199796"/>
                    </a:lnTo>
                    <a:lnTo>
                      <a:pt x="247098" y="205226"/>
                    </a:lnTo>
                    <a:close/>
                    <a:moveTo>
                      <a:pt x="277987" y="191767"/>
                    </a:moveTo>
                    <a:lnTo>
                      <a:pt x="269424" y="174631"/>
                    </a:lnTo>
                    <a:cubicBezTo>
                      <a:pt x="279787" y="168354"/>
                      <a:pt x="288169" y="159677"/>
                      <a:pt x="294237" y="149543"/>
                    </a:cubicBezTo>
                    <a:lnTo>
                      <a:pt x="310553" y="159325"/>
                    </a:lnTo>
                    <a:cubicBezTo>
                      <a:pt x="302647" y="172526"/>
                      <a:pt x="291656" y="183804"/>
                      <a:pt x="277987" y="191767"/>
                    </a:cubicBezTo>
                    <a:close/>
                    <a:moveTo>
                      <a:pt x="318030" y="79743"/>
                    </a:moveTo>
                    <a:lnTo>
                      <a:pt x="299466" y="84382"/>
                    </a:lnTo>
                    <a:cubicBezTo>
                      <a:pt x="295446" y="74381"/>
                      <a:pt x="289293" y="65494"/>
                      <a:pt x="281578" y="58217"/>
                    </a:cubicBezTo>
                    <a:lnTo>
                      <a:pt x="290417" y="40548"/>
                    </a:lnTo>
                    <a:cubicBezTo>
                      <a:pt x="302781" y="50864"/>
                      <a:pt x="312344" y="64370"/>
                      <a:pt x="318030" y="79743"/>
                    </a:cubicBezTo>
                    <a:close/>
                    <a:moveTo>
                      <a:pt x="274463" y="29851"/>
                    </a:moveTo>
                    <a:lnTo>
                      <a:pt x="265957" y="46873"/>
                    </a:lnTo>
                    <a:cubicBezTo>
                      <a:pt x="255584" y="41281"/>
                      <a:pt x="243726" y="38100"/>
                      <a:pt x="231143" y="38100"/>
                    </a:cubicBezTo>
                    <a:cubicBezTo>
                      <a:pt x="228038" y="38100"/>
                      <a:pt x="225009" y="38414"/>
                      <a:pt x="221990" y="38786"/>
                    </a:cubicBezTo>
                    <a:lnTo>
                      <a:pt x="214732" y="20641"/>
                    </a:lnTo>
                    <a:cubicBezTo>
                      <a:pt x="220085" y="19688"/>
                      <a:pt x="225542" y="19050"/>
                      <a:pt x="231143" y="19050"/>
                    </a:cubicBezTo>
                    <a:cubicBezTo>
                      <a:pt x="246783" y="19050"/>
                      <a:pt x="261518" y="22984"/>
                      <a:pt x="274463" y="29851"/>
                    </a:cubicBezTo>
                    <a:close/>
                    <a:moveTo>
                      <a:pt x="196358" y="26013"/>
                    </a:moveTo>
                    <a:lnTo>
                      <a:pt x="203416" y="43672"/>
                    </a:lnTo>
                    <a:cubicBezTo>
                      <a:pt x="193319" y="47768"/>
                      <a:pt x="184309" y="54016"/>
                      <a:pt x="176946" y="62084"/>
                    </a:cubicBezTo>
                    <a:lnTo>
                      <a:pt x="160906" y="51387"/>
                    </a:lnTo>
                    <a:cubicBezTo>
                      <a:pt x="170536" y="40138"/>
                      <a:pt x="182690" y="31528"/>
                      <a:pt x="196358" y="26013"/>
                    </a:cubicBezTo>
                    <a:close/>
                    <a:moveTo>
                      <a:pt x="145056" y="77324"/>
                    </a:moveTo>
                    <a:cubicBezTo>
                      <a:pt x="146495" y="73733"/>
                      <a:pt x="148266" y="70371"/>
                      <a:pt x="150085" y="67056"/>
                    </a:cubicBezTo>
                    <a:lnTo>
                      <a:pt x="166030" y="77686"/>
                    </a:lnTo>
                    <a:cubicBezTo>
                      <a:pt x="164878" y="79886"/>
                      <a:pt x="163678" y="82058"/>
                      <a:pt x="162744" y="84401"/>
                    </a:cubicBezTo>
                    <a:lnTo>
                      <a:pt x="155362" y="102870"/>
                    </a:lnTo>
                    <a:cubicBezTo>
                      <a:pt x="154581" y="104832"/>
                      <a:pt x="153638" y="106699"/>
                      <a:pt x="152743" y="108585"/>
                    </a:cubicBezTo>
                    <a:lnTo>
                      <a:pt x="135722" y="100070"/>
                    </a:lnTo>
                    <a:cubicBezTo>
                      <a:pt x="136388" y="98650"/>
                      <a:pt x="137103" y="97260"/>
                      <a:pt x="137684" y="95793"/>
                    </a:cubicBezTo>
                    <a:lnTo>
                      <a:pt x="145056" y="77324"/>
                    </a:lnTo>
                    <a:close/>
                    <a:moveTo>
                      <a:pt x="121034" y="121034"/>
                    </a:moveTo>
                    <a:cubicBezTo>
                      <a:pt x="122577" y="119491"/>
                      <a:pt x="124006" y="117862"/>
                      <a:pt x="125397" y="116215"/>
                    </a:cubicBezTo>
                    <a:lnTo>
                      <a:pt x="142761" y="124901"/>
                    </a:lnTo>
                    <a:cubicBezTo>
                      <a:pt x="140208" y="128245"/>
                      <a:pt x="137512" y="131493"/>
                      <a:pt x="134503" y="134503"/>
                    </a:cubicBezTo>
                    <a:cubicBezTo>
                      <a:pt x="128692" y="140322"/>
                      <a:pt x="122158" y="145199"/>
                      <a:pt x="115119" y="149276"/>
                    </a:cubicBezTo>
                    <a:lnTo>
                      <a:pt x="101089" y="135245"/>
                    </a:lnTo>
                    <a:cubicBezTo>
                      <a:pt x="108461" y="131616"/>
                      <a:pt x="115176" y="126902"/>
                      <a:pt x="121034" y="121034"/>
                    </a:cubicBezTo>
                    <a:close/>
                    <a:moveTo>
                      <a:pt x="77324" y="145056"/>
                    </a:moveTo>
                    <a:lnTo>
                      <a:pt x="82067" y="143161"/>
                    </a:lnTo>
                    <a:lnTo>
                      <a:pt x="96726" y="157820"/>
                    </a:lnTo>
                    <a:lnTo>
                      <a:pt x="84411" y="162744"/>
                    </a:lnTo>
                    <a:cubicBezTo>
                      <a:pt x="78781" y="165002"/>
                      <a:pt x="73676" y="168031"/>
                      <a:pt x="68904" y="171440"/>
                    </a:cubicBezTo>
                    <a:lnTo>
                      <a:pt x="50159" y="162068"/>
                    </a:lnTo>
                    <a:cubicBezTo>
                      <a:pt x="58045" y="155048"/>
                      <a:pt x="67085" y="149162"/>
                      <a:pt x="77324" y="145056"/>
                    </a:cubicBezTo>
                    <a:close/>
                    <a:moveTo>
                      <a:pt x="31671" y="277625"/>
                    </a:moveTo>
                    <a:lnTo>
                      <a:pt x="49578" y="270462"/>
                    </a:lnTo>
                    <a:cubicBezTo>
                      <a:pt x="55235" y="279378"/>
                      <a:pt x="62722" y="287007"/>
                      <a:pt x="71552" y="292789"/>
                    </a:cubicBezTo>
                    <a:lnTo>
                      <a:pt x="63017" y="309867"/>
                    </a:lnTo>
                    <a:cubicBezTo>
                      <a:pt x="50111" y="301838"/>
                      <a:pt x="39329" y="290770"/>
                      <a:pt x="31671" y="277625"/>
                    </a:cubicBezTo>
                    <a:close/>
                    <a:moveTo>
                      <a:pt x="73409" y="359159"/>
                    </a:moveTo>
                    <a:lnTo>
                      <a:pt x="61093" y="371475"/>
                    </a:lnTo>
                    <a:lnTo>
                      <a:pt x="47625" y="358007"/>
                    </a:lnTo>
                    <a:lnTo>
                      <a:pt x="59941" y="345691"/>
                    </a:lnTo>
                    <a:cubicBezTo>
                      <a:pt x="61760" y="343872"/>
                      <a:pt x="64094" y="342900"/>
                      <a:pt x="66675" y="342900"/>
                    </a:cubicBezTo>
                    <a:cubicBezTo>
                      <a:pt x="69256" y="342900"/>
                      <a:pt x="71590" y="343872"/>
                      <a:pt x="73409" y="345691"/>
                    </a:cubicBezTo>
                    <a:cubicBezTo>
                      <a:pt x="75228" y="347510"/>
                      <a:pt x="76200" y="349844"/>
                      <a:pt x="76200" y="352425"/>
                    </a:cubicBezTo>
                    <a:cubicBezTo>
                      <a:pt x="76200" y="355006"/>
                      <a:pt x="75228" y="357340"/>
                      <a:pt x="73409" y="359159"/>
                    </a:cubicBezTo>
                    <a:close/>
                    <a:moveTo>
                      <a:pt x="21841" y="397259"/>
                    </a:moveTo>
                    <a:cubicBezTo>
                      <a:pt x="20022" y="395440"/>
                      <a:pt x="19050" y="393106"/>
                      <a:pt x="19050" y="390525"/>
                    </a:cubicBezTo>
                    <a:cubicBezTo>
                      <a:pt x="19050" y="387944"/>
                      <a:pt x="20022" y="385610"/>
                      <a:pt x="21841" y="383791"/>
                    </a:cubicBezTo>
                    <a:lnTo>
                      <a:pt x="34157" y="371475"/>
                    </a:lnTo>
                    <a:lnTo>
                      <a:pt x="47625" y="384943"/>
                    </a:lnTo>
                    <a:lnTo>
                      <a:pt x="35309" y="397259"/>
                    </a:lnTo>
                    <a:cubicBezTo>
                      <a:pt x="31661" y="400907"/>
                      <a:pt x="25489" y="400907"/>
                      <a:pt x="21841" y="397259"/>
                    </a:cubicBezTo>
                    <a:close/>
                  </a:path>
                </a:pathLst>
              </a:custGeom>
              <a:grpFill/>
              <a:ln w="9525" cap="flat">
                <a:noFill/>
                <a:prstDash val="solid"/>
                <a:miter/>
              </a:ln>
            </p:spPr>
            <p:txBody>
              <a:bodyPr rtlCol="0" anchor="ctr"/>
              <a:lstStyle/>
              <a:p>
                <a:endParaRPr lang="pt-BR"/>
              </a:p>
            </p:txBody>
          </p:sp>
          <p:sp>
            <p:nvSpPr>
              <p:cNvPr id="71" name="Forma Livre: Forma 70">
                <a:extLst>
                  <a:ext uri="{FF2B5EF4-FFF2-40B4-BE49-F238E27FC236}">
                    <a16:creationId xmlns:a16="http://schemas.microsoft.com/office/drawing/2014/main" id="{5ACBDB0D-AFCB-79A9-1CB7-E530DDFDDDDC}"/>
                  </a:ext>
                </a:extLst>
              </p:cNvPr>
              <p:cNvSpPr/>
              <p:nvPr/>
            </p:nvSpPr>
            <p:spPr>
              <a:xfrm>
                <a:off x="12067296" y="688258"/>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 name="connsiteX5" fmla="*/ 28575 w 57150"/>
                  <a:gd name="connsiteY5" fmla="*/ 19050 h 57150"/>
                  <a:gd name="connsiteX6" fmla="*/ 38100 w 57150"/>
                  <a:gd name="connsiteY6" fmla="*/ 28575 h 57150"/>
                  <a:gd name="connsiteX7" fmla="*/ 28575 w 57150"/>
                  <a:gd name="connsiteY7" fmla="*/ 38100 h 57150"/>
                  <a:gd name="connsiteX8" fmla="*/ 19050 w 57150"/>
                  <a:gd name="connsiteY8" fmla="*/ 28575 h 57150"/>
                  <a:gd name="connsiteX9" fmla="*/ 28575 w 57150"/>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57150"/>
                    </a:moveTo>
                    <a:cubicBezTo>
                      <a:pt x="44329" y="57150"/>
                      <a:pt x="57150" y="44329"/>
                      <a:pt x="57150" y="28575"/>
                    </a:cubicBezTo>
                    <a:cubicBezTo>
                      <a:pt x="57150" y="12821"/>
                      <a:pt x="44329" y="0"/>
                      <a:pt x="28575" y="0"/>
                    </a:cubicBezTo>
                    <a:cubicBezTo>
                      <a:pt x="12821" y="0"/>
                      <a:pt x="0" y="12821"/>
                      <a:pt x="0" y="28575"/>
                    </a:cubicBezTo>
                    <a:cubicBezTo>
                      <a:pt x="0" y="44329"/>
                      <a:pt x="12821" y="57150"/>
                      <a:pt x="28575" y="57150"/>
                    </a:cubicBezTo>
                    <a:close/>
                    <a:moveTo>
                      <a:pt x="28575" y="19050"/>
                    </a:moveTo>
                    <a:cubicBezTo>
                      <a:pt x="33833" y="19050"/>
                      <a:pt x="38100" y="23317"/>
                      <a:pt x="38100" y="28575"/>
                    </a:cubicBezTo>
                    <a:cubicBezTo>
                      <a:pt x="38100" y="33833"/>
                      <a:pt x="33833" y="38100"/>
                      <a:pt x="28575" y="38100"/>
                    </a:cubicBezTo>
                    <a:cubicBezTo>
                      <a:pt x="23317" y="38100"/>
                      <a:pt x="19050" y="33833"/>
                      <a:pt x="19050" y="28575"/>
                    </a:cubicBezTo>
                    <a:cubicBezTo>
                      <a:pt x="19050" y="23317"/>
                      <a:pt x="23317" y="19050"/>
                      <a:pt x="28575" y="19050"/>
                    </a:cubicBezTo>
                    <a:close/>
                  </a:path>
                </a:pathLst>
              </a:custGeom>
              <a:grpFill/>
              <a:ln w="9525" cap="flat">
                <a:noFill/>
                <a:prstDash val="solid"/>
                <a:miter/>
              </a:ln>
            </p:spPr>
            <p:txBody>
              <a:bodyPr rtlCol="0" anchor="ctr"/>
              <a:lstStyle/>
              <a:p>
                <a:endParaRPr lang="pt-BR"/>
              </a:p>
            </p:txBody>
          </p:sp>
          <p:sp>
            <p:nvSpPr>
              <p:cNvPr id="72" name="Forma Livre: Forma 71">
                <a:extLst>
                  <a:ext uri="{FF2B5EF4-FFF2-40B4-BE49-F238E27FC236}">
                    <a16:creationId xmlns:a16="http://schemas.microsoft.com/office/drawing/2014/main" id="{487660D1-E916-433D-7EBC-8DB36130877A}"/>
                  </a:ext>
                </a:extLst>
              </p:cNvPr>
              <p:cNvSpPr/>
              <p:nvPr/>
            </p:nvSpPr>
            <p:spPr>
              <a:xfrm>
                <a:off x="12029196" y="650158"/>
                <a:ext cx="133350" cy="133350"/>
              </a:xfrm>
              <a:custGeom>
                <a:avLst/>
                <a:gdLst>
                  <a:gd name="connsiteX0" fmla="*/ 66675 w 133350"/>
                  <a:gd name="connsiteY0" fmla="*/ 133350 h 133350"/>
                  <a:gd name="connsiteX1" fmla="*/ 133350 w 133350"/>
                  <a:gd name="connsiteY1" fmla="*/ 66675 h 133350"/>
                  <a:gd name="connsiteX2" fmla="*/ 66675 w 133350"/>
                  <a:gd name="connsiteY2" fmla="*/ 0 h 133350"/>
                  <a:gd name="connsiteX3" fmla="*/ 0 w 133350"/>
                  <a:gd name="connsiteY3" fmla="*/ 66675 h 133350"/>
                  <a:gd name="connsiteX4" fmla="*/ 66675 w 133350"/>
                  <a:gd name="connsiteY4" fmla="*/ 133350 h 133350"/>
                  <a:gd name="connsiteX5" fmla="*/ 66675 w 133350"/>
                  <a:gd name="connsiteY5" fmla="*/ 19050 h 133350"/>
                  <a:gd name="connsiteX6" fmla="*/ 114300 w 133350"/>
                  <a:gd name="connsiteY6" fmla="*/ 66675 h 133350"/>
                  <a:gd name="connsiteX7" fmla="*/ 66675 w 133350"/>
                  <a:gd name="connsiteY7" fmla="*/ 114300 h 133350"/>
                  <a:gd name="connsiteX8" fmla="*/ 19050 w 133350"/>
                  <a:gd name="connsiteY8" fmla="*/ 66675 h 133350"/>
                  <a:gd name="connsiteX9" fmla="*/ 66675 w 133350"/>
                  <a:gd name="connsiteY9" fmla="*/ 190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133350"/>
                    </a:moveTo>
                    <a:cubicBezTo>
                      <a:pt x="103432" y="133350"/>
                      <a:pt x="133350" y="103432"/>
                      <a:pt x="133350" y="66675"/>
                    </a:cubicBezTo>
                    <a:cubicBezTo>
                      <a:pt x="133350" y="29918"/>
                      <a:pt x="103432" y="0"/>
                      <a:pt x="66675" y="0"/>
                    </a:cubicBezTo>
                    <a:cubicBezTo>
                      <a:pt x="29918" y="0"/>
                      <a:pt x="0" y="29918"/>
                      <a:pt x="0" y="66675"/>
                    </a:cubicBezTo>
                    <a:cubicBezTo>
                      <a:pt x="0" y="103432"/>
                      <a:pt x="29918" y="133350"/>
                      <a:pt x="66675" y="133350"/>
                    </a:cubicBezTo>
                    <a:close/>
                    <a:moveTo>
                      <a:pt x="66675" y="19050"/>
                    </a:moveTo>
                    <a:cubicBezTo>
                      <a:pt x="92935" y="19050"/>
                      <a:pt x="114300" y="40415"/>
                      <a:pt x="114300" y="66675"/>
                    </a:cubicBezTo>
                    <a:cubicBezTo>
                      <a:pt x="114300" y="92935"/>
                      <a:pt x="92935" y="114300"/>
                      <a:pt x="66675" y="114300"/>
                    </a:cubicBezTo>
                    <a:cubicBezTo>
                      <a:pt x="40415" y="114300"/>
                      <a:pt x="19050" y="92935"/>
                      <a:pt x="19050" y="66675"/>
                    </a:cubicBezTo>
                    <a:cubicBezTo>
                      <a:pt x="19050" y="40415"/>
                      <a:pt x="40415" y="19050"/>
                      <a:pt x="66675" y="19050"/>
                    </a:cubicBezTo>
                    <a:close/>
                  </a:path>
                </a:pathLst>
              </a:custGeom>
              <a:grpFill/>
              <a:ln w="9525" cap="flat">
                <a:noFill/>
                <a:prstDash val="solid"/>
                <a:miter/>
              </a:ln>
            </p:spPr>
            <p:txBody>
              <a:bodyPr rtlCol="0" anchor="ctr"/>
              <a:lstStyle/>
              <a:p>
                <a:endParaRPr lang="pt-BR"/>
              </a:p>
            </p:txBody>
          </p:sp>
          <p:sp>
            <p:nvSpPr>
              <p:cNvPr id="73" name="Forma Livre: Forma 72">
                <a:extLst>
                  <a:ext uri="{FF2B5EF4-FFF2-40B4-BE49-F238E27FC236}">
                    <a16:creationId xmlns:a16="http://schemas.microsoft.com/office/drawing/2014/main" id="{0705F48A-6390-E8C7-AECD-A9B004A8CD3A}"/>
                  </a:ext>
                </a:extLst>
              </p:cNvPr>
              <p:cNvSpPr/>
              <p:nvPr/>
            </p:nvSpPr>
            <p:spPr>
              <a:xfrm>
                <a:off x="12086346" y="535858"/>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38100 h 57150"/>
                  <a:gd name="connsiteX6" fmla="*/ 19050 w 57150"/>
                  <a:gd name="connsiteY6" fmla="*/ 28575 h 57150"/>
                  <a:gd name="connsiteX7" fmla="*/ 28575 w 57150"/>
                  <a:gd name="connsiteY7" fmla="*/ 19050 h 57150"/>
                  <a:gd name="connsiteX8" fmla="*/ 38100 w 57150"/>
                  <a:gd name="connsiteY8" fmla="*/ 28575 h 57150"/>
                  <a:gd name="connsiteX9" fmla="*/ 28575 w 571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0"/>
                    </a:moveTo>
                    <a:cubicBezTo>
                      <a:pt x="12821" y="0"/>
                      <a:pt x="0" y="12821"/>
                      <a:pt x="0" y="28575"/>
                    </a:cubicBezTo>
                    <a:cubicBezTo>
                      <a:pt x="0" y="44329"/>
                      <a:pt x="12821" y="57150"/>
                      <a:pt x="28575" y="57150"/>
                    </a:cubicBezTo>
                    <a:cubicBezTo>
                      <a:pt x="44329" y="57150"/>
                      <a:pt x="57150" y="44329"/>
                      <a:pt x="57150" y="28575"/>
                    </a:cubicBezTo>
                    <a:cubicBezTo>
                      <a:pt x="57150" y="12821"/>
                      <a:pt x="44329" y="0"/>
                      <a:pt x="28575" y="0"/>
                    </a:cubicBezTo>
                    <a:close/>
                    <a:moveTo>
                      <a:pt x="28575" y="38100"/>
                    </a:moveTo>
                    <a:cubicBezTo>
                      <a:pt x="23317" y="38100"/>
                      <a:pt x="19050" y="33833"/>
                      <a:pt x="19050" y="28575"/>
                    </a:cubicBezTo>
                    <a:cubicBezTo>
                      <a:pt x="19050" y="23317"/>
                      <a:pt x="23317" y="19050"/>
                      <a:pt x="28575" y="19050"/>
                    </a:cubicBezTo>
                    <a:cubicBezTo>
                      <a:pt x="33833" y="19050"/>
                      <a:pt x="38100" y="23317"/>
                      <a:pt x="38100" y="28575"/>
                    </a:cubicBezTo>
                    <a:cubicBezTo>
                      <a:pt x="38100" y="33833"/>
                      <a:pt x="33833" y="38100"/>
                      <a:pt x="28575" y="38100"/>
                    </a:cubicBezTo>
                    <a:close/>
                  </a:path>
                </a:pathLst>
              </a:custGeom>
              <a:grpFill/>
              <a:ln w="9525" cap="flat">
                <a:noFill/>
                <a:prstDash val="solid"/>
                <a:miter/>
              </a:ln>
            </p:spPr>
            <p:txBody>
              <a:bodyPr rtlCol="0" anchor="ctr"/>
              <a:lstStyle/>
              <a:p>
                <a:endParaRPr lang="pt-BR"/>
              </a:p>
            </p:txBody>
          </p:sp>
          <p:sp>
            <p:nvSpPr>
              <p:cNvPr id="74" name="Forma Livre: Forma 73">
                <a:extLst>
                  <a:ext uri="{FF2B5EF4-FFF2-40B4-BE49-F238E27FC236}">
                    <a16:creationId xmlns:a16="http://schemas.microsoft.com/office/drawing/2014/main" id="{6008A8AD-7E13-D279-21C1-2EBB9D8AFEC5}"/>
                  </a:ext>
                </a:extLst>
              </p:cNvPr>
              <p:cNvSpPr/>
              <p:nvPr/>
            </p:nvSpPr>
            <p:spPr>
              <a:xfrm>
                <a:off x="12257796" y="897808"/>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38100 h 57150"/>
                  <a:gd name="connsiteX6" fmla="*/ 19050 w 57150"/>
                  <a:gd name="connsiteY6" fmla="*/ 28575 h 57150"/>
                  <a:gd name="connsiteX7" fmla="*/ 28575 w 57150"/>
                  <a:gd name="connsiteY7" fmla="*/ 19050 h 57150"/>
                  <a:gd name="connsiteX8" fmla="*/ 38100 w 57150"/>
                  <a:gd name="connsiteY8" fmla="*/ 28575 h 57150"/>
                  <a:gd name="connsiteX9" fmla="*/ 28575 w 571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0"/>
                    </a:moveTo>
                    <a:cubicBezTo>
                      <a:pt x="12821" y="0"/>
                      <a:pt x="0" y="12821"/>
                      <a:pt x="0" y="28575"/>
                    </a:cubicBezTo>
                    <a:cubicBezTo>
                      <a:pt x="0" y="44329"/>
                      <a:pt x="12821" y="57150"/>
                      <a:pt x="28575" y="57150"/>
                    </a:cubicBezTo>
                    <a:cubicBezTo>
                      <a:pt x="44329" y="57150"/>
                      <a:pt x="57150" y="44329"/>
                      <a:pt x="57150" y="28575"/>
                    </a:cubicBezTo>
                    <a:cubicBezTo>
                      <a:pt x="57150" y="12821"/>
                      <a:pt x="44329" y="0"/>
                      <a:pt x="28575" y="0"/>
                    </a:cubicBezTo>
                    <a:close/>
                    <a:moveTo>
                      <a:pt x="28575" y="38100"/>
                    </a:moveTo>
                    <a:cubicBezTo>
                      <a:pt x="23317" y="38100"/>
                      <a:pt x="19050" y="33833"/>
                      <a:pt x="19050" y="28575"/>
                    </a:cubicBezTo>
                    <a:cubicBezTo>
                      <a:pt x="19050" y="23317"/>
                      <a:pt x="23317" y="19050"/>
                      <a:pt x="28575" y="19050"/>
                    </a:cubicBezTo>
                    <a:cubicBezTo>
                      <a:pt x="33833" y="19050"/>
                      <a:pt x="38100" y="23317"/>
                      <a:pt x="38100" y="28575"/>
                    </a:cubicBezTo>
                    <a:cubicBezTo>
                      <a:pt x="38100" y="33833"/>
                      <a:pt x="33833" y="38100"/>
                      <a:pt x="28575" y="38100"/>
                    </a:cubicBezTo>
                    <a:close/>
                  </a:path>
                </a:pathLst>
              </a:custGeom>
              <a:grpFill/>
              <a:ln w="9525" cap="flat">
                <a:noFill/>
                <a:prstDash val="solid"/>
                <a:miter/>
              </a:ln>
            </p:spPr>
            <p:txBody>
              <a:bodyPr rtlCol="0" anchor="ctr"/>
              <a:lstStyle/>
              <a:p>
                <a:endParaRPr lang="pt-BR"/>
              </a:p>
            </p:txBody>
          </p:sp>
        </p:grpSp>
        <p:cxnSp>
          <p:nvCxnSpPr>
            <p:cNvPr id="79" name="Conector reto 78">
              <a:extLst>
                <a:ext uri="{FF2B5EF4-FFF2-40B4-BE49-F238E27FC236}">
                  <a16:creationId xmlns:a16="http://schemas.microsoft.com/office/drawing/2014/main" id="{CAE40A23-E325-8698-7321-F32D4161D004}"/>
                </a:ext>
              </a:extLst>
            </p:cNvPr>
            <p:cNvCxnSpPr/>
            <p:nvPr/>
          </p:nvCxnSpPr>
          <p:spPr>
            <a:xfrm>
              <a:off x="8828647" y="3504306"/>
              <a:ext cx="310158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Conector reto 79">
              <a:extLst>
                <a:ext uri="{FF2B5EF4-FFF2-40B4-BE49-F238E27FC236}">
                  <a16:creationId xmlns:a16="http://schemas.microsoft.com/office/drawing/2014/main" id="{BB4696C2-863A-CE4E-3FD1-D75D717EE940}"/>
                </a:ext>
              </a:extLst>
            </p:cNvPr>
            <p:cNvCxnSpPr/>
            <p:nvPr/>
          </p:nvCxnSpPr>
          <p:spPr>
            <a:xfrm>
              <a:off x="8828647" y="4117491"/>
              <a:ext cx="310158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007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2000" decel="58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1000" fill="hold"/>
                                        <p:tgtEl>
                                          <p:spTgt spid="47"/>
                                        </p:tgtEl>
                                        <p:attrNameLst>
                                          <p:attrName>ppt_x</p:attrName>
                                        </p:attrNameLst>
                                      </p:cBhvr>
                                      <p:tavLst>
                                        <p:tav tm="0">
                                          <p:val>
                                            <p:strVal val="0-#ppt_w/2"/>
                                          </p:val>
                                        </p:tav>
                                        <p:tav tm="100000">
                                          <p:val>
                                            <p:strVal val="#ppt_x"/>
                                          </p:val>
                                        </p:tav>
                                      </p:tavLst>
                                    </p:anim>
                                    <p:anim calcmode="lin" valueType="num">
                                      <p:cBhvr additive="base">
                                        <p:cTn id="8" dur="1000" fill="hold"/>
                                        <p:tgtEl>
                                          <p:spTgt spid="4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par>
                          <p:cTn id="15" fill="hold">
                            <p:stCondLst>
                              <p:cond delay="1000"/>
                            </p:stCondLst>
                            <p:childTnLst>
                              <p:par>
                                <p:cTn id="16" presetID="10" presetClass="entr" presetSubtype="0" fill="hold" nodeType="afterEffect">
                                  <p:stCondLst>
                                    <p:cond delay="500"/>
                                  </p:stCondLst>
                                  <p:childTnLst>
                                    <p:set>
                                      <p:cBhvr>
                                        <p:cTn id="17" dur="1" fill="hold">
                                          <p:stCondLst>
                                            <p:cond delay="0"/>
                                          </p:stCondLst>
                                        </p:cTn>
                                        <p:tgtEl>
                                          <p:spTgt spid="85"/>
                                        </p:tgtEl>
                                        <p:attrNameLst>
                                          <p:attrName>style.visibility</p:attrName>
                                        </p:attrNameLst>
                                      </p:cBhvr>
                                      <p:to>
                                        <p:strVal val="visible"/>
                                      </p:to>
                                    </p:set>
                                    <p:animEffect transition="in" filter="fade">
                                      <p:cBhvr>
                                        <p:cTn id="18" dur="1000"/>
                                        <p:tgtEl>
                                          <p:spTgt spid="85"/>
                                        </p:tgtEl>
                                      </p:cBhvr>
                                    </p:animEffect>
                                  </p:childTnLst>
                                </p:cTn>
                              </p:par>
                            </p:childTnLst>
                          </p:cTn>
                        </p:par>
                        <p:par>
                          <p:cTn id="19" fill="hold">
                            <p:stCondLst>
                              <p:cond delay="2500"/>
                            </p:stCondLst>
                            <p:childTnLst>
                              <p:par>
                                <p:cTn id="20" presetID="10" presetClass="entr" presetSubtype="0" fill="hold" nodeType="afterEffect">
                                  <p:stCondLst>
                                    <p:cond delay="50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1000"/>
                                        <p:tgtEl>
                                          <p:spTgt spid="86"/>
                                        </p:tgtEl>
                                      </p:cBhvr>
                                    </p:animEffect>
                                  </p:childTnLst>
                                </p:cTn>
                              </p:par>
                              <p:par>
                                <p:cTn id="23" presetID="22" presetClass="entr" presetSubtype="1"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animEffect transition="in" filter="wipe(up)">
                                      <p:cBhvr>
                                        <p:cTn id="25" dur="500"/>
                                        <p:tgtEl>
                                          <p:spTgt spid="83"/>
                                        </p:tgtEl>
                                      </p:cBhvr>
                                    </p:animEffect>
                                  </p:childTnLst>
                                </p:cTn>
                              </p:par>
                            </p:childTnLst>
                          </p:cTn>
                        </p:par>
                        <p:par>
                          <p:cTn id="26" fill="hold">
                            <p:stCondLst>
                              <p:cond delay="4000"/>
                            </p:stCondLst>
                            <p:childTnLst>
                              <p:par>
                                <p:cTn id="27" presetID="10" presetClass="entr" presetSubtype="0" fill="hold" nodeType="afterEffect">
                                  <p:stCondLst>
                                    <p:cond delay="50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1000"/>
                                        <p:tgtEl>
                                          <p:spTgt spid="87"/>
                                        </p:tgtEl>
                                      </p:cBhvr>
                                    </p:animEffect>
                                  </p:childTnLst>
                                </p:cTn>
                              </p:par>
                              <p:par>
                                <p:cTn id="30" presetID="22" presetClass="entr" presetSubtype="1" fill="hold" nodeType="withEffect">
                                  <p:stCondLst>
                                    <p:cond delay="500"/>
                                  </p:stCondLst>
                                  <p:childTnLst>
                                    <p:set>
                                      <p:cBhvr>
                                        <p:cTn id="31" dur="1" fill="hold">
                                          <p:stCondLst>
                                            <p:cond delay="0"/>
                                          </p:stCondLst>
                                        </p:cTn>
                                        <p:tgtEl>
                                          <p:spTgt spid="84"/>
                                        </p:tgtEl>
                                        <p:attrNameLst>
                                          <p:attrName>style.visibility</p:attrName>
                                        </p:attrNameLst>
                                      </p:cBhvr>
                                      <p:to>
                                        <p:strVal val="visible"/>
                                      </p:to>
                                    </p:set>
                                    <p:animEffect transition="in" filter="wipe(up)">
                                      <p:cBhvr>
                                        <p:cTn id="32" dur="500"/>
                                        <p:tgtEl>
                                          <p:spTgt spid="84"/>
                                        </p:tgtEl>
                                      </p:cBhvr>
                                    </p:animEffect>
                                  </p:childTnLst>
                                </p:cTn>
                              </p:par>
                            </p:childTnLst>
                          </p:cTn>
                        </p:par>
                        <p:par>
                          <p:cTn id="33" fill="hold">
                            <p:stCondLst>
                              <p:cond delay="5500"/>
                            </p:stCondLst>
                            <p:childTnLst>
                              <p:par>
                                <p:cTn id="34" presetID="10" presetClass="entr" presetSubtype="0" fill="hold" nodeType="afterEffect">
                                  <p:stCondLst>
                                    <p:cond delay="500"/>
                                  </p:stCondLst>
                                  <p:childTnLst>
                                    <p:set>
                                      <p:cBhvr>
                                        <p:cTn id="35" dur="1" fill="hold">
                                          <p:stCondLst>
                                            <p:cond delay="0"/>
                                          </p:stCondLst>
                                        </p:cTn>
                                        <p:tgtEl>
                                          <p:spTgt spid="81"/>
                                        </p:tgtEl>
                                        <p:attrNameLst>
                                          <p:attrName>style.visibility</p:attrName>
                                        </p:attrNameLst>
                                      </p:cBhvr>
                                      <p:to>
                                        <p:strVal val="visible"/>
                                      </p:to>
                                    </p:set>
                                    <p:animEffect transition="in" filter="fade">
                                      <p:cBhvr>
                                        <p:cTn id="36" dur="500"/>
                                        <p:tgtEl>
                                          <p:spTgt spid="81"/>
                                        </p:tgtEl>
                                      </p:cBhvr>
                                    </p:animEffect>
                                  </p:childTnLst>
                                </p:cTn>
                              </p:par>
                              <p:par>
                                <p:cTn id="37" presetID="22" presetClass="entr" presetSubtype="8" fill="hold" grpId="0" nodeType="withEffect">
                                  <p:stCondLst>
                                    <p:cond delay="500"/>
                                  </p:stCondLst>
                                  <p:childTnLst>
                                    <p:set>
                                      <p:cBhvr>
                                        <p:cTn id="38" dur="1" fill="hold">
                                          <p:stCondLst>
                                            <p:cond delay="0"/>
                                          </p:stCondLst>
                                        </p:cTn>
                                        <p:tgtEl>
                                          <p:spTgt spid="89"/>
                                        </p:tgtEl>
                                        <p:attrNameLst>
                                          <p:attrName>style.visibility</p:attrName>
                                        </p:attrNameLst>
                                      </p:cBhvr>
                                      <p:to>
                                        <p:strVal val="visible"/>
                                      </p:to>
                                    </p:set>
                                    <p:animEffect transition="in" filter="wipe(left)">
                                      <p:cBhvr>
                                        <p:cTn id="39"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7" grpId="0" animBg="1"/>
      <p:bldP spid="4" grpId="0"/>
      <p:bldP spid="8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Cantos Arredondados 4">
            <a:extLst>
              <a:ext uri="{FF2B5EF4-FFF2-40B4-BE49-F238E27FC236}">
                <a16:creationId xmlns:a16="http://schemas.microsoft.com/office/drawing/2014/main" id="{6E50496A-A635-BAA5-F871-D1A70D90617D}"/>
              </a:ext>
            </a:extLst>
          </p:cNvPr>
          <p:cNvSpPr/>
          <p:nvPr/>
        </p:nvSpPr>
        <p:spPr>
          <a:xfrm>
            <a:off x="1140310" y="1846103"/>
            <a:ext cx="11051689" cy="2887262"/>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513495" y="2258099"/>
            <a:ext cx="4437096" cy="2062103"/>
          </a:xfrm>
          <a:prstGeom prst="rect">
            <a:avLst/>
          </a:prstGeom>
          <a:noFill/>
        </p:spPr>
        <p:txBody>
          <a:bodyPr wrap="square" rtlCol="0">
            <a:spAutoFit/>
          </a:bodyPr>
          <a:lstStyle/>
          <a:p>
            <a:pPr lvl="0" algn="r">
              <a:lnSpc>
                <a:spcPct val="80000"/>
              </a:lnSpc>
              <a:defRPr/>
            </a:pPr>
            <a:r>
              <a:rPr lang="pt-BR" sz="4000" b="1" dirty="0">
                <a:solidFill>
                  <a:schemeClr val="bg1"/>
                </a:solidFill>
                <a:latin typeface="Calisto MT"/>
              </a:rPr>
              <a:t>E quando a resposta imune inata não é suficiente?</a:t>
            </a:r>
          </a:p>
        </p:txBody>
      </p:sp>
      <p:pic>
        <p:nvPicPr>
          <p:cNvPr id="4" name="Imagem 3" descr="Uma imagem contendo estrela&#10;&#10;Descrição gerada automaticamente">
            <a:extLst>
              <a:ext uri="{FF2B5EF4-FFF2-40B4-BE49-F238E27FC236}">
                <a16:creationId xmlns:a16="http://schemas.microsoft.com/office/drawing/2014/main" id="{4573C995-DFE1-8BF8-1999-B38C4F526A44}"/>
              </a:ext>
            </a:extLst>
          </p:cNvPr>
          <p:cNvPicPr>
            <a:picLocks noChangeAspect="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7212"/>
          <a:stretch/>
        </p:blipFill>
        <p:spPr>
          <a:xfrm>
            <a:off x="5421858" y="0"/>
            <a:ext cx="6770142" cy="6200775"/>
          </a:xfrm>
          <a:prstGeom prst="rect">
            <a:avLst/>
          </a:prstGeom>
        </p:spPr>
      </p:pic>
      <p:sp>
        <p:nvSpPr>
          <p:cNvPr id="7" name="Espaço Reservado para Texto 6">
            <a:extLst>
              <a:ext uri="{FF2B5EF4-FFF2-40B4-BE49-F238E27FC236}">
                <a16:creationId xmlns:a16="http://schemas.microsoft.com/office/drawing/2014/main" id="{04701927-6C70-B084-9238-7CDAD3C74468}"/>
              </a:ext>
            </a:extLst>
          </p:cNvPr>
          <p:cNvSpPr>
            <a:spLocks noGrp="1"/>
          </p:cNvSpPr>
          <p:nvPr>
            <p:ph type="body" sz="quarter" idx="111"/>
          </p:nvPr>
        </p:nvSpPr>
        <p:spPr/>
        <p:txBody>
          <a:bodyPr/>
          <a:lstStyle/>
          <a:p>
            <a:endParaRPr lang="pt-BR"/>
          </a:p>
        </p:txBody>
      </p:sp>
    </p:spTree>
    <p:extLst>
      <p:ext uri="{BB962C8B-B14F-4D97-AF65-F5344CB8AC3E}">
        <p14:creationId xmlns:p14="http://schemas.microsoft.com/office/powerpoint/2010/main" val="150034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2000" decel="58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Uma imagem contendo estrela&#10;&#10;Descrição gerada automaticamente">
            <a:extLst>
              <a:ext uri="{FF2B5EF4-FFF2-40B4-BE49-F238E27FC236}">
                <a16:creationId xmlns:a16="http://schemas.microsoft.com/office/drawing/2014/main" id="{4573C995-DFE1-8BF8-1999-B38C4F526A44}"/>
              </a:ext>
            </a:extLst>
          </p:cNvPr>
          <p:cNvPicPr>
            <a:picLocks noChangeAspect="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7212"/>
          <a:stretch/>
        </p:blipFill>
        <p:spPr>
          <a:xfrm>
            <a:off x="5421858" y="0"/>
            <a:ext cx="6770142" cy="6200775"/>
          </a:xfrm>
          <a:prstGeom prst="rect">
            <a:avLst/>
          </a:prstGeom>
        </p:spPr>
      </p:pic>
      <p:sp>
        <p:nvSpPr>
          <p:cNvPr id="3" name="Espaço Reservado para Texto 1">
            <a:extLst>
              <a:ext uri="{FF2B5EF4-FFF2-40B4-BE49-F238E27FC236}">
                <a16:creationId xmlns:a16="http://schemas.microsoft.com/office/drawing/2014/main" id="{F1AC7314-DEF5-71FA-3B9C-2524EC9744D3}"/>
              </a:ext>
            </a:extLst>
          </p:cNvPr>
          <p:cNvSpPr txBox="1">
            <a:spLocks/>
          </p:cNvSpPr>
          <p:nvPr/>
        </p:nvSpPr>
        <p:spPr>
          <a:xfrm>
            <a:off x="186793" y="6189210"/>
            <a:ext cx="10239690" cy="565786"/>
          </a:xfrm>
          <a:prstGeom prst="rect">
            <a:avLst/>
          </a:prstGeom>
        </p:spPr>
        <p:txBody>
          <a:bodyPr anchor="b" anchorCtr="0">
            <a:noAutofit/>
          </a:bodyPr>
          <a:lstStyle>
            <a:lvl1pPr marL="0" indent="0" algn="l" defTabSz="914400" rtl="0" eaLnBrk="1" latinLnBrk="0" hangingPunct="1">
              <a:lnSpc>
                <a:spcPct val="90000"/>
              </a:lnSpc>
              <a:spcBef>
                <a:spcPts val="0"/>
              </a:spcBef>
              <a:spcAft>
                <a:spcPts val="300"/>
              </a:spcAft>
              <a:buFont typeface="Arial" panose="020B0604020202020204" pitchFamily="34" charset="0"/>
              <a:buNone/>
              <a:defRPr sz="8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br>
              <a:rPr lang="pt-BR" sz="700" dirty="0"/>
            </a:br>
            <a:r>
              <a:rPr lang="pt-BR" sz="700" b="0" i="0" dirty="0">
                <a:solidFill>
                  <a:srgbClr val="1D1D1D"/>
                </a:solidFill>
                <a:effectLst/>
                <a:latin typeface="Arial" panose="020B0604020202020204" pitchFamily="34" charset="0"/>
              </a:rPr>
              <a:t>Cruvinel </a:t>
            </a:r>
            <a:r>
              <a:rPr lang="pt-BR" sz="700" b="0" i="0" dirty="0" err="1">
                <a:solidFill>
                  <a:srgbClr val="1D1D1D"/>
                </a:solidFill>
                <a:effectLst/>
                <a:latin typeface="Arial" panose="020B0604020202020204" pitchFamily="34" charset="0"/>
              </a:rPr>
              <a:t>Wde</a:t>
            </a:r>
            <a:r>
              <a:rPr lang="pt-BR" sz="700" b="0" i="0" dirty="0">
                <a:solidFill>
                  <a:srgbClr val="1D1D1D"/>
                </a:solidFill>
                <a:effectLst/>
                <a:latin typeface="Arial" panose="020B0604020202020204" pitchFamily="34" charset="0"/>
              </a:rPr>
              <a:t> M, Mesquita D Jr, Araújo JA et al.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system - </a:t>
            </a:r>
            <a:r>
              <a:rPr lang="pt-BR" sz="700" b="0" i="0" dirty="0" err="1">
                <a:solidFill>
                  <a:srgbClr val="1D1D1D"/>
                </a:solidFill>
                <a:effectLst/>
                <a:latin typeface="Arial" panose="020B0604020202020204" pitchFamily="34" charset="0"/>
              </a:rPr>
              <a:t>part</a:t>
            </a:r>
            <a:r>
              <a:rPr lang="pt-BR" sz="700" b="0" i="0" dirty="0">
                <a:solidFill>
                  <a:srgbClr val="1D1D1D"/>
                </a:solidFill>
                <a:effectLst/>
                <a:latin typeface="Arial" panose="020B0604020202020204" pitchFamily="34" charset="0"/>
              </a:rPr>
              <a:t> I. Fundamental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nat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ity</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mphasi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n</a:t>
            </a:r>
            <a:r>
              <a:rPr lang="pt-BR" sz="700" b="0" i="0" dirty="0">
                <a:solidFill>
                  <a:srgbClr val="1D1D1D"/>
                </a:solidFill>
                <a:effectLst/>
                <a:latin typeface="Arial" panose="020B0604020202020204" pitchFamily="34" charset="0"/>
              </a:rPr>
              <a:t> molecular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ellula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echanism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flammatory</a:t>
            </a:r>
            <a:r>
              <a:rPr lang="pt-BR" sz="700" b="0" i="0" dirty="0">
                <a:solidFill>
                  <a:srgbClr val="1D1D1D"/>
                </a:solidFill>
                <a:effectLst/>
                <a:latin typeface="Arial" panose="020B0604020202020204" pitchFamily="34" charset="0"/>
              </a:rPr>
              <a:t> response. </a:t>
            </a:r>
            <a:r>
              <a:rPr lang="pt-BR" sz="700" b="0" i="0" dirty="0" err="1">
                <a:solidFill>
                  <a:srgbClr val="1D1D1D"/>
                </a:solidFill>
                <a:effectLst/>
                <a:latin typeface="Arial" panose="020B0604020202020204" pitchFamily="34" charset="0"/>
              </a:rPr>
              <a:t>Rev</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Bra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Reumatol</a:t>
            </a:r>
            <a:r>
              <a:rPr lang="pt-BR" sz="700" b="0" i="0" dirty="0">
                <a:solidFill>
                  <a:srgbClr val="1D1D1D"/>
                </a:solidFill>
                <a:effectLst/>
                <a:latin typeface="Arial" panose="020B0604020202020204" pitchFamily="34" charset="0"/>
              </a:rPr>
              <a:t>. 2010 Jul-Aug;50(4):434-61</a:t>
            </a:r>
            <a:endParaRPr lang="pt-BR" sz="700" dirty="0"/>
          </a:p>
        </p:txBody>
      </p:sp>
      <p:sp>
        <p:nvSpPr>
          <p:cNvPr id="6" name="CaixaDeTexto 5">
            <a:extLst>
              <a:ext uri="{FF2B5EF4-FFF2-40B4-BE49-F238E27FC236}">
                <a16:creationId xmlns:a16="http://schemas.microsoft.com/office/drawing/2014/main" id="{5EE28992-1A09-AE30-5003-25D8A07C644B}"/>
              </a:ext>
            </a:extLst>
          </p:cNvPr>
          <p:cNvSpPr txBox="1"/>
          <p:nvPr/>
        </p:nvSpPr>
        <p:spPr>
          <a:xfrm>
            <a:off x="296268" y="385036"/>
            <a:ext cx="4835130" cy="1175706"/>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Imunidade adaptativa</a:t>
            </a:r>
          </a:p>
        </p:txBody>
      </p:sp>
      <p:sp>
        <p:nvSpPr>
          <p:cNvPr id="8" name="CaixaDeTexto 7">
            <a:extLst>
              <a:ext uri="{FF2B5EF4-FFF2-40B4-BE49-F238E27FC236}">
                <a16:creationId xmlns:a16="http://schemas.microsoft.com/office/drawing/2014/main" id="{C3BF5B02-13E9-AD34-2924-93A19EA258B3}"/>
              </a:ext>
            </a:extLst>
          </p:cNvPr>
          <p:cNvSpPr txBox="1"/>
          <p:nvPr/>
        </p:nvSpPr>
        <p:spPr>
          <a:xfrm>
            <a:off x="296269" y="1441877"/>
            <a:ext cx="3730188" cy="523220"/>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defRPr/>
            </a:pPr>
            <a:r>
              <a:rPr lang="en-US" sz="2800" dirty="0" err="1">
                <a:solidFill>
                  <a:srgbClr val="003865"/>
                </a:solidFill>
              </a:rPr>
              <a:t>Principais</a:t>
            </a:r>
            <a:r>
              <a:rPr lang="en-US" sz="2800" dirty="0">
                <a:solidFill>
                  <a:srgbClr val="003865"/>
                </a:solidFill>
              </a:rPr>
              <a:t> </a:t>
            </a:r>
            <a:r>
              <a:rPr lang="en-US" sz="2800" dirty="0" err="1">
                <a:solidFill>
                  <a:srgbClr val="003865"/>
                </a:solidFill>
              </a:rPr>
              <a:t>características</a:t>
            </a:r>
            <a:endParaRPr lang="en-US" sz="2800" dirty="0">
              <a:solidFill>
                <a:srgbClr val="003865"/>
              </a:solidFill>
            </a:endParaRPr>
          </a:p>
        </p:txBody>
      </p:sp>
      <p:sp>
        <p:nvSpPr>
          <p:cNvPr id="9" name="Retângulo: Cantos Arredondados 8">
            <a:extLst>
              <a:ext uri="{FF2B5EF4-FFF2-40B4-BE49-F238E27FC236}">
                <a16:creationId xmlns:a16="http://schemas.microsoft.com/office/drawing/2014/main" id="{AFF2697F-7A5C-55D3-36C3-43A09559CF82}"/>
              </a:ext>
            </a:extLst>
          </p:cNvPr>
          <p:cNvSpPr/>
          <p:nvPr/>
        </p:nvSpPr>
        <p:spPr>
          <a:xfrm>
            <a:off x="407989" y="2348533"/>
            <a:ext cx="9736471" cy="2853410"/>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10" name="CaixaDeTexto 9">
            <a:extLst>
              <a:ext uri="{FF2B5EF4-FFF2-40B4-BE49-F238E27FC236}">
                <a16:creationId xmlns:a16="http://schemas.microsoft.com/office/drawing/2014/main" id="{6B84063C-FFA1-76CF-39A5-2F8CD8A2297B}"/>
              </a:ext>
            </a:extLst>
          </p:cNvPr>
          <p:cNvSpPr txBox="1"/>
          <p:nvPr/>
        </p:nvSpPr>
        <p:spPr>
          <a:xfrm>
            <a:off x="1326365" y="2817474"/>
            <a:ext cx="3700634" cy="387798"/>
          </a:xfrm>
          <a:prstGeom prst="rect">
            <a:avLst/>
          </a:prstGeom>
          <a:noFill/>
        </p:spPr>
        <p:txBody>
          <a:bodyPr wrap="square" rtlCol="0">
            <a:spAutoFit/>
          </a:bodyPr>
          <a:lstStyle/>
          <a:p>
            <a:pPr lvl="0">
              <a:lnSpc>
                <a:spcPct val="80000"/>
              </a:lnSpc>
              <a:defRPr/>
            </a:pPr>
            <a:r>
              <a:rPr lang="pt-BR" sz="2400" b="1" dirty="0">
                <a:solidFill>
                  <a:schemeClr val="bg1"/>
                </a:solidFill>
                <a:latin typeface="Calisto MT"/>
              </a:rPr>
              <a:t>Sistema imune adaptativo</a:t>
            </a:r>
          </a:p>
        </p:txBody>
      </p:sp>
      <p:sp>
        <p:nvSpPr>
          <p:cNvPr id="34" name="CaixaDeTexto 33">
            <a:extLst>
              <a:ext uri="{FF2B5EF4-FFF2-40B4-BE49-F238E27FC236}">
                <a16:creationId xmlns:a16="http://schemas.microsoft.com/office/drawing/2014/main" id="{66E2A6EC-83D1-2291-F706-9E2761636821}"/>
              </a:ext>
            </a:extLst>
          </p:cNvPr>
          <p:cNvSpPr txBox="1"/>
          <p:nvPr/>
        </p:nvSpPr>
        <p:spPr>
          <a:xfrm>
            <a:off x="553500" y="3571933"/>
            <a:ext cx="2278812" cy="861774"/>
          </a:xfrm>
          <a:prstGeom prst="rect">
            <a:avLst/>
          </a:prstGeom>
          <a:noFill/>
        </p:spPr>
        <p:txBody>
          <a:bodyPr wrap="square">
            <a:spAutoFit/>
          </a:bodyPr>
          <a:lstStyle/>
          <a:p>
            <a:pPr marR="0" lvl="0" algn="l" defTabSz="914400" rtl="0" eaLnBrk="1" fontAlgn="auto" latinLnBrk="0" hangingPunct="1">
              <a:lnSpc>
                <a:spcPct val="100000"/>
              </a:lnSpc>
              <a:spcBef>
                <a:spcPts val="1200"/>
              </a:spcBef>
              <a:spcAft>
                <a:spcPts val="0"/>
              </a:spcAft>
              <a:buClrTx/>
              <a:buSzTx/>
              <a:tabLst/>
              <a:defRPr/>
            </a:pPr>
            <a:r>
              <a:rPr kumimoji="0" lang="pt-BR" b="1" i="0" u="none" strike="noStrike" kern="1200" cap="none" spc="0" normalizeH="0" baseline="0" noProof="0" dirty="0">
                <a:ln>
                  <a:noFill/>
                </a:ln>
                <a:solidFill>
                  <a:schemeClr val="bg1"/>
                </a:solidFill>
                <a:effectLst/>
                <a:uLnTx/>
                <a:uFillTx/>
                <a:latin typeface="+mj-lt"/>
                <a:ea typeface="+mn-ea"/>
                <a:cs typeface="+mn-cs"/>
              </a:rPr>
              <a:t>Resposta imune</a:t>
            </a:r>
            <a:br>
              <a:rPr kumimoji="0" lang="pt-BR" sz="1600" b="1" i="0" u="none" strike="noStrike" kern="1200" cap="none" spc="0" normalizeH="0" baseline="0" noProof="0" dirty="0">
                <a:ln>
                  <a:noFill/>
                </a:ln>
                <a:solidFill>
                  <a:schemeClr val="bg1"/>
                </a:solidFill>
                <a:effectLst/>
                <a:uLnTx/>
                <a:uFillTx/>
                <a:latin typeface="Calibri"/>
                <a:ea typeface="+mn-ea"/>
                <a:cs typeface="+mn-cs"/>
              </a:rPr>
            </a:br>
            <a:r>
              <a:rPr kumimoji="0" lang="pt-BR" sz="1600" b="0" i="0" u="none" strike="noStrike" kern="1200" cap="none" spc="0" normalizeH="0" baseline="0" noProof="0" dirty="0">
                <a:ln>
                  <a:noFill/>
                </a:ln>
                <a:solidFill>
                  <a:schemeClr val="bg1"/>
                </a:solidFill>
                <a:effectLst/>
                <a:uLnTx/>
                <a:uFillTx/>
                <a:latin typeface="Calibri"/>
                <a:ea typeface="+mn-ea"/>
                <a:cs typeface="+mn-cs"/>
              </a:rPr>
              <a:t>mais lenta, porém mais seletiva e potente</a:t>
            </a:r>
            <a:endParaRPr lang="pt-BR" sz="1600" dirty="0">
              <a:solidFill>
                <a:schemeClr val="bg1"/>
              </a:solidFill>
            </a:endParaRPr>
          </a:p>
        </p:txBody>
      </p:sp>
      <p:sp>
        <p:nvSpPr>
          <p:cNvPr id="35" name="CaixaDeTexto 34">
            <a:extLst>
              <a:ext uri="{FF2B5EF4-FFF2-40B4-BE49-F238E27FC236}">
                <a16:creationId xmlns:a16="http://schemas.microsoft.com/office/drawing/2014/main" id="{B3E89AC3-9FDA-4C56-57E4-BA6A8193350B}"/>
              </a:ext>
            </a:extLst>
          </p:cNvPr>
          <p:cNvSpPr txBox="1"/>
          <p:nvPr/>
        </p:nvSpPr>
        <p:spPr>
          <a:xfrm>
            <a:off x="2958376" y="3571933"/>
            <a:ext cx="2454529" cy="1415772"/>
          </a:xfrm>
          <a:prstGeom prst="rect">
            <a:avLst/>
          </a:prstGeom>
          <a:noFill/>
        </p:spPr>
        <p:txBody>
          <a:bodyPr wrap="square">
            <a:spAutoFit/>
          </a:bodyPr>
          <a:lstStyle/>
          <a:p>
            <a:pPr marR="0" lvl="0" algn="l" defTabSz="914400" rtl="0" eaLnBrk="1" fontAlgn="auto" latinLnBrk="0" hangingPunct="1">
              <a:lnSpc>
                <a:spcPct val="100000"/>
              </a:lnSpc>
              <a:spcBef>
                <a:spcPts val="1200"/>
              </a:spcBef>
              <a:spcAft>
                <a:spcPts val="0"/>
              </a:spcAft>
              <a:buClrTx/>
              <a:buSzTx/>
              <a:tabLst/>
              <a:defRPr/>
            </a:pPr>
            <a:r>
              <a:rPr kumimoji="0" lang="pt-BR" b="1" i="0" u="none" strike="noStrike" kern="1200" cap="none" spc="0" normalizeH="0" baseline="0" noProof="0" dirty="0">
                <a:ln>
                  <a:noFill/>
                </a:ln>
                <a:solidFill>
                  <a:schemeClr val="bg1"/>
                </a:solidFill>
                <a:effectLst/>
                <a:uLnTx/>
                <a:uFillTx/>
                <a:latin typeface="+mj-lt"/>
                <a:ea typeface="+mn-ea"/>
                <a:cs typeface="+mn-cs"/>
              </a:rPr>
              <a:t>Necessita da ativação oriunda da Imunidade Inata</a:t>
            </a:r>
            <a:r>
              <a:rPr kumimoji="0" lang="pt-BR" sz="1600" b="1" i="0" u="none" strike="noStrike" kern="1200" cap="none" spc="0" normalizeH="0" baseline="0" noProof="0" dirty="0">
                <a:ln>
                  <a:noFill/>
                </a:ln>
                <a:solidFill>
                  <a:schemeClr val="bg1"/>
                </a:solidFill>
                <a:effectLst/>
                <a:uLnTx/>
                <a:uFillTx/>
                <a:latin typeface="Calibri"/>
                <a:ea typeface="+mn-ea"/>
                <a:cs typeface="+mn-cs"/>
              </a:rPr>
              <a:t> </a:t>
            </a:r>
            <a:r>
              <a:rPr kumimoji="0" lang="pt-BR" sz="1600" b="0" i="0" u="none" strike="noStrike" kern="1200" cap="none" spc="0" normalizeH="0" baseline="0" noProof="0" dirty="0">
                <a:ln>
                  <a:noFill/>
                </a:ln>
                <a:solidFill>
                  <a:schemeClr val="bg1"/>
                </a:solidFill>
                <a:effectLst/>
                <a:uLnTx/>
                <a:uFillTx/>
                <a:latin typeface="Calibri"/>
                <a:ea typeface="+mn-ea"/>
                <a:cs typeface="+mn-cs"/>
              </a:rPr>
              <a:t>(</a:t>
            </a:r>
            <a:r>
              <a:rPr kumimoji="0" lang="pt-BR" sz="1600" b="0" i="0" u="none" strike="noStrike" kern="1200" cap="none" spc="0" normalizeH="0" baseline="0" noProof="0" dirty="0" err="1">
                <a:ln>
                  <a:noFill/>
                </a:ln>
                <a:solidFill>
                  <a:schemeClr val="bg1"/>
                </a:solidFill>
                <a:effectLst/>
                <a:uLnTx/>
                <a:uFillTx/>
                <a:latin typeface="Calibri"/>
                <a:ea typeface="+mn-ea"/>
                <a:cs typeface="+mn-cs"/>
              </a:rPr>
              <a:t>céls</a:t>
            </a:r>
            <a:r>
              <a:rPr kumimoji="0" lang="pt-BR" sz="1600" b="0" i="0" u="none" strike="noStrike" kern="1200" cap="none" spc="0" normalizeH="0" baseline="0" noProof="0" dirty="0">
                <a:ln>
                  <a:noFill/>
                </a:ln>
                <a:solidFill>
                  <a:schemeClr val="bg1"/>
                </a:solidFill>
                <a:effectLst/>
                <a:uLnTx/>
                <a:uFillTx/>
                <a:latin typeface="Calibri"/>
                <a:ea typeface="+mn-ea"/>
                <a:cs typeface="+mn-cs"/>
              </a:rPr>
              <a:t> dendríticas) para iniciar a ativação dos seus componentes</a:t>
            </a:r>
            <a:endParaRPr lang="pt-BR" sz="1600" dirty="0">
              <a:solidFill>
                <a:schemeClr val="bg1"/>
              </a:solidFill>
            </a:endParaRPr>
          </a:p>
        </p:txBody>
      </p:sp>
      <p:sp>
        <p:nvSpPr>
          <p:cNvPr id="36" name="CaixaDeTexto 35">
            <a:extLst>
              <a:ext uri="{FF2B5EF4-FFF2-40B4-BE49-F238E27FC236}">
                <a16:creationId xmlns:a16="http://schemas.microsoft.com/office/drawing/2014/main" id="{1E54D98D-11AE-BD23-378A-F5E08C749F87}"/>
              </a:ext>
            </a:extLst>
          </p:cNvPr>
          <p:cNvSpPr txBox="1"/>
          <p:nvPr/>
        </p:nvSpPr>
        <p:spPr>
          <a:xfrm>
            <a:off x="5639653" y="3571933"/>
            <a:ext cx="1954570" cy="1354217"/>
          </a:xfrm>
          <a:prstGeom prst="rect">
            <a:avLst/>
          </a:prstGeom>
          <a:noFill/>
        </p:spPr>
        <p:txBody>
          <a:bodyPr wrap="square">
            <a:spAutoFit/>
          </a:bodyPr>
          <a:lstStyle/>
          <a:p>
            <a:pPr marR="0" lvl="0" algn="l" defTabSz="914400" rtl="0" eaLnBrk="1" fontAlgn="auto" latinLnBrk="0" hangingPunct="1">
              <a:lnSpc>
                <a:spcPct val="100000"/>
              </a:lnSpc>
              <a:spcBef>
                <a:spcPts val="1200"/>
              </a:spcBef>
              <a:spcAft>
                <a:spcPts val="0"/>
              </a:spcAft>
              <a:buClrTx/>
              <a:buSzTx/>
              <a:tabLst/>
              <a:defRPr/>
            </a:pPr>
            <a:r>
              <a:rPr kumimoji="0" lang="pt-BR" b="1" i="0" u="none" strike="noStrike" kern="1200" cap="none" spc="0" normalizeH="0" baseline="0" noProof="0" dirty="0">
                <a:ln>
                  <a:noFill/>
                </a:ln>
                <a:solidFill>
                  <a:schemeClr val="bg1"/>
                </a:solidFill>
                <a:effectLst/>
                <a:uLnTx/>
                <a:uFillTx/>
                <a:latin typeface="+mj-lt"/>
                <a:ea typeface="+mn-ea"/>
                <a:cs typeface="+mn-cs"/>
              </a:rPr>
              <a:t>Especificidade: </a:t>
            </a:r>
            <a:br>
              <a:rPr kumimoji="0" lang="pt-BR" sz="1600" b="1" i="0" u="none" strike="noStrike" kern="1200" cap="none" spc="0" normalizeH="0" baseline="0" noProof="0" dirty="0">
                <a:ln>
                  <a:noFill/>
                </a:ln>
                <a:solidFill>
                  <a:schemeClr val="bg1"/>
                </a:solidFill>
                <a:effectLst/>
                <a:uLnTx/>
                <a:uFillTx/>
                <a:latin typeface="Calibri"/>
                <a:ea typeface="+mn-ea"/>
                <a:cs typeface="+mn-cs"/>
              </a:rPr>
            </a:br>
            <a:r>
              <a:rPr kumimoji="0" lang="pt-BR" sz="1600" b="0" i="0" u="none" strike="noStrike" kern="1200" cap="none" spc="0" normalizeH="0" baseline="0" noProof="0" dirty="0">
                <a:ln>
                  <a:noFill/>
                </a:ln>
                <a:solidFill>
                  <a:schemeClr val="bg1"/>
                </a:solidFill>
                <a:effectLst/>
                <a:uLnTx/>
                <a:uFillTx/>
                <a:latin typeface="Calibri"/>
                <a:ea typeface="+mn-ea"/>
                <a:cs typeface="+mn-cs"/>
              </a:rPr>
              <a:t>resposta “individualizada” para aquele tipo de antígeno</a:t>
            </a:r>
            <a:endParaRPr lang="pt-BR" sz="1600" dirty="0">
              <a:solidFill>
                <a:schemeClr val="bg1"/>
              </a:solidFill>
            </a:endParaRPr>
          </a:p>
        </p:txBody>
      </p:sp>
      <p:sp>
        <p:nvSpPr>
          <p:cNvPr id="37" name="CaixaDeTexto 36">
            <a:extLst>
              <a:ext uri="{FF2B5EF4-FFF2-40B4-BE49-F238E27FC236}">
                <a16:creationId xmlns:a16="http://schemas.microsoft.com/office/drawing/2014/main" id="{986BAD6E-EC77-8091-4DC6-C87C06FD31B7}"/>
              </a:ext>
            </a:extLst>
          </p:cNvPr>
          <p:cNvSpPr txBox="1"/>
          <p:nvPr/>
        </p:nvSpPr>
        <p:spPr>
          <a:xfrm>
            <a:off x="7667450" y="3571933"/>
            <a:ext cx="2278812" cy="1384995"/>
          </a:xfrm>
          <a:prstGeom prst="rect">
            <a:avLst/>
          </a:prstGeom>
          <a:noFill/>
        </p:spPr>
        <p:txBody>
          <a:bodyPr wrap="square">
            <a:spAutoFit/>
          </a:bodyPr>
          <a:lstStyle/>
          <a:p>
            <a:pPr marR="0" lvl="0" algn="l" defTabSz="914400" rtl="0" eaLnBrk="1" fontAlgn="auto" latinLnBrk="0" hangingPunct="1">
              <a:lnSpc>
                <a:spcPct val="100000"/>
              </a:lnSpc>
              <a:spcBef>
                <a:spcPts val="1200"/>
              </a:spcBef>
              <a:spcAft>
                <a:spcPts val="0"/>
              </a:spcAft>
              <a:buClrTx/>
              <a:buSzTx/>
              <a:tabLst/>
              <a:defRPr/>
            </a:pPr>
            <a:r>
              <a:rPr kumimoji="0" lang="pt-BR" b="1" i="0" u="none" strike="noStrike" kern="1200" cap="none" spc="0" normalizeH="0" baseline="0" noProof="0" dirty="0">
                <a:ln>
                  <a:noFill/>
                </a:ln>
                <a:solidFill>
                  <a:schemeClr val="bg1"/>
                </a:solidFill>
                <a:effectLst/>
                <a:uLnTx/>
                <a:uFillTx/>
                <a:latin typeface="+mj-lt"/>
                <a:ea typeface="+mn-ea"/>
                <a:cs typeface="+mn-cs"/>
              </a:rPr>
              <a:t>Formação de memória: </a:t>
            </a:r>
            <a:r>
              <a:rPr kumimoji="0" lang="pt-BR" sz="1600" b="0" i="0" u="none" strike="noStrike" kern="1200" cap="none" spc="0" normalizeH="0" baseline="0" noProof="0" dirty="0">
                <a:ln>
                  <a:noFill/>
                </a:ln>
                <a:solidFill>
                  <a:schemeClr val="bg1"/>
                </a:solidFill>
                <a:effectLst/>
                <a:uLnTx/>
                <a:uFillTx/>
                <a:latin typeface="Calibri"/>
                <a:ea typeface="+mn-ea"/>
                <a:cs typeface="+mn-cs"/>
              </a:rPr>
              <a:t>patógeno é reconhecido com maior rapidez e avidez em infecção subsequente</a:t>
            </a:r>
            <a:endParaRPr lang="pt-BR" sz="1600" dirty="0">
              <a:solidFill>
                <a:schemeClr val="bg1"/>
              </a:solidFill>
            </a:endParaRPr>
          </a:p>
        </p:txBody>
      </p:sp>
      <p:sp>
        <p:nvSpPr>
          <p:cNvPr id="38" name="Elipse 37">
            <a:extLst>
              <a:ext uri="{FF2B5EF4-FFF2-40B4-BE49-F238E27FC236}">
                <a16:creationId xmlns:a16="http://schemas.microsoft.com/office/drawing/2014/main" id="{837B5DAA-1B24-577A-62EE-916E8B5D89A8}"/>
              </a:ext>
            </a:extLst>
          </p:cNvPr>
          <p:cNvSpPr/>
          <p:nvPr/>
        </p:nvSpPr>
        <p:spPr>
          <a:xfrm>
            <a:off x="541029" y="2557689"/>
            <a:ext cx="790835" cy="7908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grpSp>
        <p:nvGrpSpPr>
          <p:cNvPr id="14" name="Gráfico 11">
            <a:extLst>
              <a:ext uri="{FF2B5EF4-FFF2-40B4-BE49-F238E27FC236}">
                <a16:creationId xmlns:a16="http://schemas.microsoft.com/office/drawing/2014/main" id="{81A13EF8-C16D-59AD-518D-7A6EC6FBC71B}"/>
              </a:ext>
            </a:extLst>
          </p:cNvPr>
          <p:cNvGrpSpPr/>
          <p:nvPr/>
        </p:nvGrpSpPr>
        <p:grpSpPr>
          <a:xfrm>
            <a:off x="671884" y="2681364"/>
            <a:ext cx="519243" cy="519243"/>
            <a:chOff x="-584985" y="3392054"/>
            <a:chExt cx="590550" cy="590550"/>
          </a:xfrm>
          <a:solidFill>
            <a:schemeClr val="tx2"/>
          </a:solidFill>
        </p:grpSpPr>
        <p:sp>
          <p:nvSpPr>
            <p:cNvPr id="15" name="Forma Livre: Forma 14">
              <a:extLst>
                <a:ext uri="{FF2B5EF4-FFF2-40B4-BE49-F238E27FC236}">
                  <a16:creationId xmlns:a16="http://schemas.microsoft.com/office/drawing/2014/main" id="{4B7DAB22-1317-6CE4-8AC8-18E7DA058B36}"/>
                </a:ext>
              </a:extLst>
            </p:cNvPr>
            <p:cNvSpPr/>
            <p:nvPr/>
          </p:nvSpPr>
          <p:spPr>
            <a:xfrm>
              <a:off x="-451635" y="3392054"/>
              <a:ext cx="323850" cy="323850"/>
            </a:xfrm>
            <a:custGeom>
              <a:avLst/>
              <a:gdLst>
                <a:gd name="connsiteX0" fmla="*/ 0 w 323850"/>
                <a:gd name="connsiteY0" fmla="*/ 133350 h 323850"/>
                <a:gd name="connsiteX1" fmla="*/ 0 w 323850"/>
                <a:gd name="connsiteY1" fmla="*/ 190500 h 323850"/>
                <a:gd name="connsiteX2" fmla="*/ 19050 w 323850"/>
                <a:gd name="connsiteY2" fmla="*/ 190500 h 323850"/>
                <a:gd name="connsiteX3" fmla="*/ 19050 w 323850"/>
                <a:gd name="connsiteY3" fmla="*/ 171450 h 323850"/>
                <a:gd name="connsiteX4" fmla="*/ 57636 w 323850"/>
                <a:gd name="connsiteY4" fmla="*/ 171450 h 323850"/>
                <a:gd name="connsiteX5" fmla="*/ 81458 w 323850"/>
                <a:gd name="connsiteY5" fmla="*/ 228924 h 323850"/>
                <a:gd name="connsiteX6" fmla="*/ 54159 w 323850"/>
                <a:gd name="connsiteY6" fmla="*/ 256223 h 323850"/>
                <a:gd name="connsiteX7" fmla="*/ 40691 w 323850"/>
                <a:gd name="connsiteY7" fmla="*/ 242754 h 323850"/>
                <a:gd name="connsiteX8" fmla="*/ 27222 w 323850"/>
                <a:gd name="connsiteY8" fmla="*/ 256223 h 323850"/>
                <a:gd name="connsiteX9" fmla="*/ 67628 w 323850"/>
                <a:gd name="connsiteY9" fmla="*/ 296637 h 323850"/>
                <a:gd name="connsiteX10" fmla="*/ 81096 w 323850"/>
                <a:gd name="connsiteY10" fmla="*/ 283169 h 323850"/>
                <a:gd name="connsiteX11" fmla="*/ 67628 w 323850"/>
                <a:gd name="connsiteY11" fmla="*/ 269691 h 323850"/>
                <a:gd name="connsiteX12" fmla="*/ 94926 w 323850"/>
                <a:gd name="connsiteY12" fmla="*/ 242392 h 323850"/>
                <a:gd name="connsiteX13" fmla="*/ 152400 w 323850"/>
                <a:gd name="connsiteY13" fmla="*/ 266214 h 323850"/>
                <a:gd name="connsiteX14" fmla="*/ 152400 w 323850"/>
                <a:gd name="connsiteY14" fmla="*/ 304800 h 323850"/>
                <a:gd name="connsiteX15" fmla="*/ 133350 w 323850"/>
                <a:gd name="connsiteY15" fmla="*/ 304800 h 323850"/>
                <a:gd name="connsiteX16" fmla="*/ 133350 w 323850"/>
                <a:gd name="connsiteY16" fmla="*/ 323850 h 323850"/>
                <a:gd name="connsiteX17" fmla="*/ 190500 w 323850"/>
                <a:gd name="connsiteY17" fmla="*/ 323850 h 323850"/>
                <a:gd name="connsiteX18" fmla="*/ 190500 w 323850"/>
                <a:gd name="connsiteY18" fmla="*/ 304800 h 323850"/>
                <a:gd name="connsiteX19" fmla="*/ 171450 w 323850"/>
                <a:gd name="connsiteY19" fmla="*/ 304800 h 323850"/>
                <a:gd name="connsiteX20" fmla="*/ 171450 w 323850"/>
                <a:gd name="connsiteY20" fmla="*/ 266214 h 323850"/>
                <a:gd name="connsiteX21" fmla="*/ 228924 w 323850"/>
                <a:gd name="connsiteY21" fmla="*/ 242392 h 323850"/>
                <a:gd name="connsiteX22" fmla="*/ 256223 w 323850"/>
                <a:gd name="connsiteY22" fmla="*/ 269691 h 323850"/>
                <a:gd name="connsiteX23" fmla="*/ 242754 w 323850"/>
                <a:gd name="connsiteY23" fmla="*/ 283159 h 323850"/>
                <a:gd name="connsiteX24" fmla="*/ 256223 w 323850"/>
                <a:gd name="connsiteY24" fmla="*/ 296628 h 323850"/>
                <a:gd name="connsiteX25" fmla="*/ 296628 w 323850"/>
                <a:gd name="connsiteY25" fmla="*/ 256213 h 323850"/>
                <a:gd name="connsiteX26" fmla="*/ 283159 w 323850"/>
                <a:gd name="connsiteY26" fmla="*/ 242745 h 323850"/>
                <a:gd name="connsiteX27" fmla="*/ 269691 w 323850"/>
                <a:gd name="connsiteY27" fmla="*/ 256213 h 323850"/>
                <a:gd name="connsiteX28" fmla="*/ 242392 w 323850"/>
                <a:gd name="connsiteY28" fmla="*/ 228914 h 323850"/>
                <a:gd name="connsiteX29" fmla="*/ 266214 w 323850"/>
                <a:gd name="connsiteY29" fmla="*/ 171440 h 323850"/>
                <a:gd name="connsiteX30" fmla="*/ 304800 w 323850"/>
                <a:gd name="connsiteY30" fmla="*/ 171440 h 323850"/>
                <a:gd name="connsiteX31" fmla="*/ 304800 w 323850"/>
                <a:gd name="connsiteY31" fmla="*/ 190490 h 323850"/>
                <a:gd name="connsiteX32" fmla="*/ 323850 w 323850"/>
                <a:gd name="connsiteY32" fmla="*/ 190490 h 323850"/>
                <a:gd name="connsiteX33" fmla="*/ 323850 w 323850"/>
                <a:gd name="connsiteY33" fmla="*/ 133340 h 323850"/>
                <a:gd name="connsiteX34" fmla="*/ 304800 w 323850"/>
                <a:gd name="connsiteY34" fmla="*/ 133340 h 323850"/>
                <a:gd name="connsiteX35" fmla="*/ 304800 w 323850"/>
                <a:gd name="connsiteY35" fmla="*/ 152390 h 323850"/>
                <a:gd name="connsiteX36" fmla="*/ 266214 w 323850"/>
                <a:gd name="connsiteY36" fmla="*/ 152390 h 323850"/>
                <a:gd name="connsiteX37" fmla="*/ 242392 w 323850"/>
                <a:gd name="connsiteY37" fmla="*/ 94917 h 323850"/>
                <a:gd name="connsiteX38" fmla="*/ 269691 w 323850"/>
                <a:gd name="connsiteY38" fmla="*/ 67618 h 323850"/>
                <a:gd name="connsiteX39" fmla="*/ 283159 w 323850"/>
                <a:gd name="connsiteY39" fmla="*/ 81086 h 323850"/>
                <a:gd name="connsiteX40" fmla="*/ 296628 w 323850"/>
                <a:gd name="connsiteY40" fmla="*/ 67618 h 323850"/>
                <a:gd name="connsiteX41" fmla="*/ 256223 w 323850"/>
                <a:gd name="connsiteY41" fmla="*/ 27203 h 323850"/>
                <a:gd name="connsiteX42" fmla="*/ 242754 w 323850"/>
                <a:gd name="connsiteY42" fmla="*/ 40672 h 323850"/>
                <a:gd name="connsiteX43" fmla="*/ 256223 w 323850"/>
                <a:gd name="connsiteY43" fmla="*/ 54159 h 323850"/>
                <a:gd name="connsiteX44" fmla="*/ 228924 w 323850"/>
                <a:gd name="connsiteY44" fmla="*/ 81458 h 323850"/>
                <a:gd name="connsiteX45" fmla="*/ 171450 w 323850"/>
                <a:gd name="connsiteY45" fmla="*/ 57636 h 323850"/>
                <a:gd name="connsiteX46" fmla="*/ 171450 w 323850"/>
                <a:gd name="connsiteY46" fmla="*/ 19050 h 323850"/>
                <a:gd name="connsiteX47" fmla="*/ 190500 w 323850"/>
                <a:gd name="connsiteY47" fmla="*/ 19050 h 323850"/>
                <a:gd name="connsiteX48" fmla="*/ 190500 w 323850"/>
                <a:gd name="connsiteY48" fmla="*/ 0 h 323850"/>
                <a:gd name="connsiteX49" fmla="*/ 133350 w 323850"/>
                <a:gd name="connsiteY49" fmla="*/ 0 h 323850"/>
                <a:gd name="connsiteX50" fmla="*/ 133350 w 323850"/>
                <a:gd name="connsiteY50" fmla="*/ 19050 h 323850"/>
                <a:gd name="connsiteX51" fmla="*/ 152400 w 323850"/>
                <a:gd name="connsiteY51" fmla="*/ 19050 h 323850"/>
                <a:gd name="connsiteX52" fmla="*/ 152400 w 323850"/>
                <a:gd name="connsiteY52" fmla="*/ 57636 h 323850"/>
                <a:gd name="connsiteX53" fmla="*/ 94926 w 323850"/>
                <a:gd name="connsiteY53" fmla="*/ 81458 h 323850"/>
                <a:gd name="connsiteX54" fmla="*/ 67628 w 323850"/>
                <a:gd name="connsiteY54" fmla="*/ 54159 h 323850"/>
                <a:gd name="connsiteX55" fmla="*/ 81096 w 323850"/>
                <a:gd name="connsiteY55" fmla="*/ 40691 h 323850"/>
                <a:gd name="connsiteX56" fmla="*/ 67628 w 323850"/>
                <a:gd name="connsiteY56" fmla="*/ 27222 h 323850"/>
                <a:gd name="connsiteX57" fmla="*/ 27222 w 323850"/>
                <a:gd name="connsiteY57" fmla="*/ 67637 h 323850"/>
                <a:gd name="connsiteX58" fmla="*/ 40691 w 323850"/>
                <a:gd name="connsiteY58" fmla="*/ 81105 h 323850"/>
                <a:gd name="connsiteX59" fmla="*/ 54159 w 323850"/>
                <a:gd name="connsiteY59" fmla="*/ 67637 h 323850"/>
                <a:gd name="connsiteX60" fmla="*/ 81458 w 323850"/>
                <a:gd name="connsiteY60" fmla="*/ 94936 h 323850"/>
                <a:gd name="connsiteX61" fmla="*/ 57636 w 323850"/>
                <a:gd name="connsiteY61" fmla="*/ 152410 h 323850"/>
                <a:gd name="connsiteX62" fmla="*/ 19050 w 323850"/>
                <a:gd name="connsiteY62" fmla="*/ 152410 h 323850"/>
                <a:gd name="connsiteX63" fmla="*/ 19050 w 323850"/>
                <a:gd name="connsiteY63" fmla="*/ 133360 h 323850"/>
                <a:gd name="connsiteX64" fmla="*/ 0 w 323850"/>
                <a:gd name="connsiteY64" fmla="*/ 133360 h 323850"/>
                <a:gd name="connsiteX65" fmla="*/ 95250 w 323850"/>
                <a:gd name="connsiteY65" fmla="*/ 209550 h 323850"/>
                <a:gd name="connsiteX66" fmla="*/ 90240 w 323850"/>
                <a:gd name="connsiteY66" fmla="*/ 208798 h 323850"/>
                <a:gd name="connsiteX67" fmla="*/ 78600 w 323850"/>
                <a:gd name="connsiteY67" fmla="*/ 181699 h 323850"/>
                <a:gd name="connsiteX68" fmla="*/ 95250 w 323850"/>
                <a:gd name="connsiteY68" fmla="*/ 171450 h 323850"/>
                <a:gd name="connsiteX69" fmla="*/ 114300 w 323850"/>
                <a:gd name="connsiteY69" fmla="*/ 190500 h 323850"/>
                <a:gd name="connsiteX70" fmla="*/ 95250 w 323850"/>
                <a:gd name="connsiteY70" fmla="*/ 209550 h 323850"/>
                <a:gd name="connsiteX71" fmla="*/ 209550 w 323850"/>
                <a:gd name="connsiteY71" fmla="*/ 228600 h 323850"/>
                <a:gd name="connsiteX72" fmla="*/ 171450 w 323850"/>
                <a:gd name="connsiteY72" fmla="*/ 190500 h 323850"/>
                <a:gd name="connsiteX73" fmla="*/ 209550 w 323850"/>
                <a:gd name="connsiteY73" fmla="*/ 152400 h 323850"/>
                <a:gd name="connsiteX74" fmla="*/ 245869 w 323850"/>
                <a:gd name="connsiteY74" fmla="*/ 179308 h 323850"/>
                <a:gd name="connsiteX75" fmla="*/ 216608 w 323850"/>
                <a:gd name="connsiteY75" fmla="*/ 227876 h 323850"/>
                <a:gd name="connsiteX76" fmla="*/ 209550 w 323850"/>
                <a:gd name="connsiteY76" fmla="*/ 228600 h 323850"/>
                <a:gd name="connsiteX77" fmla="*/ 161925 w 323850"/>
                <a:gd name="connsiteY77" fmla="*/ 76200 h 323850"/>
                <a:gd name="connsiteX78" fmla="*/ 189824 w 323850"/>
                <a:gd name="connsiteY78" fmla="*/ 80953 h 323850"/>
                <a:gd name="connsiteX79" fmla="*/ 171450 w 323850"/>
                <a:gd name="connsiteY79" fmla="*/ 95250 h 323850"/>
                <a:gd name="connsiteX80" fmla="*/ 152457 w 323850"/>
                <a:gd name="connsiteY80" fmla="*/ 76752 h 323850"/>
                <a:gd name="connsiteX81" fmla="*/ 161925 w 323850"/>
                <a:gd name="connsiteY81" fmla="*/ 76200 h 323850"/>
                <a:gd name="connsiteX82" fmla="*/ 133836 w 323850"/>
                <a:gd name="connsiteY82" fmla="*/ 81020 h 323850"/>
                <a:gd name="connsiteX83" fmla="*/ 171450 w 323850"/>
                <a:gd name="connsiteY83" fmla="*/ 114300 h 323850"/>
                <a:gd name="connsiteX84" fmla="*/ 207112 w 323850"/>
                <a:gd name="connsiteY84" fmla="*/ 89211 h 323850"/>
                <a:gd name="connsiteX85" fmla="*/ 246231 w 323850"/>
                <a:gd name="connsiteY85" fmla="*/ 146828 h 323850"/>
                <a:gd name="connsiteX86" fmla="*/ 209550 w 323850"/>
                <a:gd name="connsiteY86" fmla="*/ 133350 h 323850"/>
                <a:gd name="connsiteX87" fmla="*/ 152400 w 323850"/>
                <a:gd name="connsiteY87" fmla="*/ 190500 h 323850"/>
                <a:gd name="connsiteX88" fmla="*/ 188224 w 323850"/>
                <a:gd name="connsiteY88" fmla="*/ 243478 h 323850"/>
                <a:gd name="connsiteX89" fmla="*/ 161925 w 323850"/>
                <a:gd name="connsiteY89" fmla="*/ 247650 h 323850"/>
                <a:gd name="connsiteX90" fmla="*/ 106089 w 323850"/>
                <a:gd name="connsiteY90" fmla="*/ 226838 h 323850"/>
                <a:gd name="connsiteX91" fmla="*/ 133350 w 323850"/>
                <a:gd name="connsiteY91" fmla="*/ 190500 h 323850"/>
                <a:gd name="connsiteX92" fmla="*/ 95250 w 323850"/>
                <a:gd name="connsiteY92" fmla="*/ 152400 h 323850"/>
                <a:gd name="connsiteX93" fmla="*/ 76419 w 323850"/>
                <a:gd name="connsiteY93" fmla="*/ 157534 h 323850"/>
                <a:gd name="connsiteX94" fmla="*/ 133836 w 323850"/>
                <a:gd name="connsiteY94" fmla="*/ 8102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23850" h="323850">
                  <a:moveTo>
                    <a:pt x="0" y="133350"/>
                  </a:moveTo>
                  <a:lnTo>
                    <a:pt x="0" y="190500"/>
                  </a:lnTo>
                  <a:lnTo>
                    <a:pt x="19050" y="190500"/>
                  </a:lnTo>
                  <a:lnTo>
                    <a:pt x="19050" y="171450"/>
                  </a:lnTo>
                  <a:lnTo>
                    <a:pt x="57636" y="171450"/>
                  </a:lnTo>
                  <a:cubicBezTo>
                    <a:pt x="59607" y="193196"/>
                    <a:pt x="68218" y="213036"/>
                    <a:pt x="81458" y="228924"/>
                  </a:cubicBezTo>
                  <a:lnTo>
                    <a:pt x="54159" y="256223"/>
                  </a:lnTo>
                  <a:lnTo>
                    <a:pt x="40691" y="242754"/>
                  </a:lnTo>
                  <a:lnTo>
                    <a:pt x="27222" y="256223"/>
                  </a:lnTo>
                  <a:lnTo>
                    <a:pt x="67628" y="296637"/>
                  </a:lnTo>
                  <a:lnTo>
                    <a:pt x="81096" y="283169"/>
                  </a:lnTo>
                  <a:lnTo>
                    <a:pt x="67628" y="269691"/>
                  </a:lnTo>
                  <a:lnTo>
                    <a:pt x="94926" y="242392"/>
                  </a:lnTo>
                  <a:cubicBezTo>
                    <a:pt x="110804" y="255641"/>
                    <a:pt x="130654" y="264243"/>
                    <a:pt x="152400" y="266214"/>
                  </a:cubicBezTo>
                  <a:lnTo>
                    <a:pt x="152400" y="304800"/>
                  </a:lnTo>
                  <a:lnTo>
                    <a:pt x="133350" y="304800"/>
                  </a:lnTo>
                  <a:lnTo>
                    <a:pt x="133350" y="323850"/>
                  </a:lnTo>
                  <a:lnTo>
                    <a:pt x="190500" y="323850"/>
                  </a:lnTo>
                  <a:lnTo>
                    <a:pt x="190500" y="304800"/>
                  </a:lnTo>
                  <a:lnTo>
                    <a:pt x="171450" y="304800"/>
                  </a:lnTo>
                  <a:lnTo>
                    <a:pt x="171450" y="266214"/>
                  </a:lnTo>
                  <a:cubicBezTo>
                    <a:pt x="193196" y="264243"/>
                    <a:pt x="213036" y="255632"/>
                    <a:pt x="228924" y="242392"/>
                  </a:cubicBezTo>
                  <a:lnTo>
                    <a:pt x="256223" y="269691"/>
                  </a:lnTo>
                  <a:lnTo>
                    <a:pt x="242754" y="283159"/>
                  </a:lnTo>
                  <a:lnTo>
                    <a:pt x="256223" y="296628"/>
                  </a:lnTo>
                  <a:lnTo>
                    <a:pt x="296628" y="256213"/>
                  </a:lnTo>
                  <a:lnTo>
                    <a:pt x="283159" y="242745"/>
                  </a:lnTo>
                  <a:lnTo>
                    <a:pt x="269691" y="256213"/>
                  </a:lnTo>
                  <a:lnTo>
                    <a:pt x="242392" y="228914"/>
                  </a:lnTo>
                  <a:cubicBezTo>
                    <a:pt x="255641" y="213036"/>
                    <a:pt x="264243" y="193186"/>
                    <a:pt x="266214" y="171440"/>
                  </a:cubicBezTo>
                  <a:lnTo>
                    <a:pt x="304800" y="171440"/>
                  </a:lnTo>
                  <a:lnTo>
                    <a:pt x="304800" y="190490"/>
                  </a:lnTo>
                  <a:lnTo>
                    <a:pt x="323850" y="190490"/>
                  </a:lnTo>
                  <a:lnTo>
                    <a:pt x="323850" y="133340"/>
                  </a:lnTo>
                  <a:lnTo>
                    <a:pt x="304800" y="133340"/>
                  </a:lnTo>
                  <a:lnTo>
                    <a:pt x="304800" y="152390"/>
                  </a:lnTo>
                  <a:lnTo>
                    <a:pt x="266214" y="152390"/>
                  </a:lnTo>
                  <a:cubicBezTo>
                    <a:pt x="264243" y="130645"/>
                    <a:pt x="255632" y="110804"/>
                    <a:pt x="242392" y="94917"/>
                  </a:cubicBezTo>
                  <a:lnTo>
                    <a:pt x="269691" y="67618"/>
                  </a:lnTo>
                  <a:lnTo>
                    <a:pt x="283159" y="81086"/>
                  </a:lnTo>
                  <a:lnTo>
                    <a:pt x="296628" y="67618"/>
                  </a:lnTo>
                  <a:lnTo>
                    <a:pt x="256223" y="27203"/>
                  </a:lnTo>
                  <a:lnTo>
                    <a:pt x="242754" y="40672"/>
                  </a:lnTo>
                  <a:lnTo>
                    <a:pt x="256223" y="54159"/>
                  </a:lnTo>
                  <a:lnTo>
                    <a:pt x="228924" y="81458"/>
                  </a:lnTo>
                  <a:cubicBezTo>
                    <a:pt x="213036" y="68209"/>
                    <a:pt x="193196" y="59607"/>
                    <a:pt x="171450" y="57636"/>
                  </a:cubicBezTo>
                  <a:lnTo>
                    <a:pt x="171450" y="19050"/>
                  </a:lnTo>
                  <a:lnTo>
                    <a:pt x="190500" y="19050"/>
                  </a:lnTo>
                  <a:lnTo>
                    <a:pt x="190500" y="0"/>
                  </a:lnTo>
                  <a:lnTo>
                    <a:pt x="133350" y="0"/>
                  </a:lnTo>
                  <a:lnTo>
                    <a:pt x="133350" y="19050"/>
                  </a:lnTo>
                  <a:lnTo>
                    <a:pt x="152400" y="19050"/>
                  </a:lnTo>
                  <a:lnTo>
                    <a:pt x="152400" y="57636"/>
                  </a:lnTo>
                  <a:cubicBezTo>
                    <a:pt x="130654" y="59607"/>
                    <a:pt x="110814" y="68218"/>
                    <a:pt x="94926" y="81458"/>
                  </a:cubicBezTo>
                  <a:lnTo>
                    <a:pt x="67628" y="54159"/>
                  </a:lnTo>
                  <a:lnTo>
                    <a:pt x="81096" y="40691"/>
                  </a:lnTo>
                  <a:lnTo>
                    <a:pt x="67628" y="27222"/>
                  </a:lnTo>
                  <a:lnTo>
                    <a:pt x="27222" y="67637"/>
                  </a:lnTo>
                  <a:lnTo>
                    <a:pt x="40691" y="81105"/>
                  </a:lnTo>
                  <a:lnTo>
                    <a:pt x="54159" y="67637"/>
                  </a:lnTo>
                  <a:lnTo>
                    <a:pt x="81458" y="94936"/>
                  </a:lnTo>
                  <a:cubicBezTo>
                    <a:pt x="68209" y="110814"/>
                    <a:pt x="59607" y="130664"/>
                    <a:pt x="57636" y="152410"/>
                  </a:cubicBezTo>
                  <a:lnTo>
                    <a:pt x="19050" y="152410"/>
                  </a:lnTo>
                  <a:lnTo>
                    <a:pt x="19050" y="133360"/>
                  </a:lnTo>
                  <a:lnTo>
                    <a:pt x="0" y="133360"/>
                  </a:lnTo>
                  <a:close/>
                  <a:moveTo>
                    <a:pt x="95250" y="209550"/>
                  </a:moveTo>
                  <a:cubicBezTo>
                    <a:pt x="93526" y="209550"/>
                    <a:pt x="91869" y="209245"/>
                    <a:pt x="90240" y="208798"/>
                  </a:cubicBezTo>
                  <a:cubicBezTo>
                    <a:pt x="84877" y="200625"/>
                    <a:pt x="80915" y="191481"/>
                    <a:pt x="78600" y="181699"/>
                  </a:cubicBezTo>
                  <a:cubicBezTo>
                    <a:pt x="81867" y="175555"/>
                    <a:pt x="88173" y="171450"/>
                    <a:pt x="95250" y="171450"/>
                  </a:cubicBezTo>
                  <a:cubicBezTo>
                    <a:pt x="105756" y="171450"/>
                    <a:pt x="114300" y="179994"/>
                    <a:pt x="114300" y="190500"/>
                  </a:cubicBezTo>
                  <a:cubicBezTo>
                    <a:pt x="114300" y="201006"/>
                    <a:pt x="105756" y="209550"/>
                    <a:pt x="95250" y="209550"/>
                  </a:cubicBezTo>
                  <a:close/>
                  <a:moveTo>
                    <a:pt x="209550" y="228600"/>
                  </a:moveTo>
                  <a:cubicBezTo>
                    <a:pt x="188538" y="228600"/>
                    <a:pt x="171450" y="211512"/>
                    <a:pt x="171450" y="190500"/>
                  </a:cubicBezTo>
                  <a:cubicBezTo>
                    <a:pt x="171450" y="169488"/>
                    <a:pt x="188538" y="152400"/>
                    <a:pt x="209550" y="152400"/>
                  </a:cubicBezTo>
                  <a:cubicBezTo>
                    <a:pt x="226352" y="152400"/>
                    <a:pt x="240973" y="163401"/>
                    <a:pt x="245869" y="179308"/>
                  </a:cubicBezTo>
                  <a:cubicBezTo>
                    <a:pt x="241859" y="198682"/>
                    <a:pt x="231296" y="215675"/>
                    <a:pt x="216608" y="227876"/>
                  </a:cubicBezTo>
                  <a:cubicBezTo>
                    <a:pt x="214293" y="228314"/>
                    <a:pt x="211931" y="228600"/>
                    <a:pt x="209550" y="228600"/>
                  </a:cubicBezTo>
                  <a:close/>
                  <a:moveTo>
                    <a:pt x="161925" y="76200"/>
                  </a:moveTo>
                  <a:cubicBezTo>
                    <a:pt x="171707" y="76200"/>
                    <a:pt x="181061" y="77924"/>
                    <a:pt x="189824" y="80953"/>
                  </a:cubicBezTo>
                  <a:cubicBezTo>
                    <a:pt x="187700" y="89154"/>
                    <a:pt x="180299" y="95250"/>
                    <a:pt x="171450" y="95250"/>
                  </a:cubicBezTo>
                  <a:cubicBezTo>
                    <a:pt x="161134" y="95250"/>
                    <a:pt x="152752" y="87001"/>
                    <a:pt x="152457" y="76752"/>
                  </a:cubicBezTo>
                  <a:cubicBezTo>
                    <a:pt x="155572" y="76410"/>
                    <a:pt x="158725" y="76200"/>
                    <a:pt x="161925" y="76200"/>
                  </a:cubicBezTo>
                  <a:close/>
                  <a:moveTo>
                    <a:pt x="133836" y="81020"/>
                  </a:moveTo>
                  <a:cubicBezTo>
                    <a:pt x="136236" y="99736"/>
                    <a:pt x="152086" y="114300"/>
                    <a:pt x="171450" y="114300"/>
                  </a:cubicBezTo>
                  <a:cubicBezTo>
                    <a:pt x="187871" y="114300"/>
                    <a:pt x="201768" y="103803"/>
                    <a:pt x="207112" y="89211"/>
                  </a:cubicBezTo>
                  <a:cubicBezTo>
                    <a:pt x="227314" y="101813"/>
                    <a:pt x="241897" y="122539"/>
                    <a:pt x="246231" y="146828"/>
                  </a:cubicBezTo>
                  <a:cubicBezTo>
                    <a:pt x="236201" y="138408"/>
                    <a:pt x="223390" y="133350"/>
                    <a:pt x="209550" y="133350"/>
                  </a:cubicBezTo>
                  <a:cubicBezTo>
                    <a:pt x="178032" y="133350"/>
                    <a:pt x="152400" y="158982"/>
                    <a:pt x="152400" y="190500"/>
                  </a:cubicBezTo>
                  <a:cubicBezTo>
                    <a:pt x="152400" y="214474"/>
                    <a:pt x="167249" y="235010"/>
                    <a:pt x="188224" y="243478"/>
                  </a:cubicBezTo>
                  <a:cubicBezTo>
                    <a:pt x="179927" y="246164"/>
                    <a:pt x="171107" y="247650"/>
                    <a:pt x="161925" y="247650"/>
                  </a:cubicBezTo>
                  <a:cubicBezTo>
                    <a:pt x="140599" y="247650"/>
                    <a:pt x="121110" y="239773"/>
                    <a:pt x="106089" y="226838"/>
                  </a:cubicBezTo>
                  <a:cubicBezTo>
                    <a:pt x="121796" y="222133"/>
                    <a:pt x="133350" y="207712"/>
                    <a:pt x="133350" y="190500"/>
                  </a:cubicBezTo>
                  <a:cubicBezTo>
                    <a:pt x="133350" y="169488"/>
                    <a:pt x="116262" y="152400"/>
                    <a:pt x="95250" y="152400"/>
                  </a:cubicBezTo>
                  <a:cubicBezTo>
                    <a:pt x="88497" y="152400"/>
                    <a:pt x="82067" y="154305"/>
                    <a:pt x="76419" y="157534"/>
                  </a:cubicBezTo>
                  <a:cubicBezTo>
                    <a:pt x="78238" y="122034"/>
                    <a:pt x="101670" y="92221"/>
                    <a:pt x="133836" y="81020"/>
                  </a:cubicBezTo>
                  <a:close/>
                </a:path>
              </a:pathLst>
            </a:custGeom>
            <a:grpFill/>
            <a:ln w="9525" cap="flat">
              <a:noFill/>
              <a:prstDash val="solid"/>
              <a:miter/>
            </a:ln>
          </p:spPr>
          <p:txBody>
            <a:bodyPr rtlCol="0" anchor="ctr"/>
            <a:lstStyle/>
            <a:p>
              <a:endParaRPr lang="pt-BR"/>
            </a:p>
          </p:txBody>
        </p:sp>
        <p:sp>
          <p:nvSpPr>
            <p:cNvPr id="16" name="Forma Livre: Forma 15">
              <a:extLst>
                <a:ext uri="{FF2B5EF4-FFF2-40B4-BE49-F238E27FC236}">
                  <a16:creationId xmlns:a16="http://schemas.microsoft.com/office/drawing/2014/main" id="{9B71A292-18BF-5A2C-9EF9-CEE8BAD65B15}"/>
                </a:ext>
              </a:extLst>
            </p:cNvPr>
            <p:cNvSpPr/>
            <p:nvPr/>
          </p:nvSpPr>
          <p:spPr>
            <a:xfrm rot="-2700000">
              <a:off x="-423063" y="3700120"/>
              <a:ext cx="19049" cy="107764"/>
            </a:xfrm>
            <a:custGeom>
              <a:avLst/>
              <a:gdLst>
                <a:gd name="connsiteX0" fmla="*/ 0 w 19049"/>
                <a:gd name="connsiteY0" fmla="*/ 0 h 107764"/>
                <a:gd name="connsiteX1" fmla="*/ 19050 w 19049"/>
                <a:gd name="connsiteY1" fmla="*/ 0 h 107764"/>
                <a:gd name="connsiteX2" fmla="*/ 19050 w 19049"/>
                <a:gd name="connsiteY2" fmla="*/ 107765 h 107764"/>
                <a:gd name="connsiteX3" fmla="*/ 0 w 19049"/>
                <a:gd name="connsiteY3" fmla="*/ 107765 h 107764"/>
              </a:gdLst>
              <a:ahLst/>
              <a:cxnLst>
                <a:cxn ang="0">
                  <a:pos x="connsiteX0" y="connsiteY0"/>
                </a:cxn>
                <a:cxn ang="0">
                  <a:pos x="connsiteX1" y="connsiteY1"/>
                </a:cxn>
                <a:cxn ang="0">
                  <a:pos x="connsiteX2" y="connsiteY2"/>
                </a:cxn>
                <a:cxn ang="0">
                  <a:pos x="connsiteX3" y="connsiteY3"/>
                </a:cxn>
              </a:cxnLst>
              <a:rect l="l" t="t" r="r" b="b"/>
              <a:pathLst>
                <a:path w="19049" h="107764">
                  <a:moveTo>
                    <a:pt x="0" y="0"/>
                  </a:moveTo>
                  <a:lnTo>
                    <a:pt x="19050" y="0"/>
                  </a:lnTo>
                  <a:lnTo>
                    <a:pt x="19050" y="107765"/>
                  </a:lnTo>
                  <a:lnTo>
                    <a:pt x="0" y="107765"/>
                  </a:lnTo>
                  <a:close/>
                </a:path>
              </a:pathLst>
            </a:custGeom>
            <a:grpFill/>
            <a:ln w="9525" cap="flat">
              <a:noFill/>
              <a:prstDash val="solid"/>
              <a:miter/>
            </a:ln>
          </p:spPr>
          <p:txBody>
            <a:bodyPr rtlCol="0" anchor="ctr"/>
            <a:lstStyle/>
            <a:p>
              <a:endParaRPr lang="pt-BR"/>
            </a:p>
          </p:txBody>
        </p:sp>
        <p:sp>
          <p:nvSpPr>
            <p:cNvPr id="17" name="Forma Livre: Forma 16">
              <a:extLst>
                <a:ext uri="{FF2B5EF4-FFF2-40B4-BE49-F238E27FC236}">
                  <a16:creationId xmlns:a16="http://schemas.microsoft.com/office/drawing/2014/main" id="{8011088D-FD04-6F9D-638F-89ABF2177A18}"/>
                </a:ext>
              </a:extLst>
            </p:cNvPr>
            <p:cNvSpPr/>
            <p:nvPr/>
          </p:nvSpPr>
          <p:spPr>
            <a:xfrm>
              <a:off x="-429794" y="3680594"/>
              <a:ext cx="280168" cy="302009"/>
            </a:xfrm>
            <a:custGeom>
              <a:avLst/>
              <a:gdLst>
                <a:gd name="connsiteX0" fmla="*/ 266700 w 280168"/>
                <a:gd name="connsiteY0" fmla="*/ 0 h 302009"/>
                <a:gd name="connsiteX1" fmla="*/ 149609 w 280168"/>
                <a:gd name="connsiteY1" fmla="*/ 117091 h 302009"/>
                <a:gd name="connsiteX2" fmla="*/ 149609 w 280168"/>
                <a:gd name="connsiteY2" fmla="*/ 168659 h 302009"/>
                <a:gd name="connsiteX3" fmla="*/ 130559 w 280168"/>
                <a:gd name="connsiteY3" fmla="*/ 168659 h 302009"/>
                <a:gd name="connsiteX4" fmla="*/ 130559 w 280168"/>
                <a:gd name="connsiteY4" fmla="*/ 117091 h 302009"/>
                <a:gd name="connsiteX5" fmla="*/ 13468 w 280168"/>
                <a:gd name="connsiteY5" fmla="*/ 0 h 302009"/>
                <a:gd name="connsiteX6" fmla="*/ 0 w 280168"/>
                <a:gd name="connsiteY6" fmla="*/ 13468 h 302009"/>
                <a:gd name="connsiteX7" fmla="*/ 111509 w 280168"/>
                <a:gd name="connsiteY7" fmla="*/ 124978 h 302009"/>
                <a:gd name="connsiteX8" fmla="*/ 111509 w 280168"/>
                <a:gd name="connsiteY8" fmla="*/ 302009 h 302009"/>
                <a:gd name="connsiteX9" fmla="*/ 130559 w 280168"/>
                <a:gd name="connsiteY9" fmla="*/ 302009 h 302009"/>
                <a:gd name="connsiteX10" fmla="*/ 130559 w 280168"/>
                <a:gd name="connsiteY10" fmla="*/ 225809 h 302009"/>
                <a:gd name="connsiteX11" fmla="*/ 149609 w 280168"/>
                <a:gd name="connsiteY11" fmla="*/ 225809 h 302009"/>
                <a:gd name="connsiteX12" fmla="*/ 149609 w 280168"/>
                <a:gd name="connsiteY12" fmla="*/ 302009 h 302009"/>
                <a:gd name="connsiteX13" fmla="*/ 168659 w 280168"/>
                <a:gd name="connsiteY13" fmla="*/ 302009 h 302009"/>
                <a:gd name="connsiteX14" fmla="*/ 168659 w 280168"/>
                <a:gd name="connsiteY14" fmla="*/ 124978 h 302009"/>
                <a:gd name="connsiteX15" fmla="*/ 280168 w 280168"/>
                <a:gd name="connsiteY15" fmla="*/ 13468 h 302009"/>
                <a:gd name="connsiteX16" fmla="*/ 266700 w 280168"/>
                <a:gd name="connsiteY16" fmla="*/ 0 h 302009"/>
                <a:gd name="connsiteX17" fmla="*/ 130559 w 280168"/>
                <a:gd name="connsiteY17" fmla="*/ 206759 h 302009"/>
                <a:gd name="connsiteX18" fmla="*/ 130559 w 280168"/>
                <a:gd name="connsiteY18" fmla="*/ 187709 h 302009"/>
                <a:gd name="connsiteX19" fmla="*/ 149609 w 280168"/>
                <a:gd name="connsiteY19" fmla="*/ 187709 h 302009"/>
                <a:gd name="connsiteX20" fmla="*/ 149609 w 280168"/>
                <a:gd name="connsiteY20" fmla="*/ 206759 h 302009"/>
                <a:gd name="connsiteX21" fmla="*/ 130559 w 280168"/>
                <a:gd name="connsiteY21" fmla="*/ 206759 h 30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0168" h="302009">
                  <a:moveTo>
                    <a:pt x="266700" y="0"/>
                  </a:moveTo>
                  <a:lnTo>
                    <a:pt x="149609" y="117091"/>
                  </a:lnTo>
                  <a:lnTo>
                    <a:pt x="149609" y="168659"/>
                  </a:lnTo>
                  <a:lnTo>
                    <a:pt x="130559" y="168659"/>
                  </a:lnTo>
                  <a:lnTo>
                    <a:pt x="130559" y="117091"/>
                  </a:lnTo>
                  <a:lnTo>
                    <a:pt x="13468" y="0"/>
                  </a:lnTo>
                  <a:lnTo>
                    <a:pt x="0" y="13468"/>
                  </a:lnTo>
                  <a:lnTo>
                    <a:pt x="111509" y="124978"/>
                  </a:lnTo>
                  <a:lnTo>
                    <a:pt x="111509" y="302009"/>
                  </a:lnTo>
                  <a:lnTo>
                    <a:pt x="130559" y="302009"/>
                  </a:lnTo>
                  <a:lnTo>
                    <a:pt x="130559" y="225809"/>
                  </a:lnTo>
                  <a:lnTo>
                    <a:pt x="149609" y="225809"/>
                  </a:lnTo>
                  <a:lnTo>
                    <a:pt x="149609" y="302009"/>
                  </a:lnTo>
                  <a:lnTo>
                    <a:pt x="168659" y="302009"/>
                  </a:lnTo>
                  <a:lnTo>
                    <a:pt x="168659" y="124978"/>
                  </a:lnTo>
                  <a:lnTo>
                    <a:pt x="280168" y="13468"/>
                  </a:lnTo>
                  <a:lnTo>
                    <a:pt x="266700" y="0"/>
                  </a:lnTo>
                  <a:close/>
                  <a:moveTo>
                    <a:pt x="130559" y="206759"/>
                  </a:moveTo>
                  <a:lnTo>
                    <a:pt x="130559" y="187709"/>
                  </a:lnTo>
                  <a:lnTo>
                    <a:pt x="149609" y="187709"/>
                  </a:lnTo>
                  <a:lnTo>
                    <a:pt x="149609" y="206759"/>
                  </a:lnTo>
                  <a:lnTo>
                    <a:pt x="130559" y="206759"/>
                  </a:lnTo>
                  <a:close/>
                </a:path>
              </a:pathLst>
            </a:custGeom>
            <a:grpFill/>
            <a:ln w="9525" cap="flat">
              <a:noFill/>
              <a:prstDash val="solid"/>
              <a:miter/>
            </a:ln>
          </p:spPr>
          <p:txBody>
            <a:bodyPr rtlCol="0" anchor="ctr"/>
            <a:lstStyle/>
            <a:p>
              <a:endParaRPr lang="pt-BR"/>
            </a:p>
          </p:txBody>
        </p:sp>
        <p:sp>
          <p:nvSpPr>
            <p:cNvPr id="18" name="Forma Livre: Forma 17">
              <a:extLst>
                <a:ext uri="{FF2B5EF4-FFF2-40B4-BE49-F238E27FC236}">
                  <a16:creationId xmlns:a16="http://schemas.microsoft.com/office/drawing/2014/main" id="{57BBC623-1CEB-9629-713B-D22F526BF930}"/>
                </a:ext>
              </a:extLst>
            </p:cNvPr>
            <p:cNvSpPr/>
            <p:nvPr/>
          </p:nvSpPr>
          <p:spPr>
            <a:xfrm rot="-2700000">
              <a:off x="-219773" y="3744479"/>
              <a:ext cx="107764" cy="19049"/>
            </a:xfrm>
            <a:custGeom>
              <a:avLst/>
              <a:gdLst>
                <a:gd name="connsiteX0" fmla="*/ 0 w 107764"/>
                <a:gd name="connsiteY0" fmla="*/ 0 h 19049"/>
                <a:gd name="connsiteX1" fmla="*/ 107765 w 107764"/>
                <a:gd name="connsiteY1" fmla="*/ 0 h 19049"/>
                <a:gd name="connsiteX2" fmla="*/ 107765 w 107764"/>
                <a:gd name="connsiteY2" fmla="*/ 19050 h 19049"/>
                <a:gd name="connsiteX3" fmla="*/ 0 w 107764"/>
                <a:gd name="connsiteY3" fmla="*/ 19050 h 19049"/>
              </a:gdLst>
              <a:ahLst/>
              <a:cxnLst>
                <a:cxn ang="0">
                  <a:pos x="connsiteX0" y="connsiteY0"/>
                </a:cxn>
                <a:cxn ang="0">
                  <a:pos x="connsiteX1" y="connsiteY1"/>
                </a:cxn>
                <a:cxn ang="0">
                  <a:pos x="connsiteX2" y="connsiteY2"/>
                </a:cxn>
                <a:cxn ang="0">
                  <a:pos x="connsiteX3" y="connsiteY3"/>
                </a:cxn>
              </a:cxnLst>
              <a:rect l="l" t="t" r="r" b="b"/>
              <a:pathLst>
                <a:path w="107764" h="19049">
                  <a:moveTo>
                    <a:pt x="0" y="0"/>
                  </a:moveTo>
                  <a:lnTo>
                    <a:pt x="107765" y="0"/>
                  </a:lnTo>
                  <a:lnTo>
                    <a:pt x="107765" y="19050"/>
                  </a:lnTo>
                  <a:lnTo>
                    <a:pt x="0" y="19050"/>
                  </a:lnTo>
                  <a:close/>
                </a:path>
              </a:pathLst>
            </a:custGeom>
            <a:grpFill/>
            <a:ln w="9525" cap="flat">
              <a:noFill/>
              <a:prstDash val="solid"/>
              <a:miter/>
            </a:ln>
          </p:spPr>
          <p:txBody>
            <a:bodyPr rtlCol="0" anchor="ctr"/>
            <a:lstStyle/>
            <a:p>
              <a:endParaRPr lang="pt-BR"/>
            </a:p>
          </p:txBody>
        </p:sp>
        <p:sp>
          <p:nvSpPr>
            <p:cNvPr id="19" name="Forma Livre: Forma 18">
              <a:extLst>
                <a:ext uri="{FF2B5EF4-FFF2-40B4-BE49-F238E27FC236}">
                  <a16:creationId xmlns:a16="http://schemas.microsoft.com/office/drawing/2014/main" id="{747321E6-5544-D9E6-5D50-BB3B38DBB307}"/>
                </a:ext>
              </a:extLst>
            </p:cNvPr>
            <p:cNvSpPr/>
            <p:nvPr/>
          </p:nvSpPr>
          <p:spPr>
            <a:xfrm>
              <a:off x="-584985" y="3563504"/>
              <a:ext cx="133350" cy="133350"/>
            </a:xfrm>
            <a:custGeom>
              <a:avLst/>
              <a:gdLst>
                <a:gd name="connsiteX0" fmla="*/ 26984 w 133350"/>
                <a:gd name="connsiteY0" fmla="*/ 92897 h 133350"/>
                <a:gd name="connsiteX1" fmla="*/ 12316 w 133350"/>
                <a:gd name="connsiteY1" fmla="*/ 107566 h 133350"/>
                <a:gd name="connsiteX2" fmla="*/ 25784 w 133350"/>
                <a:gd name="connsiteY2" fmla="*/ 121034 h 133350"/>
                <a:gd name="connsiteX3" fmla="*/ 40453 w 133350"/>
                <a:gd name="connsiteY3" fmla="*/ 106366 h 133350"/>
                <a:gd name="connsiteX4" fmla="*/ 57150 w 133350"/>
                <a:gd name="connsiteY4" fmla="*/ 113338 h 133350"/>
                <a:gd name="connsiteX5" fmla="*/ 57150 w 133350"/>
                <a:gd name="connsiteY5" fmla="*/ 133350 h 133350"/>
                <a:gd name="connsiteX6" fmla="*/ 76200 w 133350"/>
                <a:gd name="connsiteY6" fmla="*/ 133350 h 133350"/>
                <a:gd name="connsiteX7" fmla="*/ 76200 w 133350"/>
                <a:gd name="connsiteY7" fmla="*/ 113338 h 133350"/>
                <a:gd name="connsiteX8" fmla="*/ 92897 w 133350"/>
                <a:gd name="connsiteY8" fmla="*/ 106366 h 133350"/>
                <a:gd name="connsiteX9" fmla="*/ 107566 w 133350"/>
                <a:gd name="connsiteY9" fmla="*/ 121034 h 133350"/>
                <a:gd name="connsiteX10" fmla="*/ 121034 w 133350"/>
                <a:gd name="connsiteY10" fmla="*/ 107566 h 133350"/>
                <a:gd name="connsiteX11" fmla="*/ 106366 w 133350"/>
                <a:gd name="connsiteY11" fmla="*/ 92897 h 133350"/>
                <a:gd name="connsiteX12" fmla="*/ 113338 w 133350"/>
                <a:gd name="connsiteY12" fmla="*/ 76200 h 133350"/>
                <a:gd name="connsiteX13" fmla="*/ 133350 w 133350"/>
                <a:gd name="connsiteY13" fmla="*/ 76200 h 133350"/>
                <a:gd name="connsiteX14" fmla="*/ 133350 w 133350"/>
                <a:gd name="connsiteY14" fmla="*/ 57150 h 133350"/>
                <a:gd name="connsiteX15" fmla="*/ 113338 w 133350"/>
                <a:gd name="connsiteY15" fmla="*/ 57150 h 133350"/>
                <a:gd name="connsiteX16" fmla="*/ 106366 w 133350"/>
                <a:gd name="connsiteY16" fmla="*/ 40453 h 133350"/>
                <a:gd name="connsiteX17" fmla="*/ 121034 w 133350"/>
                <a:gd name="connsiteY17" fmla="*/ 25784 h 133350"/>
                <a:gd name="connsiteX18" fmla="*/ 107566 w 133350"/>
                <a:gd name="connsiteY18" fmla="*/ 12316 h 133350"/>
                <a:gd name="connsiteX19" fmla="*/ 92897 w 133350"/>
                <a:gd name="connsiteY19" fmla="*/ 26984 h 133350"/>
                <a:gd name="connsiteX20" fmla="*/ 76200 w 133350"/>
                <a:gd name="connsiteY20" fmla="*/ 20012 h 133350"/>
                <a:gd name="connsiteX21" fmla="*/ 76200 w 133350"/>
                <a:gd name="connsiteY21" fmla="*/ 0 h 133350"/>
                <a:gd name="connsiteX22" fmla="*/ 57150 w 133350"/>
                <a:gd name="connsiteY22" fmla="*/ 0 h 133350"/>
                <a:gd name="connsiteX23" fmla="*/ 57150 w 133350"/>
                <a:gd name="connsiteY23" fmla="*/ 20012 h 133350"/>
                <a:gd name="connsiteX24" fmla="*/ 40453 w 133350"/>
                <a:gd name="connsiteY24" fmla="*/ 26984 h 133350"/>
                <a:gd name="connsiteX25" fmla="*/ 25784 w 133350"/>
                <a:gd name="connsiteY25" fmla="*/ 12316 h 133350"/>
                <a:gd name="connsiteX26" fmla="*/ 12316 w 133350"/>
                <a:gd name="connsiteY26" fmla="*/ 25784 h 133350"/>
                <a:gd name="connsiteX27" fmla="*/ 26984 w 133350"/>
                <a:gd name="connsiteY27" fmla="*/ 40453 h 133350"/>
                <a:gd name="connsiteX28" fmla="*/ 20012 w 133350"/>
                <a:gd name="connsiteY28" fmla="*/ 57150 h 133350"/>
                <a:gd name="connsiteX29" fmla="*/ 0 w 133350"/>
                <a:gd name="connsiteY29" fmla="*/ 57150 h 133350"/>
                <a:gd name="connsiteX30" fmla="*/ 0 w 133350"/>
                <a:gd name="connsiteY30" fmla="*/ 76200 h 133350"/>
                <a:gd name="connsiteX31" fmla="*/ 20012 w 133350"/>
                <a:gd name="connsiteY31" fmla="*/ 76200 h 133350"/>
                <a:gd name="connsiteX32" fmla="*/ 26984 w 133350"/>
                <a:gd name="connsiteY32" fmla="*/ 92897 h 133350"/>
                <a:gd name="connsiteX33" fmla="*/ 66675 w 133350"/>
                <a:gd name="connsiteY33" fmla="*/ 38100 h 133350"/>
                <a:gd name="connsiteX34" fmla="*/ 95250 w 133350"/>
                <a:gd name="connsiteY34" fmla="*/ 66675 h 133350"/>
                <a:gd name="connsiteX35" fmla="*/ 66675 w 133350"/>
                <a:gd name="connsiteY35" fmla="*/ 95250 h 133350"/>
                <a:gd name="connsiteX36" fmla="*/ 38100 w 133350"/>
                <a:gd name="connsiteY36" fmla="*/ 66675 h 133350"/>
                <a:gd name="connsiteX37" fmla="*/ 66675 w 133350"/>
                <a:gd name="connsiteY37"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350" h="133350">
                  <a:moveTo>
                    <a:pt x="26984" y="92897"/>
                  </a:moveTo>
                  <a:lnTo>
                    <a:pt x="12316" y="107566"/>
                  </a:lnTo>
                  <a:lnTo>
                    <a:pt x="25784" y="121034"/>
                  </a:lnTo>
                  <a:lnTo>
                    <a:pt x="40453" y="106366"/>
                  </a:lnTo>
                  <a:cubicBezTo>
                    <a:pt x="45453" y="109680"/>
                    <a:pt x="51083" y="112100"/>
                    <a:pt x="57150" y="113338"/>
                  </a:cubicBezTo>
                  <a:lnTo>
                    <a:pt x="57150" y="133350"/>
                  </a:lnTo>
                  <a:lnTo>
                    <a:pt x="76200" y="133350"/>
                  </a:lnTo>
                  <a:lnTo>
                    <a:pt x="76200" y="113338"/>
                  </a:lnTo>
                  <a:cubicBezTo>
                    <a:pt x="82267" y="112100"/>
                    <a:pt x="87897" y="109680"/>
                    <a:pt x="92897" y="106366"/>
                  </a:cubicBezTo>
                  <a:lnTo>
                    <a:pt x="107566" y="121034"/>
                  </a:lnTo>
                  <a:lnTo>
                    <a:pt x="121034" y="107566"/>
                  </a:lnTo>
                  <a:lnTo>
                    <a:pt x="106366" y="92897"/>
                  </a:lnTo>
                  <a:cubicBezTo>
                    <a:pt x="109680" y="87897"/>
                    <a:pt x="112100" y="82267"/>
                    <a:pt x="113338" y="76200"/>
                  </a:cubicBezTo>
                  <a:lnTo>
                    <a:pt x="133350" y="76200"/>
                  </a:lnTo>
                  <a:lnTo>
                    <a:pt x="133350" y="57150"/>
                  </a:lnTo>
                  <a:lnTo>
                    <a:pt x="113338" y="57150"/>
                  </a:lnTo>
                  <a:cubicBezTo>
                    <a:pt x="112100" y="51083"/>
                    <a:pt x="109680" y="45444"/>
                    <a:pt x="106366" y="40453"/>
                  </a:cubicBezTo>
                  <a:lnTo>
                    <a:pt x="121034" y="25784"/>
                  </a:lnTo>
                  <a:lnTo>
                    <a:pt x="107566" y="12316"/>
                  </a:lnTo>
                  <a:lnTo>
                    <a:pt x="92897" y="26984"/>
                  </a:lnTo>
                  <a:cubicBezTo>
                    <a:pt x="87897" y="23670"/>
                    <a:pt x="82267" y="21250"/>
                    <a:pt x="76200" y="20012"/>
                  </a:cubicBezTo>
                  <a:lnTo>
                    <a:pt x="76200" y="0"/>
                  </a:lnTo>
                  <a:lnTo>
                    <a:pt x="57150" y="0"/>
                  </a:lnTo>
                  <a:lnTo>
                    <a:pt x="57150" y="20012"/>
                  </a:lnTo>
                  <a:cubicBezTo>
                    <a:pt x="51083" y="21250"/>
                    <a:pt x="45453" y="23670"/>
                    <a:pt x="40453" y="26984"/>
                  </a:cubicBezTo>
                  <a:lnTo>
                    <a:pt x="25784" y="12316"/>
                  </a:lnTo>
                  <a:lnTo>
                    <a:pt x="12316" y="25784"/>
                  </a:lnTo>
                  <a:lnTo>
                    <a:pt x="26984" y="40453"/>
                  </a:lnTo>
                  <a:cubicBezTo>
                    <a:pt x="23670" y="45444"/>
                    <a:pt x="21250" y="51083"/>
                    <a:pt x="20012" y="57150"/>
                  </a:cubicBezTo>
                  <a:lnTo>
                    <a:pt x="0" y="57150"/>
                  </a:lnTo>
                  <a:lnTo>
                    <a:pt x="0" y="76200"/>
                  </a:lnTo>
                  <a:lnTo>
                    <a:pt x="20012" y="76200"/>
                  </a:lnTo>
                  <a:cubicBezTo>
                    <a:pt x="21250" y="82267"/>
                    <a:pt x="23670" y="87906"/>
                    <a:pt x="26984" y="92897"/>
                  </a:cubicBezTo>
                  <a:close/>
                  <a:moveTo>
                    <a:pt x="66675" y="38100"/>
                  </a:moveTo>
                  <a:cubicBezTo>
                    <a:pt x="82429" y="38100"/>
                    <a:pt x="95250" y="50921"/>
                    <a:pt x="95250" y="66675"/>
                  </a:cubicBezTo>
                  <a:cubicBezTo>
                    <a:pt x="95250" y="82429"/>
                    <a:pt x="82429" y="95250"/>
                    <a:pt x="66675" y="95250"/>
                  </a:cubicBezTo>
                  <a:cubicBezTo>
                    <a:pt x="50921" y="95250"/>
                    <a:pt x="38100" y="82429"/>
                    <a:pt x="38100" y="66675"/>
                  </a:cubicBezTo>
                  <a:cubicBezTo>
                    <a:pt x="38100" y="50921"/>
                    <a:pt x="50921" y="38100"/>
                    <a:pt x="66675" y="38100"/>
                  </a:cubicBezTo>
                  <a:close/>
                </a:path>
              </a:pathLst>
            </a:custGeom>
            <a:grpFill/>
            <a:ln w="9525" cap="flat">
              <a:noFill/>
              <a:prstDash val="solid"/>
              <a:miter/>
            </a:ln>
          </p:spPr>
          <p:txBody>
            <a:bodyPr rtlCol="0" anchor="ctr"/>
            <a:lstStyle/>
            <a:p>
              <a:endParaRPr lang="pt-BR"/>
            </a:p>
          </p:txBody>
        </p:sp>
        <p:sp>
          <p:nvSpPr>
            <p:cNvPr id="20" name="Forma Livre: Forma 19">
              <a:extLst>
                <a:ext uri="{FF2B5EF4-FFF2-40B4-BE49-F238E27FC236}">
                  <a16:creationId xmlns:a16="http://schemas.microsoft.com/office/drawing/2014/main" id="{223072AA-CF01-53F1-53CE-9AE05372B200}"/>
                </a:ext>
              </a:extLst>
            </p:cNvPr>
            <p:cNvSpPr/>
            <p:nvPr/>
          </p:nvSpPr>
          <p:spPr>
            <a:xfrm>
              <a:off x="-127785" y="3563504"/>
              <a:ext cx="133350" cy="133350"/>
            </a:xfrm>
            <a:custGeom>
              <a:avLst/>
              <a:gdLst>
                <a:gd name="connsiteX0" fmla="*/ 113338 w 133350"/>
                <a:gd name="connsiteY0" fmla="*/ 57150 h 133350"/>
                <a:gd name="connsiteX1" fmla="*/ 106366 w 133350"/>
                <a:gd name="connsiteY1" fmla="*/ 40453 h 133350"/>
                <a:gd name="connsiteX2" fmla="*/ 121034 w 133350"/>
                <a:gd name="connsiteY2" fmla="*/ 25784 h 133350"/>
                <a:gd name="connsiteX3" fmla="*/ 107566 w 133350"/>
                <a:gd name="connsiteY3" fmla="*/ 12316 h 133350"/>
                <a:gd name="connsiteX4" fmla="*/ 92897 w 133350"/>
                <a:gd name="connsiteY4" fmla="*/ 26984 h 133350"/>
                <a:gd name="connsiteX5" fmla="*/ 76200 w 133350"/>
                <a:gd name="connsiteY5" fmla="*/ 20012 h 133350"/>
                <a:gd name="connsiteX6" fmla="*/ 76200 w 133350"/>
                <a:gd name="connsiteY6" fmla="*/ 0 h 133350"/>
                <a:gd name="connsiteX7" fmla="*/ 57150 w 133350"/>
                <a:gd name="connsiteY7" fmla="*/ 0 h 133350"/>
                <a:gd name="connsiteX8" fmla="*/ 57150 w 133350"/>
                <a:gd name="connsiteY8" fmla="*/ 20012 h 133350"/>
                <a:gd name="connsiteX9" fmla="*/ 40453 w 133350"/>
                <a:gd name="connsiteY9" fmla="*/ 26984 h 133350"/>
                <a:gd name="connsiteX10" fmla="*/ 25784 w 133350"/>
                <a:gd name="connsiteY10" fmla="*/ 12316 h 133350"/>
                <a:gd name="connsiteX11" fmla="*/ 12316 w 133350"/>
                <a:gd name="connsiteY11" fmla="*/ 25784 h 133350"/>
                <a:gd name="connsiteX12" fmla="*/ 26984 w 133350"/>
                <a:gd name="connsiteY12" fmla="*/ 40453 h 133350"/>
                <a:gd name="connsiteX13" fmla="*/ 20012 w 133350"/>
                <a:gd name="connsiteY13" fmla="*/ 57150 h 133350"/>
                <a:gd name="connsiteX14" fmla="*/ 0 w 133350"/>
                <a:gd name="connsiteY14" fmla="*/ 57150 h 133350"/>
                <a:gd name="connsiteX15" fmla="*/ 0 w 133350"/>
                <a:gd name="connsiteY15" fmla="*/ 76200 h 133350"/>
                <a:gd name="connsiteX16" fmla="*/ 20012 w 133350"/>
                <a:gd name="connsiteY16" fmla="*/ 76200 h 133350"/>
                <a:gd name="connsiteX17" fmla="*/ 26984 w 133350"/>
                <a:gd name="connsiteY17" fmla="*/ 92897 h 133350"/>
                <a:gd name="connsiteX18" fmla="*/ 12316 w 133350"/>
                <a:gd name="connsiteY18" fmla="*/ 107566 h 133350"/>
                <a:gd name="connsiteX19" fmla="*/ 25784 w 133350"/>
                <a:gd name="connsiteY19" fmla="*/ 121034 h 133350"/>
                <a:gd name="connsiteX20" fmla="*/ 40453 w 133350"/>
                <a:gd name="connsiteY20" fmla="*/ 106366 h 133350"/>
                <a:gd name="connsiteX21" fmla="*/ 57150 w 133350"/>
                <a:gd name="connsiteY21" fmla="*/ 113338 h 133350"/>
                <a:gd name="connsiteX22" fmla="*/ 57150 w 133350"/>
                <a:gd name="connsiteY22" fmla="*/ 133350 h 133350"/>
                <a:gd name="connsiteX23" fmla="*/ 76200 w 133350"/>
                <a:gd name="connsiteY23" fmla="*/ 133350 h 133350"/>
                <a:gd name="connsiteX24" fmla="*/ 76200 w 133350"/>
                <a:gd name="connsiteY24" fmla="*/ 113338 h 133350"/>
                <a:gd name="connsiteX25" fmla="*/ 92897 w 133350"/>
                <a:gd name="connsiteY25" fmla="*/ 106366 h 133350"/>
                <a:gd name="connsiteX26" fmla="*/ 107566 w 133350"/>
                <a:gd name="connsiteY26" fmla="*/ 121034 h 133350"/>
                <a:gd name="connsiteX27" fmla="*/ 121034 w 133350"/>
                <a:gd name="connsiteY27" fmla="*/ 107566 h 133350"/>
                <a:gd name="connsiteX28" fmla="*/ 106366 w 133350"/>
                <a:gd name="connsiteY28" fmla="*/ 92897 h 133350"/>
                <a:gd name="connsiteX29" fmla="*/ 113338 w 133350"/>
                <a:gd name="connsiteY29" fmla="*/ 76200 h 133350"/>
                <a:gd name="connsiteX30" fmla="*/ 133350 w 133350"/>
                <a:gd name="connsiteY30" fmla="*/ 76200 h 133350"/>
                <a:gd name="connsiteX31" fmla="*/ 133350 w 133350"/>
                <a:gd name="connsiteY31" fmla="*/ 57150 h 133350"/>
                <a:gd name="connsiteX32" fmla="*/ 113338 w 133350"/>
                <a:gd name="connsiteY32" fmla="*/ 57150 h 133350"/>
                <a:gd name="connsiteX33" fmla="*/ 66675 w 133350"/>
                <a:gd name="connsiteY33" fmla="*/ 95250 h 133350"/>
                <a:gd name="connsiteX34" fmla="*/ 38100 w 133350"/>
                <a:gd name="connsiteY34" fmla="*/ 66675 h 133350"/>
                <a:gd name="connsiteX35" fmla="*/ 66675 w 133350"/>
                <a:gd name="connsiteY35" fmla="*/ 38100 h 133350"/>
                <a:gd name="connsiteX36" fmla="*/ 95250 w 133350"/>
                <a:gd name="connsiteY36" fmla="*/ 66675 h 133350"/>
                <a:gd name="connsiteX37" fmla="*/ 66675 w 133350"/>
                <a:gd name="connsiteY37"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350" h="133350">
                  <a:moveTo>
                    <a:pt x="113338" y="57150"/>
                  </a:moveTo>
                  <a:cubicBezTo>
                    <a:pt x="112100" y="51083"/>
                    <a:pt x="109680" y="45444"/>
                    <a:pt x="106366" y="40453"/>
                  </a:cubicBezTo>
                  <a:lnTo>
                    <a:pt x="121034" y="25784"/>
                  </a:lnTo>
                  <a:lnTo>
                    <a:pt x="107566" y="12316"/>
                  </a:lnTo>
                  <a:lnTo>
                    <a:pt x="92897" y="26984"/>
                  </a:lnTo>
                  <a:cubicBezTo>
                    <a:pt x="87906" y="23670"/>
                    <a:pt x="82267" y="21250"/>
                    <a:pt x="76200" y="20012"/>
                  </a:cubicBezTo>
                  <a:lnTo>
                    <a:pt x="76200" y="0"/>
                  </a:lnTo>
                  <a:lnTo>
                    <a:pt x="57150" y="0"/>
                  </a:lnTo>
                  <a:lnTo>
                    <a:pt x="57150" y="20012"/>
                  </a:lnTo>
                  <a:cubicBezTo>
                    <a:pt x="51083" y="21250"/>
                    <a:pt x="45453" y="23670"/>
                    <a:pt x="40453" y="26984"/>
                  </a:cubicBezTo>
                  <a:lnTo>
                    <a:pt x="25784" y="12316"/>
                  </a:lnTo>
                  <a:lnTo>
                    <a:pt x="12316" y="25784"/>
                  </a:lnTo>
                  <a:lnTo>
                    <a:pt x="26984" y="40453"/>
                  </a:lnTo>
                  <a:cubicBezTo>
                    <a:pt x="23670" y="45453"/>
                    <a:pt x="21250" y="51083"/>
                    <a:pt x="20012" y="57150"/>
                  </a:cubicBezTo>
                  <a:lnTo>
                    <a:pt x="0" y="57150"/>
                  </a:lnTo>
                  <a:lnTo>
                    <a:pt x="0" y="76200"/>
                  </a:lnTo>
                  <a:lnTo>
                    <a:pt x="20012" y="76200"/>
                  </a:lnTo>
                  <a:cubicBezTo>
                    <a:pt x="21250" y="82267"/>
                    <a:pt x="23670" y="87906"/>
                    <a:pt x="26984" y="92897"/>
                  </a:cubicBezTo>
                  <a:lnTo>
                    <a:pt x="12316" y="107566"/>
                  </a:lnTo>
                  <a:lnTo>
                    <a:pt x="25784" y="121034"/>
                  </a:lnTo>
                  <a:lnTo>
                    <a:pt x="40453" y="106366"/>
                  </a:lnTo>
                  <a:cubicBezTo>
                    <a:pt x="45444" y="109680"/>
                    <a:pt x="51083" y="112100"/>
                    <a:pt x="57150" y="113338"/>
                  </a:cubicBezTo>
                  <a:lnTo>
                    <a:pt x="57150" y="133350"/>
                  </a:lnTo>
                  <a:lnTo>
                    <a:pt x="76200" y="133350"/>
                  </a:lnTo>
                  <a:lnTo>
                    <a:pt x="76200" y="113338"/>
                  </a:lnTo>
                  <a:cubicBezTo>
                    <a:pt x="82267" y="112100"/>
                    <a:pt x="87897" y="109680"/>
                    <a:pt x="92897" y="106366"/>
                  </a:cubicBezTo>
                  <a:lnTo>
                    <a:pt x="107566" y="121034"/>
                  </a:lnTo>
                  <a:lnTo>
                    <a:pt x="121034" y="107566"/>
                  </a:lnTo>
                  <a:lnTo>
                    <a:pt x="106366" y="92897"/>
                  </a:lnTo>
                  <a:cubicBezTo>
                    <a:pt x="109680" y="87897"/>
                    <a:pt x="112100" y="82267"/>
                    <a:pt x="113338" y="76200"/>
                  </a:cubicBezTo>
                  <a:lnTo>
                    <a:pt x="133350" y="76200"/>
                  </a:lnTo>
                  <a:lnTo>
                    <a:pt x="133350" y="57150"/>
                  </a:lnTo>
                  <a:lnTo>
                    <a:pt x="113338" y="57150"/>
                  </a:lnTo>
                  <a:close/>
                  <a:moveTo>
                    <a:pt x="66675" y="95250"/>
                  </a:moveTo>
                  <a:cubicBezTo>
                    <a:pt x="50921" y="95250"/>
                    <a:pt x="38100" y="82429"/>
                    <a:pt x="38100" y="66675"/>
                  </a:cubicBezTo>
                  <a:cubicBezTo>
                    <a:pt x="38100" y="50921"/>
                    <a:pt x="50921" y="38100"/>
                    <a:pt x="66675" y="38100"/>
                  </a:cubicBezTo>
                  <a:cubicBezTo>
                    <a:pt x="82429" y="38100"/>
                    <a:pt x="95250" y="50921"/>
                    <a:pt x="95250" y="66675"/>
                  </a:cubicBezTo>
                  <a:cubicBezTo>
                    <a:pt x="95250" y="82429"/>
                    <a:pt x="82429" y="95250"/>
                    <a:pt x="66675" y="95250"/>
                  </a:cubicBezTo>
                  <a:close/>
                </a:path>
              </a:pathLst>
            </a:custGeom>
            <a:grpFill/>
            <a:ln w="9525" cap="flat">
              <a:noFill/>
              <a:prstDash val="solid"/>
              <a:miter/>
            </a:ln>
          </p:spPr>
          <p:txBody>
            <a:bodyPr rtlCol="0" anchor="ctr"/>
            <a:lstStyle/>
            <a:p>
              <a:endParaRPr lang="pt-BR"/>
            </a:p>
          </p:txBody>
        </p:sp>
        <p:sp>
          <p:nvSpPr>
            <p:cNvPr id="21" name="Forma Livre: Forma 20">
              <a:extLst>
                <a:ext uri="{FF2B5EF4-FFF2-40B4-BE49-F238E27FC236}">
                  <a16:creationId xmlns:a16="http://schemas.microsoft.com/office/drawing/2014/main" id="{79D0AA75-8AB3-0CE1-A95F-FDCD7F2066E4}"/>
                </a:ext>
              </a:extLst>
            </p:cNvPr>
            <p:cNvSpPr/>
            <p:nvPr/>
          </p:nvSpPr>
          <p:spPr>
            <a:xfrm>
              <a:off x="-508785" y="3392054"/>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 name="connsiteX5" fmla="*/ 28575 w 57150"/>
                <a:gd name="connsiteY5" fmla="*/ 19050 h 57150"/>
                <a:gd name="connsiteX6" fmla="*/ 38100 w 57150"/>
                <a:gd name="connsiteY6" fmla="*/ 28575 h 57150"/>
                <a:gd name="connsiteX7" fmla="*/ 28575 w 57150"/>
                <a:gd name="connsiteY7" fmla="*/ 38100 h 57150"/>
                <a:gd name="connsiteX8" fmla="*/ 19050 w 57150"/>
                <a:gd name="connsiteY8" fmla="*/ 28575 h 57150"/>
                <a:gd name="connsiteX9" fmla="*/ 28575 w 57150"/>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57150"/>
                  </a:moveTo>
                  <a:cubicBezTo>
                    <a:pt x="44329" y="57150"/>
                    <a:pt x="57150" y="44329"/>
                    <a:pt x="57150" y="28575"/>
                  </a:cubicBezTo>
                  <a:cubicBezTo>
                    <a:pt x="57150" y="12821"/>
                    <a:pt x="44329" y="0"/>
                    <a:pt x="28575" y="0"/>
                  </a:cubicBezTo>
                  <a:cubicBezTo>
                    <a:pt x="12821" y="0"/>
                    <a:pt x="0" y="12821"/>
                    <a:pt x="0" y="28575"/>
                  </a:cubicBezTo>
                  <a:cubicBezTo>
                    <a:pt x="0" y="44329"/>
                    <a:pt x="12821" y="57150"/>
                    <a:pt x="28575" y="57150"/>
                  </a:cubicBezTo>
                  <a:close/>
                  <a:moveTo>
                    <a:pt x="28575" y="19050"/>
                  </a:moveTo>
                  <a:cubicBezTo>
                    <a:pt x="33833" y="19050"/>
                    <a:pt x="38100" y="23327"/>
                    <a:pt x="38100" y="28575"/>
                  </a:cubicBezTo>
                  <a:cubicBezTo>
                    <a:pt x="38100" y="33823"/>
                    <a:pt x="33833" y="38100"/>
                    <a:pt x="28575" y="38100"/>
                  </a:cubicBezTo>
                  <a:cubicBezTo>
                    <a:pt x="23317" y="38100"/>
                    <a:pt x="19050" y="33823"/>
                    <a:pt x="19050" y="28575"/>
                  </a:cubicBezTo>
                  <a:cubicBezTo>
                    <a:pt x="19050" y="23327"/>
                    <a:pt x="23317" y="19050"/>
                    <a:pt x="28575" y="19050"/>
                  </a:cubicBezTo>
                  <a:close/>
                </a:path>
              </a:pathLst>
            </a:custGeom>
            <a:grpFill/>
            <a:ln w="9525" cap="flat">
              <a:noFill/>
              <a:prstDash val="solid"/>
              <a:miter/>
            </a:ln>
          </p:spPr>
          <p:txBody>
            <a:bodyPr rtlCol="0" anchor="ctr"/>
            <a:lstStyle/>
            <a:p>
              <a:endParaRPr lang="pt-BR"/>
            </a:p>
          </p:txBody>
        </p:sp>
        <p:sp>
          <p:nvSpPr>
            <p:cNvPr id="22" name="Forma Livre: Forma 21">
              <a:extLst>
                <a:ext uri="{FF2B5EF4-FFF2-40B4-BE49-F238E27FC236}">
                  <a16:creationId xmlns:a16="http://schemas.microsoft.com/office/drawing/2014/main" id="{640F1150-1A3C-4FA7-7E81-EA1AEEFF921C}"/>
                </a:ext>
              </a:extLst>
            </p:cNvPr>
            <p:cNvSpPr/>
            <p:nvPr/>
          </p:nvSpPr>
          <p:spPr>
            <a:xfrm>
              <a:off x="-127785" y="3392054"/>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 name="connsiteX5" fmla="*/ 28575 w 57150"/>
                <a:gd name="connsiteY5" fmla="*/ 19050 h 57150"/>
                <a:gd name="connsiteX6" fmla="*/ 38100 w 57150"/>
                <a:gd name="connsiteY6" fmla="*/ 28575 h 57150"/>
                <a:gd name="connsiteX7" fmla="*/ 28575 w 57150"/>
                <a:gd name="connsiteY7" fmla="*/ 38100 h 57150"/>
                <a:gd name="connsiteX8" fmla="*/ 19050 w 57150"/>
                <a:gd name="connsiteY8" fmla="*/ 28575 h 57150"/>
                <a:gd name="connsiteX9" fmla="*/ 28575 w 57150"/>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57150"/>
                  </a:moveTo>
                  <a:cubicBezTo>
                    <a:pt x="44329" y="57150"/>
                    <a:pt x="57150" y="44329"/>
                    <a:pt x="57150" y="28575"/>
                  </a:cubicBezTo>
                  <a:cubicBezTo>
                    <a:pt x="57150" y="12821"/>
                    <a:pt x="44329" y="0"/>
                    <a:pt x="28575" y="0"/>
                  </a:cubicBezTo>
                  <a:cubicBezTo>
                    <a:pt x="12821" y="0"/>
                    <a:pt x="0" y="12821"/>
                    <a:pt x="0" y="28575"/>
                  </a:cubicBezTo>
                  <a:cubicBezTo>
                    <a:pt x="0" y="44329"/>
                    <a:pt x="12821" y="57150"/>
                    <a:pt x="28575" y="57150"/>
                  </a:cubicBezTo>
                  <a:close/>
                  <a:moveTo>
                    <a:pt x="28575" y="19050"/>
                  </a:moveTo>
                  <a:cubicBezTo>
                    <a:pt x="33833" y="19050"/>
                    <a:pt x="38100" y="23327"/>
                    <a:pt x="38100" y="28575"/>
                  </a:cubicBezTo>
                  <a:cubicBezTo>
                    <a:pt x="38100" y="33823"/>
                    <a:pt x="33833" y="38100"/>
                    <a:pt x="28575" y="38100"/>
                  </a:cubicBezTo>
                  <a:cubicBezTo>
                    <a:pt x="23317" y="38100"/>
                    <a:pt x="19050" y="33823"/>
                    <a:pt x="19050" y="28575"/>
                  </a:cubicBezTo>
                  <a:cubicBezTo>
                    <a:pt x="19050" y="23327"/>
                    <a:pt x="23317" y="19050"/>
                    <a:pt x="28575" y="19050"/>
                  </a:cubicBezTo>
                  <a:close/>
                </a:path>
              </a:pathLst>
            </a:custGeom>
            <a:grpFill/>
            <a:ln w="9525" cap="flat">
              <a:noFill/>
              <a:prstDash val="solid"/>
              <a:miter/>
            </a:ln>
          </p:spPr>
          <p:txBody>
            <a:bodyPr rtlCol="0" anchor="ctr"/>
            <a:lstStyle/>
            <a:p>
              <a:endParaRPr lang="pt-BR"/>
            </a:p>
          </p:txBody>
        </p:sp>
        <p:sp>
          <p:nvSpPr>
            <p:cNvPr id="23" name="Forma Livre: Forma 22">
              <a:extLst>
                <a:ext uri="{FF2B5EF4-FFF2-40B4-BE49-F238E27FC236}">
                  <a16:creationId xmlns:a16="http://schemas.microsoft.com/office/drawing/2014/main" id="{101CF3C4-4643-8E13-7954-67214660FBA4}"/>
                </a:ext>
              </a:extLst>
            </p:cNvPr>
            <p:cNvSpPr/>
            <p:nvPr/>
          </p:nvSpPr>
          <p:spPr>
            <a:xfrm>
              <a:off x="-527835" y="3887354"/>
              <a:ext cx="95250" cy="95250"/>
            </a:xfrm>
            <a:custGeom>
              <a:avLst/>
              <a:gdLst>
                <a:gd name="connsiteX0" fmla="*/ 73333 w 95250"/>
                <a:gd name="connsiteY0" fmla="*/ 35385 h 95250"/>
                <a:gd name="connsiteX1" fmla="*/ 82934 w 95250"/>
                <a:gd name="connsiteY1" fmla="*/ 25784 h 95250"/>
                <a:gd name="connsiteX2" fmla="*/ 69466 w 95250"/>
                <a:gd name="connsiteY2" fmla="*/ 12316 h 95250"/>
                <a:gd name="connsiteX3" fmla="*/ 59865 w 95250"/>
                <a:gd name="connsiteY3" fmla="*/ 21917 h 95250"/>
                <a:gd name="connsiteX4" fmla="*/ 57150 w 95250"/>
                <a:gd name="connsiteY4" fmla="*/ 20812 h 95250"/>
                <a:gd name="connsiteX5" fmla="*/ 57150 w 95250"/>
                <a:gd name="connsiteY5" fmla="*/ 0 h 95250"/>
                <a:gd name="connsiteX6" fmla="*/ 38100 w 95250"/>
                <a:gd name="connsiteY6" fmla="*/ 0 h 95250"/>
                <a:gd name="connsiteX7" fmla="*/ 38100 w 95250"/>
                <a:gd name="connsiteY7" fmla="*/ 20803 h 95250"/>
                <a:gd name="connsiteX8" fmla="*/ 35385 w 95250"/>
                <a:gd name="connsiteY8" fmla="*/ 21907 h 95250"/>
                <a:gd name="connsiteX9" fmla="*/ 25784 w 95250"/>
                <a:gd name="connsiteY9" fmla="*/ 12306 h 95250"/>
                <a:gd name="connsiteX10" fmla="*/ 12316 w 95250"/>
                <a:gd name="connsiteY10" fmla="*/ 25775 h 95250"/>
                <a:gd name="connsiteX11" fmla="*/ 21917 w 95250"/>
                <a:gd name="connsiteY11" fmla="*/ 35376 h 95250"/>
                <a:gd name="connsiteX12" fmla="*/ 20803 w 95250"/>
                <a:gd name="connsiteY12" fmla="*/ 38100 h 95250"/>
                <a:gd name="connsiteX13" fmla="*/ 0 w 95250"/>
                <a:gd name="connsiteY13" fmla="*/ 38100 h 95250"/>
                <a:gd name="connsiteX14" fmla="*/ 0 w 95250"/>
                <a:gd name="connsiteY14" fmla="*/ 57150 h 95250"/>
                <a:gd name="connsiteX15" fmla="*/ 20803 w 95250"/>
                <a:gd name="connsiteY15" fmla="*/ 57150 h 95250"/>
                <a:gd name="connsiteX16" fmla="*/ 21908 w 95250"/>
                <a:gd name="connsiteY16" fmla="*/ 59865 h 95250"/>
                <a:gd name="connsiteX17" fmla="*/ 12306 w 95250"/>
                <a:gd name="connsiteY17" fmla="*/ 69466 h 95250"/>
                <a:gd name="connsiteX18" fmla="*/ 25775 w 95250"/>
                <a:gd name="connsiteY18" fmla="*/ 82934 h 95250"/>
                <a:gd name="connsiteX19" fmla="*/ 35376 w 95250"/>
                <a:gd name="connsiteY19" fmla="*/ 73333 h 95250"/>
                <a:gd name="connsiteX20" fmla="*/ 38090 w 95250"/>
                <a:gd name="connsiteY20" fmla="*/ 74438 h 95250"/>
                <a:gd name="connsiteX21" fmla="*/ 38090 w 95250"/>
                <a:gd name="connsiteY21" fmla="*/ 95250 h 95250"/>
                <a:gd name="connsiteX22" fmla="*/ 57140 w 95250"/>
                <a:gd name="connsiteY22" fmla="*/ 95250 h 95250"/>
                <a:gd name="connsiteX23" fmla="*/ 57140 w 95250"/>
                <a:gd name="connsiteY23" fmla="*/ 74447 h 95250"/>
                <a:gd name="connsiteX24" fmla="*/ 59855 w 95250"/>
                <a:gd name="connsiteY24" fmla="*/ 73343 h 95250"/>
                <a:gd name="connsiteX25" fmla="*/ 69456 w 95250"/>
                <a:gd name="connsiteY25" fmla="*/ 82944 h 95250"/>
                <a:gd name="connsiteX26" fmla="*/ 82925 w 95250"/>
                <a:gd name="connsiteY26" fmla="*/ 69475 h 95250"/>
                <a:gd name="connsiteX27" fmla="*/ 73323 w 95250"/>
                <a:gd name="connsiteY27" fmla="*/ 59874 h 95250"/>
                <a:gd name="connsiteX28" fmla="*/ 74428 w 95250"/>
                <a:gd name="connsiteY28" fmla="*/ 57160 h 95250"/>
                <a:gd name="connsiteX29" fmla="*/ 95250 w 95250"/>
                <a:gd name="connsiteY29" fmla="*/ 57160 h 95250"/>
                <a:gd name="connsiteX30" fmla="*/ 95250 w 95250"/>
                <a:gd name="connsiteY30" fmla="*/ 38110 h 95250"/>
                <a:gd name="connsiteX31" fmla="*/ 74447 w 95250"/>
                <a:gd name="connsiteY31" fmla="*/ 38110 h 95250"/>
                <a:gd name="connsiteX32" fmla="*/ 73333 w 95250"/>
                <a:gd name="connsiteY32" fmla="*/ 35385 h 95250"/>
                <a:gd name="connsiteX33" fmla="*/ 57150 w 95250"/>
                <a:gd name="connsiteY33" fmla="*/ 47625 h 95250"/>
                <a:gd name="connsiteX34" fmla="*/ 47625 w 95250"/>
                <a:gd name="connsiteY34" fmla="*/ 57150 h 95250"/>
                <a:gd name="connsiteX35" fmla="*/ 38100 w 95250"/>
                <a:gd name="connsiteY35" fmla="*/ 47625 h 95250"/>
                <a:gd name="connsiteX36" fmla="*/ 47625 w 95250"/>
                <a:gd name="connsiteY36" fmla="*/ 38100 h 95250"/>
                <a:gd name="connsiteX37" fmla="*/ 57150 w 95250"/>
                <a:gd name="connsiteY37" fmla="*/ 476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5250" h="95250">
                  <a:moveTo>
                    <a:pt x="73333" y="35385"/>
                  </a:moveTo>
                  <a:lnTo>
                    <a:pt x="82934" y="25784"/>
                  </a:lnTo>
                  <a:lnTo>
                    <a:pt x="69466" y="12316"/>
                  </a:lnTo>
                  <a:lnTo>
                    <a:pt x="59865" y="21917"/>
                  </a:lnTo>
                  <a:cubicBezTo>
                    <a:pt x="58979" y="21498"/>
                    <a:pt x="58074" y="21136"/>
                    <a:pt x="57150" y="20812"/>
                  </a:cubicBezTo>
                  <a:lnTo>
                    <a:pt x="57150" y="0"/>
                  </a:lnTo>
                  <a:lnTo>
                    <a:pt x="38100" y="0"/>
                  </a:lnTo>
                  <a:lnTo>
                    <a:pt x="38100" y="20803"/>
                  </a:lnTo>
                  <a:cubicBezTo>
                    <a:pt x="37167" y="21136"/>
                    <a:pt x="36262" y="21488"/>
                    <a:pt x="35385" y="21907"/>
                  </a:cubicBezTo>
                  <a:lnTo>
                    <a:pt x="25784" y="12306"/>
                  </a:lnTo>
                  <a:lnTo>
                    <a:pt x="12316" y="25775"/>
                  </a:lnTo>
                  <a:lnTo>
                    <a:pt x="21917" y="35376"/>
                  </a:lnTo>
                  <a:cubicBezTo>
                    <a:pt x="21488" y="36262"/>
                    <a:pt x="21136" y="37167"/>
                    <a:pt x="20803" y="38100"/>
                  </a:cubicBezTo>
                  <a:lnTo>
                    <a:pt x="0" y="38100"/>
                  </a:lnTo>
                  <a:lnTo>
                    <a:pt x="0" y="57150"/>
                  </a:lnTo>
                  <a:lnTo>
                    <a:pt x="20803" y="57150"/>
                  </a:lnTo>
                  <a:cubicBezTo>
                    <a:pt x="21136" y="58083"/>
                    <a:pt x="21488" y="58988"/>
                    <a:pt x="21908" y="59865"/>
                  </a:cubicBezTo>
                  <a:lnTo>
                    <a:pt x="12306" y="69466"/>
                  </a:lnTo>
                  <a:lnTo>
                    <a:pt x="25775" y="82934"/>
                  </a:lnTo>
                  <a:lnTo>
                    <a:pt x="35376" y="73333"/>
                  </a:lnTo>
                  <a:cubicBezTo>
                    <a:pt x="36262" y="73752"/>
                    <a:pt x="37167" y="74104"/>
                    <a:pt x="38090" y="74438"/>
                  </a:cubicBezTo>
                  <a:lnTo>
                    <a:pt x="38090" y="95250"/>
                  </a:lnTo>
                  <a:lnTo>
                    <a:pt x="57140" y="95250"/>
                  </a:lnTo>
                  <a:lnTo>
                    <a:pt x="57140" y="74447"/>
                  </a:lnTo>
                  <a:cubicBezTo>
                    <a:pt x="58074" y="74114"/>
                    <a:pt x="58979" y="73762"/>
                    <a:pt x="59855" y="73343"/>
                  </a:cubicBezTo>
                  <a:lnTo>
                    <a:pt x="69456" y="82944"/>
                  </a:lnTo>
                  <a:lnTo>
                    <a:pt x="82925" y="69475"/>
                  </a:lnTo>
                  <a:lnTo>
                    <a:pt x="73323" y="59874"/>
                  </a:lnTo>
                  <a:cubicBezTo>
                    <a:pt x="73743" y="58988"/>
                    <a:pt x="74105" y="58083"/>
                    <a:pt x="74428" y="57160"/>
                  </a:cubicBezTo>
                  <a:lnTo>
                    <a:pt x="95250" y="57160"/>
                  </a:lnTo>
                  <a:lnTo>
                    <a:pt x="95250" y="38110"/>
                  </a:lnTo>
                  <a:lnTo>
                    <a:pt x="74447" y="38110"/>
                  </a:lnTo>
                  <a:cubicBezTo>
                    <a:pt x="74114" y="37167"/>
                    <a:pt x="73762" y="36262"/>
                    <a:pt x="73333" y="35385"/>
                  </a:cubicBezTo>
                  <a:close/>
                  <a:moveTo>
                    <a:pt x="57150" y="47625"/>
                  </a:moveTo>
                  <a:cubicBezTo>
                    <a:pt x="57150" y="52873"/>
                    <a:pt x="52883" y="57150"/>
                    <a:pt x="47625" y="57150"/>
                  </a:cubicBezTo>
                  <a:cubicBezTo>
                    <a:pt x="42367" y="57150"/>
                    <a:pt x="38100" y="52873"/>
                    <a:pt x="38100" y="47625"/>
                  </a:cubicBezTo>
                  <a:cubicBezTo>
                    <a:pt x="38100" y="42377"/>
                    <a:pt x="42367" y="38100"/>
                    <a:pt x="47625" y="38100"/>
                  </a:cubicBezTo>
                  <a:cubicBezTo>
                    <a:pt x="52883" y="38100"/>
                    <a:pt x="57150" y="42377"/>
                    <a:pt x="57150" y="47625"/>
                  </a:cubicBezTo>
                  <a:close/>
                </a:path>
              </a:pathLst>
            </a:custGeom>
            <a:grpFill/>
            <a:ln w="9525" cap="flat">
              <a:noFill/>
              <a:prstDash val="solid"/>
              <a:miter/>
            </a:ln>
          </p:spPr>
          <p:txBody>
            <a:bodyPr rtlCol="0" anchor="ctr"/>
            <a:lstStyle/>
            <a:p>
              <a:endParaRPr lang="pt-BR"/>
            </a:p>
          </p:txBody>
        </p:sp>
        <p:sp>
          <p:nvSpPr>
            <p:cNvPr id="24" name="Forma Livre: Forma 23">
              <a:extLst>
                <a:ext uri="{FF2B5EF4-FFF2-40B4-BE49-F238E27FC236}">
                  <a16:creationId xmlns:a16="http://schemas.microsoft.com/office/drawing/2014/main" id="{A5084D47-225D-C4F0-DBC7-3FF8AC3DAEB2}"/>
                </a:ext>
              </a:extLst>
            </p:cNvPr>
            <p:cNvSpPr/>
            <p:nvPr/>
          </p:nvSpPr>
          <p:spPr>
            <a:xfrm rot="-2700000">
              <a:off x="-583351" y="3849247"/>
              <a:ext cx="53882" cy="19049"/>
            </a:xfrm>
            <a:custGeom>
              <a:avLst/>
              <a:gdLst>
                <a:gd name="connsiteX0" fmla="*/ 0 w 53882"/>
                <a:gd name="connsiteY0" fmla="*/ 0 h 19049"/>
                <a:gd name="connsiteX1" fmla="*/ 53882 w 53882"/>
                <a:gd name="connsiteY1" fmla="*/ 0 h 19049"/>
                <a:gd name="connsiteX2" fmla="*/ 53882 w 53882"/>
                <a:gd name="connsiteY2" fmla="*/ 19050 h 19049"/>
                <a:gd name="connsiteX3" fmla="*/ 0 w 53882"/>
                <a:gd name="connsiteY3" fmla="*/ 19050 h 19049"/>
              </a:gdLst>
              <a:ahLst/>
              <a:cxnLst>
                <a:cxn ang="0">
                  <a:pos x="connsiteX0" y="connsiteY0"/>
                </a:cxn>
                <a:cxn ang="0">
                  <a:pos x="connsiteX1" y="connsiteY1"/>
                </a:cxn>
                <a:cxn ang="0">
                  <a:pos x="connsiteX2" y="connsiteY2"/>
                </a:cxn>
                <a:cxn ang="0">
                  <a:pos x="connsiteX3" y="connsiteY3"/>
                </a:cxn>
              </a:cxnLst>
              <a:rect l="l" t="t" r="r" b="b"/>
              <a:pathLst>
                <a:path w="53882" h="19049">
                  <a:moveTo>
                    <a:pt x="0" y="0"/>
                  </a:moveTo>
                  <a:lnTo>
                    <a:pt x="53882" y="0"/>
                  </a:lnTo>
                  <a:lnTo>
                    <a:pt x="53882" y="19050"/>
                  </a:lnTo>
                  <a:lnTo>
                    <a:pt x="0" y="19050"/>
                  </a:lnTo>
                  <a:close/>
                </a:path>
              </a:pathLst>
            </a:custGeom>
            <a:grpFill/>
            <a:ln w="9525" cap="flat">
              <a:noFill/>
              <a:prstDash val="solid"/>
              <a:miter/>
            </a:ln>
          </p:spPr>
          <p:txBody>
            <a:bodyPr rtlCol="0" anchor="ctr"/>
            <a:lstStyle/>
            <a:p>
              <a:endParaRPr lang="pt-BR"/>
            </a:p>
          </p:txBody>
        </p:sp>
        <p:sp>
          <p:nvSpPr>
            <p:cNvPr id="25" name="Forma Livre: Forma 24">
              <a:extLst>
                <a:ext uri="{FF2B5EF4-FFF2-40B4-BE49-F238E27FC236}">
                  <a16:creationId xmlns:a16="http://schemas.microsoft.com/office/drawing/2014/main" id="{C2C1B8DB-3F5E-8273-DC9C-78406DC71354}"/>
                </a:ext>
              </a:extLst>
            </p:cNvPr>
            <p:cNvSpPr/>
            <p:nvPr/>
          </p:nvSpPr>
          <p:spPr>
            <a:xfrm>
              <a:off x="-553619" y="3754004"/>
              <a:ext cx="146818" cy="159134"/>
            </a:xfrm>
            <a:custGeom>
              <a:avLst/>
              <a:gdLst>
                <a:gd name="connsiteX0" fmla="*/ 101984 w 146818"/>
                <a:gd name="connsiteY0" fmla="*/ 0 h 159134"/>
                <a:gd name="connsiteX1" fmla="*/ 82934 w 146818"/>
                <a:gd name="connsiteY1" fmla="*/ 0 h 159134"/>
                <a:gd name="connsiteX2" fmla="*/ 82934 w 146818"/>
                <a:gd name="connsiteY2" fmla="*/ 57150 h 159134"/>
                <a:gd name="connsiteX3" fmla="*/ 63884 w 146818"/>
                <a:gd name="connsiteY3" fmla="*/ 57150 h 159134"/>
                <a:gd name="connsiteX4" fmla="*/ 63884 w 146818"/>
                <a:gd name="connsiteY4" fmla="*/ 0 h 159134"/>
                <a:gd name="connsiteX5" fmla="*/ 44834 w 146818"/>
                <a:gd name="connsiteY5" fmla="*/ 0 h 159134"/>
                <a:gd name="connsiteX6" fmla="*/ 44834 w 146818"/>
                <a:gd name="connsiteY6" fmla="*/ 100832 h 159134"/>
                <a:gd name="connsiteX7" fmla="*/ 0 w 146818"/>
                <a:gd name="connsiteY7" fmla="*/ 145666 h 159134"/>
                <a:gd name="connsiteX8" fmla="*/ 13468 w 146818"/>
                <a:gd name="connsiteY8" fmla="*/ 159134 h 159134"/>
                <a:gd name="connsiteX9" fmla="*/ 63884 w 146818"/>
                <a:gd name="connsiteY9" fmla="*/ 108718 h 159134"/>
                <a:gd name="connsiteX10" fmla="*/ 63884 w 146818"/>
                <a:gd name="connsiteY10" fmla="*/ 76200 h 159134"/>
                <a:gd name="connsiteX11" fmla="*/ 82934 w 146818"/>
                <a:gd name="connsiteY11" fmla="*/ 76200 h 159134"/>
                <a:gd name="connsiteX12" fmla="*/ 82934 w 146818"/>
                <a:gd name="connsiteY12" fmla="*/ 108718 h 159134"/>
                <a:gd name="connsiteX13" fmla="*/ 133350 w 146818"/>
                <a:gd name="connsiteY13" fmla="*/ 159134 h 159134"/>
                <a:gd name="connsiteX14" fmla="*/ 146818 w 146818"/>
                <a:gd name="connsiteY14" fmla="*/ 145666 h 159134"/>
                <a:gd name="connsiteX15" fmla="*/ 101984 w 146818"/>
                <a:gd name="connsiteY15" fmla="*/ 100832 h 15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818" h="159134">
                  <a:moveTo>
                    <a:pt x="101984" y="0"/>
                  </a:moveTo>
                  <a:lnTo>
                    <a:pt x="82934" y="0"/>
                  </a:lnTo>
                  <a:lnTo>
                    <a:pt x="82934" y="57150"/>
                  </a:lnTo>
                  <a:lnTo>
                    <a:pt x="63884" y="57150"/>
                  </a:lnTo>
                  <a:lnTo>
                    <a:pt x="63884" y="0"/>
                  </a:lnTo>
                  <a:lnTo>
                    <a:pt x="44834" y="0"/>
                  </a:lnTo>
                  <a:lnTo>
                    <a:pt x="44834" y="100832"/>
                  </a:lnTo>
                  <a:lnTo>
                    <a:pt x="0" y="145666"/>
                  </a:lnTo>
                  <a:lnTo>
                    <a:pt x="13468" y="159134"/>
                  </a:lnTo>
                  <a:lnTo>
                    <a:pt x="63884" y="108718"/>
                  </a:lnTo>
                  <a:lnTo>
                    <a:pt x="63884" y="76200"/>
                  </a:lnTo>
                  <a:lnTo>
                    <a:pt x="82934" y="76200"/>
                  </a:lnTo>
                  <a:lnTo>
                    <a:pt x="82934" y="108718"/>
                  </a:lnTo>
                  <a:lnTo>
                    <a:pt x="133350" y="159134"/>
                  </a:lnTo>
                  <a:lnTo>
                    <a:pt x="146818" y="145666"/>
                  </a:lnTo>
                  <a:lnTo>
                    <a:pt x="101984" y="100832"/>
                  </a:lnTo>
                  <a:close/>
                </a:path>
              </a:pathLst>
            </a:custGeom>
            <a:grpFill/>
            <a:ln w="9525" cap="flat">
              <a:noFill/>
              <a:prstDash val="solid"/>
              <a:miter/>
            </a:ln>
          </p:spPr>
          <p:txBody>
            <a:bodyPr rtlCol="0" anchor="ctr"/>
            <a:lstStyle/>
            <a:p>
              <a:endParaRPr lang="pt-BR"/>
            </a:p>
          </p:txBody>
        </p:sp>
        <p:sp>
          <p:nvSpPr>
            <p:cNvPr id="26" name="Forma Livre: Forma 25">
              <a:extLst>
                <a:ext uri="{FF2B5EF4-FFF2-40B4-BE49-F238E27FC236}">
                  <a16:creationId xmlns:a16="http://schemas.microsoft.com/office/drawing/2014/main" id="{166016DA-F22D-D21B-687F-A701E3DD4F5E}"/>
                </a:ext>
              </a:extLst>
            </p:cNvPr>
            <p:cNvSpPr/>
            <p:nvPr/>
          </p:nvSpPr>
          <p:spPr>
            <a:xfrm rot="-2700000">
              <a:off x="-413536" y="3831839"/>
              <a:ext cx="19049" cy="53882"/>
            </a:xfrm>
            <a:custGeom>
              <a:avLst/>
              <a:gdLst>
                <a:gd name="connsiteX0" fmla="*/ 0 w 19049"/>
                <a:gd name="connsiteY0" fmla="*/ 0 h 53882"/>
                <a:gd name="connsiteX1" fmla="*/ 19050 w 19049"/>
                <a:gd name="connsiteY1" fmla="*/ 0 h 53882"/>
                <a:gd name="connsiteX2" fmla="*/ 19050 w 19049"/>
                <a:gd name="connsiteY2" fmla="*/ 53882 h 53882"/>
                <a:gd name="connsiteX3" fmla="*/ 0 w 19049"/>
                <a:gd name="connsiteY3" fmla="*/ 53882 h 53882"/>
              </a:gdLst>
              <a:ahLst/>
              <a:cxnLst>
                <a:cxn ang="0">
                  <a:pos x="connsiteX0" y="connsiteY0"/>
                </a:cxn>
                <a:cxn ang="0">
                  <a:pos x="connsiteX1" y="connsiteY1"/>
                </a:cxn>
                <a:cxn ang="0">
                  <a:pos x="connsiteX2" y="connsiteY2"/>
                </a:cxn>
                <a:cxn ang="0">
                  <a:pos x="connsiteX3" y="connsiteY3"/>
                </a:cxn>
              </a:cxnLst>
              <a:rect l="l" t="t" r="r" b="b"/>
              <a:pathLst>
                <a:path w="19049" h="53882">
                  <a:moveTo>
                    <a:pt x="0" y="0"/>
                  </a:moveTo>
                  <a:lnTo>
                    <a:pt x="19050" y="0"/>
                  </a:lnTo>
                  <a:lnTo>
                    <a:pt x="19050" y="53882"/>
                  </a:lnTo>
                  <a:lnTo>
                    <a:pt x="0" y="53882"/>
                  </a:lnTo>
                  <a:close/>
                </a:path>
              </a:pathLst>
            </a:custGeom>
            <a:grpFill/>
            <a:ln w="9525" cap="flat">
              <a:noFill/>
              <a:prstDash val="solid"/>
              <a:miter/>
            </a:ln>
          </p:spPr>
          <p:txBody>
            <a:bodyPr rtlCol="0" anchor="ctr"/>
            <a:lstStyle/>
            <a:p>
              <a:endParaRPr lang="pt-BR"/>
            </a:p>
          </p:txBody>
        </p:sp>
        <p:sp>
          <p:nvSpPr>
            <p:cNvPr id="27" name="Forma Livre: Forma 26">
              <a:extLst>
                <a:ext uri="{FF2B5EF4-FFF2-40B4-BE49-F238E27FC236}">
                  <a16:creationId xmlns:a16="http://schemas.microsoft.com/office/drawing/2014/main" id="{6BFE09E7-DC6C-3E39-62D4-8F28A2C12846}"/>
                </a:ext>
              </a:extLst>
            </p:cNvPr>
            <p:cNvSpPr/>
            <p:nvPr/>
          </p:nvSpPr>
          <p:spPr>
            <a:xfrm>
              <a:off x="-146835" y="3887354"/>
              <a:ext cx="95250" cy="95250"/>
            </a:xfrm>
            <a:custGeom>
              <a:avLst/>
              <a:gdLst>
                <a:gd name="connsiteX0" fmla="*/ 73333 w 95250"/>
                <a:gd name="connsiteY0" fmla="*/ 35385 h 95250"/>
                <a:gd name="connsiteX1" fmla="*/ 82934 w 95250"/>
                <a:gd name="connsiteY1" fmla="*/ 25784 h 95250"/>
                <a:gd name="connsiteX2" fmla="*/ 69466 w 95250"/>
                <a:gd name="connsiteY2" fmla="*/ 12316 h 95250"/>
                <a:gd name="connsiteX3" fmla="*/ 59865 w 95250"/>
                <a:gd name="connsiteY3" fmla="*/ 21917 h 95250"/>
                <a:gd name="connsiteX4" fmla="*/ 57150 w 95250"/>
                <a:gd name="connsiteY4" fmla="*/ 20812 h 95250"/>
                <a:gd name="connsiteX5" fmla="*/ 57150 w 95250"/>
                <a:gd name="connsiteY5" fmla="*/ 0 h 95250"/>
                <a:gd name="connsiteX6" fmla="*/ 38100 w 95250"/>
                <a:gd name="connsiteY6" fmla="*/ 0 h 95250"/>
                <a:gd name="connsiteX7" fmla="*/ 38100 w 95250"/>
                <a:gd name="connsiteY7" fmla="*/ 20803 h 95250"/>
                <a:gd name="connsiteX8" fmla="*/ 35385 w 95250"/>
                <a:gd name="connsiteY8" fmla="*/ 21907 h 95250"/>
                <a:gd name="connsiteX9" fmla="*/ 25784 w 95250"/>
                <a:gd name="connsiteY9" fmla="*/ 12306 h 95250"/>
                <a:gd name="connsiteX10" fmla="*/ 12316 w 95250"/>
                <a:gd name="connsiteY10" fmla="*/ 25775 h 95250"/>
                <a:gd name="connsiteX11" fmla="*/ 21917 w 95250"/>
                <a:gd name="connsiteY11" fmla="*/ 35376 h 95250"/>
                <a:gd name="connsiteX12" fmla="*/ 20812 w 95250"/>
                <a:gd name="connsiteY12" fmla="*/ 38090 h 95250"/>
                <a:gd name="connsiteX13" fmla="*/ 0 w 95250"/>
                <a:gd name="connsiteY13" fmla="*/ 38090 h 95250"/>
                <a:gd name="connsiteX14" fmla="*/ 0 w 95250"/>
                <a:gd name="connsiteY14" fmla="*/ 57140 h 95250"/>
                <a:gd name="connsiteX15" fmla="*/ 20803 w 95250"/>
                <a:gd name="connsiteY15" fmla="*/ 57140 h 95250"/>
                <a:gd name="connsiteX16" fmla="*/ 21907 w 95250"/>
                <a:gd name="connsiteY16" fmla="*/ 59855 h 95250"/>
                <a:gd name="connsiteX17" fmla="*/ 12306 w 95250"/>
                <a:gd name="connsiteY17" fmla="*/ 69456 h 95250"/>
                <a:gd name="connsiteX18" fmla="*/ 25775 w 95250"/>
                <a:gd name="connsiteY18" fmla="*/ 82925 h 95250"/>
                <a:gd name="connsiteX19" fmla="*/ 35376 w 95250"/>
                <a:gd name="connsiteY19" fmla="*/ 73323 h 95250"/>
                <a:gd name="connsiteX20" fmla="*/ 38090 w 95250"/>
                <a:gd name="connsiteY20" fmla="*/ 74428 h 95250"/>
                <a:gd name="connsiteX21" fmla="*/ 38090 w 95250"/>
                <a:gd name="connsiteY21" fmla="*/ 95250 h 95250"/>
                <a:gd name="connsiteX22" fmla="*/ 57140 w 95250"/>
                <a:gd name="connsiteY22" fmla="*/ 95250 h 95250"/>
                <a:gd name="connsiteX23" fmla="*/ 57140 w 95250"/>
                <a:gd name="connsiteY23" fmla="*/ 74447 h 95250"/>
                <a:gd name="connsiteX24" fmla="*/ 59855 w 95250"/>
                <a:gd name="connsiteY24" fmla="*/ 73343 h 95250"/>
                <a:gd name="connsiteX25" fmla="*/ 69456 w 95250"/>
                <a:gd name="connsiteY25" fmla="*/ 82944 h 95250"/>
                <a:gd name="connsiteX26" fmla="*/ 82925 w 95250"/>
                <a:gd name="connsiteY26" fmla="*/ 69475 h 95250"/>
                <a:gd name="connsiteX27" fmla="*/ 73323 w 95250"/>
                <a:gd name="connsiteY27" fmla="*/ 59874 h 95250"/>
                <a:gd name="connsiteX28" fmla="*/ 74428 w 95250"/>
                <a:gd name="connsiteY28" fmla="*/ 57160 h 95250"/>
                <a:gd name="connsiteX29" fmla="*/ 95250 w 95250"/>
                <a:gd name="connsiteY29" fmla="*/ 57160 h 95250"/>
                <a:gd name="connsiteX30" fmla="*/ 95250 w 95250"/>
                <a:gd name="connsiteY30" fmla="*/ 38110 h 95250"/>
                <a:gd name="connsiteX31" fmla="*/ 74447 w 95250"/>
                <a:gd name="connsiteY31" fmla="*/ 38110 h 95250"/>
                <a:gd name="connsiteX32" fmla="*/ 73333 w 95250"/>
                <a:gd name="connsiteY32" fmla="*/ 35385 h 95250"/>
                <a:gd name="connsiteX33" fmla="*/ 57150 w 95250"/>
                <a:gd name="connsiteY33" fmla="*/ 47625 h 95250"/>
                <a:gd name="connsiteX34" fmla="*/ 47625 w 95250"/>
                <a:gd name="connsiteY34" fmla="*/ 57150 h 95250"/>
                <a:gd name="connsiteX35" fmla="*/ 38100 w 95250"/>
                <a:gd name="connsiteY35" fmla="*/ 47625 h 95250"/>
                <a:gd name="connsiteX36" fmla="*/ 47625 w 95250"/>
                <a:gd name="connsiteY36" fmla="*/ 38100 h 95250"/>
                <a:gd name="connsiteX37" fmla="*/ 57150 w 95250"/>
                <a:gd name="connsiteY37" fmla="*/ 476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5250" h="95250">
                  <a:moveTo>
                    <a:pt x="73333" y="35385"/>
                  </a:moveTo>
                  <a:lnTo>
                    <a:pt x="82934" y="25784"/>
                  </a:lnTo>
                  <a:lnTo>
                    <a:pt x="69466" y="12316"/>
                  </a:lnTo>
                  <a:lnTo>
                    <a:pt x="59865" y="21917"/>
                  </a:lnTo>
                  <a:cubicBezTo>
                    <a:pt x="58979" y="21498"/>
                    <a:pt x="58074" y="21136"/>
                    <a:pt x="57150" y="20812"/>
                  </a:cubicBezTo>
                  <a:lnTo>
                    <a:pt x="57150" y="0"/>
                  </a:lnTo>
                  <a:lnTo>
                    <a:pt x="38100" y="0"/>
                  </a:lnTo>
                  <a:lnTo>
                    <a:pt x="38100" y="20803"/>
                  </a:lnTo>
                  <a:cubicBezTo>
                    <a:pt x="37167" y="21136"/>
                    <a:pt x="36262" y="21488"/>
                    <a:pt x="35385" y="21907"/>
                  </a:cubicBezTo>
                  <a:lnTo>
                    <a:pt x="25784" y="12306"/>
                  </a:lnTo>
                  <a:lnTo>
                    <a:pt x="12316" y="25775"/>
                  </a:lnTo>
                  <a:lnTo>
                    <a:pt x="21917" y="35376"/>
                  </a:lnTo>
                  <a:cubicBezTo>
                    <a:pt x="21498" y="36262"/>
                    <a:pt x="21136" y="37167"/>
                    <a:pt x="20812" y="38090"/>
                  </a:cubicBezTo>
                  <a:lnTo>
                    <a:pt x="0" y="38090"/>
                  </a:lnTo>
                  <a:lnTo>
                    <a:pt x="0" y="57140"/>
                  </a:lnTo>
                  <a:lnTo>
                    <a:pt x="20803" y="57140"/>
                  </a:lnTo>
                  <a:cubicBezTo>
                    <a:pt x="21136" y="58074"/>
                    <a:pt x="21488" y="58979"/>
                    <a:pt x="21907" y="59855"/>
                  </a:cubicBezTo>
                  <a:lnTo>
                    <a:pt x="12306" y="69456"/>
                  </a:lnTo>
                  <a:lnTo>
                    <a:pt x="25775" y="82925"/>
                  </a:lnTo>
                  <a:lnTo>
                    <a:pt x="35376" y="73323"/>
                  </a:lnTo>
                  <a:cubicBezTo>
                    <a:pt x="36262" y="73743"/>
                    <a:pt x="37167" y="74095"/>
                    <a:pt x="38090" y="74428"/>
                  </a:cubicBezTo>
                  <a:lnTo>
                    <a:pt x="38090" y="95250"/>
                  </a:lnTo>
                  <a:lnTo>
                    <a:pt x="57140" y="95250"/>
                  </a:lnTo>
                  <a:lnTo>
                    <a:pt x="57140" y="74447"/>
                  </a:lnTo>
                  <a:cubicBezTo>
                    <a:pt x="58074" y="74114"/>
                    <a:pt x="58979" y="73762"/>
                    <a:pt x="59855" y="73343"/>
                  </a:cubicBezTo>
                  <a:lnTo>
                    <a:pt x="69456" y="82944"/>
                  </a:lnTo>
                  <a:lnTo>
                    <a:pt x="82925" y="69475"/>
                  </a:lnTo>
                  <a:lnTo>
                    <a:pt x="73323" y="59874"/>
                  </a:lnTo>
                  <a:cubicBezTo>
                    <a:pt x="73743" y="58988"/>
                    <a:pt x="74104" y="58083"/>
                    <a:pt x="74428" y="57160"/>
                  </a:cubicBezTo>
                  <a:lnTo>
                    <a:pt x="95250" y="57160"/>
                  </a:lnTo>
                  <a:lnTo>
                    <a:pt x="95250" y="38110"/>
                  </a:lnTo>
                  <a:lnTo>
                    <a:pt x="74447" y="38110"/>
                  </a:lnTo>
                  <a:cubicBezTo>
                    <a:pt x="74114" y="37167"/>
                    <a:pt x="73762" y="36262"/>
                    <a:pt x="73333" y="35385"/>
                  </a:cubicBezTo>
                  <a:close/>
                  <a:moveTo>
                    <a:pt x="57150" y="47625"/>
                  </a:moveTo>
                  <a:cubicBezTo>
                    <a:pt x="57150" y="52873"/>
                    <a:pt x="52883" y="57150"/>
                    <a:pt x="47625" y="57150"/>
                  </a:cubicBezTo>
                  <a:cubicBezTo>
                    <a:pt x="42367" y="57150"/>
                    <a:pt x="38100" y="52873"/>
                    <a:pt x="38100" y="47625"/>
                  </a:cubicBezTo>
                  <a:cubicBezTo>
                    <a:pt x="38100" y="42377"/>
                    <a:pt x="42367" y="38100"/>
                    <a:pt x="47625" y="38100"/>
                  </a:cubicBezTo>
                  <a:cubicBezTo>
                    <a:pt x="52883" y="38100"/>
                    <a:pt x="57150" y="42377"/>
                    <a:pt x="57150" y="47625"/>
                  </a:cubicBezTo>
                  <a:close/>
                </a:path>
              </a:pathLst>
            </a:custGeom>
            <a:grpFill/>
            <a:ln w="9525" cap="flat">
              <a:noFill/>
              <a:prstDash val="solid"/>
              <a:miter/>
            </a:ln>
          </p:spPr>
          <p:txBody>
            <a:bodyPr rtlCol="0" anchor="ctr"/>
            <a:lstStyle/>
            <a:p>
              <a:endParaRPr lang="pt-BR"/>
            </a:p>
          </p:txBody>
        </p:sp>
        <p:sp>
          <p:nvSpPr>
            <p:cNvPr id="28" name="Forma Livre: Forma 27">
              <a:extLst>
                <a:ext uri="{FF2B5EF4-FFF2-40B4-BE49-F238E27FC236}">
                  <a16:creationId xmlns:a16="http://schemas.microsoft.com/office/drawing/2014/main" id="{1FB90B52-9754-2D93-C3DC-DBB0A53E5C4F}"/>
                </a:ext>
              </a:extLst>
            </p:cNvPr>
            <p:cNvSpPr/>
            <p:nvPr/>
          </p:nvSpPr>
          <p:spPr>
            <a:xfrm rot="-2700000">
              <a:off x="-202353" y="3849250"/>
              <a:ext cx="53882" cy="19049"/>
            </a:xfrm>
            <a:custGeom>
              <a:avLst/>
              <a:gdLst>
                <a:gd name="connsiteX0" fmla="*/ 0 w 53882"/>
                <a:gd name="connsiteY0" fmla="*/ 0 h 19049"/>
                <a:gd name="connsiteX1" fmla="*/ 53882 w 53882"/>
                <a:gd name="connsiteY1" fmla="*/ 0 h 19049"/>
                <a:gd name="connsiteX2" fmla="*/ 53882 w 53882"/>
                <a:gd name="connsiteY2" fmla="*/ 19050 h 19049"/>
                <a:gd name="connsiteX3" fmla="*/ 0 w 53882"/>
                <a:gd name="connsiteY3" fmla="*/ 19050 h 19049"/>
              </a:gdLst>
              <a:ahLst/>
              <a:cxnLst>
                <a:cxn ang="0">
                  <a:pos x="connsiteX0" y="connsiteY0"/>
                </a:cxn>
                <a:cxn ang="0">
                  <a:pos x="connsiteX1" y="connsiteY1"/>
                </a:cxn>
                <a:cxn ang="0">
                  <a:pos x="connsiteX2" y="connsiteY2"/>
                </a:cxn>
                <a:cxn ang="0">
                  <a:pos x="connsiteX3" y="connsiteY3"/>
                </a:cxn>
              </a:cxnLst>
              <a:rect l="l" t="t" r="r" b="b"/>
              <a:pathLst>
                <a:path w="53882" h="19049">
                  <a:moveTo>
                    <a:pt x="0" y="0"/>
                  </a:moveTo>
                  <a:lnTo>
                    <a:pt x="53882" y="0"/>
                  </a:lnTo>
                  <a:lnTo>
                    <a:pt x="53882" y="19050"/>
                  </a:lnTo>
                  <a:lnTo>
                    <a:pt x="0" y="19050"/>
                  </a:lnTo>
                  <a:close/>
                </a:path>
              </a:pathLst>
            </a:custGeom>
            <a:grpFill/>
            <a:ln w="9525" cap="flat">
              <a:noFill/>
              <a:prstDash val="solid"/>
              <a:miter/>
            </a:ln>
          </p:spPr>
          <p:txBody>
            <a:bodyPr rtlCol="0" anchor="ctr"/>
            <a:lstStyle/>
            <a:p>
              <a:endParaRPr lang="pt-BR"/>
            </a:p>
          </p:txBody>
        </p:sp>
        <p:sp>
          <p:nvSpPr>
            <p:cNvPr id="29" name="Forma Livre: Forma 28">
              <a:extLst>
                <a:ext uri="{FF2B5EF4-FFF2-40B4-BE49-F238E27FC236}">
                  <a16:creationId xmlns:a16="http://schemas.microsoft.com/office/drawing/2014/main" id="{0C79048C-FA48-5B39-0433-56B88B6527E0}"/>
                </a:ext>
              </a:extLst>
            </p:cNvPr>
            <p:cNvSpPr/>
            <p:nvPr/>
          </p:nvSpPr>
          <p:spPr>
            <a:xfrm>
              <a:off x="-172619" y="3754004"/>
              <a:ext cx="146818" cy="159134"/>
            </a:xfrm>
            <a:custGeom>
              <a:avLst/>
              <a:gdLst>
                <a:gd name="connsiteX0" fmla="*/ 101984 w 146818"/>
                <a:gd name="connsiteY0" fmla="*/ 0 h 159134"/>
                <a:gd name="connsiteX1" fmla="*/ 82934 w 146818"/>
                <a:gd name="connsiteY1" fmla="*/ 0 h 159134"/>
                <a:gd name="connsiteX2" fmla="*/ 82934 w 146818"/>
                <a:gd name="connsiteY2" fmla="*/ 57150 h 159134"/>
                <a:gd name="connsiteX3" fmla="*/ 63884 w 146818"/>
                <a:gd name="connsiteY3" fmla="*/ 57150 h 159134"/>
                <a:gd name="connsiteX4" fmla="*/ 63884 w 146818"/>
                <a:gd name="connsiteY4" fmla="*/ 0 h 159134"/>
                <a:gd name="connsiteX5" fmla="*/ 44834 w 146818"/>
                <a:gd name="connsiteY5" fmla="*/ 0 h 159134"/>
                <a:gd name="connsiteX6" fmla="*/ 44834 w 146818"/>
                <a:gd name="connsiteY6" fmla="*/ 100832 h 159134"/>
                <a:gd name="connsiteX7" fmla="*/ 0 w 146818"/>
                <a:gd name="connsiteY7" fmla="*/ 145666 h 159134"/>
                <a:gd name="connsiteX8" fmla="*/ 13468 w 146818"/>
                <a:gd name="connsiteY8" fmla="*/ 159134 h 159134"/>
                <a:gd name="connsiteX9" fmla="*/ 63884 w 146818"/>
                <a:gd name="connsiteY9" fmla="*/ 108718 h 159134"/>
                <a:gd name="connsiteX10" fmla="*/ 63884 w 146818"/>
                <a:gd name="connsiteY10" fmla="*/ 76200 h 159134"/>
                <a:gd name="connsiteX11" fmla="*/ 82934 w 146818"/>
                <a:gd name="connsiteY11" fmla="*/ 76200 h 159134"/>
                <a:gd name="connsiteX12" fmla="*/ 82934 w 146818"/>
                <a:gd name="connsiteY12" fmla="*/ 108718 h 159134"/>
                <a:gd name="connsiteX13" fmla="*/ 133350 w 146818"/>
                <a:gd name="connsiteY13" fmla="*/ 159134 h 159134"/>
                <a:gd name="connsiteX14" fmla="*/ 146818 w 146818"/>
                <a:gd name="connsiteY14" fmla="*/ 145666 h 159134"/>
                <a:gd name="connsiteX15" fmla="*/ 101984 w 146818"/>
                <a:gd name="connsiteY15" fmla="*/ 100832 h 15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818" h="159134">
                  <a:moveTo>
                    <a:pt x="101984" y="0"/>
                  </a:moveTo>
                  <a:lnTo>
                    <a:pt x="82934" y="0"/>
                  </a:lnTo>
                  <a:lnTo>
                    <a:pt x="82934" y="57150"/>
                  </a:lnTo>
                  <a:lnTo>
                    <a:pt x="63884" y="57150"/>
                  </a:lnTo>
                  <a:lnTo>
                    <a:pt x="63884" y="0"/>
                  </a:lnTo>
                  <a:lnTo>
                    <a:pt x="44834" y="0"/>
                  </a:lnTo>
                  <a:lnTo>
                    <a:pt x="44834" y="100832"/>
                  </a:lnTo>
                  <a:lnTo>
                    <a:pt x="0" y="145666"/>
                  </a:lnTo>
                  <a:lnTo>
                    <a:pt x="13468" y="159134"/>
                  </a:lnTo>
                  <a:lnTo>
                    <a:pt x="63884" y="108718"/>
                  </a:lnTo>
                  <a:lnTo>
                    <a:pt x="63884" y="76200"/>
                  </a:lnTo>
                  <a:lnTo>
                    <a:pt x="82934" y="76200"/>
                  </a:lnTo>
                  <a:lnTo>
                    <a:pt x="82934" y="108718"/>
                  </a:lnTo>
                  <a:lnTo>
                    <a:pt x="133350" y="159134"/>
                  </a:lnTo>
                  <a:lnTo>
                    <a:pt x="146818" y="145666"/>
                  </a:lnTo>
                  <a:lnTo>
                    <a:pt x="101984" y="100832"/>
                  </a:lnTo>
                  <a:close/>
                </a:path>
              </a:pathLst>
            </a:custGeom>
            <a:grpFill/>
            <a:ln w="9525" cap="flat">
              <a:noFill/>
              <a:prstDash val="solid"/>
              <a:miter/>
            </a:ln>
          </p:spPr>
          <p:txBody>
            <a:bodyPr rtlCol="0" anchor="ctr"/>
            <a:lstStyle/>
            <a:p>
              <a:endParaRPr lang="pt-BR"/>
            </a:p>
          </p:txBody>
        </p:sp>
        <p:sp>
          <p:nvSpPr>
            <p:cNvPr id="30" name="Forma Livre: Forma 29">
              <a:extLst>
                <a:ext uri="{FF2B5EF4-FFF2-40B4-BE49-F238E27FC236}">
                  <a16:creationId xmlns:a16="http://schemas.microsoft.com/office/drawing/2014/main" id="{E1435FDB-5DD2-104B-5C9A-62B026DCB5E1}"/>
                </a:ext>
              </a:extLst>
            </p:cNvPr>
            <p:cNvSpPr/>
            <p:nvPr/>
          </p:nvSpPr>
          <p:spPr>
            <a:xfrm rot="-2700000">
              <a:off x="-32538" y="3831842"/>
              <a:ext cx="19049" cy="53882"/>
            </a:xfrm>
            <a:custGeom>
              <a:avLst/>
              <a:gdLst>
                <a:gd name="connsiteX0" fmla="*/ 0 w 19049"/>
                <a:gd name="connsiteY0" fmla="*/ 0 h 53882"/>
                <a:gd name="connsiteX1" fmla="*/ 19050 w 19049"/>
                <a:gd name="connsiteY1" fmla="*/ 0 h 53882"/>
                <a:gd name="connsiteX2" fmla="*/ 19050 w 19049"/>
                <a:gd name="connsiteY2" fmla="*/ 53882 h 53882"/>
                <a:gd name="connsiteX3" fmla="*/ 0 w 19049"/>
                <a:gd name="connsiteY3" fmla="*/ 53882 h 53882"/>
              </a:gdLst>
              <a:ahLst/>
              <a:cxnLst>
                <a:cxn ang="0">
                  <a:pos x="connsiteX0" y="connsiteY0"/>
                </a:cxn>
                <a:cxn ang="0">
                  <a:pos x="connsiteX1" y="connsiteY1"/>
                </a:cxn>
                <a:cxn ang="0">
                  <a:pos x="connsiteX2" y="connsiteY2"/>
                </a:cxn>
                <a:cxn ang="0">
                  <a:pos x="connsiteX3" y="connsiteY3"/>
                </a:cxn>
              </a:cxnLst>
              <a:rect l="l" t="t" r="r" b="b"/>
              <a:pathLst>
                <a:path w="19049" h="53882">
                  <a:moveTo>
                    <a:pt x="0" y="0"/>
                  </a:moveTo>
                  <a:lnTo>
                    <a:pt x="19050" y="0"/>
                  </a:lnTo>
                  <a:lnTo>
                    <a:pt x="19050" y="53882"/>
                  </a:lnTo>
                  <a:lnTo>
                    <a:pt x="0" y="53882"/>
                  </a:lnTo>
                  <a:close/>
                </a:path>
              </a:pathLst>
            </a:custGeom>
            <a:grpFill/>
            <a:ln w="9525" cap="flat">
              <a:noFill/>
              <a:prstDash val="solid"/>
              <a:miter/>
            </a:ln>
          </p:spPr>
          <p:txBody>
            <a:bodyPr rtlCol="0" anchor="ctr"/>
            <a:lstStyle/>
            <a:p>
              <a:endParaRPr lang="pt-BR"/>
            </a:p>
          </p:txBody>
        </p:sp>
      </p:grpSp>
      <p:cxnSp>
        <p:nvCxnSpPr>
          <p:cNvPr id="40" name="Conector reto 39">
            <a:extLst>
              <a:ext uri="{FF2B5EF4-FFF2-40B4-BE49-F238E27FC236}">
                <a16:creationId xmlns:a16="http://schemas.microsoft.com/office/drawing/2014/main" id="{CDBD75AF-E204-7D99-E37C-6918743F6944}"/>
              </a:ext>
            </a:extLst>
          </p:cNvPr>
          <p:cNvCxnSpPr/>
          <p:nvPr/>
        </p:nvCxnSpPr>
        <p:spPr>
          <a:xfrm>
            <a:off x="2800038" y="3571933"/>
            <a:ext cx="0" cy="1398494"/>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Conector reto 40">
            <a:extLst>
              <a:ext uri="{FF2B5EF4-FFF2-40B4-BE49-F238E27FC236}">
                <a16:creationId xmlns:a16="http://schemas.microsoft.com/office/drawing/2014/main" id="{0632932E-740E-7DF1-B347-E9A83F7BD47E}"/>
              </a:ext>
            </a:extLst>
          </p:cNvPr>
          <p:cNvCxnSpPr/>
          <p:nvPr/>
        </p:nvCxnSpPr>
        <p:spPr>
          <a:xfrm>
            <a:off x="5495086" y="3571933"/>
            <a:ext cx="0" cy="1398494"/>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Conector reto 41">
            <a:extLst>
              <a:ext uri="{FF2B5EF4-FFF2-40B4-BE49-F238E27FC236}">
                <a16:creationId xmlns:a16="http://schemas.microsoft.com/office/drawing/2014/main" id="{2DE37051-3FB1-BEAA-641D-21C2DD8DF50B}"/>
              </a:ext>
            </a:extLst>
          </p:cNvPr>
          <p:cNvCxnSpPr/>
          <p:nvPr/>
        </p:nvCxnSpPr>
        <p:spPr>
          <a:xfrm>
            <a:off x="7520995" y="3571933"/>
            <a:ext cx="0" cy="1398494"/>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337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2000" decel="58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38"/>
                                        </p:tgtEl>
                                        <p:attrNameLst>
                                          <p:attrName>style.visibility</p:attrName>
                                        </p:attrNameLst>
                                      </p:cBhvr>
                                      <p:to>
                                        <p:strVal val="visible"/>
                                      </p:to>
                                    </p:set>
                                    <p:anim calcmode="lin" valueType="num">
                                      <p:cBhvr>
                                        <p:cTn id="14" dur="500" fill="hold"/>
                                        <p:tgtEl>
                                          <p:spTgt spid="38"/>
                                        </p:tgtEl>
                                        <p:attrNameLst>
                                          <p:attrName>ppt_w</p:attrName>
                                        </p:attrNameLst>
                                      </p:cBhvr>
                                      <p:tavLst>
                                        <p:tav tm="0">
                                          <p:val>
                                            <p:fltVal val="0"/>
                                          </p:val>
                                        </p:tav>
                                        <p:tav tm="100000">
                                          <p:val>
                                            <p:strVal val="#ppt_w"/>
                                          </p:val>
                                        </p:tav>
                                      </p:tavLst>
                                    </p:anim>
                                    <p:anim calcmode="lin" valueType="num">
                                      <p:cBhvr>
                                        <p:cTn id="15" dur="500" fill="hold"/>
                                        <p:tgtEl>
                                          <p:spTgt spid="38"/>
                                        </p:tgtEl>
                                        <p:attrNameLst>
                                          <p:attrName>ppt_h</p:attrName>
                                        </p:attrNameLst>
                                      </p:cBhvr>
                                      <p:tavLst>
                                        <p:tav tm="0">
                                          <p:val>
                                            <p:fltVal val="0"/>
                                          </p:val>
                                        </p:tav>
                                        <p:tav tm="100000">
                                          <p:val>
                                            <p:strVal val="#ppt_h"/>
                                          </p:val>
                                        </p:tav>
                                      </p:tavLst>
                                    </p:anim>
                                    <p:animEffect transition="in" filter="fade">
                                      <p:cBhvr>
                                        <p:cTn id="16" dur="500"/>
                                        <p:tgtEl>
                                          <p:spTgt spid="38"/>
                                        </p:tgtEl>
                                      </p:cBhvr>
                                    </p:animEffect>
                                  </p:childTnLst>
                                </p:cTn>
                              </p:par>
                              <p:par>
                                <p:cTn id="17" presetID="53" presetClass="entr" presetSubtype="16"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p:cTn id="19" dur="500" fill="hold"/>
                                        <p:tgtEl>
                                          <p:spTgt spid="14"/>
                                        </p:tgtEl>
                                        <p:attrNameLst>
                                          <p:attrName>ppt_w</p:attrName>
                                        </p:attrNameLst>
                                      </p:cBhvr>
                                      <p:tavLst>
                                        <p:tav tm="0">
                                          <p:val>
                                            <p:fltVal val="0"/>
                                          </p:val>
                                        </p:tav>
                                        <p:tav tm="100000">
                                          <p:val>
                                            <p:strVal val="#ppt_w"/>
                                          </p:val>
                                        </p:tav>
                                      </p:tavLst>
                                    </p:anim>
                                    <p:anim calcmode="lin" valueType="num">
                                      <p:cBhvr>
                                        <p:cTn id="20" dur="500" fill="hold"/>
                                        <p:tgtEl>
                                          <p:spTgt spid="14"/>
                                        </p:tgtEl>
                                        <p:attrNameLst>
                                          <p:attrName>ppt_h</p:attrName>
                                        </p:attrNameLst>
                                      </p:cBhvr>
                                      <p:tavLst>
                                        <p:tav tm="0">
                                          <p:val>
                                            <p:fltVal val="0"/>
                                          </p:val>
                                        </p:tav>
                                        <p:tav tm="100000">
                                          <p:val>
                                            <p:strVal val="#ppt_h"/>
                                          </p:val>
                                        </p:tav>
                                      </p:tavLst>
                                    </p:anim>
                                    <p:animEffect transition="in" filter="fade">
                                      <p:cBhvr>
                                        <p:cTn id="21" dur="500"/>
                                        <p:tgtEl>
                                          <p:spTgt spid="14"/>
                                        </p:tgtEl>
                                      </p:cBhvr>
                                    </p:animEffect>
                                  </p:childTnLst>
                                </p:cTn>
                              </p:par>
                            </p:childTnLst>
                          </p:cTn>
                        </p:par>
                        <p:par>
                          <p:cTn id="22" fill="hold">
                            <p:stCondLst>
                              <p:cond delay="1000"/>
                            </p:stCondLst>
                            <p:childTnLst>
                              <p:par>
                                <p:cTn id="23" presetID="10" presetClass="entr" presetSubtype="0" fill="hold" grpId="0" nodeType="afterEffect">
                                  <p:stCondLst>
                                    <p:cond delay="50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childTnLst>
                          </p:cTn>
                        </p:par>
                        <p:par>
                          <p:cTn id="26" fill="hold">
                            <p:stCondLst>
                              <p:cond delay="2000"/>
                            </p:stCondLst>
                            <p:childTnLst>
                              <p:par>
                                <p:cTn id="27" presetID="10" presetClass="entr" presetSubtype="0" fill="hold" grpId="0" nodeType="afterEffect">
                                  <p:stCondLst>
                                    <p:cond delay="50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par>
                                <p:cTn id="30" presetID="22" presetClass="entr" presetSubtype="1" fill="hold"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ipe(up)">
                                      <p:cBhvr>
                                        <p:cTn id="32" dur="500"/>
                                        <p:tgtEl>
                                          <p:spTgt spid="40"/>
                                        </p:tgtEl>
                                      </p:cBhvr>
                                    </p:animEffect>
                                  </p:childTnLst>
                                </p:cTn>
                              </p:par>
                            </p:childTnLst>
                          </p:cTn>
                        </p:par>
                        <p:par>
                          <p:cTn id="33" fill="hold">
                            <p:stCondLst>
                              <p:cond delay="3000"/>
                            </p:stCondLst>
                            <p:childTnLst>
                              <p:par>
                                <p:cTn id="34" presetID="10" presetClass="entr" presetSubtype="0" fill="hold" grpId="0" nodeType="afterEffect">
                                  <p:stCondLst>
                                    <p:cond delay="50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par>
                                <p:cTn id="37" presetID="22" presetClass="entr" presetSubtype="1" fill="hold" nodeType="with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wipe(up)">
                                      <p:cBhvr>
                                        <p:cTn id="39" dur="500"/>
                                        <p:tgtEl>
                                          <p:spTgt spid="41"/>
                                        </p:tgtEl>
                                      </p:cBhvr>
                                    </p:animEffect>
                                  </p:childTnLst>
                                </p:cTn>
                              </p:par>
                            </p:childTnLst>
                          </p:cTn>
                        </p:par>
                        <p:par>
                          <p:cTn id="40" fill="hold">
                            <p:stCondLst>
                              <p:cond delay="4000"/>
                            </p:stCondLst>
                            <p:childTnLst>
                              <p:par>
                                <p:cTn id="41" presetID="10" presetClass="entr" presetSubtype="0" fill="hold" grpId="0" nodeType="afterEffect">
                                  <p:stCondLst>
                                    <p:cond delay="50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par>
                                <p:cTn id="44" presetID="22" presetClass="entr" presetSubtype="1"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wipe(up)">
                                      <p:cBhvr>
                                        <p:cTn id="46"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34" grpId="0"/>
      <p:bldP spid="35" grpId="0"/>
      <p:bldP spid="36" grpId="0"/>
      <p:bldP spid="37" grpId="0"/>
      <p:bldP spid="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tângulo: Cantos Arredondados 25">
            <a:extLst>
              <a:ext uri="{FF2B5EF4-FFF2-40B4-BE49-F238E27FC236}">
                <a16:creationId xmlns:a16="http://schemas.microsoft.com/office/drawing/2014/main" id="{6A141C3C-FCAB-4238-19E4-BE3886128977}"/>
              </a:ext>
            </a:extLst>
          </p:cNvPr>
          <p:cNvSpPr/>
          <p:nvPr/>
        </p:nvSpPr>
        <p:spPr>
          <a:xfrm>
            <a:off x="6188030" y="1699708"/>
            <a:ext cx="5168686" cy="437836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0" name="Retângulo: Cantos Arredondados 9">
            <a:extLst>
              <a:ext uri="{FF2B5EF4-FFF2-40B4-BE49-F238E27FC236}">
                <a16:creationId xmlns:a16="http://schemas.microsoft.com/office/drawing/2014/main" id="{10E2FAAF-4E60-665A-1022-4A067926AB92}"/>
              </a:ext>
            </a:extLst>
          </p:cNvPr>
          <p:cNvSpPr/>
          <p:nvPr/>
        </p:nvSpPr>
        <p:spPr>
          <a:xfrm>
            <a:off x="538581" y="1699708"/>
            <a:ext cx="5168686" cy="437836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47" name="Retângulo: Cantos Arredondados 46">
            <a:extLst>
              <a:ext uri="{FF2B5EF4-FFF2-40B4-BE49-F238E27FC236}">
                <a16:creationId xmlns:a16="http://schemas.microsoft.com/office/drawing/2014/main" id="{5FC6E811-F70D-F7D2-77E7-0992E2CA8F6B}"/>
              </a:ext>
            </a:extLst>
          </p:cNvPr>
          <p:cNvSpPr/>
          <p:nvPr/>
        </p:nvSpPr>
        <p:spPr>
          <a:xfrm>
            <a:off x="-516366" y="1418004"/>
            <a:ext cx="11403106" cy="664068"/>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pt-BR" sz="700" b="0" i="0" dirty="0">
                <a:solidFill>
                  <a:srgbClr val="1D1D1D"/>
                </a:solidFill>
                <a:effectLst/>
                <a:latin typeface="Arial" panose="020B0604020202020204" pitchFamily="34" charset="0"/>
              </a:rPr>
              <a:t>Cruvinel W de M, Mesquita Júnior D, Araújo JAP et al.. Sistema imunitário: Parte I. Fundamentos da imunidade inata com ênfase nos mecanismos moleculares e celulares da resposta inflamatória. </a:t>
            </a:r>
            <a:r>
              <a:rPr lang="pt-BR" sz="700" b="0" i="0" dirty="0" err="1">
                <a:solidFill>
                  <a:srgbClr val="1D1D1D"/>
                </a:solidFill>
                <a:effectLst/>
                <a:latin typeface="Arial" panose="020B0604020202020204" pitchFamily="34" charset="0"/>
              </a:rPr>
              <a:t>Rev</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Bra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Reumatol</a:t>
            </a:r>
            <a:r>
              <a:rPr lang="pt-BR" sz="700" b="0" i="0" dirty="0">
                <a:solidFill>
                  <a:srgbClr val="1D1D1D"/>
                </a:solidFill>
                <a:effectLst/>
                <a:latin typeface="Arial" panose="020B0604020202020204" pitchFamily="34" charset="0"/>
              </a:rPr>
              <a:t> [Internet]. 2010Jul;50(4):434–47.</a:t>
            </a:r>
            <a:endParaRPr lang="pt-BR" sz="700"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2276732"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Componentes da imunidade adaptativa</a:t>
            </a:r>
          </a:p>
        </p:txBody>
      </p:sp>
      <p:sp>
        <p:nvSpPr>
          <p:cNvPr id="4" name="Content Placeholder 2">
            <a:extLst>
              <a:ext uri="{FF2B5EF4-FFF2-40B4-BE49-F238E27FC236}">
                <a16:creationId xmlns:a16="http://schemas.microsoft.com/office/drawing/2014/main" id="{746AB8E7-A9E3-2010-51D7-1CB9CE00D744}"/>
              </a:ext>
            </a:extLst>
          </p:cNvPr>
          <p:cNvSpPr txBox="1">
            <a:spLocks/>
          </p:cNvSpPr>
          <p:nvPr/>
        </p:nvSpPr>
        <p:spPr>
          <a:xfrm>
            <a:off x="969104" y="1582110"/>
            <a:ext cx="9678575" cy="896111"/>
          </a:xfrm>
          <a:prstGeom prst="rect">
            <a:avLst/>
          </a:prstGeom>
        </p:spPr>
        <p:txBody>
          <a:bodyPr>
            <a:norm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None/>
              <a:defRPr/>
            </a:pPr>
            <a:r>
              <a:rPr lang="pt-BR" sz="2000" b="1" dirty="0">
                <a:solidFill>
                  <a:schemeClr val="bg1"/>
                </a:solidFill>
                <a:latin typeface="+mj-lt"/>
              </a:rPr>
              <a:t>EFETORES PRIMÁRIOS</a:t>
            </a:r>
          </a:p>
        </p:txBody>
      </p:sp>
      <p:sp>
        <p:nvSpPr>
          <p:cNvPr id="7" name="TextBox 24">
            <a:extLst>
              <a:ext uri="{FF2B5EF4-FFF2-40B4-BE49-F238E27FC236}">
                <a16:creationId xmlns:a16="http://schemas.microsoft.com/office/drawing/2014/main" id="{29986F1A-D393-4AC4-3013-C1E8E9DB4D30}"/>
              </a:ext>
            </a:extLst>
          </p:cNvPr>
          <p:cNvSpPr txBox="1"/>
          <p:nvPr/>
        </p:nvSpPr>
        <p:spPr>
          <a:xfrm>
            <a:off x="766507" y="4100992"/>
            <a:ext cx="492016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Citotóxico:</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mata diretamente as células-alvo</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Auxiliar:</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Aumenta a resposta imune ativando outras células imunes e estimulando a produção de anticorpos das células B</a:t>
            </a:r>
            <a:endParaRPr kumimoji="0" lang="en-US" sz="1400"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1200"/>
              </a:spcBef>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Memória:</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Acelera a resposta imune adaptativa durante o próximo encontro com o patógeno (imunidade de longa duração)</a:t>
            </a:r>
            <a:endParaRPr kumimoji="0" lang="en-US" sz="1400"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1200"/>
              </a:spcBef>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Regulatório:</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Controla a resposta imune adaptativa</a:t>
            </a:r>
          </a:p>
        </p:txBody>
      </p:sp>
      <p:sp>
        <p:nvSpPr>
          <p:cNvPr id="21" name="TextBox 33">
            <a:extLst>
              <a:ext uri="{FF2B5EF4-FFF2-40B4-BE49-F238E27FC236}">
                <a16:creationId xmlns:a16="http://schemas.microsoft.com/office/drawing/2014/main" id="{257FD22B-773E-BE5C-2665-7BC17E6F63B0}"/>
              </a:ext>
            </a:extLst>
          </p:cNvPr>
          <p:cNvSpPr txBox="1"/>
          <p:nvPr/>
        </p:nvSpPr>
        <p:spPr>
          <a:xfrm>
            <a:off x="6434634" y="4098170"/>
            <a:ext cx="471277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200"/>
              </a:spcBef>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Plasma:</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Produz grandes quantidades de anticorpo, que tem a mesma especificidade que a célula </a:t>
            </a:r>
            <a:r>
              <a:rPr kumimoji="0" lang="pt-BR" sz="1400" b="0" i="0" u="none" strike="noStrike" kern="1200" cap="none" spc="0" normalizeH="0" baseline="0" noProof="0" dirty="0" err="1">
                <a:ln>
                  <a:noFill/>
                </a:ln>
                <a:solidFill>
                  <a:srgbClr val="000000"/>
                </a:solidFill>
                <a:effectLst/>
                <a:uLnTx/>
                <a:uFillTx/>
                <a:ea typeface="+mn-ea"/>
                <a:cs typeface="+mn-cs"/>
              </a:rPr>
              <a:t>B</a:t>
            </a:r>
            <a:r>
              <a:rPr kumimoji="0" lang="pt-BR" sz="1400" b="0" i="0" u="none" strike="noStrike" kern="1200" cap="none" spc="0" normalizeH="0" baseline="0" noProof="0" dirty="0">
                <a:ln>
                  <a:noFill/>
                </a:ln>
                <a:solidFill>
                  <a:srgbClr val="000000"/>
                </a:solidFill>
                <a:effectLst/>
                <a:uLnTx/>
                <a:uFillTx/>
                <a:ea typeface="+mn-ea"/>
                <a:cs typeface="+mn-cs"/>
              </a:rPr>
              <a:t> original ativada</a:t>
            </a:r>
            <a:endParaRPr kumimoji="0" lang="en-US" sz="1400"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1200"/>
              </a:spcBef>
              <a:buClrTx/>
              <a:buSzTx/>
              <a:buFontTx/>
              <a:buNone/>
              <a:tabLst/>
              <a:defRPr/>
            </a:pPr>
            <a:r>
              <a:rPr kumimoji="0" lang="pt-BR" sz="1400" b="1" i="0" u="none" strike="noStrike" kern="1200" cap="none" spc="0" normalizeH="0" baseline="0" noProof="0" dirty="0">
                <a:ln>
                  <a:noFill/>
                </a:ln>
                <a:solidFill>
                  <a:schemeClr val="tx2"/>
                </a:solidFill>
                <a:effectLst/>
                <a:uLnTx/>
                <a:uFillTx/>
                <a:ea typeface="+mn-ea"/>
                <a:cs typeface="+mn-cs"/>
              </a:rPr>
              <a:t>Memória:</a:t>
            </a:r>
            <a:r>
              <a:rPr kumimoji="0" lang="pt-BR" sz="1400" b="0" i="0" u="none" strike="noStrike" kern="1200" cap="none" spc="0" normalizeH="0" baseline="0" noProof="0" dirty="0">
                <a:ln>
                  <a:noFill/>
                </a:ln>
                <a:solidFill>
                  <a:schemeClr val="tx2"/>
                </a:solidFill>
                <a:effectLst/>
                <a:uLnTx/>
                <a:uFillTx/>
                <a:ea typeface="+mn-ea"/>
                <a:cs typeface="+mn-cs"/>
              </a:rPr>
              <a:t> </a:t>
            </a:r>
            <a:r>
              <a:rPr kumimoji="0" lang="pt-BR" sz="1400" b="0" i="0" u="none" strike="noStrike" kern="1200" cap="none" spc="0" normalizeH="0" baseline="0" noProof="0" dirty="0">
                <a:ln>
                  <a:noFill/>
                </a:ln>
                <a:solidFill>
                  <a:srgbClr val="000000"/>
                </a:solidFill>
                <a:effectLst/>
                <a:uLnTx/>
                <a:uFillTx/>
                <a:ea typeface="+mn-ea"/>
                <a:cs typeface="+mn-cs"/>
              </a:rPr>
              <a:t>Garante que a resposta do anticorpo a uma exposição subsequente ao mesmo antígeno seja muito mais rápida e poderosa</a:t>
            </a:r>
            <a:endParaRPr kumimoji="0" lang="en-US" sz="1400" b="0" i="0" u="none" strike="noStrike" kern="1200" cap="none" spc="0" normalizeH="0" baseline="0" noProof="0" dirty="0">
              <a:ln>
                <a:noFill/>
              </a:ln>
              <a:solidFill>
                <a:srgbClr val="000000"/>
              </a:solidFill>
              <a:effectLst/>
              <a:uLnTx/>
              <a:uFillTx/>
              <a:ea typeface="+mn-ea"/>
              <a:cs typeface="+mn-cs"/>
            </a:endParaRPr>
          </a:p>
        </p:txBody>
      </p:sp>
      <p:grpSp>
        <p:nvGrpSpPr>
          <p:cNvPr id="29" name="Agrupar 28">
            <a:extLst>
              <a:ext uri="{FF2B5EF4-FFF2-40B4-BE49-F238E27FC236}">
                <a16:creationId xmlns:a16="http://schemas.microsoft.com/office/drawing/2014/main" id="{301C4C20-B9ED-0EBC-A4C6-C037B7E4DF10}"/>
              </a:ext>
            </a:extLst>
          </p:cNvPr>
          <p:cNvGrpSpPr/>
          <p:nvPr/>
        </p:nvGrpSpPr>
        <p:grpSpPr>
          <a:xfrm>
            <a:off x="711196" y="2165050"/>
            <a:ext cx="4824947" cy="1761269"/>
            <a:chOff x="711196" y="2165050"/>
            <a:chExt cx="4824947" cy="1761269"/>
          </a:xfrm>
        </p:grpSpPr>
        <p:pic>
          <p:nvPicPr>
            <p:cNvPr id="17" name="Picture 38">
              <a:extLst>
                <a:ext uri="{FF2B5EF4-FFF2-40B4-BE49-F238E27FC236}">
                  <a16:creationId xmlns:a16="http://schemas.microsoft.com/office/drawing/2014/main" id="{BCF1F115-4BD5-1420-4059-A7C542AFF02E}"/>
                </a:ext>
              </a:extLst>
            </p:cNvPr>
            <p:cNvPicPr>
              <a:picLocks noChangeAspect="1"/>
            </p:cNvPicPr>
            <p:nvPr/>
          </p:nvPicPr>
          <p:blipFill rotWithShape="1">
            <a:blip r:embed="rId3">
              <a:extLst>
                <a:ext uri="{28A0092B-C50C-407E-A947-70E740481C1C}">
                  <a14:useLocalDpi xmlns:a14="http://schemas.microsoft.com/office/drawing/2010/main" val="0"/>
                </a:ext>
              </a:extLst>
            </a:blip>
            <a:srcRect b="14728"/>
            <a:stretch/>
          </p:blipFill>
          <p:spPr>
            <a:xfrm>
              <a:off x="711196" y="2165050"/>
              <a:ext cx="4824947" cy="1554287"/>
            </a:xfrm>
            <a:prstGeom prst="rect">
              <a:avLst/>
            </a:prstGeom>
          </p:spPr>
        </p:pic>
        <p:sp>
          <p:nvSpPr>
            <p:cNvPr id="56" name="Retângulo: Cantos Arredondados 55">
              <a:extLst>
                <a:ext uri="{FF2B5EF4-FFF2-40B4-BE49-F238E27FC236}">
                  <a16:creationId xmlns:a16="http://schemas.microsoft.com/office/drawing/2014/main" id="{5FCEDE08-E1D0-CD0F-AAA5-2FD1AAD0C03C}"/>
                </a:ext>
              </a:extLst>
            </p:cNvPr>
            <p:cNvSpPr/>
            <p:nvPr/>
          </p:nvSpPr>
          <p:spPr>
            <a:xfrm>
              <a:off x="835284" y="3496111"/>
              <a:ext cx="2295191" cy="430208"/>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18" name="TextBox 41">
              <a:extLst>
                <a:ext uri="{FF2B5EF4-FFF2-40B4-BE49-F238E27FC236}">
                  <a16:creationId xmlns:a16="http://schemas.microsoft.com/office/drawing/2014/main" id="{3F21507C-BCD5-A381-1FC3-6A5000E5076B}"/>
                </a:ext>
              </a:extLst>
            </p:cNvPr>
            <p:cNvSpPr txBox="1"/>
            <p:nvPr/>
          </p:nvSpPr>
          <p:spPr>
            <a:xfrm>
              <a:off x="1445086" y="3513048"/>
              <a:ext cx="11560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uLnTx/>
                  <a:uFillTx/>
                  <a:latin typeface="+mj-lt"/>
                  <a:ea typeface="+mn-ea"/>
                  <a:cs typeface="+mn-cs"/>
                </a:rPr>
                <a:t>Células T</a:t>
              </a:r>
            </a:p>
          </p:txBody>
        </p:sp>
      </p:grpSp>
      <p:grpSp>
        <p:nvGrpSpPr>
          <p:cNvPr id="30" name="Agrupar 29">
            <a:extLst>
              <a:ext uri="{FF2B5EF4-FFF2-40B4-BE49-F238E27FC236}">
                <a16:creationId xmlns:a16="http://schemas.microsoft.com/office/drawing/2014/main" id="{10892279-C4A3-3031-4266-8CA02BCF7063}"/>
              </a:ext>
            </a:extLst>
          </p:cNvPr>
          <p:cNvGrpSpPr/>
          <p:nvPr/>
        </p:nvGrpSpPr>
        <p:grpSpPr>
          <a:xfrm>
            <a:off x="6364029" y="2165050"/>
            <a:ext cx="4826900" cy="1761269"/>
            <a:chOff x="6364029" y="2165050"/>
            <a:chExt cx="4826900" cy="1761269"/>
          </a:xfrm>
        </p:grpSpPr>
        <p:pic>
          <p:nvPicPr>
            <p:cNvPr id="24" name="Picture 36">
              <a:extLst>
                <a:ext uri="{FF2B5EF4-FFF2-40B4-BE49-F238E27FC236}">
                  <a16:creationId xmlns:a16="http://schemas.microsoft.com/office/drawing/2014/main" id="{4D382336-B299-379E-38C7-FD4C924FCF02}"/>
                </a:ext>
              </a:extLst>
            </p:cNvPr>
            <p:cNvPicPr>
              <a:picLocks noChangeAspect="1"/>
            </p:cNvPicPr>
            <p:nvPr/>
          </p:nvPicPr>
          <p:blipFill rotWithShape="1">
            <a:blip r:embed="rId4">
              <a:extLst>
                <a:ext uri="{28A0092B-C50C-407E-A947-70E740481C1C}">
                  <a14:useLocalDpi xmlns:a14="http://schemas.microsoft.com/office/drawing/2010/main" val="0"/>
                </a:ext>
              </a:extLst>
            </a:blip>
            <a:srcRect b="14763"/>
            <a:stretch/>
          </p:blipFill>
          <p:spPr>
            <a:xfrm>
              <a:off x="6364029" y="2165050"/>
              <a:ext cx="4826900" cy="1554287"/>
            </a:xfrm>
            <a:prstGeom prst="rect">
              <a:avLst/>
            </a:prstGeom>
          </p:spPr>
        </p:pic>
        <p:sp>
          <p:nvSpPr>
            <p:cNvPr id="28" name="Retângulo: Cantos Arredondados 27">
              <a:extLst>
                <a:ext uri="{FF2B5EF4-FFF2-40B4-BE49-F238E27FC236}">
                  <a16:creationId xmlns:a16="http://schemas.microsoft.com/office/drawing/2014/main" id="{12B4278A-D1AE-5A04-7F77-9AAE17AF5F9C}"/>
                </a:ext>
              </a:extLst>
            </p:cNvPr>
            <p:cNvSpPr/>
            <p:nvPr/>
          </p:nvSpPr>
          <p:spPr>
            <a:xfrm>
              <a:off x="6508095" y="3496111"/>
              <a:ext cx="2295191" cy="430208"/>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400" kern="0" dirty="0">
                <a:solidFill>
                  <a:srgbClr val="FFFFFF"/>
                </a:solidFill>
                <a:cs typeface="Arial" panose="020B0604020202020204" pitchFamily="34" charset="0"/>
              </a:endParaRPr>
            </a:p>
          </p:txBody>
        </p:sp>
        <p:sp>
          <p:nvSpPr>
            <p:cNvPr id="25" name="TextBox 42">
              <a:extLst>
                <a:ext uri="{FF2B5EF4-FFF2-40B4-BE49-F238E27FC236}">
                  <a16:creationId xmlns:a16="http://schemas.microsoft.com/office/drawing/2014/main" id="{FC710812-01BA-BD8B-2004-A884370886E0}"/>
                </a:ext>
              </a:extLst>
            </p:cNvPr>
            <p:cNvSpPr txBox="1"/>
            <p:nvPr/>
          </p:nvSpPr>
          <p:spPr>
            <a:xfrm>
              <a:off x="7159264" y="3513048"/>
              <a:ext cx="115127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uLnTx/>
                  <a:uFillTx/>
                  <a:latin typeface="+mj-lt"/>
                  <a:ea typeface="+mn-ea"/>
                  <a:cs typeface="+mn-cs"/>
                </a:rPr>
                <a:t>Células B</a:t>
              </a:r>
            </a:p>
          </p:txBody>
        </p:sp>
      </p:grpSp>
    </p:spTree>
    <p:extLst>
      <p:ext uri="{BB962C8B-B14F-4D97-AF65-F5344CB8AC3E}">
        <p14:creationId xmlns:p14="http://schemas.microsoft.com/office/powerpoint/2010/main" val="402164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2000" decel="58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1000" fill="hold"/>
                                        <p:tgtEl>
                                          <p:spTgt spid="47"/>
                                        </p:tgtEl>
                                        <p:attrNameLst>
                                          <p:attrName>ppt_x</p:attrName>
                                        </p:attrNameLst>
                                      </p:cBhvr>
                                      <p:tavLst>
                                        <p:tav tm="0">
                                          <p:val>
                                            <p:strVal val="0-#ppt_w/2"/>
                                          </p:val>
                                        </p:tav>
                                        <p:tav tm="100000">
                                          <p:val>
                                            <p:strVal val="#ppt_x"/>
                                          </p:val>
                                        </p:tav>
                                      </p:tavLst>
                                    </p:anim>
                                    <p:anim calcmode="lin" valueType="num">
                                      <p:cBhvr additive="base">
                                        <p:cTn id="8" dur="1000" fill="hold"/>
                                        <p:tgtEl>
                                          <p:spTgt spid="4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nodeType="withEffect">
                                  <p:stCondLst>
                                    <p:cond delay="25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2750"/>
                            </p:stCondLst>
                            <p:childTnLst>
                              <p:par>
                                <p:cTn id="31" presetID="10" presetClass="entr" presetSubtype="0" fill="hold" grpId="0" nodeType="afterEffect">
                                  <p:stCondLst>
                                    <p:cond delay="25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0" grpId="0" animBg="1"/>
      <p:bldP spid="47" grpId="0" animBg="1"/>
      <p:bldP spid="4" grpId="0"/>
      <p:bldP spid="7"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tângulo: Cantos Arredondados 138">
            <a:extLst>
              <a:ext uri="{FF2B5EF4-FFF2-40B4-BE49-F238E27FC236}">
                <a16:creationId xmlns:a16="http://schemas.microsoft.com/office/drawing/2014/main" id="{E8F97776-B832-ACC4-C6DC-D039821526CE}"/>
              </a:ext>
            </a:extLst>
          </p:cNvPr>
          <p:cNvSpPr/>
          <p:nvPr/>
        </p:nvSpPr>
        <p:spPr>
          <a:xfrm>
            <a:off x="1151130" y="1035456"/>
            <a:ext cx="10110137" cy="5152228"/>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121742" y="6280668"/>
            <a:ext cx="10853278" cy="565786"/>
          </a:xfrm>
        </p:spPr>
        <p:txBody>
          <a:bodyPr/>
          <a:lstStyle/>
          <a:p>
            <a:pPr>
              <a:spcAft>
                <a:spcPts val="0"/>
              </a:spcAft>
            </a:pPr>
            <a:r>
              <a:rPr lang="pt-BR" dirty="0"/>
              <a:t>1. Leung S, Liu X, Fang L et al. The </a:t>
            </a:r>
            <a:r>
              <a:rPr lang="pt-BR" dirty="0" err="1"/>
              <a:t>cytokine</a:t>
            </a:r>
            <a:r>
              <a:rPr lang="pt-BR" dirty="0"/>
              <a:t> </a:t>
            </a:r>
            <a:r>
              <a:rPr lang="pt-BR" dirty="0" err="1"/>
              <a:t>milieu</a:t>
            </a:r>
            <a:r>
              <a:rPr lang="pt-BR" dirty="0"/>
              <a:t> in </a:t>
            </a:r>
            <a:r>
              <a:rPr lang="pt-BR" dirty="0" err="1"/>
              <a:t>the</a:t>
            </a:r>
            <a:r>
              <a:rPr lang="pt-BR" dirty="0"/>
              <a:t> </a:t>
            </a:r>
            <a:r>
              <a:rPr lang="pt-BR" dirty="0" err="1"/>
              <a:t>interplay</a:t>
            </a:r>
            <a:r>
              <a:rPr lang="pt-BR" dirty="0"/>
              <a:t> </a:t>
            </a:r>
            <a:r>
              <a:rPr lang="pt-BR" dirty="0" err="1"/>
              <a:t>of</a:t>
            </a:r>
            <a:r>
              <a:rPr lang="pt-BR" dirty="0"/>
              <a:t> </a:t>
            </a:r>
            <a:r>
              <a:rPr lang="pt-BR" dirty="0" err="1"/>
              <a:t>pathogenic</a:t>
            </a:r>
            <a:r>
              <a:rPr lang="pt-BR" dirty="0"/>
              <a:t> Th1/Th17 </a:t>
            </a:r>
            <a:r>
              <a:rPr lang="pt-BR" dirty="0" err="1"/>
              <a:t>cells</a:t>
            </a:r>
            <a:r>
              <a:rPr lang="pt-BR" dirty="0"/>
              <a:t> </a:t>
            </a:r>
            <a:r>
              <a:rPr lang="pt-BR" dirty="0" err="1"/>
              <a:t>and</a:t>
            </a:r>
            <a:r>
              <a:rPr lang="pt-BR" dirty="0"/>
              <a:t> </a:t>
            </a:r>
            <a:r>
              <a:rPr lang="pt-BR" dirty="0" err="1"/>
              <a:t>regulatory</a:t>
            </a:r>
            <a:r>
              <a:rPr lang="pt-BR" dirty="0"/>
              <a:t> T </a:t>
            </a:r>
            <a:r>
              <a:rPr lang="pt-BR" dirty="0" err="1"/>
              <a:t>cells</a:t>
            </a:r>
            <a:r>
              <a:rPr lang="pt-BR" dirty="0"/>
              <a:t> in </a:t>
            </a:r>
            <a:r>
              <a:rPr lang="pt-BR" dirty="0" err="1"/>
              <a:t>autoimmune</a:t>
            </a:r>
            <a:r>
              <a:rPr lang="pt-BR" dirty="0"/>
              <a:t> </a:t>
            </a:r>
            <a:r>
              <a:rPr lang="pt-BR" dirty="0" err="1"/>
              <a:t>disease</a:t>
            </a:r>
            <a:r>
              <a:rPr lang="pt-BR" dirty="0"/>
              <a:t>. </a:t>
            </a:r>
            <a:r>
              <a:rPr lang="pt-BR" dirty="0" err="1"/>
              <a:t>Cell</a:t>
            </a:r>
            <a:r>
              <a:rPr lang="pt-BR" dirty="0"/>
              <a:t> Mol </a:t>
            </a:r>
            <a:r>
              <a:rPr lang="pt-BR" dirty="0" err="1"/>
              <a:t>Immunol</a:t>
            </a:r>
            <a:r>
              <a:rPr lang="pt-BR" dirty="0"/>
              <a:t>. 2010 May;7(3):182-9.</a:t>
            </a:r>
          </a:p>
          <a:p>
            <a:pPr>
              <a:spcAft>
                <a:spcPts val="0"/>
              </a:spcAft>
            </a:pPr>
            <a:r>
              <a:rPr lang="pt-BR" dirty="0"/>
              <a:t>2. Zhu J, </a:t>
            </a:r>
            <a:r>
              <a:rPr lang="pt-BR" dirty="0" err="1"/>
              <a:t>Yamane</a:t>
            </a:r>
            <a:r>
              <a:rPr lang="pt-BR" dirty="0"/>
              <a:t> H, Paul WE. </a:t>
            </a:r>
            <a:r>
              <a:rPr lang="pt-BR" dirty="0" err="1"/>
              <a:t>Differentiation</a:t>
            </a:r>
            <a:r>
              <a:rPr lang="pt-BR" dirty="0"/>
              <a:t> </a:t>
            </a:r>
            <a:r>
              <a:rPr lang="pt-BR" dirty="0" err="1"/>
              <a:t>of</a:t>
            </a:r>
            <a:r>
              <a:rPr lang="pt-BR" dirty="0"/>
              <a:t> </a:t>
            </a:r>
            <a:r>
              <a:rPr lang="pt-BR" dirty="0" err="1"/>
              <a:t>effector</a:t>
            </a:r>
            <a:r>
              <a:rPr lang="pt-BR" dirty="0"/>
              <a:t> CD4 T </a:t>
            </a:r>
            <a:r>
              <a:rPr lang="pt-BR" dirty="0" err="1"/>
              <a:t>cell</a:t>
            </a:r>
            <a:r>
              <a:rPr lang="pt-BR" dirty="0"/>
              <a:t> </a:t>
            </a:r>
            <a:r>
              <a:rPr lang="pt-BR" dirty="0" err="1"/>
              <a:t>populations</a:t>
            </a:r>
            <a:r>
              <a:rPr lang="pt-BR" dirty="0"/>
              <a:t> (*). </a:t>
            </a:r>
            <a:r>
              <a:rPr lang="pt-BR" dirty="0" err="1"/>
              <a:t>Annu</a:t>
            </a:r>
            <a:r>
              <a:rPr lang="pt-BR" dirty="0"/>
              <a:t> </a:t>
            </a:r>
            <a:r>
              <a:rPr lang="pt-BR" dirty="0" err="1"/>
              <a:t>Rev</a:t>
            </a:r>
            <a:r>
              <a:rPr lang="pt-BR" dirty="0"/>
              <a:t> </a:t>
            </a:r>
            <a:r>
              <a:rPr lang="pt-BR" dirty="0" err="1"/>
              <a:t>Immunol</a:t>
            </a:r>
            <a:r>
              <a:rPr lang="pt-BR" dirty="0"/>
              <a:t>. 2010;28:445-89.</a:t>
            </a:r>
          </a:p>
          <a:p>
            <a:pPr>
              <a:spcAft>
                <a:spcPts val="0"/>
              </a:spcAft>
            </a:pPr>
            <a:r>
              <a:rPr lang="pt-BR" dirty="0"/>
              <a:t>3. </a:t>
            </a:r>
            <a:r>
              <a:rPr lang="pt-BR" dirty="0" err="1"/>
              <a:t>Hemdan</a:t>
            </a:r>
            <a:r>
              <a:rPr lang="pt-BR" dirty="0"/>
              <a:t> NY, </a:t>
            </a:r>
            <a:r>
              <a:rPr lang="pt-BR" dirty="0" err="1"/>
              <a:t>Birkenmeier</a:t>
            </a:r>
            <a:r>
              <a:rPr lang="pt-BR" dirty="0"/>
              <a:t> G, </a:t>
            </a:r>
            <a:r>
              <a:rPr lang="pt-BR" dirty="0" err="1"/>
              <a:t>Wichmann</a:t>
            </a:r>
            <a:r>
              <a:rPr lang="pt-BR" dirty="0"/>
              <a:t> G. Key </a:t>
            </a:r>
            <a:r>
              <a:rPr lang="pt-BR" dirty="0" err="1"/>
              <a:t>molecules</a:t>
            </a:r>
            <a:r>
              <a:rPr lang="pt-BR" dirty="0"/>
              <a:t> in </a:t>
            </a:r>
            <a:r>
              <a:rPr lang="pt-BR" dirty="0" err="1"/>
              <a:t>the</a:t>
            </a:r>
            <a:r>
              <a:rPr lang="pt-BR" dirty="0"/>
              <a:t> </a:t>
            </a:r>
            <a:r>
              <a:rPr lang="pt-BR" dirty="0" err="1"/>
              <a:t>differentiation</a:t>
            </a:r>
            <a:r>
              <a:rPr lang="pt-BR" dirty="0"/>
              <a:t> </a:t>
            </a:r>
            <a:r>
              <a:rPr lang="pt-BR" dirty="0" err="1"/>
              <a:t>and</a:t>
            </a:r>
            <a:r>
              <a:rPr lang="pt-BR" dirty="0"/>
              <a:t> </a:t>
            </a:r>
            <a:r>
              <a:rPr lang="pt-BR" dirty="0" err="1"/>
              <a:t>commitment</a:t>
            </a:r>
            <a:r>
              <a:rPr lang="pt-BR" dirty="0"/>
              <a:t> </a:t>
            </a:r>
            <a:r>
              <a:rPr lang="pt-BR" dirty="0" err="1"/>
              <a:t>program</a:t>
            </a:r>
            <a:r>
              <a:rPr lang="pt-BR" dirty="0"/>
              <a:t> </a:t>
            </a:r>
            <a:r>
              <a:rPr lang="pt-BR" dirty="0" err="1"/>
              <a:t>of</a:t>
            </a:r>
            <a:r>
              <a:rPr lang="pt-BR" dirty="0"/>
              <a:t> T </a:t>
            </a:r>
            <a:r>
              <a:rPr lang="pt-BR" dirty="0" err="1"/>
              <a:t>helper</a:t>
            </a:r>
            <a:r>
              <a:rPr lang="pt-BR" dirty="0"/>
              <a:t> 17 (Th17) </a:t>
            </a:r>
            <a:r>
              <a:rPr lang="pt-BR" dirty="0" err="1"/>
              <a:t>cells</a:t>
            </a:r>
            <a:r>
              <a:rPr lang="pt-BR" dirty="0"/>
              <a:t> </a:t>
            </a:r>
            <a:r>
              <a:rPr lang="pt-BR" dirty="0" err="1"/>
              <a:t>up</a:t>
            </a:r>
            <a:r>
              <a:rPr lang="pt-BR" dirty="0"/>
              <a:t>-</a:t>
            </a:r>
            <a:r>
              <a:rPr lang="pt-BR" dirty="0" err="1"/>
              <a:t>to</a:t>
            </a:r>
            <a:r>
              <a:rPr lang="pt-BR" dirty="0"/>
              <a:t>-date. </a:t>
            </a:r>
            <a:r>
              <a:rPr lang="pt-BR" dirty="0" err="1"/>
              <a:t>Immunol</a:t>
            </a:r>
            <a:r>
              <a:rPr lang="pt-BR" dirty="0"/>
              <a:t> </a:t>
            </a:r>
            <a:r>
              <a:rPr lang="pt-BR" dirty="0" err="1"/>
              <a:t>Lett</a:t>
            </a:r>
            <a:r>
              <a:rPr lang="pt-BR" dirty="0"/>
              <a:t>. 2012 </a:t>
            </a:r>
            <a:r>
              <a:rPr lang="pt-BR" dirty="0" err="1"/>
              <a:t>Dec</a:t>
            </a:r>
            <a:r>
              <a:rPr lang="pt-BR" dirty="0"/>
              <a:t> 17;148(2):97-109.</a:t>
            </a:r>
          </a:p>
          <a:p>
            <a:pPr>
              <a:spcAft>
                <a:spcPts val="0"/>
              </a:spcAft>
            </a:pPr>
            <a:r>
              <a:rPr lang="pt-BR" dirty="0"/>
              <a:t>4. </a:t>
            </a:r>
            <a:r>
              <a:rPr lang="pt-BR" dirty="0" err="1"/>
              <a:t>Annunziato</a:t>
            </a:r>
            <a:r>
              <a:rPr lang="pt-BR" dirty="0"/>
              <a:t> F, </a:t>
            </a:r>
            <a:r>
              <a:rPr lang="pt-BR" dirty="0" err="1"/>
              <a:t>Romagnani</a:t>
            </a:r>
            <a:r>
              <a:rPr lang="pt-BR" dirty="0"/>
              <a:t> S. The </a:t>
            </a:r>
            <a:r>
              <a:rPr lang="pt-BR" dirty="0" err="1"/>
              <a:t>transient</a:t>
            </a:r>
            <a:r>
              <a:rPr lang="pt-BR" dirty="0"/>
              <a:t> </a:t>
            </a:r>
            <a:r>
              <a:rPr lang="pt-BR" dirty="0" err="1"/>
              <a:t>nature</a:t>
            </a:r>
            <a:r>
              <a:rPr lang="pt-BR" dirty="0"/>
              <a:t> </a:t>
            </a:r>
            <a:r>
              <a:rPr lang="pt-BR" dirty="0" err="1"/>
              <a:t>of</a:t>
            </a:r>
            <a:r>
              <a:rPr lang="pt-BR" dirty="0"/>
              <a:t> </a:t>
            </a:r>
            <a:r>
              <a:rPr lang="pt-BR" dirty="0" err="1"/>
              <a:t>the</a:t>
            </a:r>
            <a:r>
              <a:rPr lang="pt-BR" dirty="0"/>
              <a:t> Th17 </a:t>
            </a:r>
            <a:r>
              <a:rPr lang="pt-BR" dirty="0" err="1"/>
              <a:t>phenotype</a:t>
            </a:r>
            <a:r>
              <a:rPr lang="pt-BR" dirty="0"/>
              <a:t>. </a:t>
            </a:r>
            <a:r>
              <a:rPr lang="pt-BR" dirty="0" err="1"/>
              <a:t>Eur</a:t>
            </a:r>
            <a:r>
              <a:rPr lang="pt-BR" dirty="0"/>
              <a:t> J </a:t>
            </a:r>
            <a:r>
              <a:rPr lang="pt-BR" dirty="0" err="1"/>
              <a:t>Immunol</a:t>
            </a:r>
            <a:r>
              <a:rPr lang="pt-BR" dirty="0"/>
              <a:t>. 2010;40(12):3312-6.</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2276732"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Subpopulação de linfócito T CD4</a:t>
            </a:r>
            <a:r>
              <a:rPr lang="pt-BR" sz="4000" b="1" baseline="30000" dirty="0">
                <a:gradFill>
                  <a:gsLst>
                    <a:gs pos="0">
                      <a:schemeClr val="accent1"/>
                    </a:gs>
                    <a:gs pos="100000">
                      <a:schemeClr val="bg2"/>
                    </a:gs>
                  </a:gsLst>
                  <a:lin ang="2700000" scaled="0"/>
                </a:gradFill>
                <a:latin typeface="Calisto MT"/>
              </a:rPr>
              <a:t>1-4</a:t>
            </a:r>
            <a:endParaRPr lang="pt-BR" sz="4000" b="1" dirty="0">
              <a:gradFill>
                <a:gsLst>
                  <a:gs pos="0">
                    <a:schemeClr val="accent1"/>
                  </a:gs>
                  <a:gs pos="100000">
                    <a:schemeClr val="bg2"/>
                  </a:gs>
                </a:gsLst>
                <a:lin ang="2700000" scaled="0"/>
              </a:gradFill>
              <a:latin typeface="Calisto MT"/>
            </a:endParaRPr>
          </a:p>
        </p:txBody>
      </p:sp>
      <p:grpSp>
        <p:nvGrpSpPr>
          <p:cNvPr id="140" name="Agrupar 139">
            <a:extLst>
              <a:ext uri="{FF2B5EF4-FFF2-40B4-BE49-F238E27FC236}">
                <a16:creationId xmlns:a16="http://schemas.microsoft.com/office/drawing/2014/main" id="{7AB38D8C-26BA-FE0A-16EF-F930D439426B}"/>
              </a:ext>
            </a:extLst>
          </p:cNvPr>
          <p:cNvGrpSpPr/>
          <p:nvPr/>
        </p:nvGrpSpPr>
        <p:grpSpPr>
          <a:xfrm>
            <a:off x="1285581" y="1088040"/>
            <a:ext cx="9324344" cy="4860635"/>
            <a:chOff x="1285581" y="1088040"/>
            <a:chExt cx="9324344" cy="4860635"/>
          </a:xfrm>
        </p:grpSpPr>
        <p:grpSp>
          <p:nvGrpSpPr>
            <p:cNvPr id="9" name="Group 41">
              <a:extLst>
                <a:ext uri="{FF2B5EF4-FFF2-40B4-BE49-F238E27FC236}">
                  <a16:creationId xmlns:a16="http://schemas.microsoft.com/office/drawing/2014/main" id="{DA32054F-B136-7244-DE6E-0A4F53E0E91D}"/>
                </a:ext>
              </a:extLst>
            </p:cNvPr>
            <p:cNvGrpSpPr>
              <a:grpSpLocks/>
            </p:cNvGrpSpPr>
            <p:nvPr/>
          </p:nvGrpSpPr>
          <p:grpSpPr bwMode="auto">
            <a:xfrm>
              <a:off x="6504649" y="5449499"/>
              <a:ext cx="469900" cy="469900"/>
              <a:chOff x="3289300" y="5435600"/>
              <a:chExt cx="469900" cy="469900"/>
            </a:xfrm>
          </p:grpSpPr>
          <p:sp>
            <p:nvSpPr>
              <p:cNvPr id="128" name="Oval 11">
                <a:extLst>
                  <a:ext uri="{FF2B5EF4-FFF2-40B4-BE49-F238E27FC236}">
                    <a16:creationId xmlns:a16="http://schemas.microsoft.com/office/drawing/2014/main" id="{F5B2E42A-17BF-6FF2-069E-D282EA23B428}"/>
                  </a:ext>
                </a:extLst>
              </p:cNvPr>
              <p:cNvSpPr/>
              <p:nvPr/>
            </p:nvSpPr>
            <p:spPr>
              <a:xfrm>
                <a:off x="3289300" y="5435600"/>
                <a:ext cx="469900" cy="469900"/>
              </a:xfrm>
              <a:prstGeom prst="ellipse">
                <a:avLst/>
              </a:prstGeom>
              <a:solidFill>
                <a:schemeClr val="bg1">
                  <a:lumMod val="75000"/>
                </a:schemeClr>
              </a:solidFill>
              <a:ln w="12700" cap="sq" cmpd="sng" algn="ctr">
                <a:solidFill>
                  <a:srgbClr val="404040"/>
                </a:solidFill>
                <a:prstDash val="sysDot"/>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9" name="TextBox 6">
                <a:extLst>
                  <a:ext uri="{FF2B5EF4-FFF2-40B4-BE49-F238E27FC236}">
                    <a16:creationId xmlns:a16="http://schemas.microsoft.com/office/drawing/2014/main" id="{C97C1A2F-A738-B9DF-D857-B47CFEBEF965}"/>
                  </a:ext>
                </a:extLst>
              </p:cNvPr>
              <p:cNvSpPr txBox="1">
                <a:spLocks noChangeArrowheads="1"/>
              </p:cNvSpPr>
              <p:nvPr/>
            </p:nvSpPr>
            <p:spPr bwMode="auto">
              <a:xfrm>
                <a:off x="3372374" y="5435600"/>
                <a:ext cx="3273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2400" b="0" i="0" u="none" strike="noStrike" kern="0" cap="none" spc="0" normalizeH="0" baseline="0" noProof="0" dirty="0">
                    <a:ln>
                      <a:noFill/>
                    </a:ln>
                    <a:solidFill>
                      <a:schemeClr val="tx1"/>
                    </a:solidFill>
                    <a:effectLst/>
                    <a:uLnTx/>
                    <a:uFillTx/>
                    <a:latin typeface="+mn-lt"/>
                    <a:ea typeface="+mn-ea"/>
                    <a:cs typeface="Arial" pitchFamily="34" charset="0"/>
                  </a:rPr>
                  <a:t>?</a:t>
                </a:r>
              </a:p>
            </p:txBody>
          </p:sp>
        </p:grpSp>
        <p:sp>
          <p:nvSpPr>
            <p:cNvPr id="11" name="TextBox 12">
              <a:extLst>
                <a:ext uri="{FF2B5EF4-FFF2-40B4-BE49-F238E27FC236}">
                  <a16:creationId xmlns:a16="http://schemas.microsoft.com/office/drawing/2014/main" id="{81249640-BD5F-ACF0-5727-F3C63D0E4F65}"/>
                </a:ext>
              </a:extLst>
            </p:cNvPr>
            <p:cNvSpPr txBox="1">
              <a:spLocks noChangeArrowheads="1"/>
            </p:cNvSpPr>
            <p:nvPr/>
          </p:nvSpPr>
          <p:spPr bwMode="auto">
            <a:xfrm>
              <a:off x="8276300" y="1358513"/>
              <a:ext cx="23336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accent2">
                      <a:lumMod val="75000"/>
                    </a:schemeClr>
                  </a:solidFill>
                  <a:effectLst/>
                  <a:uLnTx/>
                  <a:uFillTx/>
                  <a:latin typeface="+mj-lt"/>
                  <a:ea typeface="+mn-ea"/>
                  <a:cs typeface="Arial" pitchFamily="34" charset="0"/>
                </a:rPr>
                <a:t>IFN-</a:t>
              </a:r>
              <a:r>
                <a:rPr kumimoji="0" lang="el-GR" altLang="en-US" sz="1200" b="1" i="0" u="none" strike="noStrike" kern="0" cap="none" spc="0" normalizeH="0" baseline="0" noProof="0" dirty="0">
                  <a:ln>
                    <a:noFill/>
                  </a:ln>
                  <a:solidFill>
                    <a:schemeClr val="accent2">
                      <a:lumMod val="75000"/>
                    </a:schemeClr>
                  </a:solidFill>
                  <a:effectLst/>
                  <a:uLnTx/>
                  <a:uFillTx/>
                  <a:latin typeface="+mj-lt"/>
                  <a:ea typeface="+mn-ea"/>
                  <a:cs typeface="Arial" pitchFamily="34" charset="0"/>
                </a:rPr>
                <a:t>γ</a:t>
              </a:r>
              <a:r>
                <a:rPr kumimoji="0" lang="en-US" altLang="en-US" sz="1200" b="1" i="0" u="none" strike="noStrike" kern="0" cap="none" spc="0" normalizeH="0" baseline="0" noProof="0" dirty="0">
                  <a:ln>
                    <a:noFill/>
                  </a:ln>
                  <a:solidFill>
                    <a:schemeClr val="accent2">
                      <a:lumMod val="75000"/>
                    </a:schemeClr>
                  </a:solidFill>
                  <a:effectLst/>
                  <a:uLnTx/>
                  <a:uFillTx/>
                  <a:latin typeface="+mj-lt"/>
                  <a:ea typeface="+mn-ea"/>
                  <a:cs typeface="Arial" pitchFamily="34" charset="0"/>
                </a:rPr>
                <a:t>, TNF-α</a:t>
              </a: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munidade</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celular</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virus e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bactérias</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ntracelulares</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a:t>
              </a:r>
            </a:p>
          </p:txBody>
        </p:sp>
        <p:sp>
          <p:nvSpPr>
            <p:cNvPr id="12" name="TextBox 13">
              <a:extLst>
                <a:ext uri="{FF2B5EF4-FFF2-40B4-BE49-F238E27FC236}">
                  <a16:creationId xmlns:a16="http://schemas.microsoft.com/office/drawing/2014/main" id="{2178EF75-0C97-4B33-3EB8-838130661D7F}"/>
                </a:ext>
              </a:extLst>
            </p:cNvPr>
            <p:cNvSpPr txBox="1">
              <a:spLocks noChangeArrowheads="1"/>
            </p:cNvSpPr>
            <p:nvPr/>
          </p:nvSpPr>
          <p:spPr bwMode="auto">
            <a:xfrm>
              <a:off x="8276299" y="2399913"/>
              <a:ext cx="141577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bg2"/>
                  </a:solidFill>
                  <a:effectLst/>
                  <a:uLnTx/>
                  <a:uFillTx/>
                  <a:latin typeface="+mj-lt"/>
                  <a:ea typeface="+mn-ea"/>
                  <a:cs typeface="Arial" pitchFamily="34" charset="0"/>
                </a:rPr>
                <a:t>IL-4, IL-5, IL-13</a:t>
              </a: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munidade</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humoral</a:t>
              </a:r>
            </a:p>
            <a:p>
              <a:pPr marL="0" marR="0" lvl="0" indent="0" algn="l" defTabSz="457200" rtl="0" eaLnBrk="1" fontAlgn="auto" latinLnBrk="0" hangingPunct="1">
                <a:lnSpc>
                  <a:spcPct val="100000"/>
                </a:lnSpc>
                <a:spcBef>
                  <a:spcPts val="0"/>
                </a:spcBef>
                <a:spcAft>
                  <a:spcPct val="0"/>
                </a:spcAft>
                <a:buClrTx/>
                <a:buSzTx/>
                <a:buFontTx/>
                <a:buNone/>
                <a:tabLst/>
                <a:defRPr/>
              </a:pPr>
              <a:endPar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endParaRPr>
            </a:p>
          </p:txBody>
        </p:sp>
        <p:sp>
          <p:nvSpPr>
            <p:cNvPr id="13" name="TextBox 14">
              <a:extLst>
                <a:ext uri="{FF2B5EF4-FFF2-40B4-BE49-F238E27FC236}">
                  <a16:creationId xmlns:a16="http://schemas.microsoft.com/office/drawing/2014/main" id="{2FC14BDA-8CCD-66A2-F942-80A3B687D261}"/>
                </a:ext>
              </a:extLst>
            </p:cNvPr>
            <p:cNvSpPr txBox="1">
              <a:spLocks noChangeArrowheads="1"/>
            </p:cNvSpPr>
            <p:nvPr/>
          </p:nvSpPr>
          <p:spPr bwMode="auto">
            <a:xfrm>
              <a:off x="8276300" y="3352412"/>
              <a:ext cx="2242922"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tx2">
                      <a:lumMod val="90000"/>
                      <a:lumOff val="10000"/>
                    </a:schemeClr>
                  </a:solidFill>
                  <a:effectLst/>
                  <a:uLnTx/>
                  <a:uFillTx/>
                  <a:latin typeface="+mj-lt"/>
                  <a:ea typeface="+mn-ea"/>
                  <a:cs typeface="Arial" pitchFamily="34" charset="0"/>
                </a:rPr>
                <a:t>IL-17A,* IL-17F, IL-22, IL-21</a:t>
              </a: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nflamação</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mediada</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por</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células</a:t>
              </a:r>
              <a:endPar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endParaRP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pt-BR" altLang="en-US" sz="1200" b="0" i="0" u="none" strike="noStrike" kern="0" cap="none" spc="0" normalizeH="0" baseline="0" noProof="0" dirty="0">
                  <a:ln>
                    <a:noFill/>
                  </a:ln>
                  <a:solidFill>
                    <a:schemeClr val="tx1"/>
                  </a:solidFill>
                  <a:effectLst/>
                  <a:uLnTx/>
                  <a:uFillTx/>
                  <a:latin typeface="+mn-lt"/>
                  <a:ea typeface="+mn-ea"/>
                  <a:cs typeface="Arial" pitchFamily="34" charset="0"/>
                </a:rPr>
                <a:t>Doenças autoimunes</a:t>
              </a:r>
              <a:endPar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endParaRP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100" b="0" i="0" u="none" strike="noStrike" kern="0" cap="none" spc="0" normalizeH="0" baseline="0" noProof="0" dirty="0">
                  <a:ln>
                    <a:noFill/>
                  </a:ln>
                  <a:solidFill>
                    <a:schemeClr val="tx1"/>
                  </a:solidFill>
                  <a:effectLst/>
                  <a:uLnTx/>
                  <a:uFillTx/>
                  <a:latin typeface="+mn-lt"/>
                  <a:ea typeface="+mn-ea"/>
                  <a:cs typeface="Arial" pitchFamily="34" charset="0"/>
                </a:rPr>
                <a:t>(</a:t>
              </a:r>
              <a:r>
                <a:rPr kumimoji="0" lang="en-US" altLang="en-US" sz="1100" b="0" i="0" u="none" strike="noStrike" kern="0" cap="none" spc="0" normalizeH="0" baseline="0" noProof="0" dirty="0" err="1">
                  <a:ln>
                    <a:noFill/>
                  </a:ln>
                  <a:solidFill>
                    <a:schemeClr val="tx1"/>
                  </a:solidFill>
                  <a:effectLst/>
                  <a:uLnTx/>
                  <a:uFillTx/>
                  <a:latin typeface="+mn-lt"/>
                  <a:ea typeface="+mn-ea"/>
                  <a:cs typeface="Arial" pitchFamily="34" charset="0"/>
                </a:rPr>
                <a:t>fungos</a:t>
              </a:r>
              <a:r>
                <a:rPr kumimoji="0" lang="en-US" altLang="en-US" sz="1100" b="0" i="0" u="none" strike="noStrike" kern="0" cap="none" spc="0" normalizeH="0" baseline="0" noProof="0" dirty="0">
                  <a:ln>
                    <a:noFill/>
                  </a:ln>
                  <a:solidFill>
                    <a:schemeClr val="tx1"/>
                  </a:solidFill>
                  <a:effectLst/>
                  <a:uLnTx/>
                  <a:uFillTx/>
                  <a:latin typeface="+mn-lt"/>
                  <a:ea typeface="+mn-ea"/>
                  <a:cs typeface="Arial" pitchFamily="34" charset="0"/>
                </a:rPr>
                <a:t> , </a:t>
              </a:r>
              <a:r>
                <a:rPr kumimoji="0" lang="en-US" altLang="en-US" sz="1100" b="0" i="0" u="none" strike="noStrike" kern="0" cap="none" spc="0" normalizeH="0" baseline="0" noProof="0" dirty="0" err="1">
                  <a:ln>
                    <a:noFill/>
                  </a:ln>
                  <a:solidFill>
                    <a:schemeClr val="tx1"/>
                  </a:solidFill>
                  <a:effectLst/>
                  <a:uLnTx/>
                  <a:uFillTx/>
                  <a:latin typeface="+mn-lt"/>
                  <a:ea typeface="+mn-ea"/>
                  <a:cs typeface="Arial" pitchFamily="34" charset="0"/>
                </a:rPr>
                <a:t>patógenos</a:t>
              </a:r>
              <a:r>
                <a:rPr kumimoji="0" lang="en-US" altLang="en-US" sz="11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100" b="0" i="0" u="none" strike="noStrike" kern="0" cap="none" spc="0" normalizeH="0" baseline="0" noProof="0" dirty="0" err="1">
                  <a:ln>
                    <a:noFill/>
                  </a:ln>
                  <a:solidFill>
                    <a:schemeClr val="tx1"/>
                  </a:solidFill>
                  <a:effectLst/>
                  <a:uLnTx/>
                  <a:uFillTx/>
                  <a:latin typeface="+mn-lt"/>
                  <a:ea typeface="+mn-ea"/>
                  <a:cs typeface="Arial" pitchFamily="34" charset="0"/>
                </a:rPr>
                <a:t>extracelulares</a:t>
              </a:r>
              <a:r>
                <a:rPr kumimoji="0" lang="en-US" altLang="en-US" sz="1100" b="0" i="0" u="none" strike="noStrike" kern="0" cap="none" spc="0" normalizeH="0" baseline="0" noProof="0" dirty="0">
                  <a:ln>
                    <a:noFill/>
                  </a:ln>
                  <a:solidFill>
                    <a:schemeClr val="tx1"/>
                  </a:solidFill>
                  <a:effectLst/>
                  <a:uLnTx/>
                  <a:uFillTx/>
                  <a:latin typeface="+mn-lt"/>
                  <a:ea typeface="+mn-ea"/>
                  <a:cs typeface="Arial" pitchFamily="34" charset="0"/>
                </a:rPr>
                <a:t>)</a:t>
              </a:r>
            </a:p>
          </p:txBody>
        </p:sp>
        <p:sp>
          <p:nvSpPr>
            <p:cNvPr id="14" name="TextBox 15">
              <a:extLst>
                <a:ext uri="{FF2B5EF4-FFF2-40B4-BE49-F238E27FC236}">
                  <a16:creationId xmlns:a16="http://schemas.microsoft.com/office/drawing/2014/main" id="{26C7B07C-7084-2C64-82FC-E8602A204FCC}"/>
                </a:ext>
              </a:extLst>
            </p:cNvPr>
            <p:cNvSpPr txBox="1">
              <a:spLocks noChangeArrowheads="1"/>
            </p:cNvSpPr>
            <p:nvPr/>
          </p:nvSpPr>
          <p:spPr bwMode="auto">
            <a:xfrm>
              <a:off x="8276300" y="4485888"/>
              <a:ext cx="153599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accent1"/>
                  </a:solidFill>
                  <a:effectLst/>
                  <a:uLnTx/>
                  <a:uFillTx/>
                  <a:latin typeface="+mj-lt"/>
                  <a:ea typeface="+mn-ea"/>
                  <a:cs typeface="Arial" pitchFamily="34" charset="0"/>
                </a:rPr>
                <a:t>TGF-</a:t>
              </a:r>
              <a:r>
                <a:rPr kumimoji="0" lang="el-GR" altLang="en-US" sz="1200" b="1" i="0" u="none" strike="noStrike" kern="0" cap="none" spc="0" normalizeH="0" baseline="0" noProof="0" dirty="0">
                  <a:ln>
                    <a:noFill/>
                  </a:ln>
                  <a:solidFill>
                    <a:schemeClr val="accent1"/>
                  </a:solidFill>
                  <a:effectLst/>
                  <a:uLnTx/>
                  <a:uFillTx/>
                  <a:latin typeface="+mj-lt"/>
                  <a:ea typeface="+mn-ea"/>
                  <a:cs typeface="Arial" pitchFamily="34" charset="0"/>
                </a:rPr>
                <a:t>β</a:t>
              </a:r>
              <a:r>
                <a:rPr kumimoji="0" lang="en-US" altLang="en-US" sz="1200" b="1" i="0" u="none" strike="noStrike" kern="0" cap="none" spc="0" normalizeH="0" baseline="0" noProof="0" dirty="0">
                  <a:ln>
                    <a:noFill/>
                  </a:ln>
                  <a:solidFill>
                    <a:schemeClr val="accent1"/>
                  </a:solidFill>
                  <a:effectLst/>
                  <a:uLnTx/>
                  <a:uFillTx/>
                  <a:latin typeface="+mj-lt"/>
                  <a:ea typeface="+mn-ea"/>
                  <a:cs typeface="Arial" pitchFamily="34" charset="0"/>
                </a:rPr>
                <a:t>, IL-10</a:t>
              </a: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munoregulação</a:t>
              </a:r>
              <a:endPar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endParaRP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tolerância</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periférica</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a:t>
              </a:r>
            </a:p>
          </p:txBody>
        </p:sp>
        <p:sp>
          <p:nvSpPr>
            <p:cNvPr id="15" name="TextBox 19">
              <a:extLst>
                <a:ext uri="{FF2B5EF4-FFF2-40B4-BE49-F238E27FC236}">
                  <a16:creationId xmlns:a16="http://schemas.microsoft.com/office/drawing/2014/main" id="{BED732D0-698F-7C7A-B61B-C27CE32B8044}"/>
                </a:ext>
              </a:extLst>
            </p:cNvPr>
            <p:cNvSpPr txBox="1">
              <a:spLocks noChangeArrowheads="1"/>
            </p:cNvSpPr>
            <p:nvPr/>
          </p:nvSpPr>
          <p:spPr bwMode="auto">
            <a:xfrm>
              <a:off x="6056974" y="5176450"/>
              <a:ext cx="8953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IL-2R</a:t>
              </a:r>
            </a:p>
          </p:txBody>
        </p:sp>
        <p:sp>
          <p:nvSpPr>
            <p:cNvPr id="16" name="TextBox 20">
              <a:extLst>
                <a:ext uri="{FF2B5EF4-FFF2-40B4-BE49-F238E27FC236}">
                  <a16:creationId xmlns:a16="http://schemas.microsoft.com/office/drawing/2014/main" id="{13B39A43-9402-E4D0-1EDE-DDF426DEF714}"/>
                </a:ext>
              </a:extLst>
            </p:cNvPr>
            <p:cNvSpPr txBox="1">
              <a:spLocks noChangeArrowheads="1"/>
            </p:cNvSpPr>
            <p:nvPr/>
          </p:nvSpPr>
          <p:spPr bwMode="auto">
            <a:xfrm>
              <a:off x="6611011" y="5176450"/>
              <a:ext cx="8969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dirty="0">
                  <a:ln>
                    <a:noFill/>
                  </a:ln>
                  <a:solidFill>
                    <a:schemeClr val="tx1"/>
                  </a:solidFill>
                  <a:effectLst/>
                  <a:uLnTx/>
                  <a:uFillTx/>
                  <a:latin typeface="+mn-lt"/>
                  <a:ea typeface="+mn-ea"/>
                  <a:cs typeface="Arial" pitchFamily="34" charset="0"/>
                </a:rPr>
                <a:t>TGF-</a:t>
              </a:r>
              <a:r>
                <a:rPr kumimoji="0" lang="el-GR" altLang="en-US" sz="1000" b="0" i="0" u="none" strike="noStrike" kern="0" cap="none" spc="0" normalizeH="0" baseline="0" noProof="0" dirty="0">
                  <a:ln>
                    <a:noFill/>
                  </a:ln>
                  <a:solidFill>
                    <a:schemeClr val="tx1"/>
                  </a:solidFill>
                  <a:effectLst/>
                  <a:uLnTx/>
                  <a:uFillTx/>
                  <a:latin typeface="+mn-lt"/>
                  <a:ea typeface="+mn-ea"/>
                  <a:cs typeface="Arial" pitchFamily="34" charset="0"/>
                </a:rPr>
                <a:t>β</a:t>
              </a:r>
              <a:r>
                <a:rPr kumimoji="0" lang="en-US" altLang="en-US" sz="1000" b="0" i="0" u="none" strike="noStrike" kern="0" cap="none" spc="0" normalizeH="0" baseline="0" noProof="0" dirty="0">
                  <a:ln>
                    <a:noFill/>
                  </a:ln>
                  <a:solidFill>
                    <a:schemeClr val="tx1"/>
                  </a:solidFill>
                  <a:effectLst/>
                  <a:uLnTx/>
                  <a:uFillTx/>
                  <a:latin typeface="+mn-lt"/>
                  <a:ea typeface="+mn-ea"/>
                  <a:cs typeface="Arial" pitchFamily="34" charset="0"/>
                </a:rPr>
                <a:t>1R</a:t>
              </a:r>
            </a:p>
          </p:txBody>
        </p:sp>
        <p:sp>
          <p:nvSpPr>
            <p:cNvPr id="19" name="TextBox 21">
              <a:extLst>
                <a:ext uri="{FF2B5EF4-FFF2-40B4-BE49-F238E27FC236}">
                  <a16:creationId xmlns:a16="http://schemas.microsoft.com/office/drawing/2014/main" id="{CC48DE4A-638C-F9CA-0D13-22A16B172A12}"/>
                </a:ext>
              </a:extLst>
            </p:cNvPr>
            <p:cNvSpPr txBox="1">
              <a:spLocks noChangeArrowheads="1"/>
            </p:cNvSpPr>
            <p:nvPr/>
          </p:nvSpPr>
          <p:spPr bwMode="auto">
            <a:xfrm>
              <a:off x="6083961" y="4060437"/>
              <a:ext cx="895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TGF-</a:t>
              </a:r>
              <a:r>
                <a:rPr kumimoji="0" lang="el-GR" altLang="en-US" sz="1000" b="0" i="0" u="none" strike="noStrike" kern="0" cap="none" spc="0" normalizeH="0" baseline="0" noProof="0">
                  <a:ln>
                    <a:noFill/>
                  </a:ln>
                  <a:solidFill>
                    <a:schemeClr val="tx1"/>
                  </a:solidFill>
                  <a:effectLst/>
                  <a:uLnTx/>
                  <a:uFillTx/>
                  <a:latin typeface="+mn-lt"/>
                  <a:ea typeface="+mn-ea"/>
                  <a:cs typeface="Arial" pitchFamily="34" charset="0"/>
                </a:rPr>
                <a:t>β</a:t>
              </a: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1R</a:t>
              </a:r>
            </a:p>
          </p:txBody>
        </p:sp>
        <p:sp>
          <p:nvSpPr>
            <p:cNvPr id="20" name="TextBox 22">
              <a:extLst>
                <a:ext uri="{FF2B5EF4-FFF2-40B4-BE49-F238E27FC236}">
                  <a16:creationId xmlns:a16="http://schemas.microsoft.com/office/drawing/2014/main" id="{2794EEBF-EE84-9538-B584-D524837A19F1}"/>
                </a:ext>
              </a:extLst>
            </p:cNvPr>
            <p:cNvSpPr txBox="1">
              <a:spLocks noChangeArrowheads="1"/>
            </p:cNvSpPr>
            <p:nvPr/>
          </p:nvSpPr>
          <p:spPr bwMode="auto">
            <a:xfrm>
              <a:off x="6772936" y="4054087"/>
              <a:ext cx="666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IL-23R</a:t>
              </a:r>
            </a:p>
          </p:txBody>
        </p:sp>
        <p:sp>
          <p:nvSpPr>
            <p:cNvPr id="22" name="TextBox 24">
              <a:extLst>
                <a:ext uri="{FF2B5EF4-FFF2-40B4-BE49-F238E27FC236}">
                  <a16:creationId xmlns:a16="http://schemas.microsoft.com/office/drawing/2014/main" id="{5A2BAAB8-5061-C8F3-C3F1-3E4A5120A09B}"/>
                </a:ext>
              </a:extLst>
            </p:cNvPr>
            <p:cNvSpPr txBox="1">
              <a:spLocks noChangeArrowheads="1"/>
            </p:cNvSpPr>
            <p:nvPr/>
          </p:nvSpPr>
          <p:spPr bwMode="auto">
            <a:xfrm>
              <a:off x="6774524" y="2998400"/>
              <a:ext cx="666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IL-4R</a:t>
              </a:r>
            </a:p>
          </p:txBody>
        </p:sp>
        <p:sp>
          <p:nvSpPr>
            <p:cNvPr id="23" name="TextBox 25">
              <a:extLst>
                <a:ext uri="{FF2B5EF4-FFF2-40B4-BE49-F238E27FC236}">
                  <a16:creationId xmlns:a16="http://schemas.microsoft.com/office/drawing/2014/main" id="{10F9AC3A-BCCA-B58E-F201-28219C5068C7}"/>
                </a:ext>
              </a:extLst>
            </p:cNvPr>
            <p:cNvSpPr txBox="1">
              <a:spLocks noChangeArrowheads="1"/>
            </p:cNvSpPr>
            <p:nvPr/>
          </p:nvSpPr>
          <p:spPr bwMode="auto">
            <a:xfrm>
              <a:off x="6206199" y="2003037"/>
              <a:ext cx="666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IL-12R</a:t>
              </a:r>
            </a:p>
          </p:txBody>
        </p:sp>
        <p:sp>
          <p:nvSpPr>
            <p:cNvPr id="27" name="TextBox 26">
              <a:extLst>
                <a:ext uri="{FF2B5EF4-FFF2-40B4-BE49-F238E27FC236}">
                  <a16:creationId xmlns:a16="http://schemas.microsoft.com/office/drawing/2014/main" id="{3388585F-743C-7F2B-46E4-89D988579037}"/>
                </a:ext>
              </a:extLst>
            </p:cNvPr>
            <p:cNvSpPr txBox="1">
              <a:spLocks noChangeArrowheads="1"/>
            </p:cNvSpPr>
            <p:nvPr/>
          </p:nvSpPr>
          <p:spPr bwMode="auto">
            <a:xfrm>
              <a:off x="6790399" y="2003037"/>
              <a:ext cx="66675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IFN-</a:t>
              </a:r>
              <a:r>
                <a:rPr kumimoji="0" lang="el-GR" altLang="en-US" sz="1000" b="0" i="0" u="none" strike="noStrike" kern="0" cap="none" spc="0" normalizeH="0" baseline="0" noProof="0">
                  <a:ln>
                    <a:noFill/>
                  </a:ln>
                  <a:solidFill>
                    <a:schemeClr val="tx1"/>
                  </a:solidFill>
                  <a:effectLst/>
                  <a:uLnTx/>
                  <a:uFillTx/>
                  <a:latin typeface="+mn-lt"/>
                  <a:ea typeface="+mn-ea"/>
                  <a:cs typeface="Arial" pitchFamily="34" charset="0"/>
                </a:rPr>
                <a:t>γ</a:t>
              </a:r>
              <a:r>
                <a:rPr kumimoji="0" lang="en-US" altLang="en-US" sz="1000" b="0" i="0" u="none" strike="noStrike" kern="0" cap="none" spc="0" normalizeH="0" baseline="0" noProof="0">
                  <a:ln>
                    <a:noFill/>
                  </a:ln>
                  <a:solidFill>
                    <a:schemeClr val="tx1"/>
                  </a:solidFill>
                  <a:effectLst/>
                  <a:uLnTx/>
                  <a:uFillTx/>
                  <a:latin typeface="+mn-lt"/>
                  <a:ea typeface="+mn-ea"/>
                  <a:cs typeface="Arial" pitchFamily="34" charset="0"/>
                </a:rPr>
                <a:t>R</a:t>
              </a:r>
            </a:p>
          </p:txBody>
        </p:sp>
        <p:sp>
          <p:nvSpPr>
            <p:cNvPr id="31" name="TextBox 8">
              <a:extLst>
                <a:ext uri="{FF2B5EF4-FFF2-40B4-BE49-F238E27FC236}">
                  <a16:creationId xmlns:a16="http://schemas.microsoft.com/office/drawing/2014/main" id="{B97029F8-D183-B53A-824F-C15150D04284}"/>
                </a:ext>
              </a:extLst>
            </p:cNvPr>
            <p:cNvSpPr txBox="1">
              <a:spLocks noChangeArrowheads="1"/>
            </p:cNvSpPr>
            <p:nvPr/>
          </p:nvSpPr>
          <p:spPr bwMode="auto">
            <a:xfrm>
              <a:off x="5841075" y="1523613"/>
              <a:ext cx="4988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dirty="0">
                  <a:ln>
                    <a:noFill/>
                  </a:ln>
                  <a:solidFill>
                    <a:schemeClr val="tx1"/>
                  </a:solidFill>
                  <a:effectLst/>
                  <a:uLnTx/>
                  <a:uFillTx/>
                  <a:latin typeface="+mj-lt"/>
                  <a:ea typeface="+mn-ea"/>
                  <a:cs typeface="Arial" pitchFamily="34" charset="0"/>
                </a:rPr>
                <a:t>Th1</a:t>
              </a:r>
            </a:p>
            <a:p>
              <a:pPr marL="0" marR="0" lvl="0" indent="0" algn="l" defTabSz="457200" rtl="0" eaLnBrk="1" fontAlgn="auto" latinLnBrk="0" hangingPunct="1">
                <a:lnSpc>
                  <a:spcPct val="100000"/>
                </a:lnSpc>
                <a:spcBef>
                  <a:spcPts val="0"/>
                </a:spcBef>
                <a:spcAft>
                  <a:spcPct val="0"/>
                </a:spcAft>
                <a:buClrTx/>
                <a:buSzTx/>
                <a:buFontTx/>
                <a:buNone/>
                <a:tabLst/>
                <a:defRPr/>
              </a:pPr>
              <a:endParaRPr kumimoji="0" lang="en-US" altLang="en-US" sz="1400" b="1" i="0" u="none" strike="noStrike" kern="0" cap="none" spc="0" normalizeH="0" baseline="0" noProof="0" dirty="0">
                <a:ln>
                  <a:noFill/>
                </a:ln>
                <a:solidFill>
                  <a:schemeClr val="tx1"/>
                </a:solidFill>
                <a:effectLst/>
                <a:uLnTx/>
                <a:uFillTx/>
                <a:latin typeface="+mj-lt"/>
                <a:ea typeface="+mn-ea"/>
                <a:cs typeface="Arial" pitchFamily="34" charset="0"/>
              </a:endParaRPr>
            </a:p>
          </p:txBody>
        </p:sp>
        <p:sp>
          <p:nvSpPr>
            <p:cNvPr id="32" name="TextBox 9">
              <a:extLst>
                <a:ext uri="{FF2B5EF4-FFF2-40B4-BE49-F238E27FC236}">
                  <a16:creationId xmlns:a16="http://schemas.microsoft.com/office/drawing/2014/main" id="{FA69AE1E-95C1-96ED-18E2-AC40882D6267}"/>
                </a:ext>
              </a:extLst>
            </p:cNvPr>
            <p:cNvSpPr txBox="1">
              <a:spLocks noChangeArrowheads="1"/>
            </p:cNvSpPr>
            <p:nvPr/>
          </p:nvSpPr>
          <p:spPr bwMode="auto">
            <a:xfrm>
              <a:off x="5841075" y="2563425"/>
              <a:ext cx="4988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a:ln>
                    <a:noFill/>
                  </a:ln>
                  <a:solidFill>
                    <a:schemeClr val="tx1"/>
                  </a:solidFill>
                  <a:effectLst/>
                  <a:uLnTx/>
                  <a:uFillTx/>
                  <a:latin typeface="+mj-lt"/>
                  <a:ea typeface="+mn-ea"/>
                  <a:cs typeface="Arial" pitchFamily="34" charset="0"/>
                </a:rPr>
                <a:t>Th2</a:t>
              </a:r>
            </a:p>
          </p:txBody>
        </p:sp>
        <p:sp>
          <p:nvSpPr>
            <p:cNvPr id="33" name="TextBox 10">
              <a:extLst>
                <a:ext uri="{FF2B5EF4-FFF2-40B4-BE49-F238E27FC236}">
                  <a16:creationId xmlns:a16="http://schemas.microsoft.com/office/drawing/2014/main" id="{D1C35A41-C953-82A0-7499-56B0D3F40532}"/>
                </a:ext>
              </a:extLst>
            </p:cNvPr>
            <p:cNvSpPr txBox="1">
              <a:spLocks noChangeArrowheads="1"/>
            </p:cNvSpPr>
            <p:nvPr/>
          </p:nvSpPr>
          <p:spPr bwMode="auto">
            <a:xfrm>
              <a:off x="5841074" y="3603238"/>
              <a:ext cx="5902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a:ln>
                    <a:noFill/>
                  </a:ln>
                  <a:solidFill>
                    <a:schemeClr val="tx1"/>
                  </a:solidFill>
                  <a:effectLst/>
                  <a:uLnTx/>
                  <a:uFillTx/>
                  <a:latin typeface="+mj-lt"/>
                  <a:ea typeface="+mn-ea"/>
                  <a:cs typeface="Arial" pitchFamily="34" charset="0"/>
                </a:rPr>
                <a:t>Th17</a:t>
              </a:r>
            </a:p>
          </p:txBody>
        </p:sp>
        <p:sp>
          <p:nvSpPr>
            <p:cNvPr id="34" name="TextBox 11">
              <a:extLst>
                <a:ext uri="{FF2B5EF4-FFF2-40B4-BE49-F238E27FC236}">
                  <a16:creationId xmlns:a16="http://schemas.microsoft.com/office/drawing/2014/main" id="{13838699-0362-266F-0398-B8E07515E852}"/>
                </a:ext>
              </a:extLst>
            </p:cNvPr>
            <p:cNvSpPr txBox="1">
              <a:spLocks noChangeArrowheads="1"/>
            </p:cNvSpPr>
            <p:nvPr/>
          </p:nvSpPr>
          <p:spPr bwMode="auto">
            <a:xfrm>
              <a:off x="5841074" y="4641463"/>
              <a:ext cx="5517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a:ln>
                    <a:noFill/>
                  </a:ln>
                  <a:solidFill>
                    <a:schemeClr val="tx1"/>
                  </a:solidFill>
                  <a:effectLst/>
                  <a:uLnTx/>
                  <a:uFillTx/>
                  <a:latin typeface="+mj-lt"/>
                  <a:ea typeface="+mn-ea"/>
                  <a:cs typeface="Arial" pitchFamily="34" charset="0"/>
                </a:rPr>
                <a:t>Treg</a:t>
              </a:r>
            </a:p>
          </p:txBody>
        </p:sp>
        <p:sp>
          <p:nvSpPr>
            <p:cNvPr id="38" name="TextBox 50">
              <a:extLst>
                <a:ext uri="{FF2B5EF4-FFF2-40B4-BE49-F238E27FC236}">
                  <a16:creationId xmlns:a16="http://schemas.microsoft.com/office/drawing/2014/main" id="{5DF251D1-EFCF-D7E2-29CD-3C7A1A4AB82F}"/>
                </a:ext>
              </a:extLst>
            </p:cNvPr>
            <p:cNvSpPr txBox="1">
              <a:spLocks noChangeArrowheads="1"/>
            </p:cNvSpPr>
            <p:nvPr/>
          </p:nvSpPr>
          <p:spPr bwMode="auto">
            <a:xfrm>
              <a:off x="4428200" y="1447983"/>
              <a:ext cx="65824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tx1"/>
                  </a:solidFill>
                  <a:effectLst/>
                  <a:uLnTx/>
                  <a:uFillTx/>
                  <a:latin typeface="+mn-lt"/>
                  <a:ea typeface="+mn-ea"/>
                  <a:cs typeface="Arial" pitchFamily="34" charset="0"/>
                </a:rPr>
                <a:t>IL-12 </a:t>
              </a:r>
              <a:r>
                <a:rPr kumimoji="0" lang="en-US" altLang="en-US" sz="1200" b="1" i="0" u="none" strike="noStrike" kern="0" cap="none" spc="0" normalizeH="0" baseline="0" noProof="0" dirty="0" err="1">
                  <a:ln>
                    <a:noFill/>
                  </a:ln>
                  <a:solidFill>
                    <a:schemeClr val="tx1"/>
                  </a:solidFill>
                  <a:effectLst/>
                  <a:uLnTx/>
                  <a:uFillTx/>
                  <a:latin typeface="+mn-lt"/>
                  <a:ea typeface="+mn-ea"/>
                  <a:cs typeface="Arial" pitchFamily="34" charset="0"/>
                </a:rPr>
                <a:t>IFN</a:t>
              </a:r>
              <a:r>
                <a:rPr kumimoji="0" lang="en-US" altLang="en-US" sz="1200" b="1" i="0" u="none" strike="noStrike" kern="0" cap="none" spc="0" normalizeH="0" baseline="0" noProof="0" dirty="0">
                  <a:ln>
                    <a:noFill/>
                  </a:ln>
                  <a:solidFill>
                    <a:schemeClr val="tx1"/>
                  </a:solidFill>
                  <a:effectLst/>
                  <a:uLnTx/>
                  <a:uFillTx/>
                  <a:latin typeface="+mn-lt"/>
                  <a:ea typeface="+mn-ea"/>
                  <a:cs typeface="Arial" pitchFamily="34" charset="0"/>
                </a:rPr>
                <a:t>-</a:t>
              </a:r>
              <a:r>
                <a:rPr kumimoji="0" lang="el-GR" altLang="en-US" sz="1200" b="1" i="0" u="none" strike="noStrike" kern="0" cap="none" spc="0" normalizeH="0" baseline="0" noProof="0" dirty="0">
                  <a:ln>
                    <a:noFill/>
                  </a:ln>
                  <a:solidFill>
                    <a:schemeClr val="tx1"/>
                  </a:solidFill>
                  <a:effectLst/>
                  <a:uLnTx/>
                  <a:uFillTx/>
                  <a:latin typeface="+mn-lt"/>
                  <a:ea typeface="+mn-ea"/>
                  <a:cs typeface="Arial" pitchFamily="34" charset="0"/>
                </a:rPr>
                <a:t>γ</a:t>
              </a:r>
              <a:endParaRPr kumimoji="0" lang="en-US" altLang="en-US" sz="1200" b="1" i="0" u="none" strike="noStrike" kern="0" cap="none" spc="0" normalizeH="0" baseline="0" noProof="0" dirty="0">
                <a:ln>
                  <a:noFill/>
                </a:ln>
                <a:solidFill>
                  <a:schemeClr val="tx1"/>
                </a:solidFill>
                <a:effectLst/>
                <a:uLnTx/>
                <a:uFillTx/>
                <a:latin typeface="+mn-lt"/>
                <a:ea typeface="+mn-ea"/>
                <a:cs typeface="Arial" pitchFamily="34" charset="0"/>
              </a:endParaRPr>
            </a:p>
          </p:txBody>
        </p:sp>
        <p:sp>
          <p:nvSpPr>
            <p:cNvPr id="39" name="TextBox 52">
              <a:extLst>
                <a:ext uri="{FF2B5EF4-FFF2-40B4-BE49-F238E27FC236}">
                  <a16:creationId xmlns:a16="http://schemas.microsoft.com/office/drawing/2014/main" id="{33347D89-E48A-F32D-CEE9-1F5E4A41FBDB}"/>
                </a:ext>
              </a:extLst>
            </p:cNvPr>
            <p:cNvSpPr txBox="1">
              <a:spLocks noChangeArrowheads="1"/>
            </p:cNvSpPr>
            <p:nvPr/>
          </p:nvSpPr>
          <p:spPr bwMode="auto">
            <a:xfrm>
              <a:off x="4428200" y="2485712"/>
              <a:ext cx="6550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tx1"/>
                  </a:solidFill>
                  <a:effectLst/>
                  <a:uLnTx/>
                  <a:uFillTx/>
                  <a:latin typeface="+mn-lt"/>
                  <a:ea typeface="+mn-ea"/>
                  <a:cs typeface="Arial" pitchFamily="34" charset="0"/>
                </a:rPr>
                <a:t>IL-4 </a:t>
              </a:r>
            </a:p>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a:ln>
                    <a:noFill/>
                  </a:ln>
                  <a:solidFill>
                    <a:schemeClr val="tx1"/>
                  </a:solidFill>
                  <a:effectLst/>
                  <a:uLnTx/>
                  <a:uFillTx/>
                  <a:latin typeface="+mn-lt"/>
                  <a:ea typeface="+mn-ea"/>
                  <a:cs typeface="Arial" pitchFamily="34" charset="0"/>
                </a:rPr>
                <a:t>IL-2</a:t>
              </a:r>
            </a:p>
          </p:txBody>
        </p:sp>
        <p:sp>
          <p:nvSpPr>
            <p:cNvPr id="40" name="TextBox 54">
              <a:extLst>
                <a:ext uri="{FF2B5EF4-FFF2-40B4-BE49-F238E27FC236}">
                  <a16:creationId xmlns:a16="http://schemas.microsoft.com/office/drawing/2014/main" id="{1535A1CE-31EA-47DF-C8AC-EBBD5BBB1156}"/>
                </a:ext>
              </a:extLst>
            </p:cNvPr>
            <p:cNvSpPr txBox="1">
              <a:spLocks noChangeArrowheads="1"/>
            </p:cNvSpPr>
            <p:nvPr/>
          </p:nvSpPr>
          <p:spPr bwMode="auto">
            <a:xfrm>
              <a:off x="4428199" y="3477825"/>
              <a:ext cx="1022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a:ln>
                    <a:noFill/>
                  </a:ln>
                  <a:solidFill>
                    <a:schemeClr val="tx1"/>
                  </a:solidFill>
                  <a:effectLst/>
                  <a:uLnTx/>
                  <a:uFillTx/>
                  <a:latin typeface="+mn-lt"/>
                  <a:ea typeface="+mn-ea"/>
                  <a:cs typeface="Arial" pitchFamily="34" charset="0"/>
                </a:rPr>
                <a:t>IL-6, IL-23</a:t>
              </a:r>
            </a:p>
          </p:txBody>
        </p:sp>
        <p:sp>
          <p:nvSpPr>
            <p:cNvPr id="41" name="TextBox 56">
              <a:extLst>
                <a:ext uri="{FF2B5EF4-FFF2-40B4-BE49-F238E27FC236}">
                  <a16:creationId xmlns:a16="http://schemas.microsoft.com/office/drawing/2014/main" id="{F00381CA-43AD-C56C-44F8-870FC95AC576}"/>
                </a:ext>
              </a:extLst>
            </p:cNvPr>
            <p:cNvSpPr txBox="1">
              <a:spLocks noChangeArrowheads="1"/>
            </p:cNvSpPr>
            <p:nvPr/>
          </p:nvSpPr>
          <p:spPr bwMode="auto">
            <a:xfrm>
              <a:off x="4428199" y="4519225"/>
              <a:ext cx="1022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a:ln>
                    <a:noFill/>
                  </a:ln>
                  <a:solidFill>
                    <a:schemeClr val="tx1"/>
                  </a:solidFill>
                  <a:effectLst/>
                  <a:uLnTx/>
                  <a:uFillTx/>
                  <a:latin typeface="+mn-lt"/>
                  <a:ea typeface="+mn-ea"/>
                  <a:cs typeface="Arial" pitchFamily="34" charset="0"/>
                </a:rPr>
                <a:t>TGF-</a:t>
              </a:r>
              <a:r>
                <a:rPr kumimoji="0" lang="el-GR" altLang="en-US" sz="1200" b="1" i="0" u="none" strike="noStrike" kern="0" cap="none" spc="0" normalizeH="0" baseline="0" noProof="0">
                  <a:ln>
                    <a:noFill/>
                  </a:ln>
                  <a:solidFill>
                    <a:schemeClr val="tx1"/>
                  </a:solidFill>
                  <a:effectLst/>
                  <a:uLnTx/>
                  <a:uFillTx/>
                  <a:latin typeface="+mn-lt"/>
                  <a:ea typeface="+mn-ea"/>
                  <a:cs typeface="Arial" pitchFamily="34" charset="0"/>
                </a:rPr>
                <a:t>β</a:t>
              </a:r>
              <a:r>
                <a:rPr kumimoji="0" lang="en-US" altLang="en-US" sz="1200" b="1" i="0" u="none" strike="noStrike" kern="0" cap="none" spc="0" normalizeH="0" baseline="0" noProof="0">
                  <a:ln>
                    <a:noFill/>
                  </a:ln>
                  <a:solidFill>
                    <a:schemeClr val="tx1"/>
                  </a:solidFill>
                  <a:effectLst/>
                  <a:uLnTx/>
                  <a:uFillTx/>
                  <a:latin typeface="+mn-lt"/>
                  <a:ea typeface="+mn-ea"/>
                  <a:cs typeface="Arial" pitchFamily="34" charset="0"/>
                </a:rPr>
                <a:t>, IL-2</a:t>
              </a:r>
            </a:p>
          </p:txBody>
        </p:sp>
        <p:cxnSp>
          <p:nvCxnSpPr>
            <p:cNvPr id="42" name="Straight Arrow Connector 35">
              <a:extLst>
                <a:ext uri="{FF2B5EF4-FFF2-40B4-BE49-F238E27FC236}">
                  <a16:creationId xmlns:a16="http://schemas.microsoft.com/office/drawing/2014/main" id="{5FF704AB-1613-DC5E-2B5F-DD777715474F}"/>
                </a:ext>
              </a:extLst>
            </p:cNvPr>
            <p:cNvCxnSpPr/>
            <p:nvPr/>
          </p:nvCxnSpPr>
          <p:spPr>
            <a:xfrm>
              <a:off x="7203149" y="1676013"/>
              <a:ext cx="520700" cy="1587"/>
            </a:xfrm>
            <a:prstGeom prst="straightConnector1">
              <a:avLst/>
            </a:prstGeom>
            <a:noFill/>
            <a:ln w="19050" cap="sq" cmpd="sng" algn="ctr">
              <a:solidFill>
                <a:schemeClr val="accent2">
                  <a:lumMod val="75000"/>
                </a:schemeClr>
              </a:solidFill>
              <a:prstDash val="solid"/>
              <a:headEnd type="none" w="med" len="med"/>
              <a:tailEnd type="arrow" w="med" len="med"/>
            </a:ln>
            <a:effectLst/>
          </p:spPr>
        </p:cxnSp>
        <p:cxnSp>
          <p:nvCxnSpPr>
            <p:cNvPr id="43" name="Straight Arrow Connector 36">
              <a:extLst>
                <a:ext uri="{FF2B5EF4-FFF2-40B4-BE49-F238E27FC236}">
                  <a16:creationId xmlns:a16="http://schemas.microsoft.com/office/drawing/2014/main" id="{691C2D7A-1EFA-87B3-4720-78E72D7480E4}"/>
                </a:ext>
              </a:extLst>
            </p:cNvPr>
            <p:cNvCxnSpPr/>
            <p:nvPr/>
          </p:nvCxnSpPr>
          <p:spPr>
            <a:xfrm>
              <a:off x="7203149" y="4798624"/>
              <a:ext cx="520700" cy="1588"/>
            </a:xfrm>
            <a:prstGeom prst="straightConnector1">
              <a:avLst/>
            </a:prstGeom>
            <a:noFill/>
            <a:ln w="19050" cap="sq" cmpd="sng" algn="ctr">
              <a:solidFill>
                <a:schemeClr val="accent1"/>
              </a:solidFill>
              <a:prstDash val="solid"/>
              <a:headEnd type="none" w="med" len="med"/>
              <a:tailEnd type="arrow" w="med" len="med"/>
            </a:ln>
            <a:effectLst/>
          </p:spPr>
        </p:cxnSp>
        <p:cxnSp>
          <p:nvCxnSpPr>
            <p:cNvPr id="44" name="Straight Arrow Connector 37">
              <a:extLst>
                <a:ext uri="{FF2B5EF4-FFF2-40B4-BE49-F238E27FC236}">
                  <a16:creationId xmlns:a16="http://schemas.microsoft.com/office/drawing/2014/main" id="{2BFF1A0E-E9A0-A3E8-31EA-7F0EF62246E5}"/>
                </a:ext>
              </a:extLst>
            </p:cNvPr>
            <p:cNvCxnSpPr/>
            <p:nvPr/>
          </p:nvCxnSpPr>
          <p:spPr>
            <a:xfrm>
              <a:off x="7203149" y="3758813"/>
              <a:ext cx="520700" cy="1587"/>
            </a:xfrm>
            <a:prstGeom prst="straightConnector1">
              <a:avLst/>
            </a:prstGeom>
            <a:noFill/>
            <a:ln w="19050" cap="sq" cmpd="sng" algn="ctr">
              <a:solidFill>
                <a:schemeClr val="tx2">
                  <a:lumMod val="90000"/>
                  <a:lumOff val="10000"/>
                </a:schemeClr>
              </a:solidFill>
              <a:prstDash val="solid"/>
              <a:headEnd type="none" w="med" len="med"/>
              <a:tailEnd type="arrow" w="med" len="med"/>
            </a:ln>
            <a:effectLst/>
          </p:spPr>
        </p:cxnSp>
        <p:cxnSp>
          <p:nvCxnSpPr>
            <p:cNvPr id="45" name="Straight Arrow Connector 38">
              <a:extLst>
                <a:ext uri="{FF2B5EF4-FFF2-40B4-BE49-F238E27FC236}">
                  <a16:creationId xmlns:a16="http://schemas.microsoft.com/office/drawing/2014/main" id="{E84924E1-30F3-B4D8-4B59-5917BB92C128}"/>
                </a:ext>
              </a:extLst>
            </p:cNvPr>
            <p:cNvCxnSpPr/>
            <p:nvPr/>
          </p:nvCxnSpPr>
          <p:spPr>
            <a:xfrm>
              <a:off x="7203149" y="2717413"/>
              <a:ext cx="520700" cy="1587"/>
            </a:xfrm>
            <a:prstGeom prst="straightConnector1">
              <a:avLst/>
            </a:prstGeom>
            <a:noFill/>
            <a:ln w="19050" cap="sq" cmpd="sng" algn="ctr">
              <a:solidFill>
                <a:schemeClr val="bg2"/>
              </a:solidFill>
              <a:prstDash val="solid"/>
              <a:headEnd type="none" w="med" len="med"/>
              <a:tailEnd type="arrow" w="med" len="med"/>
            </a:ln>
            <a:effectLst/>
          </p:spPr>
        </p:cxnSp>
        <p:grpSp>
          <p:nvGrpSpPr>
            <p:cNvPr id="46" name="Group 69">
              <a:extLst>
                <a:ext uri="{FF2B5EF4-FFF2-40B4-BE49-F238E27FC236}">
                  <a16:creationId xmlns:a16="http://schemas.microsoft.com/office/drawing/2014/main" id="{A0CF2E70-5825-8380-5E60-5903AE80B7A7}"/>
                </a:ext>
              </a:extLst>
            </p:cNvPr>
            <p:cNvGrpSpPr/>
            <p:nvPr/>
          </p:nvGrpSpPr>
          <p:grpSpPr>
            <a:xfrm>
              <a:off x="7839168" y="2593472"/>
              <a:ext cx="295751" cy="306705"/>
              <a:chOff x="6198394" y="3212783"/>
              <a:chExt cx="295751" cy="306705"/>
            </a:xfrm>
            <a:solidFill>
              <a:srgbClr val="E74A21"/>
            </a:solidFill>
          </p:grpSpPr>
          <p:sp>
            <p:nvSpPr>
              <p:cNvPr id="123" name="Oval 40">
                <a:extLst>
                  <a:ext uri="{FF2B5EF4-FFF2-40B4-BE49-F238E27FC236}">
                    <a16:creationId xmlns:a16="http://schemas.microsoft.com/office/drawing/2014/main" id="{422F4D01-88CC-CD3C-AD1F-1C1D916E6FAB}"/>
                  </a:ext>
                </a:extLst>
              </p:cNvPr>
              <p:cNvSpPr/>
              <p:nvPr/>
            </p:nvSpPr>
            <p:spPr>
              <a:xfrm>
                <a:off x="6198394" y="3352800"/>
                <a:ext cx="57150" cy="57150"/>
              </a:xfrm>
              <a:prstGeom prst="ellipse">
                <a:avLst/>
              </a:prstGeom>
              <a:grpFill/>
              <a:ln w="6350" cap="sq" cmpd="sng" algn="ctr">
                <a:solidFill>
                  <a:srgbClr val="E74A21">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4" name="Oval 41">
                <a:extLst>
                  <a:ext uri="{FF2B5EF4-FFF2-40B4-BE49-F238E27FC236}">
                    <a16:creationId xmlns:a16="http://schemas.microsoft.com/office/drawing/2014/main" id="{D00B60D4-20CC-DEF8-694C-0BE8C9650F75}"/>
                  </a:ext>
                </a:extLst>
              </p:cNvPr>
              <p:cNvSpPr/>
              <p:nvPr/>
            </p:nvSpPr>
            <p:spPr>
              <a:xfrm>
                <a:off x="6303169" y="3212783"/>
                <a:ext cx="57150" cy="57150"/>
              </a:xfrm>
              <a:prstGeom prst="ellipse">
                <a:avLst/>
              </a:prstGeom>
              <a:grpFill/>
              <a:ln w="6350" cap="sq" cmpd="sng" algn="ctr">
                <a:solidFill>
                  <a:srgbClr val="E74A21">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5" name="Oval 42">
                <a:extLst>
                  <a:ext uri="{FF2B5EF4-FFF2-40B4-BE49-F238E27FC236}">
                    <a16:creationId xmlns:a16="http://schemas.microsoft.com/office/drawing/2014/main" id="{E891F948-F93F-9505-0AD2-6D30FDB63D78}"/>
                  </a:ext>
                </a:extLst>
              </p:cNvPr>
              <p:cNvSpPr/>
              <p:nvPr/>
            </p:nvSpPr>
            <p:spPr>
              <a:xfrm>
                <a:off x="6326981" y="3380900"/>
                <a:ext cx="57150" cy="57150"/>
              </a:xfrm>
              <a:prstGeom prst="ellipse">
                <a:avLst/>
              </a:prstGeom>
              <a:grpFill/>
              <a:ln w="6350" cap="sq" cmpd="sng" algn="ctr">
                <a:solidFill>
                  <a:srgbClr val="E74A21">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6" name="Oval 43">
                <a:extLst>
                  <a:ext uri="{FF2B5EF4-FFF2-40B4-BE49-F238E27FC236}">
                    <a16:creationId xmlns:a16="http://schemas.microsoft.com/office/drawing/2014/main" id="{A183E450-A483-C071-4BBC-1A2ADD517882}"/>
                  </a:ext>
                </a:extLst>
              </p:cNvPr>
              <p:cNvSpPr/>
              <p:nvPr/>
            </p:nvSpPr>
            <p:spPr>
              <a:xfrm>
                <a:off x="6432233" y="3462338"/>
                <a:ext cx="57150" cy="57150"/>
              </a:xfrm>
              <a:prstGeom prst="ellipse">
                <a:avLst/>
              </a:prstGeom>
              <a:grpFill/>
              <a:ln w="6350" cap="sq" cmpd="sng" algn="ctr">
                <a:solidFill>
                  <a:srgbClr val="E74A21">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7" name="Oval 44">
                <a:extLst>
                  <a:ext uri="{FF2B5EF4-FFF2-40B4-BE49-F238E27FC236}">
                    <a16:creationId xmlns:a16="http://schemas.microsoft.com/office/drawing/2014/main" id="{C9E07C0F-2094-8322-7109-A831E898BE70}"/>
                  </a:ext>
                </a:extLst>
              </p:cNvPr>
              <p:cNvSpPr/>
              <p:nvPr/>
            </p:nvSpPr>
            <p:spPr>
              <a:xfrm>
                <a:off x="6436995" y="3256122"/>
                <a:ext cx="57150" cy="57150"/>
              </a:xfrm>
              <a:prstGeom prst="ellipse">
                <a:avLst/>
              </a:prstGeom>
              <a:grpFill/>
              <a:ln w="6350" cap="sq" cmpd="sng" algn="ctr">
                <a:solidFill>
                  <a:srgbClr val="E74A21">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48" name="Group 70">
              <a:extLst>
                <a:ext uri="{FF2B5EF4-FFF2-40B4-BE49-F238E27FC236}">
                  <a16:creationId xmlns:a16="http://schemas.microsoft.com/office/drawing/2014/main" id="{D7207C8D-E61D-BA78-0B41-7EBBCA48AEE7}"/>
                </a:ext>
              </a:extLst>
            </p:cNvPr>
            <p:cNvGrpSpPr/>
            <p:nvPr/>
          </p:nvGrpSpPr>
          <p:grpSpPr>
            <a:xfrm>
              <a:off x="7839168" y="1555247"/>
              <a:ext cx="295751" cy="306705"/>
              <a:chOff x="6198394" y="3212783"/>
              <a:chExt cx="295751" cy="306705"/>
            </a:xfrm>
            <a:solidFill>
              <a:srgbClr val="EC9A1E">
                <a:lumMod val="75000"/>
              </a:srgbClr>
            </a:solidFill>
          </p:grpSpPr>
          <p:sp>
            <p:nvSpPr>
              <p:cNvPr id="118" name="Oval 46">
                <a:extLst>
                  <a:ext uri="{FF2B5EF4-FFF2-40B4-BE49-F238E27FC236}">
                    <a16:creationId xmlns:a16="http://schemas.microsoft.com/office/drawing/2014/main" id="{96C7931F-99DA-E024-80AB-187E8F9AF89C}"/>
                  </a:ext>
                </a:extLst>
              </p:cNvPr>
              <p:cNvSpPr/>
              <p:nvPr/>
            </p:nvSpPr>
            <p:spPr>
              <a:xfrm>
                <a:off x="6198394" y="33528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9" name="Oval 47">
                <a:extLst>
                  <a:ext uri="{FF2B5EF4-FFF2-40B4-BE49-F238E27FC236}">
                    <a16:creationId xmlns:a16="http://schemas.microsoft.com/office/drawing/2014/main" id="{680345D9-D613-8275-2F1D-56B9B37AD344}"/>
                  </a:ext>
                </a:extLst>
              </p:cNvPr>
              <p:cNvSpPr/>
              <p:nvPr/>
            </p:nvSpPr>
            <p:spPr>
              <a:xfrm>
                <a:off x="6303169" y="3212783"/>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0" name="Oval 48">
                <a:extLst>
                  <a:ext uri="{FF2B5EF4-FFF2-40B4-BE49-F238E27FC236}">
                    <a16:creationId xmlns:a16="http://schemas.microsoft.com/office/drawing/2014/main" id="{FDCEABB9-6040-944E-8F3F-F376A498A5A5}"/>
                  </a:ext>
                </a:extLst>
              </p:cNvPr>
              <p:cNvSpPr/>
              <p:nvPr/>
            </p:nvSpPr>
            <p:spPr>
              <a:xfrm>
                <a:off x="6326981" y="33809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1" name="Oval 49">
                <a:extLst>
                  <a:ext uri="{FF2B5EF4-FFF2-40B4-BE49-F238E27FC236}">
                    <a16:creationId xmlns:a16="http://schemas.microsoft.com/office/drawing/2014/main" id="{48122C7E-23DE-0DE3-79A0-169E1C01D7C4}"/>
                  </a:ext>
                </a:extLst>
              </p:cNvPr>
              <p:cNvSpPr/>
              <p:nvPr/>
            </p:nvSpPr>
            <p:spPr>
              <a:xfrm>
                <a:off x="6432233" y="3462338"/>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22" name="Oval 50">
                <a:extLst>
                  <a:ext uri="{FF2B5EF4-FFF2-40B4-BE49-F238E27FC236}">
                    <a16:creationId xmlns:a16="http://schemas.microsoft.com/office/drawing/2014/main" id="{986F1D78-4160-7F5F-3350-8281FBFC2EF4}"/>
                  </a:ext>
                </a:extLst>
              </p:cNvPr>
              <p:cNvSpPr/>
              <p:nvPr/>
            </p:nvSpPr>
            <p:spPr>
              <a:xfrm>
                <a:off x="6436995" y="3256122"/>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49" name="Group 76">
              <a:extLst>
                <a:ext uri="{FF2B5EF4-FFF2-40B4-BE49-F238E27FC236}">
                  <a16:creationId xmlns:a16="http://schemas.microsoft.com/office/drawing/2014/main" id="{C5620EF2-F019-7080-726F-30BB785F76D8}"/>
                </a:ext>
              </a:extLst>
            </p:cNvPr>
            <p:cNvGrpSpPr>
              <a:grpSpLocks/>
            </p:cNvGrpSpPr>
            <p:nvPr/>
          </p:nvGrpSpPr>
          <p:grpSpPr bwMode="auto">
            <a:xfrm>
              <a:off x="7839737" y="3631813"/>
              <a:ext cx="295275" cy="306387"/>
              <a:chOff x="6198394" y="3212783"/>
              <a:chExt cx="295751" cy="306705"/>
            </a:xfrm>
          </p:grpSpPr>
          <p:sp>
            <p:nvSpPr>
              <p:cNvPr id="113" name="Oval 52">
                <a:extLst>
                  <a:ext uri="{FF2B5EF4-FFF2-40B4-BE49-F238E27FC236}">
                    <a16:creationId xmlns:a16="http://schemas.microsoft.com/office/drawing/2014/main" id="{9B60B493-53AD-7E7A-13B3-97FD933D774B}"/>
                  </a:ext>
                </a:extLst>
              </p:cNvPr>
              <p:cNvSpPr/>
              <p:nvPr/>
            </p:nvSpPr>
            <p:spPr>
              <a:xfrm>
                <a:off x="6198394" y="3352628"/>
                <a:ext cx="57242" cy="57209"/>
              </a:xfrm>
              <a:prstGeom prst="ellipse">
                <a:avLst/>
              </a:prstGeom>
              <a:solidFill>
                <a:srgbClr val="0460A9"/>
              </a:solidFill>
              <a:ln w="6350" cap="sq" cmpd="sng" algn="ctr">
                <a:solidFill>
                  <a:srgbClr val="0460A9">
                    <a:shade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4" name="Oval 53">
                <a:extLst>
                  <a:ext uri="{FF2B5EF4-FFF2-40B4-BE49-F238E27FC236}">
                    <a16:creationId xmlns:a16="http://schemas.microsoft.com/office/drawing/2014/main" id="{A5ED4A05-6C27-4726-F8F1-A8B9D559160C}"/>
                  </a:ext>
                </a:extLst>
              </p:cNvPr>
              <p:cNvSpPr/>
              <p:nvPr/>
            </p:nvSpPr>
            <p:spPr>
              <a:xfrm>
                <a:off x="6303338" y="3212783"/>
                <a:ext cx="57242" cy="57209"/>
              </a:xfrm>
              <a:prstGeom prst="ellipse">
                <a:avLst/>
              </a:prstGeom>
              <a:solidFill>
                <a:srgbClr val="0460A9"/>
              </a:solidFill>
              <a:ln w="6350" cap="sq" cmpd="sng" algn="ctr">
                <a:solidFill>
                  <a:srgbClr val="0460A9">
                    <a:shade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5" name="Oval 54">
                <a:extLst>
                  <a:ext uri="{FF2B5EF4-FFF2-40B4-BE49-F238E27FC236}">
                    <a16:creationId xmlns:a16="http://schemas.microsoft.com/office/drawing/2014/main" id="{BD4252B0-705B-405C-94D5-A41C18F3BCB1}"/>
                  </a:ext>
                </a:extLst>
              </p:cNvPr>
              <p:cNvSpPr/>
              <p:nvPr/>
            </p:nvSpPr>
            <p:spPr>
              <a:xfrm>
                <a:off x="6327189" y="3381233"/>
                <a:ext cx="57242" cy="57209"/>
              </a:xfrm>
              <a:prstGeom prst="ellipse">
                <a:avLst/>
              </a:prstGeom>
              <a:solidFill>
                <a:srgbClr val="0460A9"/>
              </a:solidFill>
              <a:ln w="6350" cap="sq" cmpd="sng" algn="ctr">
                <a:solidFill>
                  <a:srgbClr val="0460A9">
                    <a:shade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6" name="Oval 55">
                <a:extLst>
                  <a:ext uri="{FF2B5EF4-FFF2-40B4-BE49-F238E27FC236}">
                    <a16:creationId xmlns:a16="http://schemas.microsoft.com/office/drawing/2014/main" id="{E59B8D99-E327-10D0-B5F6-A897EE34B19B}"/>
                  </a:ext>
                </a:extLst>
              </p:cNvPr>
              <p:cNvSpPr/>
              <p:nvPr/>
            </p:nvSpPr>
            <p:spPr>
              <a:xfrm>
                <a:off x="6432133" y="3462279"/>
                <a:ext cx="57242" cy="57209"/>
              </a:xfrm>
              <a:prstGeom prst="ellipse">
                <a:avLst/>
              </a:prstGeom>
              <a:solidFill>
                <a:srgbClr val="0460A9"/>
              </a:solidFill>
              <a:ln w="6350" cap="sq" cmpd="sng" algn="ctr">
                <a:solidFill>
                  <a:srgbClr val="0460A9">
                    <a:shade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7" name="Oval 56">
                <a:extLst>
                  <a:ext uri="{FF2B5EF4-FFF2-40B4-BE49-F238E27FC236}">
                    <a16:creationId xmlns:a16="http://schemas.microsoft.com/office/drawing/2014/main" id="{45903483-AF71-A6E1-364B-EFEC2FC36BF1}"/>
                  </a:ext>
                </a:extLst>
              </p:cNvPr>
              <p:cNvSpPr/>
              <p:nvPr/>
            </p:nvSpPr>
            <p:spPr>
              <a:xfrm>
                <a:off x="6436903" y="3255689"/>
                <a:ext cx="57242" cy="57209"/>
              </a:xfrm>
              <a:prstGeom prst="ellipse">
                <a:avLst/>
              </a:prstGeom>
              <a:solidFill>
                <a:srgbClr val="0460A9"/>
              </a:solidFill>
              <a:ln w="6350" cap="sq" cmpd="sng" algn="ctr">
                <a:solidFill>
                  <a:srgbClr val="0460A9">
                    <a:shade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50" name="Group 82">
              <a:extLst>
                <a:ext uri="{FF2B5EF4-FFF2-40B4-BE49-F238E27FC236}">
                  <a16:creationId xmlns:a16="http://schemas.microsoft.com/office/drawing/2014/main" id="{C6E7479A-EF59-DD01-2F18-3870B859B477}"/>
                </a:ext>
              </a:extLst>
            </p:cNvPr>
            <p:cNvGrpSpPr/>
            <p:nvPr/>
          </p:nvGrpSpPr>
          <p:grpSpPr>
            <a:xfrm>
              <a:off x="7839168" y="4679447"/>
              <a:ext cx="295751" cy="306705"/>
              <a:chOff x="6198394" y="3212783"/>
              <a:chExt cx="295751" cy="306705"/>
            </a:xfrm>
            <a:solidFill>
              <a:schemeClr val="accent1"/>
            </a:solidFill>
          </p:grpSpPr>
          <p:sp>
            <p:nvSpPr>
              <p:cNvPr id="108" name="Oval 58">
                <a:extLst>
                  <a:ext uri="{FF2B5EF4-FFF2-40B4-BE49-F238E27FC236}">
                    <a16:creationId xmlns:a16="http://schemas.microsoft.com/office/drawing/2014/main" id="{049BD19B-5D00-FD9D-8802-F24D7B8CEE39}"/>
                  </a:ext>
                </a:extLst>
              </p:cNvPr>
              <p:cNvSpPr/>
              <p:nvPr/>
            </p:nvSpPr>
            <p:spPr>
              <a:xfrm>
                <a:off x="6198394" y="3352800"/>
                <a:ext cx="57150" cy="57150"/>
              </a:xfrm>
              <a:prstGeom prst="ellipse">
                <a:avLst/>
              </a:prstGeom>
              <a:grpFill/>
              <a:ln w="6350" cap="sq" cmpd="sng" algn="ctr">
                <a:solidFill>
                  <a:srgbClr val="8D1F1B">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09" name="Oval 59">
                <a:extLst>
                  <a:ext uri="{FF2B5EF4-FFF2-40B4-BE49-F238E27FC236}">
                    <a16:creationId xmlns:a16="http://schemas.microsoft.com/office/drawing/2014/main" id="{8ECA5FDD-3761-57BB-AABA-F2B2E4FAE188}"/>
                  </a:ext>
                </a:extLst>
              </p:cNvPr>
              <p:cNvSpPr/>
              <p:nvPr/>
            </p:nvSpPr>
            <p:spPr>
              <a:xfrm>
                <a:off x="6303169" y="3212783"/>
                <a:ext cx="57150" cy="57150"/>
              </a:xfrm>
              <a:prstGeom prst="ellipse">
                <a:avLst/>
              </a:prstGeom>
              <a:grpFill/>
              <a:ln w="6350" cap="sq" cmpd="sng" algn="ctr">
                <a:solidFill>
                  <a:srgbClr val="8D1F1B">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0" name="Oval 60">
                <a:extLst>
                  <a:ext uri="{FF2B5EF4-FFF2-40B4-BE49-F238E27FC236}">
                    <a16:creationId xmlns:a16="http://schemas.microsoft.com/office/drawing/2014/main" id="{2B9CA950-B890-F452-D21D-5FB79F64D55D}"/>
                  </a:ext>
                </a:extLst>
              </p:cNvPr>
              <p:cNvSpPr/>
              <p:nvPr/>
            </p:nvSpPr>
            <p:spPr>
              <a:xfrm>
                <a:off x="6326981" y="3380900"/>
                <a:ext cx="57150" cy="57150"/>
              </a:xfrm>
              <a:prstGeom prst="ellipse">
                <a:avLst/>
              </a:prstGeom>
              <a:grpFill/>
              <a:ln w="6350" cap="sq" cmpd="sng" algn="ctr">
                <a:solidFill>
                  <a:srgbClr val="8D1F1B">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1" name="Oval 61">
                <a:extLst>
                  <a:ext uri="{FF2B5EF4-FFF2-40B4-BE49-F238E27FC236}">
                    <a16:creationId xmlns:a16="http://schemas.microsoft.com/office/drawing/2014/main" id="{4EA98551-85D0-1FC3-625C-1E587B5D1077}"/>
                  </a:ext>
                </a:extLst>
              </p:cNvPr>
              <p:cNvSpPr/>
              <p:nvPr/>
            </p:nvSpPr>
            <p:spPr>
              <a:xfrm>
                <a:off x="6432233" y="3462338"/>
                <a:ext cx="57150" cy="57150"/>
              </a:xfrm>
              <a:prstGeom prst="ellipse">
                <a:avLst/>
              </a:prstGeom>
              <a:grpFill/>
              <a:ln w="6350" cap="sq" cmpd="sng" algn="ctr">
                <a:solidFill>
                  <a:srgbClr val="8D1F1B">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12" name="Oval 62">
                <a:extLst>
                  <a:ext uri="{FF2B5EF4-FFF2-40B4-BE49-F238E27FC236}">
                    <a16:creationId xmlns:a16="http://schemas.microsoft.com/office/drawing/2014/main" id="{933011AB-FCAF-81CA-E2DB-25621F5208FF}"/>
                  </a:ext>
                </a:extLst>
              </p:cNvPr>
              <p:cNvSpPr/>
              <p:nvPr/>
            </p:nvSpPr>
            <p:spPr>
              <a:xfrm>
                <a:off x="6436995" y="3256122"/>
                <a:ext cx="57150" cy="57150"/>
              </a:xfrm>
              <a:prstGeom prst="ellipse">
                <a:avLst/>
              </a:prstGeom>
              <a:grpFill/>
              <a:ln w="6350" cap="sq" cmpd="sng" algn="ctr">
                <a:solidFill>
                  <a:srgbClr val="8D1F1B">
                    <a:lumMod val="75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pic>
          <p:nvPicPr>
            <p:cNvPr id="51" name="Picture 90" descr="Antibody-Structure-generic.gif">
              <a:extLst>
                <a:ext uri="{FF2B5EF4-FFF2-40B4-BE49-F238E27FC236}">
                  <a16:creationId xmlns:a16="http://schemas.microsoft.com/office/drawing/2014/main" id="{62B5E136-2001-1EF2-D308-F44AF69B571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031793">
              <a:off x="7014237" y="2882512"/>
              <a:ext cx="169863"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 name="Group 32">
              <a:extLst>
                <a:ext uri="{FF2B5EF4-FFF2-40B4-BE49-F238E27FC236}">
                  <a16:creationId xmlns:a16="http://schemas.microsoft.com/office/drawing/2014/main" id="{36AD972A-C9F0-3E02-4430-2CB619D9177E}"/>
                </a:ext>
              </a:extLst>
            </p:cNvPr>
            <p:cNvGrpSpPr>
              <a:grpSpLocks/>
            </p:cNvGrpSpPr>
            <p:nvPr/>
          </p:nvGrpSpPr>
          <p:grpSpPr bwMode="auto">
            <a:xfrm>
              <a:off x="6533224" y="5078024"/>
              <a:ext cx="436562" cy="166688"/>
              <a:chOff x="4945279" y="5285305"/>
              <a:chExt cx="415355" cy="151230"/>
            </a:xfrm>
          </p:grpSpPr>
          <p:pic>
            <p:nvPicPr>
              <p:cNvPr id="106" name="Picture 88" descr="Antibody-Structure-generic.gif">
                <a:extLst>
                  <a:ext uri="{FF2B5EF4-FFF2-40B4-BE49-F238E27FC236}">
                    <a16:creationId xmlns:a16="http://schemas.microsoft.com/office/drawing/2014/main" id="{41D9C361-0C2E-FF1C-CF1E-DCE2361D18E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9031793">
                <a:off x="5240547" y="5285305"/>
                <a:ext cx="120087" cy="15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92" descr="Antibody-Structure-generic.gif">
                <a:extLst>
                  <a:ext uri="{FF2B5EF4-FFF2-40B4-BE49-F238E27FC236}">
                    <a16:creationId xmlns:a16="http://schemas.microsoft.com/office/drawing/2014/main" id="{00EBE825-33C3-7E93-7BDE-B003CAE2376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9000000">
                <a:off x="4945279" y="5285305"/>
                <a:ext cx="120087" cy="15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3" name="Group 31">
              <a:extLst>
                <a:ext uri="{FF2B5EF4-FFF2-40B4-BE49-F238E27FC236}">
                  <a16:creationId xmlns:a16="http://schemas.microsoft.com/office/drawing/2014/main" id="{CBE44A42-BF1B-95B4-7BB3-53D9F2995D4C}"/>
                </a:ext>
              </a:extLst>
            </p:cNvPr>
            <p:cNvGrpSpPr>
              <a:grpSpLocks/>
            </p:cNvGrpSpPr>
            <p:nvPr/>
          </p:nvGrpSpPr>
          <p:grpSpPr bwMode="auto">
            <a:xfrm>
              <a:off x="6587199" y="3947724"/>
              <a:ext cx="436562" cy="166688"/>
              <a:chOff x="4945279" y="4169193"/>
              <a:chExt cx="415355" cy="151230"/>
            </a:xfrm>
          </p:grpSpPr>
          <p:pic>
            <p:nvPicPr>
              <p:cNvPr id="104" name="Picture 89" descr="Antibody-Structure-generic.gif">
                <a:extLst>
                  <a:ext uri="{FF2B5EF4-FFF2-40B4-BE49-F238E27FC236}">
                    <a16:creationId xmlns:a16="http://schemas.microsoft.com/office/drawing/2014/main" id="{626D83BD-D6C2-232D-0646-28229131000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9031793">
                <a:off x="5240547" y="4169193"/>
                <a:ext cx="120087" cy="15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93" descr="Antibody-Structure-generic.gif">
                <a:extLst>
                  <a:ext uri="{FF2B5EF4-FFF2-40B4-BE49-F238E27FC236}">
                    <a16:creationId xmlns:a16="http://schemas.microsoft.com/office/drawing/2014/main" id="{CFA95353-5B8E-8E83-00A8-94C64799EB8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9000000">
                <a:off x="4945279" y="4169193"/>
                <a:ext cx="120087" cy="15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4" name="Picture 91" descr="Antibody-Structure-generic.gif">
              <a:extLst>
                <a:ext uri="{FF2B5EF4-FFF2-40B4-BE49-F238E27FC236}">
                  <a16:creationId xmlns:a16="http://schemas.microsoft.com/office/drawing/2014/main" id="{B43145BA-C1F5-AD4F-B77C-98D9ED8CBC9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9031793">
              <a:off x="6918986" y="1898263"/>
              <a:ext cx="127000" cy="16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95" descr="Antibody-Structure-generic.gif">
              <a:extLst>
                <a:ext uri="{FF2B5EF4-FFF2-40B4-BE49-F238E27FC236}">
                  <a16:creationId xmlns:a16="http://schemas.microsoft.com/office/drawing/2014/main" id="{C24BFCBA-ABA6-022B-1A44-B532CFA7EF9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2600000">
              <a:off x="6609424" y="1890324"/>
              <a:ext cx="127000"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98">
              <a:extLst>
                <a:ext uri="{FF2B5EF4-FFF2-40B4-BE49-F238E27FC236}">
                  <a16:creationId xmlns:a16="http://schemas.microsoft.com/office/drawing/2014/main" id="{AE347805-987A-5DF4-02B8-0FA4F92E57F1}"/>
                </a:ext>
              </a:extLst>
            </p:cNvPr>
            <p:cNvSpPr txBox="1">
              <a:spLocks noChangeArrowheads="1"/>
            </p:cNvSpPr>
            <p:nvPr/>
          </p:nvSpPr>
          <p:spPr bwMode="auto">
            <a:xfrm>
              <a:off x="1285581" y="2032362"/>
              <a:ext cx="15017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dirty="0" err="1">
                  <a:ln>
                    <a:noFill/>
                  </a:ln>
                  <a:solidFill>
                    <a:schemeClr val="tx2"/>
                  </a:solidFill>
                  <a:effectLst/>
                  <a:uLnTx/>
                  <a:uFillTx/>
                  <a:latin typeface="+mj-lt"/>
                  <a:ea typeface="+mn-ea"/>
                  <a:cs typeface="Arial" pitchFamily="34" charset="0"/>
                </a:rPr>
                <a:t>Células</a:t>
              </a:r>
              <a:r>
                <a:rPr kumimoji="0" lang="en-US" altLang="en-US" sz="1400" b="1" i="0" u="none" strike="noStrike" kern="0" cap="none" spc="0" normalizeH="0" baseline="0" noProof="0" dirty="0">
                  <a:ln>
                    <a:noFill/>
                  </a:ln>
                  <a:solidFill>
                    <a:schemeClr val="tx2"/>
                  </a:solidFill>
                  <a:effectLst/>
                  <a:uLnTx/>
                  <a:uFillTx/>
                  <a:latin typeface="+mj-lt"/>
                  <a:ea typeface="+mn-ea"/>
                  <a:cs typeface="Arial" pitchFamily="34" charset="0"/>
                </a:rPr>
                <a:t> </a:t>
              </a:r>
              <a:r>
                <a:rPr kumimoji="0" lang="en-US" altLang="en-US" sz="1400" b="1" i="0" u="none" strike="noStrike" kern="0" cap="none" spc="0" normalizeH="0" baseline="0" noProof="0" dirty="0" err="1">
                  <a:ln>
                    <a:noFill/>
                  </a:ln>
                  <a:solidFill>
                    <a:schemeClr val="tx2"/>
                  </a:solidFill>
                  <a:effectLst/>
                  <a:uLnTx/>
                  <a:uFillTx/>
                  <a:latin typeface="+mj-lt"/>
                  <a:ea typeface="+mn-ea"/>
                  <a:cs typeface="Arial" pitchFamily="34" charset="0"/>
                </a:rPr>
                <a:t>dendríticas</a:t>
              </a:r>
              <a:endParaRPr kumimoji="0" lang="en-US" altLang="en-US" sz="1400" b="1" i="0" u="none" strike="noStrike" kern="0" cap="none" spc="0" normalizeH="0" baseline="0" noProof="0" dirty="0">
                <a:ln>
                  <a:noFill/>
                </a:ln>
                <a:solidFill>
                  <a:schemeClr val="tx2"/>
                </a:solidFill>
                <a:effectLst/>
                <a:uLnTx/>
                <a:uFillTx/>
                <a:latin typeface="+mj-lt"/>
                <a:ea typeface="+mn-ea"/>
                <a:cs typeface="Arial" pitchFamily="34" charset="0"/>
              </a:endParaRPr>
            </a:p>
          </p:txBody>
        </p:sp>
        <p:cxnSp>
          <p:nvCxnSpPr>
            <p:cNvPr id="59" name="Straight Connector 74">
              <a:extLst>
                <a:ext uri="{FF2B5EF4-FFF2-40B4-BE49-F238E27FC236}">
                  <a16:creationId xmlns:a16="http://schemas.microsoft.com/office/drawing/2014/main" id="{B4269542-92DC-8297-DE7E-FC905F31AFCB}"/>
                </a:ext>
              </a:extLst>
            </p:cNvPr>
            <p:cNvCxnSpPr>
              <a:cxnSpLocks/>
            </p:cNvCxnSpPr>
            <p:nvPr/>
          </p:nvCxnSpPr>
          <p:spPr>
            <a:xfrm>
              <a:off x="3776801" y="3611570"/>
              <a:ext cx="411891" cy="0"/>
            </a:xfrm>
            <a:prstGeom prst="line">
              <a:avLst/>
            </a:prstGeom>
            <a:noFill/>
            <a:ln w="19050" cap="sq" cmpd="sng" algn="ctr">
              <a:solidFill>
                <a:schemeClr val="tx1">
                  <a:lumMod val="75000"/>
                </a:schemeClr>
              </a:solidFill>
              <a:prstDash val="solid"/>
            </a:ln>
            <a:effectLst/>
          </p:spPr>
        </p:cxnSp>
        <p:cxnSp>
          <p:nvCxnSpPr>
            <p:cNvPr id="60" name="Straight Arrow Connector 75">
              <a:extLst>
                <a:ext uri="{FF2B5EF4-FFF2-40B4-BE49-F238E27FC236}">
                  <a16:creationId xmlns:a16="http://schemas.microsoft.com/office/drawing/2014/main" id="{6BD21240-48F5-FFAB-FE7D-5D31DE6ED1B8}"/>
                </a:ext>
              </a:extLst>
            </p:cNvPr>
            <p:cNvCxnSpPr/>
            <p:nvPr/>
          </p:nvCxnSpPr>
          <p:spPr>
            <a:xfrm>
              <a:off x="7203149" y="5716199"/>
              <a:ext cx="520700" cy="1588"/>
            </a:xfrm>
            <a:prstGeom prst="straightConnector1">
              <a:avLst/>
            </a:prstGeom>
            <a:noFill/>
            <a:ln w="19050" cap="sq" cmpd="sng" algn="ctr">
              <a:solidFill>
                <a:srgbClr val="404040"/>
              </a:solidFill>
              <a:prstDash val="sysDot"/>
              <a:headEnd type="none" w="med" len="med"/>
              <a:tailEnd type="arrow" w="med" len="med"/>
            </a:ln>
            <a:effectLst/>
          </p:spPr>
        </p:cxnSp>
        <p:grpSp>
          <p:nvGrpSpPr>
            <p:cNvPr id="61" name="Group 76">
              <a:extLst>
                <a:ext uri="{FF2B5EF4-FFF2-40B4-BE49-F238E27FC236}">
                  <a16:creationId xmlns:a16="http://schemas.microsoft.com/office/drawing/2014/main" id="{D568A09E-B2A7-E418-F909-88792214D408}"/>
                </a:ext>
              </a:extLst>
            </p:cNvPr>
            <p:cNvGrpSpPr/>
            <p:nvPr/>
          </p:nvGrpSpPr>
          <p:grpSpPr>
            <a:xfrm>
              <a:off x="7839168" y="5589451"/>
              <a:ext cx="295751" cy="306705"/>
              <a:chOff x="6198394" y="3212783"/>
              <a:chExt cx="295751" cy="306705"/>
            </a:xfrm>
            <a:solidFill>
              <a:schemeClr val="bg1">
                <a:lumMod val="75000"/>
              </a:schemeClr>
            </a:solidFill>
          </p:grpSpPr>
          <p:sp>
            <p:nvSpPr>
              <p:cNvPr id="99" name="Oval 77">
                <a:extLst>
                  <a:ext uri="{FF2B5EF4-FFF2-40B4-BE49-F238E27FC236}">
                    <a16:creationId xmlns:a16="http://schemas.microsoft.com/office/drawing/2014/main" id="{CD5D4D54-C8CC-176A-85CC-8211E8D7074F}"/>
                  </a:ext>
                </a:extLst>
              </p:cNvPr>
              <p:cNvSpPr/>
              <p:nvPr/>
            </p:nvSpPr>
            <p:spPr>
              <a:xfrm>
                <a:off x="6198394" y="3352800"/>
                <a:ext cx="57150" cy="57150"/>
              </a:xfrm>
              <a:prstGeom prst="ellipse">
                <a:avLst/>
              </a:prstGeom>
              <a:grpFill/>
              <a:ln w="6350" cap="sq" cmpd="sng" algn="ctr">
                <a:solidFill>
                  <a:srgbClr val="404040"/>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00" name="Oval 78">
                <a:extLst>
                  <a:ext uri="{FF2B5EF4-FFF2-40B4-BE49-F238E27FC236}">
                    <a16:creationId xmlns:a16="http://schemas.microsoft.com/office/drawing/2014/main" id="{A87FA3C8-922B-2920-7EFC-41C920B3C42D}"/>
                  </a:ext>
                </a:extLst>
              </p:cNvPr>
              <p:cNvSpPr/>
              <p:nvPr/>
            </p:nvSpPr>
            <p:spPr>
              <a:xfrm>
                <a:off x="6303169" y="3212783"/>
                <a:ext cx="57150" cy="57150"/>
              </a:xfrm>
              <a:prstGeom prst="ellipse">
                <a:avLst/>
              </a:prstGeom>
              <a:grpFill/>
              <a:ln w="6350" cap="sq" cmpd="sng" algn="ctr">
                <a:solidFill>
                  <a:srgbClr val="404040"/>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01" name="Oval 79">
                <a:extLst>
                  <a:ext uri="{FF2B5EF4-FFF2-40B4-BE49-F238E27FC236}">
                    <a16:creationId xmlns:a16="http://schemas.microsoft.com/office/drawing/2014/main" id="{B3FA6853-5345-115E-77E4-2A9EA66F4EE2}"/>
                  </a:ext>
                </a:extLst>
              </p:cNvPr>
              <p:cNvSpPr/>
              <p:nvPr/>
            </p:nvSpPr>
            <p:spPr>
              <a:xfrm>
                <a:off x="6326981" y="3380900"/>
                <a:ext cx="57150" cy="57150"/>
              </a:xfrm>
              <a:prstGeom prst="ellipse">
                <a:avLst/>
              </a:prstGeom>
              <a:grpFill/>
              <a:ln w="6350" cap="sq" cmpd="sng" algn="ctr">
                <a:solidFill>
                  <a:srgbClr val="404040"/>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02" name="Oval 80">
                <a:extLst>
                  <a:ext uri="{FF2B5EF4-FFF2-40B4-BE49-F238E27FC236}">
                    <a16:creationId xmlns:a16="http://schemas.microsoft.com/office/drawing/2014/main" id="{B399AC11-FB37-C18D-2D95-FFB82B0A9236}"/>
                  </a:ext>
                </a:extLst>
              </p:cNvPr>
              <p:cNvSpPr/>
              <p:nvPr/>
            </p:nvSpPr>
            <p:spPr>
              <a:xfrm>
                <a:off x="6432233" y="3462338"/>
                <a:ext cx="57150" cy="57150"/>
              </a:xfrm>
              <a:prstGeom prst="ellipse">
                <a:avLst/>
              </a:prstGeom>
              <a:grpFill/>
              <a:ln w="6350" cap="sq" cmpd="sng" algn="ctr">
                <a:solidFill>
                  <a:srgbClr val="404040"/>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103" name="Oval 81">
                <a:extLst>
                  <a:ext uri="{FF2B5EF4-FFF2-40B4-BE49-F238E27FC236}">
                    <a16:creationId xmlns:a16="http://schemas.microsoft.com/office/drawing/2014/main" id="{9983606D-8D20-83D7-A9CB-4AF981922757}"/>
                  </a:ext>
                </a:extLst>
              </p:cNvPr>
              <p:cNvSpPr/>
              <p:nvPr/>
            </p:nvSpPr>
            <p:spPr>
              <a:xfrm>
                <a:off x="6436995" y="3256122"/>
                <a:ext cx="57150" cy="57150"/>
              </a:xfrm>
              <a:prstGeom prst="ellipse">
                <a:avLst/>
              </a:prstGeom>
              <a:grpFill/>
              <a:ln w="6350" cap="sq" cmpd="sng" algn="ctr">
                <a:solidFill>
                  <a:srgbClr val="404040"/>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62" name="Group 70">
              <a:extLst>
                <a:ext uri="{FF2B5EF4-FFF2-40B4-BE49-F238E27FC236}">
                  <a16:creationId xmlns:a16="http://schemas.microsoft.com/office/drawing/2014/main" id="{A44D9C6F-4F63-F31A-A264-25C0F025027F}"/>
                </a:ext>
              </a:extLst>
            </p:cNvPr>
            <p:cNvGrpSpPr/>
            <p:nvPr/>
          </p:nvGrpSpPr>
          <p:grpSpPr>
            <a:xfrm>
              <a:off x="5146768" y="1250447"/>
              <a:ext cx="295751" cy="306705"/>
              <a:chOff x="6198394" y="3212783"/>
              <a:chExt cx="295751" cy="306705"/>
            </a:xfrm>
            <a:solidFill>
              <a:srgbClr val="0460A9">
                <a:lumMod val="50000"/>
              </a:srgbClr>
            </a:solidFill>
          </p:grpSpPr>
          <p:sp>
            <p:nvSpPr>
              <p:cNvPr id="94" name="Oval 83">
                <a:extLst>
                  <a:ext uri="{FF2B5EF4-FFF2-40B4-BE49-F238E27FC236}">
                    <a16:creationId xmlns:a16="http://schemas.microsoft.com/office/drawing/2014/main" id="{6AA73F49-F3D9-C9A3-9E75-D5242D068085}"/>
                  </a:ext>
                </a:extLst>
              </p:cNvPr>
              <p:cNvSpPr/>
              <p:nvPr/>
            </p:nvSpPr>
            <p:spPr>
              <a:xfrm>
                <a:off x="6198394" y="33528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5" name="Oval 84">
                <a:extLst>
                  <a:ext uri="{FF2B5EF4-FFF2-40B4-BE49-F238E27FC236}">
                    <a16:creationId xmlns:a16="http://schemas.microsoft.com/office/drawing/2014/main" id="{6FB2FB4E-548A-9127-534A-446C30F428BD}"/>
                  </a:ext>
                </a:extLst>
              </p:cNvPr>
              <p:cNvSpPr/>
              <p:nvPr/>
            </p:nvSpPr>
            <p:spPr>
              <a:xfrm>
                <a:off x="6303169" y="3212783"/>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6" name="Oval 85">
                <a:extLst>
                  <a:ext uri="{FF2B5EF4-FFF2-40B4-BE49-F238E27FC236}">
                    <a16:creationId xmlns:a16="http://schemas.microsoft.com/office/drawing/2014/main" id="{7EA612A0-6059-F390-2FCF-9024686CCDA6}"/>
                  </a:ext>
                </a:extLst>
              </p:cNvPr>
              <p:cNvSpPr/>
              <p:nvPr/>
            </p:nvSpPr>
            <p:spPr>
              <a:xfrm>
                <a:off x="6326981" y="33809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7" name="Oval 86">
                <a:extLst>
                  <a:ext uri="{FF2B5EF4-FFF2-40B4-BE49-F238E27FC236}">
                    <a16:creationId xmlns:a16="http://schemas.microsoft.com/office/drawing/2014/main" id="{5A429E9B-808C-AAD0-2EB5-D5049594DE55}"/>
                  </a:ext>
                </a:extLst>
              </p:cNvPr>
              <p:cNvSpPr/>
              <p:nvPr/>
            </p:nvSpPr>
            <p:spPr>
              <a:xfrm>
                <a:off x="6432233" y="3462338"/>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8" name="Oval 87">
                <a:extLst>
                  <a:ext uri="{FF2B5EF4-FFF2-40B4-BE49-F238E27FC236}">
                    <a16:creationId xmlns:a16="http://schemas.microsoft.com/office/drawing/2014/main" id="{E9E8810F-182B-87EC-23F0-62737448FBD3}"/>
                  </a:ext>
                </a:extLst>
              </p:cNvPr>
              <p:cNvSpPr/>
              <p:nvPr/>
            </p:nvSpPr>
            <p:spPr>
              <a:xfrm>
                <a:off x="6436995" y="3256122"/>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63" name="Group 70">
              <a:extLst>
                <a:ext uri="{FF2B5EF4-FFF2-40B4-BE49-F238E27FC236}">
                  <a16:creationId xmlns:a16="http://schemas.microsoft.com/office/drawing/2014/main" id="{22BC9692-20D8-3BED-48D2-C278A979E94B}"/>
                </a:ext>
              </a:extLst>
            </p:cNvPr>
            <p:cNvGrpSpPr/>
            <p:nvPr/>
          </p:nvGrpSpPr>
          <p:grpSpPr>
            <a:xfrm>
              <a:off x="5172168" y="2279147"/>
              <a:ext cx="295751" cy="306705"/>
              <a:chOff x="6198394" y="3212783"/>
              <a:chExt cx="295751" cy="306705"/>
            </a:xfrm>
            <a:solidFill>
              <a:srgbClr val="0460A9">
                <a:lumMod val="50000"/>
              </a:srgbClr>
            </a:solidFill>
          </p:grpSpPr>
          <p:sp>
            <p:nvSpPr>
              <p:cNvPr id="89" name="Oval 89">
                <a:extLst>
                  <a:ext uri="{FF2B5EF4-FFF2-40B4-BE49-F238E27FC236}">
                    <a16:creationId xmlns:a16="http://schemas.microsoft.com/office/drawing/2014/main" id="{2E91C597-2845-BD76-A9A0-624D0471FCA2}"/>
                  </a:ext>
                </a:extLst>
              </p:cNvPr>
              <p:cNvSpPr/>
              <p:nvPr/>
            </p:nvSpPr>
            <p:spPr>
              <a:xfrm>
                <a:off x="6198394" y="33528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0" name="Oval 90">
                <a:extLst>
                  <a:ext uri="{FF2B5EF4-FFF2-40B4-BE49-F238E27FC236}">
                    <a16:creationId xmlns:a16="http://schemas.microsoft.com/office/drawing/2014/main" id="{25AF2C14-7801-8E3E-B72A-FAE27F4836E2}"/>
                  </a:ext>
                </a:extLst>
              </p:cNvPr>
              <p:cNvSpPr/>
              <p:nvPr/>
            </p:nvSpPr>
            <p:spPr>
              <a:xfrm>
                <a:off x="6303169" y="3212783"/>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1" name="Oval 91">
                <a:extLst>
                  <a:ext uri="{FF2B5EF4-FFF2-40B4-BE49-F238E27FC236}">
                    <a16:creationId xmlns:a16="http://schemas.microsoft.com/office/drawing/2014/main" id="{247644C0-3A5B-1A5C-2530-E16A7C0FAF4A}"/>
                  </a:ext>
                </a:extLst>
              </p:cNvPr>
              <p:cNvSpPr/>
              <p:nvPr/>
            </p:nvSpPr>
            <p:spPr>
              <a:xfrm>
                <a:off x="6326981" y="33809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2" name="Oval 92">
                <a:extLst>
                  <a:ext uri="{FF2B5EF4-FFF2-40B4-BE49-F238E27FC236}">
                    <a16:creationId xmlns:a16="http://schemas.microsoft.com/office/drawing/2014/main" id="{9A2FFA56-EBDD-2978-2CE6-F7D557ECB2EE}"/>
                  </a:ext>
                </a:extLst>
              </p:cNvPr>
              <p:cNvSpPr/>
              <p:nvPr/>
            </p:nvSpPr>
            <p:spPr>
              <a:xfrm>
                <a:off x="6432233" y="3462338"/>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93" name="Oval 93">
                <a:extLst>
                  <a:ext uri="{FF2B5EF4-FFF2-40B4-BE49-F238E27FC236}">
                    <a16:creationId xmlns:a16="http://schemas.microsoft.com/office/drawing/2014/main" id="{E8C6FA93-50F3-FEA5-23B8-52C95E63C3F9}"/>
                  </a:ext>
                </a:extLst>
              </p:cNvPr>
              <p:cNvSpPr/>
              <p:nvPr/>
            </p:nvSpPr>
            <p:spPr>
              <a:xfrm>
                <a:off x="6436995" y="3256122"/>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64" name="Group 70">
              <a:extLst>
                <a:ext uri="{FF2B5EF4-FFF2-40B4-BE49-F238E27FC236}">
                  <a16:creationId xmlns:a16="http://schemas.microsoft.com/office/drawing/2014/main" id="{6EB3A134-2BEF-4142-C48C-B727C3ECE192}"/>
                </a:ext>
              </a:extLst>
            </p:cNvPr>
            <p:cNvGrpSpPr/>
            <p:nvPr/>
          </p:nvGrpSpPr>
          <p:grpSpPr>
            <a:xfrm>
              <a:off x="5426168" y="3295147"/>
              <a:ext cx="295751" cy="306705"/>
              <a:chOff x="6198394" y="3212783"/>
              <a:chExt cx="295751" cy="306705"/>
            </a:xfrm>
            <a:solidFill>
              <a:srgbClr val="EC9A1E">
                <a:lumMod val="75000"/>
              </a:srgbClr>
            </a:solidFill>
          </p:grpSpPr>
          <p:sp>
            <p:nvSpPr>
              <p:cNvPr id="84" name="Oval 95">
                <a:extLst>
                  <a:ext uri="{FF2B5EF4-FFF2-40B4-BE49-F238E27FC236}">
                    <a16:creationId xmlns:a16="http://schemas.microsoft.com/office/drawing/2014/main" id="{F9BAD001-E976-CDA3-6B5D-B71FEDDEA2D4}"/>
                  </a:ext>
                </a:extLst>
              </p:cNvPr>
              <p:cNvSpPr/>
              <p:nvPr/>
            </p:nvSpPr>
            <p:spPr>
              <a:xfrm>
                <a:off x="6198394" y="33528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5" name="Oval 96">
                <a:extLst>
                  <a:ext uri="{FF2B5EF4-FFF2-40B4-BE49-F238E27FC236}">
                    <a16:creationId xmlns:a16="http://schemas.microsoft.com/office/drawing/2014/main" id="{BD1C985C-C2FD-6D61-7CE8-D7F3716B41BE}"/>
                  </a:ext>
                </a:extLst>
              </p:cNvPr>
              <p:cNvSpPr/>
              <p:nvPr/>
            </p:nvSpPr>
            <p:spPr>
              <a:xfrm>
                <a:off x="6303169" y="3212783"/>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6" name="Oval 97">
                <a:extLst>
                  <a:ext uri="{FF2B5EF4-FFF2-40B4-BE49-F238E27FC236}">
                    <a16:creationId xmlns:a16="http://schemas.microsoft.com/office/drawing/2014/main" id="{DFC8DA7A-665E-4FDC-EDC2-AC1144B8CA04}"/>
                  </a:ext>
                </a:extLst>
              </p:cNvPr>
              <p:cNvSpPr/>
              <p:nvPr/>
            </p:nvSpPr>
            <p:spPr>
              <a:xfrm>
                <a:off x="6326981" y="33809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7" name="Oval 98">
                <a:extLst>
                  <a:ext uri="{FF2B5EF4-FFF2-40B4-BE49-F238E27FC236}">
                    <a16:creationId xmlns:a16="http://schemas.microsoft.com/office/drawing/2014/main" id="{6C28416F-B4CC-A27D-CC2A-20018D4C9AEF}"/>
                  </a:ext>
                </a:extLst>
              </p:cNvPr>
              <p:cNvSpPr/>
              <p:nvPr/>
            </p:nvSpPr>
            <p:spPr>
              <a:xfrm>
                <a:off x="6432233" y="3462338"/>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8" name="Oval 99">
                <a:extLst>
                  <a:ext uri="{FF2B5EF4-FFF2-40B4-BE49-F238E27FC236}">
                    <a16:creationId xmlns:a16="http://schemas.microsoft.com/office/drawing/2014/main" id="{58F0E37B-C530-6CFF-1F67-F6B1D12D4D61}"/>
                  </a:ext>
                </a:extLst>
              </p:cNvPr>
              <p:cNvSpPr/>
              <p:nvPr/>
            </p:nvSpPr>
            <p:spPr>
              <a:xfrm>
                <a:off x="6436995" y="3256122"/>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grpSp>
          <p:nvGrpSpPr>
            <p:cNvPr id="65" name="Group 70">
              <a:extLst>
                <a:ext uri="{FF2B5EF4-FFF2-40B4-BE49-F238E27FC236}">
                  <a16:creationId xmlns:a16="http://schemas.microsoft.com/office/drawing/2014/main" id="{D4B3339E-1B94-1546-C793-E4C799515F8B}"/>
                </a:ext>
              </a:extLst>
            </p:cNvPr>
            <p:cNvGrpSpPr/>
            <p:nvPr/>
          </p:nvGrpSpPr>
          <p:grpSpPr>
            <a:xfrm>
              <a:off x="5432363" y="4311147"/>
              <a:ext cx="295751" cy="306705"/>
              <a:chOff x="6198394" y="3212783"/>
              <a:chExt cx="295751" cy="306705"/>
            </a:xfrm>
            <a:solidFill>
              <a:srgbClr val="EC9A1E">
                <a:lumMod val="75000"/>
              </a:srgbClr>
            </a:solidFill>
          </p:grpSpPr>
          <p:sp>
            <p:nvSpPr>
              <p:cNvPr id="79" name="Oval 101">
                <a:extLst>
                  <a:ext uri="{FF2B5EF4-FFF2-40B4-BE49-F238E27FC236}">
                    <a16:creationId xmlns:a16="http://schemas.microsoft.com/office/drawing/2014/main" id="{D8E787EC-750D-A55B-E447-EA56EEFCB1A7}"/>
                  </a:ext>
                </a:extLst>
              </p:cNvPr>
              <p:cNvSpPr/>
              <p:nvPr/>
            </p:nvSpPr>
            <p:spPr>
              <a:xfrm>
                <a:off x="6198394" y="33528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0" name="Oval 102">
                <a:extLst>
                  <a:ext uri="{FF2B5EF4-FFF2-40B4-BE49-F238E27FC236}">
                    <a16:creationId xmlns:a16="http://schemas.microsoft.com/office/drawing/2014/main" id="{6A261B44-E5DC-85AA-2561-C6B5E0F38604}"/>
                  </a:ext>
                </a:extLst>
              </p:cNvPr>
              <p:cNvSpPr/>
              <p:nvPr/>
            </p:nvSpPr>
            <p:spPr>
              <a:xfrm>
                <a:off x="6303169" y="3212783"/>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1" name="Oval 103">
                <a:extLst>
                  <a:ext uri="{FF2B5EF4-FFF2-40B4-BE49-F238E27FC236}">
                    <a16:creationId xmlns:a16="http://schemas.microsoft.com/office/drawing/2014/main" id="{6F6CC17C-987F-63E8-3CA9-A5723587A490}"/>
                  </a:ext>
                </a:extLst>
              </p:cNvPr>
              <p:cNvSpPr/>
              <p:nvPr/>
            </p:nvSpPr>
            <p:spPr>
              <a:xfrm>
                <a:off x="6326981" y="3380900"/>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2" name="Oval 104">
                <a:extLst>
                  <a:ext uri="{FF2B5EF4-FFF2-40B4-BE49-F238E27FC236}">
                    <a16:creationId xmlns:a16="http://schemas.microsoft.com/office/drawing/2014/main" id="{FC75FF14-B3D5-1BF6-76EB-96216E35FFA9}"/>
                  </a:ext>
                </a:extLst>
              </p:cNvPr>
              <p:cNvSpPr/>
              <p:nvPr/>
            </p:nvSpPr>
            <p:spPr>
              <a:xfrm>
                <a:off x="6432233" y="3462338"/>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sp>
            <p:nvSpPr>
              <p:cNvPr id="83" name="Oval 105">
                <a:extLst>
                  <a:ext uri="{FF2B5EF4-FFF2-40B4-BE49-F238E27FC236}">
                    <a16:creationId xmlns:a16="http://schemas.microsoft.com/office/drawing/2014/main" id="{7D6D611F-7BAB-5B24-4339-8E04B726B475}"/>
                  </a:ext>
                </a:extLst>
              </p:cNvPr>
              <p:cNvSpPr/>
              <p:nvPr/>
            </p:nvSpPr>
            <p:spPr>
              <a:xfrm>
                <a:off x="6436995" y="3256122"/>
                <a:ext cx="57150" cy="57150"/>
              </a:xfrm>
              <a:prstGeom prst="ellipse">
                <a:avLst/>
              </a:prstGeom>
              <a:grpFill/>
              <a:ln w="6350" cap="sq" cmpd="sng" algn="ctr">
                <a:solidFill>
                  <a:srgbClr val="EC9A1E">
                    <a:lumMod val="50000"/>
                  </a:srgb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grpSp>
        <p:pic>
          <p:nvPicPr>
            <p:cNvPr id="66" name="Picture 106" descr="E:\AINstills_PSDs_PNGs\PNG_cropped_highres\BCell.png">
              <a:extLst>
                <a:ext uri="{FF2B5EF4-FFF2-40B4-BE49-F238E27FC236}">
                  <a16:creationId xmlns:a16="http://schemas.microsoft.com/office/drawing/2014/main" id="{DC562630-1AAB-759B-E735-48B0FD8C97D3}"/>
                </a:ext>
              </a:extLst>
            </p:cNvPr>
            <p:cNvPicPr>
              <a:picLocks noChangeAspect="1" noChangeArrowheads="1"/>
            </p:cNvPicPr>
            <p:nvPr/>
          </p:nvPicPr>
          <p:blipFill>
            <a:blip r:embed="rId6" cstate="email">
              <a:duotone>
                <a:prstClr val="black"/>
                <a:srgbClr val="404040">
                  <a:tint val="45000"/>
                  <a:satMod val="400000"/>
                </a:srgbClr>
              </a:duotone>
              <a:extLst>
                <a:ext uri="{28A0092B-C50C-407E-A947-70E740481C1C}">
                  <a14:useLocalDpi xmlns:a14="http://schemas.microsoft.com/office/drawing/2010/main"/>
                </a:ext>
              </a:extLst>
            </a:blip>
            <a:srcRect/>
            <a:stretch>
              <a:fillRect/>
            </a:stretch>
          </p:blipFill>
          <p:spPr bwMode="auto">
            <a:xfrm>
              <a:off x="2869102" y="3039090"/>
              <a:ext cx="910243" cy="960649"/>
            </a:xfrm>
            <a:prstGeom prst="rect">
              <a:avLst/>
            </a:prstGeom>
            <a:noFill/>
            <a:ln w="9525">
              <a:noFill/>
              <a:miter lim="800000"/>
              <a:headEnd/>
              <a:tailEnd/>
            </a:ln>
          </p:spPr>
        </p:pic>
        <p:sp>
          <p:nvSpPr>
            <p:cNvPr id="67" name="TextBox 133">
              <a:extLst>
                <a:ext uri="{FF2B5EF4-FFF2-40B4-BE49-F238E27FC236}">
                  <a16:creationId xmlns:a16="http://schemas.microsoft.com/office/drawing/2014/main" id="{29E62ACF-64BA-FDF3-0208-FAF07DA8F9AC}"/>
                </a:ext>
              </a:extLst>
            </p:cNvPr>
            <p:cNvSpPr txBox="1">
              <a:spLocks noChangeArrowheads="1"/>
            </p:cNvSpPr>
            <p:nvPr/>
          </p:nvSpPr>
          <p:spPr bwMode="auto">
            <a:xfrm>
              <a:off x="2021989" y="3887483"/>
              <a:ext cx="15307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400" b="1" i="0" u="none" strike="noStrike" kern="0" cap="none" spc="0" normalizeH="0" baseline="0" noProof="0" dirty="0" err="1">
                  <a:ln>
                    <a:noFill/>
                  </a:ln>
                  <a:solidFill>
                    <a:schemeClr val="tx2"/>
                  </a:solidFill>
                  <a:effectLst/>
                  <a:uLnTx/>
                  <a:uFillTx/>
                  <a:latin typeface="+mj-lt"/>
                  <a:ea typeface="+mn-ea"/>
                  <a:cs typeface="Arial" pitchFamily="34" charset="0"/>
                </a:rPr>
                <a:t>Células</a:t>
              </a:r>
              <a:r>
                <a:rPr kumimoji="0" lang="en-US" altLang="en-US" sz="1400" b="1" i="0" u="none" strike="noStrike" kern="0" cap="none" spc="0" normalizeH="0" baseline="0" noProof="0" dirty="0">
                  <a:ln>
                    <a:noFill/>
                  </a:ln>
                  <a:solidFill>
                    <a:schemeClr val="tx2"/>
                  </a:solidFill>
                  <a:effectLst/>
                  <a:uLnTx/>
                  <a:uFillTx/>
                  <a:latin typeface="+mj-lt"/>
                  <a:ea typeface="+mn-ea"/>
                  <a:cs typeface="Arial" pitchFamily="34" charset="0"/>
                </a:rPr>
                <a:t> T CD4+ Naive</a:t>
              </a:r>
            </a:p>
          </p:txBody>
        </p:sp>
        <p:sp>
          <p:nvSpPr>
            <p:cNvPr id="68" name="TextBox 138">
              <a:extLst>
                <a:ext uri="{FF2B5EF4-FFF2-40B4-BE49-F238E27FC236}">
                  <a16:creationId xmlns:a16="http://schemas.microsoft.com/office/drawing/2014/main" id="{EA1C5DF1-29C2-305B-8D00-43B13FEF15FE}"/>
                </a:ext>
              </a:extLst>
            </p:cNvPr>
            <p:cNvSpPr txBox="1">
              <a:spLocks noChangeArrowheads="1"/>
            </p:cNvSpPr>
            <p:nvPr/>
          </p:nvSpPr>
          <p:spPr bwMode="auto">
            <a:xfrm>
              <a:off x="8301699" y="5487010"/>
              <a:ext cx="20113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ct val="0"/>
                </a:spcAft>
                <a:buClrTx/>
                <a:buSzTx/>
                <a:buFontTx/>
                <a:buNone/>
                <a:tabLst/>
                <a:defRPr/>
              </a:pPr>
              <a:r>
                <a:rPr kumimoji="0" lang="en-US" altLang="en-US" sz="1200" b="1" i="0" u="none" strike="noStrike" kern="0" cap="none" spc="0" normalizeH="0" baseline="0" noProof="0" dirty="0" err="1">
                  <a:ln>
                    <a:noFill/>
                  </a:ln>
                  <a:solidFill>
                    <a:schemeClr val="tx1"/>
                  </a:solidFill>
                  <a:effectLst/>
                  <a:uLnTx/>
                  <a:uFillTx/>
                  <a:latin typeface="+mj-lt"/>
                  <a:ea typeface="+mn-ea"/>
                  <a:cs typeface="Arial" pitchFamily="34" charset="0"/>
                </a:rPr>
                <a:t>Outras</a:t>
              </a:r>
              <a:r>
                <a:rPr kumimoji="0" lang="en-US" altLang="en-US" sz="1200" b="1" i="0" u="none" strike="noStrike" kern="0" cap="none" spc="0" normalizeH="0" baseline="0" noProof="0" dirty="0">
                  <a:ln>
                    <a:noFill/>
                  </a:ln>
                  <a:solidFill>
                    <a:schemeClr val="tx1"/>
                  </a:solidFill>
                  <a:effectLst/>
                  <a:uLnTx/>
                  <a:uFillTx/>
                  <a:latin typeface="+mj-lt"/>
                  <a:ea typeface="+mn-ea"/>
                  <a:cs typeface="Arial" pitchFamily="34" charset="0"/>
                </a:rPr>
                <a:t> </a:t>
              </a:r>
              <a:r>
                <a:rPr kumimoji="0" lang="en-US" altLang="en-US" sz="1200" b="1" i="0" u="none" strike="noStrike" kern="0" cap="none" spc="0" normalizeH="0" baseline="0" noProof="0" dirty="0" err="1">
                  <a:ln>
                    <a:noFill/>
                  </a:ln>
                  <a:solidFill>
                    <a:schemeClr val="tx1"/>
                  </a:solidFill>
                  <a:effectLst/>
                  <a:uLnTx/>
                  <a:uFillTx/>
                  <a:latin typeface="+mj-lt"/>
                  <a:ea typeface="+mn-ea"/>
                  <a:cs typeface="Arial" pitchFamily="34" charset="0"/>
                </a:rPr>
                <a:t>linhagens</a:t>
              </a:r>
              <a:r>
                <a:rPr kumimoji="0" lang="en-US" altLang="en-US" sz="1200" b="1" i="0" u="none" strike="noStrike" kern="0" cap="none" spc="0" normalizeH="0" baseline="0" noProof="0" dirty="0">
                  <a:ln>
                    <a:noFill/>
                  </a:ln>
                  <a:solidFill>
                    <a:schemeClr val="tx1"/>
                  </a:solidFill>
                  <a:effectLst/>
                  <a:uLnTx/>
                  <a:uFillTx/>
                  <a:latin typeface="+mj-lt"/>
                  <a:ea typeface="+mn-ea"/>
                  <a:cs typeface="Arial" pitchFamily="34" charset="0"/>
                </a:rPr>
                <a:t> </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de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células</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não</a:t>
              </a:r>
              <a:r>
                <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rPr>
                <a:t> </a:t>
              </a:r>
              <a:r>
                <a:rPr kumimoji="0" lang="en-US" altLang="en-US" sz="1200" b="0" i="0" u="none" strike="noStrike" kern="0" cap="none" spc="0" normalizeH="0" baseline="0" noProof="0" dirty="0" err="1">
                  <a:ln>
                    <a:noFill/>
                  </a:ln>
                  <a:solidFill>
                    <a:schemeClr val="tx1"/>
                  </a:solidFill>
                  <a:effectLst/>
                  <a:uLnTx/>
                  <a:uFillTx/>
                  <a:latin typeface="+mn-lt"/>
                  <a:ea typeface="+mn-ea"/>
                  <a:cs typeface="Arial" pitchFamily="34" charset="0"/>
                </a:rPr>
                <a:t>identificadas</a:t>
              </a:r>
              <a:endParaRPr kumimoji="0" lang="en-US" altLang="en-US" sz="1200" b="0" i="0" u="none" strike="noStrike" kern="0" cap="none" spc="0" normalizeH="0" baseline="0" noProof="0" dirty="0">
                <a:ln>
                  <a:noFill/>
                </a:ln>
                <a:solidFill>
                  <a:schemeClr val="tx1"/>
                </a:solidFill>
                <a:effectLst/>
                <a:uLnTx/>
                <a:uFillTx/>
                <a:latin typeface="+mn-lt"/>
                <a:ea typeface="+mn-ea"/>
                <a:cs typeface="Arial" pitchFamily="34" charset="0"/>
              </a:endParaRPr>
            </a:p>
          </p:txBody>
        </p:sp>
        <p:pic>
          <p:nvPicPr>
            <p:cNvPr id="69" name="Picture 134" descr="\\znycfp2\ny dept\NY Bioscience\NOVARTIS\AIN457\PROGRAM (CROSS INDICATION)\Master slide deck\GHP visuals portfolio\GHP visuals portfolio\Cells\PNG files\Dendritic cell.png">
              <a:extLst>
                <a:ext uri="{FF2B5EF4-FFF2-40B4-BE49-F238E27FC236}">
                  <a16:creationId xmlns:a16="http://schemas.microsoft.com/office/drawing/2014/main" id="{B7E27858-D0BE-DB5E-CF83-35E694D954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8761017">
              <a:off x="1868919" y="2313600"/>
              <a:ext cx="1581419" cy="114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11" descr="E:\AINstills_PSDs_PNGs\PNG_cropped_highres\BCell.png">
              <a:extLst>
                <a:ext uri="{FF2B5EF4-FFF2-40B4-BE49-F238E27FC236}">
                  <a16:creationId xmlns:a16="http://schemas.microsoft.com/office/drawing/2014/main" id="{D44734F6-396C-694D-9E56-00344265DE06}"/>
                </a:ext>
              </a:extLst>
            </p:cNvPr>
            <p:cNvPicPr>
              <a:picLocks noChangeAspect="1" noChangeArrowheads="1"/>
            </p:cNvPicPr>
            <p:nvPr/>
          </p:nvPicPr>
          <p:blipFill>
            <a:blip r:embed="rId8" cstate="email">
              <a:duotone>
                <a:prstClr val="black"/>
                <a:srgbClr val="8D1F1B">
                  <a:tint val="45000"/>
                  <a:satMod val="400000"/>
                </a:srgbClr>
              </a:duotone>
              <a:extLst>
                <a:ext uri="{28A0092B-C50C-407E-A947-70E740481C1C}">
                  <a14:useLocalDpi xmlns:a14="http://schemas.microsoft.com/office/drawing/2010/main"/>
                </a:ext>
              </a:extLst>
            </a:blip>
            <a:srcRect/>
            <a:stretch>
              <a:fillRect/>
            </a:stretch>
          </p:blipFill>
          <p:spPr bwMode="auto">
            <a:xfrm rot="21098896">
              <a:off x="6329587" y="4268695"/>
              <a:ext cx="909010" cy="959345"/>
            </a:xfrm>
            <a:prstGeom prst="rect">
              <a:avLst/>
            </a:prstGeom>
            <a:noFill/>
            <a:ln w="9525">
              <a:noFill/>
              <a:miter lim="800000"/>
              <a:headEnd/>
              <a:tailEnd/>
            </a:ln>
          </p:spPr>
        </p:pic>
        <p:pic>
          <p:nvPicPr>
            <p:cNvPr id="71" name="Picture 11" descr="\\znycfp2\ny dept\NY Bioscience\NOVARTIS\AIN457\PROGRAM (CROSS INDICATION)\Master slide deck\GHP visuals portfolio\GHP visuals portfolio\Cells\PNG files\Th17 Cell.png">
              <a:extLst>
                <a:ext uri="{FF2B5EF4-FFF2-40B4-BE49-F238E27FC236}">
                  <a16:creationId xmlns:a16="http://schemas.microsoft.com/office/drawing/2014/main" id="{306A2D7A-ACFD-7458-692D-47C954123B6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8587" y="3188900"/>
              <a:ext cx="114141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2" descr="\\znycfp2\ny dept\NY Bioscience\NOVARTIS\AIN457\PROGRAM (CROSS INDICATION)\Master slide deck\GHP visuals portfolio\GHP visuals portfolio\Cells\PNG files\Th2 Cell.png">
              <a:extLst>
                <a:ext uri="{FF2B5EF4-FFF2-40B4-BE49-F238E27FC236}">
                  <a16:creationId xmlns:a16="http://schemas.microsoft.com/office/drawing/2014/main" id="{EB471F5B-BD3A-7FAE-6225-7A8AE142A46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1287" y="2166549"/>
              <a:ext cx="114141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TextBox 51">
              <a:extLst>
                <a:ext uri="{FF2B5EF4-FFF2-40B4-BE49-F238E27FC236}">
                  <a16:creationId xmlns:a16="http://schemas.microsoft.com/office/drawing/2014/main" id="{9D9E2A13-E583-AF22-CD39-7B26B7415CA7}"/>
                </a:ext>
              </a:extLst>
            </p:cNvPr>
            <p:cNvSpPr txBox="1">
              <a:spLocks noChangeArrowheads="1"/>
            </p:cNvSpPr>
            <p:nvPr/>
          </p:nvSpPr>
          <p:spPr bwMode="auto">
            <a:xfrm>
              <a:off x="6490362" y="1256913"/>
              <a:ext cx="7604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dirty="0">
                  <a:ln>
                    <a:noFill/>
                  </a:ln>
                  <a:solidFill>
                    <a:schemeClr val="tx1"/>
                  </a:solidFill>
                  <a:effectLst/>
                  <a:uLnTx/>
                  <a:uFillTx/>
                  <a:latin typeface="+mn-lt"/>
                  <a:ea typeface="+mn-ea"/>
                  <a:cs typeface="Arial" pitchFamily="34" charset="0"/>
                </a:rPr>
                <a:t>STAT4</a:t>
              </a:r>
            </a:p>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dirty="0">
                  <a:ln>
                    <a:noFill/>
                  </a:ln>
                  <a:solidFill>
                    <a:schemeClr val="tx1"/>
                  </a:solidFill>
                  <a:effectLst/>
                  <a:uLnTx/>
                  <a:uFillTx/>
                  <a:latin typeface="+mn-lt"/>
                  <a:ea typeface="+mn-ea"/>
                  <a:cs typeface="Arial" pitchFamily="34" charset="0"/>
                </a:rPr>
                <a:t>STAT1 </a:t>
              </a:r>
              <a:br>
                <a:rPr kumimoji="0" lang="en-US" altLang="en-US" sz="1100" b="1" i="0" u="none" strike="noStrike" kern="0" cap="none" spc="0" normalizeH="0" baseline="0" noProof="0" dirty="0">
                  <a:ln>
                    <a:noFill/>
                  </a:ln>
                  <a:solidFill>
                    <a:schemeClr val="tx1"/>
                  </a:solidFill>
                  <a:effectLst/>
                  <a:uLnTx/>
                  <a:uFillTx/>
                  <a:latin typeface="+mn-lt"/>
                  <a:ea typeface="+mn-ea"/>
                  <a:cs typeface="Arial" pitchFamily="34" charset="0"/>
                </a:rPr>
              </a:br>
              <a:r>
                <a:rPr kumimoji="0" lang="en-US" altLang="en-US" sz="1100" b="1" i="0" u="none" strike="noStrike" kern="0" cap="none" spc="0" normalizeH="0" baseline="0" noProof="0" dirty="0">
                  <a:ln>
                    <a:noFill/>
                  </a:ln>
                  <a:solidFill>
                    <a:schemeClr val="tx1"/>
                  </a:solidFill>
                  <a:effectLst/>
                  <a:uLnTx/>
                  <a:uFillTx/>
                  <a:latin typeface="+mn-lt"/>
                  <a:ea typeface="+mn-ea"/>
                  <a:cs typeface="Arial" pitchFamily="34" charset="0"/>
                </a:rPr>
                <a:t>T-bet</a:t>
              </a:r>
            </a:p>
          </p:txBody>
        </p:sp>
        <p:sp>
          <p:nvSpPr>
            <p:cNvPr id="74" name="TextBox 53">
              <a:extLst>
                <a:ext uri="{FF2B5EF4-FFF2-40B4-BE49-F238E27FC236}">
                  <a16:creationId xmlns:a16="http://schemas.microsoft.com/office/drawing/2014/main" id="{EFCD786B-D446-243B-4909-3907FF0F3C6A}"/>
                </a:ext>
              </a:extLst>
            </p:cNvPr>
            <p:cNvSpPr txBox="1">
              <a:spLocks noChangeArrowheads="1"/>
            </p:cNvSpPr>
            <p:nvPr/>
          </p:nvSpPr>
          <p:spPr bwMode="auto">
            <a:xfrm>
              <a:off x="6523699" y="2404674"/>
              <a:ext cx="6715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STAT6, </a:t>
              </a:r>
              <a:br>
                <a:rPr kumimoji="0" lang="en-US" alt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br>
              <a:r>
                <a:rPr kumimoji="0" lang="en-US" alt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GATA3</a:t>
              </a:r>
            </a:p>
          </p:txBody>
        </p:sp>
        <p:sp>
          <p:nvSpPr>
            <p:cNvPr id="75" name="TextBox 116">
              <a:extLst>
                <a:ext uri="{FF2B5EF4-FFF2-40B4-BE49-F238E27FC236}">
                  <a16:creationId xmlns:a16="http://schemas.microsoft.com/office/drawing/2014/main" id="{70B99C4C-727A-88F4-4CC4-DDB30A2B13F9}"/>
                </a:ext>
              </a:extLst>
            </p:cNvPr>
            <p:cNvSpPr txBox="1"/>
            <p:nvPr/>
          </p:nvSpPr>
          <p:spPr>
            <a:xfrm>
              <a:off x="6460199" y="3425437"/>
              <a:ext cx="798512" cy="431800"/>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ea typeface="+mn-ea"/>
                  <a:cs typeface="+mn-cs"/>
                </a:rPr>
                <a:t>STAT3, RORc</a:t>
              </a:r>
              <a:r>
                <a:rPr kumimoji="0" lang="en-US" sz="1100" b="1" i="0" u="none" strike="noStrike" kern="0" cap="none" spc="0" normalizeH="0" baseline="30000" noProof="0" dirty="0">
                  <a:ln>
                    <a:noFill/>
                  </a:ln>
                  <a:solidFill>
                    <a:schemeClr val="bg1"/>
                  </a:solidFill>
                  <a:effectLst>
                    <a:outerShdw blurRad="38100" dist="38100" dir="2700000" algn="tl">
                      <a:srgbClr val="000000">
                        <a:alpha val="43137"/>
                      </a:srgbClr>
                    </a:outerShdw>
                  </a:effectLst>
                  <a:uLnTx/>
                  <a:uFillTx/>
                  <a:ea typeface="+mn-ea"/>
                  <a:cs typeface="+mn-cs"/>
                </a:rPr>
                <a:t>†</a:t>
              </a:r>
              <a:r>
                <a:rPr kumimoji="0" 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ea typeface="+mn-ea"/>
                  <a:cs typeface="+mn-cs"/>
                </a:rPr>
                <a:t>             </a:t>
              </a:r>
            </a:p>
          </p:txBody>
        </p:sp>
        <p:sp>
          <p:nvSpPr>
            <p:cNvPr id="76" name="TextBox 57">
              <a:extLst>
                <a:ext uri="{FF2B5EF4-FFF2-40B4-BE49-F238E27FC236}">
                  <a16:creationId xmlns:a16="http://schemas.microsoft.com/office/drawing/2014/main" id="{172FE434-85C0-A5EA-7C4C-4BAC96C5A07E}"/>
                </a:ext>
              </a:extLst>
            </p:cNvPr>
            <p:cNvSpPr txBox="1">
              <a:spLocks noChangeArrowheads="1"/>
            </p:cNvSpPr>
            <p:nvPr/>
          </p:nvSpPr>
          <p:spPr bwMode="auto">
            <a:xfrm>
              <a:off x="6437974" y="4639874"/>
              <a:ext cx="70326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FoxP3</a:t>
              </a:r>
            </a:p>
          </p:txBody>
        </p:sp>
        <p:pic>
          <p:nvPicPr>
            <p:cNvPr id="77" name="Picture 124" descr="E:\AINstills_PSDs_PNGs\PNG_cropped_highres\BCell.png">
              <a:extLst>
                <a:ext uri="{FF2B5EF4-FFF2-40B4-BE49-F238E27FC236}">
                  <a16:creationId xmlns:a16="http://schemas.microsoft.com/office/drawing/2014/main" id="{298150BF-C7E1-608A-711B-CB2597EAC24B}"/>
                </a:ext>
              </a:extLst>
            </p:cNvPr>
            <p:cNvPicPr>
              <a:picLocks noChangeAspect="1" noChangeArrowheads="1"/>
            </p:cNvPicPr>
            <p:nvPr/>
          </p:nvPicPr>
          <p:blipFill>
            <a:blip r:embed="rId8" cstate="email">
              <a:duotone>
                <a:prstClr val="black"/>
                <a:srgbClr val="7F7F7F">
                  <a:tint val="45000"/>
                  <a:satMod val="400000"/>
                </a:srgbClr>
              </a:duotone>
            </a:blip>
            <a:srcRect/>
            <a:stretch>
              <a:fillRect/>
            </a:stretch>
          </p:blipFill>
          <p:spPr bwMode="auto">
            <a:xfrm rot="21268779">
              <a:off x="6312458" y="1088040"/>
              <a:ext cx="845634" cy="913873"/>
            </a:xfrm>
            <a:prstGeom prst="rect">
              <a:avLst/>
            </a:prstGeom>
            <a:noFill/>
            <a:ln w="9525">
              <a:noFill/>
              <a:miter lim="800000"/>
              <a:headEnd/>
              <a:tailEnd/>
            </a:ln>
          </p:spPr>
        </p:pic>
        <p:sp>
          <p:nvSpPr>
            <p:cNvPr id="78" name="TextBox 176">
              <a:extLst>
                <a:ext uri="{FF2B5EF4-FFF2-40B4-BE49-F238E27FC236}">
                  <a16:creationId xmlns:a16="http://schemas.microsoft.com/office/drawing/2014/main" id="{0EC44CB9-8131-1003-364D-88464B82C68C}"/>
                </a:ext>
              </a:extLst>
            </p:cNvPr>
            <p:cNvSpPr txBox="1">
              <a:spLocks noChangeArrowheads="1"/>
            </p:cNvSpPr>
            <p:nvPr/>
          </p:nvSpPr>
          <p:spPr bwMode="auto">
            <a:xfrm>
              <a:off x="6390379" y="1240462"/>
              <a:ext cx="708863"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STAT4</a:t>
              </a:r>
            </a:p>
            <a:p>
              <a:pPr marL="0" marR="0" lvl="0" indent="0" algn="ctr" defTabSz="457200" rtl="0" eaLnBrk="1" fontAlgn="auto" latinLnBrk="0" hangingPunct="1">
                <a:lnSpc>
                  <a:spcPct val="100000"/>
                </a:lnSpc>
                <a:spcBef>
                  <a:spcPts val="0"/>
                </a:spcBef>
                <a:spcAft>
                  <a:spcPct val="0"/>
                </a:spcAft>
                <a:buClrTx/>
                <a:buSzTx/>
                <a:buFontTx/>
                <a:buNone/>
                <a:tabLst/>
                <a:defRPr/>
              </a:pPr>
              <a:r>
                <a:rPr kumimoji="0" lang="en-US" alt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STAT1 </a:t>
              </a:r>
              <a:br>
                <a:rPr kumimoji="0" lang="en-US" alt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br>
              <a:r>
                <a:rPr kumimoji="0" lang="en-US" altLang="en-US" sz="11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Arial" pitchFamily="34" charset="0"/>
                </a:rPr>
                <a:t>T-bet</a:t>
              </a:r>
            </a:p>
          </p:txBody>
        </p:sp>
        <p:cxnSp>
          <p:nvCxnSpPr>
            <p:cNvPr id="131" name="Conector reto 130">
              <a:extLst>
                <a:ext uri="{FF2B5EF4-FFF2-40B4-BE49-F238E27FC236}">
                  <a16:creationId xmlns:a16="http://schemas.microsoft.com/office/drawing/2014/main" id="{ADD42074-4B1D-C924-5E66-021CEE5D4B3A}"/>
                </a:ext>
              </a:extLst>
            </p:cNvPr>
            <p:cNvCxnSpPr/>
            <p:nvPr/>
          </p:nvCxnSpPr>
          <p:spPr>
            <a:xfrm>
              <a:off x="4199450" y="1676012"/>
              <a:ext cx="0" cy="4081556"/>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Conector de Seta Reta 133">
              <a:extLst>
                <a:ext uri="{FF2B5EF4-FFF2-40B4-BE49-F238E27FC236}">
                  <a16:creationId xmlns:a16="http://schemas.microsoft.com/office/drawing/2014/main" id="{168464B1-5452-E58C-32D2-76C778798190}"/>
                </a:ext>
              </a:extLst>
            </p:cNvPr>
            <p:cNvCxnSpPr/>
            <p:nvPr/>
          </p:nvCxnSpPr>
          <p:spPr>
            <a:xfrm>
              <a:off x="4188692" y="1673748"/>
              <a:ext cx="1581299" cy="0"/>
            </a:xfrm>
            <a:prstGeom prst="straightConnector1">
              <a:avLst/>
            </a:prstGeom>
            <a:ln w="19050">
              <a:solidFill>
                <a:schemeClr val="accent2">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5" name="Conector de Seta Reta 134">
              <a:extLst>
                <a:ext uri="{FF2B5EF4-FFF2-40B4-BE49-F238E27FC236}">
                  <a16:creationId xmlns:a16="http://schemas.microsoft.com/office/drawing/2014/main" id="{41D1C1BD-40B1-9190-E646-241C13C74CDD}"/>
                </a:ext>
              </a:extLst>
            </p:cNvPr>
            <p:cNvCxnSpPr/>
            <p:nvPr/>
          </p:nvCxnSpPr>
          <p:spPr>
            <a:xfrm>
              <a:off x="4188692" y="2717412"/>
              <a:ext cx="1581299" cy="0"/>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6" name="Conector de Seta Reta 135">
              <a:extLst>
                <a:ext uri="{FF2B5EF4-FFF2-40B4-BE49-F238E27FC236}">
                  <a16:creationId xmlns:a16="http://schemas.microsoft.com/office/drawing/2014/main" id="{C4790971-C8F0-92B5-A77F-E794E0BA503B}"/>
                </a:ext>
              </a:extLst>
            </p:cNvPr>
            <p:cNvCxnSpPr/>
            <p:nvPr/>
          </p:nvCxnSpPr>
          <p:spPr>
            <a:xfrm>
              <a:off x="4188692" y="3771513"/>
              <a:ext cx="1581299" cy="0"/>
            </a:xfrm>
            <a:prstGeom prst="straightConnector1">
              <a:avLst/>
            </a:prstGeom>
            <a:ln w="19050">
              <a:solidFill>
                <a:schemeClr val="tx2">
                  <a:lumMod val="90000"/>
                  <a:lumOff val="1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7" name="Conector de Seta Reta 136">
              <a:extLst>
                <a:ext uri="{FF2B5EF4-FFF2-40B4-BE49-F238E27FC236}">
                  <a16:creationId xmlns:a16="http://schemas.microsoft.com/office/drawing/2014/main" id="{1D522734-1C26-F92C-E3D6-01788F861220}"/>
                </a:ext>
              </a:extLst>
            </p:cNvPr>
            <p:cNvCxnSpPr/>
            <p:nvPr/>
          </p:nvCxnSpPr>
          <p:spPr>
            <a:xfrm>
              <a:off x="4188692" y="4810555"/>
              <a:ext cx="1581299"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8" name="Conector de Seta Reta 137">
              <a:extLst>
                <a:ext uri="{FF2B5EF4-FFF2-40B4-BE49-F238E27FC236}">
                  <a16:creationId xmlns:a16="http://schemas.microsoft.com/office/drawing/2014/main" id="{75B5C3E8-A096-B816-FB1D-DB5597F0C1AE}"/>
                </a:ext>
              </a:extLst>
            </p:cNvPr>
            <p:cNvCxnSpPr/>
            <p:nvPr/>
          </p:nvCxnSpPr>
          <p:spPr>
            <a:xfrm>
              <a:off x="4188692" y="5757568"/>
              <a:ext cx="1581299" cy="0"/>
            </a:xfrm>
            <a:prstGeom prst="straightConnector1">
              <a:avLst/>
            </a:prstGeom>
            <a:ln w="19050">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118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par>
                                <p:cTn id="8" presetID="10" presetClass="entr" presetSubtype="0" fill="hold" nodeType="withEffect">
                                  <p:stCondLst>
                                    <p:cond delay="500"/>
                                  </p:stCondLst>
                                  <p:childTnLst>
                                    <p:set>
                                      <p:cBhvr>
                                        <p:cTn id="9" dur="1" fill="hold">
                                          <p:stCondLst>
                                            <p:cond delay="0"/>
                                          </p:stCondLst>
                                        </p:cTn>
                                        <p:tgtEl>
                                          <p:spTgt spid="140"/>
                                        </p:tgtEl>
                                        <p:attrNameLst>
                                          <p:attrName>style.visibility</p:attrName>
                                        </p:attrNameLst>
                                      </p:cBhvr>
                                      <p:to>
                                        <p:strVal val="visible"/>
                                      </p:to>
                                    </p:set>
                                    <p:animEffect transition="in" filter="fade">
                                      <p:cBhvr>
                                        <p:cTn id="10"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24003" y="6269752"/>
            <a:ext cx="10239690" cy="565786"/>
          </a:xfrm>
        </p:spPr>
        <p:txBody>
          <a:bodyPr/>
          <a:lstStyle/>
          <a:p>
            <a:pPr algn="l" fontAlgn="base"/>
            <a:r>
              <a:rPr lang="pt-BR" sz="700" b="0" i="0" dirty="0" err="1">
                <a:solidFill>
                  <a:srgbClr val="1D1D1D"/>
                </a:solidFill>
                <a:effectLst/>
                <a:latin typeface="Arial" panose="020B0604020202020204" pitchFamily="34" charset="0"/>
              </a:rPr>
              <a:t>Medzhitov</a:t>
            </a:r>
            <a:r>
              <a:rPr lang="pt-BR" sz="700" b="0" i="0" dirty="0">
                <a:solidFill>
                  <a:srgbClr val="1D1D1D"/>
                </a:solidFill>
                <a:effectLst/>
                <a:latin typeface="Arial" panose="020B0604020202020204" pitchFamily="34" charset="0"/>
              </a:rPr>
              <a:t> R. </a:t>
            </a:r>
            <a:r>
              <a:rPr lang="pt-BR" sz="700" b="0" i="0" dirty="0" err="1">
                <a:solidFill>
                  <a:srgbClr val="1D1D1D"/>
                </a:solidFill>
                <a:effectLst/>
                <a:latin typeface="Arial" panose="020B0604020202020204" pitchFamily="34" charset="0"/>
              </a:rPr>
              <a:t>Origi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hysiological</a:t>
            </a:r>
            <a:r>
              <a:rPr lang="pt-BR" sz="700" b="0" i="0" dirty="0">
                <a:solidFill>
                  <a:srgbClr val="1D1D1D"/>
                </a:solidFill>
                <a:effectLst/>
                <a:latin typeface="Arial" panose="020B0604020202020204" pitchFamily="34" charset="0"/>
              </a:rPr>
              <a:t> role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flamma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2008 Jul 24;454(7203):428-35.</a:t>
            </a:r>
          </a:p>
          <a:p>
            <a:pPr algn="l" fontAlgn="base"/>
            <a:r>
              <a:rPr lang="pt-BR" sz="700" b="0" i="0" dirty="0">
                <a:solidFill>
                  <a:srgbClr val="1D1D1D"/>
                </a:solidFill>
                <a:effectLst/>
                <a:latin typeface="Arial" panose="020B0604020202020204" pitchFamily="34" charset="0"/>
              </a:rPr>
              <a:t>Cho JH, </a:t>
            </a:r>
            <a:r>
              <a:rPr lang="pt-BR" sz="700" b="0" i="0" dirty="0" err="1">
                <a:solidFill>
                  <a:srgbClr val="1D1D1D"/>
                </a:solidFill>
                <a:effectLst/>
                <a:latin typeface="Arial" panose="020B0604020202020204" pitchFamily="34" charset="0"/>
              </a:rPr>
              <a:t>Gregersen</a:t>
            </a:r>
            <a:r>
              <a:rPr lang="pt-BR" sz="700" b="0" i="0" dirty="0">
                <a:solidFill>
                  <a:srgbClr val="1D1D1D"/>
                </a:solidFill>
                <a:effectLst/>
                <a:latin typeface="Arial" panose="020B0604020202020204" pitchFamily="34" charset="0"/>
              </a:rPr>
              <a:t> PK. </a:t>
            </a:r>
            <a:r>
              <a:rPr lang="pt-BR" sz="700" b="0" i="0" dirty="0" err="1">
                <a:solidFill>
                  <a:srgbClr val="1D1D1D"/>
                </a:solidFill>
                <a:effectLst/>
                <a:latin typeface="Arial" panose="020B0604020202020204" pitchFamily="34" charset="0"/>
              </a:rPr>
              <a:t>Genomic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ultifactori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uma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utoimmun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isease</a:t>
            </a:r>
            <a:r>
              <a:rPr lang="pt-BR" sz="700" b="0" i="0" dirty="0">
                <a:solidFill>
                  <a:srgbClr val="1D1D1D"/>
                </a:solidFill>
                <a:effectLst/>
                <a:latin typeface="Arial" panose="020B0604020202020204" pitchFamily="34" charset="0"/>
              </a:rPr>
              <a:t>.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11 </a:t>
            </a:r>
            <a:r>
              <a:rPr lang="pt-BR" sz="700" b="0" i="0" dirty="0" err="1">
                <a:solidFill>
                  <a:srgbClr val="1D1D1D"/>
                </a:solidFill>
                <a:effectLst/>
                <a:latin typeface="Arial" panose="020B0604020202020204" pitchFamily="34" charset="0"/>
              </a:rPr>
              <a:t>Oct</a:t>
            </a:r>
            <a:r>
              <a:rPr lang="pt-BR" sz="700" b="0" i="0" dirty="0">
                <a:solidFill>
                  <a:srgbClr val="1D1D1D"/>
                </a:solidFill>
                <a:effectLst/>
                <a:latin typeface="Arial" panose="020B0604020202020204" pitchFamily="34" charset="0"/>
              </a:rPr>
              <a:t> 27;365(17):1612-23.</a:t>
            </a:r>
          </a:p>
          <a:p>
            <a:pPr algn="l" fontAlgn="base"/>
            <a:r>
              <a:rPr lang="pt-BR" sz="700" b="0" i="0" dirty="0">
                <a:solidFill>
                  <a:srgbClr val="1D1D1D"/>
                </a:solidFill>
                <a:effectLst/>
                <a:latin typeface="Arial" panose="020B0604020202020204" pitchFamily="34" charset="0"/>
              </a:rPr>
              <a:t>Nathan C. Point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ontrol</a:t>
            </a:r>
            <a:r>
              <a:rPr lang="pt-BR" sz="700" b="0" i="0" dirty="0">
                <a:solidFill>
                  <a:srgbClr val="1D1D1D"/>
                </a:solidFill>
                <a:effectLst/>
                <a:latin typeface="Arial" panose="020B0604020202020204" pitchFamily="34" charset="0"/>
              </a:rPr>
              <a:t> in </a:t>
            </a:r>
            <a:r>
              <a:rPr lang="pt-BR" sz="700" b="0" i="0" dirty="0" err="1">
                <a:solidFill>
                  <a:srgbClr val="1D1D1D"/>
                </a:solidFill>
                <a:effectLst/>
                <a:latin typeface="Arial" panose="020B0604020202020204" pitchFamily="34" charset="0"/>
              </a:rPr>
              <a:t>inflamma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ature</a:t>
            </a:r>
            <a:r>
              <a:rPr lang="pt-BR" sz="700" b="0" i="0" dirty="0">
                <a:solidFill>
                  <a:srgbClr val="1D1D1D"/>
                </a:solidFill>
                <a:effectLst/>
                <a:latin typeface="Arial" panose="020B0604020202020204" pitchFamily="34" charset="0"/>
              </a:rPr>
              <a:t>. 2002 </a:t>
            </a:r>
            <a:r>
              <a:rPr lang="pt-BR" sz="700" b="0" i="0" dirty="0" err="1">
                <a:solidFill>
                  <a:srgbClr val="1D1D1D"/>
                </a:solidFill>
                <a:effectLst/>
                <a:latin typeface="Arial" panose="020B0604020202020204" pitchFamily="34" charset="0"/>
              </a:rPr>
              <a:t>Dec</a:t>
            </a:r>
            <a:r>
              <a:rPr lang="pt-BR" sz="700" b="0" i="0" dirty="0">
                <a:solidFill>
                  <a:srgbClr val="1D1D1D"/>
                </a:solidFill>
                <a:effectLst/>
                <a:latin typeface="Arial" panose="020B0604020202020204" pitchFamily="34" charset="0"/>
              </a:rPr>
              <a:t> 19-26;420(6917):846-52.</a:t>
            </a:r>
          </a:p>
          <a:p>
            <a:pPr algn="l" fontAlgn="base"/>
            <a:r>
              <a:rPr lang="pt-BR" sz="700" b="0" i="0" dirty="0" err="1">
                <a:solidFill>
                  <a:srgbClr val="1D1D1D"/>
                </a:solidFill>
                <a:effectLst/>
                <a:latin typeface="Arial" panose="020B0604020202020204" pitchFamily="34" charset="0"/>
              </a:rPr>
              <a:t>Parkin</a:t>
            </a:r>
            <a:r>
              <a:rPr lang="pt-BR" sz="700" b="0" i="0" dirty="0">
                <a:solidFill>
                  <a:srgbClr val="1D1D1D"/>
                </a:solidFill>
                <a:effectLst/>
                <a:latin typeface="Arial" panose="020B0604020202020204" pitchFamily="34" charset="0"/>
              </a:rPr>
              <a:t> J, Cohen B. </a:t>
            </a:r>
            <a:r>
              <a:rPr lang="pt-BR" sz="700" b="0" i="0" dirty="0" err="1">
                <a:solidFill>
                  <a:srgbClr val="1D1D1D"/>
                </a:solidFill>
                <a:effectLst/>
                <a:latin typeface="Arial" panose="020B0604020202020204" pitchFamily="34" charset="0"/>
              </a:rPr>
              <a:t>An</a:t>
            </a:r>
            <a:r>
              <a:rPr lang="pt-BR" sz="700" b="0" i="0" dirty="0">
                <a:solidFill>
                  <a:srgbClr val="1D1D1D"/>
                </a:solidFill>
                <a:effectLst/>
                <a:latin typeface="Arial" panose="020B0604020202020204" pitchFamily="34" charset="0"/>
              </a:rPr>
              <a:t> overview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system. Lancet. 2001 </a:t>
            </a:r>
            <a:r>
              <a:rPr lang="pt-BR" sz="700" b="0" i="0" dirty="0" err="1">
                <a:solidFill>
                  <a:srgbClr val="1D1D1D"/>
                </a:solidFill>
                <a:effectLst/>
                <a:latin typeface="Arial" panose="020B0604020202020204" pitchFamily="34" charset="0"/>
              </a:rPr>
              <a:t>Jun</a:t>
            </a:r>
            <a:r>
              <a:rPr lang="pt-BR" sz="700" b="0" i="0" dirty="0">
                <a:solidFill>
                  <a:srgbClr val="1D1D1D"/>
                </a:solidFill>
                <a:effectLst/>
                <a:latin typeface="Arial" panose="020B0604020202020204" pitchFamily="34" charset="0"/>
              </a:rPr>
              <a:t> 2;357(9270):1777-89.</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Resposta imune adaptativa</a:t>
            </a:r>
          </a:p>
        </p:txBody>
      </p:sp>
      <p:grpSp>
        <p:nvGrpSpPr>
          <p:cNvPr id="379" name="Agrupar 378">
            <a:extLst>
              <a:ext uri="{FF2B5EF4-FFF2-40B4-BE49-F238E27FC236}">
                <a16:creationId xmlns:a16="http://schemas.microsoft.com/office/drawing/2014/main" id="{C21C3F13-FE31-8C00-F160-B2B249BABC30}"/>
              </a:ext>
            </a:extLst>
          </p:cNvPr>
          <p:cNvGrpSpPr/>
          <p:nvPr/>
        </p:nvGrpSpPr>
        <p:grpSpPr>
          <a:xfrm>
            <a:off x="1248310" y="961894"/>
            <a:ext cx="9606155" cy="4481448"/>
            <a:chOff x="764786" y="1093673"/>
            <a:chExt cx="10960557" cy="5113301"/>
          </a:xfrm>
        </p:grpSpPr>
        <p:grpSp>
          <p:nvGrpSpPr>
            <p:cNvPr id="6" name="Group 4">
              <a:extLst>
                <a:ext uri="{FF2B5EF4-FFF2-40B4-BE49-F238E27FC236}">
                  <a16:creationId xmlns:a16="http://schemas.microsoft.com/office/drawing/2014/main" id="{7831C44E-1C97-A76F-1CF4-84B744350465}"/>
                </a:ext>
              </a:extLst>
            </p:cNvPr>
            <p:cNvGrpSpPr>
              <a:grpSpLocks/>
            </p:cNvGrpSpPr>
            <p:nvPr/>
          </p:nvGrpSpPr>
          <p:grpSpPr bwMode="auto">
            <a:xfrm>
              <a:off x="2304682" y="2766452"/>
              <a:ext cx="8280322" cy="909288"/>
              <a:chOff x="1402921" y="2478822"/>
              <a:chExt cx="6794459" cy="746764"/>
            </a:xfrm>
          </p:grpSpPr>
          <p:pic>
            <p:nvPicPr>
              <p:cNvPr id="7"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1627C1A6-B2CB-593E-8194-47FBC1475D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745" y="2725756"/>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0A4E1F0-0D75-E596-9B5A-7F374C57A3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81713">
                <a:off x="3045353" y="2640372"/>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D5CD5060-5545-77B6-E69B-712131EDDC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81391">
                <a:off x="1402921" y="2478822"/>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3076A0EF-C228-44D1-A587-C3F0E19191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92851">
                <a:off x="6192075" y="2586554"/>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 name="Picture 324">
              <a:extLst>
                <a:ext uri="{FF2B5EF4-FFF2-40B4-BE49-F238E27FC236}">
                  <a16:creationId xmlns:a16="http://schemas.microsoft.com/office/drawing/2014/main" id="{09CD4C8E-75B5-63C2-854D-495D121883C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20671747">
              <a:off x="8160883" y="2785798"/>
              <a:ext cx="657783" cy="1021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Freeform 2">
              <a:extLst>
                <a:ext uri="{FF2B5EF4-FFF2-40B4-BE49-F238E27FC236}">
                  <a16:creationId xmlns:a16="http://schemas.microsoft.com/office/drawing/2014/main" id="{CB14C37C-D7FB-AA15-9079-0452B6009084}"/>
                </a:ext>
              </a:extLst>
            </p:cNvPr>
            <p:cNvSpPr>
              <a:spLocks/>
            </p:cNvSpPr>
            <p:nvPr/>
          </p:nvSpPr>
          <p:spPr bwMode="auto">
            <a:xfrm>
              <a:off x="2433008" y="2934627"/>
              <a:ext cx="7937460" cy="2837383"/>
            </a:xfrm>
            <a:custGeom>
              <a:avLst/>
              <a:gdLst>
                <a:gd name="connsiteX0" fmla="*/ 19 w 9676"/>
                <a:gd name="connsiteY0" fmla="*/ 8681 h 10000"/>
                <a:gd name="connsiteX1" fmla="*/ 1210 w 9676"/>
                <a:gd name="connsiteY1" fmla="*/ 8367 h 10000"/>
                <a:gd name="connsiteX2" fmla="*/ 1737 w 9676"/>
                <a:gd name="connsiteY2" fmla="*/ 8478 h 10000"/>
                <a:gd name="connsiteX3" fmla="*/ 2921 w 9676"/>
                <a:gd name="connsiteY3" fmla="*/ 8812 h 10000"/>
                <a:gd name="connsiteX4" fmla="*/ 5830 w 9676"/>
                <a:gd name="connsiteY4" fmla="*/ 9840 h 10000"/>
                <a:gd name="connsiteX5" fmla="*/ 7488 w 9676"/>
                <a:gd name="connsiteY5" fmla="*/ 9785 h 10000"/>
                <a:gd name="connsiteX6" fmla="*/ 9365 w 9676"/>
                <a:gd name="connsiteY6" fmla="*/ 8589 h 10000"/>
                <a:gd name="connsiteX7" fmla="*/ 9350 w 9676"/>
                <a:gd name="connsiteY7" fmla="*/ 3002 h 10000"/>
                <a:gd name="connsiteX8" fmla="*/ 9290 w 9676"/>
                <a:gd name="connsiteY8" fmla="*/ 334 h 10000"/>
                <a:gd name="connsiteX9" fmla="*/ 8280 w 9676"/>
                <a:gd name="connsiteY9" fmla="*/ 1001 h 10000"/>
                <a:gd name="connsiteX10" fmla="*/ 5958 w 9676"/>
                <a:gd name="connsiteY10" fmla="*/ 1751 h 10000"/>
                <a:gd name="connsiteX11" fmla="*/ 4029 w 9676"/>
                <a:gd name="connsiteY11" fmla="*/ 1306 h 10000"/>
                <a:gd name="connsiteX12" fmla="*/ 2996 w 9676"/>
                <a:gd name="connsiteY12" fmla="*/ 1028 h 10000"/>
                <a:gd name="connsiteX13" fmla="*/ 2499 w 9676"/>
                <a:gd name="connsiteY13" fmla="*/ 973 h 10000"/>
                <a:gd name="connsiteX14" fmla="*/ 2137 w 9676"/>
                <a:gd name="connsiteY14" fmla="*/ 667 h 10000"/>
                <a:gd name="connsiteX15" fmla="*/ 1489 w 9676"/>
                <a:gd name="connsiteY15" fmla="*/ 473 h 10000"/>
                <a:gd name="connsiteX16" fmla="*/ 825 w 9676"/>
                <a:gd name="connsiteY16" fmla="*/ 3141 h 10000"/>
                <a:gd name="connsiteX17" fmla="*/ 19 w 9676"/>
                <a:gd name="connsiteY17" fmla="*/ 8681 h 1000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583 w 10000"/>
                <a:gd name="connsiteY13" fmla="*/ 1943 h 10970"/>
                <a:gd name="connsiteX14" fmla="*/ 2209 w 10000"/>
                <a:gd name="connsiteY14" fmla="*/ 1637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583 w 10000"/>
                <a:gd name="connsiteY13" fmla="*/ 1943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096 w 10000"/>
                <a:gd name="connsiteY12" fmla="*/ 1998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164 w 10000"/>
                <a:gd name="connsiteY11" fmla="*/ 2276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158 w 10000"/>
                <a:gd name="connsiteY10" fmla="*/ 2721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57 w 10000"/>
                <a:gd name="connsiteY9" fmla="*/ 1971 h 10970"/>
                <a:gd name="connsiteX10" fmla="*/ 6306 w 10000"/>
                <a:gd name="connsiteY10" fmla="*/ 1530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000"/>
                <a:gd name="connsiteY0" fmla="*/ 9651 h 10970"/>
                <a:gd name="connsiteX1" fmla="*/ 1251 w 10000"/>
                <a:gd name="connsiteY1" fmla="*/ 9337 h 10970"/>
                <a:gd name="connsiteX2" fmla="*/ 1795 w 10000"/>
                <a:gd name="connsiteY2" fmla="*/ 9448 h 10970"/>
                <a:gd name="connsiteX3" fmla="*/ 3019 w 10000"/>
                <a:gd name="connsiteY3" fmla="*/ 9782 h 10970"/>
                <a:gd name="connsiteX4" fmla="*/ 6025 w 10000"/>
                <a:gd name="connsiteY4" fmla="*/ 10810 h 10970"/>
                <a:gd name="connsiteX5" fmla="*/ 7739 w 10000"/>
                <a:gd name="connsiteY5" fmla="*/ 10755 h 10970"/>
                <a:gd name="connsiteX6" fmla="*/ 9679 w 10000"/>
                <a:gd name="connsiteY6" fmla="*/ 9559 h 10970"/>
                <a:gd name="connsiteX7" fmla="*/ 9663 w 10000"/>
                <a:gd name="connsiteY7" fmla="*/ 3972 h 10970"/>
                <a:gd name="connsiteX8" fmla="*/ 9601 w 10000"/>
                <a:gd name="connsiteY8" fmla="*/ 1304 h 10970"/>
                <a:gd name="connsiteX9" fmla="*/ 8520 w 10000"/>
                <a:gd name="connsiteY9" fmla="*/ 1530 h 10970"/>
                <a:gd name="connsiteX10" fmla="*/ 6306 w 10000"/>
                <a:gd name="connsiteY10" fmla="*/ 1530 h 10970"/>
                <a:gd name="connsiteX11" fmla="*/ 4447 w 10000"/>
                <a:gd name="connsiteY11" fmla="*/ 690 h 10970"/>
                <a:gd name="connsiteX12" fmla="*/ 3561 w 10000"/>
                <a:gd name="connsiteY12" fmla="*/ 690 h 10970"/>
                <a:gd name="connsiteX13" fmla="*/ 2941 w 10000"/>
                <a:gd name="connsiteY13" fmla="*/ 410 h 10970"/>
                <a:gd name="connsiteX14" fmla="*/ 2233 w 10000"/>
                <a:gd name="connsiteY14" fmla="*/ 410 h 10970"/>
                <a:gd name="connsiteX15" fmla="*/ 728 w 10000"/>
                <a:gd name="connsiteY15" fmla="*/ 410 h 10970"/>
                <a:gd name="connsiteX16" fmla="*/ 853 w 10000"/>
                <a:gd name="connsiteY16" fmla="*/ 4111 h 10970"/>
                <a:gd name="connsiteX17" fmla="*/ 20 w 10000"/>
                <a:gd name="connsiteY17" fmla="*/ 9651 h 10970"/>
                <a:gd name="connsiteX0" fmla="*/ 20 w 10666"/>
                <a:gd name="connsiteY0" fmla="*/ 9855 h 11174"/>
                <a:gd name="connsiteX1" fmla="*/ 1251 w 10666"/>
                <a:gd name="connsiteY1" fmla="*/ 9541 h 11174"/>
                <a:gd name="connsiteX2" fmla="*/ 1795 w 10666"/>
                <a:gd name="connsiteY2" fmla="*/ 9652 h 11174"/>
                <a:gd name="connsiteX3" fmla="*/ 3019 w 10666"/>
                <a:gd name="connsiteY3" fmla="*/ 9986 h 11174"/>
                <a:gd name="connsiteX4" fmla="*/ 6025 w 10666"/>
                <a:gd name="connsiteY4" fmla="*/ 11014 h 11174"/>
                <a:gd name="connsiteX5" fmla="*/ 7739 w 10666"/>
                <a:gd name="connsiteY5" fmla="*/ 10959 h 11174"/>
                <a:gd name="connsiteX6" fmla="*/ 9679 w 10666"/>
                <a:gd name="connsiteY6" fmla="*/ 9763 h 11174"/>
                <a:gd name="connsiteX7" fmla="*/ 9663 w 10666"/>
                <a:gd name="connsiteY7" fmla="*/ 4176 h 11174"/>
                <a:gd name="connsiteX8" fmla="*/ 10645 w 10666"/>
                <a:gd name="connsiteY8" fmla="*/ 334 h 11174"/>
                <a:gd name="connsiteX9" fmla="*/ 8520 w 10666"/>
                <a:gd name="connsiteY9" fmla="*/ 1734 h 11174"/>
                <a:gd name="connsiteX10" fmla="*/ 6306 w 10666"/>
                <a:gd name="connsiteY10" fmla="*/ 1734 h 11174"/>
                <a:gd name="connsiteX11" fmla="*/ 4447 w 10666"/>
                <a:gd name="connsiteY11" fmla="*/ 894 h 11174"/>
                <a:gd name="connsiteX12" fmla="*/ 3561 w 10666"/>
                <a:gd name="connsiteY12" fmla="*/ 894 h 11174"/>
                <a:gd name="connsiteX13" fmla="*/ 2941 w 10666"/>
                <a:gd name="connsiteY13" fmla="*/ 614 h 11174"/>
                <a:gd name="connsiteX14" fmla="*/ 2233 w 10666"/>
                <a:gd name="connsiteY14" fmla="*/ 614 h 11174"/>
                <a:gd name="connsiteX15" fmla="*/ 728 w 10666"/>
                <a:gd name="connsiteY15" fmla="*/ 614 h 11174"/>
                <a:gd name="connsiteX16" fmla="*/ 853 w 10666"/>
                <a:gd name="connsiteY16" fmla="*/ 4315 h 11174"/>
                <a:gd name="connsiteX17" fmla="*/ 20 w 10666"/>
                <a:gd name="connsiteY17" fmla="*/ 9855 h 11174"/>
                <a:gd name="connsiteX0" fmla="*/ 20 w 10400"/>
                <a:gd name="connsiteY0" fmla="*/ 9651 h 10970"/>
                <a:gd name="connsiteX1" fmla="*/ 1251 w 10400"/>
                <a:gd name="connsiteY1" fmla="*/ 9337 h 10970"/>
                <a:gd name="connsiteX2" fmla="*/ 1795 w 10400"/>
                <a:gd name="connsiteY2" fmla="*/ 9448 h 10970"/>
                <a:gd name="connsiteX3" fmla="*/ 3019 w 10400"/>
                <a:gd name="connsiteY3" fmla="*/ 9782 h 10970"/>
                <a:gd name="connsiteX4" fmla="*/ 6025 w 10400"/>
                <a:gd name="connsiteY4" fmla="*/ 10810 h 10970"/>
                <a:gd name="connsiteX5" fmla="*/ 7739 w 10400"/>
                <a:gd name="connsiteY5" fmla="*/ 10755 h 10970"/>
                <a:gd name="connsiteX6" fmla="*/ 9679 w 10400"/>
                <a:gd name="connsiteY6" fmla="*/ 9559 h 10970"/>
                <a:gd name="connsiteX7" fmla="*/ 9663 w 10400"/>
                <a:gd name="connsiteY7" fmla="*/ 3972 h 10970"/>
                <a:gd name="connsiteX8" fmla="*/ 10379 w 10400"/>
                <a:gd name="connsiteY8" fmla="*/ 410 h 10970"/>
                <a:gd name="connsiteX9" fmla="*/ 8520 w 10400"/>
                <a:gd name="connsiteY9" fmla="*/ 1530 h 10970"/>
                <a:gd name="connsiteX10" fmla="*/ 6306 w 10400"/>
                <a:gd name="connsiteY10" fmla="*/ 1530 h 10970"/>
                <a:gd name="connsiteX11" fmla="*/ 4447 w 10400"/>
                <a:gd name="connsiteY11" fmla="*/ 690 h 10970"/>
                <a:gd name="connsiteX12" fmla="*/ 3561 w 10400"/>
                <a:gd name="connsiteY12" fmla="*/ 690 h 10970"/>
                <a:gd name="connsiteX13" fmla="*/ 2941 w 10400"/>
                <a:gd name="connsiteY13" fmla="*/ 410 h 10970"/>
                <a:gd name="connsiteX14" fmla="*/ 2233 w 10400"/>
                <a:gd name="connsiteY14" fmla="*/ 410 h 10970"/>
                <a:gd name="connsiteX15" fmla="*/ 728 w 10400"/>
                <a:gd name="connsiteY15" fmla="*/ 410 h 10970"/>
                <a:gd name="connsiteX16" fmla="*/ 853 w 10400"/>
                <a:gd name="connsiteY16" fmla="*/ 4111 h 10970"/>
                <a:gd name="connsiteX17" fmla="*/ 20 w 10400"/>
                <a:gd name="connsiteY17" fmla="*/ 9651 h 10970"/>
                <a:gd name="connsiteX0" fmla="*/ 20 w 10400"/>
                <a:gd name="connsiteY0" fmla="*/ 9651 h 10970"/>
                <a:gd name="connsiteX1" fmla="*/ 1251 w 10400"/>
                <a:gd name="connsiteY1" fmla="*/ 9337 h 10970"/>
                <a:gd name="connsiteX2" fmla="*/ 1795 w 10400"/>
                <a:gd name="connsiteY2" fmla="*/ 9448 h 10970"/>
                <a:gd name="connsiteX3" fmla="*/ 3019 w 10400"/>
                <a:gd name="connsiteY3" fmla="*/ 9782 h 10970"/>
                <a:gd name="connsiteX4" fmla="*/ 6025 w 10400"/>
                <a:gd name="connsiteY4" fmla="*/ 10810 h 10970"/>
                <a:gd name="connsiteX5" fmla="*/ 7739 w 10400"/>
                <a:gd name="connsiteY5" fmla="*/ 10755 h 10970"/>
                <a:gd name="connsiteX6" fmla="*/ 9679 w 10400"/>
                <a:gd name="connsiteY6" fmla="*/ 9559 h 10970"/>
                <a:gd name="connsiteX7" fmla="*/ 10379 w 10400"/>
                <a:gd name="connsiteY7" fmla="*/ 4331 h 10970"/>
                <a:gd name="connsiteX8" fmla="*/ 10379 w 10400"/>
                <a:gd name="connsiteY8" fmla="*/ 410 h 10970"/>
                <a:gd name="connsiteX9" fmla="*/ 8520 w 10400"/>
                <a:gd name="connsiteY9" fmla="*/ 1530 h 10970"/>
                <a:gd name="connsiteX10" fmla="*/ 6306 w 10400"/>
                <a:gd name="connsiteY10" fmla="*/ 1530 h 10970"/>
                <a:gd name="connsiteX11" fmla="*/ 4447 w 10400"/>
                <a:gd name="connsiteY11" fmla="*/ 690 h 10970"/>
                <a:gd name="connsiteX12" fmla="*/ 3561 w 10400"/>
                <a:gd name="connsiteY12" fmla="*/ 690 h 10970"/>
                <a:gd name="connsiteX13" fmla="*/ 2941 w 10400"/>
                <a:gd name="connsiteY13" fmla="*/ 410 h 10970"/>
                <a:gd name="connsiteX14" fmla="*/ 2233 w 10400"/>
                <a:gd name="connsiteY14" fmla="*/ 410 h 10970"/>
                <a:gd name="connsiteX15" fmla="*/ 728 w 10400"/>
                <a:gd name="connsiteY15" fmla="*/ 410 h 10970"/>
                <a:gd name="connsiteX16" fmla="*/ 853 w 10400"/>
                <a:gd name="connsiteY16" fmla="*/ 4111 h 10970"/>
                <a:gd name="connsiteX17" fmla="*/ 20 w 10400"/>
                <a:gd name="connsiteY17" fmla="*/ 9651 h 10970"/>
                <a:gd name="connsiteX0" fmla="*/ 20 w 10700"/>
                <a:gd name="connsiteY0" fmla="*/ 9651 h 10970"/>
                <a:gd name="connsiteX1" fmla="*/ 1251 w 10700"/>
                <a:gd name="connsiteY1" fmla="*/ 9337 h 10970"/>
                <a:gd name="connsiteX2" fmla="*/ 1795 w 10700"/>
                <a:gd name="connsiteY2" fmla="*/ 9448 h 10970"/>
                <a:gd name="connsiteX3" fmla="*/ 3019 w 10700"/>
                <a:gd name="connsiteY3" fmla="*/ 9782 h 10970"/>
                <a:gd name="connsiteX4" fmla="*/ 6025 w 10700"/>
                <a:gd name="connsiteY4" fmla="*/ 10810 h 10970"/>
                <a:gd name="connsiteX5" fmla="*/ 7739 w 10700"/>
                <a:gd name="connsiteY5" fmla="*/ 10755 h 10970"/>
                <a:gd name="connsiteX6" fmla="*/ 10379 w 10700"/>
                <a:gd name="connsiteY6" fmla="*/ 9651 h 10970"/>
                <a:gd name="connsiteX7" fmla="*/ 10379 w 10700"/>
                <a:gd name="connsiteY7" fmla="*/ 4331 h 10970"/>
                <a:gd name="connsiteX8" fmla="*/ 10379 w 10700"/>
                <a:gd name="connsiteY8" fmla="*/ 410 h 10970"/>
                <a:gd name="connsiteX9" fmla="*/ 8520 w 10700"/>
                <a:gd name="connsiteY9" fmla="*/ 1530 h 10970"/>
                <a:gd name="connsiteX10" fmla="*/ 6306 w 10700"/>
                <a:gd name="connsiteY10" fmla="*/ 1530 h 10970"/>
                <a:gd name="connsiteX11" fmla="*/ 4447 w 10700"/>
                <a:gd name="connsiteY11" fmla="*/ 690 h 10970"/>
                <a:gd name="connsiteX12" fmla="*/ 3561 w 10700"/>
                <a:gd name="connsiteY12" fmla="*/ 690 h 10970"/>
                <a:gd name="connsiteX13" fmla="*/ 2941 w 10700"/>
                <a:gd name="connsiteY13" fmla="*/ 410 h 10970"/>
                <a:gd name="connsiteX14" fmla="*/ 2233 w 10700"/>
                <a:gd name="connsiteY14" fmla="*/ 410 h 10970"/>
                <a:gd name="connsiteX15" fmla="*/ 728 w 10700"/>
                <a:gd name="connsiteY15" fmla="*/ 410 h 10970"/>
                <a:gd name="connsiteX16" fmla="*/ 853 w 10700"/>
                <a:gd name="connsiteY16" fmla="*/ 4111 h 10970"/>
                <a:gd name="connsiteX17" fmla="*/ 20 w 10700"/>
                <a:gd name="connsiteY17" fmla="*/ 9651 h 10970"/>
                <a:gd name="connsiteX0" fmla="*/ 20 w 10526"/>
                <a:gd name="connsiteY0" fmla="*/ 9651 h 10970"/>
                <a:gd name="connsiteX1" fmla="*/ 1251 w 10526"/>
                <a:gd name="connsiteY1" fmla="*/ 9337 h 10970"/>
                <a:gd name="connsiteX2" fmla="*/ 1795 w 10526"/>
                <a:gd name="connsiteY2" fmla="*/ 9448 h 10970"/>
                <a:gd name="connsiteX3" fmla="*/ 3019 w 10526"/>
                <a:gd name="connsiteY3" fmla="*/ 9782 h 10970"/>
                <a:gd name="connsiteX4" fmla="*/ 6025 w 10526"/>
                <a:gd name="connsiteY4" fmla="*/ 10810 h 10970"/>
                <a:gd name="connsiteX5" fmla="*/ 7739 w 10526"/>
                <a:gd name="connsiteY5" fmla="*/ 10755 h 10970"/>
                <a:gd name="connsiteX6" fmla="*/ 10379 w 10526"/>
                <a:gd name="connsiteY6" fmla="*/ 9651 h 10970"/>
                <a:gd name="connsiteX7" fmla="*/ 10379 w 10526"/>
                <a:gd name="connsiteY7" fmla="*/ 4331 h 10970"/>
                <a:gd name="connsiteX8" fmla="*/ 10379 w 10526"/>
                <a:gd name="connsiteY8" fmla="*/ 410 h 10970"/>
                <a:gd name="connsiteX9" fmla="*/ 8520 w 10526"/>
                <a:gd name="connsiteY9" fmla="*/ 1530 h 10970"/>
                <a:gd name="connsiteX10" fmla="*/ 6306 w 10526"/>
                <a:gd name="connsiteY10" fmla="*/ 1530 h 10970"/>
                <a:gd name="connsiteX11" fmla="*/ 4447 w 10526"/>
                <a:gd name="connsiteY11" fmla="*/ 690 h 10970"/>
                <a:gd name="connsiteX12" fmla="*/ 3561 w 10526"/>
                <a:gd name="connsiteY12" fmla="*/ 690 h 10970"/>
                <a:gd name="connsiteX13" fmla="*/ 2941 w 10526"/>
                <a:gd name="connsiteY13" fmla="*/ 410 h 10970"/>
                <a:gd name="connsiteX14" fmla="*/ 2233 w 10526"/>
                <a:gd name="connsiteY14" fmla="*/ 410 h 10970"/>
                <a:gd name="connsiteX15" fmla="*/ 728 w 10526"/>
                <a:gd name="connsiteY15" fmla="*/ 410 h 10970"/>
                <a:gd name="connsiteX16" fmla="*/ 853 w 10526"/>
                <a:gd name="connsiteY16" fmla="*/ 4111 h 10970"/>
                <a:gd name="connsiteX17" fmla="*/ 20 w 10526"/>
                <a:gd name="connsiteY17" fmla="*/ 9651 h 10970"/>
                <a:gd name="connsiteX0" fmla="*/ 20 w 10526"/>
                <a:gd name="connsiteY0" fmla="*/ 9651 h 10928"/>
                <a:gd name="connsiteX1" fmla="*/ 1251 w 10526"/>
                <a:gd name="connsiteY1" fmla="*/ 9337 h 10928"/>
                <a:gd name="connsiteX2" fmla="*/ 1795 w 10526"/>
                <a:gd name="connsiteY2" fmla="*/ 9448 h 10928"/>
                <a:gd name="connsiteX3" fmla="*/ 3019 w 10526"/>
                <a:gd name="connsiteY3" fmla="*/ 9782 h 10928"/>
                <a:gd name="connsiteX4" fmla="*/ 6025 w 10526"/>
                <a:gd name="connsiteY4" fmla="*/ 10810 h 10928"/>
                <a:gd name="connsiteX5" fmla="*/ 7723 w 10526"/>
                <a:gd name="connsiteY5" fmla="*/ 10492 h 10928"/>
                <a:gd name="connsiteX6" fmla="*/ 10379 w 10526"/>
                <a:gd name="connsiteY6" fmla="*/ 9651 h 10928"/>
                <a:gd name="connsiteX7" fmla="*/ 10379 w 10526"/>
                <a:gd name="connsiteY7" fmla="*/ 4331 h 10928"/>
                <a:gd name="connsiteX8" fmla="*/ 10379 w 10526"/>
                <a:gd name="connsiteY8" fmla="*/ 410 h 10928"/>
                <a:gd name="connsiteX9" fmla="*/ 8520 w 10526"/>
                <a:gd name="connsiteY9" fmla="*/ 1530 h 10928"/>
                <a:gd name="connsiteX10" fmla="*/ 6306 w 10526"/>
                <a:gd name="connsiteY10" fmla="*/ 1530 h 10928"/>
                <a:gd name="connsiteX11" fmla="*/ 4447 w 10526"/>
                <a:gd name="connsiteY11" fmla="*/ 690 h 10928"/>
                <a:gd name="connsiteX12" fmla="*/ 3561 w 10526"/>
                <a:gd name="connsiteY12" fmla="*/ 690 h 10928"/>
                <a:gd name="connsiteX13" fmla="*/ 2941 w 10526"/>
                <a:gd name="connsiteY13" fmla="*/ 410 h 10928"/>
                <a:gd name="connsiteX14" fmla="*/ 2233 w 10526"/>
                <a:gd name="connsiteY14" fmla="*/ 410 h 10928"/>
                <a:gd name="connsiteX15" fmla="*/ 728 w 10526"/>
                <a:gd name="connsiteY15" fmla="*/ 410 h 10928"/>
                <a:gd name="connsiteX16" fmla="*/ 853 w 10526"/>
                <a:gd name="connsiteY16" fmla="*/ 4111 h 10928"/>
                <a:gd name="connsiteX17" fmla="*/ 20 w 10526"/>
                <a:gd name="connsiteY17" fmla="*/ 9651 h 10928"/>
                <a:gd name="connsiteX0" fmla="*/ 20 w 10526"/>
                <a:gd name="connsiteY0" fmla="*/ 9651 h 10700"/>
                <a:gd name="connsiteX1" fmla="*/ 1251 w 10526"/>
                <a:gd name="connsiteY1" fmla="*/ 9337 h 10700"/>
                <a:gd name="connsiteX2" fmla="*/ 1795 w 10526"/>
                <a:gd name="connsiteY2" fmla="*/ 9448 h 10700"/>
                <a:gd name="connsiteX3" fmla="*/ 3019 w 10526"/>
                <a:gd name="connsiteY3" fmla="*/ 9782 h 10700"/>
                <a:gd name="connsiteX4" fmla="*/ 5952 w 10526"/>
                <a:gd name="connsiteY4" fmla="*/ 10212 h 10700"/>
                <a:gd name="connsiteX5" fmla="*/ 7723 w 10526"/>
                <a:gd name="connsiteY5" fmla="*/ 10492 h 10700"/>
                <a:gd name="connsiteX6" fmla="*/ 10379 w 10526"/>
                <a:gd name="connsiteY6" fmla="*/ 9651 h 10700"/>
                <a:gd name="connsiteX7" fmla="*/ 10379 w 10526"/>
                <a:gd name="connsiteY7" fmla="*/ 4331 h 10700"/>
                <a:gd name="connsiteX8" fmla="*/ 10379 w 10526"/>
                <a:gd name="connsiteY8" fmla="*/ 410 h 10700"/>
                <a:gd name="connsiteX9" fmla="*/ 8520 w 10526"/>
                <a:gd name="connsiteY9" fmla="*/ 1530 h 10700"/>
                <a:gd name="connsiteX10" fmla="*/ 6306 w 10526"/>
                <a:gd name="connsiteY10" fmla="*/ 1530 h 10700"/>
                <a:gd name="connsiteX11" fmla="*/ 4447 w 10526"/>
                <a:gd name="connsiteY11" fmla="*/ 690 h 10700"/>
                <a:gd name="connsiteX12" fmla="*/ 3561 w 10526"/>
                <a:gd name="connsiteY12" fmla="*/ 690 h 10700"/>
                <a:gd name="connsiteX13" fmla="*/ 2941 w 10526"/>
                <a:gd name="connsiteY13" fmla="*/ 410 h 10700"/>
                <a:gd name="connsiteX14" fmla="*/ 2233 w 10526"/>
                <a:gd name="connsiteY14" fmla="*/ 410 h 10700"/>
                <a:gd name="connsiteX15" fmla="*/ 728 w 10526"/>
                <a:gd name="connsiteY15" fmla="*/ 410 h 10700"/>
                <a:gd name="connsiteX16" fmla="*/ 853 w 10526"/>
                <a:gd name="connsiteY16" fmla="*/ 4111 h 10700"/>
                <a:gd name="connsiteX17" fmla="*/ 20 w 10526"/>
                <a:gd name="connsiteY17" fmla="*/ 9651 h 10700"/>
                <a:gd name="connsiteX0" fmla="*/ 20 w 10526"/>
                <a:gd name="connsiteY0" fmla="*/ 9651 h 10700"/>
                <a:gd name="connsiteX1" fmla="*/ 1251 w 10526"/>
                <a:gd name="connsiteY1" fmla="*/ 9337 h 10700"/>
                <a:gd name="connsiteX2" fmla="*/ 1795 w 10526"/>
                <a:gd name="connsiteY2" fmla="*/ 9448 h 10700"/>
                <a:gd name="connsiteX3" fmla="*/ 3019 w 10526"/>
                <a:gd name="connsiteY3" fmla="*/ 9782 h 10700"/>
                <a:gd name="connsiteX4" fmla="*/ 5952 w 10526"/>
                <a:gd name="connsiteY4" fmla="*/ 10212 h 10700"/>
                <a:gd name="connsiteX5" fmla="*/ 7723 w 10526"/>
                <a:gd name="connsiteY5" fmla="*/ 10492 h 10700"/>
                <a:gd name="connsiteX6" fmla="*/ 10379 w 10526"/>
                <a:gd name="connsiteY6" fmla="*/ 9651 h 10700"/>
                <a:gd name="connsiteX7" fmla="*/ 10379 w 10526"/>
                <a:gd name="connsiteY7" fmla="*/ 4331 h 10700"/>
                <a:gd name="connsiteX8" fmla="*/ 10379 w 10526"/>
                <a:gd name="connsiteY8" fmla="*/ 410 h 10700"/>
                <a:gd name="connsiteX9" fmla="*/ 8520 w 10526"/>
                <a:gd name="connsiteY9" fmla="*/ 1530 h 10700"/>
                <a:gd name="connsiteX10" fmla="*/ 6306 w 10526"/>
                <a:gd name="connsiteY10" fmla="*/ 1530 h 10700"/>
                <a:gd name="connsiteX11" fmla="*/ 4447 w 10526"/>
                <a:gd name="connsiteY11" fmla="*/ 690 h 10700"/>
                <a:gd name="connsiteX12" fmla="*/ 3561 w 10526"/>
                <a:gd name="connsiteY12" fmla="*/ 690 h 10700"/>
                <a:gd name="connsiteX13" fmla="*/ 2941 w 10526"/>
                <a:gd name="connsiteY13" fmla="*/ 410 h 10700"/>
                <a:gd name="connsiteX14" fmla="*/ 2233 w 10526"/>
                <a:gd name="connsiteY14" fmla="*/ 410 h 10700"/>
                <a:gd name="connsiteX15" fmla="*/ 728 w 10526"/>
                <a:gd name="connsiteY15" fmla="*/ 410 h 10700"/>
                <a:gd name="connsiteX16" fmla="*/ 816 w 10526"/>
                <a:gd name="connsiteY16" fmla="*/ 3490 h 10700"/>
                <a:gd name="connsiteX17" fmla="*/ 20 w 10526"/>
                <a:gd name="connsiteY17" fmla="*/ 965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398 w 10019"/>
                <a:gd name="connsiteY0" fmla="*/ 7691 h 10700"/>
                <a:gd name="connsiteX1" fmla="*/ 744 w 10019"/>
                <a:gd name="connsiteY1" fmla="*/ 9337 h 10700"/>
                <a:gd name="connsiteX2" fmla="*/ 1288 w 10019"/>
                <a:gd name="connsiteY2" fmla="*/ 9448 h 10700"/>
                <a:gd name="connsiteX3" fmla="*/ 2512 w 10019"/>
                <a:gd name="connsiteY3" fmla="*/ 9782 h 10700"/>
                <a:gd name="connsiteX4" fmla="*/ 5445 w 10019"/>
                <a:gd name="connsiteY4" fmla="*/ 10212 h 10700"/>
                <a:gd name="connsiteX5" fmla="*/ 7216 w 10019"/>
                <a:gd name="connsiteY5" fmla="*/ 10492 h 10700"/>
                <a:gd name="connsiteX6" fmla="*/ 9872 w 10019"/>
                <a:gd name="connsiteY6" fmla="*/ 9651 h 10700"/>
                <a:gd name="connsiteX7" fmla="*/ 9872 w 10019"/>
                <a:gd name="connsiteY7" fmla="*/ 4331 h 10700"/>
                <a:gd name="connsiteX8" fmla="*/ 9872 w 10019"/>
                <a:gd name="connsiteY8" fmla="*/ 410 h 10700"/>
                <a:gd name="connsiteX9" fmla="*/ 8013 w 10019"/>
                <a:gd name="connsiteY9" fmla="*/ 1530 h 10700"/>
                <a:gd name="connsiteX10" fmla="*/ 5799 w 10019"/>
                <a:gd name="connsiteY10" fmla="*/ 1530 h 10700"/>
                <a:gd name="connsiteX11" fmla="*/ 3940 w 10019"/>
                <a:gd name="connsiteY11" fmla="*/ 690 h 10700"/>
                <a:gd name="connsiteX12" fmla="*/ 3054 w 10019"/>
                <a:gd name="connsiteY12" fmla="*/ 690 h 10700"/>
                <a:gd name="connsiteX13" fmla="*/ 2434 w 10019"/>
                <a:gd name="connsiteY13" fmla="*/ 410 h 10700"/>
                <a:gd name="connsiteX14" fmla="*/ 1726 w 10019"/>
                <a:gd name="connsiteY14" fmla="*/ 410 h 10700"/>
                <a:gd name="connsiteX15" fmla="*/ 221 w 10019"/>
                <a:gd name="connsiteY15" fmla="*/ 410 h 10700"/>
                <a:gd name="connsiteX16" fmla="*/ 309 w 10019"/>
                <a:gd name="connsiteY16" fmla="*/ 3490 h 10700"/>
                <a:gd name="connsiteX17" fmla="*/ 398 w 10019"/>
                <a:gd name="connsiteY17" fmla="*/ 7691 h 10700"/>
                <a:gd name="connsiteX0" fmla="*/ 177 w 9798"/>
                <a:gd name="connsiteY0" fmla="*/ 7691 h 10700"/>
                <a:gd name="connsiteX1" fmla="*/ 523 w 9798"/>
                <a:gd name="connsiteY1" fmla="*/ 9337 h 10700"/>
                <a:gd name="connsiteX2" fmla="*/ 1067 w 9798"/>
                <a:gd name="connsiteY2" fmla="*/ 9448 h 10700"/>
                <a:gd name="connsiteX3" fmla="*/ 2291 w 9798"/>
                <a:gd name="connsiteY3" fmla="*/ 9782 h 10700"/>
                <a:gd name="connsiteX4" fmla="*/ 5224 w 9798"/>
                <a:gd name="connsiteY4" fmla="*/ 10212 h 10700"/>
                <a:gd name="connsiteX5" fmla="*/ 6995 w 9798"/>
                <a:gd name="connsiteY5" fmla="*/ 10492 h 10700"/>
                <a:gd name="connsiteX6" fmla="*/ 9651 w 9798"/>
                <a:gd name="connsiteY6" fmla="*/ 9651 h 10700"/>
                <a:gd name="connsiteX7" fmla="*/ 9651 w 9798"/>
                <a:gd name="connsiteY7" fmla="*/ 4331 h 10700"/>
                <a:gd name="connsiteX8" fmla="*/ 9651 w 9798"/>
                <a:gd name="connsiteY8" fmla="*/ 410 h 10700"/>
                <a:gd name="connsiteX9" fmla="*/ 7792 w 9798"/>
                <a:gd name="connsiteY9" fmla="*/ 1530 h 10700"/>
                <a:gd name="connsiteX10" fmla="*/ 5578 w 9798"/>
                <a:gd name="connsiteY10" fmla="*/ 1530 h 10700"/>
                <a:gd name="connsiteX11" fmla="*/ 3719 w 9798"/>
                <a:gd name="connsiteY11" fmla="*/ 690 h 10700"/>
                <a:gd name="connsiteX12" fmla="*/ 2833 w 9798"/>
                <a:gd name="connsiteY12" fmla="*/ 690 h 10700"/>
                <a:gd name="connsiteX13" fmla="*/ 2213 w 9798"/>
                <a:gd name="connsiteY13" fmla="*/ 410 h 10700"/>
                <a:gd name="connsiteX14" fmla="*/ 1505 w 9798"/>
                <a:gd name="connsiteY14" fmla="*/ 410 h 10700"/>
                <a:gd name="connsiteX15" fmla="*/ 0 w 9798"/>
                <a:gd name="connsiteY15" fmla="*/ 410 h 10700"/>
                <a:gd name="connsiteX16" fmla="*/ 88 w 9798"/>
                <a:gd name="connsiteY16" fmla="*/ 3490 h 10700"/>
                <a:gd name="connsiteX17" fmla="*/ 177 w 9798"/>
                <a:gd name="connsiteY17" fmla="*/ 7691 h 10700"/>
                <a:gd name="connsiteX0" fmla="*/ 181 w 10000"/>
                <a:gd name="connsiteY0" fmla="*/ 7188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181 w 10000"/>
                <a:gd name="connsiteY17" fmla="*/ 7188 h 10000"/>
                <a:gd name="connsiteX0" fmla="*/ 271 w 10000"/>
                <a:gd name="connsiteY0" fmla="*/ 6926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271 w 10000"/>
                <a:gd name="connsiteY17" fmla="*/ 6926 h 10000"/>
                <a:gd name="connsiteX0" fmla="*/ 271 w 10000"/>
                <a:gd name="connsiteY0" fmla="*/ 6926 h 10000"/>
                <a:gd name="connsiteX1" fmla="*/ 534 w 10000"/>
                <a:gd name="connsiteY1" fmla="*/ 8726 h 10000"/>
                <a:gd name="connsiteX2" fmla="*/ 1089 w 10000"/>
                <a:gd name="connsiteY2" fmla="*/ 8830 h 10000"/>
                <a:gd name="connsiteX3" fmla="*/ 2338 w 10000"/>
                <a:gd name="connsiteY3" fmla="*/ 9142 h 10000"/>
                <a:gd name="connsiteX4" fmla="*/ 5332 w 10000"/>
                <a:gd name="connsiteY4" fmla="*/ 9544 h 10000"/>
                <a:gd name="connsiteX5" fmla="*/ 7139 w 10000"/>
                <a:gd name="connsiteY5" fmla="*/ 9806 h 10000"/>
                <a:gd name="connsiteX6" fmla="*/ 9850 w 10000"/>
                <a:gd name="connsiteY6" fmla="*/ 9020 h 10000"/>
                <a:gd name="connsiteX7" fmla="*/ 9850 w 10000"/>
                <a:gd name="connsiteY7" fmla="*/ 4048 h 10000"/>
                <a:gd name="connsiteX8" fmla="*/ 9850 w 10000"/>
                <a:gd name="connsiteY8" fmla="*/ 383 h 10000"/>
                <a:gd name="connsiteX9" fmla="*/ 7953 w 10000"/>
                <a:gd name="connsiteY9" fmla="*/ 1430 h 10000"/>
                <a:gd name="connsiteX10" fmla="*/ 5693 w 10000"/>
                <a:gd name="connsiteY10" fmla="*/ 1430 h 10000"/>
                <a:gd name="connsiteX11" fmla="*/ 3796 w 10000"/>
                <a:gd name="connsiteY11" fmla="*/ 645 h 10000"/>
                <a:gd name="connsiteX12" fmla="*/ 2891 w 10000"/>
                <a:gd name="connsiteY12" fmla="*/ 645 h 10000"/>
                <a:gd name="connsiteX13" fmla="*/ 2259 w 10000"/>
                <a:gd name="connsiteY13" fmla="*/ 383 h 10000"/>
                <a:gd name="connsiteX14" fmla="*/ 1536 w 10000"/>
                <a:gd name="connsiteY14" fmla="*/ 383 h 10000"/>
                <a:gd name="connsiteX15" fmla="*/ 0 w 10000"/>
                <a:gd name="connsiteY15" fmla="*/ 383 h 10000"/>
                <a:gd name="connsiteX16" fmla="*/ 90 w 10000"/>
                <a:gd name="connsiteY16" fmla="*/ 3262 h 10000"/>
                <a:gd name="connsiteX17" fmla="*/ 271 w 10000"/>
                <a:gd name="connsiteY17" fmla="*/ 6926 h 10000"/>
                <a:gd name="connsiteX0" fmla="*/ 362 w 10091"/>
                <a:gd name="connsiteY0" fmla="*/ 7188 h 10262"/>
                <a:gd name="connsiteX1" fmla="*/ 625 w 10091"/>
                <a:gd name="connsiteY1" fmla="*/ 8988 h 10262"/>
                <a:gd name="connsiteX2" fmla="*/ 1180 w 10091"/>
                <a:gd name="connsiteY2" fmla="*/ 9092 h 10262"/>
                <a:gd name="connsiteX3" fmla="*/ 2429 w 10091"/>
                <a:gd name="connsiteY3" fmla="*/ 9404 h 10262"/>
                <a:gd name="connsiteX4" fmla="*/ 5423 w 10091"/>
                <a:gd name="connsiteY4" fmla="*/ 9806 h 10262"/>
                <a:gd name="connsiteX5" fmla="*/ 7230 w 10091"/>
                <a:gd name="connsiteY5" fmla="*/ 10068 h 10262"/>
                <a:gd name="connsiteX6" fmla="*/ 9941 w 10091"/>
                <a:gd name="connsiteY6" fmla="*/ 9282 h 10262"/>
                <a:gd name="connsiteX7" fmla="*/ 9941 w 10091"/>
                <a:gd name="connsiteY7" fmla="*/ 4310 h 10262"/>
                <a:gd name="connsiteX8" fmla="*/ 9941 w 10091"/>
                <a:gd name="connsiteY8" fmla="*/ 645 h 10262"/>
                <a:gd name="connsiteX9" fmla="*/ 8044 w 10091"/>
                <a:gd name="connsiteY9" fmla="*/ 1692 h 10262"/>
                <a:gd name="connsiteX10" fmla="*/ 5784 w 10091"/>
                <a:gd name="connsiteY10" fmla="*/ 1692 h 10262"/>
                <a:gd name="connsiteX11" fmla="*/ 3887 w 10091"/>
                <a:gd name="connsiteY11" fmla="*/ 907 h 10262"/>
                <a:gd name="connsiteX12" fmla="*/ 2982 w 10091"/>
                <a:gd name="connsiteY12" fmla="*/ 907 h 10262"/>
                <a:gd name="connsiteX13" fmla="*/ 2350 w 10091"/>
                <a:gd name="connsiteY13" fmla="*/ 645 h 10262"/>
                <a:gd name="connsiteX14" fmla="*/ 1627 w 10091"/>
                <a:gd name="connsiteY14" fmla="*/ 645 h 10262"/>
                <a:gd name="connsiteX15" fmla="*/ 0 w 10091"/>
                <a:gd name="connsiteY15" fmla="*/ 383 h 10262"/>
                <a:gd name="connsiteX16" fmla="*/ 181 w 10091"/>
                <a:gd name="connsiteY16" fmla="*/ 3524 h 10262"/>
                <a:gd name="connsiteX17" fmla="*/ 362 w 10091"/>
                <a:gd name="connsiteY17" fmla="*/ 7188 h 10262"/>
                <a:gd name="connsiteX0" fmla="*/ 362 w 10091"/>
                <a:gd name="connsiteY0" fmla="*/ 7188 h 10262"/>
                <a:gd name="connsiteX1" fmla="*/ 625 w 10091"/>
                <a:gd name="connsiteY1" fmla="*/ 8988 h 10262"/>
                <a:gd name="connsiteX2" fmla="*/ 1180 w 10091"/>
                <a:gd name="connsiteY2" fmla="*/ 9092 h 10262"/>
                <a:gd name="connsiteX3" fmla="*/ 2429 w 10091"/>
                <a:gd name="connsiteY3" fmla="*/ 9404 h 10262"/>
                <a:gd name="connsiteX4" fmla="*/ 5423 w 10091"/>
                <a:gd name="connsiteY4" fmla="*/ 9806 h 10262"/>
                <a:gd name="connsiteX5" fmla="*/ 7230 w 10091"/>
                <a:gd name="connsiteY5" fmla="*/ 10068 h 10262"/>
                <a:gd name="connsiteX6" fmla="*/ 9941 w 10091"/>
                <a:gd name="connsiteY6" fmla="*/ 9282 h 10262"/>
                <a:gd name="connsiteX7" fmla="*/ 9941 w 10091"/>
                <a:gd name="connsiteY7" fmla="*/ 4310 h 10262"/>
                <a:gd name="connsiteX8" fmla="*/ 9941 w 10091"/>
                <a:gd name="connsiteY8" fmla="*/ 645 h 10262"/>
                <a:gd name="connsiteX9" fmla="*/ 8044 w 10091"/>
                <a:gd name="connsiteY9" fmla="*/ 1692 h 10262"/>
                <a:gd name="connsiteX10" fmla="*/ 5784 w 10091"/>
                <a:gd name="connsiteY10" fmla="*/ 1692 h 10262"/>
                <a:gd name="connsiteX11" fmla="*/ 3887 w 10091"/>
                <a:gd name="connsiteY11" fmla="*/ 907 h 10262"/>
                <a:gd name="connsiteX12" fmla="*/ 2982 w 10091"/>
                <a:gd name="connsiteY12" fmla="*/ 907 h 10262"/>
                <a:gd name="connsiteX13" fmla="*/ 2350 w 10091"/>
                <a:gd name="connsiteY13" fmla="*/ 645 h 10262"/>
                <a:gd name="connsiteX14" fmla="*/ 1627 w 10091"/>
                <a:gd name="connsiteY14" fmla="*/ 645 h 10262"/>
                <a:gd name="connsiteX15" fmla="*/ 0 w 10091"/>
                <a:gd name="connsiteY15" fmla="*/ 383 h 10262"/>
                <a:gd name="connsiteX16" fmla="*/ 181 w 10091"/>
                <a:gd name="connsiteY16" fmla="*/ 3262 h 10262"/>
                <a:gd name="connsiteX17" fmla="*/ 362 w 10091"/>
                <a:gd name="connsiteY17" fmla="*/ 7188 h 10262"/>
                <a:gd name="connsiteX0" fmla="*/ 362 w 10226"/>
                <a:gd name="connsiteY0" fmla="*/ 7188 h 10262"/>
                <a:gd name="connsiteX1" fmla="*/ 625 w 10226"/>
                <a:gd name="connsiteY1" fmla="*/ 8988 h 10262"/>
                <a:gd name="connsiteX2" fmla="*/ 1180 w 10226"/>
                <a:gd name="connsiteY2" fmla="*/ 9092 h 10262"/>
                <a:gd name="connsiteX3" fmla="*/ 2429 w 10226"/>
                <a:gd name="connsiteY3" fmla="*/ 9404 h 10262"/>
                <a:gd name="connsiteX4" fmla="*/ 5423 w 10226"/>
                <a:gd name="connsiteY4" fmla="*/ 9806 h 10262"/>
                <a:gd name="connsiteX5" fmla="*/ 7230 w 10226"/>
                <a:gd name="connsiteY5" fmla="*/ 10068 h 10262"/>
                <a:gd name="connsiteX6" fmla="*/ 9941 w 10226"/>
                <a:gd name="connsiteY6" fmla="*/ 9282 h 10262"/>
                <a:gd name="connsiteX7" fmla="*/ 10212 w 10226"/>
                <a:gd name="connsiteY7" fmla="*/ 4571 h 10262"/>
                <a:gd name="connsiteX8" fmla="*/ 9941 w 10226"/>
                <a:gd name="connsiteY8" fmla="*/ 645 h 10262"/>
                <a:gd name="connsiteX9" fmla="*/ 8044 w 10226"/>
                <a:gd name="connsiteY9" fmla="*/ 1692 h 10262"/>
                <a:gd name="connsiteX10" fmla="*/ 5784 w 10226"/>
                <a:gd name="connsiteY10" fmla="*/ 1692 h 10262"/>
                <a:gd name="connsiteX11" fmla="*/ 3887 w 10226"/>
                <a:gd name="connsiteY11" fmla="*/ 907 h 10262"/>
                <a:gd name="connsiteX12" fmla="*/ 2982 w 10226"/>
                <a:gd name="connsiteY12" fmla="*/ 907 h 10262"/>
                <a:gd name="connsiteX13" fmla="*/ 2350 w 10226"/>
                <a:gd name="connsiteY13" fmla="*/ 645 h 10262"/>
                <a:gd name="connsiteX14" fmla="*/ 1627 w 10226"/>
                <a:gd name="connsiteY14" fmla="*/ 645 h 10262"/>
                <a:gd name="connsiteX15" fmla="*/ 0 w 10226"/>
                <a:gd name="connsiteY15" fmla="*/ 383 h 10262"/>
                <a:gd name="connsiteX16" fmla="*/ 181 w 10226"/>
                <a:gd name="connsiteY16" fmla="*/ 3262 h 10262"/>
                <a:gd name="connsiteX17" fmla="*/ 362 w 10226"/>
                <a:gd name="connsiteY17" fmla="*/ 7188 h 10262"/>
                <a:gd name="connsiteX0" fmla="*/ 362 w 10362"/>
                <a:gd name="connsiteY0" fmla="*/ 7188 h 10262"/>
                <a:gd name="connsiteX1" fmla="*/ 625 w 10362"/>
                <a:gd name="connsiteY1" fmla="*/ 8988 h 10262"/>
                <a:gd name="connsiteX2" fmla="*/ 1180 w 10362"/>
                <a:gd name="connsiteY2" fmla="*/ 9092 h 10262"/>
                <a:gd name="connsiteX3" fmla="*/ 2429 w 10362"/>
                <a:gd name="connsiteY3" fmla="*/ 9404 h 10262"/>
                <a:gd name="connsiteX4" fmla="*/ 5423 w 10362"/>
                <a:gd name="connsiteY4" fmla="*/ 9806 h 10262"/>
                <a:gd name="connsiteX5" fmla="*/ 7230 w 10362"/>
                <a:gd name="connsiteY5" fmla="*/ 10068 h 10262"/>
                <a:gd name="connsiteX6" fmla="*/ 10212 w 10362"/>
                <a:gd name="connsiteY6" fmla="*/ 9282 h 10262"/>
                <a:gd name="connsiteX7" fmla="*/ 10212 w 10362"/>
                <a:gd name="connsiteY7" fmla="*/ 4571 h 10262"/>
                <a:gd name="connsiteX8" fmla="*/ 9941 w 10362"/>
                <a:gd name="connsiteY8" fmla="*/ 645 h 10262"/>
                <a:gd name="connsiteX9" fmla="*/ 8044 w 10362"/>
                <a:gd name="connsiteY9" fmla="*/ 1692 h 10262"/>
                <a:gd name="connsiteX10" fmla="*/ 5784 w 10362"/>
                <a:gd name="connsiteY10" fmla="*/ 1692 h 10262"/>
                <a:gd name="connsiteX11" fmla="*/ 3887 w 10362"/>
                <a:gd name="connsiteY11" fmla="*/ 907 h 10262"/>
                <a:gd name="connsiteX12" fmla="*/ 2982 w 10362"/>
                <a:gd name="connsiteY12" fmla="*/ 907 h 10262"/>
                <a:gd name="connsiteX13" fmla="*/ 2350 w 10362"/>
                <a:gd name="connsiteY13" fmla="*/ 645 h 10262"/>
                <a:gd name="connsiteX14" fmla="*/ 1627 w 10362"/>
                <a:gd name="connsiteY14" fmla="*/ 645 h 10262"/>
                <a:gd name="connsiteX15" fmla="*/ 0 w 10362"/>
                <a:gd name="connsiteY15" fmla="*/ 383 h 10262"/>
                <a:gd name="connsiteX16" fmla="*/ 181 w 10362"/>
                <a:gd name="connsiteY16" fmla="*/ 3262 h 10262"/>
                <a:gd name="connsiteX17" fmla="*/ 362 w 10362"/>
                <a:gd name="connsiteY17" fmla="*/ 7188 h 10262"/>
                <a:gd name="connsiteX0" fmla="*/ 362 w 10326"/>
                <a:gd name="connsiteY0" fmla="*/ 7188 h 10262"/>
                <a:gd name="connsiteX1" fmla="*/ 625 w 10326"/>
                <a:gd name="connsiteY1" fmla="*/ 8988 h 10262"/>
                <a:gd name="connsiteX2" fmla="*/ 1180 w 10326"/>
                <a:gd name="connsiteY2" fmla="*/ 9092 h 10262"/>
                <a:gd name="connsiteX3" fmla="*/ 2429 w 10326"/>
                <a:gd name="connsiteY3" fmla="*/ 9404 h 10262"/>
                <a:gd name="connsiteX4" fmla="*/ 5423 w 10326"/>
                <a:gd name="connsiteY4" fmla="*/ 9806 h 10262"/>
                <a:gd name="connsiteX5" fmla="*/ 7230 w 10326"/>
                <a:gd name="connsiteY5" fmla="*/ 10068 h 10262"/>
                <a:gd name="connsiteX6" fmla="*/ 10212 w 10326"/>
                <a:gd name="connsiteY6" fmla="*/ 9282 h 10262"/>
                <a:gd name="connsiteX7" fmla="*/ 10212 w 10326"/>
                <a:gd name="connsiteY7" fmla="*/ 4571 h 10262"/>
                <a:gd name="connsiteX8" fmla="*/ 9941 w 10326"/>
                <a:gd name="connsiteY8" fmla="*/ 645 h 10262"/>
                <a:gd name="connsiteX9" fmla="*/ 8044 w 10326"/>
                <a:gd name="connsiteY9" fmla="*/ 1692 h 10262"/>
                <a:gd name="connsiteX10" fmla="*/ 5784 w 10326"/>
                <a:gd name="connsiteY10" fmla="*/ 1692 h 10262"/>
                <a:gd name="connsiteX11" fmla="*/ 3887 w 10326"/>
                <a:gd name="connsiteY11" fmla="*/ 907 h 10262"/>
                <a:gd name="connsiteX12" fmla="*/ 2982 w 10326"/>
                <a:gd name="connsiteY12" fmla="*/ 907 h 10262"/>
                <a:gd name="connsiteX13" fmla="*/ 2350 w 10326"/>
                <a:gd name="connsiteY13" fmla="*/ 645 h 10262"/>
                <a:gd name="connsiteX14" fmla="*/ 1627 w 10326"/>
                <a:gd name="connsiteY14" fmla="*/ 645 h 10262"/>
                <a:gd name="connsiteX15" fmla="*/ 0 w 10326"/>
                <a:gd name="connsiteY15" fmla="*/ 383 h 10262"/>
                <a:gd name="connsiteX16" fmla="*/ 181 w 10326"/>
                <a:gd name="connsiteY16" fmla="*/ 3262 h 10262"/>
                <a:gd name="connsiteX17" fmla="*/ 362 w 10326"/>
                <a:gd name="connsiteY17" fmla="*/ 7188 h 10262"/>
                <a:gd name="connsiteX0" fmla="*/ 362 w 10255"/>
                <a:gd name="connsiteY0" fmla="*/ 7188 h 10262"/>
                <a:gd name="connsiteX1" fmla="*/ 625 w 10255"/>
                <a:gd name="connsiteY1" fmla="*/ 8988 h 10262"/>
                <a:gd name="connsiteX2" fmla="*/ 1180 w 10255"/>
                <a:gd name="connsiteY2" fmla="*/ 9092 h 10262"/>
                <a:gd name="connsiteX3" fmla="*/ 2429 w 10255"/>
                <a:gd name="connsiteY3" fmla="*/ 9404 h 10262"/>
                <a:gd name="connsiteX4" fmla="*/ 5423 w 10255"/>
                <a:gd name="connsiteY4" fmla="*/ 9806 h 10262"/>
                <a:gd name="connsiteX5" fmla="*/ 7230 w 10255"/>
                <a:gd name="connsiteY5" fmla="*/ 10068 h 10262"/>
                <a:gd name="connsiteX6" fmla="*/ 10212 w 10255"/>
                <a:gd name="connsiteY6" fmla="*/ 9282 h 10262"/>
                <a:gd name="connsiteX7" fmla="*/ 10212 w 10255"/>
                <a:gd name="connsiteY7" fmla="*/ 4571 h 10262"/>
                <a:gd name="connsiteX8" fmla="*/ 9941 w 10255"/>
                <a:gd name="connsiteY8" fmla="*/ 645 h 10262"/>
                <a:gd name="connsiteX9" fmla="*/ 8044 w 10255"/>
                <a:gd name="connsiteY9" fmla="*/ 1692 h 10262"/>
                <a:gd name="connsiteX10" fmla="*/ 5784 w 10255"/>
                <a:gd name="connsiteY10" fmla="*/ 1692 h 10262"/>
                <a:gd name="connsiteX11" fmla="*/ 3887 w 10255"/>
                <a:gd name="connsiteY11" fmla="*/ 907 h 10262"/>
                <a:gd name="connsiteX12" fmla="*/ 2982 w 10255"/>
                <a:gd name="connsiteY12" fmla="*/ 907 h 10262"/>
                <a:gd name="connsiteX13" fmla="*/ 2350 w 10255"/>
                <a:gd name="connsiteY13" fmla="*/ 645 h 10262"/>
                <a:gd name="connsiteX14" fmla="*/ 1627 w 10255"/>
                <a:gd name="connsiteY14" fmla="*/ 645 h 10262"/>
                <a:gd name="connsiteX15" fmla="*/ 0 w 10255"/>
                <a:gd name="connsiteY15" fmla="*/ 383 h 10262"/>
                <a:gd name="connsiteX16" fmla="*/ 181 w 10255"/>
                <a:gd name="connsiteY16" fmla="*/ 3262 h 10262"/>
                <a:gd name="connsiteX17" fmla="*/ 362 w 10255"/>
                <a:gd name="connsiteY17" fmla="*/ 7188 h 10262"/>
                <a:gd name="connsiteX0" fmla="*/ 362 w 10237"/>
                <a:gd name="connsiteY0" fmla="*/ 7188 h 10262"/>
                <a:gd name="connsiteX1" fmla="*/ 625 w 10237"/>
                <a:gd name="connsiteY1" fmla="*/ 8988 h 10262"/>
                <a:gd name="connsiteX2" fmla="*/ 1180 w 10237"/>
                <a:gd name="connsiteY2" fmla="*/ 9092 h 10262"/>
                <a:gd name="connsiteX3" fmla="*/ 2429 w 10237"/>
                <a:gd name="connsiteY3" fmla="*/ 9404 h 10262"/>
                <a:gd name="connsiteX4" fmla="*/ 5423 w 10237"/>
                <a:gd name="connsiteY4" fmla="*/ 9806 h 10262"/>
                <a:gd name="connsiteX5" fmla="*/ 7230 w 10237"/>
                <a:gd name="connsiteY5" fmla="*/ 10068 h 10262"/>
                <a:gd name="connsiteX6" fmla="*/ 10212 w 10237"/>
                <a:gd name="connsiteY6" fmla="*/ 9282 h 10262"/>
                <a:gd name="connsiteX7" fmla="*/ 10212 w 10237"/>
                <a:gd name="connsiteY7" fmla="*/ 4571 h 10262"/>
                <a:gd name="connsiteX8" fmla="*/ 9941 w 10237"/>
                <a:gd name="connsiteY8" fmla="*/ 645 h 10262"/>
                <a:gd name="connsiteX9" fmla="*/ 8044 w 10237"/>
                <a:gd name="connsiteY9" fmla="*/ 1692 h 10262"/>
                <a:gd name="connsiteX10" fmla="*/ 5784 w 10237"/>
                <a:gd name="connsiteY10" fmla="*/ 1692 h 10262"/>
                <a:gd name="connsiteX11" fmla="*/ 3887 w 10237"/>
                <a:gd name="connsiteY11" fmla="*/ 907 h 10262"/>
                <a:gd name="connsiteX12" fmla="*/ 2982 w 10237"/>
                <a:gd name="connsiteY12" fmla="*/ 907 h 10262"/>
                <a:gd name="connsiteX13" fmla="*/ 2350 w 10237"/>
                <a:gd name="connsiteY13" fmla="*/ 645 h 10262"/>
                <a:gd name="connsiteX14" fmla="*/ 1627 w 10237"/>
                <a:gd name="connsiteY14" fmla="*/ 645 h 10262"/>
                <a:gd name="connsiteX15" fmla="*/ 0 w 10237"/>
                <a:gd name="connsiteY15" fmla="*/ 383 h 10262"/>
                <a:gd name="connsiteX16" fmla="*/ 181 w 10237"/>
                <a:gd name="connsiteY16" fmla="*/ 3262 h 10262"/>
                <a:gd name="connsiteX17" fmla="*/ 362 w 10237"/>
                <a:gd name="connsiteY17" fmla="*/ 7188 h 10262"/>
                <a:gd name="connsiteX0" fmla="*/ 362 w 10237"/>
                <a:gd name="connsiteY0" fmla="*/ 7188 h 10262"/>
                <a:gd name="connsiteX1" fmla="*/ 625 w 10237"/>
                <a:gd name="connsiteY1" fmla="*/ 8988 h 10262"/>
                <a:gd name="connsiteX2" fmla="*/ 1180 w 10237"/>
                <a:gd name="connsiteY2" fmla="*/ 9092 h 10262"/>
                <a:gd name="connsiteX3" fmla="*/ 2429 w 10237"/>
                <a:gd name="connsiteY3" fmla="*/ 9404 h 10262"/>
                <a:gd name="connsiteX4" fmla="*/ 5423 w 10237"/>
                <a:gd name="connsiteY4" fmla="*/ 9806 h 10262"/>
                <a:gd name="connsiteX5" fmla="*/ 7230 w 10237"/>
                <a:gd name="connsiteY5" fmla="*/ 10068 h 10262"/>
                <a:gd name="connsiteX6" fmla="*/ 10212 w 10237"/>
                <a:gd name="connsiteY6" fmla="*/ 9282 h 10262"/>
                <a:gd name="connsiteX7" fmla="*/ 10212 w 10237"/>
                <a:gd name="connsiteY7" fmla="*/ 4571 h 10262"/>
                <a:gd name="connsiteX8" fmla="*/ 10212 w 10237"/>
                <a:gd name="connsiteY8" fmla="*/ 645 h 10262"/>
                <a:gd name="connsiteX9" fmla="*/ 8044 w 10237"/>
                <a:gd name="connsiteY9" fmla="*/ 1692 h 10262"/>
                <a:gd name="connsiteX10" fmla="*/ 5784 w 10237"/>
                <a:gd name="connsiteY10" fmla="*/ 1692 h 10262"/>
                <a:gd name="connsiteX11" fmla="*/ 3887 w 10237"/>
                <a:gd name="connsiteY11" fmla="*/ 907 h 10262"/>
                <a:gd name="connsiteX12" fmla="*/ 2982 w 10237"/>
                <a:gd name="connsiteY12" fmla="*/ 907 h 10262"/>
                <a:gd name="connsiteX13" fmla="*/ 2350 w 10237"/>
                <a:gd name="connsiteY13" fmla="*/ 645 h 10262"/>
                <a:gd name="connsiteX14" fmla="*/ 1627 w 10237"/>
                <a:gd name="connsiteY14" fmla="*/ 645 h 10262"/>
                <a:gd name="connsiteX15" fmla="*/ 0 w 10237"/>
                <a:gd name="connsiteY15" fmla="*/ 383 h 10262"/>
                <a:gd name="connsiteX16" fmla="*/ 181 w 10237"/>
                <a:gd name="connsiteY16" fmla="*/ 3262 h 10262"/>
                <a:gd name="connsiteX17" fmla="*/ 362 w 10237"/>
                <a:gd name="connsiteY17" fmla="*/ 7188 h 10262"/>
                <a:gd name="connsiteX0" fmla="*/ 594 w 10469"/>
                <a:gd name="connsiteY0" fmla="*/ 6969 h 10043"/>
                <a:gd name="connsiteX1" fmla="*/ 857 w 10469"/>
                <a:gd name="connsiteY1" fmla="*/ 8769 h 10043"/>
                <a:gd name="connsiteX2" fmla="*/ 1412 w 10469"/>
                <a:gd name="connsiteY2" fmla="*/ 8873 h 10043"/>
                <a:gd name="connsiteX3" fmla="*/ 2661 w 10469"/>
                <a:gd name="connsiteY3" fmla="*/ 9185 h 10043"/>
                <a:gd name="connsiteX4" fmla="*/ 5655 w 10469"/>
                <a:gd name="connsiteY4" fmla="*/ 9587 h 10043"/>
                <a:gd name="connsiteX5" fmla="*/ 7462 w 10469"/>
                <a:gd name="connsiteY5" fmla="*/ 9849 h 10043"/>
                <a:gd name="connsiteX6" fmla="*/ 10444 w 10469"/>
                <a:gd name="connsiteY6" fmla="*/ 9063 h 10043"/>
                <a:gd name="connsiteX7" fmla="*/ 10444 w 10469"/>
                <a:gd name="connsiteY7" fmla="*/ 4352 h 10043"/>
                <a:gd name="connsiteX8" fmla="*/ 10444 w 10469"/>
                <a:gd name="connsiteY8" fmla="*/ 426 h 10043"/>
                <a:gd name="connsiteX9" fmla="*/ 8276 w 10469"/>
                <a:gd name="connsiteY9" fmla="*/ 1473 h 10043"/>
                <a:gd name="connsiteX10" fmla="*/ 6016 w 10469"/>
                <a:gd name="connsiteY10" fmla="*/ 1473 h 10043"/>
                <a:gd name="connsiteX11" fmla="*/ 4119 w 10469"/>
                <a:gd name="connsiteY11" fmla="*/ 688 h 10043"/>
                <a:gd name="connsiteX12" fmla="*/ 3214 w 10469"/>
                <a:gd name="connsiteY12" fmla="*/ 688 h 10043"/>
                <a:gd name="connsiteX13" fmla="*/ 2582 w 10469"/>
                <a:gd name="connsiteY13" fmla="*/ 426 h 10043"/>
                <a:gd name="connsiteX14" fmla="*/ 1859 w 10469"/>
                <a:gd name="connsiteY14" fmla="*/ 426 h 10043"/>
                <a:gd name="connsiteX15" fmla="*/ 0 w 10469"/>
                <a:gd name="connsiteY15" fmla="*/ 383 h 10043"/>
                <a:gd name="connsiteX16" fmla="*/ 413 w 10469"/>
                <a:gd name="connsiteY16" fmla="*/ 3043 h 10043"/>
                <a:gd name="connsiteX17" fmla="*/ 594 w 10469"/>
                <a:gd name="connsiteY17" fmla="*/ 6969 h 10043"/>
                <a:gd name="connsiteX0" fmla="*/ 687 w 10562"/>
                <a:gd name="connsiteY0" fmla="*/ 6969 h 10043"/>
                <a:gd name="connsiteX1" fmla="*/ 950 w 10562"/>
                <a:gd name="connsiteY1" fmla="*/ 8769 h 10043"/>
                <a:gd name="connsiteX2" fmla="*/ 1505 w 10562"/>
                <a:gd name="connsiteY2" fmla="*/ 8873 h 10043"/>
                <a:gd name="connsiteX3" fmla="*/ 2754 w 10562"/>
                <a:gd name="connsiteY3" fmla="*/ 9185 h 10043"/>
                <a:gd name="connsiteX4" fmla="*/ 5748 w 10562"/>
                <a:gd name="connsiteY4" fmla="*/ 9587 h 10043"/>
                <a:gd name="connsiteX5" fmla="*/ 7555 w 10562"/>
                <a:gd name="connsiteY5" fmla="*/ 9849 h 10043"/>
                <a:gd name="connsiteX6" fmla="*/ 10537 w 10562"/>
                <a:gd name="connsiteY6" fmla="*/ 9063 h 10043"/>
                <a:gd name="connsiteX7" fmla="*/ 10537 w 10562"/>
                <a:gd name="connsiteY7" fmla="*/ 4352 h 10043"/>
                <a:gd name="connsiteX8" fmla="*/ 10537 w 10562"/>
                <a:gd name="connsiteY8" fmla="*/ 426 h 10043"/>
                <a:gd name="connsiteX9" fmla="*/ 8369 w 10562"/>
                <a:gd name="connsiteY9" fmla="*/ 1473 h 10043"/>
                <a:gd name="connsiteX10" fmla="*/ 6109 w 10562"/>
                <a:gd name="connsiteY10" fmla="*/ 1473 h 10043"/>
                <a:gd name="connsiteX11" fmla="*/ 4212 w 10562"/>
                <a:gd name="connsiteY11" fmla="*/ 688 h 10043"/>
                <a:gd name="connsiteX12" fmla="*/ 3307 w 10562"/>
                <a:gd name="connsiteY12" fmla="*/ 688 h 10043"/>
                <a:gd name="connsiteX13" fmla="*/ 2675 w 10562"/>
                <a:gd name="connsiteY13" fmla="*/ 426 h 10043"/>
                <a:gd name="connsiteX14" fmla="*/ 1952 w 10562"/>
                <a:gd name="connsiteY14" fmla="*/ 426 h 10043"/>
                <a:gd name="connsiteX15" fmla="*/ 0 w 10562"/>
                <a:gd name="connsiteY15" fmla="*/ 383 h 10043"/>
                <a:gd name="connsiteX16" fmla="*/ 506 w 10562"/>
                <a:gd name="connsiteY16" fmla="*/ 3043 h 10043"/>
                <a:gd name="connsiteX17" fmla="*/ 687 w 10562"/>
                <a:gd name="connsiteY17" fmla="*/ 6969 h 10043"/>
                <a:gd name="connsiteX0" fmla="*/ 687 w 10562"/>
                <a:gd name="connsiteY0" fmla="*/ 6969 h 10043"/>
                <a:gd name="connsiteX1" fmla="*/ 950 w 10562"/>
                <a:gd name="connsiteY1" fmla="*/ 8769 h 10043"/>
                <a:gd name="connsiteX2" fmla="*/ 1505 w 10562"/>
                <a:gd name="connsiteY2" fmla="*/ 8873 h 10043"/>
                <a:gd name="connsiteX3" fmla="*/ 2754 w 10562"/>
                <a:gd name="connsiteY3" fmla="*/ 9185 h 10043"/>
                <a:gd name="connsiteX4" fmla="*/ 5748 w 10562"/>
                <a:gd name="connsiteY4" fmla="*/ 9587 h 10043"/>
                <a:gd name="connsiteX5" fmla="*/ 7555 w 10562"/>
                <a:gd name="connsiteY5" fmla="*/ 9849 h 10043"/>
                <a:gd name="connsiteX6" fmla="*/ 10537 w 10562"/>
                <a:gd name="connsiteY6" fmla="*/ 9063 h 10043"/>
                <a:gd name="connsiteX7" fmla="*/ 10537 w 10562"/>
                <a:gd name="connsiteY7" fmla="*/ 4352 h 10043"/>
                <a:gd name="connsiteX8" fmla="*/ 10537 w 10562"/>
                <a:gd name="connsiteY8" fmla="*/ 426 h 10043"/>
                <a:gd name="connsiteX9" fmla="*/ 8369 w 10562"/>
                <a:gd name="connsiteY9" fmla="*/ 1473 h 10043"/>
                <a:gd name="connsiteX10" fmla="*/ 6109 w 10562"/>
                <a:gd name="connsiteY10" fmla="*/ 1473 h 10043"/>
                <a:gd name="connsiteX11" fmla="*/ 4212 w 10562"/>
                <a:gd name="connsiteY11" fmla="*/ 688 h 10043"/>
                <a:gd name="connsiteX12" fmla="*/ 3307 w 10562"/>
                <a:gd name="connsiteY12" fmla="*/ 688 h 10043"/>
                <a:gd name="connsiteX13" fmla="*/ 2675 w 10562"/>
                <a:gd name="connsiteY13" fmla="*/ 426 h 10043"/>
                <a:gd name="connsiteX14" fmla="*/ 1952 w 10562"/>
                <a:gd name="connsiteY14" fmla="*/ 426 h 10043"/>
                <a:gd name="connsiteX15" fmla="*/ 0 w 10562"/>
                <a:gd name="connsiteY15" fmla="*/ 383 h 10043"/>
                <a:gd name="connsiteX16" fmla="*/ 506 w 10562"/>
                <a:gd name="connsiteY16" fmla="*/ 3043 h 10043"/>
                <a:gd name="connsiteX17" fmla="*/ 687 w 10562"/>
                <a:gd name="connsiteY17" fmla="*/ 6969 h 10043"/>
                <a:gd name="connsiteX0" fmla="*/ 687 w 10562"/>
                <a:gd name="connsiteY0" fmla="*/ 6952 h 10026"/>
                <a:gd name="connsiteX1" fmla="*/ 950 w 10562"/>
                <a:gd name="connsiteY1" fmla="*/ 8752 h 10026"/>
                <a:gd name="connsiteX2" fmla="*/ 1505 w 10562"/>
                <a:gd name="connsiteY2" fmla="*/ 8856 h 10026"/>
                <a:gd name="connsiteX3" fmla="*/ 2754 w 10562"/>
                <a:gd name="connsiteY3" fmla="*/ 9168 h 10026"/>
                <a:gd name="connsiteX4" fmla="*/ 5748 w 10562"/>
                <a:gd name="connsiteY4" fmla="*/ 9570 h 10026"/>
                <a:gd name="connsiteX5" fmla="*/ 7555 w 10562"/>
                <a:gd name="connsiteY5" fmla="*/ 9832 h 10026"/>
                <a:gd name="connsiteX6" fmla="*/ 10537 w 10562"/>
                <a:gd name="connsiteY6" fmla="*/ 9046 h 10026"/>
                <a:gd name="connsiteX7" fmla="*/ 10537 w 10562"/>
                <a:gd name="connsiteY7" fmla="*/ 4335 h 10026"/>
                <a:gd name="connsiteX8" fmla="*/ 10537 w 10562"/>
                <a:gd name="connsiteY8" fmla="*/ 409 h 10026"/>
                <a:gd name="connsiteX9" fmla="*/ 8369 w 10562"/>
                <a:gd name="connsiteY9" fmla="*/ 1456 h 10026"/>
                <a:gd name="connsiteX10" fmla="*/ 6109 w 10562"/>
                <a:gd name="connsiteY10" fmla="*/ 1456 h 10026"/>
                <a:gd name="connsiteX11" fmla="*/ 4212 w 10562"/>
                <a:gd name="connsiteY11" fmla="*/ 671 h 10026"/>
                <a:gd name="connsiteX12" fmla="*/ 3307 w 10562"/>
                <a:gd name="connsiteY12" fmla="*/ 671 h 10026"/>
                <a:gd name="connsiteX13" fmla="*/ 2675 w 10562"/>
                <a:gd name="connsiteY13" fmla="*/ 409 h 10026"/>
                <a:gd name="connsiteX14" fmla="*/ 1952 w 10562"/>
                <a:gd name="connsiteY14" fmla="*/ 409 h 10026"/>
                <a:gd name="connsiteX15" fmla="*/ 0 w 10562"/>
                <a:gd name="connsiteY15" fmla="*/ 366 h 10026"/>
                <a:gd name="connsiteX16" fmla="*/ 506 w 10562"/>
                <a:gd name="connsiteY16" fmla="*/ 3026 h 10026"/>
                <a:gd name="connsiteX17" fmla="*/ 687 w 10562"/>
                <a:gd name="connsiteY17" fmla="*/ 6952 h 10026"/>
                <a:gd name="connsiteX0" fmla="*/ 687 w 10562"/>
                <a:gd name="connsiteY0" fmla="*/ 7199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506 w 10562"/>
                <a:gd name="connsiteY16" fmla="*/ 3273 h 10273"/>
                <a:gd name="connsiteX17" fmla="*/ 687 w 10562"/>
                <a:gd name="connsiteY17" fmla="*/ 7199 h 10273"/>
                <a:gd name="connsiteX0" fmla="*/ 687 w 10562"/>
                <a:gd name="connsiteY0" fmla="*/ 7199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687 w 10562"/>
                <a:gd name="connsiteY17" fmla="*/ 7199 h 10273"/>
                <a:gd name="connsiteX0" fmla="*/ 442 w 10562"/>
                <a:gd name="connsiteY0" fmla="*/ 7325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950 w 10562"/>
                <a:gd name="connsiteY1" fmla="*/ 8999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747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747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505 w 10562"/>
                <a:gd name="connsiteY2" fmla="*/ 9103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273"/>
                <a:gd name="connsiteX1" fmla="*/ 654 w 10562"/>
                <a:gd name="connsiteY1" fmla="*/ 9282 h 10273"/>
                <a:gd name="connsiteX2" fmla="*/ 1495 w 10562"/>
                <a:gd name="connsiteY2" fmla="*/ 9530 h 10273"/>
                <a:gd name="connsiteX3" fmla="*/ 2754 w 10562"/>
                <a:gd name="connsiteY3" fmla="*/ 9415 h 10273"/>
                <a:gd name="connsiteX4" fmla="*/ 5748 w 10562"/>
                <a:gd name="connsiteY4" fmla="*/ 9817 h 10273"/>
                <a:gd name="connsiteX5" fmla="*/ 7555 w 10562"/>
                <a:gd name="connsiteY5" fmla="*/ 10079 h 10273"/>
                <a:gd name="connsiteX6" fmla="*/ 10537 w 10562"/>
                <a:gd name="connsiteY6" fmla="*/ 9293 h 10273"/>
                <a:gd name="connsiteX7" fmla="*/ 10537 w 10562"/>
                <a:gd name="connsiteY7" fmla="*/ 4582 h 10273"/>
                <a:gd name="connsiteX8" fmla="*/ 10537 w 10562"/>
                <a:gd name="connsiteY8" fmla="*/ 656 h 10273"/>
                <a:gd name="connsiteX9" fmla="*/ 8369 w 10562"/>
                <a:gd name="connsiteY9" fmla="*/ 1703 h 10273"/>
                <a:gd name="connsiteX10" fmla="*/ 6109 w 10562"/>
                <a:gd name="connsiteY10" fmla="*/ 1703 h 10273"/>
                <a:gd name="connsiteX11" fmla="*/ 4212 w 10562"/>
                <a:gd name="connsiteY11" fmla="*/ 918 h 10273"/>
                <a:gd name="connsiteX12" fmla="*/ 3307 w 10562"/>
                <a:gd name="connsiteY12" fmla="*/ 918 h 10273"/>
                <a:gd name="connsiteX13" fmla="*/ 2675 w 10562"/>
                <a:gd name="connsiteY13" fmla="*/ 656 h 10273"/>
                <a:gd name="connsiteX14" fmla="*/ 1952 w 10562"/>
                <a:gd name="connsiteY14" fmla="*/ 656 h 10273"/>
                <a:gd name="connsiteX15" fmla="*/ 0 w 10562"/>
                <a:gd name="connsiteY15" fmla="*/ 366 h 10273"/>
                <a:gd name="connsiteX16" fmla="*/ 143 w 10562"/>
                <a:gd name="connsiteY16" fmla="*/ 3506 h 10273"/>
                <a:gd name="connsiteX17" fmla="*/ 442 w 10562"/>
                <a:gd name="connsiteY17" fmla="*/ 7325 h 10273"/>
                <a:gd name="connsiteX0" fmla="*/ 442 w 10562"/>
                <a:gd name="connsiteY0" fmla="*/ 7325 h 10079"/>
                <a:gd name="connsiteX1" fmla="*/ 654 w 10562"/>
                <a:gd name="connsiteY1" fmla="*/ 9282 h 10079"/>
                <a:gd name="connsiteX2" fmla="*/ 1495 w 10562"/>
                <a:gd name="connsiteY2" fmla="*/ 9530 h 10079"/>
                <a:gd name="connsiteX3" fmla="*/ 2754 w 10562"/>
                <a:gd name="connsiteY3" fmla="*/ 9415 h 10079"/>
                <a:gd name="connsiteX4" fmla="*/ 5748 w 10562"/>
                <a:gd name="connsiteY4" fmla="*/ 9817 h 10079"/>
                <a:gd name="connsiteX5" fmla="*/ 7555 w 10562"/>
                <a:gd name="connsiteY5" fmla="*/ 10079 h 10079"/>
                <a:gd name="connsiteX6" fmla="*/ 10537 w 10562"/>
                <a:gd name="connsiteY6" fmla="*/ 9293 h 10079"/>
                <a:gd name="connsiteX7" fmla="*/ 10537 w 10562"/>
                <a:gd name="connsiteY7" fmla="*/ 4582 h 10079"/>
                <a:gd name="connsiteX8" fmla="*/ 10537 w 10562"/>
                <a:gd name="connsiteY8" fmla="*/ 656 h 10079"/>
                <a:gd name="connsiteX9" fmla="*/ 8369 w 10562"/>
                <a:gd name="connsiteY9" fmla="*/ 1703 h 10079"/>
                <a:gd name="connsiteX10" fmla="*/ 6109 w 10562"/>
                <a:gd name="connsiteY10" fmla="*/ 1703 h 10079"/>
                <a:gd name="connsiteX11" fmla="*/ 4212 w 10562"/>
                <a:gd name="connsiteY11" fmla="*/ 918 h 10079"/>
                <a:gd name="connsiteX12" fmla="*/ 3307 w 10562"/>
                <a:gd name="connsiteY12" fmla="*/ 918 h 10079"/>
                <a:gd name="connsiteX13" fmla="*/ 2675 w 10562"/>
                <a:gd name="connsiteY13" fmla="*/ 656 h 10079"/>
                <a:gd name="connsiteX14" fmla="*/ 1952 w 10562"/>
                <a:gd name="connsiteY14" fmla="*/ 656 h 10079"/>
                <a:gd name="connsiteX15" fmla="*/ 0 w 10562"/>
                <a:gd name="connsiteY15" fmla="*/ 366 h 10079"/>
                <a:gd name="connsiteX16" fmla="*/ 143 w 10562"/>
                <a:gd name="connsiteY16" fmla="*/ 3506 h 10079"/>
                <a:gd name="connsiteX17" fmla="*/ 442 w 10562"/>
                <a:gd name="connsiteY17" fmla="*/ 7325 h 10079"/>
                <a:gd name="connsiteX0" fmla="*/ 442 w 10562"/>
                <a:gd name="connsiteY0" fmla="*/ 7325 h 10025"/>
                <a:gd name="connsiteX1" fmla="*/ 654 w 10562"/>
                <a:gd name="connsiteY1" fmla="*/ 9282 h 10025"/>
                <a:gd name="connsiteX2" fmla="*/ 1495 w 10562"/>
                <a:gd name="connsiteY2" fmla="*/ 9530 h 10025"/>
                <a:gd name="connsiteX3" fmla="*/ 2754 w 10562"/>
                <a:gd name="connsiteY3" fmla="*/ 9415 h 10025"/>
                <a:gd name="connsiteX4" fmla="*/ 5748 w 10562"/>
                <a:gd name="connsiteY4" fmla="*/ 9817 h 10025"/>
                <a:gd name="connsiteX5" fmla="*/ 7664 w 10562"/>
                <a:gd name="connsiteY5" fmla="*/ 10025 h 10025"/>
                <a:gd name="connsiteX6" fmla="*/ 10537 w 10562"/>
                <a:gd name="connsiteY6" fmla="*/ 9293 h 10025"/>
                <a:gd name="connsiteX7" fmla="*/ 10537 w 10562"/>
                <a:gd name="connsiteY7" fmla="*/ 4582 h 10025"/>
                <a:gd name="connsiteX8" fmla="*/ 10537 w 10562"/>
                <a:gd name="connsiteY8" fmla="*/ 656 h 10025"/>
                <a:gd name="connsiteX9" fmla="*/ 8369 w 10562"/>
                <a:gd name="connsiteY9" fmla="*/ 1703 h 10025"/>
                <a:gd name="connsiteX10" fmla="*/ 6109 w 10562"/>
                <a:gd name="connsiteY10" fmla="*/ 1703 h 10025"/>
                <a:gd name="connsiteX11" fmla="*/ 4212 w 10562"/>
                <a:gd name="connsiteY11" fmla="*/ 918 h 10025"/>
                <a:gd name="connsiteX12" fmla="*/ 3307 w 10562"/>
                <a:gd name="connsiteY12" fmla="*/ 918 h 10025"/>
                <a:gd name="connsiteX13" fmla="*/ 2675 w 10562"/>
                <a:gd name="connsiteY13" fmla="*/ 656 h 10025"/>
                <a:gd name="connsiteX14" fmla="*/ 1952 w 10562"/>
                <a:gd name="connsiteY14" fmla="*/ 656 h 10025"/>
                <a:gd name="connsiteX15" fmla="*/ 0 w 10562"/>
                <a:gd name="connsiteY15" fmla="*/ 366 h 10025"/>
                <a:gd name="connsiteX16" fmla="*/ 143 w 10562"/>
                <a:gd name="connsiteY16" fmla="*/ 3506 h 10025"/>
                <a:gd name="connsiteX17" fmla="*/ 442 w 10562"/>
                <a:gd name="connsiteY17" fmla="*/ 7325 h 10025"/>
                <a:gd name="connsiteX0" fmla="*/ 442 w 10562"/>
                <a:gd name="connsiteY0" fmla="*/ 7325 h 10025"/>
                <a:gd name="connsiteX1" fmla="*/ 654 w 10562"/>
                <a:gd name="connsiteY1" fmla="*/ 9282 h 10025"/>
                <a:gd name="connsiteX2" fmla="*/ 1495 w 10562"/>
                <a:gd name="connsiteY2" fmla="*/ 9530 h 10025"/>
                <a:gd name="connsiteX3" fmla="*/ 2754 w 10562"/>
                <a:gd name="connsiteY3" fmla="*/ 9415 h 10025"/>
                <a:gd name="connsiteX4" fmla="*/ 5748 w 10562"/>
                <a:gd name="connsiteY4" fmla="*/ 9817 h 10025"/>
                <a:gd name="connsiteX5" fmla="*/ 7664 w 10562"/>
                <a:gd name="connsiteY5" fmla="*/ 10025 h 10025"/>
                <a:gd name="connsiteX6" fmla="*/ 10537 w 10562"/>
                <a:gd name="connsiteY6" fmla="*/ 9293 h 10025"/>
                <a:gd name="connsiteX7" fmla="*/ 10537 w 10562"/>
                <a:gd name="connsiteY7" fmla="*/ 4582 h 10025"/>
                <a:gd name="connsiteX8" fmla="*/ 10537 w 10562"/>
                <a:gd name="connsiteY8" fmla="*/ 656 h 10025"/>
                <a:gd name="connsiteX9" fmla="*/ 8369 w 10562"/>
                <a:gd name="connsiteY9" fmla="*/ 1703 h 10025"/>
                <a:gd name="connsiteX10" fmla="*/ 6109 w 10562"/>
                <a:gd name="connsiteY10" fmla="*/ 1703 h 10025"/>
                <a:gd name="connsiteX11" fmla="*/ 4212 w 10562"/>
                <a:gd name="connsiteY11" fmla="*/ 918 h 10025"/>
                <a:gd name="connsiteX12" fmla="*/ 3307 w 10562"/>
                <a:gd name="connsiteY12" fmla="*/ 918 h 10025"/>
                <a:gd name="connsiteX13" fmla="*/ 2675 w 10562"/>
                <a:gd name="connsiteY13" fmla="*/ 656 h 10025"/>
                <a:gd name="connsiteX14" fmla="*/ 1952 w 10562"/>
                <a:gd name="connsiteY14" fmla="*/ 656 h 10025"/>
                <a:gd name="connsiteX15" fmla="*/ 0 w 10562"/>
                <a:gd name="connsiteY15" fmla="*/ 366 h 10025"/>
                <a:gd name="connsiteX16" fmla="*/ 143 w 10562"/>
                <a:gd name="connsiteY16" fmla="*/ 3506 h 10025"/>
                <a:gd name="connsiteX17" fmla="*/ 442 w 10562"/>
                <a:gd name="connsiteY17" fmla="*/ 7325 h 10025"/>
                <a:gd name="connsiteX0" fmla="*/ 442 w 10576"/>
                <a:gd name="connsiteY0" fmla="*/ 7325 h 10025"/>
                <a:gd name="connsiteX1" fmla="*/ 654 w 10576"/>
                <a:gd name="connsiteY1" fmla="*/ 9282 h 10025"/>
                <a:gd name="connsiteX2" fmla="*/ 1495 w 10576"/>
                <a:gd name="connsiteY2" fmla="*/ 9530 h 10025"/>
                <a:gd name="connsiteX3" fmla="*/ 2754 w 10576"/>
                <a:gd name="connsiteY3" fmla="*/ 9415 h 10025"/>
                <a:gd name="connsiteX4" fmla="*/ 5748 w 10576"/>
                <a:gd name="connsiteY4" fmla="*/ 9817 h 10025"/>
                <a:gd name="connsiteX5" fmla="*/ 7664 w 10576"/>
                <a:gd name="connsiteY5" fmla="*/ 10025 h 10025"/>
                <a:gd name="connsiteX6" fmla="*/ 10537 w 10576"/>
                <a:gd name="connsiteY6" fmla="*/ 9293 h 10025"/>
                <a:gd name="connsiteX7" fmla="*/ 10562 w 10576"/>
                <a:gd name="connsiteY7" fmla="*/ 4576 h 10025"/>
                <a:gd name="connsiteX8" fmla="*/ 10537 w 10576"/>
                <a:gd name="connsiteY8" fmla="*/ 656 h 10025"/>
                <a:gd name="connsiteX9" fmla="*/ 8369 w 10576"/>
                <a:gd name="connsiteY9" fmla="*/ 1703 h 10025"/>
                <a:gd name="connsiteX10" fmla="*/ 6109 w 10576"/>
                <a:gd name="connsiteY10" fmla="*/ 1703 h 10025"/>
                <a:gd name="connsiteX11" fmla="*/ 4212 w 10576"/>
                <a:gd name="connsiteY11" fmla="*/ 918 h 10025"/>
                <a:gd name="connsiteX12" fmla="*/ 3307 w 10576"/>
                <a:gd name="connsiteY12" fmla="*/ 918 h 10025"/>
                <a:gd name="connsiteX13" fmla="*/ 2675 w 10576"/>
                <a:gd name="connsiteY13" fmla="*/ 656 h 10025"/>
                <a:gd name="connsiteX14" fmla="*/ 1952 w 10576"/>
                <a:gd name="connsiteY14" fmla="*/ 656 h 10025"/>
                <a:gd name="connsiteX15" fmla="*/ 0 w 10576"/>
                <a:gd name="connsiteY15" fmla="*/ 366 h 10025"/>
                <a:gd name="connsiteX16" fmla="*/ 143 w 10576"/>
                <a:gd name="connsiteY16" fmla="*/ 3506 h 10025"/>
                <a:gd name="connsiteX17" fmla="*/ 442 w 10576"/>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07 w 10583"/>
                <a:gd name="connsiteY12" fmla="*/ 918 h 10025"/>
                <a:gd name="connsiteX13" fmla="*/ 2675 w 10583"/>
                <a:gd name="connsiteY13" fmla="*/ 656 h 10025"/>
                <a:gd name="connsiteX14" fmla="*/ 1952 w 10583"/>
                <a:gd name="connsiteY14" fmla="*/ 65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07 w 10583"/>
                <a:gd name="connsiteY12" fmla="*/ 918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69 w 10583"/>
                <a:gd name="connsiteY9" fmla="*/ 1703 h 10025"/>
                <a:gd name="connsiteX10" fmla="*/ 6109 w 10583"/>
                <a:gd name="connsiteY10" fmla="*/ 1703 h 10025"/>
                <a:gd name="connsiteX11" fmla="*/ 4212 w 10583"/>
                <a:gd name="connsiteY11" fmla="*/ 918 h 10025"/>
                <a:gd name="connsiteX12" fmla="*/ 3365 w 10583"/>
                <a:gd name="connsiteY12" fmla="*/ 613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325 h 10025"/>
                <a:gd name="connsiteX1" fmla="*/ 654 w 10583"/>
                <a:gd name="connsiteY1" fmla="*/ 9282 h 10025"/>
                <a:gd name="connsiteX2" fmla="*/ 1495 w 10583"/>
                <a:gd name="connsiteY2" fmla="*/ 9530 h 10025"/>
                <a:gd name="connsiteX3" fmla="*/ 2754 w 10583"/>
                <a:gd name="connsiteY3" fmla="*/ 9415 h 10025"/>
                <a:gd name="connsiteX4" fmla="*/ 5748 w 10583"/>
                <a:gd name="connsiteY4" fmla="*/ 9817 h 10025"/>
                <a:gd name="connsiteX5" fmla="*/ 7664 w 10583"/>
                <a:gd name="connsiteY5" fmla="*/ 10025 h 10025"/>
                <a:gd name="connsiteX6" fmla="*/ 10537 w 10583"/>
                <a:gd name="connsiteY6" fmla="*/ 9293 h 10025"/>
                <a:gd name="connsiteX7" fmla="*/ 10562 w 10583"/>
                <a:gd name="connsiteY7" fmla="*/ 4576 h 10025"/>
                <a:gd name="connsiteX8" fmla="*/ 10562 w 10583"/>
                <a:gd name="connsiteY8" fmla="*/ 613 h 10025"/>
                <a:gd name="connsiteX9" fmla="*/ 8319 w 10583"/>
                <a:gd name="connsiteY9" fmla="*/ 1604 h 10025"/>
                <a:gd name="connsiteX10" fmla="*/ 6109 w 10583"/>
                <a:gd name="connsiteY10" fmla="*/ 1703 h 10025"/>
                <a:gd name="connsiteX11" fmla="*/ 4212 w 10583"/>
                <a:gd name="connsiteY11" fmla="*/ 918 h 10025"/>
                <a:gd name="connsiteX12" fmla="*/ 3365 w 10583"/>
                <a:gd name="connsiteY12" fmla="*/ 613 h 10025"/>
                <a:gd name="connsiteX13" fmla="*/ 2675 w 10583"/>
                <a:gd name="connsiteY13" fmla="*/ 656 h 10025"/>
                <a:gd name="connsiteX14" fmla="*/ 1962 w 10583"/>
                <a:gd name="connsiteY14" fmla="*/ 366 h 10025"/>
                <a:gd name="connsiteX15" fmla="*/ 0 w 10583"/>
                <a:gd name="connsiteY15" fmla="*/ 366 h 10025"/>
                <a:gd name="connsiteX16" fmla="*/ 143 w 10583"/>
                <a:gd name="connsiteY16" fmla="*/ 3506 h 10025"/>
                <a:gd name="connsiteX17" fmla="*/ 442 w 10583"/>
                <a:gd name="connsiteY17" fmla="*/ 7325 h 10025"/>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049 w 10583"/>
                <a:gd name="connsiteY15" fmla="*/ 362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121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121 w 10583"/>
                <a:gd name="connsiteY15" fmla="*/ 1546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215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83"/>
                <a:gd name="connsiteY0" fmla="*/ 7514 h 10214"/>
                <a:gd name="connsiteX1" fmla="*/ 654 w 10583"/>
                <a:gd name="connsiteY1" fmla="*/ 9471 h 10214"/>
                <a:gd name="connsiteX2" fmla="*/ 1495 w 10583"/>
                <a:gd name="connsiteY2" fmla="*/ 9719 h 10214"/>
                <a:gd name="connsiteX3" fmla="*/ 2754 w 10583"/>
                <a:gd name="connsiteY3" fmla="*/ 9604 h 10214"/>
                <a:gd name="connsiteX4" fmla="*/ 5748 w 10583"/>
                <a:gd name="connsiteY4" fmla="*/ 10006 h 10214"/>
                <a:gd name="connsiteX5" fmla="*/ 7664 w 10583"/>
                <a:gd name="connsiteY5" fmla="*/ 10214 h 10214"/>
                <a:gd name="connsiteX6" fmla="*/ 10537 w 10583"/>
                <a:gd name="connsiteY6" fmla="*/ 9482 h 10214"/>
                <a:gd name="connsiteX7" fmla="*/ 10562 w 10583"/>
                <a:gd name="connsiteY7" fmla="*/ 4765 h 10214"/>
                <a:gd name="connsiteX8" fmla="*/ 10562 w 10583"/>
                <a:gd name="connsiteY8" fmla="*/ 802 h 10214"/>
                <a:gd name="connsiteX9" fmla="*/ 8319 w 10583"/>
                <a:gd name="connsiteY9" fmla="*/ 1793 h 10214"/>
                <a:gd name="connsiteX10" fmla="*/ 6109 w 10583"/>
                <a:gd name="connsiteY10" fmla="*/ 1892 h 10214"/>
                <a:gd name="connsiteX11" fmla="*/ 4212 w 10583"/>
                <a:gd name="connsiteY11" fmla="*/ 1107 h 10214"/>
                <a:gd name="connsiteX12" fmla="*/ 3365 w 10583"/>
                <a:gd name="connsiteY12" fmla="*/ 802 h 10214"/>
                <a:gd name="connsiteX13" fmla="*/ 2675 w 10583"/>
                <a:gd name="connsiteY13" fmla="*/ 845 h 10214"/>
                <a:gd name="connsiteX14" fmla="*/ 1962 w 10583"/>
                <a:gd name="connsiteY14" fmla="*/ 555 h 10214"/>
                <a:gd name="connsiteX15" fmla="*/ 1215 w 10583"/>
                <a:gd name="connsiteY15" fmla="*/ 59 h 10214"/>
                <a:gd name="connsiteX16" fmla="*/ 0 w 10583"/>
                <a:gd name="connsiteY16" fmla="*/ 555 h 10214"/>
                <a:gd name="connsiteX17" fmla="*/ 143 w 10583"/>
                <a:gd name="connsiteY17" fmla="*/ 3695 h 10214"/>
                <a:gd name="connsiteX18" fmla="*/ 442 w 10583"/>
                <a:gd name="connsiteY18" fmla="*/ 7514 h 10214"/>
                <a:gd name="connsiteX0" fmla="*/ 442 w 10576"/>
                <a:gd name="connsiteY0" fmla="*/ 7514 h 10214"/>
                <a:gd name="connsiteX1" fmla="*/ 654 w 10576"/>
                <a:gd name="connsiteY1" fmla="*/ 9471 h 10214"/>
                <a:gd name="connsiteX2" fmla="*/ 1495 w 10576"/>
                <a:gd name="connsiteY2" fmla="*/ 9719 h 10214"/>
                <a:gd name="connsiteX3" fmla="*/ 2754 w 10576"/>
                <a:gd name="connsiteY3" fmla="*/ 9604 h 10214"/>
                <a:gd name="connsiteX4" fmla="*/ 5748 w 10576"/>
                <a:gd name="connsiteY4" fmla="*/ 10006 h 10214"/>
                <a:gd name="connsiteX5" fmla="*/ 7664 w 10576"/>
                <a:gd name="connsiteY5" fmla="*/ 10214 h 10214"/>
                <a:gd name="connsiteX6" fmla="*/ 10537 w 10576"/>
                <a:gd name="connsiteY6" fmla="*/ 9482 h 10214"/>
                <a:gd name="connsiteX7" fmla="*/ 10562 w 10576"/>
                <a:gd name="connsiteY7" fmla="*/ 4765 h 10214"/>
                <a:gd name="connsiteX8" fmla="*/ 10562 w 10576"/>
                <a:gd name="connsiteY8" fmla="*/ 802 h 10214"/>
                <a:gd name="connsiteX9" fmla="*/ 8319 w 10576"/>
                <a:gd name="connsiteY9" fmla="*/ 1793 h 10214"/>
                <a:gd name="connsiteX10" fmla="*/ 6109 w 10576"/>
                <a:gd name="connsiteY10" fmla="*/ 1892 h 10214"/>
                <a:gd name="connsiteX11" fmla="*/ 4212 w 10576"/>
                <a:gd name="connsiteY11" fmla="*/ 1107 h 10214"/>
                <a:gd name="connsiteX12" fmla="*/ 3365 w 10576"/>
                <a:gd name="connsiteY12" fmla="*/ 802 h 10214"/>
                <a:gd name="connsiteX13" fmla="*/ 2675 w 10576"/>
                <a:gd name="connsiteY13" fmla="*/ 845 h 10214"/>
                <a:gd name="connsiteX14" fmla="*/ 1962 w 10576"/>
                <a:gd name="connsiteY14" fmla="*/ 555 h 10214"/>
                <a:gd name="connsiteX15" fmla="*/ 1215 w 10576"/>
                <a:gd name="connsiteY15" fmla="*/ 59 h 10214"/>
                <a:gd name="connsiteX16" fmla="*/ 0 w 10576"/>
                <a:gd name="connsiteY16" fmla="*/ 555 h 10214"/>
                <a:gd name="connsiteX17" fmla="*/ 143 w 10576"/>
                <a:gd name="connsiteY17" fmla="*/ 3695 h 10214"/>
                <a:gd name="connsiteX18" fmla="*/ 442 w 10576"/>
                <a:gd name="connsiteY18" fmla="*/ 7514 h 10214"/>
                <a:gd name="connsiteX0" fmla="*/ 442 w 10576"/>
                <a:gd name="connsiteY0" fmla="*/ 7514 h 10214"/>
                <a:gd name="connsiteX1" fmla="*/ 654 w 10576"/>
                <a:gd name="connsiteY1" fmla="*/ 9471 h 10214"/>
                <a:gd name="connsiteX2" fmla="*/ 1495 w 10576"/>
                <a:gd name="connsiteY2" fmla="*/ 9719 h 10214"/>
                <a:gd name="connsiteX3" fmla="*/ 2754 w 10576"/>
                <a:gd name="connsiteY3" fmla="*/ 9604 h 10214"/>
                <a:gd name="connsiteX4" fmla="*/ 5748 w 10576"/>
                <a:gd name="connsiteY4" fmla="*/ 10006 h 10214"/>
                <a:gd name="connsiteX5" fmla="*/ 7664 w 10576"/>
                <a:gd name="connsiteY5" fmla="*/ 10214 h 10214"/>
                <a:gd name="connsiteX6" fmla="*/ 10537 w 10576"/>
                <a:gd name="connsiteY6" fmla="*/ 9482 h 10214"/>
                <a:gd name="connsiteX7" fmla="*/ 10562 w 10576"/>
                <a:gd name="connsiteY7" fmla="*/ 4765 h 10214"/>
                <a:gd name="connsiteX8" fmla="*/ 10562 w 10576"/>
                <a:gd name="connsiteY8" fmla="*/ 802 h 10214"/>
                <a:gd name="connsiteX9" fmla="*/ 8319 w 10576"/>
                <a:gd name="connsiteY9" fmla="*/ 1793 h 10214"/>
                <a:gd name="connsiteX10" fmla="*/ 6109 w 10576"/>
                <a:gd name="connsiteY10" fmla="*/ 1892 h 10214"/>
                <a:gd name="connsiteX11" fmla="*/ 4212 w 10576"/>
                <a:gd name="connsiteY11" fmla="*/ 1107 h 10214"/>
                <a:gd name="connsiteX12" fmla="*/ 3365 w 10576"/>
                <a:gd name="connsiteY12" fmla="*/ 802 h 10214"/>
                <a:gd name="connsiteX13" fmla="*/ 2675 w 10576"/>
                <a:gd name="connsiteY13" fmla="*/ 845 h 10214"/>
                <a:gd name="connsiteX14" fmla="*/ 1962 w 10576"/>
                <a:gd name="connsiteY14" fmla="*/ 555 h 10214"/>
                <a:gd name="connsiteX15" fmla="*/ 1215 w 10576"/>
                <a:gd name="connsiteY15" fmla="*/ 59 h 10214"/>
                <a:gd name="connsiteX16" fmla="*/ 0 w 10576"/>
                <a:gd name="connsiteY16" fmla="*/ 555 h 10214"/>
                <a:gd name="connsiteX17" fmla="*/ 143 w 10576"/>
                <a:gd name="connsiteY17" fmla="*/ 3695 h 10214"/>
                <a:gd name="connsiteX18" fmla="*/ 442 w 10576"/>
                <a:gd name="connsiteY18" fmla="*/ 7514 h 10214"/>
                <a:gd name="connsiteX0" fmla="*/ 509 w 10634"/>
                <a:gd name="connsiteY0" fmla="*/ 7674 h 10374"/>
                <a:gd name="connsiteX1" fmla="*/ 721 w 10634"/>
                <a:gd name="connsiteY1" fmla="*/ 9631 h 10374"/>
                <a:gd name="connsiteX2" fmla="*/ 1562 w 10634"/>
                <a:gd name="connsiteY2" fmla="*/ 9879 h 10374"/>
                <a:gd name="connsiteX3" fmla="*/ 2821 w 10634"/>
                <a:gd name="connsiteY3" fmla="*/ 9764 h 10374"/>
                <a:gd name="connsiteX4" fmla="*/ 5815 w 10634"/>
                <a:gd name="connsiteY4" fmla="*/ 10166 h 10374"/>
                <a:gd name="connsiteX5" fmla="*/ 7731 w 10634"/>
                <a:gd name="connsiteY5" fmla="*/ 10374 h 10374"/>
                <a:gd name="connsiteX6" fmla="*/ 10604 w 10634"/>
                <a:gd name="connsiteY6" fmla="*/ 9642 h 10374"/>
                <a:gd name="connsiteX7" fmla="*/ 10629 w 10634"/>
                <a:gd name="connsiteY7" fmla="*/ 4925 h 10374"/>
                <a:gd name="connsiteX8" fmla="*/ 10629 w 10634"/>
                <a:gd name="connsiteY8" fmla="*/ 962 h 10374"/>
                <a:gd name="connsiteX9" fmla="*/ 8386 w 10634"/>
                <a:gd name="connsiteY9" fmla="*/ 1953 h 10374"/>
                <a:gd name="connsiteX10" fmla="*/ 6176 w 10634"/>
                <a:gd name="connsiteY10" fmla="*/ 2052 h 10374"/>
                <a:gd name="connsiteX11" fmla="*/ 4279 w 10634"/>
                <a:gd name="connsiteY11" fmla="*/ 1267 h 10374"/>
                <a:gd name="connsiteX12" fmla="*/ 3432 w 10634"/>
                <a:gd name="connsiteY12" fmla="*/ 962 h 10374"/>
                <a:gd name="connsiteX13" fmla="*/ 2742 w 10634"/>
                <a:gd name="connsiteY13" fmla="*/ 1005 h 10374"/>
                <a:gd name="connsiteX14" fmla="*/ 2029 w 10634"/>
                <a:gd name="connsiteY14" fmla="*/ 715 h 10374"/>
                <a:gd name="connsiteX15" fmla="*/ 1282 w 10634"/>
                <a:gd name="connsiteY15" fmla="*/ 219 h 10374"/>
                <a:gd name="connsiteX16" fmla="*/ 0 w 10634"/>
                <a:gd name="connsiteY16" fmla="*/ 283 h 10374"/>
                <a:gd name="connsiteX17" fmla="*/ 210 w 10634"/>
                <a:gd name="connsiteY17" fmla="*/ 3855 h 10374"/>
                <a:gd name="connsiteX18" fmla="*/ 509 w 10634"/>
                <a:gd name="connsiteY18" fmla="*/ 7674 h 10374"/>
                <a:gd name="connsiteX0" fmla="*/ 509 w 10634"/>
                <a:gd name="connsiteY0" fmla="*/ 7525 h 10225"/>
                <a:gd name="connsiteX1" fmla="*/ 721 w 10634"/>
                <a:gd name="connsiteY1" fmla="*/ 9482 h 10225"/>
                <a:gd name="connsiteX2" fmla="*/ 1562 w 10634"/>
                <a:gd name="connsiteY2" fmla="*/ 9730 h 10225"/>
                <a:gd name="connsiteX3" fmla="*/ 2821 w 10634"/>
                <a:gd name="connsiteY3" fmla="*/ 9615 h 10225"/>
                <a:gd name="connsiteX4" fmla="*/ 5815 w 10634"/>
                <a:gd name="connsiteY4" fmla="*/ 10017 h 10225"/>
                <a:gd name="connsiteX5" fmla="*/ 7731 w 10634"/>
                <a:gd name="connsiteY5" fmla="*/ 10225 h 10225"/>
                <a:gd name="connsiteX6" fmla="*/ 10604 w 10634"/>
                <a:gd name="connsiteY6" fmla="*/ 9493 h 10225"/>
                <a:gd name="connsiteX7" fmla="*/ 10629 w 10634"/>
                <a:gd name="connsiteY7" fmla="*/ 4776 h 10225"/>
                <a:gd name="connsiteX8" fmla="*/ 10629 w 10634"/>
                <a:gd name="connsiteY8" fmla="*/ 813 h 10225"/>
                <a:gd name="connsiteX9" fmla="*/ 8386 w 10634"/>
                <a:gd name="connsiteY9" fmla="*/ 1804 h 10225"/>
                <a:gd name="connsiteX10" fmla="*/ 6176 w 10634"/>
                <a:gd name="connsiteY10" fmla="*/ 1903 h 10225"/>
                <a:gd name="connsiteX11" fmla="*/ 4279 w 10634"/>
                <a:gd name="connsiteY11" fmla="*/ 1118 h 10225"/>
                <a:gd name="connsiteX12" fmla="*/ 3432 w 10634"/>
                <a:gd name="connsiteY12" fmla="*/ 813 h 10225"/>
                <a:gd name="connsiteX13" fmla="*/ 2742 w 10634"/>
                <a:gd name="connsiteY13" fmla="*/ 856 h 10225"/>
                <a:gd name="connsiteX14" fmla="*/ 2029 w 10634"/>
                <a:gd name="connsiteY14" fmla="*/ 566 h 10225"/>
                <a:gd name="connsiteX15" fmla="*/ 1282 w 10634"/>
                <a:gd name="connsiteY15" fmla="*/ 70 h 10225"/>
                <a:gd name="connsiteX16" fmla="*/ 0 w 10634"/>
                <a:gd name="connsiteY16" fmla="*/ 134 h 10225"/>
                <a:gd name="connsiteX17" fmla="*/ 210 w 10634"/>
                <a:gd name="connsiteY17" fmla="*/ 3706 h 10225"/>
                <a:gd name="connsiteX18" fmla="*/ 509 w 1063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86 w 10644"/>
                <a:gd name="connsiteY10" fmla="*/ 1903 h 10225"/>
                <a:gd name="connsiteX11" fmla="*/ 4289 w 10644"/>
                <a:gd name="connsiteY11" fmla="*/ 1118 h 10225"/>
                <a:gd name="connsiteX12" fmla="*/ 3442 w 10644"/>
                <a:gd name="connsiteY12" fmla="*/ 813 h 10225"/>
                <a:gd name="connsiteX13" fmla="*/ 2752 w 10644"/>
                <a:gd name="connsiteY13" fmla="*/ 856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86 w 10644"/>
                <a:gd name="connsiteY10" fmla="*/ 190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804 h 10225"/>
                <a:gd name="connsiteX10" fmla="*/ 6176 w 10644"/>
                <a:gd name="connsiteY10" fmla="*/ 157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644"/>
                <a:gd name="connsiteY0" fmla="*/ 7525 h 10225"/>
                <a:gd name="connsiteX1" fmla="*/ 731 w 10644"/>
                <a:gd name="connsiteY1" fmla="*/ 9482 h 10225"/>
                <a:gd name="connsiteX2" fmla="*/ 1572 w 10644"/>
                <a:gd name="connsiteY2" fmla="*/ 9730 h 10225"/>
                <a:gd name="connsiteX3" fmla="*/ 2831 w 10644"/>
                <a:gd name="connsiteY3" fmla="*/ 9615 h 10225"/>
                <a:gd name="connsiteX4" fmla="*/ 5825 w 10644"/>
                <a:gd name="connsiteY4" fmla="*/ 10017 h 10225"/>
                <a:gd name="connsiteX5" fmla="*/ 7741 w 10644"/>
                <a:gd name="connsiteY5" fmla="*/ 10225 h 10225"/>
                <a:gd name="connsiteX6" fmla="*/ 10614 w 10644"/>
                <a:gd name="connsiteY6" fmla="*/ 9493 h 10225"/>
                <a:gd name="connsiteX7" fmla="*/ 10639 w 10644"/>
                <a:gd name="connsiteY7" fmla="*/ 4776 h 10225"/>
                <a:gd name="connsiteX8" fmla="*/ 10639 w 10644"/>
                <a:gd name="connsiteY8" fmla="*/ 813 h 10225"/>
                <a:gd name="connsiteX9" fmla="*/ 8396 w 10644"/>
                <a:gd name="connsiteY9" fmla="*/ 1423 h 10225"/>
                <a:gd name="connsiteX10" fmla="*/ 6176 w 10644"/>
                <a:gd name="connsiteY10" fmla="*/ 1573 h 10225"/>
                <a:gd name="connsiteX11" fmla="*/ 4289 w 10644"/>
                <a:gd name="connsiteY11" fmla="*/ 1118 h 10225"/>
                <a:gd name="connsiteX12" fmla="*/ 3442 w 10644"/>
                <a:gd name="connsiteY12" fmla="*/ 813 h 10225"/>
                <a:gd name="connsiteX13" fmla="*/ 2800 w 10644"/>
                <a:gd name="connsiteY13" fmla="*/ 653 h 10225"/>
                <a:gd name="connsiteX14" fmla="*/ 2039 w 10644"/>
                <a:gd name="connsiteY14" fmla="*/ 566 h 10225"/>
                <a:gd name="connsiteX15" fmla="*/ 1292 w 10644"/>
                <a:gd name="connsiteY15" fmla="*/ 70 h 10225"/>
                <a:gd name="connsiteX16" fmla="*/ 0 w 10644"/>
                <a:gd name="connsiteY16" fmla="*/ 134 h 10225"/>
                <a:gd name="connsiteX17" fmla="*/ 220 w 10644"/>
                <a:gd name="connsiteY17" fmla="*/ 3706 h 10225"/>
                <a:gd name="connsiteX18" fmla="*/ 519 w 10644"/>
                <a:gd name="connsiteY18" fmla="*/ 7525 h 10225"/>
                <a:gd name="connsiteX0" fmla="*/ 519 w 10773"/>
                <a:gd name="connsiteY0" fmla="*/ 7525 h 10225"/>
                <a:gd name="connsiteX1" fmla="*/ 731 w 10773"/>
                <a:gd name="connsiteY1" fmla="*/ 9482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519 w 10773"/>
                <a:gd name="connsiteY18" fmla="*/ 7525 h 10225"/>
                <a:gd name="connsiteX0" fmla="*/ 519 w 10773"/>
                <a:gd name="connsiteY0" fmla="*/ 7525 h 10225"/>
                <a:gd name="connsiteX1" fmla="*/ 210 w 10773"/>
                <a:gd name="connsiteY1" fmla="*/ 9431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519 w 10773"/>
                <a:gd name="connsiteY18" fmla="*/ 7525 h 10225"/>
                <a:gd name="connsiteX0" fmla="*/ 37 w 10773"/>
                <a:gd name="connsiteY0" fmla="*/ 7321 h 10225"/>
                <a:gd name="connsiteX1" fmla="*/ 210 w 10773"/>
                <a:gd name="connsiteY1" fmla="*/ 9431 h 10225"/>
                <a:gd name="connsiteX2" fmla="*/ 1572 w 10773"/>
                <a:gd name="connsiteY2" fmla="*/ 9730 h 10225"/>
                <a:gd name="connsiteX3" fmla="*/ 2831 w 10773"/>
                <a:gd name="connsiteY3" fmla="*/ 9615 h 10225"/>
                <a:gd name="connsiteX4" fmla="*/ 5825 w 10773"/>
                <a:gd name="connsiteY4" fmla="*/ 10017 h 10225"/>
                <a:gd name="connsiteX5" fmla="*/ 7741 w 10773"/>
                <a:gd name="connsiteY5" fmla="*/ 10225 h 10225"/>
                <a:gd name="connsiteX6" fmla="*/ 10614 w 10773"/>
                <a:gd name="connsiteY6" fmla="*/ 9493 h 10225"/>
                <a:gd name="connsiteX7" fmla="*/ 10639 w 10773"/>
                <a:gd name="connsiteY7" fmla="*/ 4776 h 10225"/>
                <a:gd name="connsiteX8" fmla="*/ 10773 w 10773"/>
                <a:gd name="connsiteY8" fmla="*/ 153 h 10225"/>
                <a:gd name="connsiteX9" fmla="*/ 8396 w 10773"/>
                <a:gd name="connsiteY9" fmla="*/ 1423 h 10225"/>
                <a:gd name="connsiteX10" fmla="*/ 6176 w 10773"/>
                <a:gd name="connsiteY10" fmla="*/ 1573 h 10225"/>
                <a:gd name="connsiteX11" fmla="*/ 4289 w 10773"/>
                <a:gd name="connsiteY11" fmla="*/ 1118 h 10225"/>
                <a:gd name="connsiteX12" fmla="*/ 3442 w 10773"/>
                <a:gd name="connsiteY12" fmla="*/ 813 h 10225"/>
                <a:gd name="connsiteX13" fmla="*/ 2800 w 10773"/>
                <a:gd name="connsiteY13" fmla="*/ 653 h 10225"/>
                <a:gd name="connsiteX14" fmla="*/ 2039 w 10773"/>
                <a:gd name="connsiteY14" fmla="*/ 566 h 10225"/>
                <a:gd name="connsiteX15" fmla="*/ 1292 w 10773"/>
                <a:gd name="connsiteY15" fmla="*/ 70 h 10225"/>
                <a:gd name="connsiteX16" fmla="*/ 0 w 10773"/>
                <a:gd name="connsiteY16" fmla="*/ 134 h 10225"/>
                <a:gd name="connsiteX17" fmla="*/ 220 w 10773"/>
                <a:gd name="connsiteY17" fmla="*/ 3706 h 10225"/>
                <a:gd name="connsiteX18" fmla="*/ 37 w 10773"/>
                <a:gd name="connsiteY18" fmla="*/ 7321 h 10225"/>
                <a:gd name="connsiteX0" fmla="*/ 77 w 10813"/>
                <a:gd name="connsiteY0" fmla="*/ 7321 h 10225"/>
                <a:gd name="connsiteX1" fmla="*/ 250 w 10813"/>
                <a:gd name="connsiteY1" fmla="*/ 9431 h 10225"/>
                <a:gd name="connsiteX2" fmla="*/ 1612 w 10813"/>
                <a:gd name="connsiteY2" fmla="*/ 9730 h 10225"/>
                <a:gd name="connsiteX3" fmla="*/ 2871 w 10813"/>
                <a:gd name="connsiteY3" fmla="*/ 9615 h 10225"/>
                <a:gd name="connsiteX4" fmla="*/ 5865 w 10813"/>
                <a:gd name="connsiteY4" fmla="*/ 10017 h 10225"/>
                <a:gd name="connsiteX5" fmla="*/ 7781 w 10813"/>
                <a:gd name="connsiteY5" fmla="*/ 10225 h 10225"/>
                <a:gd name="connsiteX6" fmla="*/ 10654 w 10813"/>
                <a:gd name="connsiteY6" fmla="*/ 9493 h 10225"/>
                <a:gd name="connsiteX7" fmla="*/ 10679 w 10813"/>
                <a:gd name="connsiteY7" fmla="*/ 4776 h 10225"/>
                <a:gd name="connsiteX8" fmla="*/ 10813 w 10813"/>
                <a:gd name="connsiteY8" fmla="*/ 153 h 10225"/>
                <a:gd name="connsiteX9" fmla="*/ 8436 w 10813"/>
                <a:gd name="connsiteY9" fmla="*/ 1423 h 10225"/>
                <a:gd name="connsiteX10" fmla="*/ 6216 w 10813"/>
                <a:gd name="connsiteY10" fmla="*/ 1573 h 10225"/>
                <a:gd name="connsiteX11" fmla="*/ 4329 w 10813"/>
                <a:gd name="connsiteY11" fmla="*/ 1118 h 10225"/>
                <a:gd name="connsiteX12" fmla="*/ 3482 w 10813"/>
                <a:gd name="connsiteY12" fmla="*/ 813 h 10225"/>
                <a:gd name="connsiteX13" fmla="*/ 2840 w 10813"/>
                <a:gd name="connsiteY13" fmla="*/ 653 h 10225"/>
                <a:gd name="connsiteX14" fmla="*/ 2079 w 10813"/>
                <a:gd name="connsiteY14" fmla="*/ 566 h 10225"/>
                <a:gd name="connsiteX15" fmla="*/ 1332 w 10813"/>
                <a:gd name="connsiteY15" fmla="*/ 70 h 10225"/>
                <a:gd name="connsiteX16" fmla="*/ 40 w 10813"/>
                <a:gd name="connsiteY16" fmla="*/ 134 h 10225"/>
                <a:gd name="connsiteX17" fmla="*/ 9 w 10813"/>
                <a:gd name="connsiteY17" fmla="*/ 3757 h 10225"/>
                <a:gd name="connsiteX18" fmla="*/ 77 w 10813"/>
                <a:gd name="connsiteY18" fmla="*/ 7321 h 10225"/>
                <a:gd name="connsiteX0" fmla="*/ 77 w 10813"/>
                <a:gd name="connsiteY0" fmla="*/ 7321 h 10225"/>
                <a:gd name="connsiteX1" fmla="*/ 250 w 10813"/>
                <a:gd name="connsiteY1" fmla="*/ 9431 h 10225"/>
                <a:gd name="connsiteX2" fmla="*/ 1612 w 10813"/>
                <a:gd name="connsiteY2" fmla="*/ 9730 h 10225"/>
                <a:gd name="connsiteX3" fmla="*/ 2871 w 10813"/>
                <a:gd name="connsiteY3" fmla="*/ 9615 h 10225"/>
                <a:gd name="connsiteX4" fmla="*/ 5865 w 10813"/>
                <a:gd name="connsiteY4" fmla="*/ 10017 h 10225"/>
                <a:gd name="connsiteX5" fmla="*/ 7781 w 10813"/>
                <a:gd name="connsiteY5" fmla="*/ 10225 h 10225"/>
                <a:gd name="connsiteX6" fmla="*/ 10654 w 10813"/>
                <a:gd name="connsiteY6" fmla="*/ 9493 h 10225"/>
                <a:gd name="connsiteX7" fmla="*/ 10679 w 10813"/>
                <a:gd name="connsiteY7" fmla="*/ 4776 h 10225"/>
                <a:gd name="connsiteX8" fmla="*/ 10813 w 10813"/>
                <a:gd name="connsiteY8" fmla="*/ 153 h 10225"/>
                <a:gd name="connsiteX9" fmla="*/ 8436 w 10813"/>
                <a:gd name="connsiteY9" fmla="*/ 1423 h 10225"/>
                <a:gd name="connsiteX10" fmla="*/ 6216 w 10813"/>
                <a:gd name="connsiteY10" fmla="*/ 1573 h 10225"/>
                <a:gd name="connsiteX11" fmla="*/ 4329 w 10813"/>
                <a:gd name="connsiteY11" fmla="*/ 1118 h 10225"/>
                <a:gd name="connsiteX12" fmla="*/ 3482 w 10813"/>
                <a:gd name="connsiteY12" fmla="*/ 813 h 10225"/>
                <a:gd name="connsiteX13" fmla="*/ 2840 w 10813"/>
                <a:gd name="connsiteY13" fmla="*/ 653 h 10225"/>
                <a:gd name="connsiteX14" fmla="*/ 2079 w 10813"/>
                <a:gd name="connsiteY14" fmla="*/ 566 h 10225"/>
                <a:gd name="connsiteX15" fmla="*/ 1332 w 10813"/>
                <a:gd name="connsiteY15" fmla="*/ 70 h 10225"/>
                <a:gd name="connsiteX16" fmla="*/ 40 w 10813"/>
                <a:gd name="connsiteY16" fmla="*/ 134 h 10225"/>
                <a:gd name="connsiteX17" fmla="*/ 9 w 10813"/>
                <a:gd name="connsiteY17" fmla="*/ 3757 h 10225"/>
                <a:gd name="connsiteX18" fmla="*/ 77 w 10813"/>
                <a:gd name="connsiteY18" fmla="*/ 7321 h 10225"/>
                <a:gd name="connsiteX0" fmla="*/ 116 w 10852"/>
                <a:gd name="connsiteY0" fmla="*/ 7375 h 10279"/>
                <a:gd name="connsiteX1" fmla="*/ 289 w 10852"/>
                <a:gd name="connsiteY1" fmla="*/ 9485 h 10279"/>
                <a:gd name="connsiteX2" fmla="*/ 1651 w 10852"/>
                <a:gd name="connsiteY2" fmla="*/ 9784 h 10279"/>
                <a:gd name="connsiteX3" fmla="*/ 2910 w 10852"/>
                <a:gd name="connsiteY3" fmla="*/ 9669 h 10279"/>
                <a:gd name="connsiteX4" fmla="*/ 5904 w 10852"/>
                <a:gd name="connsiteY4" fmla="*/ 10071 h 10279"/>
                <a:gd name="connsiteX5" fmla="*/ 7820 w 10852"/>
                <a:gd name="connsiteY5" fmla="*/ 10279 h 10279"/>
                <a:gd name="connsiteX6" fmla="*/ 10693 w 10852"/>
                <a:gd name="connsiteY6" fmla="*/ 9547 h 10279"/>
                <a:gd name="connsiteX7" fmla="*/ 10718 w 10852"/>
                <a:gd name="connsiteY7" fmla="*/ 4830 h 10279"/>
                <a:gd name="connsiteX8" fmla="*/ 10852 w 10852"/>
                <a:gd name="connsiteY8" fmla="*/ 207 h 10279"/>
                <a:gd name="connsiteX9" fmla="*/ 8475 w 10852"/>
                <a:gd name="connsiteY9" fmla="*/ 1477 h 10279"/>
                <a:gd name="connsiteX10" fmla="*/ 6255 w 10852"/>
                <a:gd name="connsiteY10" fmla="*/ 1627 h 10279"/>
                <a:gd name="connsiteX11" fmla="*/ 4368 w 10852"/>
                <a:gd name="connsiteY11" fmla="*/ 1172 h 10279"/>
                <a:gd name="connsiteX12" fmla="*/ 3521 w 10852"/>
                <a:gd name="connsiteY12" fmla="*/ 867 h 10279"/>
                <a:gd name="connsiteX13" fmla="*/ 2879 w 10852"/>
                <a:gd name="connsiteY13" fmla="*/ 707 h 10279"/>
                <a:gd name="connsiteX14" fmla="*/ 2118 w 10852"/>
                <a:gd name="connsiteY14" fmla="*/ 620 h 10279"/>
                <a:gd name="connsiteX15" fmla="*/ 1371 w 10852"/>
                <a:gd name="connsiteY15" fmla="*/ 124 h 10279"/>
                <a:gd name="connsiteX16" fmla="*/ 0 w 10852"/>
                <a:gd name="connsiteY16" fmla="*/ 104 h 10279"/>
                <a:gd name="connsiteX17" fmla="*/ 48 w 10852"/>
                <a:gd name="connsiteY17" fmla="*/ 3811 h 10279"/>
                <a:gd name="connsiteX18" fmla="*/ 116 w 10852"/>
                <a:gd name="connsiteY18" fmla="*/ 7375 h 1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52" h="10279">
                  <a:moveTo>
                    <a:pt x="116" y="7375"/>
                  </a:moveTo>
                  <a:cubicBezTo>
                    <a:pt x="206" y="8038"/>
                    <a:pt x="173" y="9062"/>
                    <a:pt x="289" y="9485"/>
                  </a:cubicBezTo>
                  <a:cubicBezTo>
                    <a:pt x="466" y="9781"/>
                    <a:pt x="1214" y="9753"/>
                    <a:pt x="1651" y="9784"/>
                  </a:cubicBezTo>
                  <a:cubicBezTo>
                    <a:pt x="2088" y="9815"/>
                    <a:pt x="2201" y="9621"/>
                    <a:pt x="2910" y="9669"/>
                  </a:cubicBezTo>
                  <a:cubicBezTo>
                    <a:pt x="3619" y="9717"/>
                    <a:pt x="5086" y="9969"/>
                    <a:pt x="5904" y="10071"/>
                  </a:cubicBezTo>
                  <a:cubicBezTo>
                    <a:pt x="6722" y="10173"/>
                    <a:pt x="7153" y="10194"/>
                    <a:pt x="7820" y="10279"/>
                  </a:cubicBezTo>
                  <a:lnTo>
                    <a:pt x="10693" y="9547"/>
                  </a:lnTo>
                  <a:cubicBezTo>
                    <a:pt x="10718" y="7866"/>
                    <a:pt x="10732" y="6116"/>
                    <a:pt x="10718" y="4830"/>
                  </a:cubicBezTo>
                  <a:cubicBezTo>
                    <a:pt x="10709" y="4009"/>
                    <a:pt x="10858" y="1089"/>
                    <a:pt x="10852" y="207"/>
                  </a:cubicBezTo>
                  <a:cubicBezTo>
                    <a:pt x="10692" y="231"/>
                    <a:pt x="9241" y="1240"/>
                    <a:pt x="8475" y="1477"/>
                  </a:cubicBezTo>
                  <a:cubicBezTo>
                    <a:pt x="7709" y="1714"/>
                    <a:pt x="6939" y="1678"/>
                    <a:pt x="6255" y="1627"/>
                  </a:cubicBezTo>
                  <a:cubicBezTo>
                    <a:pt x="5571" y="1576"/>
                    <a:pt x="4824" y="1299"/>
                    <a:pt x="4368" y="1172"/>
                  </a:cubicBezTo>
                  <a:cubicBezTo>
                    <a:pt x="3912" y="1045"/>
                    <a:pt x="3769" y="944"/>
                    <a:pt x="3521" y="867"/>
                  </a:cubicBezTo>
                  <a:cubicBezTo>
                    <a:pt x="3273" y="790"/>
                    <a:pt x="3113" y="748"/>
                    <a:pt x="2879" y="707"/>
                  </a:cubicBezTo>
                  <a:cubicBezTo>
                    <a:pt x="2645" y="666"/>
                    <a:pt x="2369" y="717"/>
                    <a:pt x="2118" y="620"/>
                  </a:cubicBezTo>
                  <a:cubicBezTo>
                    <a:pt x="1867" y="523"/>
                    <a:pt x="1724" y="210"/>
                    <a:pt x="1371" y="124"/>
                  </a:cubicBezTo>
                  <a:cubicBezTo>
                    <a:pt x="1018" y="38"/>
                    <a:pt x="247" y="-96"/>
                    <a:pt x="0" y="104"/>
                  </a:cubicBezTo>
                  <a:cubicBezTo>
                    <a:pt x="43" y="1257"/>
                    <a:pt x="5" y="2657"/>
                    <a:pt x="48" y="3811"/>
                  </a:cubicBezTo>
                  <a:cubicBezTo>
                    <a:pt x="28" y="5297"/>
                    <a:pt x="34" y="6180"/>
                    <a:pt x="116" y="7375"/>
                  </a:cubicBezTo>
                  <a:close/>
                </a:path>
              </a:pathLst>
            </a:custGeom>
            <a:gradFill rotWithShape="1">
              <a:gsLst>
                <a:gs pos="0">
                  <a:srgbClr val="FF0000">
                    <a:alpha val="0"/>
                  </a:srgbClr>
                </a:gs>
                <a:gs pos="8000">
                  <a:srgbClr val="FF8F8F">
                    <a:alpha val="40784"/>
                  </a:srgbClr>
                </a:gs>
                <a:gs pos="100000">
                  <a:srgbClr val="FF0000">
                    <a:alpha val="0"/>
                  </a:srgbClr>
                </a:gs>
              </a:gsLst>
              <a:lin ang="5400000" scaled="0"/>
            </a:gradFill>
            <a:ln w="9525">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 name="Freeform 2">
              <a:extLst>
                <a:ext uri="{FF2B5EF4-FFF2-40B4-BE49-F238E27FC236}">
                  <a16:creationId xmlns:a16="http://schemas.microsoft.com/office/drawing/2014/main" id="{5BE242C6-85C8-C224-1366-1DFAF3BC730A}"/>
                </a:ext>
              </a:extLst>
            </p:cNvPr>
            <p:cNvSpPr>
              <a:spLocks/>
            </p:cNvSpPr>
            <p:nvPr/>
          </p:nvSpPr>
          <p:spPr bwMode="auto">
            <a:xfrm>
              <a:off x="2528830" y="1312434"/>
              <a:ext cx="7831486" cy="2120516"/>
            </a:xfrm>
            <a:custGeom>
              <a:avLst/>
              <a:gdLst>
                <a:gd name="connsiteX0" fmla="*/ 19 w 10022"/>
                <a:gd name="connsiteY0" fmla="*/ 8256 h 10000"/>
                <a:gd name="connsiteX1" fmla="*/ 1534 w 10022"/>
                <a:gd name="connsiteY1" fmla="*/ 8367 h 10000"/>
                <a:gd name="connsiteX2" fmla="*/ 2061 w 10022"/>
                <a:gd name="connsiteY2" fmla="*/ 8478 h 10000"/>
                <a:gd name="connsiteX3" fmla="*/ 3245 w 10022"/>
                <a:gd name="connsiteY3" fmla="*/ 8812 h 10000"/>
                <a:gd name="connsiteX4" fmla="*/ 6154 w 10022"/>
                <a:gd name="connsiteY4" fmla="*/ 9840 h 10000"/>
                <a:gd name="connsiteX5" fmla="*/ 7812 w 10022"/>
                <a:gd name="connsiteY5" fmla="*/ 9785 h 10000"/>
                <a:gd name="connsiteX6" fmla="*/ 9689 w 10022"/>
                <a:gd name="connsiteY6" fmla="*/ 8589 h 10000"/>
                <a:gd name="connsiteX7" fmla="*/ 9808 w 10022"/>
                <a:gd name="connsiteY7" fmla="*/ 7778 h 10000"/>
                <a:gd name="connsiteX8" fmla="*/ 9674 w 10022"/>
                <a:gd name="connsiteY8" fmla="*/ 3002 h 10000"/>
                <a:gd name="connsiteX9" fmla="*/ 9614 w 10022"/>
                <a:gd name="connsiteY9" fmla="*/ 334 h 10000"/>
                <a:gd name="connsiteX10" fmla="*/ 8604 w 10022"/>
                <a:gd name="connsiteY10" fmla="*/ 1001 h 10000"/>
                <a:gd name="connsiteX11" fmla="*/ 6282 w 10022"/>
                <a:gd name="connsiteY11" fmla="*/ 1751 h 10000"/>
                <a:gd name="connsiteX12" fmla="*/ 4353 w 10022"/>
                <a:gd name="connsiteY12" fmla="*/ 1306 h 10000"/>
                <a:gd name="connsiteX13" fmla="*/ 3320 w 10022"/>
                <a:gd name="connsiteY13" fmla="*/ 1028 h 10000"/>
                <a:gd name="connsiteX14" fmla="*/ 2823 w 10022"/>
                <a:gd name="connsiteY14" fmla="*/ 973 h 10000"/>
                <a:gd name="connsiteX15" fmla="*/ 2461 w 10022"/>
                <a:gd name="connsiteY15" fmla="*/ 667 h 10000"/>
                <a:gd name="connsiteX16" fmla="*/ 1813 w 10022"/>
                <a:gd name="connsiteY16" fmla="*/ 473 h 10000"/>
                <a:gd name="connsiteX17" fmla="*/ 1149 w 10022"/>
                <a:gd name="connsiteY17" fmla="*/ 3141 h 10000"/>
                <a:gd name="connsiteX18" fmla="*/ 19 w 10022"/>
                <a:gd name="connsiteY18" fmla="*/ 8256 h 10000"/>
                <a:gd name="connsiteX0" fmla="*/ 19 w 10025"/>
                <a:gd name="connsiteY0" fmla="*/ 8256 h 10000"/>
                <a:gd name="connsiteX1" fmla="*/ 1534 w 10025"/>
                <a:gd name="connsiteY1" fmla="*/ 8367 h 10000"/>
                <a:gd name="connsiteX2" fmla="*/ 2061 w 10025"/>
                <a:gd name="connsiteY2" fmla="*/ 8478 h 10000"/>
                <a:gd name="connsiteX3" fmla="*/ 3245 w 10025"/>
                <a:gd name="connsiteY3" fmla="*/ 8812 h 10000"/>
                <a:gd name="connsiteX4" fmla="*/ 6154 w 10025"/>
                <a:gd name="connsiteY4" fmla="*/ 9840 h 10000"/>
                <a:gd name="connsiteX5" fmla="*/ 7812 w 10025"/>
                <a:gd name="connsiteY5" fmla="*/ 9785 h 10000"/>
                <a:gd name="connsiteX6" fmla="*/ 9689 w 10025"/>
                <a:gd name="connsiteY6" fmla="*/ 8589 h 10000"/>
                <a:gd name="connsiteX7" fmla="*/ 10023 w 10025"/>
                <a:gd name="connsiteY7" fmla="*/ 7654 h 10000"/>
                <a:gd name="connsiteX8" fmla="*/ 9674 w 10025"/>
                <a:gd name="connsiteY8" fmla="*/ 3002 h 10000"/>
                <a:gd name="connsiteX9" fmla="*/ 9614 w 10025"/>
                <a:gd name="connsiteY9" fmla="*/ 334 h 10000"/>
                <a:gd name="connsiteX10" fmla="*/ 8604 w 10025"/>
                <a:gd name="connsiteY10" fmla="*/ 1001 h 10000"/>
                <a:gd name="connsiteX11" fmla="*/ 6282 w 10025"/>
                <a:gd name="connsiteY11" fmla="*/ 1751 h 10000"/>
                <a:gd name="connsiteX12" fmla="*/ 4353 w 10025"/>
                <a:gd name="connsiteY12" fmla="*/ 1306 h 10000"/>
                <a:gd name="connsiteX13" fmla="*/ 3320 w 10025"/>
                <a:gd name="connsiteY13" fmla="*/ 1028 h 10000"/>
                <a:gd name="connsiteX14" fmla="*/ 2823 w 10025"/>
                <a:gd name="connsiteY14" fmla="*/ 973 h 10000"/>
                <a:gd name="connsiteX15" fmla="*/ 2461 w 10025"/>
                <a:gd name="connsiteY15" fmla="*/ 667 h 10000"/>
                <a:gd name="connsiteX16" fmla="*/ 1813 w 10025"/>
                <a:gd name="connsiteY16" fmla="*/ 473 h 10000"/>
                <a:gd name="connsiteX17" fmla="*/ 1149 w 10025"/>
                <a:gd name="connsiteY17" fmla="*/ 3141 h 10000"/>
                <a:gd name="connsiteX18" fmla="*/ 19 w 10025"/>
                <a:gd name="connsiteY18"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9614 w 10079"/>
                <a:gd name="connsiteY9" fmla="*/ 334 h 10000"/>
                <a:gd name="connsiteX10" fmla="*/ 8604 w 10079"/>
                <a:gd name="connsiteY10" fmla="*/ 1001 h 10000"/>
                <a:gd name="connsiteX11" fmla="*/ 6282 w 10079"/>
                <a:gd name="connsiteY11" fmla="*/ 1751 h 10000"/>
                <a:gd name="connsiteX12" fmla="*/ 4353 w 10079"/>
                <a:gd name="connsiteY12" fmla="*/ 1306 h 10000"/>
                <a:gd name="connsiteX13" fmla="*/ 3320 w 10079"/>
                <a:gd name="connsiteY13" fmla="*/ 1028 h 10000"/>
                <a:gd name="connsiteX14" fmla="*/ 2823 w 10079"/>
                <a:gd name="connsiteY14" fmla="*/ 973 h 10000"/>
                <a:gd name="connsiteX15" fmla="*/ 2461 w 10079"/>
                <a:gd name="connsiteY15" fmla="*/ 667 h 10000"/>
                <a:gd name="connsiteX16" fmla="*/ 1813 w 10079"/>
                <a:gd name="connsiteY16" fmla="*/ 473 h 10000"/>
                <a:gd name="connsiteX17" fmla="*/ 1149 w 10079"/>
                <a:gd name="connsiteY17" fmla="*/ 3141 h 10000"/>
                <a:gd name="connsiteX18" fmla="*/ 19 w 10079"/>
                <a:gd name="connsiteY18"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9707 w 10079"/>
                <a:gd name="connsiteY9" fmla="*/ 1199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91"/>
                <a:gd name="connsiteY0" fmla="*/ 8256 h 10000"/>
                <a:gd name="connsiteX1" fmla="*/ 1534 w 10091"/>
                <a:gd name="connsiteY1" fmla="*/ 8367 h 10000"/>
                <a:gd name="connsiteX2" fmla="*/ 2061 w 10091"/>
                <a:gd name="connsiteY2" fmla="*/ 8478 h 10000"/>
                <a:gd name="connsiteX3" fmla="*/ 3245 w 10091"/>
                <a:gd name="connsiteY3" fmla="*/ 8812 h 10000"/>
                <a:gd name="connsiteX4" fmla="*/ 6154 w 10091"/>
                <a:gd name="connsiteY4" fmla="*/ 9840 h 10000"/>
                <a:gd name="connsiteX5" fmla="*/ 7812 w 10091"/>
                <a:gd name="connsiteY5" fmla="*/ 9785 h 10000"/>
                <a:gd name="connsiteX6" fmla="*/ 9689 w 10091"/>
                <a:gd name="connsiteY6" fmla="*/ 8589 h 10000"/>
                <a:gd name="connsiteX7" fmla="*/ 10023 w 10091"/>
                <a:gd name="connsiteY7" fmla="*/ 7654 h 10000"/>
                <a:gd name="connsiteX8" fmla="*/ 10023 w 10091"/>
                <a:gd name="connsiteY8" fmla="*/ 3019 h 10000"/>
                <a:gd name="connsiteX9" fmla="*/ 10023 w 10091"/>
                <a:gd name="connsiteY9" fmla="*/ 992 h 10000"/>
                <a:gd name="connsiteX10" fmla="*/ 9614 w 10091"/>
                <a:gd name="connsiteY10" fmla="*/ 334 h 10000"/>
                <a:gd name="connsiteX11" fmla="*/ 8604 w 10091"/>
                <a:gd name="connsiteY11" fmla="*/ 1001 h 10000"/>
                <a:gd name="connsiteX12" fmla="*/ 6282 w 10091"/>
                <a:gd name="connsiteY12" fmla="*/ 1751 h 10000"/>
                <a:gd name="connsiteX13" fmla="*/ 4353 w 10091"/>
                <a:gd name="connsiteY13" fmla="*/ 1306 h 10000"/>
                <a:gd name="connsiteX14" fmla="*/ 3320 w 10091"/>
                <a:gd name="connsiteY14" fmla="*/ 1028 h 10000"/>
                <a:gd name="connsiteX15" fmla="*/ 2823 w 10091"/>
                <a:gd name="connsiteY15" fmla="*/ 973 h 10000"/>
                <a:gd name="connsiteX16" fmla="*/ 2461 w 10091"/>
                <a:gd name="connsiteY16" fmla="*/ 667 h 10000"/>
                <a:gd name="connsiteX17" fmla="*/ 1813 w 10091"/>
                <a:gd name="connsiteY17" fmla="*/ 473 h 10000"/>
                <a:gd name="connsiteX18" fmla="*/ 1149 w 10091"/>
                <a:gd name="connsiteY18" fmla="*/ 3141 h 10000"/>
                <a:gd name="connsiteX19" fmla="*/ 19 w 10091"/>
                <a:gd name="connsiteY19"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10023 w 10079"/>
                <a:gd name="connsiteY9" fmla="*/ 992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79"/>
                <a:gd name="connsiteY0" fmla="*/ 8256 h 10000"/>
                <a:gd name="connsiteX1" fmla="*/ 1534 w 10079"/>
                <a:gd name="connsiteY1" fmla="*/ 8367 h 10000"/>
                <a:gd name="connsiteX2" fmla="*/ 2061 w 10079"/>
                <a:gd name="connsiteY2" fmla="*/ 8478 h 10000"/>
                <a:gd name="connsiteX3" fmla="*/ 3245 w 10079"/>
                <a:gd name="connsiteY3" fmla="*/ 8812 h 10000"/>
                <a:gd name="connsiteX4" fmla="*/ 6154 w 10079"/>
                <a:gd name="connsiteY4" fmla="*/ 9840 h 10000"/>
                <a:gd name="connsiteX5" fmla="*/ 7812 w 10079"/>
                <a:gd name="connsiteY5" fmla="*/ 9785 h 10000"/>
                <a:gd name="connsiteX6" fmla="*/ 9689 w 10079"/>
                <a:gd name="connsiteY6" fmla="*/ 8589 h 10000"/>
                <a:gd name="connsiteX7" fmla="*/ 10023 w 10079"/>
                <a:gd name="connsiteY7" fmla="*/ 7654 h 10000"/>
                <a:gd name="connsiteX8" fmla="*/ 10023 w 10079"/>
                <a:gd name="connsiteY8" fmla="*/ 3019 h 10000"/>
                <a:gd name="connsiteX9" fmla="*/ 10023 w 10079"/>
                <a:gd name="connsiteY9" fmla="*/ 992 h 10000"/>
                <a:gd name="connsiteX10" fmla="*/ 9614 w 10079"/>
                <a:gd name="connsiteY10" fmla="*/ 334 h 10000"/>
                <a:gd name="connsiteX11" fmla="*/ 8604 w 10079"/>
                <a:gd name="connsiteY11" fmla="*/ 1001 h 10000"/>
                <a:gd name="connsiteX12" fmla="*/ 6282 w 10079"/>
                <a:gd name="connsiteY12" fmla="*/ 1751 h 10000"/>
                <a:gd name="connsiteX13" fmla="*/ 4353 w 10079"/>
                <a:gd name="connsiteY13" fmla="*/ 1306 h 10000"/>
                <a:gd name="connsiteX14" fmla="*/ 3320 w 10079"/>
                <a:gd name="connsiteY14" fmla="*/ 1028 h 10000"/>
                <a:gd name="connsiteX15" fmla="*/ 2823 w 10079"/>
                <a:gd name="connsiteY15" fmla="*/ 973 h 10000"/>
                <a:gd name="connsiteX16" fmla="*/ 2461 w 10079"/>
                <a:gd name="connsiteY16" fmla="*/ 667 h 10000"/>
                <a:gd name="connsiteX17" fmla="*/ 1813 w 10079"/>
                <a:gd name="connsiteY17" fmla="*/ 473 h 10000"/>
                <a:gd name="connsiteX18" fmla="*/ 1149 w 10079"/>
                <a:gd name="connsiteY18" fmla="*/ 3141 h 10000"/>
                <a:gd name="connsiteX19" fmla="*/ 19 w 10079"/>
                <a:gd name="connsiteY19" fmla="*/ 8256 h 10000"/>
                <a:gd name="connsiteX0" fmla="*/ 19 w 10079"/>
                <a:gd name="connsiteY0" fmla="*/ 8423 h 10167"/>
                <a:gd name="connsiteX1" fmla="*/ 1534 w 10079"/>
                <a:gd name="connsiteY1" fmla="*/ 8534 h 10167"/>
                <a:gd name="connsiteX2" fmla="*/ 2061 w 10079"/>
                <a:gd name="connsiteY2" fmla="*/ 8645 h 10167"/>
                <a:gd name="connsiteX3" fmla="*/ 3245 w 10079"/>
                <a:gd name="connsiteY3" fmla="*/ 8979 h 10167"/>
                <a:gd name="connsiteX4" fmla="*/ 6154 w 10079"/>
                <a:gd name="connsiteY4" fmla="*/ 10007 h 10167"/>
                <a:gd name="connsiteX5" fmla="*/ 7812 w 10079"/>
                <a:gd name="connsiteY5" fmla="*/ 9952 h 10167"/>
                <a:gd name="connsiteX6" fmla="*/ 9689 w 10079"/>
                <a:gd name="connsiteY6" fmla="*/ 8756 h 10167"/>
                <a:gd name="connsiteX7" fmla="*/ 10023 w 10079"/>
                <a:gd name="connsiteY7" fmla="*/ 7821 h 10167"/>
                <a:gd name="connsiteX8" fmla="*/ 10023 w 10079"/>
                <a:gd name="connsiteY8" fmla="*/ 3186 h 10167"/>
                <a:gd name="connsiteX9" fmla="*/ 10023 w 10079"/>
                <a:gd name="connsiteY9" fmla="*/ 0 h 10167"/>
                <a:gd name="connsiteX10" fmla="*/ 9614 w 10079"/>
                <a:gd name="connsiteY10" fmla="*/ 501 h 10167"/>
                <a:gd name="connsiteX11" fmla="*/ 8604 w 10079"/>
                <a:gd name="connsiteY11" fmla="*/ 1168 h 10167"/>
                <a:gd name="connsiteX12" fmla="*/ 6282 w 10079"/>
                <a:gd name="connsiteY12" fmla="*/ 1918 h 10167"/>
                <a:gd name="connsiteX13" fmla="*/ 4353 w 10079"/>
                <a:gd name="connsiteY13" fmla="*/ 1473 h 10167"/>
                <a:gd name="connsiteX14" fmla="*/ 3320 w 10079"/>
                <a:gd name="connsiteY14" fmla="*/ 1195 h 10167"/>
                <a:gd name="connsiteX15" fmla="*/ 2823 w 10079"/>
                <a:gd name="connsiteY15" fmla="*/ 1140 h 10167"/>
                <a:gd name="connsiteX16" fmla="*/ 2461 w 10079"/>
                <a:gd name="connsiteY16" fmla="*/ 834 h 10167"/>
                <a:gd name="connsiteX17" fmla="*/ 1813 w 10079"/>
                <a:gd name="connsiteY17" fmla="*/ 640 h 10167"/>
                <a:gd name="connsiteX18" fmla="*/ 1149 w 10079"/>
                <a:gd name="connsiteY18" fmla="*/ 3308 h 10167"/>
                <a:gd name="connsiteX19" fmla="*/ 19 w 10079"/>
                <a:gd name="connsiteY19" fmla="*/ 8423 h 10167"/>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05 w 10029"/>
                <a:gd name="connsiteY15" fmla="*/ 1140 h 10118"/>
                <a:gd name="connsiteX16" fmla="*/ 2443 w 10029"/>
                <a:gd name="connsiteY16" fmla="*/ 834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05 w 10029"/>
                <a:gd name="connsiteY15" fmla="*/ 114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02 w 10029"/>
                <a:gd name="connsiteY14" fmla="*/ 1195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335 w 10029"/>
                <a:gd name="connsiteY13" fmla="*/ 1473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196 w 10029"/>
                <a:gd name="connsiteY13" fmla="*/ 2113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264 w 10029"/>
                <a:gd name="connsiteY12" fmla="*/ 19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86 w 10029"/>
                <a:gd name="connsiteY11" fmla="*/ 1168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1 w 10029"/>
                <a:gd name="connsiteY12" fmla="*/ 231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78 w 10029"/>
                <a:gd name="connsiteY11" fmla="*/ 1915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596 w 10029"/>
                <a:gd name="connsiteY10" fmla="*/ 501 h 10118"/>
                <a:gd name="connsiteX11" fmla="*/ 8537 w 10029"/>
                <a:gd name="connsiteY11" fmla="*/ 2208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29"/>
                <a:gd name="connsiteY0" fmla="*/ 8423 h 10118"/>
                <a:gd name="connsiteX1" fmla="*/ 1516 w 10029"/>
                <a:gd name="connsiteY1" fmla="*/ 8534 h 10118"/>
                <a:gd name="connsiteX2" fmla="*/ 2043 w 10029"/>
                <a:gd name="connsiteY2" fmla="*/ 8645 h 10118"/>
                <a:gd name="connsiteX3" fmla="*/ 3227 w 10029"/>
                <a:gd name="connsiteY3" fmla="*/ 8979 h 10118"/>
                <a:gd name="connsiteX4" fmla="*/ 6136 w 10029"/>
                <a:gd name="connsiteY4" fmla="*/ 10007 h 10118"/>
                <a:gd name="connsiteX5" fmla="*/ 7794 w 10029"/>
                <a:gd name="connsiteY5" fmla="*/ 9952 h 10118"/>
                <a:gd name="connsiteX6" fmla="*/ 9671 w 10029"/>
                <a:gd name="connsiteY6" fmla="*/ 8756 h 10118"/>
                <a:gd name="connsiteX7" fmla="*/ 10005 w 10029"/>
                <a:gd name="connsiteY7" fmla="*/ 7821 h 10118"/>
                <a:gd name="connsiteX8" fmla="*/ 10005 w 10029"/>
                <a:gd name="connsiteY8" fmla="*/ 3186 h 10118"/>
                <a:gd name="connsiteX9" fmla="*/ 10005 w 10029"/>
                <a:gd name="connsiteY9" fmla="*/ 0 h 10118"/>
                <a:gd name="connsiteX10" fmla="*/ 9433 w 10029"/>
                <a:gd name="connsiteY10" fmla="*/ 1808 h 10118"/>
                <a:gd name="connsiteX11" fmla="*/ 8537 w 10029"/>
                <a:gd name="connsiteY11" fmla="*/ 2208 h 10118"/>
                <a:gd name="connsiteX12" fmla="*/ 6329 w 10029"/>
                <a:gd name="connsiteY12" fmla="*/ 2478 h 10118"/>
                <a:gd name="connsiteX13" fmla="*/ 4155 w 10029"/>
                <a:gd name="connsiteY13" fmla="*/ 2220 h 10118"/>
                <a:gd name="connsiteX14" fmla="*/ 3310 w 10029"/>
                <a:gd name="connsiteY14" fmla="*/ 1702 h 10118"/>
                <a:gd name="connsiteX15" fmla="*/ 2854 w 10029"/>
                <a:gd name="connsiteY15" fmla="*/ 1460 h 10118"/>
                <a:gd name="connsiteX16" fmla="*/ 2443 w 10029"/>
                <a:gd name="connsiteY16" fmla="*/ 1367 h 10118"/>
                <a:gd name="connsiteX17" fmla="*/ 1583 w 10029"/>
                <a:gd name="connsiteY17" fmla="*/ 1307 h 10118"/>
                <a:gd name="connsiteX18" fmla="*/ 1131 w 10029"/>
                <a:gd name="connsiteY18" fmla="*/ 3308 h 10118"/>
                <a:gd name="connsiteX19" fmla="*/ 1 w 10029"/>
                <a:gd name="connsiteY19" fmla="*/ 8423 h 10118"/>
                <a:gd name="connsiteX0" fmla="*/ 1 w 10049"/>
                <a:gd name="connsiteY0" fmla="*/ 7289 h 8984"/>
                <a:gd name="connsiteX1" fmla="*/ 1516 w 10049"/>
                <a:gd name="connsiteY1" fmla="*/ 7400 h 8984"/>
                <a:gd name="connsiteX2" fmla="*/ 2043 w 10049"/>
                <a:gd name="connsiteY2" fmla="*/ 7511 h 8984"/>
                <a:gd name="connsiteX3" fmla="*/ 3227 w 10049"/>
                <a:gd name="connsiteY3" fmla="*/ 7845 h 8984"/>
                <a:gd name="connsiteX4" fmla="*/ 6136 w 10049"/>
                <a:gd name="connsiteY4" fmla="*/ 8873 h 8984"/>
                <a:gd name="connsiteX5" fmla="*/ 7794 w 10049"/>
                <a:gd name="connsiteY5" fmla="*/ 8818 h 8984"/>
                <a:gd name="connsiteX6" fmla="*/ 9671 w 10049"/>
                <a:gd name="connsiteY6" fmla="*/ 7622 h 8984"/>
                <a:gd name="connsiteX7" fmla="*/ 10005 w 10049"/>
                <a:gd name="connsiteY7" fmla="*/ 6687 h 8984"/>
                <a:gd name="connsiteX8" fmla="*/ 10005 w 10049"/>
                <a:gd name="connsiteY8" fmla="*/ 2052 h 8984"/>
                <a:gd name="connsiteX9" fmla="*/ 9630 w 10049"/>
                <a:gd name="connsiteY9" fmla="*/ 546 h 8984"/>
                <a:gd name="connsiteX10" fmla="*/ 9433 w 10049"/>
                <a:gd name="connsiteY10" fmla="*/ 674 h 8984"/>
                <a:gd name="connsiteX11" fmla="*/ 8537 w 10049"/>
                <a:gd name="connsiteY11" fmla="*/ 1074 h 8984"/>
                <a:gd name="connsiteX12" fmla="*/ 6329 w 10049"/>
                <a:gd name="connsiteY12" fmla="*/ 1344 h 8984"/>
                <a:gd name="connsiteX13" fmla="*/ 4155 w 10049"/>
                <a:gd name="connsiteY13" fmla="*/ 1086 h 8984"/>
                <a:gd name="connsiteX14" fmla="*/ 3310 w 10049"/>
                <a:gd name="connsiteY14" fmla="*/ 568 h 8984"/>
                <a:gd name="connsiteX15" fmla="*/ 2854 w 10049"/>
                <a:gd name="connsiteY15" fmla="*/ 326 h 8984"/>
                <a:gd name="connsiteX16" fmla="*/ 2443 w 10049"/>
                <a:gd name="connsiteY16" fmla="*/ 233 h 8984"/>
                <a:gd name="connsiteX17" fmla="*/ 1583 w 10049"/>
                <a:gd name="connsiteY17" fmla="*/ 173 h 8984"/>
                <a:gd name="connsiteX18" fmla="*/ 1131 w 10049"/>
                <a:gd name="connsiteY18" fmla="*/ 2174 h 8984"/>
                <a:gd name="connsiteX19" fmla="*/ 1 w 10049"/>
                <a:gd name="connsiteY19" fmla="*/ 7289 h 8984"/>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16 w 10000"/>
                <a:gd name="connsiteY12" fmla="*/ 1457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32 w 10000"/>
                <a:gd name="connsiteY12" fmla="*/ 1813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10000"/>
                <a:gd name="connsiteY0" fmla="*/ 8113 h 10000"/>
                <a:gd name="connsiteX1" fmla="*/ 1509 w 10000"/>
                <a:gd name="connsiteY1" fmla="*/ 8237 h 10000"/>
                <a:gd name="connsiteX2" fmla="*/ 2033 w 10000"/>
                <a:gd name="connsiteY2" fmla="*/ 8360 h 10000"/>
                <a:gd name="connsiteX3" fmla="*/ 3211 w 10000"/>
                <a:gd name="connsiteY3" fmla="*/ 8732 h 10000"/>
                <a:gd name="connsiteX4" fmla="*/ 6106 w 10000"/>
                <a:gd name="connsiteY4" fmla="*/ 9876 h 10000"/>
                <a:gd name="connsiteX5" fmla="*/ 7756 w 10000"/>
                <a:gd name="connsiteY5" fmla="*/ 9815 h 10000"/>
                <a:gd name="connsiteX6" fmla="*/ 9624 w 10000"/>
                <a:gd name="connsiteY6" fmla="*/ 8484 h 10000"/>
                <a:gd name="connsiteX7" fmla="*/ 9956 w 10000"/>
                <a:gd name="connsiteY7" fmla="*/ 7443 h 10000"/>
                <a:gd name="connsiteX8" fmla="*/ 9956 w 10000"/>
                <a:gd name="connsiteY8" fmla="*/ 2284 h 10000"/>
                <a:gd name="connsiteX9" fmla="*/ 9583 w 10000"/>
                <a:gd name="connsiteY9" fmla="*/ 608 h 10000"/>
                <a:gd name="connsiteX10" fmla="*/ 9387 w 10000"/>
                <a:gd name="connsiteY10" fmla="*/ 750 h 10000"/>
                <a:gd name="connsiteX11" fmla="*/ 8495 w 10000"/>
                <a:gd name="connsiteY11" fmla="*/ 1195 h 10000"/>
                <a:gd name="connsiteX12" fmla="*/ 6932 w 10000"/>
                <a:gd name="connsiteY12" fmla="*/ 1813 h 10000"/>
                <a:gd name="connsiteX13" fmla="*/ 6298 w 10000"/>
                <a:gd name="connsiteY13" fmla="*/ 1496 h 10000"/>
                <a:gd name="connsiteX14" fmla="*/ 4135 w 10000"/>
                <a:gd name="connsiteY14" fmla="*/ 1209 h 10000"/>
                <a:gd name="connsiteX15" fmla="*/ 3294 w 10000"/>
                <a:gd name="connsiteY15" fmla="*/ 632 h 10000"/>
                <a:gd name="connsiteX16" fmla="*/ 2840 w 10000"/>
                <a:gd name="connsiteY16" fmla="*/ 363 h 10000"/>
                <a:gd name="connsiteX17" fmla="*/ 2431 w 10000"/>
                <a:gd name="connsiteY17" fmla="*/ 259 h 10000"/>
                <a:gd name="connsiteX18" fmla="*/ 1575 w 10000"/>
                <a:gd name="connsiteY18" fmla="*/ 193 h 10000"/>
                <a:gd name="connsiteX19" fmla="*/ 1125 w 10000"/>
                <a:gd name="connsiteY19" fmla="*/ 2420 h 10000"/>
                <a:gd name="connsiteX20" fmla="*/ 1 w 10000"/>
                <a:gd name="connsiteY20" fmla="*/ 8113 h 10000"/>
                <a:gd name="connsiteX0" fmla="*/ 1 w 9960"/>
                <a:gd name="connsiteY0" fmla="*/ 8113 h 10000"/>
                <a:gd name="connsiteX1" fmla="*/ 1509 w 9960"/>
                <a:gd name="connsiteY1" fmla="*/ 8237 h 10000"/>
                <a:gd name="connsiteX2" fmla="*/ 2033 w 9960"/>
                <a:gd name="connsiteY2" fmla="*/ 8360 h 10000"/>
                <a:gd name="connsiteX3" fmla="*/ 3211 w 9960"/>
                <a:gd name="connsiteY3" fmla="*/ 8732 h 10000"/>
                <a:gd name="connsiteX4" fmla="*/ 6106 w 9960"/>
                <a:gd name="connsiteY4" fmla="*/ 9876 h 10000"/>
                <a:gd name="connsiteX5" fmla="*/ 7756 w 9960"/>
                <a:gd name="connsiteY5" fmla="*/ 9815 h 10000"/>
                <a:gd name="connsiteX6" fmla="*/ 9624 w 9960"/>
                <a:gd name="connsiteY6" fmla="*/ 8484 h 10000"/>
                <a:gd name="connsiteX7" fmla="*/ 9956 w 9960"/>
                <a:gd name="connsiteY7" fmla="*/ 7443 h 10000"/>
                <a:gd name="connsiteX8" fmla="*/ 9802 w 9960"/>
                <a:gd name="connsiteY8" fmla="*/ 2373 h 10000"/>
                <a:gd name="connsiteX9" fmla="*/ 9583 w 9960"/>
                <a:gd name="connsiteY9" fmla="*/ 608 h 10000"/>
                <a:gd name="connsiteX10" fmla="*/ 9387 w 9960"/>
                <a:gd name="connsiteY10" fmla="*/ 750 h 10000"/>
                <a:gd name="connsiteX11" fmla="*/ 8495 w 9960"/>
                <a:gd name="connsiteY11" fmla="*/ 1195 h 10000"/>
                <a:gd name="connsiteX12" fmla="*/ 6932 w 9960"/>
                <a:gd name="connsiteY12" fmla="*/ 1813 h 10000"/>
                <a:gd name="connsiteX13" fmla="*/ 6298 w 9960"/>
                <a:gd name="connsiteY13" fmla="*/ 1496 h 10000"/>
                <a:gd name="connsiteX14" fmla="*/ 4135 w 9960"/>
                <a:gd name="connsiteY14" fmla="*/ 1209 h 10000"/>
                <a:gd name="connsiteX15" fmla="*/ 3294 w 9960"/>
                <a:gd name="connsiteY15" fmla="*/ 632 h 10000"/>
                <a:gd name="connsiteX16" fmla="*/ 2840 w 9960"/>
                <a:gd name="connsiteY16" fmla="*/ 363 h 10000"/>
                <a:gd name="connsiteX17" fmla="*/ 2431 w 9960"/>
                <a:gd name="connsiteY17" fmla="*/ 259 h 10000"/>
                <a:gd name="connsiteX18" fmla="*/ 1575 w 9960"/>
                <a:gd name="connsiteY18" fmla="*/ 193 h 10000"/>
                <a:gd name="connsiteX19" fmla="*/ 1125 w 9960"/>
                <a:gd name="connsiteY19" fmla="*/ 2420 h 10000"/>
                <a:gd name="connsiteX20" fmla="*/ 1 w 9960"/>
                <a:gd name="connsiteY20" fmla="*/ 8113 h 10000"/>
                <a:gd name="connsiteX0" fmla="*/ 1 w 10143"/>
                <a:gd name="connsiteY0" fmla="*/ 8113 h 10000"/>
                <a:gd name="connsiteX1" fmla="*/ 1515 w 10143"/>
                <a:gd name="connsiteY1" fmla="*/ 8237 h 10000"/>
                <a:gd name="connsiteX2" fmla="*/ 2041 w 10143"/>
                <a:gd name="connsiteY2" fmla="*/ 8360 h 10000"/>
                <a:gd name="connsiteX3" fmla="*/ 3224 w 10143"/>
                <a:gd name="connsiteY3" fmla="*/ 8732 h 10000"/>
                <a:gd name="connsiteX4" fmla="*/ 6131 w 10143"/>
                <a:gd name="connsiteY4" fmla="*/ 9876 h 10000"/>
                <a:gd name="connsiteX5" fmla="*/ 7787 w 10143"/>
                <a:gd name="connsiteY5" fmla="*/ 9815 h 10000"/>
                <a:gd name="connsiteX6" fmla="*/ 9663 w 10143"/>
                <a:gd name="connsiteY6" fmla="*/ 8484 h 10000"/>
                <a:gd name="connsiteX7" fmla="*/ 10141 w 10143"/>
                <a:gd name="connsiteY7" fmla="*/ 7939 h 10000"/>
                <a:gd name="connsiteX8" fmla="*/ 9841 w 10143"/>
                <a:gd name="connsiteY8" fmla="*/ 2373 h 10000"/>
                <a:gd name="connsiteX9" fmla="*/ 9621 w 10143"/>
                <a:gd name="connsiteY9" fmla="*/ 608 h 10000"/>
                <a:gd name="connsiteX10" fmla="*/ 9425 w 10143"/>
                <a:gd name="connsiteY10" fmla="*/ 750 h 10000"/>
                <a:gd name="connsiteX11" fmla="*/ 8529 w 10143"/>
                <a:gd name="connsiteY11" fmla="*/ 1195 h 10000"/>
                <a:gd name="connsiteX12" fmla="*/ 6960 w 10143"/>
                <a:gd name="connsiteY12" fmla="*/ 1813 h 10000"/>
                <a:gd name="connsiteX13" fmla="*/ 6323 w 10143"/>
                <a:gd name="connsiteY13" fmla="*/ 1496 h 10000"/>
                <a:gd name="connsiteX14" fmla="*/ 4152 w 10143"/>
                <a:gd name="connsiteY14" fmla="*/ 1209 h 10000"/>
                <a:gd name="connsiteX15" fmla="*/ 3307 w 10143"/>
                <a:gd name="connsiteY15" fmla="*/ 632 h 10000"/>
                <a:gd name="connsiteX16" fmla="*/ 2851 w 10143"/>
                <a:gd name="connsiteY16" fmla="*/ 363 h 10000"/>
                <a:gd name="connsiteX17" fmla="*/ 2441 w 10143"/>
                <a:gd name="connsiteY17" fmla="*/ 259 h 10000"/>
                <a:gd name="connsiteX18" fmla="*/ 1581 w 10143"/>
                <a:gd name="connsiteY18" fmla="*/ 193 h 10000"/>
                <a:gd name="connsiteX19" fmla="*/ 1130 w 10143"/>
                <a:gd name="connsiteY19" fmla="*/ 2420 h 10000"/>
                <a:gd name="connsiteX20" fmla="*/ 1 w 10143"/>
                <a:gd name="connsiteY20" fmla="*/ 8113 h 10000"/>
                <a:gd name="connsiteX0" fmla="*/ 1 w 10142"/>
                <a:gd name="connsiteY0" fmla="*/ 8113 h 10000"/>
                <a:gd name="connsiteX1" fmla="*/ 1515 w 10142"/>
                <a:gd name="connsiteY1" fmla="*/ 8237 h 10000"/>
                <a:gd name="connsiteX2" fmla="*/ 2041 w 10142"/>
                <a:gd name="connsiteY2" fmla="*/ 8360 h 10000"/>
                <a:gd name="connsiteX3" fmla="*/ 3224 w 10142"/>
                <a:gd name="connsiteY3" fmla="*/ 8732 h 10000"/>
                <a:gd name="connsiteX4" fmla="*/ 6131 w 10142"/>
                <a:gd name="connsiteY4" fmla="*/ 9876 h 10000"/>
                <a:gd name="connsiteX5" fmla="*/ 7787 w 10142"/>
                <a:gd name="connsiteY5" fmla="*/ 9815 h 10000"/>
                <a:gd name="connsiteX6" fmla="*/ 9663 w 10142"/>
                <a:gd name="connsiteY6" fmla="*/ 8484 h 10000"/>
                <a:gd name="connsiteX7" fmla="*/ 10141 w 10142"/>
                <a:gd name="connsiteY7" fmla="*/ 7939 h 10000"/>
                <a:gd name="connsiteX8" fmla="*/ 9841 w 10142"/>
                <a:gd name="connsiteY8" fmla="*/ 2373 h 10000"/>
                <a:gd name="connsiteX9" fmla="*/ 9621 w 10142"/>
                <a:gd name="connsiteY9" fmla="*/ 608 h 10000"/>
                <a:gd name="connsiteX10" fmla="*/ 9425 w 10142"/>
                <a:gd name="connsiteY10" fmla="*/ 750 h 10000"/>
                <a:gd name="connsiteX11" fmla="*/ 8529 w 10142"/>
                <a:gd name="connsiteY11" fmla="*/ 1195 h 10000"/>
                <a:gd name="connsiteX12" fmla="*/ 6960 w 10142"/>
                <a:gd name="connsiteY12" fmla="*/ 1813 h 10000"/>
                <a:gd name="connsiteX13" fmla="*/ 6323 w 10142"/>
                <a:gd name="connsiteY13" fmla="*/ 1496 h 10000"/>
                <a:gd name="connsiteX14" fmla="*/ 4152 w 10142"/>
                <a:gd name="connsiteY14" fmla="*/ 1209 h 10000"/>
                <a:gd name="connsiteX15" fmla="*/ 3307 w 10142"/>
                <a:gd name="connsiteY15" fmla="*/ 632 h 10000"/>
                <a:gd name="connsiteX16" fmla="*/ 2851 w 10142"/>
                <a:gd name="connsiteY16" fmla="*/ 363 h 10000"/>
                <a:gd name="connsiteX17" fmla="*/ 2441 w 10142"/>
                <a:gd name="connsiteY17" fmla="*/ 259 h 10000"/>
                <a:gd name="connsiteX18" fmla="*/ 1581 w 10142"/>
                <a:gd name="connsiteY18" fmla="*/ 193 h 10000"/>
                <a:gd name="connsiteX19" fmla="*/ 1130 w 10142"/>
                <a:gd name="connsiteY19" fmla="*/ 2420 h 10000"/>
                <a:gd name="connsiteX20" fmla="*/ 1 w 10142"/>
                <a:gd name="connsiteY20" fmla="*/ 81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142" h="10000">
                  <a:moveTo>
                    <a:pt x="1" y="8113"/>
                  </a:moveTo>
                  <a:cubicBezTo>
                    <a:pt x="-18" y="8306"/>
                    <a:pt x="1174" y="8198"/>
                    <a:pt x="1515" y="8237"/>
                  </a:cubicBezTo>
                  <a:cubicBezTo>
                    <a:pt x="1855" y="8276"/>
                    <a:pt x="1757" y="8276"/>
                    <a:pt x="2041" y="8360"/>
                  </a:cubicBezTo>
                  <a:cubicBezTo>
                    <a:pt x="2326" y="8446"/>
                    <a:pt x="2543" y="8476"/>
                    <a:pt x="3224" y="8732"/>
                  </a:cubicBezTo>
                  <a:cubicBezTo>
                    <a:pt x="3906" y="8987"/>
                    <a:pt x="5370" y="9698"/>
                    <a:pt x="6131" y="9876"/>
                  </a:cubicBezTo>
                  <a:cubicBezTo>
                    <a:pt x="6891" y="10055"/>
                    <a:pt x="7199" y="10047"/>
                    <a:pt x="7787" y="9815"/>
                  </a:cubicBezTo>
                  <a:lnTo>
                    <a:pt x="9663" y="8484"/>
                  </a:lnTo>
                  <a:cubicBezTo>
                    <a:pt x="9995" y="8112"/>
                    <a:pt x="10120" y="8065"/>
                    <a:pt x="10141" y="7939"/>
                  </a:cubicBezTo>
                  <a:cubicBezTo>
                    <a:pt x="10162" y="7813"/>
                    <a:pt x="9928" y="3595"/>
                    <a:pt x="9841" y="2373"/>
                  </a:cubicBezTo>
                  <a:cubicBezTo>
                    <a:pt x="9754" y="1151"/>
                    <a:pt x="9709" y="1075"/>
                    <a:pt x="9621" y="608"/>
                  </a:cubicBezTo>
                  <a:cubicBezTo>
                    <a:pt x="9566" y="755"/>
                    <a:pt x="9608" y="787"/>
                    <a:pt x="9425" y="750"/>
                  </a:cubicBezTo>
                  <a:cubicBezTo>
                    <a:pt x="9248" y="378"/>
                    <a:pt x="8940" y="1018"/>
                    <a:pt x="8529" y="1195"/>
                  </a:cubicBezTo>
                  <a:cubicBezTo>
                    <a:pt x="8118" y="1372"/>
                    <a:pt x="7327" y="1763"/>
                    <a:pt x="6960" y="1813"/>
                  </a:cubicBezTo>
                  <a:cubicBezTo>
                    <a:pt x="6592" y="1863"/>
                    <a:pt x="6791" y="1597"/>
                    <a:pt x="6323" y="1496"/>
                  </a:cubicBezTo>
                  <a:cubicBezTo>
                    <a:pt x="5855" y="1395"/>
                    <a:pt x="4654" y="1352"/>
                    <a:pt x="4152" y="1209"/>
                  </a:cubicBezTo>
                  <a:cubicBezTo>
                    <a:pt x="3649" y="1065"/>
                    <a:pt x="3524" y="774"/>
                    <a:pt x="3307" y="632"/>
                  </a:cubicBezTo>
                  <a:cubicBezTo>
                    <a:pt x="3090" y="491"/>
                    <a:pt x="2996" y="425"/>
                    <a:pt x="2851" y="363"/>
                  </a:cubicBezTo>
                  <a:cubicBezTo>
                    <a:pt x="2708" y="301"/>
                    <a:pt x="2653" y="287"/>
                    <a:pt x="2441" y="259"/>
                  </a:cubicBezTo>
                  <a:cubicBezTo>
                    <a:pt x="2229" y="232"/>
                    <a:pt x="1799" y="-264"/>
                    <a:pt x="1581" y="193"/>
                  </a:cubicBezTo>
                  <a:cubicBezTo>
                    <a:pt x="1360" y="1182"/>
                    <a:pt x="1350" y="1430"/>
                    <a:pt x="1130" y="2420"/>
                  </a:cubicBezTo>
                  <a:cubicBezTo>
                    <a:pt x="831" y="3867"/>
                    <a:pt x="229" y="6899"/>
                    <a:pt x="1" y="8113"/>
                  </a:cubicBezTo>
                  <a:close/>
                </a:path>
              </a:pathLst>
            </a:custGeom>
            <a:gradFill flip="none" rotWithShape="1">
              <a:gsLst>
                <a:gs pos="0">
                  <a:srgbClr val="FF0000">
                    <a:alpha val="0"/>
                  </a:srgbClr>
                </a:gs>
                <a:gs pos="50000">
                  <a:srgbClr val="FF8F8F">
                    <a:alpha val="41000"/>
                  </a:srgbClr>
                </a:gs>
                <a:gs pos="100000">
                  <a:srgbClr val="FF0000">
                    <a:alpha val="0"/>
                  </a:srgbClr>
                </a:gs>
              </a:gsLst>
              <a:path path="rect">
                <a:fillToRect l="100000" t="100000"/>
              </a:path>
              <a:tileRect r="-100000" b="-100000"/>
            </a:gradFill>
            <a:ln w="9525">
              <a:no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 name="TextBox 756">
              <a:extLst>
                <a:ext uri="{FF2B5EF4-FFF2-40B4-BE49-F238E27FC236}">
                  <a16:creationId xmlns:a16="http://schemas.microsoft.com/office/drawing/2014/main" id="{B2FB0B99-B46A-13F1-3929-13AAF7799B25}"/>
                </a:ext>
              </a:extLst>
            </p:cNvPr>
            <p:cNvSpPr txBox="1">
              <a:spLocks noChangeArrowheads="1"/>
            </p:cNvSpPr>
            <p:nvPr/>
          </p:nvSpPr>
          <p:spPr bwMode="auto">
            <a:xfrm>
              <a:off x="2767064" y="4176816"/>
              <a:ext cx="1331042"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Macrófago</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grpSp>
          <p:nvGrpSpPr>
            <p:cNvPr id="19" name="Group 728">
              <a:extLst>
                <a:ext uri="{FF2B5EF4-FFF2-40B4-BE49-F238E27FC236}">
                  <a16:creationId xmlns:a16="http://schemas.microsoft.com/office/drawing/2014/main" id="{3B3217B5-24E6-6A3D-B229-D3767D9B834D}"/>
                </a:ext>
              </a:extLst>
            </p:cNvPr>
            <p:cNvGrpSpPr>
              <a:grpSpLocks/>
            </p:cNvGrpSpPr>
            <p:nvPr/>
          </p:nvGrpSpPr>
          <p:grpSpPr bwMode="auto">
            <a:xfrm>
              <a:off x="3768835" y="3123939"/>
              <a:ext cx="1577072" cy="1411629"/>
              <a:chOff x="3504061" y="3599711"/>
              <a:chExt cx="1648033" cy="1379432"/>
            </a:xfrm>
          </p:grpSpPr>
          <p:sp>
            <p:nvSpPr>
              <p:cNvPr id="20" name="Oval 541">
                <a:extLst>
                  <a:ext uri="{FF2B5EF4-FFF2-40B4-BE49-F238E27FC236}">
                    <a16:creationId xmlns:a16="http://schemas.microsoft.com/office/drawing/2014/main" id="{0ECA5843-666D-DB67-C9EA-FDC9B09D3AB7}"/>
                  </a:ext>
                </a:extLst>
              </p:cNvPr>
              <p:cNvSpPr>
                <a:spLocks noChangeArrowheads="1"/>
              </p:cNvSpPr>
              <p:nvPr/>
            </p:nvSpPr>
            <p:spPr bwMode="auto">
              <a:xfrm rot="4371100">
                <a:off x="4092013" y="348510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 name="Oval 545">
                <a:extLst>
                  <a:ext uri="{FF2B5EF4-FFF2-40B4-BE49-F238E27FC236}">
                    <a16:creationId xmlns:a16="http://schemas.microsoft.com/office/drawing/2014/main" id="{C5BA5EC3-0976-8D60-B2ED-05C29E4FC891}"/>
                  </a:ext>
                </a:extLst>
              </p:cNvPr>
              <p:cNvSpPr>
                <a:spLocks noChangeArrowheads="1"/>
              </p:cNvSpPr>
              <p:nvPr/>
            </p:nvSpPr>
            <p:spPr bwMode="auto">
              <a:xfrm rot="4371100">
                <a:off x="4433487" y="354079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 name="Oval 548">
                <a:extLst>
                  <a:ext uri="{FF2B5EF4-FFF2-40B4-BE49-F238E27FC236}">
                    <a16:creationId xmlns:a16="http://schemas.microsoft.com/office/drawing/2014/main" id="{0A27F13E-E2B6-717C-C2F1-AC180C149DE2}"/>
                  </a:ext>
                </a:extLst>
              </p:cNvPr>
              <p:cNvSpPr>
                <a:spLocks noChangeArrowheads="1"/>
              </p:cNvSpPr>
              <p:nvPr/>
            </p:nvSpPr>
            <p:spPr bwMode="auto">
              <a:xfrm rot="4371100">
                <a:off x="4483650" y="352230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 name="Oval 549">
                <a:extLst>
                  <a:ext uri="{FF2B5EF4-FFF2-40B4-BE49-F238E27FC236}">
                    <a16:creationId xmlns:a16="http://schemas.microsoft.com/office/drawing/2014/main" id="{FBA4B6DF-BABA-6CBE-C556-52FAD4F99EDA}"/>
                  </a:ext>
                </a:extLst>
              </p:cNvPr>
              <p:cNvSpPr>
                <a:spLocks noChangeArrowheads="1"/>
              </p:cNvSpPr>
              <p:nvPr/>
            </p:nvSpPr>
            <p:spPr bwMode="auto">
              <a:xfrm rot="4371100">
                <a:off x="4379355" y="353473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 name="Oval 551">
                <a:extLst>
                  <a:ext uri="{FF2B5EF4-FFF2-40B4-BE49-F238E27FC236}">
                    <a16:creationId xmlns:a16="http://schemas.microsoft.com/office/drawing/2014/main" id="{E2CFA6BA-9DE8-2BC7-1AB6-8226E106D080}"/>
                  </a:ext>
                </a:extLst>
              </p:cNvPr>
              <p:cNvSpPr>
                <a:spLocks noChangeArrowheads="1"/>
              </p:cNvSpPr>
              <p:nvPr/>
            </p:nvSpPr>
            <p:spPr bwMode="auto">
              <a:xfrm rot="4371100">
                <a:off x="4117772" y="358351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 name="Oval 552">
                <a:extLst>
                  <a:ext uri="{FF2B5EF4-FFF2-40B4-BE49-F238E27FC236}">
                    <a16:creationId xmlns:a16="http://schemas.microsoft.com/office/drawing/2014/main" id="{1F20D2BD-FFCF-ADA7-B16F-5859542B2C2B}"/>
                  </a:ext>
                </a:extLst>
              </p:cNvPr>
              <p:cNvSpPr>
                <a:spLocks noChangeArrowheads="1"/>
              </p:cNvSpPr>
              <p:nvPr/>
            </p:nvSpPr>
            <p:spPr bwMode="auto">
              <a:xfrm rot="4371100">
                <a:off x="4176752" y="357729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 name="Oval 553">
                <a:extLst>
                  <a:ext uri="{FF2B5EF4-FFF2-40B4-BE49-F238E27FC236}">
                    <a16:creationId xmlns:a16="http://schemas.microsoft.com/office/drawing/2014/main" id="{9717590F-5343-869A-6B95-571A43058505}"/>
                  </a:ext>
                </a:extLst>
              </p:cNvPr>
              <p:cNvSpPr>
                <a:spLocks noChangeArrowheads="1"/>
              </p:cNvSpPr>
              <p:nvPr/>
            </p:nvSpPr>
            <p:spPr bwMode="auto">
              <a:xfrm rot="4371100">
                <a:off x="4263553" y="354404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 name="Oval 554">
                <a:extLst>
                  <a:ext uri="{FF2B5EF4-FFF2-40B4-BE49-F238E27FC236}">
                    <a16:creationId xmlns:a16="http://schemas.microsoft.com/office/drawing/2014/main" id="{522ED240-05AE-E82A-4154-C76BB6ECF2C3}"/>
                  </a:ext>
                </a:extLst>
              </p:cNvPr>
              <p:cNvSpPr>
                <a:spLocks noChangeArrowheads="1"/>
              </p:cNvSpPr>
              <p:nvPr/>
            </p:nvSpPr>
            <p:spPr bwMode="auto">
              <a:xfrm rot="4371100">
                <a:off x="4347501" y="357549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 name="Oval 555">
                <a:extLst>
                  <a:ext uri="{FF2B5EF4-FFF2-40B4-BE49-F238E27FC236}">
                    <a16:creationId xmlns:a16="http://schemas.microsoft.com/office/drawing/2014/main" id="{2CB3C030-B59C-CB8C-7B50-54F66DDA8504}"/>
                  </a:ext>
                </a:extLst>
              </p:cNvPr>
              <p:cNvSpPr>
                <a:spLocks noChangeArrowheads="1"/>
              </p:cNvSpPr>
              <p:nvPr/>
            </p:nvSpPr>
            <p:spPr bwMode="auto">
              <a:xfrm rot="4371100">
                <a:off x="4394891" y="359392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 name="Oval 556">
                <a:extLst>
                  <a:ext uri="{FF2B5EF4-FFF2-40B4-BE49-F238E27FC236}">
                    <a16:creationId xmlns:a16="http://schemas.microsoft.com/office/drawing/2014/main" id="{FB3E2FB1-0A14-1796-7341-FC9EE25102CF}"/>
                  </a:ext>
                </a:extLst>
              </p:cNvPr>
              <p:cNvSpPr>
                <a:spLocks noChangeArrowheads="1"/>
              </p:cNvSpPr>
              <p:nvPr/>
            </p:nvSpPr>
            <p:spPr bwMode="auto">
              <a:xfrm rot="4371100">
                <a:off x="4293001" y="358972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 name="Oval 557">
                <a:extLst>
                  <a:ext uri="{FF2B5EF4-FFF2-40B4-BE49-F238E27FC236}">
                    <a16:creationId xmlns:a16="http://schemas.microsoft.com/office/drawing/2014/main" id="{071069B5-F7E7-4339-B748-3D23A03C7076}"/>
                  </a:ext>
                </a:extLst>
              </p:cNvPr>
              <p:cNvSpPr>
                <a:spLocks noChangeArrowheads="1"/>
              </p:cNvSpPr>
              <p:nvPr/>
            </p:nvSpPr>
            <p:spPr bwMode="auto">
              <a:xfrm rot="4371100">
                <a:off x="4188746" y="36231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 name="Oval 558">
                <a:extLst>
                  <a:ext uri="{FF2B5EF4-FFF2-40B4-BE49-F238E27FC236}">
                    <a16:creationId xmlns:a16="http://schemas.microsoft.com/office/drawing/2014/main" id="{7F52D033-BEAF-6CC3-4E10-3F70DDBC4F87}"/>
                  </a:ext>
                </a:extLst>
              </p:cNvPr>
              <p:cNvSpPr>
                <a:spLocks noChangeArrowheads="1"/>
              </p:cNvSpPr>
              <p:nvPr/>
            </p:nvSpPr>
            <p:spPr bwMode="auto">
              <a:xfrm rot="4371100">
                <a:off x="4178262" y="351717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3" name="Oval 559">
                <a:extLst>
                  <a:ext uri="{FF2B5EF4-FFF2-40B4-BE49-F238E27FC236}">
                    <a16:creationId xmlns:a16="http://schemas.microsoft.com/office/drawing/2014/main" id="{52DC51EB-79CB-A3AC-0844-EA2093D155C9}"/>
                  </a:ext>
                </a:extLst>
              </p:cNvPr>
              <p:cNvSpPr>
                <a:spLocks noChangeArrowheads="1"/>
              </p:cNvSpPr>
              <p:nvPr/>
            </p:nvSpPr>
            <p:spPr bwMode="auto">
              <a:xfrm rot="4371100">
                <a:off x="4447570" y="376141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4" name="Oval 560">
                <a:extLst>
                  <a:ext uri="{FF2B5EF4-FFF2-40B4-BE49-F238E27FC236}">
                    <a16:creationId xmlns:a16="http://schemas.microsoft.com/office/drawing/2014/main" id="{997444AB-1AFA-C715-F084-0D370811F35F}"/>
                  </a:ext>
                </a:extLst>
              </p:cNvPr>
              <p:cNvSpPr>
                <a:spLocks noChangeArrowheads="1"/>
              </p:cNvSpPr>
              <p:nvPr/>
            </p:nvSpPr>
            <p:spPr bwMode="auto">
              <a:xfrm rot="4371100">
                <a:off x="4165179" y="368224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5" name="Oval 561">
                <a:extLst>
                  <a:ext uri="{FF2B5EF4-FFF2-40B4-BE49-F238E27FC236}">
                    <a16:creationId xmlns:a16="http://schemas.microsoft.com/office/drawing/2014/main" id="{09D67FC7-CC5B-84D5-F106-00E6EEABD08B}"/>
                  </a:ext>
                </a:extLst>
              </p:cNvPr>
              <p:cNvSpPr>
                <a:spLocks noChangeArrowheads="1"/>
              </p:cNvSpPr>
              <p:nvPr/>
            </p:nvSpPr>
            <p:spPr bwMode="auto">
              <a:xfrm rot="4371100">
                <a:off x="4444094" y="364002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6" name="Oval 563">
                <a:extLst>
                  <a:ext uri="{FF2B5EF4-FFF2-40B4-BE49-F238E27FC236}">
                    <a16:creationId xmlns:a16="http://schemas.microsoft.com/office/drawing/2014/main" id="{A88796E3-1A61-3647-0F12-B681E5EFE4F5}"/>
                  </a:ext>
                </a:extLst>
              </p:cNvPr>
              <p:cNvSpPr>
                <a:spLocks noChangeArrowheads="1"/>
              </p:cNvSpPr>
              <p:nvPr/>
            </p:nvSpPr>
            <p:spPr bwMode="auto">
              <a:xfrm rot="4371100">
                <a:off x="4523727" y="360792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7" name="Oval 564">
                <a:extLst>
                  <a:ext uri="{FF2B5EF4-FFF2-40B4-BE49-F238E27FC236}">
                    <a16:creationId xmlns:a16="http://schemas.microsoft.com/office/drawing/2014/main" id="{4EE752D1-5143-B204-AC9F-9818A3FE2E4D}"/>
                  </a:ext>
                </a:extLst>
              </p:cNvPr>
              <p:cNvSpPr>
                <a:spLocks noChangeArrowheads="1"/>
              </p:cNvSpPr>
              <p:nvPr/>
            </p:nvSpPr>
            <p:spPr bwMode="auto">
              <a:xfrm rot="4371100">
                <a:off x="4437696" y="369140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8" name="Oval 565">
                <a:extLst>
                  <a:ext uri="{FF2B5EF4-FFF2-40B4-BE49-F238E27FC236}">
                    <a16:creationId xmlns:a16="http://schemas.microsoft.com/office/drawing/2014/main" id="{FBB13019-2303-A7CA-4C9F-F03010CF6BDE}"/>
                  </a:ext>
                </a:extLst>
              </p:cNvPr>
              <p:cNvSpPr>
                <a:spLocks noChangeArrowheads="1"/>
              </p:cNvSpPr>
              <p:nvPr/>
            </p:nvSpPr>
            <p:spPr bwMode="auto">
              <a:xfrm rot="4371100">
                <a:off x="4640747" y="367957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9" name="Oval 566">
                <a:extLst>
                  <a:ext uri="{FF2B5EF4-FFF2-40B4-BE49-F238E27FC236}">
                    <a16:creationId xmlns:a16="http://schemas.microsoft.com/office/drawing/2014/main" id="{5E562B09-4C07-3FE9-A605-BECD54F246EF}"/>
                  </a:ext>
                </a:extLst>
              </p:cNvPr>
              <p:cNvSpPr>
                <a:spLocks noChangeArrowheads="1"/>
              </p:cNvSpPr>
              <p:nvPr/>
            </p:nvSpPr>
            <p:spPr bwMode="auto">
              <a:xfrm rot="4371100">
                <a:off x="4249783" y="363110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0" name="Oval 567">
                <a:extLst>
                  <a:ext uri="{FF2B5EF4-FFF2-40B4-BE49-F238E27FC236}">
                    <a16:creationId xmlns:a16="http://schemas.microsoft.com/office/drawing/2014/main" id="{6D0A6366-78D4-1C73-4F02-50DB9AA0CC81}"/>
                  </a:ext>
                </a:extLst>
              </p:cNvPr>
              <p:cNvSpPr>
                <a:spLocks noChangeArrowheads="1"/>
              </p:cNvSpPr>
              <p:nvPr/>
            </p:nvSpPr>
            <p:spPr bwMode="auto">
              <a:xfrm rot="4371100">
                <a:off x="4561154" y="372370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1" name="Oval 568">
                <a:extLst>
                  <a:ext uri="{FF2B5EF4-FFF2-40B4-BE49-F238E27FC236}">
                    <a16:creationId xmlns:a16="http://schemas.microsoft.com/office/drawing/2014/main" id="{E0F30B31-FE4B-A1C4-0933-7D9DA45F5302}"/>
                  </a:ext>
                </a:extLst>
              </p:cNvPr>
              <p:cNvSpPr>
                <a:spLocks noChangeArrowheads="1"/>
              </p:cNvSpPr>
              <p:nvPr/>
            </p:nvSpPr>
            <p:spPr bwMode="auto">
              <a:xfrm rot="4371100">
                <a:off x="4383972" y="3686080"/>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2" name="Oval 569">
                <a:extLst>
                  <a:ext uri="{FF2B5EF4-FFF2-40B4-BE49-F238E27FC236}">
                    <a16:creationId xmlns:a16="http://schemas.microsoft.com/office/drawing/2014/main" id="{E30102F6-ABE4-ABB9-4455-873541B2FABC}"/>
                  </a:ext>
                </a:extLst>
              </p:cNvPr>
              <p:cNvSpPr>
                <a:spLocks noChangeArrowheads="1"/>
              </p:cNvSpPr>
              <p:nvPr/>
            </p:nvSpPr>
            <p:spPr bwMode="auto">
              <a:xfrm rot="4371100">
                <a:off x="4282895" y="368333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3" name="Oval 570">
                <a:extLst>
                  <a:ext uri="{FF2B5EF4-FFF2-40B4-BE49-F238E27FC236}">
                    <a16:creationId xmlns:a16="http://schemas.microsoft.com/office/drawing/2014/main" id="{893204C3-8F6B-3DE4-A42A-7A042E755973}"/>
                  </a:ext>
                </a:extLst>
              </p:cNvPr>
              <p:cNvSpPr>
                <a:spLocks noChangeArrowheads="1"/>
              </p:cNvSpPr>
              <p:nvPr/>
            </p:nvSpPr>
            <p:spPr bwMode="auto">
              <a:xfrm rot="4371100">
                <a:off x="4121981" y="373412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4" name="Oval 571">
                <a:extLst>
                  <a:ext uri="{FF2B5EF4-FFF2-40B4-BE49-F238E27FC236}">
                    <a16:creationId xmlns:a16="http://schemas.microsoft.com/office/drawing/2014/main" id="{A90940BA-D656-DF99-BDFC-F3424AEA1980}"/>
                  </a:ext>
                </a:extLst>
              </p:cNvPr>
              <p:cNvSpPr>
                <a:spLocks noChangeArrowheads="1"/>
              </p:cNvSpPr>
              <p:nvPr/>
            </p:nvSpPr>
            <p:spPr bwMode="auto">
              <a:xfrm rot="4371100">
                <a:off x="4052551" y="379494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5" name="Oval 572">
                <a:extLst>
                  <a:ext uri="{FF2B5EF4-FFF2-40B4-BE49-F238E27FC236}">
                    <a16:creationId xmlns:a16="http://schemas.microsoft.com/office/drawing/2014/main" id="{D7E8EF48-E0ED-CF10-A831-131C9040FCE1}"/>
                  </a:ext>
                </a:extLst>
              </p:cNvPr>
              <p:cNvSpPr>
                <a:spLocks noChangeArrowheads="1"/>
              </p:cNvSpPr>
              <p:nvPr/>
            </p:nvSpPr>
            <p:spPr bwMode="auto">
              <a:xfrm rot="4371100">
                <a:off x="3954228" y="403183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6" name="Oval 573">
                <a:extLst>
                  <a:ext uri="{FF2B5EF4-FFF2-40B4-BE49-F238E27FC236}">
                    <a16:creationId xmlns:a16="http://schemas.microsoft.com/office/drawing/2014/main" id="{806A5EC3-7394-E668-BAE3-8665635189D3}"/>
                  </a:ext>
                </a:extLst>
              </p:cNvPr>
              <p:cNvSpPr>
                <a:spLocks noChangeArrowheads="1"/>
              </p:cNvSpPr>
              <p:nvPr/>
            </p:nvSpPr>
            <p:spPr bwMode="auto">
              <a:xfrm rot="4371100">
                <a:off x="4350630" y="37276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7" name="Oval 574">
                <a:extLst>
                  <a:ext uri="{FF2B5EF4-FFF2-40B4-BE49-F238E27FC236}">
                    <a16:creationId xmlns:a16="http://schemas.microsoft.com/office/drawing/2014/main" id="{2E02AE95-F157-1B0B-543D-A6EED5E2DD2F}"/>
                  </a:ext>
                </a:extLst>
              </p:cNvPr>
              <p:cNvSpPr>
                <a:spLocks noChangeArrowheads="1"/>
              </p:cNvSpPr>
              <p:nvPr/>
            </p:nvSpPr>
            <p:spPr bwMode="auto">
              <a:xfrm rot="4371100">
                <a:off x="4422009" y="383785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49" name="Oval 575">
                <a:extLst>
                  <a:ext uri="{FF2B5EF4-FFF2-40B4-BE49-F238E27FC236}">
                    <a16:creationId xmlns:a16="http://schemas.microsoft.com/office/drawing/2014/main" id="{B0CABA24-0B8B-671D-6F81-A8E8B9D8DC45}"/>
                  </a:ext>
                </a:extLst>
              </p:cNvPr>
              <p:cNvSpPr>
                <a:spLocks noChangeArrowheads="1"/>
              </p:cNvSpPr>
              <p:nvPr/>
            </p:nvSpPr>
            <p:spPr bwMode="auto">
              <a:xfrm rot="4371100">
                <a:off x="4267511" y="384777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0" name="Oval 576">
                <a:extLst>
                  <a:ext uri="{FF2B5EF4-FFF2-40B4-BE49-F238E27FC236}">
                    <a16:creationId xmlns:a16="http://schemas.microsoft.com/office/drawing/2014/main" id="{142ADEF5-AC23-2A9C-424D-573AD52DF93D}"/>
                  </a:ext>
                </a:extLst>
              </p:cNvPr>
              <p:cNvSpPr>
                <a:spLocks noChangeArrowheads="1"/>
              </p:cNvSpPr>
              <p:nvPr/>
            </p:nvSpPr>
            <p:spPr bwMode="auto">
              <a:xfrm rot="4371100">
                <a:off x="4212160" y="376973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1" name="Oval 577">
                <a:extLst>
                  <a:ext uri="{FF2B5EF4-FFF2-40B4-BE49-F238E27FC236}">
                    <a16:creationId xmlns:a16="http://schemas.microsoft.com/office/drawing/2014/main" id="{303D81ED-E50F-A800-56C0-B7AB277CD9CE}"/>
                  </a:ext>
                </a:extLst>
              </p:cNvPr>
              <p:cNvSpPr>
                <a:spLocks noChangeArrowheads="1"/>
              </p:cNvSpPr>
              <p:nvPr/>
            </p:nvSpPr>
            <p:spPr bwMode="auto">
              <a:xfrm rot="4371100">
                <a:off x="4286739" y="378443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2" name="Oval 578">
                <a:extLst>
                  <a:ext uri="{FF2B5EF4-FFF2-40B4-BE49-F238E27FC236}">
                    <a16:creationId xmlns:a16="http://schemas.microsoft.com/office/drawing/2014/main" id="{107B6775-57C6-5896-1A99-0B72EC18C6AD}"/>
                  </a:ext>
                </a:extLst>
              </p:cNvPr>
              <p:cNvSpPr>
                <a:spLocks noChangeArrowheads="1"/>
              </p:cNvSpPr>
              <p:nvPr/>
            </p:nvSpPr>
            <p:spPr bwMode="auto">
              <a:xfrm rot="13156290">
                <a:off x="4430580" y="4180048"/>
                <a:ext cx="271454" cy="718966"/>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3" name="Oval 579">
                <a:extLst>
                  <a:ext uri="{FF2B5EF4-FFF2-40B4-BE49-F238E27FC236}">
                    <a16:creationId xmlns:a16="http://schemas.microsoft.com/office/drawing/2014/main" id="{C4DE4AD0-244A-2FA2-4EF4-37893CF1A9AE}"/>
                  </a:ext>
                </a:extLst>
              </p:cNvPr>
              <p:cNvSpPr>
                <a:spLocks noChangeArrowheads="1"/>
              </p:cNvSpPr>
              <p:nvPr/>
            </p:nvSpPr>
            <p:spPr bwMode="auto">
              <a:xfrm rot="13156290">
                <a:off x="4492620" y="4074604"/>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55" name="Oval 580">
                <a:extLst>
                  <a:ext uri="{FF2B5EF4-FFF2-40B4-BE49-F238E27FC236}">
                    <a16:creationId xmlns:a16="http://schemas.microsoft.com/office/drawing/2014/main" id="{FC0BF9D1-2B91-0EAC-7B69-6297F5C5F49F}"/>
                  </a:ext>
                </a:extLst>
              </p:cNvPr>
              <p:cNvSpPr>
                <a:spLocks noChangeArrowheads="1"/>
              </p:cNvSpPr>
              <p:nvPr/>
            </p:nvSpPr>
            <p:spPr bwMode="auto">
              <a:xfrm rot="13156290">
                <a:off x="4282170" y="426017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5" name="Oval 583">
                <a:extLst>
                  <a:ext uri="{FF2B5EF4-FFF2-40B4-BE49-F238E27FC236}">
                    <a16:creationId xmlns:a16="http://schemas.microsoft.com/office/drawing/2014/main" id="{EB60E4C9-1F25-497B-6F97-CFFE869624FE}"/>
                  </a:ext>
                </a:extLst>
              </p:cNvPr>
              <p:cNvSpPr>
                <a:spLocks noChangeArrowheads="1"/>
              </p:cNvSpPr>
              <p:nvPr/>
            </p:nvSpPr>
            <p:spPr bwMode="auto">
              <a:xfrm rot="13156290">
                <a:off x="4034276" y="423804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6" name="Oval 584">
                <a:extLst>
                  <a:ext uri="{FF2B5EF4-FFF2-40B4-BE49-F238E27FC236}">
                    <a16:creationId xmlns:a16="http://schemas.microsoft.com/office/drawing/2014/main" id="{34FD51C2-0537-0E47-9D10-794AC4A8F76B}"/>
                  </a:ext>
                </a:extLst>
              </p:cNvPr>
              <p:cNvSpPr>
                <a:spLocks noChangeArrowheads="1"/>
              </p:cNvSpPr>
              <p:nvPr/>
            </p:nvSpPr>
            <p:spPr bwMode="auto">
              <a:xfrm rot="13156290">
                <a:off x="4362252" y="418001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7" name="Oval 585">
                <a:extLst>
                  <a:ext uri="{FF2B5EF4-FFF2-40B4-BE49-F238E27FC236}">
                    <a16:creationId xmlns:a16="http://schemas.microsoft.com/office/drawing/2014/main" id="{F6EB6367-7C5C-5A3B-50D5-642152C32A11}"/>
                  </a:ext>
                </a:extLst>
              </p:cNvPr>
              <p:cNvSpPr>
                <a:spLocks noChangeArrowheads="1"/>
              </p:cNvSpPr>
              <p:nvPr/>
            </p:nvSpPr>
            <p:spPr bwMode="auto">
              <a:xfrm rot="13156290">
                <a:off x="4544427" y="41393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8" name="Oval 586">
                <a:extLst>
                  <a:ext uri="{FF2B5EF4-FFF2-40B4-BE49-F238E27FC236}">
                    <a16:creationId xmlns:a16="http://schemas.microsoft.com/office/drawing/2014/main" id="{5C13330E-6146-7F31-FC68-6D08F8D81A6F}"/>
                  </a:ext>
                </a:extLst>
              </p:cNvPr>
              <p:cNvSpPr>
                <a:spLocks noChangeArrowheads="1"/>
              </p:cNvSpPr>
              <p:nvPr/>
            </p:nvSpPr>
            <p:spPr bwMode="auto">
              <a:xfrm rot="13156290">
                <a:off x="4309503" y="419039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89" name="Oval 587">
                <a:extLst>
                  <a:ext uri="{FF2B5EF4-FFF2-40B4-BE49-F238E27FC236}">
                    <a16:creationId xmlns:a16="http://schemas.microsoft.com/office/drawing/2014/main" id="{338CF04C-B93E-1B3B-6F26-66FDDFBB1B9D}"/>
                  </a:ext>
                </a:extLst>
              </p:cNvPr>
              <p:cNvSpPr>
                <a:spLocks noChangeArrowheads="1"/>
              </p:cNvSpPr>
              <p:nvPr/>
            </p:nvSpPr>
            <p:spPr bwMode="auto">
              <a:xfrm rot="13156290">
                <a:off x="4395593" y="413842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6" name="Oval 588">
                <a:extLst>
                  <a:ext uri="{FF2B5EF4-FFF2-40B4-BE49-F238E27FC236}">
                    <a16:creationId xmlns:a16="http://schemas.microsoft.com/office/drawing/2014/main" id="{A65A1C0D-7F09-C083-232F-E46734408707}"/>
                  </a:ext>
                </a:extLst>
              </p:cNvPr>
              <p:cNvSpPr>
                <a:spLocks noChangeArrowheads="1"/>
              </p:cNvSpPr>
              <p:nvPr/>
            </p:nvSpPr>
            <p:spPr bwMode="auto">
              <a:xfrm rot="13156290">
                <a:off x="4582639" y="402617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7" name="Oval 589">
                <a:extLst>
                  <a:ext uri="{FF2B5EF4-FFF2-40B4-BE49-F238E27FC236}">
                    <a16:creationId xmlns:a16="http://schemas.microsoft.com/office/drawing/2014/main" id="{04635BE3-73AA-24AA-3A43-626175FF183E}"/>
                  </a:ext>
                </a:extLst>
              </p:cNvPr>
              <p:cNvSpPr>
                <a:spLocks noChangeArrowheads="1"/>
              </p:cNvSpPr>
              <p:nvPr/>
            </p:nvSpPr>
            <p:spPr bwMode="auto">
              <a:xfrm rot="13156290">
                <a:off x="4455758" y="404359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99" name="Oval 590">
                <a:extLst>
                  <a:ext uri="{FF2B5EF4-FFF2-40B4-BE49-F238E27FC236}">
                    <a16:creationId xmlns:a16="http://schemas.microsoft.com/office/drawing/2014/main" id="{6E638AD4-5FDE-24C5-933C-F4D0313FCBCA}"/>
                  </a:ext>
                </a:extLst>
              </p:cNvPr>
              <p:cNvSpPr>
                <a:spLocks noChangeArrowheads="1"/>
              </p:cNvSpPr>
              <p:nvPr/>
            </p:nvSpPr>
            <p:spPr bwMode="auto">
              <a:xfrm rot="13156290">
                <a:off x="4427305" y="40939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0" name="Oval 591">
                <a:extLst>
                  <a:ext uri="{FF2B5EF4-FFF2-40B4-BE49-F238E27FC236}">
                    <a16:creationId xmlns:a16="http://schemas.microsoft.com/office/drawing/2014/main" id="{8BA16151-69BF-A8BE-7544-04BCD6FF8D18}"/>
                  </a:ext>
                </a:extLst>
              </p:cNvPr>
              <p:cNvSpPr>
                <a:spLocks noChangeArrowheads="1"/>
              </p:cNvSpPr>
              <p:nvPr/>
            </p:nvSpPr>
            <p:spPr bwMode="auto">
              <a:xfrm rot="13156290">
                <a:off x="4312112" y="413922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1" name="Oval 592">
                <a:extLst>
                  <a:ext uri="{FF2B5EF4-FFF2-40B4-BE49-F238E27FC236}">
                    <a16:creationId xmlns:a16="http://schemas.microsoft.com/office/drawing/2014/main" id="{D032B6B7-003E-7AC0-B397-3A10E8DFB511}"/>
                  </a:ext>
                </a:extLst>
              </p:cNvPr>
              <p:cNvSpPr>
                <a:spLocks noChangeArrowheads="1"/>
              </p:cNvSpPr>
              <p:nvPr/>
            </p:nvSpPr>
            <p:spPr bwMode="auto">
              <a:xfrm rot="13156290">
                <a:off x="4498826" y="420784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2" name="Oval 593">
                <a:extLst>
                  <a:ext uri="{FF2B5EF4-FFF2-40B4-BE49-F238E27FC236}">
                    <a16:creationId xmlns:a16="http://schemas.microsoft.com/office/drawing/2014/main" id="{C5B5924E-7676-4499-E608-484FE1448DCF}"/>
                  </a:ext>
                </a:extLst>
              </p:cNvPr>
              <p:cNvSpPr>
                <a:spLocks noChangeArrowheads="1"/>
              </p:cNvSpPr>
              <p:nvPr/>
            </p:nvSpPr>
            <p:spPr bwMode="auto">
              <a:xfrm rot="13156290">
                <a:off x="4743196" y="4031693"/>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3" name="Oval 594">
                <a:extLst>
                  <a:ext uri="{FF2B5EF4-FFF2-40B4-BE49-F238E27FC236}">
                    <a16:creationId xmlns:a16="http://schemas.microsoft.com/office/drawing/2014/main" id="{71FD5666-6949-6BFF-3F3D-4A0E65E479CF}"/>
                  </a:ext>
                </a:extLst>
              </p:cNvPr>
              <p:cNvSpPr>
                <a:spLocks noChangeArrowheads="1"/>
              </p:cNvSpPr>
              <p:nvPr/>
            </p:nvSpPr>
            <p:spPr bwMode="auto">
              <a:xfrm rot="13156290">
                <a:off x="4501219" y="397132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4" name="Oval 595">
                <a:extLst>
                  <a:ext uri="{FF2B5EF4-FFF2-40B4-BE49-F238E27FC236}">
                    <a16:creationId xmlns:a16="http://schemas.microsoft.com/office/drawing/2014/main" id="{5357B840-7674-6697-C727-F766768FBE22}"/>
                  </a:ext>
                </a:extLst>
              </p:cNvPr>
              <p:cNvSpPr>
                <a:spLocks noChangeArrowheads="1"/>
              </p:cNvSpPr>
              <p:nvPr/>
            </p:nvSpPr>
            <p:spPr bwMode="auto">
              <a:xfrm rot="13156290">
                <a:off x="4381769" y="405437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5" name="Oval 596">
                <a:extLst>
                  <a:ext uri="{FF2B5EF4-FFF2-40B4-BE49-F238E27FC236}">
                    <a16:creationId xmlns:a16="http://schemas.microsoft.com/office/drawing/2014/main" id="{D58FDA2B-266C-BFBF-ACCC-EA6BD33B589A}"/>
                  </a:ext>
                </a:extLst>
              </p:cNvPr>
              <p:cNvSpPr>
                <a:spLocks noChangeArrowheads="1"/>
              </p:cNvSpPr>
              <p:nvPr/>
            </p:nvSpPr>
            <p:spPr bwMode="auto">
              <a:xfrm rot="13156290">
                <a:off x="4426619" y="394611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6" name="Oval 597">
                <a:extLst>
                  <a:ext uri="{FF2B5EF4-FFF2-40B4-BE49-F238E27FC236}">
                    <a16:creationId xmlns:a16="http://schemas.microsoft.com/office/drawing/2014/main" id="{7D3F36BC-BD17-4F69-5362-A03279FD09F7}"/>
                  </a:ext>
                </a:extLst>
              </p:cNvPr>
              <p:cNvSpPr>
                <a:spLocks noChangeArrowheads="1"/>
              </p:cNvSpPr>
              <p:nvPr/>
            </p:nvSpPr>
            <p:spPr bwMode="auto">
              <a:xfrm rot="13156290">
                <a:off x="4488778" y="3903707"/>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7" name="Oval 598">
                <a:extLst>
                  <a:ext uri="{FF2B5EF4-FFF2-40B4-BE49-F238E27FC236}">
                    <a16:creationId xmlns:a16="http://schemas.microsoft.com/office/drawing/2014/main" id="{DB783FEC-0B3C-6911-D8CC-238249A5638A}"/>
                  </a:ext>
                </a:extLst>
              </p:cNvPr>
              <p:cNvSpPr>
                <a:spLocks noChangeArrowheads="1"/>
              </p:cNvSpPr>
              <p:nvPr/>
            </p:nvSpPr>
            <p:spPr bwMode="auto">
              <a:xfrm rot="13156290">
                <a:off x="4588632" y="390427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8" name="Oval 599">
                <a:extLst>
                  <a:ext uri="{FF2B5EF4-FFF2-40B4-BE49-F238E27FC236}">
                    <a16:creationId xmlns:a16="http://schemas.microsoft.com/office/drawing/2014/main" id="{4F5D0412-CD9F-E44C-D87D-859324BAB946}"/>
                  </a:ext>
                </a:extLst>
              </p:cNvPr>
              <p:cNvSpPr>
                <a:spLocks noChangeArrowheads="1"/>
              </p:cNvSpPr>
              <p:nvPr/>
            </p:nvSpPr>
            <p:spPr bwMode="auto">
              <a:xfrm rot="13156290">
                <a:off x="4158346" y="418411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09" name="Oval 600">
                <a:extLst>
                  <a:ext uri="{FF2B5EF4-FFF2-40B4-BE49-F238E27FC236}">
                    <a16:creationId xmlns:a16="http://schemas.microsoft.com/office/drawing/2014/main" id="{108E46E6-DD3A-CDAA-6515-B277149AB007}"/>
                  </a:ext>
                </a:extLst>
              </p:cNvPr>
              <p:cNvSpPr>
                <a:spLocks noChangeArrowheads="1"/>
              </p:cNvSpPr>
              <p:nvPr/>
            </p:nvSpPr>
            <p:spPr bwMode="auto">
              <a:xfrm rot="13156290">
                <a:off x="4242808" y="412348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0" name="Oval 601">
                <a:extLst>
                  <a:ext uri="{FF2B5EF4-FFF2-40B4-BE49-F238E27FC236}">
                    <a16:creationId xmlns:a16="http://schemas.microsoft.com/office/drawing/2014/main" id="{E2BD2989-2531-DB99-941F-9F4175FEA52B}"/>
                  </a:ext>
                </a:extLst>
              </p:cNvPr>
              <p:cNvSpPr>
                <a:spLocks noChangeArrowheads="1"/>
              </p:cNvSpPr>
              <p:nvPr/>
            </p:nvSpPr>
            <p:spPr bwMode="auto">
              <a:xfrm rot="13156290">
                <a:off x="4172934" y="409277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1" name="Oval 602">
                <a:extLst>
                  <a:ext uri="{FF2B5EF4-FFF2-40B4-BE49-F238E27FC236}">
                    <a16:creationId xmlns:a16="http://schemas.microsoft.com/office/drawing/2014/main" id="{B11FE60A-A535-90DD-EBAA-9D3C1C6028BC}"/>
                  </a:ext>
                </a:extLst>
              </p:cNvPr>
              <p:cNvSpPr>
                <a:spLocks noChangeArrowheads="1"/>
              </p:cNvSpPr>
              <p:nvPr/>
            </p:nvSpPr>
            <p:spPr bwMode="auto">
              <a:xfrm rot="13156290">
                <a:off x="4273666" y="4056515"/>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2" name="Oval 603">
                <a:extLst>
                  <a:ext uri="{FF2B5EF4-FFF2-40B4-BE49-F238E27FC236}">
                    <a16:creationId xmlns:a16="http://schemas.microsoft.com/office/drawing/2014/main" id="{3AE4A87B-D742-273B-529A-178621260D71}"/>
                  </a:ext>
                </a:extLst>
              </p:cNvPr>
              <p:cNvSpPr>
                <a:spLocks noChangeArrowheads="1"/>
              </p:cNvSpPr>
              <p:nvPr/>
            </p:nvSpPr>
            <p:spPr bwMode="auto">
              <a:xfrm rot="13156290">
                <a:off x="4395335" y="400185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3" name="Oval 604">
                <a:extLst>
                  <a:ext uri="{FF2B5EF4-FFF2-40B4-BE49-F238E27FC236}">
                    <a16:creationId xmlns:a16="http://schemas.microsoft.com/office/drawing/2014/main" id="{7C03962E-F9A7-1F68-3A55-7DCE0943249C}"/>
                  </a:ext>
                </a:extLst>
              </p:cNvPr>
              <p:cNvSpPr>
                <a:spLocks noChangeArrowheads="1"/>
              </p:cNvSpPr>
              <p:nvPr/>
            </p:nvSpPr>
            <p:spPr bwMode="auto">
              <a:xfrm rot="13156290">
                <a:off x="4218616" y="406626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4" name="Oval 605">
                <a:extLst>
                  <a:ext uri="{FF2B5EF4-FFF2-40B4-BE49-F238E27FC236}">
                    <a16:creationId xmlns:a16="http://schemas.microsoft.com/office/drawing/2014/main" id="{2902A719-0858-DA8B-9068-0696BBE63C45}"/>
                  </a:ext>
                </a:extLst>
              </p:cNvPr>
              <p:cNvSpPr>
                <a:spLocks noChangeArrowheads="1"/>
              </p:cNvSpPr>
              <p:nvPr/>
            </p:nvSpPr>
            <p:spPr bwMode="auto">
              <a:xfrm rot="13156290">
                <a:off x="4304705" y="401429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5" name="Oval 606">
                <a:extLst>
                  <a:ext uri="{FF2B5EF4-FFF2-40B4-BE49-F238E27FC236}">
                    <a16:creationId xmlns:a16="http://schemas.microsoft.com/office/drawing/2014/main" id="{337E8BB8-9102-BF11-E0B6-F7E2B28E5A0B}"/>
                  </a:ext>
                </a:extLst>
              </p:cNvPr>
              <p:cNvSpPr>
                <a:spLocks noChangeArrowheads="1"/>
              </p:cNvSpPr>
              <p:nvPr/>
            </p:nvSpPr>
            <p:spPr bwMode="auto">
              <a:xfrm rot="13156290">
                <a:off x="4519615" y="382622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6" name="Oval 607">
                <a:extLst>
                  <a:ext uri="{FF2B5EF4-FFF2-40B4-BE49-F238E27FC236}">
                    <a16:creationId xmlns:a16="http://schemas.microsoft.com/office/drawing/2014/main" id="{7FB213E3-9148-55F4-CF5A-62C7ACB6BF45}"/>
                  </a:ext>
                </a:extLst>
              </p:cNvPr>
              <p:cNvSpPr>
                <a:spLocks noChangeArrowheads="1"/>
              </p:cNvSpPr>
              <p:nvPr/>
            </p:nvSpPr>
            <p:spPr bwMode="auto">
              <a:xfrm rot="13156290">
                <a:off x="4367172" y="392008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7" name="Oval 608">
                <a:extLst>
                  <a:ext uri="{FF2B5EF4-FFF2-40B4-BE49-F238E27FC236}">
                    <a16:creationId xmlns:a16="http://schemas.microsoft.com/office/drawing/2014/main" id="{B60D0FB8-AF55-B229-A44D-7F25E46025F0}"/>
                  </a:ext>
                </a:extLst>
              </p:cNvPr>
              <p:cNvSpPr>
                <a:spLocks noChangeArrowheads="1"/>
              </p:cNvSpPr>
              <p:nvPr/>
            </p:nvSpPr>
            <p:spPr bwMode="auto">
              <a:xfrm rot="13156290">
                <a:off x="4063562" y="4074072"/>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8" name="Oval 609">
                <a:extLst>
                  <a:ext uri="{FF2B5EF4-FFF2-40B4-BE49-F238E27FC236}">
                    <a16:creationId xmlns:a16="http://schemas.microsoft.com/office/drawing/2014/main" id="{023A5B66-159A-9226-9FF4-AF62E51B55A3}"/>
                  </a:ext>
                </a:extLst>
              </p:cNvPr>
              <p:cNvSpPr>
                <a:spLocks noChangeArrowheads="1"/>
              </p:cNvSpPr>
              <p:nvPr/>
            </p:nvSpPr>
            <p:spPr bwMode="auto">
              <a:xfrm rot="13156290">
                <a:off x="4278986" y="3936901"/>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19" name="Oval 610">
                <a:extLst>
                  <a:ext uri="{FF2B5EF4-FFF2-40B4-BE49-F238E27FC236}">
                    <a16:creationId xmlns:a16="http://schemas.microsoft.com/office/drawing/2014/main" id="{E7E85114-1A5A-58B5-9104-2E5D4A1B9851}"/>
                  </a:ext>
                </a:extLst>
              </p:cNvPr>
              <p:cNvSpPr>
                <a:spLocks noChangeArrowheads="1"/>
              </p:cNvSpPr>
              <p:nvPr/>
            </p:nvSpPr>
            <p:spPr bwMode="auto">
              <a:xfrm rot="13156290">
                <a:off x="4073812" y="3966779"/>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0" name="Oval 611">
                <a:extLst>
                  <a:ext uri="{FF2B5EF4-FFF2-40B4-BE49-F238E27FC236}">
                    <a16:creationId xmlns:a16="http://schemas.microsoft.com/office/drawing/2014/main" id="{5CA0EBFA-14D3-9A5E-C314-F3C79B5F995E}"/>
                  </a:ext>
                </a:extLst>
              </p:cNvPr>
              <p:cNvSpPr>
                <a:spLocks noChangeArrowheads="1"/>
              </p:cNvSpPr>
              <p:nvPr/>
            </p:nvSpPr>
            <p:spPr bwMode="auto">
              <a:xfrm rot="13156290">
                <a:off x="4150029" y="3929668"/>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1" name="Oval 612">
                <a:extLst>
                  <a:ext uri="{FF2B5EF4-FFF2-40B4-BE49-F238E27FC236}">
                    <a16:creationId xmlns:a16="http://schemas.microsoft.com/office/drawing/2014/main" id="{0632ADB0-E21F-3A35-D2AF-4242A40A25ED}"/>
                  </a:ext>
                </a:extLst>
              </p:cNvPr>
              <p:cNvSpPr>
                <a:spLocks noChangeArrowheads="1"/>
              </p:cNvSpPr>
              <p:nvPr/>
            </p:nvSpPr>
            <p:spPr bwMode="auto">
              <a:xfrm rot="13156290">
                <a:off x="3871940" y="3805696"/>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2" name="Oval 613">
                <a:extLst>
                  <a:ext uri="{FF2B5EF4-FFF2-40B4-BE49-F238E27FC236}">
                    <a16:creationId xmlns:a16="http://schemas.microsoft.com/office/drawing/2014/main" id="{D27D5119-2FB9-1952-D358-7C07BD34352E}"/>
                  </a:ext>
                </a:extLst>
              </p:cNvPr>
              <p:cNvSpPr>
                <a:spLocks noChangeArrowheads="1"/>
              </p:cNvSpPr>
              <p:nvPr/>
            </p:nvSpPr>
            <p:spPr bwMode="auto">
              <a:xfrm rot="13156290">
                <a:off x="4210437" y="3891105"/>
                <a:ext cx="271454" cy="718965"/>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3" name="Oval 614">
                <a:extLst>
                  <a:ext uri="{FF2B5EF4-FFF2-40B4-BE49-F238E27FC236}">
                    <a16:creationId xmlns:a16="http://schemas.microsoft.com/office/drawing/2014/main" id="{A1C98323-4F6D-51B9-76B5-7944BB572012}"/>
                  </a:ext>
                </a:extLst>
              </p:cNvPr>
              <p:cNvSpPr>
                <a:spLocks noChangeArrowheads="1"/>
              </p:cNvSpPr>
              <p:nvPr/>
            </p:nvSpPr>
            <p:spPr bwMode="auto">
              <a:xfrm rot="15359142">
                <a:off x="4344519" y="421580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4" name="Oval 615">
                <a:extLst>
                  <a:ext uri="{FF2B5EF4-FFF2-40B4-BE49-F238E27FC236}">
                    <a16:creationId xmlns:a16="http://schemas.microsoft.com/office/drawing/2014/main" id="{F0735D85-D80A-6B93-2DE2-318E504DC6F7}"/>
                  </a:ext>
                </a:extLst>
              </p:cNvPr>
              <p:cNvSpPr>
                <a:spLocks noChangeArrowheads="1"/>
              </p:cNvSpPr>
              <p:nvPr/>
            </p:nvSpPr>
            <p:spPr bwMode="auto">
              <a:xfrm rot="15359142">
                <a:off x="4236488" y="397028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5" name="Oval 616">
                <a:extLst>
                  <a:ext uri="{FF2B5EF4-FFF2-40B4-BE49-F238E27FC236}">
                    <a16:creationId xmlns:a16="http://schemas.microsoft.com/office/drawing/2014/main" id="{DD45B40D-8BB3-EF77-BE4F-196DDF9F1748}"/>
                  </a:ext>
                </a:extLst>
              </p:cNvPr>
              <p:cNvSpPr>
                <a:spLocks noChangeArrowheads="1"/>
              </p:cNvSpPr>
              <p:nvPr/>
            </p:nvSpPr>
            <p:spPr bwMode="auto">
              <a:xfrm rot="15359142">
                <a:off x="3949965" y="3880501"/>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6" name="Oval 617">
                <a:extLst>
                  <a:ext uri="{FF2B5EF4-FFF2-40B4-BE49-F238E27FC236}">
                    <a16:creationId xmlns:a16="http://schemas.microsoft.com/office/drawing/2014/main" id="{020F5E3B-25E6-F479-037B-239FB432C85D}"/>
                  </a:ext>
                </a:extLst>
              </p:cNvPr>
              <p:cNvSpPr>
                <a:spLocks noChangeArrowheads="1"/>
              </p:cNvSpPr>
              <p:nvPr/>
            </p:nvSpPr>
            <p:spPr bwMode="auto">
              <a:xfrm rot="4371100">
                <a:off x="4042496" y="334220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7" name="Oval 618">
                <a:extLst>
                  <a:ext uri="{FF2B5EF4-FFF2-40B4-BE49-F238E27FC236}">
                    <a16:creationId xmlns:a16="http://schemas.microsoft.com/office/drawing/2014/main" id="{7C3D5D84-26E6-8DAE-EE24-FF03BEE7099F}"/>
                  </a:ext>
                </a:extLst>
              </p:cNvPr>
              <p:cNvSpPr>
                <a:spLocks noChangeArrowheads="1"/>
              </p:cNvSpPr>
              <p:nvPr/>
            </p:nvSpPr>
            <p:spPr bwMode="auto">
              <a:xfrm rot="4371100">
                <a:off x="3949410" y="3488369"/>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8" name="Oval 619">
                <a:extLst>
                  <a:ext uri="{FF2B5EF4-FFF2-40B4-BE49-F238E27FC236}">
                    <a16:creationId xmlns:a16="http://schemas.microsoft.com/office/drawing/2014/main" id="{306425AB-5540-5EC6-25FF-31D8F2051514}"/>
                  </a:ext>
                </a:extLst>
              </p:cNvPr>
              <p:cNvSpPr>
                <a:spLocks noChangeArrowheads="1"/>
              </p:cNvSpPr>
              <p:nvPr/>
            </p:nvSpPr>
            <p:spPr bwMode="auto">
              <a:xfrm rot="4371100">
                <a:off x="4037328" y="354436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29" name="Oval 620">
                <a:extLst>
                  <a:ext uri="{FF2B5EF4-FFF2-40B4-BE49-F238E27FC236}">
                    <a16:creationId xmlns:a16="http://schemas.microsoft.com/office/drawing/2014/main" id="{A56000D7-940E-E561-3DBA-3484A2E9902F}"/>
                  </a:ext>
                </a:extLst>
              </p:cNvPr>
              <p:cNvSpPr>
                <a:spLocks noChangeArrowheads="1"/>
              </p:cNvSpPr>
              <p:nvPr/>
            </p:nvSpPr>
            <p:spPr bwMode="auto">
              <a:xfrm rot="4371100">
                <a:off x="4014838" y="3671670"/>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0" name="Oval 621">
                <a:extLst>
                  <a:ext uri="{FF2B5EF4-FFF2-40B4-BE49-F238E27FC236}">
                    <a16:creationId xmlns:a16="http://schemas.microsoft.com/office/drawing/2014/main" id="{B94E951F-17E5-6ACB-5F3F-C6715CD559CC}"/>
                  </a:ext>
                </a:extLst>
              </p:cNvPr>
              <p:cNvSpPr>
                <a:spLocks noChangeArrowheads="1"/>
              </p:cNvSpPr>
              <p:nvPr/>
            </p:nvSpPr>
            <p:spPr bwMode="auto">
              <a:xfrm rot="4371100">
                <a:off x="3907655" y="3588204"/>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1" name="Oval 622">
                <a:extLst>
                  <a:ext uri="{FF2B5EF4-FFF2-40B4-BE49-F238E27FC236}">
                    <a16:creationId xmlns:a16="http://schemas.microsoft.com/office/drawing/2014/main" id="{46D16BA4-6FA0-20F9-AD91-964E49914314}"/>
                  </a:ext>
                </a:extLst>
              </p:cNvPr>
              <p:cNvSpPr>
                <a:spLocks noChangeArrowheads="1"/>
              </p:cNvSpPr>
              <p:nvPr/>
            </p:nvSpPr>
            <p:spPr bwMode="auto">
              <a:xfrm rot="4371100">
                <a:off x="4065000" y="3653177"/>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2" name="Oval 623">
                <a:extLst>
                  <a:ext uri="{FF2B5EF4-FFF2-40B4-BE49-F238E27FC236}">
                    <a16:creationId xmlns:a16="http://schemas.microsoft.com/office/drawing/2014/main" id="{358C6DF7-1E55-2499-C5EF-98281680DF41}"/>
                  </a:ext>
                </a:extLst>
              </p:cNvPr>
              <p:cNvSpPr>
                <a:spLocks noChangeArrowheads="1"/>
              </p:cNvSpPr>
              <p:nvPr/>
            </p:nvSpPr>
            <p:spPr bwMode="auto">
              <a:xfrm rot="4371100">
                <a:off x="3960705" y="3665615"/>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3" name="Oval 624">
                <a:extLst>
                  <a:ext uri="{FF2B5EF4-FFF2-40B4-BE49-F238E27FC236}">
                    <a16:creationId xmlns:a16="http://schemas.microsoft.com/office/drawing/2014/main" id="{782F271E-529C-3BF4-366F-AFD99149130E}"/>
                  </a:ext>
                </a:extLst>
              </p:cNvPr>
              <p:cNvSpPr>
                <a:spLocks noChangeArrowheads="1"/>
              </p:cNvSpPr>
              <p:nvPr/>
            </p:nvSpPr>
            <p:spPr bwMode="auto">
              <a:xfrm rot="4371100">
                <a:off x="3995792" y="3759762"/>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34" name="Oval 625">
                <a:extLst>
                  <a:ext uri="{FF2B5EF4-FFF2-40B4-BE49-F238E27FC236}">
                    <a16:creationId xmlns:a16="http://schemas.microsoft.com/office/drawing/2014/main" id="{0AEA050F-7A33-BEB8-E713-D952AB6C4BBE}"/>
                  </a:ext>
                </a:extLst>
              </p:cNvPr>
              <p:cNvSpPr>
                <a:spLocks noChangeArrowheads="1"/>
              </p:cNvSpPr>
              <p:nvPr/>
            </p:nvSpPr>
            <p:spPr bwMode="auto">
              <a:xfrm rot="4371100">
                <a:off x="3761566" y="4020313"/>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40" name="Oval 626">
                <a:extLst>
                  <a:ext uri="{FF2B5EF4-FFF2-40B4-BE49-F238E27FC236}">
                    <a16:creationId xmlns:a16="http://schemas.microsoft.com/office/drawing/2014/main" id="{9C1B79B8-9FA4-90B6-D9DF-D4173C2C138D}"/>
                  </a:ext>
                </a:extLst>
              </p:cNvPr>
              <p:cNvSpPr>
                <a:spLocks noChangeArrowheads="1"/>
              </p:cNvSpPr>
              <p:nvPr/>
            </p:nvSpPr>
            <p:spPr bwMode="auto">
              <a:xfrm rot="4371100">
                <a:off x="4097009" y="3836048"/>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46" name="Oval 627">
                <a:extLst>
                  <a:ext uri="{FF2B5EF4-FFF2-40B4-BE49-F238E27FC236}">
                    <a16:creationId xmlns:a16="http://schemas.microsoft.com/office/drawing/2014/main" id="{27B3DA3E-C1BB-DA97-5E59-D6B0D2DEC291}"/>
                  </a:ext>
                </a:extLst>
              </p:cNvPr>
              <p:cNvSpPr>
                <a:spLocks noChangeArrowheads="1"/>
              </p:cNvSpPr>
              <p:nvPr/>
            </p:nvSpPr>
            <p:spPr bwMode="auto">
              <a:xfrm rot="4371100">
                <a:off x="4139839" y="3804446"/>
                <a:ext cx="253841" cy="768852"/>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sp>
          <p:nvSpPr>
            <p:cNvPr id="147" name="TextBox 836">
              <a:extLst>
                <a:ext uri="{FF2B5EF4-FFF2-40B4-BE49-F238E27FC236}">
                  <a16:creationId xmlns:a16="http://schemas.microsoft.com/office/drawing/2014/main" id="{EEB42920-37FD-B162-807E-9052C0BB2CFD}"/>
                </a:ext>
              </a:extLst>
            </p:cNvPr>
            <p:cNvSpPr txBox="1">
              <a:spLocks noChangeArrowheads="1"/>
            </p:cNvSpPr>
            <p:nvPr/>
          </p:nvSpPr>
          <p:spPr bwMode="auto">
            <a:xfrm>
              <a:off x="5287974" y="3362920"/>
              <a:ext cx="214671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Citocinas</a:t>
              </a:r>
              <a:r>
                <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quimiocinas</a:t>
              </a:r>
              <a:r>
                <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rPr>
                <a:t>, outros </a:t>
              </a: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fatores</a:t>
              </a:r>
              <a:r>
                <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inflamatórios</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grpSp>
          <p:nvGrpSpPr>
            <p:cNvPr id="148" name="Group 86">
              <a:extLst>
                <a:ext uri="{FF2B5EF4-FFF2-40B4-BE49-F238E27FC236}">
                  <a16:creationId xmlns:a16="http://schemas.microsoft.com/office/drawing/2014/main" id="{30C30E79-ADF3-7BDB-F471-4F345B6D0259}"/>
                </a:ext>
              </a:extLst>
            </p:cNvPr>
            <p:cNvGrpSpPr>
              <a:grpSpLocks noChangeAspect="1"/>
            </p:cNvGrpSpPr>
            <p:nvPr/>
          </p:nvGrpSpPr>
          <p:grpSpPr bwMode="auto">
            <a:xfrm>
              <a:off x="5229880" y="5252484"/>
              <a:ext cx="611351" cy="665521"/>
              <a:chOff x="2425" y="377"/>
              <a:chExt cx="372" cy="423"/>
            </a:xfrm>
          </p:grpSpPr>
          <p:sp>
            <p:nvSpPr>
              <p:cNvPr id="149" name="AutoShape 87">
                <a:extLst>
                  <a:ext uri="{FF2B5EF4-FFF2-40B4-BE49-F238E27FC236}">
                    <a16:creationId xmlns:a16="http://schemas.microsoft.com/office/drawing/2014/main" id="{003AD0D9-1C1B-CCF8-7473-0F82EC5606FD}"/>
                  </a:ext>
                </a:extLst>
              </p:cNvPr>
              <p:cNvSpPr>
                <a:spLocks noChangeAspect="1" noChangeArrowheads="1"/>
              </p:cNvSpPr>
              <p:nvPr/>
            </p:nvSpPr>
            <p:spPr bwMode="auto">
              <a:xfrm rot="1053115">
                <a:off x="2425" y="45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0" name="AutoShape 88">
                <a:extLst>
                  <a:ext uri="{FF2B5EF4-FFF2-40B4-BE49-F238E27FC236}">
                    <a16:creationId xmlns:a16="http://schemas.microsoft.com/office/drawing/2014/main" id="{81BD4B44-9337-C343-0E03-65297994057C}"/>
                  </a:ext>
                </a:extLst>
              </p:cNvPr>
              <p:cNvSpPr>
                <a:spLocks noChangeAspect="1" noChangeArrowheads="1"/>
              </p:cNvSpPr>
              <p:nvPr/>
            </p:nvSpPr>
            <p:spPr bwMode="auto">
              <a:xfrm rot="2463029">
                <a:off x="2741" y="37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1" name="AutoShape 89">
                <a:extLst>
                  <a:ext uri="{FF2B5EF4-FFF2-40B4-BE49-F238E27FC236}">
                    <a16:creationId xmlns:a16="http://schemas.microsoft.com/office/drawing/2014/main" id="{483E4913-68BD-CBF8-3299-ED7249E1497E}"/>
                  </a:ext>
                </a:extLst>
              </p:cNvPr>
              <p:cNvSpPr>
                <a:spLocks noChangeAspect="1" noChangeArrowheads="1"/>
              </p:cNvSpPr>
              <p:nvPr/>
            </p:nvSpPr>
            <p:spPr bwMode="auto">
              <a:xfrm rot="5550558">
                <a:off x="2622" y="380"/>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2" name="AutoShape 90">
                <a:extLst>
                  <a:ext uri="{FF2B5EF4-FFF2-40B4-BE49-F238E27FC236}">
                    <a16:creationId xmlns:a16="http://schemas.microsoft.com/office/drawing/2014/main" id="{7E8A245E-80DB-7E3C-AC42-4D8B2339BA5D}"/>
                  </a:ext>
                </a:extLst>
              </p:cNvPr>
              <p:cNvSpPr>
                <a:spLocks noChangeAspect="1" noChangeArrowheads="1"/>
              </p:cNvSpPr>
              <p:nvPr/>
            </p:nvSpPr>
            <p:spPr bwMode="auto">
              <a:xfrm rot="5550558">
                <a:off x="2675" y="51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3" name="AutoShape 91">
                <a:extLst>
                  <a:ext uri="{FF2B5EF4-FFF2-40B4-BE49-F238E27FC236}">
                    <a16:creationId xmlns:a16="http://schemas.microsoft.com/office/drawing/2014/main" id="{D0677EFB-DFC4-C29C-BBA1-7FCE561E5CEC}"/>
                  </a:ext>
                </a:extLst>
              </p:cNvPr>
              <p:cNvSpPr>
                <a:spLocks noChangeAspect="1" noChangeArrowheads="1"/>
              </p:cNvSpPr>
              <p:nvPr/>
            </p:nvSpPr>
            <p:spPr bwMode="auto">
              <a:xfrm rot="2491721">
                <a:off x="2541" y="650"/>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4" name="AutoShape 92">
                <a:extLst>
                  <a:ext uri="{FF2B5EF4-FFF2-40B4-BE49-F238E27FC236}">
                    <a16:creationId xmlns:a16="http://schemas.microsoft.com/office/drawing/2014/main" id="{5A190389-DEA7-C58C-F88A-B4F501845D20}"/>
                  </a:ext>
                </a:extLst>
              </p:cNvPr>
              <p:cNvSpPr>
                <a:spLocks noChangeAspect="1" noChangeArrowheads="1"/>
              </p:cNvSpPr>
              <p:nvPr/>
            </p:nvSpPr>
            <p:spPr bwMode="auto">
              <a:xfrm rot="3655590">
                <a:off x="2496" y="557"/>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5" name="AutoShape 93">
                <a:extLst>
                  <a:ext uri="{FF2B5EF4-FFF2-40B4-BE49-F238E27FC236}">
                    <a16:creationId xmlns:a16="http://schemas.microsoft.com/office/drawing/2014/main" id="{26659BFF-40CF-1D08-D457-E98E96749E05}"/>
                  </a:ext>
                </a:extLst>
              </p:cNvPr>
              <p:cNvSpPr>
                <a:spLocks noChangeAspect="1" noChangeArrowheads="1"/>
              </p:cNvSpPr>
              <p:nvPr/>
            </p:nvSpPr>
            <p:spPr bwMode="auto">
              <a:xfrm rot="-1259356">
                <a:off x="2514" y="414"/>
                <a:ext cx="56" cy="150"/>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grpSp>
          <p:nvGrpSpPr>
            <p:cNvPr id="156" name="Group 726">
              <a:extLst>
                <a:ext uri="{FF2B5EF4-FFF2-40B4-BE49-F238E27FC236}">
                  <a16:creationId xmlns:a16="http://schemas.microsoft.com/office/drawing/2014/main" id="{3080DD56-9F91-7826-E85A-B2E188BE6597}"/>
                </a:ext>
              </a:extLst>
            </p:cNvPr>
            <p:cNvGrpSpPr>
              <a:grpSpLocks/>
            </p:cNvGrpSpPr>
            <p:nvPr/>
          </p:nvGrpSpPr>
          <p:grpSpPr bwMode="auto">
            <a:xfrm>
              <a:off x="9090413" y="3023063"/>
              <a:ext cx="1173301" cy="1541389"/>
              <a:chOff x="7818407" y="3378073"/>
              <a:chExt cx="1289131" cy="1635676"/>
            </a:xfrm>
          </p:grpSpPr>
          <p:sp>
            <p:nvSpPr>
              <p:cNvPr id="157" name="Oval 540">
                <a:extLst>
                  <a:ext uri="{FF2B5EF4-FFF2-40B4-BE49-F238E27FC236}">
                    <a16:creationId xmlns:a16="http://schemas.microsoft.com/office/drawing/2014/main" id="{952D738B-D6CC-89EF-A546-8B145CE703F3}"/>
                  </a:ext>
                </a:extLst>
              </p:cNvPr>
              <p:cNvSpPr>
                <a:spLocks noChangeArrowheads="1"/>
              </p:cNvSpPr>
              <p:nvPr/>
            </p:nvSpPr>
            <p:spPr bwMode="auto">
              <a:xfrm rot="724066">
                <a:off x="8012734" y="354501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8" name="Oval 541">
                <a:extLst>
                  <a:ext uri="{FF2B5EF4-FFF2-40B4-BE49-F238E27FC236}">
                    <a16:creationId xmlns:a16="http://schemas.microsoft.com/office/drawing/2014/main" id="{83BB858A-DA54-4FDA-67D1-A1DD5ABF81B0}"/>
                  </a:ext>
                </a:extLst>
              </p:cNvPr>
              <p:cNvSpPr>
                <a:spLocks noChangeArrowheads="1"/>
              </p:cNvSpPr>
              <p:nvPr/>
            </p:nvSpPr>
            <p:spPr bwMode="auto">
              <a:xfrm rot="724066">
                <a:off x="7984362" y="377428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59" name="Oval 542">
                <a:extLst>
                  <a:ext uri="{FF2B5EF4-FFF2-40B4-BE49-F238E27FC236}">
                    <a16:creationId xmlns:a16="http://schemas.microsoft.com/office/drawing/2014/main" id="{DDB5A834-7616-68A2-FCC2-93E1056C4216}"/>
                  </a:ext>
                </a:extLst>
              </p:cNvPr>
              <p:cNvSpPr>
                <a:spLocks noChangeArrowheads="1"/>
              </p:cNvSpPr>
              <p:nvPr/>
            </p:nvSpPr>
            <p:spPr bwMode="auto">
              <a:xfrm rot="724066">
                <a:off x="8143737" y="337807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0" name="Oval 543">
                <a:extLst>
                  <a:ext uri="{FF2B5EF4-FFF2-40B4-BE49-F238E27FC236}">
                    <a16:creationId xmlns:a16="http://schemas.microsoft.com/office/drawing/2014/main" id="{81AB9222-580C-A0CC-3DE3-000D2521F842}"/>
                  </a:ext>
                </a:extLst>
              </p:cNvPr>
              <p:cNvSpPr>
                <a:spLocks noChangeArrowheads="1"/>
              </p:cNvSpPr>
              <p:nvPr/>
            </p:nvSpPr>
            <p:spPr bwMode="auto">
              <a:xfrm rot="724066">
                <a:off x="8077818" y="346324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1" name="Oval 544">
                <a:extLst>
                  <a:ext uri="{FF2B5EF4-FFF2-40B4-BE49-F238E27FC236}">
                    <a16:creationId xmlns:a16="http://schemas.microsoft.com/office/drawing/2014/main" id="{6EC8FC18-E988-037A-34B1-057A8184AB8B}"/>
                  </a:ext>
                </a:extLst>
              </p:cNvPr>
              <p:cNvSpPr>
                <a:spLocks noChangeArrowheads="1"/>
              </p:cNvSpPr>
              <p:nvPr/>
            </p:nvSpPr>
            <p:spPr bwMode="auto">
              <a:xfrm rot="724066">
                <a:off x="8119539" y="348539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2" name="Oval 545">
                <a:extLst>
                  <a:ext uri="{FF2B5EF4-FFF2-40B4-BE49-F238E27FC236}">
                    <a16:creationId xmlns:a16="http://schemas.microsoft.com/office/drawing/2014/main" id="{87B8EC94-0EF5-6AC9-C7A6-3683335368BF}"/>
                  </a:ext>
                </a:extLst>
              </p:cNvPr>
              <p:cNvSpPr>
                <a:spLocks noChangeArrowheads="1"/>
              </p:cNvSpPr>
              <p:nvPr/>
            </p:nvSpPr>
            <p:spPr bwMode="auto">
              <a:xfrm rot="724066">
                <a:off x="8199644" y="348028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3" name="Oval 546">
                <a:extLst>
                  <a:ext uri="{FF2B5EF4-FFF2-40B4-BE49-F238E27FC236}">
                    <a16:creationId xmlns:a16="http://schemas.microsoft.com/office/drawing/2014/main" id="{CCE33D9A-352B-63B3-C995-1C598424B96B}"/>
                  </a:ext>
                </a:extLst>
              </p:cNvPr>
              <p:cNvSpPr>
                <a:spLocks noChangeArrowheads="1"/>
              </p:cNvSpPr>
              <p:nvPr/>
            </p:nvSpPr>
            <p:spPr bwMode="auto">
              <a:xfrm rot="724066">
                <a:off x="7974075" y="364743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4" name="Oval 547">
                <a:extLst>
                  <a:ext uri="{FF2B5EF4-FFF2-40B4-BE49-F238E27FC236}">
                    <a16:creationId xmlns:a16="http://schemas.microsoft.com/office/drawing/2014/main" id="{3D9A22DC-A6FB-9A67-C322-197C5CA2F205}"/>
                  </a:ext>
                </a:extLst>
              </p:cNvPr>
              <p:cNvSpPr>
                <a:spLocks noChangeArrowheads="1"/>
              </p:cNvSpPr>
              <p:nvPr/>
            </p:nvSpPr>
            <p:spPr bwMode="auto">
              <a:xfrm rot="724066">
                <a:off x="7982693" y="366866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5" name="Oval 548">
                <a:extLst>
                  <a:ext uri="{FF2B5EF4-FFF2-40B4-BE49-F238E27FC236}">
                    <a16:creationId xmlns:a16="http://schemas.microsoft.com/office/drawing/2014/main" id="{95C14E19-0F5F-2B8B-4466-DF0967CABB59}"/>
                  </a:ext>
                </a:extLst>
              </p:cNvPr>
              <p:cNvSpPr>
                <a:spLocks noChangeArrowheads="1"/>
              </p:cNvSpPr>
              <p:nvPr/>
            </p:nvSpPr>
            <p:spPr bwMode="auto">
              <a:xfrm rot="724066">
                <a:off x="8207989" y="3427473"/>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6" name="Oval 549">
                <a:extLst>
                  <a:ext uri="{FF2B5EF4-FFF2-40B4-BE49-F238E27FC236}">
                    <a16:creationId xmlns:a16="http://schemas.microsoft.com/office/drawing/2014/main" id="{7109CB6E-5124-ADA5-3AD9-C3296412F973}"/>
                  </a:ext>
                </a:extLst>
              </p:cNvPr>
              <p:cNvSpPr>
                <a:spLocks noChangeArrowheads="1"/>
              </p:cNvSpPr>
              <p:nvPr/>
            </p:nvSpPr>
            <p:spPr bwMode="auto">
              <a:xfrm rot="724066">
                <a:off x="8167936" y="352457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7" name="Oval 550">
                <a:extLst>
                  <a:ext uri="{FF2B5EF4-FFF2-40B4-BE49-F238E27FC236}">
                    <a16:creationId xmlns:a16="http://schemas.microsoft.com/office/drawing/2014/main" id="{764879B0-59ED-6CC7-DFD5-706F4245BBFB}"/>
                  </a:ext>
                </a:extLst>
              </p:cNvPr>
              <p:cNvSpPr>
                <a:spLocks noChangeArrowheads="1"/>
              </p:cNvSpPr>
              <p:nvPr/>
            </p:nvSpPr>
            <p:spPr bwMode="auto">
              <a:xfrm rot="724066">
                <a:off x="8042773" y="361826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8" name="Oval 551">
                <a:extLst>
                  <a:ext uri="{FF2B5EF4-FFF2-40B4-BE49-F238E27FC236}">
                    <a16:creationId xmlns:a16="http://schemas.microsoft.com/office/drawing/2014/main" id="{1FCA3797-6CE1-3EDB-7491-D4665E804B14}"/>
                  </a:ext>
                </a:extLst>
              </p:cNvPr>
              <p:cNvSpPr>
                <a:spLocks noChangeArrowheads="1"/>
              </p:cNvSpPr>
              <p:nvPr/>
            </p:nvSpPr>
            <p:spPr bwMode="auto">
              <a:xfrm rot="724066">
                <a:off x="8082825" y="379983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69" name="Oval 552">
                <a:extLst>
                  <a:ext uri="{FF2B5EF4-FFF2-40B4-BE49-F238E27FC236}">
                    <a16:creationId xmlns:a16="http://schemas.microsoft.com/office/drawing/2014/main" id="{07F0EC06-DA04-04C7-B6F4-519D8BD59263}"/>
                  </a:ext>
                </a:extLst>
              </p:cNvPr>
              <p:cNvSpPr>
                <a:spLocks noChangeArrowheads="1"/>
              </p:cNvSpPr>
              <p:nvPr/>
            </p:nvSpPr>
            <p:spPr bwMode="auto">
              <a:xfrm rot="724066">
                <a:off x="8106189" y="37453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0" name="Oval 553">
                <a:extLst>
                  <a:ext uri="{FF2B5EF4-FFF2-40B4-BE49-F238E27FC236}">
                    <a16:creationId xmlns:a16="http://schemas.microsoft.com/office/drawing/2014/main" id="{27CBD2DF-DC15-48E7-11B3-DDEC250CC5C6}"/>
                  </a:ext>
                </a:extLst>
              </p:cNvPr>
              <p:cNvSpPr>
                <a:spLocks noChangeArrowheads="1"/>
              </p:cNvSpPr>
              <p:nvPr/>
            </p:nvSpPr>
            <p:spPr bwMode="auto">
              <a:xfrm rot="724066">
                <a:off x="8119539" y="3630184"/>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1" name="Oval 554">
                <a:extLst>
                  <a:ext uri="{FF2B5EF4-FFF2-40B4-BE49-F238E27FC236}">
                    <a16:creationId xmlns:a16="http://schemas.microsoft.com/office/drawing/2014/main" id="{F12F9900-D622-A013-5562-7C7923FCB683}"/>
                  </a:ext>
                </a:extLst>
              </p:cNvPr>
              <p:cNvSpPr>
                <a:spLocks noChangeArrowheads="1"/>
              </p:cNvSpPr>
              <p:nvPr/>
            </p:nvSpPr>
            <p:spPr bwMode="auto">
              <a:xfrm rot="724066">
                <a:off x="7944894" y="3420509"/>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2" name="Oval 555">
                <a:extLst>
                  <a:ext uri="{FF2B5EF4-FFF2-40B4-BE49-F238E27FC236}">
                    <a16:creationId xmlns:a16="http://schemas.microsoft.com/office/drawing/2014/main" id="{B9911FB8-D9DE-9648-6DA6-4B7074D1D9AA}"/>
                  </a:ext>
                </a:extLst>
              </p:cNvPr>
              <p:cNvSpPr>
                <a:spLocks noChangeArrowheads="1"/>
              </p:cNvSpPr>
              <p:nvPr/>
            </p:nvSpPr>
            <p:spPr bwMode="auto">
              <a:xfrm rot="724066">
                <a:off x="8227180" y="353990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3" name="Oval 556">
                <a:extLst>
                  <a:ext uri="{FF2B5EF4-FFF2-40B4-BE49-F238E27FC236}">
                    <a16:creationId xmlns:a16="http://schemas.microsoft.com/office/drawing/2014/main" id="{D671AC7A-BEBA-276C-C937-D09A236EDC4C}"/>
                  </a:ext>
                </a:extLst>
              </p:cNvPr>
              <p:cNvSpPr>
                <a:spLocks noChangeArrowheads="1"/>
              </p:cNvSpPr>
              <p:nvPr/>
            </p:nvSpPr>
            <p:spPr bwMode="auto">
              <a:xfrm rot="724066">
                <a:off x="8173778" y="3626778"/>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4" name="Oval 557">
                <a:extLst>
                  <a:ext uri="{FF2B5EF4-FFF2-40B4-BE49-F238E27FC236}">
                    <a16:creationId xmlns:a16="http://schemas.microsoft.com/office/drawing/2014/main" id="{4D8E0BAA-E888-1F14-5180-05474F075E58}"/>
                  </a:ext>
                </a:extLst>
              </p:cNvPr>
              <p:cNvSpPr>
                <a:spLocks noChangeArrowheads="1"/>
              </p:cNvSpPr>
              <p:nvPr/>
            </p:nvSpPr>
            <p:spPr bwMode="auto">
              <a:xfrm rot="724066">
                <a:off x="8152082" y="38151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5" name="Oval 558">
                <a:extLst>
                  <a:ext uri="{FF2B5EF4-FFF2-40B4-BE49-F238E27FC236}">
                    <a16:creationId xmlns:a16="http://schemas.microsoft.com/office/drawing/2014/main" id="{8E7736AE-1891-F1F0-F81A-05109DB6E3AC}"/>
                  </a:ext>
                </a:extLst>
              </p:cNvPr>
              <p:cNvSpPr>
                <a:spLocks noChangeArrowheads="1"/>
              </p:cNvSpPr>
              <p:nvPr/>
            </p:nvSpPr>
            <p:spPr bwMode="auto">
              <a:xfrm rot="724066">
                <a:off x="8054454" y="371466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6" name="Oval 559">
                <a:extLst>
                  <a:ext uri="{FF2B5EF4-FFF2-40B4-BE49-F238E27FC236}">
                    <a16:creationId xmlns:a16="http://schemas.microsoft.com/office/drawing/2014/main" id="{69F20B2D-7327-ADBD-19BC-E9FBAB8F2852}"/>
                  </a:ext>
                </a:extLst>
              </p:cNvPr>
              <p:cNvSpPr>
                <a:spLocks noChangeArrowheads="1"/>
              </p:cNvSpPr>
              <p:nvPr/>
            </p:nvSpPr>
            <p:spPr bwMode="auto">
              <a:xfrm rot="724066">
                <a:off x="8399073" y="3575674"/>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7" name="Oval 560">
                <a:extLst>
                  <a:ext uri="{FF2B5EF4-FFF2-40B4-BE49-F238E27FC236}">
                    <a16:creationId xmlns:a16="http://schemas.microsoft.com/office/drawing/2014/main" id="{2DF65AEA-9CDC-3AFF-14BD-EFE2B51D31DC}"/>
                  </a:ext>
                </a:extLst>
              </p:cNvPr>
              <p:cNvSpPr>
                <a:spLocks noChangeArrowheads="1"/>
              </p:cNvSpPr>
              <p:nvPr/>
            </p:nvSpPr>
            <p:spPr bwMode="auto">
              <a:xfrm rot="724066">
                <a:off x="8192134" y="386452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8" name="Oval 561">
                <a:extLst>
                  <a:ext uri="{FF2B5EF4-FFF2-40B4-BE49-F238E27FC236}">
                    <a16:creationId xmlns:a16="http://schemas.microsoft.com/office/drawing/2014/main" id="{82118EE9-DCB9-2F50-B81F-6A569B87E7D7}"/>
                  </a:ext>
                </a:extLst>
              </p:cNvPr>
              <p:cNvSpPr>
                <a:spLocks noChangeArrowheads="1"/>
              </p:cNvSpPr>
              <p:nvPr/>
            </p:nvSpPr>
            <p:spPr bwMode="auto">
              <a:xfrm rot="724066">
                <a:off x="8291431" y="3519459"/>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79" name="Oval 562">
                <a:extLst>
                  <a:ext uri="{FF2B5EF4-FFF2-40B4-BE49-F238E27FC236}">
                    <a16:creationId xmlns:a16="http://schemas.microsoft.com/office/drawing/2014/main" id="{80EC718A-A5D1-DBFA-A155-C0C44D604AAB}"/>
                  </a:ext>
                </a:extLst>
              </p:cNvPr>
              <p:cNvSpPr>
                <a:spLocks noChangeArrowheads="1"/>
              </p:cNvSpPr>
              <p:nvPr/>
            </p:nvSpPr>
            <p:spPr bwMode="auto">
              <a:xfrm rot="724066">
                <a:off x="8218002" y="359952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0" name="Oval 563">
                <a:extLst>
                  <a:ext uri="{FF2B5EF4-FFF2-40B4-BE49-F238E27FC236}">
                    <a16:creationId xmlns:a16="http://schemas.microsoft.com/office/drawing/2014/main" id="{9C5754F9-F43D-C852-449A-B51FFDDB6D05}"/>
                  </a:ext>
                </a:extLst>
              </p:cNvPr>
              <p:cNvSpPr>
                <a:spLocks noChangeArrowheads="1"/>
              </p:cNvSpPr>
              <p:nvPr/>
            </p:nvSpPr>
            <p:spPr bwMode="auto">
              <a:xfrm rot="724066">
                <a:off x="8302278" y="3434286"/>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1" name="Oval 564">
                <a:extLst>
                  <a:ext uri="{FF2B5EF4-FFF2-40B4-BE49-F238E27FC236}">
                    <a16:creationId xmlns:a16="http://schemas.microsoft.com/office/drawing/2014/main" id="{5BBD6476-5D73-87D4-3890-DC5A9E3E48E1}"/>
                  </a:ext>
                </a:extLst>
              </p:cNvPr>
              <p:cNvSpPr>
                <a:spLocks noChangeArrowheads="1"/>
              </p:cNvSpPr>
              <p:nvPr/>
            </p:nvSpPr>
            <p:spPr bwMode="auto">
              <a:xfrm rot="724066">
                <a:off x="8333154" y="355012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2" name="Oval 565">
                <a:extLst>
                  <a:ext uri="{FF2B5EF4-FFF2-40B4-BE49-F238E27FC236}">
                    <a16:creationId xmlns:a16="http://schemas.microsoft.com/office/drawing/2014/main" id="{D4BB3703-A9CA-CEA1-45B2-F46E40FD3A72}"/>
                  </a:ext>
                </a:extLst>
              </p:cNvPr>
              <p:cNvSpPr>
                <a:spLocks noChangeArrowheads="1"/>
              </p:cNvSpPr>
              <p:nvPr/>
            </p:nvSpPr>
            <p:spPr bwMode="auto">
              <a:xfrm rot="724066">
                <a:off x="8258888" y="3628481"/>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3" name="Oval 566">
                <a:extLst>
                  <a:ext uri="{FF2B5EF4-FFF2-40B4-BE49-F238E27FC236}">
                    <a16:creationId xmlns:a16="http://schemas.microsoft.com/office/drawing/2014/main" id="{0DD9423A-839A-FAED-F50D-2DA95A04018A}"/>
                  </a:ext>
                </a:extLst>
              </p:cNvPr>
              <p:cNvSpPr>
                <a:spLocks noChangeArrowheads="1"/>
              </p:cNvSpPr>
              <p:nvPr/>
            </p:nvSpPr>
            <p:spPr bwMode="auto">
              <a:xfrm rot="724066">
                <a:off x="7818407" y="369999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4" name="Oval 567">
                <a:extLst>
                  <a:ext uri="{FF2B5EF4-FFF2-40B4-BE49-F238E27FC236}">
                    <a16:creationId xmlns:a16="http://schemas.microsoft.com/office/drawing/2014/main" id="{CD9BCEA6-7F1C-47DA-A64A-A458F3EB49B0}"/>
                  </a:ext>
                </a:extLst>
              </p:cNvPr>
              <p:cNvSpPr>
                <a:spLocks noChangeArrowheads="1"/>
              </p:cNvSpPr>
              <p:nvPr/>
            </p:nvSpPr>
            <p:spPr bwMode="auto">
              <a:xfrm rot="724066">
                <a:off x="8421602" y="3458135"/>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5" name="Oval 568">
                <a:extLst>
                  <a:ext uri="{FF2B5EF4-FFF2-40B4-BE49-F238E27FC236}">
                    <a16:creationId xmlns:a16="http://schemas.microsoft.com/office/drawing/2014/main" id="{6E26D07D-1622-0BEF-63A6-1790B60F9395}"/>
                  </a:ext>
                </a:extLst>
              </p:cNvPr>
              <p:cNvSpPr>
                <a:spLocks noChangeArrowheads="1"/>
              </p:cNvSpPr>
              <p:nvPr/>
            </p:nvSpPr>
            <p:spPr bwMode="auto">
              <a:xfrm rot="724066">
                <a:off x="8302278" y="3594412"/>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6" name="Oval 569">
                <a:extLst>
                  <a:ext uri="{FF2B5EF4-FFF2-40B4-BE49-F238E27FC236}">
                    <a16:creationId xmlns:a16="http://schemas.microsoft.com/office/drawing/2014/main" id="{E4CCAADB-70B1-8BF4-9EAA-569D4D965449}"/>
                  </a:ext>
                </a:extLst>
              </p:cNvPr>
              <p:cNvSpPr>
                <a:spLocks noChangeArrowheads="1"/>
              </p:cNvSpPr>
              <p:nvPr/>
            </p:nvSpPr>
            <p:spPr bwMode="auto">
              <a:xfrm rot="724066">
                <a:off x="8250544" y="3704438"/>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7" name="Oval 570">
                <a:extLst>
                  <a:ext uri="{FF2B5EF4-FFF2-40B4-BE49-F238E27FC236}">
                    <a16:creationId xmlns:a16="http://schemas.microsoft.com/office/drawing/2014/main" id="{91D05E55-16E6-0B5E-A3F2-9DD13DA0BED8}"/>
                  </a:ext>
                </a:extLst>
              </p:cNvPr>
              <p:cNvSpPr>
                <a:spLocks noChangeArrowheads="1"/>
              </p:cNvSpPr>
              <p:nvPr/>
            </p:nvSpPr>
            <p:spPr bwMode="auto">
              <a:xfrm rot="724066">
                <a:off x="8216333" y="3927550"/>
                <a:ext cx="285410" cy="780754"/>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8" name="Oval 571">
                <a:extLst>
                  <a:ext uri="{FF2B5EF4-FFF2-40B4-BE49-F238E27FC236}">
                    <a16:creationId xmlns:a16="http://schemas.microsoft.com/office/drawing/2014/main" id="{25609DA9-B0BA-40CD-0DEE-1F07F2E0C2E3}"/>
                  </a:ext>
                </a:extLst>
              </p:cNvPr>
              <p:cNvSpPr>
                <a:spLocks noChangeArrowheads="1"/>
              </p:cNvSpPr>
              <p:nvPr/>
            </p:nvSpPr>
            <p:spPr bwMode="auto">
              <a:xfrm rot="724066">
                <a:off x="8235525" y="401783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89" name="Oval 572">
                <a:extLst>
                  <a:ext uri="{FF2B5EF4-FFF2-40B4-BE49-F238E27FC236}">
                    <a16:creationId xmlns:a16="http://schemas.microsoft.com/office/drawing/2014/main" id="{C72B4E6A-7D2A-88D4-960A-DF3BD4CF9B5E}"/>
                  </a:ext>
                </a:extLst>
              </p:cNvPr>
              <p:cNvSpPr>
                <a:spLocks noChangeArrowheads="1"/>
              </p:cNvSpPr>
              <p:nvPr/>
            </p:nvSpPr>
            <p:spPr bwMode="auto">
              <a:xfrm rot="724066">
                <a:off x="8241366" y="381597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0" name="Oval 573">
                <a:extLst>
                  <a:ext uri="{FF2B5EF4-FFF2-40B4-BE49-F238E27FC236}">
                    <a16:creationId xmlns:a16="http://schemas.microsoft.com/office/drawing/2014/main" id="{3A3D7199-4F6C-EAC2-B9FE-8FF128372672}"/>
                  </a:ext>
                </a:extLst>
              </p:cNvPr>
              <p:cNvSpPr>
                <a:spLocks noChangeArrowheads="1"/>
              </p:cNvSpPr>
              <p:nvPr/>
            </p:nvSpPr>
            <p:spPr bwMode="auto">
              <a:xfrm rot="724066">
                <a:off x="8322305" y="366696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1" name="Oval 574">
                <a:extLst>
                  <a:ext uri="{FF2B5EF4-FFF2-40B4-BE49-F238E27FC236}">
                    <a16:creationId xmlns:a16="http://schemas.microsoft.com/office/drawing/2014/main" id="{D99AFDD5-298D-76CE-A9A7-BC93760455B0}"/>
                  </a:ext>
                </a:extLst>
              </p:cNvPr>
              <p:cNvSpPr>
                <a:spLocks noChangeArrowheads="1"/>
              </p:cNvSpPr>
              <p:nvPr/>
            </p:nvSpPr>
            <p:spPr bwMode="auto">
              <a:xfrm rot="724066">
                <a:off x="8453310" y="363529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2" name="Oval 575">
                <a:extLst>
                  <a:ext uri="{FF2B5EF4-FFF2-40B4-BE49-F238E27FC236}">
                    <a16:creationId xmlns:a16="http://schemas.microsoft.com/office/drawing/2014/main" id="{2C7D454B-37A8-DCCE-4A62-872C521B5538}"/>
                  </a:ext>
                </a:extLst>
              </p:cNvPr>
              <p:cNvSpPr>
                <a:spLocks noChangeArrowheads="1"/>
              </p:cNvSpPr>
              <p:nvPr/>
            </p:nvSpPr>
            <p:spPr bwMode="auto">
              <a:xfrm rot="724066">
                <a:off x="8386556" y="385600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3" name="Oval 576">
                <a:extLst>
                  <a:ext uri="{FF2B5EF4-FFF2-40B4-BE49-F238E27FC236}">
                    <a16:creationId xmlns:a16="http://schemas.microsoft.com/office/drawing/2014/main" id="{AEEA149D-489E-3B7A-E6EB-7515B1FACA77}"/>
                  </a:ext>
                </a:extLst>
              </p:cNvPr>
              <p:cNvSpPr>
                <a:spLocks noChangeArrowheads="1"/>
              </p:cNvSpPr>
              <p:nvPr/>
            </p:nvSpPr>
            <p:spPr bwMode="auto">
              <a:xfrm rot="724066">
                <a:off x="8291431" y="386622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4" name="Oval 577">
                <a:extLst>
                  <a:ext uri="{FF2B5EF4-FFF2-40B4-BE49-F238E27FC236}">
                    <a16:creationId xmlns:a16="http://schemas.microsoft.com/office/drawing/2014/main" id="{3A9E49EE-E8F6-52CB-C805-D52F04F87B7D}"/>
                  </a:ext>
                </a:extLst>
              </p:cNvPr>
              <p:cNvSpPr>
                <a:spLocks noChangeArrowheads="1"/>
              </p:cNvSpPr>
              <p:nvPr/>
            </p:nvSpPr>
            <p:spPr bwMode="auto">
              <a:xfrm rot="724066">
                <a:off x="8340662" y="380830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5" name="Oval 578">
                <a:extLst>
                  <a:ext uri="{FF2B5EF4-FFF2-40B4-BE49-F238E27FC236}">
                    <a16:creationId xmlns:a16="http://schemas.microsoft.com/office/drawing/2014/main" id="{0BCF2C4B-2D55-0126-9BAA-1BEC1AB7A8D8}"/>
                  </a:ext>
                </a:extLst>
              </p:cNvPr>
              <p:cNvSpPr>
                <a:spLocks noChangeArrowheads="1"/>
              </p:cNvSpPr>
              <p:nvPr/>
            </p:nvSpPr>
            <p:spPr bwMode="auto">
              <a:xfrm rot="9509256">
                <a:off x="8738684" y="406435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6" name="Oval 579">
                <a:extLst>
                  <a:ext uri="{FF2B5EF4-FFF2-40B4-BE49-F238E27FC236}">
                    <a16:creationId xmlns:a16="http://schemas.microsoft.com/office/drawing/2014/main" id="{53E3CF46-001D-D4F9-BF3B-DC1B6DE5DB4A}"/>
                  </a:ext>
                </a:extLst>
              </p:cNvPr>
              <p:cNvSpPr>
                <a:spLocks noChangeArrowheads="1"/>
              </p:cNvSpPr>
              <p:nvPr/>
            </p:nvSpPr>
            <p:spPr bwMode="auto">
              <a:xfrm rot="9509256">
                <a:off x="8676937" y="3958740"/>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7" name="Oval 580">
                <a:extLst>
                  <a:ext uri="{FF2B5EF4-FFF2-40B4-BE49-F238E27FC236}">
                    <a16:creationId xmlns:a16="http://schemas.microsoft.com/office/drawing/2014/main" id="{7A52C2D0-EB1A-EFF6-A27A-ADD4B7764617}"/>
                  </a:ext>
                </a:extLst>
              </p:cNvPr>
              <p:cNvSpPr>
                <a:spLocks noChangeArrowheads="1"/>
              </p:cNvSpPr>
              <p:nvPr/>
            </p:nvSpPr>
            <p:spPr bwMode="auto">
              <a:xfrm rot="9509256">
                <a:off x="8736180" y="4232996"/>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8" name="Oval 581">
                <a:extLst>
                  <a:ext uri="{FF2B5EF4-FFF2-40B4-BE49-F238E27FC236}">
                    <a16:creationId xmlns:a16="http://schemas.microsoft.com/office/drawing/2014/main" id="{24DA2C6A-62E7-6E70-6B50-B1915F01D4D0}"/>
                  </a:ext>
                </a:extLst>
              </p:cNvPr>
              <p:cNvSpPr>
                <a:spLocks noChangeArrowheads="1"/>
              </p:cNvSpPr>
              <p:nvPr/>
            </p:nvSpPr>
            <p:spPr bwMode="auto">
              <a:xfrm rot="9509256">
                <a:off x="8822127" y="4137602"/>
                <a:ext cx="285411"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199" name="Oval 582">
                <a:extLst>
                  <a:ext uri="{FF2B5EF4-FFF2-40B4-BE49-F238E27FC236}">
                    <a16:creationId xmlns:a16="http://schemas.microsoft.com/office/drawing/2014/main" id="{224FF10F-D1FA-97E6-5575-A9C0F716BF76}"/>
                  </a:ext>
                </a:extLst>
              </p:cNvPr>
              <p:cNvSpPr>
                <a:spLocks noChangeArrowheads="1"/>
              </p:cNvSpPr>
              <p:nvPr/>
            </p:nvSpPr>
            <p:spPr bwMode="auto">
              <a:xfrm rot="9509256">
                <a:off x="8788751" y="423299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0" name="Oval 583">
                <a:extLst>
                  <a:ext uri="{FF2B5EF4-FFF2-40B4-BE49-F238E27FC236}">
                    <a16:creationId xmlns:a16="http://schemas.microsoft.com/office/drawing/2014/main" id="{66EE407F-973D-C43C-DF63-E6BC74433FE2}"/>
                  </a:ext>
                </a:extLst>
              </p:cNvPr>
              <p:cNvSpPr>
                <a:spLocks noChangeArrowheads="1"/>
              </p:cNvSpPr>
              <p:nvPr/>
            </p:nvSpPr>
            <p:spPr bwMode="auto">
              <a:xfrm rot="9509256">
                <a:off x="8513329" y="423129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1" name="Oval 584">
                <a:extLst>
                  <a:ext uri="{FF2B5EF4-FFF2-40B4-BE49-F238E27FC236}">
                    <a16:creationId xmlns:a16="http://schemas.microsoft.com/office/drawing/2014/main" id="{70CF19B6-E4EA-B602-BC43-DF77552B733C}"/>
                  </a:ext>
                </a:extLst>
              </p:cNvPr>
              <p:cNvSpPr>
                <a:spLocks noChangeArrowheads="1"/>
              </p:cNvSpPr>
              <p:nvPr/>
            </p:nvSpPr>
            <p:spPr bwMode="auto">
              <a:xfrm rot="9509256">
                <a:off x="8705307" y="412397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2" name="Oval 585">
                <a:extLst>
                  <a:ext uri="{FF2B5EF4-FFF2-40B4-BE49-F238E27FC236}">
                    <a16:creationId xmlns:a16="http://schemas.microsoft.com/office/drawing/2014/main" id="{D4F83DAF-3E3C-637A-41ED-280017498A1E}"/>
                  </a:ext>
                </a:extLst>
              </p:cNvPr>
              <p:cNvSpPr>
                <a:spLocks noChangeArrowheads="1"/>
              </p:cNvSpPr>
              <p:nvPr/>
            </p:nvSpPr>
            <p:spPr bwMode="auto">
              <a:xfrm rot="9509256">
                <a:off x="8758710" y="394511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3" name="Oval 586">
                <a:extLst>
                  <a:ext uri="{FF2B5EF4-FFF2-40B4-BE49-F238E27FC236}">
                    <a16:creationId xmlns:a16="http://schemas.microsoft.com/office/drawing/2014/main" id="{34A4CEBE-255A-4C03-D745-2C902314F9F0}"/>
                  </a:ext>
                </a:extLst>
              </p:cNvPr>
              <p:cNvSpPr>
                <a:spLocks noChangeArrowheads="1"/>
              </p:cNvSpPr>
              <p:nvPr/>
            </p:nvSpPr>
            <p:spPr bwMode="auto">
              <a:xfrm rot="9509256">
                <a:off x="8688619" y="417507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4" name="Oval 587">
                <a:extLst>
                  <a:ext uri="{FF2B5EF4-FFF2-40B4-BE49-F238E27FC236}">
                    <a16:creationId xmlns:a16="http://schemas.microsoft.com/office/drawing/2014/main" id="{F1205F14-1F0F-FC69-0EB7-8FD3258E4D2C}"/>
                  </a:ext>
                </a:extLst>
              </p:cNvPr>
              <p:cNvSpPr>
                <a:spLocks noChangeArrowheads="1"/>
              </p:cNvSpPr>
              <p:nvPr/>
            </p:nvSpPr>
            <p:spPr bwMode="auto">
              <a:xfrm rot="9509256">
                <a:off x="8685281" y="407457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5" name="Oval 588">
                <a:extLst>
                  <a:ext uri="{FF2B5EF4-FFF2-40B4-BE49-F238E27FC236}">
                    <a16:creationId xmlns:a16="http://schemas.microsoft.com/office/drawing/2014/main" id="{1030C5D5-92BE-5051-D672-2E622EC5EE89}"/>
                  </a:ext>
                </a:extLst>
              </p:cNvPr>
              <p:cNvSpPr>
                <a:spLocks noChangeArrowheads="1"/>
              </p:cNvSpPr>
              <p:nvPr/>
            </p:nvSpPr>
            <p:spPr bwMode="auto">
              <a:xfrm rot="9509256">
                <a:off x="8678605" y="383338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6" name="Oval 589">
                <a:extLst>
                  <a:ext uri="{FF2B5EF4-FFF2-40B4-BE49-F238E27FC236}">
                    <a16:creationId xmlns:a16="http://schemas.microsoft.com/office/drawing/2014/main" id="{1457290F-C19B-E1CB-BD98-D464F4DB72F6}"/>
                  </a:ext>
                </a:extLst>
              </p:cNvPr>
              <p:cNvSpPr>
                <a:spLocks noChangeArrowheads="1"/>
              </p:cNvSpPr>
              <p:nvPr/>
            </p:nvSpPr>
            <p:spPr bwMode="auto">
              <a:xfrm rot="9509256">
                <a:off x="8631877" y="370954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7" name="Oval 590">
                <a:extLst>
                  <a:ext uri="{FF2B5EF4-FFF2-40B4-BE49-F238E27FC236}">
                    <a16:creationId xmlns:a16="http://schemas.microsoft.com/office/drawing/2014/main" id="{1466C706-6706-F1A4-C3D0-A681110E4138}"/>
                  </a:ext>
                </a:extLst>
              </p:cNvPr>
              <p:cNvSpPr>
                <a:spLocks noChangeArrowheads="1"/>
              </p:cNvSpPr>
              <p:nvPr/>
            </p:nvSpPr>
            <p:spPr bwMode="auto">
              <a:xfrm rot="9509256">
                <a:off x="8661917" y="402517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8" name="Oval 591">
                <a:extLst>
                  <a:ext uri="{FF2B5EF4-FFF2-40B4-BE49-F238E27FC236}">
                    <a16:creationId xmlns:a16="http://schemas.microsoft.com/office/drawing/2014/main" id="{098C5B30-F206-EF25-7AAB-ADEDB9F96FE6}"/>
                  </a:ext>
                </a:extLst>
              </p:cNvPr>
              <p:cNvSpPr>
                <a:spLocks noChangeArrowheads="1"/>
              </p:cNvSpPr>
              <p:nvPr/>
            </p:nvSpPr>
            <p:spPr bwMode="auto">
              <a:xfrm rot="9509256">
                <a:off x="8645228" y="414782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09" name="Oval 592">
                <a:extLst>
                  <a:ext uri="{FF2B5EF4-FFF2-40B4-BE49-F238E27FC236}">
                    <a16:creationId xmlns:a16="http://schemas.microsoft.com/office/drawing/2014/main" id="{5665F6A1-F338-5488-06DB-0C1384CBA29D}"/>
                  </a:ext>
                </a:extLst>
              </p:cNvPr>
              <p:cNvSpPr>
                <a:spLocks noChangeArrowheads="1"/>
              </p:cNvSpPr>
              <p:nvPr/>
            </p:nvSpPr>
            <p:spPr bwMode="auto">
              <a:xfrm rot="9509256">
                <a:off x="8796259" y="401836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0" name="Oval 593">
                <a:extLst>
                  <a:ext uri="{FF2B5EF4-FFF2-40B4-BE49-F238E27FC236}">
                    <a16:creationId xmlns:a16="http://schemas.microsoft.com/office/drawing/2014/main" id="{1637BC0D-BBA1-983D-9299-27607D5C4E23}"/>
                  </a:ext>
                </a:extLst>
              </p:cNvPr>
              <p:cNvSpPr>
                <a:spLocks noChangeArrowheads="1"/>
              </p:cNvSpPr>
              <p:nvPr/>
            </p:nvSpPr>
            <p:spPr bwMode="auto">
              <a:xfrm rot="9509256">
                <a:off x="8626037" y="388666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1" name="Oval 594">
                <a:extLst>
                  <a:ext uri="{FF2B5EF4-FFF2-40B4-BE49-F238E27FC236}">
                    <a16:creationId xmlns:a16="http://schemas.microsoft.com/office/drawing/2014/main" id="{081A3E3C-B894-729E-2004-B05E1AC954AA}"/>
                  </a:ext>
                </a:extLst>
              </p:cNvPr>
              <p:cNvSpPr>
                <a:spLocks noChangeArrowheads="1"/>
              </p:cNvSpPr>
              <p:nvPr/>
            </p:nvSpPr>
            <p:spPr bwMode="auto">
              <a:xfrm rot="9509256">
                <a:off x="8590991" y="361144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2" name="Oval 595">
                <a:extLst>
                  <a:ext uri="{FF2B5EF4-FFF2-40B4-BE49-F238E27FC236}">
                    <a16:creationId xmlns:a16="http://schemas.microsoft.com/office/drawing/2014/main" id="{CFED982C-DF3E-E4BD-61F6-2D6287F363F0}"/>
                  </a:ext>
                </a:extLst>
              </p:cNvPr>
              <p:cNvSpPr>
                <a:spLocks noChangeArrowheads="1"/>
              </p:cNvSpPr>
              <p:nvPr/>
            </p:nvSpPr>
            <p:spPr bwMode="auto">
              <a:xfrm rot="9509256">
                <a:off x="8720922" y="370218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3" name="Oval 596">
                <a:extLst>
                  <a:ext uri="{FF2B5EF4-FFF2-40B4-BE49-F238E27FC236}">
                    <a16:creationId xmlns:a16="http://schemas.microsoft.com/office/drawing/2014/main" id="{87302A82-1E23-8DF8-939A-1E8E508299A2}"/>
                  </a:ext>
                </a:extLst>
              </p:cNvPr>
              <p:cNvSpPr>
                <a:spLocks noChangeArrowheads="1"/>
              </p:cNvSpPr>
              <p:nvPr/>
            </p:nvSpPr>
            <p:spPr bwMode="auto">
              <a:xfrm rot="9509256">
                <a:off x="8532580" y="368740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4" name="Oval 597">
                <a:extLst>
                  <a:ext uri="{FF2B5EF4-FFF2-40B4-BE49-F238E27FC236}">
                    <a16:creationId xmlns:a16="http://schemas.microsoft.com/office/drawing/2014/main" id="{8826E6EC-9EC1-F53A-E40F-90235A3767E3}"/>
                  </a:ext>
                </a:extLst>
              </p:cNvPr>
              <p:cNvSpPr>
                <a:spLocks noChangeArrowheads="1"/>
              </p:cNvSpPr>
              <p:nvPr/>
            </p:nvSpPr>
            <p:spPr bwMode="auto">
              <a:xfrm rot="9509256">
                <a:off x="8525905" y="358930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5" name="Oval 598">
                <a:extLst>
                  <a:ext uri="{FF2B5EF4-FFF2-40B4-BE49-F238E27FC236}">
                    <a16:creationId xmlns:a16="http://schemas.microsoft.com/office/drawing/2014/main" id="{FB1BFBB6-1199-50E1-A108-5691EACD81A7}"/>
                  </a:ext>
                </a:extLst>
              </p:cNvPr>
              <p:cNvSpPr>
                <a:spLocks noChangeArrowheads="1"/>
              </p:cNvSpPr>
              <p:nvPr/>
            </p:nvSpPr>
            <p:spPr bwMode="auto">
              <a:xfrm rot="9509256">
                <a:off x="8575136" y="350242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6" name="Oval 599">
                <a:extLst>
                  <a:ext uri="{FF2B5EF4-FFF2-40B4-BE49-F238E27FC236}">
                    <a16:creationId xmlns:a16="http://schemas.microsoft.com/office/drawing/2014/main" id="{3CB556A5-B487-71EC-D159-53DCC78FE31A}"/>
                  </a:ext>
                </a:extLst>
              </p:cNvPr>
              <p:cNvSpPr>
                <a:spLocks noChangeArrowheads="1"/>
              </p:cNvSpPr>
              <p:nvPr/>
            </p:nvSpPr>
            <p:spPr bwMode="auto">
              <a:xfrm rot="9509256">
                <a:off x="8605176" y="393436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7" name="Oval 600">
                <a:extLst>
                  <a:ext uri="{FF2B5EF4-FFF2-40B4-BE49-F238E27FC236}">
                    <a16:creationId xmlns:a16="http://schemas.microsoft.com/office/drawing/2014/main" id="{25B3CB2B-DE4D-9D51-C5A8-28F3405B503F}"/>
                  </a:ext>
                </a:extLst>
              </p:cNvPr>
              <p:cNvSpPr>
                <a:spLocks noChangeArrowheads="1"/>
              </p:cNvSpPr>
              <p:nvPr/>
            </p:nvSpPr>
            <p:spPr bwMode="auto">
              <a:xfrm rot="9509256">
                <a:off x="8597666" y="399228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8" name="Oval 601">
                <a:extLst>
                  <a:ext uri="{FF2B5EF4-FFF2-40B4-BE49-F238E27FC236}">
                    <a16:creationId xmlns:a16="http://schemas.microsoft.com/office/drawing/2014/main" id="{37BC26CE-A097-B96B-80DD-0DBA7A3AB3F5}"/>
                  </a:ext>
                </a:extLst>
              </p:cNvPr>
              <p:cNvSpPr>
                <a:spLocks noChangeArrowheads="1"/>
              </p:cNvSpPr>
              <p:nvPr/>
            </p:nvSpPr>
            <p:spPr bwMode="auto">
              <a:xfrm rot="9509256">
                <a:off x="8536753" y="403827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19" name="Oval 602">
                <a:extLst>
                  <a:ext uri="{FF2B5EF4-FFF2-40B4-BE49-F238E27FC236}">
                    <a16:creationId xmlns:a16="http://schemas.microsoft.com/office/drawing/2014/main" id="{59591698-0CCE-D3F9-6B1F-687F7E0B8749}"/>
                  </a:ext>
                </a:extLst>
              </p:cNvPr>
              <p:cNvSpPr>
                <a:spLocks noChangeArrowheads="1"/>
              </p:cNvSpPr>
              <p:nvPr/>
            </p:nvSpPr>
            <p:spPr bwMode="auto">
              <a:xfrm rot="9509256">
                <a:off x="8554275" y="393266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0" name="Oval 603">
                <a:extLst>
                  <a:ext uri="{FF2B5EF4-FFF2-40B4-BE49-F238E27FC236}">
                    <a16:creationId xmlns:a16="http://schemas.microsoft.com/office/drawing/2014/main" id="{FB9A9C09-782D-3DCF-2B51-48C056E32ABF}"/>
                  </a:ext>
                </a:extLst>
              </p:cNvPr>
              <p:cNvSpPr>
                <a:spLocks noChangeArrowheads="1"/>
              </p:cNvSpPr>
              <p:nvPr/>
            </p:nvSpPr>
            <p:spPr bwMode="auto">
              <a:xfrm rot="9509256">
                <a:off x="8565957" y="379978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1" name="Oval 604">
                <a:extLst>
                  <a:ext uri="{FF2B5EF4-FFF2-40B4-BE49-F238E27FC236}">
                    <a16:creationId xmlns:a16="http://schemas.microsoft.com/office/drawing/2014/main" id="{96E9F96D-9851-1730-354F-51970F1915DD}"/>
                  </a:ext>
                </a:extLst>
              </p:cNvPr>
              <p:cNvSpPr>
                <a:spLocks noChangeArrowheads="1"/>
              </p:cNvSpPr>
              <p:nvPr/>
            </p:nvSpPr>
            <p:spPr bwMode="auto">
              <a:xfrm rot="9509256">
                <a:off x="8512769" y="408964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2" name="Oval 605">
                <a:extLst>
                  <a:ext uri="{FF2B5EF4-FFF2-40B4-BE49-F238E27FC236}">
                    <a16:creationId xmlns:a16="http://schemas.microsoft.com/office/drawing/2014/main" id="{B57664DA-33B5-0A78-CB57-03A67EAF3B4B}"/>
                  </a:ext>
                </a:extLst>
              </p:cNvPr>
              <p:cNvSpPr>
                <a:spLocks noChangeArrowheads="1"/>
              </p:cNvSpPr>
              <p:nvPr/>
            </p:nvSpPr>
            <p:spPr bwMode="auto">
              <a:xfrm rot="9509256">
                <a:off x="8532580" y="388496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3" name="Oval 606">
                <a:extLst>
                  <a:ext uri="{FF2B5EF4-FFF2-40B4-BE49-F238E27FC236}">
                    <a16:creationId xmlns:a16="http://schemas.microsoft.com/office/drawing/2014/main" id="{4F18285C-FB7D-B263-A8BA-1A2CAA1DAF48}"/>
                  </a:ext>
                </a:extLst>
              </p:cNvPr>
              <p:cNvSpPr>
                <a:spLocks noChangeArrowheads="1"/>
              </p:cNvSpPr>
              <p:nvPr/>
            </p:nvSpPr>
            <p:spPr bwMode="auto">
              <a:xfrm rot="9509256">
                <a:off x="8473336" y="352457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4" name="Oval 607">
                <a:extLst>
                  <a:ext uri="{FF2B5EF4-FFF2-40B4-BE49-F238E27FC236}">
                    <a16:creationId xmlns:a16="http://schemas.microsoft.com/office/drawing/2014/main" id="{ADC1BB11-48C9-8F88-38A5-DB36A0CF6EF7}"/>
                  </a:ext>
                </a:extLst>
              </p:cNvPr>
              <p:cNvSpPr>
                <a:spLocks noChangeArrowheads="1"/>
              </p:cNvSpPr>
              <p:nvPr/>
            </p:nvSpPr>
            <p:spPr bwMode="auto">
              <a:xfrm rot="9509256">
                <a:off x="8480846" y="372658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5" name="Oval 608">
                <a:extLst>
                  <a:ext uri="{FF2B5EF4-FFF2-40B4-BE49-F238E27FC236}">
                    <a16:creationId xmlns:a16="http://schemas.microsoft.com/office/drawing/2014/main" id="{B5284B9D-C04C-423F-215B-F04616BA0792}"/>
                  </a:ext>
                </a:extLst>
              </p:cNvPr>
              <p:cNvSpPr>
                <a:spLocks noChangeArrowheads="1"/>
              </p:cNvSpPr>
              <p:nvPr/>
            </p:nvSpPr>
            <p:spPr bwMode="auto">
              <a:xfrm rot="9509256">
                <a:off x="8511720" y="3831305"/>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6" name="Oval 609">
                <a:extLst>
                  <a:ext uri="{FF2B5EF4-FFF2-40B4-BE49-F238E27FC236}">
                    <a16:creationId xmlns:a16="http://schemas.microsoft.com/office/drawing/2014/main" id="{AE96812B-C13E-278B-2976-2062BD6A5FB6}"/>
                  </a:ext>
                </a:extLst>
              </p:cNvPr>
              <p:cNvSpPr>
                <a:spLocks noChangeArrowheads="1"/>
              </p:cNvSpPr>
              <p:nvPr/>
            </p:nvSpPr>
            <p:spPr bwMode="auto">
              <a:xfrm rot="9509256">
                <a:off x="8452475" y="386963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7" name="Oval 610">
                <a:extLst>
                  <a:ext uri="{FF2B5EF4-FFF2-40B4-BE49-F238E27FC236}">
                    <a16:creationId xmlns:a16="http://schemas.microsoft.com/office/drawing/2014/main" id="{A3D30918-64CF-F529-97AF-5A2D26B77632}"/>
                  </a:ext>
                </a:extLst>
              </p:cNvPr>
              <p:cNvSpPr>
                <a:spLocks noChangeArrowheads="1"/>
              </p:cNvSpPr>
              <p:nvPr/>
            </p:nvSpPr>
            <p:spPr bwMode="auto">
              <a:xfrm rot="9509256">
                <a:off x="8480012" y="400590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8" name="Oval 611">
                <a:extLst>
                  <a:ext uri="{FF2B5EF4-FFF2-40B4-BE49-F238E27FC236}">
                    <a16:creationId xmlns:a16="http://schemas.microsoft.com/office/drawing/2014/main" id="{7897BBDB-DCDE-574C-70D0-84F0568F279C}"/>
                  </a:ext>
                </a:extLst>
              </p:cNvPr>
              <p:cNvSpPr>
                <a:spLocks noChangeArrowheads="1"/>
              </p:cNvSpPr>
              <p:nvPr/>
            </p:nvSpPr>
            <p:spPr bwMode="auto">
              <a:xfrm rot="9509256">
                <a:off x="8383218" y="397865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29" name="Oval 612">
                <a:extLst>
                  <a:ext uri="{FF2B5EF4-FFF2-40B4-BE49-F238E27FC236}">
                    <a16:creationId xmlns:a16="http://schemas.microsoft.com/office/drawing/2014/main" id="{6CEBC6A4-ADD7-9D31-A644-25E244129BDC}"/>
                  </a:ext>
                </a:extLst>
              </p:cNvPr>
              <p:cNvSpPr>
                <a:spLocks noChangeArrowheads="1"/>
              </p:cNvSpPr>
              <p:nvPr/>
            </p:nvSpPr>
            <p:spPr bwMode="auto">
              <a:xfrm rot="9509256">
                <a:off x="8401576" y="370103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0" name="Oval 613">
                <a:extLst>
                  <a:ext uri="{FF2B5EF4-FFF2-40B4-BE49-F238E27FC236}">
                    <a16:creationId xmlns:a16="http://schemas.microsoft.com/office/drawing/2014/main" id="{92150BA8-46A9-C438-38D9-F0D72DCE8A63}"/>
                  </a:ext>
                </a:extLst>
              </p:cNvPr>
              <p:cNvSpPr>
                <a:spLocks noChangeArrowheads="1"/>
              </p:cNvSpPr>
              <p:nvPr/>
            </p:nvSpPr>
            <p:spPr bwMode="auto">
              <a:xfrm rot="9509256">
                <a:off x="8379046" y="3907108"/>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1" name="Oval 614">
                <a:extLst>
                  <a:ext uri="{FF2B5EF4-FFF2-40B4-BE49-F238E27FC236}">
                    <a16:creationId xmlns:a16="http://schemas.microsoft.com/office/drawing/2014/main" id="{92227A58-89AF-7EE6-720A-E800F3F0219A}"/>
                  </a:ext>
                </a:extLst>
              </p:cNvPr>
              <p:cNvSpPr>
                <a:spLocks noChangeArrowheads="1"/>
              </p:cNvSpPr>
              <p:nvPr/>
            </p:nvSpPr>
            <p:spPr bwMode="auto">
              <a:xfrm rot="11712108">
                <a:off x="8745360" y="417678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2" name="Oval 615">
                <a:extLst>
                  <a:ext uri="{FF2B5EF4-FFF2-40B4-BE49-F238E27FC236}">
                    <a16:creationId xmlns:a16="http://schemas.microsoft.com/office/drawing/2014/main" id="{76E7144B-FBEA-0B1E-B1BD-C494C3F9A8FB}"/>
                  </a:ext>
                </a:extLst>
              </p:cNvPr>
              <p:cNvSpPr>
                <a:spLocks noChangeArrowheads="1"/>
              </p:cNvSpPr>
              <p:nvPr/>
            </p:nvSpPr>
            <p:spPr bwMode="auto">
              <a:xfrm rot="11712108">
                <a:off x="8478343" y="394288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3" name="Oval 616">
                <a:extLst>
                  <a:ext uri="{FF2B5EF4-FFF2-40B4-BE49-F238E27FC236}">
                    <a16:creationId xmlns:a16="http://schemas.microsoft.com/office/drawing/2014/main" id="{45F99B24-EBB2-3A3F-0FB3-3DF464CA2F5F}"/>
                  </a:ext>
                </a:extLst>
              </p:cNvPr>
              <p:cNvSpPr>
                <a:spLocks noChangeArrowheads="1"/>
              </p:cNvSpPr>
              <p:nvPr/>
            </p:nvSpPr>
            <p:spPr bwMode="auto">
              <a:xfrm rot="11712108">
                <a:off x="8369867" y="412270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4" name="Oval 617">
                <a:extLst>
                  <a:ext uri="{FF2B5EF4-FFF2-40B4-BE49-F238E27FC236}">
                    <a16:creationId xmlns:a16="http://schemas.microsoft.com/office/drawing/2014/main" id="{B429075B-7FD4-EDD3-E09F-A070C4E4C580}"/>
                  </a:ext>
                </a:extLst>
              </p:cNvPr>
              <p:cNvSpPr>
                <a:spLocks noChangeArrowheads="1"/>
              </p:cNvSpPr>
              <p:nvPr/>
            </p:nvSpPr>
            <p:spPr bwMode="auto">
              <a:xfrm rot="724066">
                <a:off x="8066970" y="3902041"/>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5" name="Oval 618">
                <a:extLst>
                  <a:ext uri="{FF2B5EF4-FFF2-40B4-BE49-F238E27FC236}">
                    <a16:creationId xmlns:a16="http://schemas.microsoft.com/office/drawing/2014/main" id="{B11633CB-9B12-FD18-B793-D0A818ABF141}"/>
                  </a:ext>
                </a:extLst>
              </p:cNvPr>
              <p:cNvSpPr>
                <a:spLocks noChangeArrowheads="1"/>
              </p:cNvSpPr>
              <p:nvPr/>
            </p:nvSpPr>
            <p:spPr bwMode="auto">
              <a:xfrm rot="724066">
                <a:off x="7917608" y="390033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6" name="Oval 619">
                <a:extLst>
                  <a:ext uri="{FF2B5EF4-FFF2-40B4-BE49-F238E27FC236}">
                    <a16:creationId xmlns:a16="http://schemas.microsoft.com/office/drawing/2014/main" id="{0F395401-E1AD-D929-9E2B-26A607C6E4F3}"/>
                  </a:ext>
                </a:extLst>
              </p:cNvPr>
              <p:cNvSpPr>
                <a:spLocks noChangeArrowheads="1"/>
              </p:cNvSpPr>
              <p:nvPr/>
            </p:nvSpPr>
            <p:spPr bwMode="auto">
              <a:xfrm rot="724066">
                <a:off x="8009396" y="385093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7" name="Oval 620">
                <a:extLst>
                  <a:ext uri="{FF2B5EF4-FFF2-40B4-BE49-F238E27FC236}">
                    <a16:creationId xmlns:a16="http://schemas.microsoft.com/office/drawing/2014/main" id="{72B6D75A-D6B0-E753-45D4-F15193A0C7B0}"/>
                  </a:ext>
                </a:extLst>
              </p:cNvPr>
              <p:cNvSpPr>
                <a:spLocks noChangeArrowheads="1"/>
              </p:cNvSpPr>
              <p:nvPr/>
            </p:nvSpPr>
            <p:spPr bwMode="auto">
              <a:xfrm rot="724066">
                <a:off x="8109526" y="3932703"/>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8" name="Oval 621">
                <a:extLst>
                  <a:ext uri="{FF2B5EF4-FFF2-40B4-BE49-F238E27FC236}">
                    <a16:creationId xmlns:a16="http://schemas.microsoft.com/office/drawing/2014/main" id="{81C57340-D2D2-27A4-3496-9136DA5792BC}"/>
                  </a:ext>
                </a:extLst>
              </p:cNvPr>
              <p:cNvSpPr>
                <a:spLocks noChangeArrowheads="1"/>
              </p:cNvSpPr>
              <p:nvPr/>
            </p:nvSpPr>
            <p:spPr bwMode="auto">
              <a:xfrm rot="724066">
                <a:off x="7984362" y="3985510"/>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39" name="Oval 622">
                <a:extLst>
                  <a:ext uri="{FF2B5EF4-FFF2-40B4-BE49-F238E27FC236}">
                    <a16:creationId xmlns:a16="http://schemas.microsoft.com/office/drawing/2014/main" id="{6161F56F-FE67-4A98-FD42-931883AACE98}"/>
                  </a:ext>
                </a:extLst>
              </p:cNvPr>
              <p:cNvSpPr>
                <a:spLocks noChangeArrowheads="1"/>
              </p:cNvSpPr>
              <p:nvPr/>
            </p:nvSpPr>
            <p:spPr bwMode="auto">
              <a:xfrm rot="724066">
                <a:off x="8117870" y="3879896"/>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0" name="Oval 623">
                <a:extLst>
                  <a:ext uri="{FF2B5EF4-FFF2-40B4-BE49-F238E27FC236}">
                    <a16:creationId xmlns:a16="http://schemas.microsoft.com/office/drawing/2014/main" id="{DD020CD0-D505-05A8-CA1B-7CD1EA078189}"/>
                  </a:ext>
                </a:extLst>
              </p:cNvPr>
              <p:cNvSpPr>
                <a:spLocks noChangeArrowheads="1"/>
              </p:cNvSpPr>
              <p:nvPr/>
            </p:nvSpPr>
            <p:spPr bwMode="auto">
              <a:xfrm rot="724066">
                <a:off x="8077818" y="3976992"/>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1" name="Oval 624">
                <a:extLst>
                  <a:ext uri="{FF2B5EF4-FFF2-40B4-BE49-F238E27FC236}">
                    <a16:creationId xmlns:a16="http://schemas.microsoft.com/office/drawing/2014/main" id="{DDFD23F4-372A-8DA8-84F1-0BA56242D887}"/>
                  </a:ext>
                </a:extLst>
              </p:cNvPr>
              <p:cNvSpPr>
                <a:spLocks noChangeArrowheads="1"/>
              </p:cNvSpPr>
              <p:nvPr/>
            </p:nvSpPr>
            <p:spPr bwMode="auto">
              <a:xfrm rot="724066">
                <a:off x="8177114" y="4050199"/>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2" name="Oval 625">
                <a:extLst>
                  <a:ext uri="{FF2B5EF4-FFF2-40B4-BE49-F238E27FC236}">
                    <a16:creationId xmlns:a16="http://schemas.microsoft.com/office/drawing/2014/main" id="{FCBA45E1-2C28-DACA-7316-88374898A78D}"/>
                  </a:ext>
                </a:extLst>
              </p:cNvPr>
              <p:cNvSpPr>
                <a:spLocks noChangeArrowheads="1"/>
              </p:cNvSpPr>
              <p:nvPr/>
            </p:nvSpPr>
            <p:spPr bwMode="auto">
              <a:xfrm rot="724066">
                <a:off x="8191300" y="4118908"/>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3" name="Oval 626">
                <a:extLst>
                  <a:ext uri="{FF2B5EF4-FFF2-40B4-BE49-F238E27FC236}">
                    <a16:creationId xmlns:a16="http://schemas.microsoft.com/office/drawing/2014/main" id="{8FFCDEE7-F6BF-18DE-AA7C-6B51C16D59E4}"/>
                  </a:ext>
                </a:extLst>
              </p:cNvPr>
              <p:cNvSpPr>
                <a:spLocks noChangeArrowheads="1"/>
              </p:cNvSpPr>
              <p:nvPr/>
            </p:nvSpPr>
            <p:spPr bwMode="auto">
              <a:xfrm rot="724066">
                <a:off x="8293100" y="3999094"/>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4" name="Oval 627">
                <a:extLst>
                  <a:ext uri="{FF2B5EF4-FFF2-40B4-BE49-F238E27FC236}">
                    <a16:creationId xmlns:a16="http://schemas.microsoft.com/office/drawing/2014/main" id="{281F46EB-3BAF-1597-3CF8-BAAAFE1D4809}"/>
                  </a:ext>
                </a:extLst>
              </p:cNvPr>
              <p:cNvSpPr>
                <a:spLocks noChangeArrowheads="1"/>
              </p:cNvSpPr>
              <p:nvPr/>
            </p:nvSpPr>
            <p:spPr bwMode="auto">
              <a:xfrm rot="724066">
                <a:off x="8286425" y="3946287"/>
                <a:ext cx="285410" cy="780753"/>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grpSp>
          <p:nvGrpSpPr>
            <p:cNvPr id="245" name="Group 728">
              <a:extLst>
                <a:ext uri="{FF2B5EF4-FFF2-40B4-BE49-F238E27FC236}">
                  <a16:creationId xmlns:a16="http://schemas.microsoft.com/office/drawing/2014/main" id="{ABE6A46E-C6FA-96DE-5411-A5DE85D2BCD3}"/>
                </a:ext>
              </a:extLst>
            </p:cNvPr>
            <p:cNvGrpSpPr>
              <a:grpSpLocks/>
            </p:cNvGrpSpPr>
            <p:nvPr/>
          </p:nvGrpSpPr>
          <p:grpSpPr bwMode="auto">
            <a:xfrm>
              <a:off x="7720302" y="3423797"/>
              <a:ext cx="1535994" cy="1334243"/>
              <a:chOff x="3484324" y="3587972"/>
              <a:chExt cx="1687503" cy="1424427"/>
            </a:xfrm>
          </p:grpSpPr>
          <p:sp>
            <p:nvSpPr>
              <p:cNvPr id="246" name="Oval 541">
                <a:extLst>
                  <a:ext uri="{FF2B5EF4-FFF2-40B4-BE49-F238E27FC236}">
                    <a16:creationId xmlns:a16="http://schemas.microsoft.com/office/drawing/2014/main" id="{6B5928E2-C6B6-2A35-277D-0DE09BD805B5}"/>
                  </a:ext>
                </a:extLst>
              </p:cNvPr>
              <p:cNvSpPr>
                <a:spLocks noChangeArrowheads="1"/>
              </p:cNvSpPr>
              <p:nvPr/>
            </p:nvSpPr>
            <p:spPr bwMode="auto">
              <a:xfrm rot="4371100">
                <a:off x="4080272" y="346536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7" name="Oval 545">
                <a:extLst>
                  <a:ext uri="{FF2B5EF4-FFF2-40B4-BE49-F238E27FC236}">
                    <a16:creationId xmlns:a16="http://schemas.microsoft.com/office/drawing/2014/main" id="{56BF0E05-3291-6BAF-BAD3-61F163A1D671}"/>
                  </a:ext>
                </a:extLst>
              </p:cNvPr>
              <p:cNvSpPr>
                <a:spLocks noChangeArrowheads="1"/>
              </p:cNvSpPr>
              <p:nvPr/>
            </p:nvSpPr>
            <p:spPr bwMode="auto">
              <a:xfrm rot="4371100">
                <a:off x="4421746" y="3521061"/>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8" name="Oval 548">
                <a:extLst>
                  <a:ext uri="{FF2B5EF4-FFF2-40B4-BE49-F238E27FC236}">
                    <a16:creationId xmlns:a16="http://schemas.microsoft.com/office/drawing/2014/main" id="{9A84641F-0DD2-C6B1-5786-98A657026BC6}"/>
                  </a:ext>
                </a:extLst>
              </p:cNvPr>
              <p:cNvSpPr>
                <a:spLocks noChangeArrowheads="1"/>
              </p:cNvSpPr>
              <p:nvPr/>
            </p:nvSpPr>
            <p:spPr bwMode="auto">
              <a:xfrm rot="4371100">
                <a:off x="4471908" y="3502567"/>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49" name="Oval 549">
                <a:extLst>
                  <a:ext uri="{FF2B5EF4-FFF2-40B4-BE49-F238E27FC236}">
                    <a16:creationId xmlns:a16="http://schemas.microsoft.com/office/drawing/2014/main" id="{1C81BF1F-5ED2-1E03-CFA4-5DA39D783155}"/>
                  </a:ext>
                </a:extLst>
              </p:cNvPr>
              <p:cNvSpPr>
                <a:spLocks noChangeArrowheads="1"/>
              </p:cNvSpPr>
              <p:nvPr/>
            </p:nvSpPr>
            <p:spPr bwMode="auto">
              <a:xfrm rot="4371100">
                <a:off x="4367613" y="351500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0" name="Oval 551">
                <a:extLst>
                  <a:ext uri="{FF2B5EF4-FFF2-40B4-BE49-F238E27FC236}">
                    <a16:creationId xmlns:a16="http://schemas.microsoft.com/office/drawing/2014/main" id="{C694B051-F5B4-71ED-F7C6-6A7F49F20EB4}"/>
                  </a:ext>
                </a:extLst>
              </p:cNvPr>
              <p:cNvSpPr>
                <a:spLocks noChangeArrowheads="1"/>
              </p:cNvSpPr>
              <p:nvPr/>
            </p:nvSpPr>
            <p:spPr bwMode="auto">
              <a:xfrm rot="4371100">
                <a:off x="4106030" y="356377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1" name="Oval 552">
                <a:extLst>
                  <a:ext uri="{FF2B5EF4-FFF2-40B4-BE49-F238E27FC236}">
                    <a16:creationId xmlns:a16="http://schemas.microsoft.com/office/drawing/2014/main" id="{0A2EFEE7-BF95-C594-53C6-012E0712A682}"/>
                  </a:ext>
                </a:extLst>
              </p:cNvPr>
              <p:cNvSpPr>
                <a:spLocks noChangeArrowheads="1"/>
              </p:cNvSpPr>
              <p:nvPr/>
            </p:nvSpPr>
            <p:spPr bwMode="auto">
              <a:xfrm rot="4371100">
                <a:off x="4165011" y="355756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2" name="Oval 553">
                <a:extLst>
                  <a:ext uri="{FF2B5EF4-FFF2-40B4-BE49-F238E27FC236}">
                    <a16:creationId xmlns:a16="http://schemas.microsoft.com/office/drawing/2014/main" id="{A697D63D-BF34-1F47-8FFD-36E6CA37BE86}"/>
                  </a:ext>
                </a:extLst>
              </p:cNvPr>
              <p:cNvSpPr>
                <a:spLocks noChangeArrowheads="1"/>
              </p:cNvSpPr>
              <p:nvPr/>
            </p:nvSpPr>
            <p:spPr bwMode="auto">
              <a:xfrm rot="4371100">
                <a:off x="4251811" y="352431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3" name="Oval 554">
                <a:extLst>
                  <a:ext uri="{FF2B5EF4-FFF2-40B4-BE49-F238E27FC236}">
                    <a16:creationId xmlns:a16="http://schemas.microsoft.com/office/drawing/2014/main" id="{CBADEF6C-6C05-333E-11B5-997D14CD58BD}"/>
                  </a:ext>
                </a:extLst>
              </p:cNvPr>
              <p:cNvSpPr>
                <a:spLocks noChangeArrowheads="1"/>
              </p:cNvSpPr>
              <p:nvPr/>
            </p:nvSpPr>
            <p:spPr bwMode="auto">
              <a:xfrm rot="4371100">
                <a:off x="4335759" y="355576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4" name="Oval 555">
                <a:extLst>
                  <a:ext uri="{FF2B5EF4-FFF2-40B4-BE49-F238E27FC236}">
                    <a16:creationId xmlns:a16="http://schemas.microsoft.com/office/drawing/2014/main" id="{B86DD190-11EF-B5A5-42EC-9748E3B1AC4F}"/>
                  </a:ext>
                </a:extLst>
              </p:cNvPr>
              <p:cNvSpPr>
                <a:spLocks noChangeArrowheads="1"/>
              </p:cNvSpPr>
              <p:nvPr/>
            </p:nvSpPr>
            <p:spPr bwMode="auto">
              <a:xfrm rot="4371100">
                <a:off x="4383149" y="357419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5" name="Oval 556">
                <a:extLst>
                  <a:ext uri="{FF2B5EF4-FFF2-40B4-BE49-F238E27FC236}">
                    <a16:creationId xmlns:a16="http://schemas.microsoft.com/office/drawing/2014/main" id="{F7AF4BE2-6271-14F9-7482-35A12E65844D}"/>
                  </a:ext>
                </a:extLst>
              </p:cNvPr>
              <p:cNvSpPr>
                <a:spLocks noChangeArrowheads="1"/>
              </p:cNvSpPr>
              <p:nvPr/>
            </p:nvSpPr>
            <p:spPr bwMode="auto">
              <a:xfrm rot="4371100">
                <a:off x="4281258" y="356999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6" name="Oval 557">
                <a:extLst>
                  <a:ext uri="{FF2B5EF4-FFF2-40B4-BE49-F238E27FC236}">
                    <a16:creationId xmlns:a16="http://schemas.microsoft.com/office/drawing/2014/main" id="{3A53D80D-B755-2648-59B3-C8595AEF7EC8}"/>
                  </a:ext>
                </a:extLst>
              </p:cNvPr>
              <p:cNvSpPr>
                <a:spLocks noChangeArrowheads="1"/>
              </p:cNvSpPr>
              <p:nvPr/>
            </p:nvSpPr>
            <p:spPr bwMode="auto">
              <a:xfrm rot="4371100">
                <a:off x="4177004" y="360343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7" name="Oval 558">
                <a:extLst>
                  <a:ext uri="{FF2B5EF4-FFF2-40B4-BE49-F238E27FC236}">
                    <a16:creationId xmlns:a16="http://schemas.microsoft.com/office/drawing/2014/main" id="{0269A9FE-0804-AB5A-7D05-16FC22AA6A2F}"/>
                  </a:ext>
                </a:extLst>
              </p:cNvPr>
              <p:cNvSpPr>
                <a:spLocks noChangeArrowheads="1"/>
              </p:cNvSpPr>
              <p:nvPr/>
            </p:nvSpPr>
            <p:spPr bwMode="auto">
              <a:xfrm rot="4371100">
                <a:off x="4166520" y="3497443"/>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8" name="Oval 559">
                <a:extLst>
                  <a:ext uri="{FF2B5EF4-FFF2-40B4-BE49-F238E27FC236}">
                    <a16:creationId xmlns:a16="http://schemas.microsoft.com/office/drawing/2014/main" id="{EC2F1361-64BE-AE06-0442-ABEFDF2BF6B1}"/>
                  </a:ext>
                </a:extLst>
              </p:cNvPr>
              <p:cNvSpPr>
                <a:spLocks noChangeArrowheads="1"/>
              </p:cNvSpPr>
              <p:nvPr/>
            </p:nvSpPr>
            <p:spPr bwMode="auto">
              <a:xfrm rot="4371100">
                <a:off x="4435829" y="374168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59" name="Oval 560">
                <a:extLst>
                  <a:ext uri="{FF2B5EF4-FFF2-40B4-BE49-F238E27FC236}">
                    <a16:creationId xmlns:a16="http://schemas.microsoft.com/office/drawing/2014/main" id="{D29735C2-4D72-822F-3304-C38BF0D1DB68}"/>
                  </a:ext>
                </a:extLst>
              </p:cNvPr>
              <p:cNvSpPr>
                <a:spLocks noChangeArrowheads="1"/>
              </p:cNvSpPr>
              <p:nvPr/>
            </p:nvSpPr>
            <p:spPr bwMode="auto">
              <a:xfrm rot="4371100">
                <a:off x="4153438" y="366250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0" name="Oval 561">
                <a:extLst>
                  <a:ext uri="{FF2B5EF4-FFF2-40B4-BE49-F238E27FC236}">
                    <a16:creationId xmlns:a16="http://schemas.microsoft.com/office/drawing/2014/main" id="{53CA2D66-18FA-6486-5F5D-B51920CF2256}"/>
                  </a:ext>
                </a:extLst>
              </p:cNvPr>
              <p:cNvSpPr>
                <a:spLocks noChangeArrowheads="1"/>
              </p:cNvSpPr>
              <p:nvPr/>
            </p:nvSpPr>
            <p:spPr bwMode="auto">
              <a:xfrm rot="4371100">
                <a:off x="4432353" y="362029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1" name="Oval 563">
                <a:extLst>
                  <a:ext uri="{FF2B5EF4-FFF2-40B4-BE49-F238E27FC236}">
                    <a16:creationId xmlns:a16="http://schemas.microsoft.com/office/drawing/2014/main" id="{36E3D582-00C9-AC49-6AA0-2EB70865B138}"/>
                  </a:ext>
                </a:extLst>
              </p:cNvPr>
              <p:cNvSpPr>
                <a:spLocks noChangeArrowheads="1"/>
              </p:cNvSpPr>
              <p:nvPr/>
            </p:nvSpPr>
            <p:spPr bwMode="auto">
              <a:xfrm rot="4371100">
                <a:off x="4511984" y="3588189"/>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2" name="Oval 564">
                <a:extLst>
                  <a:ext uri="{FF2B5EF4-FFF2-40B4-BE49-F238E27FC236}">
                    <a16:creationId xmlns:a16="http://schemas.microsoft.com/office/drawing/2014/main" id="{9B407F21-CCC0-F67C-5118-CD2BA02680FD}"/>
                  </a:ext>
                </a:extLst>
              </p:cNvPr>
              <p:cNvSpPr>
                <a:spLocks noChangeArrowheads="1"/>
              </p:cNvSpPr>
              <p:nvPr/>
            </p:nvSpPr>
            <p:spPr bwMode="auto">
              <a:xfrm rot="4371100">
                <a:off x="4425954" y="367167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3" name="Oval 565">
                <a:extLst>
                  <a:ext uri="{FF2B5EF4-FFF2-40B4-BE49-F238E27FC236}">
                    <a16:creationId xmlns:a16="http://schemas.microsoft.com/office/drawing/2014/main" id="{0CFAFB1D-8F6A-7049-1244-C7765701AC8C}"/>
                  </a:ext>
                </a:extLst>
              </p:cNvPr>
              <p:cNvSpPr>
                <a:spLocks noChangeArrowheads="1"/>
              </p:cNvSpPr>
              <p:nvPr/>
            </p:nvSpPr>
            <p:spPr bwMode="auto">
              <a:xfrm rot="4371100">
                <a:off x="4629005" y="365984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4" name="Oval 566">
                <a:extLst>
                  <a:ext uri="{FF2B5EF4-FFF2-40B4-BE49-F238E27FC236}">
                    <a16:creationId xmlns:a16="http://schemas.microsoft.com/office/drawing/2014/main" id="{C6C47623-BF99-B21A-5771-4E1C0A73E0A5}"/>
                  </a:ext>
                </a:extLst>
              </p:cNvPr>
              <p:cNvSpPr>
                <a:spLocks noChangeArrowheads="1"/>
              </p:cNvSpPr>
              <p:nvPr/>
            </p:nvSpPr>
            <p:spPr bwMode="auto">
              <a:xfrm rot="4371100">
                <a:off x="4238040" y="3611369"/>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5" name="Oval 567">
                <a:extLst>
                  <a:ext uri="{FF2B5EF4-FFF2-40B4-BE49-F238E27FC236}">
                    <a16:creationId xmlns:a16="http://schemas.microsoft.com/office/drawing/2014/main" id="{55B5769A-692B-6439-4A2C-B1FE0A75F9B5}"/>
                  </a:ext>
                </a:extLst>
              </p:cNvPr>
              <p:cNvSpPr>
                <a:spLocks noChangeArrowheads="1"/>
              </p:cNvSpPr>
              <p:nvPr/>
            </p:nvSpPr>
            <p:spPr bwMode="auto">
              <a:xfrm rot="4371100">
                <a:off x="4549412" y="3703973"/>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6" name="Oval 568">
                <a:extLst>
                  <a:ext uri="{FF2B5EF4-FFF2-40B4-BE49-F238E27FC236}">
                    <a16:creationId xmlns:a16="http://schemas.microsoft.com/office/drawing/2014/main" id="{347B8F38-3BD2-3EED-7094-479AED714612}"/>
                  </a:ext>
                </a:extLst>
              </p:cNvPr>
              <p:cNvSpPr>
                <a:spLocks noChangeArrowheads="1"/>
              </p:cNvSpPr>
              <p:nvPr/>
            </p:nvSpPr>
            <p:spPr bwMode="auto">
              <a:xfrm rot="4371100">
                <a:off x="4372229" y="3666347"/>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7" name="Oval 569">
                <a:extLst>
                  <a:ext uri="{FF2B5EF4-FFF2-40B4-BE49-F238E27FC236}">
                    <a16:creationId xmlns:a16="http://schemas.microsoft.com/office/drawing/2014/main" id="{5A0F3ADD-BF38-31B0-E94A-2FA3A85D7649}"/>
                  </a:ext>
                </a:extLst>
              </p:cNvPr>
              <p:cNvSpPr>
                <a:spLocks noChangeArrowheads="1"/>
              </p:cNvSpPr>
              <p:nvPr/>
            </p:nvSpPr>
            <p:spPr bwMode="auto">
              <a:xfrm rot="4371100">
                <a:off x="4271152" y="3663599"/>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8" name="Oval 570">
                <a:extLst>
                  <a:ext uri="{FF2B5EF4-FFF2-40B4-BE49-F238E27FC236}">
                    <a16:creationId xmlns:a16="http://schemas.microsoft.com/office/drawing/2014/main" id="{104FB9DD-3EB9-3BED-4934-3D2316C3DF37}"/>
                  </a:ext>
                </a:extLst>
              </p:cNvPr>
              <p:cNvSpPr>
                <a:spLocks noChangeArrowheads="1"/>
              </p:cNvSpPr>
              <p:nvPr/>
            </p:nvSpPr>
            <p:spPr bwMode="auto">
              <a:xfrm rot="4371100">
                <a:off x="4110239" y="3714392"/>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69" name="Oval 571">
                <a:extLst>
                  <a:ext uri="{FF2B5EF4-FFF2-40B4-BE49-F238E27FC236}">
                    <a16:creationId xmlns:a16="http://schemas.microsoft.com/office/drawing/2014/main" id="{A8564B62-403B-29B2-8055-644FBC85489D}"/>
                  </a:ext>
                </a:extLst>
              </p:cNvPr>
              <p:cNvSpPr>
                <a:spLocks noChangeArrowheads="1"/>
              </p:cNvSpPr>
              <p:nvPr/>
            </p:nvSpPr>
            <p:spPr bwMode="auto">
              <a:xfrm rot="4371100">
                <a:off x="4040808" y="3775210"/>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0" name="Oval 572">
                <a:extLst>
                  <a:ext uri="{FF2B5EF4-FFF2-40B4-BE49-F238E27FC236}">
                    <a16:creationId xmlns:a16="http://schemas.microsoft.com/office/drawing/2014/main" id="{5E1E7E1E-A591-D993-A553-DDCEE20E10AC}"/>
                  </a:ext>
                </a:extLst>
              </p:cNvPr>
              <p:cNvSpPr>
                <a:spLocks noChangeArrowheads="1"/>
              </p:cNvSpPr>
              <p:nvPr/>
            </p:nvSpPr>
            <p:spPr bwMode="auto">
              <a:xfrm rot="4371100">
                <a:off x="3942486" y="4012097"/>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1" name="Oval 573">
                <a:extLst>
                  <a:ext uri="{FF2B5EF4-FFF2-40B4-BE49-F238E27FC236}">
                    <a16:creationId xmlns:a16="http://schemas.microsoft.com/office/drawing/2014/main" id="{549ACA1C-7B30-F385-07C9-D0C632DD4CAA}"/>
                  </a:ext>
                </a:extLst>
              </p:cNvPr>
              <p:cNvSpPr>
                <a:spLocks noChangeArrowheads="1"/>
              </p:cNvSpPr>
              <p:nvPr/>
            </p:nvSpPr>
            <p:spPr bwMode="auto">
              <a:xfrm rot="4371100">
                <a:off x="4338888" y="370793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2" name="Oval 574">
                <a:extLst>
                  <a:ext uri="{FF2B5EF4-FFF2-40B4-BE49-F238E27FC236}">
                    <a16:creationId xmlns:a16="http://schemas.microsoft.com/office/drawing/2014/main" id="{2E4D540F-8E19-5080-B676-D9C18C42D1C1}"/>
                  </a:ext>
                </a:extLst>
              </p:cNvPr>
              <p:cNvSpPr>
                <a:spLocks noChangeArrowheads="1"/>
              </p:cNvSpPr>
              <p:nvPr/>
            </p:nvSpPr>
            <p:spPr bwMode="auto">
              <a:xfrm rot="4371100">
                <a:off x="4410267" y="381811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3" name="Oval 575">
                <a:extLst>
                  <a:ext uri="{FF2B5EF4-FFF2-40B4-BE49-F238E27FC236}">
                    <a16:creationId xmlns:a16="http://schemas.microsoft.com/office/drawing/2014/main" id="{95B207C5-67BC-56F6-9421-2ED5E3065B46}"/>
                  </a:ext>
                </a:extLst>
              </p:cNvPr>
              <p:cNvSpPr>
                <a:spLocks noChangeArrowheads="1"/>
              </p:cNvSpPr>
              <p:nvPr/>
            </p:nvSpPr>
            <p:spPr bwMode="auto">
              <a:xfrm rot="4371100">
                <a:off x="4255770" y="382803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4" name="Oval 576">
                <a:extLst>
                  <a:ext uri="{FF2B5EF4-FFF2-40B4-BE49-F238E27FC236}">
                    <a16:creationId xmlns:a16="http://schemas.microsoft.com/office/drawing/2014/main" id="{60CF51EA-9FDE-8496-523B-8A21D4F82547}"/>
                  </a:ext>
                </a:extLst>
              </p:cNvPr>
              <p:cNvSpPr>
                <a:spLocks noChangeArrowheads="1"/>
              </p:cNvSpPr>
              <p:nvPr/>
            </p:nvSpPr>
            <p:spPr bwMode="auto">
              <a:xfrm rot="4371100">
                <a:off x="4200419" y="375000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5" name="Oval 577">
                <a:extLst>
                  <a:ext uri="{FF2B5EF4-FFF2-40B4-BE49-F238E27FC236}">
                    <a16:creationId xmlns:a16="http://schemas.microsoft.com/office/drawing/2014/main" id="{DC8EE44A-166D-855D-5DDE-29F48B4362CC}"/>
                  </a:ext>
                </a:extLst>
              </p:cNvPr>
              <p:cNvSpPr>
                <a:spLocks noChangeArrowheads="1"/>
              </p:cNvSpPr>
              <p:nvPr/>
            </p:nvSpPr>
            <p:spPr bwMode="auto">
              <a:xfrm rot="4371100">
                <a:off x="4274997" y="376470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6" name="Oval 578">
                <a:extLst>
                  <a:ext uri="{FF2B5EF4-FFF2-40B4-BE49-F238E27FC236}">
                    <a16:creationId xmlns:a16="http://schemas.microsoft.com/office/drawing/2014/main" id="{90639105-D542-CB8F-E8AE-41BC092966C4}"/>
                  </a:ext>
                </a:extLst>
              </p:cNvPr>
              <p:cNvSpPr>
                <a:spLocks noChangeArrowheads="1"/>
              </p:cNvSpPr>
              <p:nvPr/>
            </p:nvSpPr>
            <p:spPr bwMode="auto">
              <a:xfrm rot="13156290">
                <a:off x="4423613" y="4146791"/>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7" name="Oval 579">
                <a:extLst>
                  <a:ext uri="{FF2B5EF4-FFF2-40B4-BE49-F238E27FC236}">
                    <a16:creationId xmlns:a16="http://schemas.microsoft.com/office/drawing/2014/main" id="{AA08E028-E63B-C7E0-429C-7A3179A682C5}"/>
                  </a:ext>
                </a:extLst>
              </p:cNvPr>
              <p:cNvSpPr>
                <a:spLocks noChangeArrowheads="1"/>
              </p:cNvSpPr>
              <p:nvPr/>
            </p:nvSpPr>
            <p:spPr bwMode="auto">
              <a:xfrm rot="13156290">
                <a:off x="4485651" y="4041348"/>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8" name="Oval 580">
                <a:extLst>
                  <a:ext uri="{FF2B5EF4-FFF2-40B4-BE49-F238E27FC236}">
                    <a16:creationId xmlns:a16="http://schemas.microsoft.com/office/drawing/2014/main" id="{E27B7BEE-3F2E-C039-8484-3AFD8FD076A9}"/>
                  </a:ext>
                </a:extLst>
              </p:cNvPr>
              <p:cNvSpPr>
                <a:spLocks noChangeArrowheads="1"/>
              </p:cNvSpPr>
              <p:nvPr/>
            </p:nvSpPr>
            <p:spPr bwMode="auto">
              <a:xfrm rot="13156290">
                <a:off x="4275202" y="4226921"/>
                <a:ext cx="285389" cy="785478"/>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79" name="Oval 583">
                <a:extLst>
                  <a:ext uri="{FF2B5EF4-FFF2-40B4-BE49-F238E27FC236}">
                    <a16:creationId xmlns:a16="http://schemas.microsoft.com/office/drawing/2014/main" id="{575A3242-D2D3-54E2-1E5B-725C60A4CA81}"/>
                  </a:ext>
                </a:extLst>
              </p:cNvPr>
              <p:cNvSpPr>
                <a:spLocks noChangeArrowheads="1"/>
              </p:cNvSpPr>
              <p:nvPr/>
            </p:nvSpPr>
            <p:spPr bwMode="auto">
              <a:xfrm rot="13156290">
                <a:off x="4027308" y="420479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0" name="Oval 584">
                <a:extLst>
                  <a:ext uri="{FF2B5EF4-FFF2-40B4-BE49-F238E27FC236}">
                    <a16:creationId xmlns:a16="http://schemas.microsoft.com/office/drawing/2014/main" id="{24BE21DA-6255-0B24-E6A4-DE8D0614C7D0}"/>
                  </a:ext>
                </a:extLst>
              </p:cNvPr>
              <p:cNvSpPr>
                <a:spLocks noChangeArrowheads="1"/>
              </p:cNvSpPr>
              <p:nvPr/>
            </p:nvSpPr>
            <p:spPr bwMode="auto">
              <a:xfrm rot="13156290">
                <a:off x="4355284" y="414676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1" name="Oval 585">
                <a:extLst>
                  <a:ext uri="{FF2B5EF4-FFF2-40B4-BE49-F238E27FC236}">
                    <a16:creationId xmlns:a16="http://schemas.microsoft.com/office/drawing/2014/main" id="{920BE562-CBCB-3D92-8AA7-033D6C4E8791}"/>
                  </a:ext>
                </a:extLst>
              </p:cNvPr>
              <p:cNvSpPr>
                <a:spLocks noChangeArrowheads="1"/>
              </p:cNvSpPr>
              <p:nvPr/>
            </p:nvSpPr>
            <p:spPr bwMode="auto">
              <a:xfrm rot="13156290">
                <a:off x="4537459" y="410606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2" name="Oval 586">
                <a:extLst>
                  <a:ext uri="{FF2B5EF4-FFF2-40B4-BE49-F238E27FC236}">
                    <a16:creationId xmlns:a16="http://schemas.microsoft.com/office/drawing/2014/main" id="{AA1D4740-1139-1E8A-3DBF-F644E4CAC100}"/>
                  </a:ext>
                </a:extLst>
              </p:cNvPr>
              <p:cNvSpPr>
                <a:spLocks noChangeArrowheads="1"/>
              </p:cNvSpPr>
              <p:nvPr/>
            </p:nvSpPr>
            <p:spPr bwMode="auto">
              <a:xfrm rot="13156290">
                <a:off x="4302535" y="415714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3" name="Oval 587">
                <a:extLst>
                  <a:ext uri="{FF2B5EF4-FFF2-40B4-BE49-F238E27FC236}">
                    <a16:creationId xmlns:a16="http://schemas.microsoft.com/office/drawing/2014/main" id="{BB76DC8D-13E6-E140-B46F-BE5EB1FAD88D}"/>
                  </a:ext>
                </a:extLst>
              </p:cNvPr>
              <p:cNvSpPr>
                <a:spLocks noChangeArrowheads="1"/>
              </p:cNvSpPr>
              <p:nvPr/>
            </p:nvSpPr>
            <p:spPr bwMode="auto">
              <a:xfrm rot="13156290">
                <a:off x="4388625" y="410517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4" name="Oval 588">
                <a:extLst>
                  <a:ext uri="{FF2B5EF4-FFF2-40B4-BE49-F238E27FC236}">
                    <a16:creationId xmlns:a16="http://schemas.microsoft.com/office/drawing/2014/main" id="{2F2F5DE8-53C1-6271-C786-533332061DDA}"/>
                  </a:ext>
                </a:extLst>
              </p:cNvPr>
              <p:cNvSpPr>
                <a:spLocks noChangeArrowheads="1"/>
              </p:cNvSpPr>
              <p:nvPr/>
            </p:nvSpPr>
            <p:spPr bwMode="auto">
              <a:xfrm rot="13156290">
                <a:off x="4575671" y="399291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5" name="Oval 589">
                <a:extLst>
                  <a:ext uri="{FF2B5EF4-FFF2-40B4-BE49-F238E27FC236}">
                    <a16:creationId xmlns:a16="http://schemas.microsoft.com/office/drawing/2014/main" id="{0D088A89-E6E6-28A2-CA48-C21E004E5413}"/>
                  </a:ext>
                </a:extLst>
              </p:cNvPr>
              <p:cNvSpPr>
                <a:spLocks noChangeArrowheads="1"/>
              </p:cNvSpPr>
              <p:nvPr/>
            </p:nvSpPr>
            <p:spPr bwMode="auto">
              <a:xfrm rot="13156290">
                <a:off x="4448790" y="401033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6" name="Oval 590">
                <a:extLst>
                  <a:ext uri="{FF2B5EF4-FFF2-40B4-BE49-F238E27FC236}">
                    <a16:creationId xmlns:a16="http://schemas.microsoft.com/office/drawing/2014/main" id="{9D25D001-2C95-0A19-F0E9-2E8CB52F5551}"/>
                  </a:ext>
                </a:extLst>
              </p:cNvPr>
              <p:cNvSpPr>
                <a:spLocks noChangeArrowheads="1"/>
              </p:cNvSpPr>
              <p:nvPr/>
            </p:nvSpPr>
            <p:spPr bwMode="auto">
              <a:xfrm rot="13156290">
                <a:off x="4420338" y="406066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7" name="Oval 591">
                <a:extLst>
                  <a:ext uri="{FF2B5EF4-FFF2-40B4-BE49-F238E27FC236}">
                    <a16:creationId xmlns:a16="http://schemas.microsoft.com/office/drawing/2014/main" id="{75529CC1-54FE-0824-65B0-FB38686CDD74}"/>
                  </a:ext>
                </a:extLst>
              </p:cNvPr>
              <p:cNvSpPr>
                <a:spLocks noChangeArrowheads="1"/>
              </p:cNvSpPr>
              <p:nvPr/>
            </p:nvSpPr>
            <p:spPr bwMode="auto">
              <a:xfrm rot="13156290">
                <a:off x="4305144" y="410596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8" name="Oval 592">
                <a:extLst>
                  <a:ext uri="{FF2B5EF4-FFF2-40B4-BE49-F238E27FC236}">
                    <a16:creationId xmlns:a16="http://schemas.microsoft.com/office/drawing/2014/main" id="{0DD49257-F19A-98C0-DBFA-9591B10D2A7F}"/>
                  </a:ext>
                </a:extLst>
              </p:cNvPr>
              <p:cNvSpPr>
                <a:spLocks noChangeArrowheads="1"/>
              </p:cNvSpPr>
              <p:nvPr/>
            </p:nvSpPr>
            <p:spPr bwMode="auto">
              <a:xfrm rot="13156290">
                <a:off x="4491858" y="417459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89" name="Oval 593">
                <a:extLst>
                  <a:ext uri="{FF2B5EF4-FFF2-40B4-BE49-F238E27FC236}">
                    <a16:creationId xmlns:a16="http://schemas.microsoft.com/office/drawing/2014/main" id="{2353A6E5-1DEA-6E35-20ED-3006B704DDD2}"/>
                  </a:ext>
                </a:extLst>
              </p:cNvPr>
              <p:cNvSpPr>
                <a:spLocks noChangeArrowheads="1"/>
              </p:cNvSpPr>
              <p:nvPr/>
            </p:nvSpPr>
            <p:spPr bwMode="auto">
              <a:xfrm rot="13156290">
                <a:off x="4736228" y="3998437"/>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0" name="Oval 594">
                <a:extLst>
                  <a:ext uri="{FF2B5EF4-FFF2-40B4-BE49-F238E27FC236}">
                    <a16:creationId xmlns:a16="http://schemas.microsoft.com/office/drawing/2014/main" id="{59A412C6-28CB-7844-2349-C54D8B61A4C6}"/>
                  </a:ext>
                </a:extLst>
              </p:cNvPr>
              <p:cNvSpPr>
                <a:spLocks noChangeArrowheads="1"/>
              </p:cNvSpPr>
              <p:nvPr/>
            </p:nvSpPr>
            <p:spPr bwMode="auto">
              <a:xfrm rot="13156290">
                <a:off x="4494251" y="393806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1" name="Oval 595">
                <a:extLst>
                  <a:ext uri="{FF2B5EF4-FFF2-40B4-BE49-F238E27FC236}">
                    <a16:creationId xmlns:a16="http://schemas.microsoft.com/office/drawing/2014/main" id="{61A9045C-F1BB-6E78-6428-9C74FB7D2A82}"/>
                  </a:ext>
                </a:extLst>
              </p:cNvPr>
              <p:cNvSpPr>
                <a:spLocks noChangeArrowheads="1"/>
              </p:cNvSpPr>
              <p:nvPr/>
            </p:nvSpPr>
            <p:spPr bwMode="auto">
              <a:xfrm rot="13156290">
                <a:off x="4374800" y="402112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2" name="Oval 596">
                <a:extLst>
                  <a:ext uri="{FF2B5EF4-FFF2-40B4-BE49-F238E27FC236}">
                    <a16:creationId xmlns:a16="http://schemas.microsoft.com/office/drawing/2014/main" id="{74134EB9-C02D-96BF-26B4-63D6055C8A4A}"/>
                  </a:ext>
                </a:extLst>
              </p:cNvPr>
              <p:cNvSpPr>
                <a:spLocks noChangeArrowheads="1"/>
              </p:cNvSpPr>
              <p:nvPr/>
            </p:nvSpPr>
            <p:spPr bwMode="auto">
              <a:xfrm rot="13156290">
                <a:off x="4419651" y="391286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3" name="Oval 597">
                <a:extLst>
                  <a:ext uri="{FF2B5EF4-FFF2-40B4-BE49-F238E27FC236}">
                    <a16:creationId xmlns:a16="http://schemas.microsoft.com/office/drawing/2014/main" id="{1740703D-51DC-1696-FF99-16DEF87CA4C0}"/>
                  </a:ext>
                </a:extLst>
              </p:cNvPr>
              <p:cNvSpPr>
                <a:spLocks noChangeArrowheads="1"/>
              </p:cNvSpPr>
              <p:nvPr/>
            </p:nvSpPr>
            <p:spPr bwMode="auto">
              <a:xfrm rot="13156290">
                <a:off x="4481810" y="387045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4" name="Oval 598">
                <a:extLst>
                  <a:ext uri="{FF2B5EF4-FFF2-40B4-BE49-F238E27FC236}">
                    <a16:creationId xmlns:a16="http://schemas.microsoft.com/office/drawing/2014/main" id="{D2D6C977-B306-CF2B-34EE-6C1A69DC6C51}"/>
                  </a:ext>
                </a:extLst>
              </p:cNvPr>
              <p:cNvSpPr>
                <a:spLocks noChangeArrowheads="1"/>
              </p:cNvSpPr>
              <p:nvPr/>
            </p:nvSpPr>
            <p:spPr bwMode="auto">
              <a:xfrm rot="13156290">
                <a:off x="4581664" y="387101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5" name="Oval 599">
                <a:extLst>
                  <a:ext uri="{FF2B5EF4-FFF2-40B4-BE49-F238E27FC236}">
                    <a16:creationId xmlns:a16="http://schemas.microsoft.com/office/drawing/2014/main" id="{79675A09-7C49-1A37-0C37-14A75F252452}"/>
                  </a:ext>
                </a:extLst>
              </p:cNvPr>
              <p:cNvSpPr>
                <a:spLocks noChangeArrowheads="1"/>
              </p:cNvSpPr>
              <p:nvPr/>
            </p:nvSpPr>
            <p:spPr bwMode="auto">
              <a:xfrm rot="13156290">
                <a:off x="4151379" y="415085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6" name="Oval 600">
                <a:extLst>
                  <a:ext uri="{FF2B5EF4-FFF2-40B4-BE49-F238E27FC236}">
                    <a16:creationId xmlns:a16="http://schemas.microsoft.com/office/drawing/2014/main" id="{C762B836-CC2C-F41D-42D6-525CD0F185DB}"/>
                  </a:ext>
                </a:extLst>
              </p:cNvPr>
              <p:cNvSpPr>
                <a:spLocks noChangeArrowheads="1"/>
              </p:cNvSpPr>
              <p:nvPr/>
            </p:nvSpPr>
            <p:spPr bwMode="auto">
              <a:xfrm rot="13156290">
                <a:off x="4235840" y="409022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7" name="Oval 601">
                <a:extLst>
                  <a:ext uri="{FF2B5EF4-FFF2-40B4-BE49-F238E27FC236}">
                    <a16:creationId xmlns:a16="http://schemas.microsoft.com/office/drawing/2014/main" id="{CEEA8430-B37B-8E65-1786-C765360EF76E}"/>
                  </a:ext>
                </a:extLst>
              </p:cNvPr>
              <p:cNvSpPr>
                <a:spLocks noChangeArrowheads="1"/>
              </p:cNvSpPr>
              <p:nvPr/>
            </p:nvSpPr>
            <p:spPr bwMode="auto">
              <a:xfrm rot="13156290">
                <a:off x="4165965" y="405951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8" name="Oval 602">
                <a:extLst>
                  <a:ext uri="{FF2B5EF4-FFF2-40B4-BE49-F238E27FC236}">
                    <a16:creationId xmlns:a16="http://schemas.microsoft.com/office/drawing/2014/main" id="{5D615645-B49C-7A27-55DE-68975709924C}"/>
                  </a:ext>
                </a:extLst>
              </p:cNvPr>
              <p:cNvSpPr>
                <a:spLocks noChangeArrowheads="1"/>
              </p:cNvSpPr>
              <p:nvPr/>
            </p:nvSpPr>
            <p:spPr bwMode="auto">
              <a:xfrm rot="13156290">
                <a:off x="4266698" y="402325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299" name="Oval 603">
                <a:extLst>
                  <a:ext uri="{FF2B5EF4-FFF2-40B4-BE49-F238E27FC236}">
                    <a16:creationId xmlns:a16="http://schemas.microsoft.com/office/drawing/2014/main" id="{0F0E65F1-C311-7558-41AC-DF7AF1C5B26A}"/>
                  </a:ext>
                </a:extLst>
              </p:cNvPr>
              <p:cNvSpPr>
                <a:spLocks noChangeArrowheads="1"/>
              </p:cNvSpPr>
              <p:nvPr/>
            </p:nvSpPr>
            <p:spPr bwMode="auto">
              <a:xfrm rot="13156290">
                <a:off x="4388367" y="396860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0" name="Oval 604">
                <a:extLst>
                  <a:ext uri="{FF2B5EF4-FFF2-40B4-BE49-F238E27FC236}">
                    <a16:creationId xmlns:a16="http://schemas.microsoft.com/office/drawing/2014/main" id="{96A06407-1202-9731-9B6C-BEE21EF36C7B}"/>
                  </a:ext>
                </a:extLst>
              </p:cNvPr>
              <p:cNvSpPr>
                <a:spLocks noChangeArrowheads="1"/>
              </p:cNvSpPr>
              <p:nvPr/>
            </p:nvSpPr>
            <p:spPr bwMode="auto">
              <a:xfrm rot="13156290">
                <a:off x="4211648" y="403301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1" name="Oval 605">
                <a:extLst>
                  <a:ext uri="{FF2B5EF4-FFF2-40B4-BE49-F238E27FC236}">
                    <a16:creationId xmlns:a16="http://schemas.microsoft.com/office/drawing/2014/main" id="{163280BB-0E1E-D151-10B9-7B77AB3C1D69}"/>
                  </a:ext>
                </a:extLst>
              </p:cNvPr>
              <p:cNvSpPr>
                <a:spLocks noChangeArrowheads="1"/>
              </p:cNvSpPr>
              <p:nvPr/>
            </p:nvSpPr>
            <p:spPr bwMode="auto">
              <a:xfrm rot="13156290">
                <a:off x="4297737" y="3981042"/>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2" name="Oval 606">
                <a:extLst>
                  <a:ext uri="{FF2B5EF4-FFF2-40B4-BE49-F238E27FC236}">
                    <a16:creationId xmlns:a16="http://schemas.microsoft.com/office/drawing/2014/main" id="{2ED2B13A-F8BF-2E7C-9139-95CDBD06B635}"/>
                  </a:ext>
                </a:extLst>
              </p:cNvPr>
              <p:cNvSpPr>
                <a:spLocks noChangeArrowheads="1"/>
              </p:cNvSpPr>
              <p:nvPr/>
            </p:nvSpPr>
            <p:spPr bwMode="auto">
              <a:xfrm rot="13156290">
                <a:off x="4512648" y="3792974"/>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3" name="Oval 607">
                <a:extLst>
                  <a:ext uri="{FF2B5EF4-FFF2-40B4-BE49-F238E27FC236}">
                    <a16:creationId xmlns:a16="http://schemas.microsoft.com/office/drawing/2014/main" id="{AA790F66-DC71-5425-0BC6-8510F8674FB5}"/>
                  </a:ext>
                </a:extLst>
              </p:cNvPr>
              <p:cNvSpPr>
                <a:spLocks noChangeArrowheads="1"/>
              </p:cNvSpPr>
              <p:nvPr/>
            </p:nvSpPr>
            <p:spPr bwMode="auto">
              <a:xfrm rot="13156290">
                <a:off x="4360205" y="388683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4" name="Oval 608">
                <a:extLst>
                  <a:ext uri="{FF2B5EF4-FFF2-40B4-BE49-F238E27FC236}">
                    <a16:creationId xmlns:a16="http://schemas.microsoft.com/office/drawing/2014/main" id="{9A660864-1A0B-54F4-B5ED-CE731648E0E5}"/>
                  </a:ext>
                </a:extLst>
              </p:cNvPr>
              <p:cNvSpPr>
                <a:spLocks noChangeArrowheads="1"/>
              </p:cNvSpPr>
              <p:nvPr/>
            </p:nvSpPr>
            <p:spPr bwMode="auto">
              <a:xfrm rot="13156290">
                <a:off x="4056594" y="4040816"/>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5" name="Oval 609">
                <a:extLst>
                  <a:ext uri="{FF2B5EF4-FFF2-40B4-BE49-F238E27FC236}">
                    <a16:creationId xmlns:a16="http://schemas.microsoft.com/office/drawing/2014/main" id="{EF87E084-F79E-89A0-960D-7CE2968F145C}"/>
                  </a:ext>
                </a:extLst>
              </p:cNvPr>
              <p:cNvSpPr>
                <a:spLocks noChangeArrowheads="1"/>
              </p:cNvSpPr>
              <p:nvPr/>
            </p:nvSpPr>
            <p:spPr bwMode="auto">
              <a:xfrm rot="13156290">
                <a:off x="4272018" y="3903645"/>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6" name="Oval 610">
                <a:extLst>
                  <a:ext uri="{FF2B5EF4-FFF2-40B4-BE49-F238E27FC236}">
                    <a16:creationId xmlns:a16="http://schemas.microsoft.com/office/drawing/2014/main" id="{7B79BCF4-B193-BAD1-F80C-1B64981E8744}"/>
                  </a:ext>
                </a:extLst>
              </p:cNvPr>
              <p:cNvSpPr>
                <a:spLocks noChangeArrowheads="1"/>
              </p:cNvSpPr>
              <p:nvPr/>
            </p:nvSpPr>
            <p:spPr bwMode="auto">
              <a:xfrm rot="13156290">
                <a:off x="4066844" y="3933523"/>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7" name="Oval 611">
                <a:extLst>
                  <a:ext uri="{FF2B5EF4-FFF2-40B4-BE49-F238E27FC236}">
                    <a16:creationId xmlns:a16="http://schemas.microsoft.com/office/drawing/2014/main" id="{A37EB968-FE38-D7C6-5AE5-6C5F170FF945}"/>
                  </a:ext>
                </a:extLst>
              </p:cNvPr>
              <p:cNvSpPr>
                <a:spLocks noChangeArrowheads="1"/>
              </p:cNvSpPr>
              <p:nvPr/>
            </p:nvSpPr>
            <p:spPr bwMode="auto">
              <a:xfrm rot="13156290">
                <a:off x="4143061" y="3896411"/>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8" name="Oval 612">
                <a:extLst>
                  <a:ext uri="{FF2B5EF4-FFF2-40B4-BE49-F238E27FC236}">
                    <a16:creationId xmlns:a16="http://schemas.microsoft.com/office/drawing/2014/main" id="{EF3CD233-23B7-B730-8F51-A026A7590384}"/>
                  </a:ext>
                </a:extLst>
              </p:cNvPr>
              <p:cNvSpPr>
                <a:spLocks noChangeArrowheads="1"/>
              </p:cNvSpPr>
              <p:nvPr/>
            </p:nvSpPr>
            <p:spPr bwMode="auto">
              <a:xfrm rot="13156290">
                <a:off x="3864972" y="3772440"/>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09" name="Oval 613">
                <a:extLst>
                  <a:ext uri="{FF2B5EF4-FFF2-40B4-BE49-F238E27FC236}">
                    <a16:creationId xmlns:a16="http://schemas.microsoft.com/office/drawing/2014/main" id="{409C6761-C75A-0198-DE42-408C0FDB3BE8}"/>
                  </a:ext>
                </a:extLst>
              </p:cNvPr>
              <p:cNvSpPr>
                <a:spLocks noChangeArrowheads="1"/>
              </p:cNvSpPr>
              <p:nvPr/>
            </p:nvSpPr>
            <p:spPr bwMode="auto">
              <a:xfrm rot="13156290">
                <a:off x="4203469" y="3857849"/>
                <a:ext cx="285389" cy="785477"/>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0" name="Oval 614">
                <a:extLst>
                  <a:ext uri="{FF2B5EF4-FFF2-40B4-BE49-F238E27FC236}">
                    <a16:creationId xmlns:a16="http://schemas.microsoft.com/office/drawing/2014/main" id="{239012EA-49B9-3C0F-A5F7-69941BB2577A}"/>
                  </a:ext>
                </a:extLst>
              </p:cNvPr>
              <p:cNvSpPr>
                <a:spLocks noChangeArrowheads="1"/>
              </p:cNvSpPr>
              <p:nvPr/>
            </p:nvSpPr>
            <p:spPr bwMode="auto">
              <a:xfrm rot="15359142">
                <a:off x="4332778" y="419607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1" name="Oval 615">
                <a:extLst>
                  <a:ext uri="{FF2B5EF4-FFF2-40B4-BE49-F238E27FC236}">
                    <a16:creationId xmlns:a16="http://schemas.microsoft.com/office/drawing/2014/main" id="{B1AD0984-4C45-DEF7-FA1B-E4BEA15A423F}"/>
                  </a:ext>
                </a:extLst>
              </p:cNvPr>
              <p:cNvSpPr>
                <a:spLocks noChangeArrowheads="1"/>
              </p:cNvSpPr>
              <p:nvPr/>
            </p:nvSpPr>
            <p:spPr bwMode="auto">
              <a:xfrm rot="15359142">
                <a:off x="4224746" y="395055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2" name="Oval 616">
                <a:extLst>
                  <a:ext uri="{FF2B5EF4-FFF2-40B4-BE49-F238E27FC236}">
                    <a16:creationId xmlns:a16="http://schemas.microsoft.com/office/drawing/2014/main" id="{CB971827-A0D2-46B3-DC3B-EF563556458F}"/>
                  </a:ext>
                </a:extLst>
              </p:cNvPr>
              <p:cNvSpPr>
                <a:spLocks noChangeArrowheads="1"/>
              </p:cNvSpPr>
              <p:nvPr/>
            </p:nvSpPr>
            <p:spPr bwMode="auto">
              <a:xfrm rot="15359142">
                <a:off x="3938223" y="3860766"/>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3" name="Oval 617">
                <a:extLst>
                  <a:ext uri="{FF2B5EF4-FFF2-40B4-BE49-F238E27FC236}">
                    <a16:creationId xmlns:a16="http://schemas.microsoft.com/office/drawing/2014/main" id="{9E87C37B-B3B5-C11E-1109-81488BB59742}"/>
                  </a:ext>
                </a:extLst>
              </p:cNvPr>
              <p:cNvSpPr>
                <a:spLocks noChangeArrowheads="1"/>
              </p:cNvSpPr>
              <p:nvPr/>
            </p:nvSpPr>
            <p:spPr bwMode="auto">
              <a:xfrm rot="4371100">
                <a:off x="4030755" y="3322474"/>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4" name="Oval 618">
                <a:extLst>
                  <a:ext uri="{FF2B5EF4-FFF2-40B4-BE49-F238E27FC236}">
                    <a16:creationId xmlns:a16="http://schemas.microsoft.com/office/drawing/2014/main" id="{3300EBFF-AF9B-5476-A3C7-515B6B94F61A}"/>
                  </a:ext>
                </a:extLst>
              </p:cNvPr>
              <p:cNvSpPr>
                <a:spLocks noChangeArrowheads="1"/>
              </p:cNvSpPr>
              <p:nvPr/>
            </p:nvSpPr>
            <p:spPr bwMode="auto">
              <a:xfrm rot="4371100">
                <a:off x="3937669" y="3468635"/>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5" name="Oval 619">
                <a:extLst>
                  <a:ext uri="{FF2B5EF4-FFF2-40B4-BE49-F238E27FC236}">
                    <a16:creationId xmlns:a16="http://schemas.microsoft.com/office/drawing/2014/main" id="{E27E3CB3-2652-7D45-C059-C063F193A7CC}"/>
                  </a:ext>
                </a:extLst>
              </p:cNvPr>
              <p:cNvSpPr>
                <a:spLocks noChangeArrowheads="1"/>
              </p:cNvSpPr>
              <p:nvPr/>
            </p:nvSpPr>
            <p:spPr bwMode="auto">
              <a:xfrm rot="4371100">
                <a:off x="4025586" y="3524631"/>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6" name="Oval 620">
                <a:extLst>
                  <a:ext uri="{FF2B5EF4-FFF2-40B4-BE49-F238E27FC236}">
                    <a16:creationId xmlns:a16="http://schemas.microsoft.com/office/drawing/2014/main" id="{5CBBDA1F-D93D-B220-E4C4-4C03837935C6}"/>
                  </a:ext>
                </a:extLst>
              </p:cNvPr>
              <p:cNvSpPr>
                <a:spLocks noChangeArrowheads="1"/>
              </p:cNvSpPr>
              <p:nvPr/>
            </p:nvSpPr>
            <p:spPr bwMode="auto">
              <a:xfrm rot="4371100">
                <a:off x="4003097" y="3651935"/>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7" name="Oval 621">
                <a:extLst>
                  <a:ext uri="{FF2B5EF4-FFF2-40B4-BE49-F238E27FC236}">
                    <a16:creationId xmlns:a16="http://schemas.microsoft.com/office/drawing/2014/main" id="{70ABC45E-6E77-70F2-5973-E8F2540ADC3B}"/>
                  </a:ext>
                </a:extLst>
              </p:cNvPr>
              <p:cNvSpPr>
                <a:spLocks noChangeArrowheads="1"/>
              </p:cNvSpPr>
              <p:nvPr/>
            </p:nvSpPr>
            <p:spPr bwMode="auto">
              <a:xfrm rot="4371100">
                <a:off x="3895914" y="356847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8" name="Oval 622">
                <a:extLst>
                  <a:ext uri="{FF2B5EF4-FFF2-40B4-BE49-F238E27FC236}">
                    <a16:creationId xmlns:a16="http://schemas.microsoft.com/office/drawing/2014/main" id="{642B4ABC-4177-ED63-8DC9-A7BE6ACB5047}"/>
                  </a:ext>
                </a:extLst>
              </p:cNvPr>
              <p:cNvSpPr>
                <a:spLocks noChangeArrowheads="1"/>
              </p:cNvSpPr>
              <p:nvPr/>
            </p:nvSpPr>
            <p:spPr bwMode="auto">
              <a:xfrm rot="4371100">
                <a:off x="4053259" y="3633442"/>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19" name="Oval 623">
                <a:extLst>
                  <a:ext uri="{FF2B5EF4-FFF2-40B4-BE49-F238E27FC236}">
                    <a16:creationId xmlns:a16="http://schemas.microsoft.com/office/drawing/2014/main" id="{1DBF72E9-376C-D783-4C1B-7095A433F8BA}"/>
                  </a:ext>
                </a:extLst>
              </p:cNvPr>
              <p:cNvSpPr>
                <a:spLocks noChangeArrowheads="1"/>
              </p:cNvSpPr>
              <p:nvPr/>
            </p:nvSpPr>
            <p:spPr bwMode="auto">
              <a:xfrm rot="4371100">
                <a:off x="3948964" y="3645880"/>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0" name="Oval 624">
                <a:extLst>
                  <a:ext uri="{FF2B5EF4-FFF2-40B4-BE49-F238E27FC236}">
                    <a16:creationId xmlns:a16="http://schemas.microsoft.com/office/drawing/2014/main" id="{32CFC8A6-9A8D-B0B5-425C-5F8049F6E702}"/>
                  </a:ext>
                </a:extLst>
              </p:cNvPr>
              <p:cNvSpPr>
                <a:spLocks noChangeArrowheads="1"/>
              </p:cNvSpPr>
              <p:nvPr/>
            </p:nvSpPr>
            <p:spPr bwMode="auto">
              <a:xfrm rot="4371100">
                <a:off x="3984049" y="3740028"/>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1" name="Oval 625">
                <a:extLst>
                  <a:ext uri="{FF2B5EF4-FFF2-40B4-BE49-F238E27FC236}">
                    <a16:creationId xmlns:a16="http://schemas.microsoft.com/office/drawing/2014/main" id="{124B2D4A-996C-7C55-69B5-7108959AF42D}"/>
                  </a:ext>
                </a:extLst>
              </p:cNvPr>
              <p:cNvSpPr>
                <a:spLocks noChangeArrowheads="1"/>
              </p:cNvSpPr>
              <p:nvPr/>
            </p:nvSpPr>
            <p:spPr bwMode="auto">
              <a:xfrm rot="4371100">
                <a:off x="3749823" y="4000579"/>
                <a:ext cx="277324" cy="808321"/>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2" name="Oval 626">
                <a:extLst>
                  <a:ext uri="{FF2B5EF4-FFF2-40B4-BE49-F238E27FC236}">
                    <a16:creationId xmlns:a16="http://schemas.microsoft.com/office/drawing/2014/main" id="{2ED91D8B-A894-93AB-0830-5B649EEE4C93}"/>
                  </a:ext>
                </a:extLst>
              </p:cNvPr>
              <p:cNvSpPr>
                <a:spLocks noChangeArrowheads="1"/>
              </p:cNvSpPr>
              <p:nvPr/>
            </p:nvSpPr>
            <p:spPr bwMode="auto">
              <a:xfrm rot="4371100">
                <a:off x="4085267" y="3816315"/>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sp>
            <p:nvSpPr>
              <p:cNvPr id="323" name="Oval 627">
                <a:extLst>
                  <a:ext uri="{FF2B5EF4-FFF2-40B4-BE49-F238E27FC236}">
                    <a16:creationId xmlns:a16="http://schemas.microsoft.com/office/drawing/2014/main" id="{DDAA2486-42F7-64C3-26DB-29635E9519B8}"/>
                  </a:ext>
                </a:extLst>
              </p:cNvPr>
              <p:cNvSpPr>
                <a:spLocks noChangeArrowheads="1"/>
              </p:cNvSpPr>
              <p:nvPr/>
            </p:nvSpPr>
            <p:spPr bwMode="auto">
              <a:xfrm rot="4371100">
                <a:off x="4128097" y="3784713"/>
                <a:ext cx="277324" cy="808320"/>
              </a:xfrm>
              <a:prstGeom prst="ellipse">
                <a:avLst/>
              </a:prstGeom>
              <a:gradFill rotWithShape="1">
                <a:gsLst>
                  <a:gs pos="0">
                    <a:srgbClr val="E0CFBE"/>
                  </a:gs>
                  <a:gs pos="100000">
                    <a:srgbClr val="686058"/>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pic>
          <p:nvPicPr>
            <p:cNvPr id="324" name="Picture 1019" descr="E:\AINstills_PSDs_PNGs\PNG_cropped_highres\BCell.png">
              <a:extLst>
                <a:ext uri="{FF2B5EF4-FFF2-40B4-BE49-F238E27FC236}">
                  <a16:creationId xmlns:a16="http://schemas.microsoft.com/office/drawing/2014/main" id="{0FF43114-7274-9EFD-B79A-B2C15C1898AD}"/>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rot="16572503">
              <a:off x="7038783" y="3592550"/>
              <a:ext cx="572658" cy="60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5" name="Picture 1020" descr="E:\AINstills_PSDs_PNGs\PNG_cropped_highres\BCell.png">
              <a:extLst>
                <a:ext uri="{FF2B5EF4-FFF2-40B4-BE49-F238E27FC236}">
                  <a16:creationId xmlns:a16="http://schemas.microsoft.com/office/drawing/2014/main" id="{38646EDB-A83A-28AB-4DE0-342547364A3C}"/>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rot="16572503">
              <a:off x="8844783" y="3982382"/>
              <a:ext cx="526226" cy="555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6" name="TextBox 1021">
              <a:extLst>
                <a:ext uri="{FF2B5EF4-FFF2-40B4-BE49-F238E27FC236}">
                  <a16:creationId xmlns:a16="http://schemas.microsoft.com/office/drawing/2014/main" id="{0B9E1ED8-71B0-6EE3-C77C-B3025AF306F9}"/>
                </a:ext>
              </a:extLst>
            </p:cNvPr>
            <p:cNvSpPr txBox="1">
              <a:spLocks noChangeArrowheads="1"/>
            </p:cNvSpPr>
            <p:nvPr/>
          </p:nvSpPr>
          <p:spPr bwMode="auto">
            <a:xfrm>
              <a:off x="8961068" y="4419609"/>
              <a:ext cx="822545"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Linfócito</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27" name="TextBox 277">
              <a:extLst>
                <a:ext uri="{FF2B5EF4-FFF2-40B4-BE49-F238E27FC236}">
                  <a16:creationId xmlns:a16="http://schemas.microsoft.com/office/drawing/2014/main" id="{EA9416FF-14F8-6197-FEC0-F2E1EA627C15}"/>
                </a:ext>
              </a:extLst>
            </p:cNvPr>
            <p:cNvSpPr txBox="1">
              <a:spLocks noChangeArrowheads="1"/>
            </p:cNvSpPr>
            <p:nvPr/>
          </p:nvSpPr>
          <p:spPr bwMode="auto">
            <a:xfrm>
              <a:off x="4937748" y="5890920"/>
              <a:ext cx="884366"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Patógeno</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43" name="TextBox 1043">
              <a:extLst>
                <a:ext uri="{FF2B5EF4-FFF2-40B4-BE49-F238E27FC236}">
                  <a16:creationId xmlns:a16="http://schemas.microsoft.com/office/drawing/2014/main" id="{693DF3C1-5D24-229A-FB6D-1B0E3CE4202B}"/>
                </a:ext>
              </a:extLst>
            </p:cNvPr>
            <p:cNvSpPr txBox="1">
              <a:spLocks noChangeArrowheads="1"/>
            </p:cNvSpPr>
            <p:nvPr/>
          </p:nvSpPr>
          <p:spPr bwMode="auto">
            <a:xfrm>
              <a:off x="1483471" y="1093673"/>
              <a:ext cx="1937965" cy="36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Vasos</a:t>
              </a:r>
              <a:r>
                <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rPr>
                <a:t> </a:t>
              </a: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sanguíneos</a:t>
              </a: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p:txBody>
        </p:sp>
        <p:sp>
          <p:nvSpPr>
            <p:cNvPr id="344" name="TextBox 1044">
              <a:extLst>
                <a:ext uri="{FF2B5EF4-FFF2-40B4-BE49-F238E27FC236}">
                  <a16:creationId xmlns:a16="http://schemas.microsoft.com/office/drawing/2014/main" id="{596C54D9-01DD-78A1-5AD0-4D08A3FDA5E9}"/>
                </a:ext>
              </a:extLst>
            </p:cNvPr>
            <p:cNvSpPr txBox="1">
              <a:spLocks noChangeArrowheads="1"/>
            </p:cNvSpPr>
            <p:nvPr/>
          </p:nvSpPr>
          <p:spPr bwMode="auto">
            <a:xfrm>
              <a:off x="764786" y="3207827"/>
              <a:ext cx="253701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Tecido</a:t>
              </a:r>
              <a:r>
                <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rPr>
                <a:t> </a:t>
              </a:r>
              <a:r>
                <a:rPr kumimoji="0" lang="en-US" altLang="en-US" sz="1800" b="1" i="0" u="none" strike="noStrike" kern="1200" cap="none" spc="0" normalizeH="0" baseline="0" noProof="0" dirty="0" err="1">
                  <a:ln>
                    <a:noFill/>
                  </a:ln>
                  <a:solidFill>
                    <a:prstClr val="black"/>
                  </a:solidFill>
                  <a:effectLst/>
                  <a:uLnTx/>
                  <a:uFillTx/>
                  <a:latin typeface="+mj-lt"/>
                  <a:ea typeface="+mn-ea"/>
                  <a:cs typeface="Arial" pitchFamily="34" charset="0"/>
                </a:rPr>
                <a:t>inflamado</a:t>
              </a: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1800" b="1" i="0" u="none" strike="noStrike" kern="1200" cap="none" spc="0" normalizeH="0" baseline="0" noProof="0" dirty="0">
                <a:ln>
                  <a:noFill/>
                </a:ln>
                <a:solidFill>
                  <a:prstClr val="black"/>
                </a:solidFill>
                <a:effectLst/>
                <a:uLnTx/>
                <a:uFillTx/>
                <a:latin typeface="+mj-lt"/>
                <a:ea typeface="+mn-ea"/>
                <a:cs typeface="Arial" pitchFamily="34" charset="0"/>
              </a:endParaRPr>
            </a:p>
          </p:txBody>
        </p:sp>
        <p:sp>
          <p:nvSpPr>
            <p:cNvPr id="345" name="TextBox 1045">
              <a:extLst>
                <a:ext uri="{FF2B5EF4-FFF2-40B4-BE49-F238E27FC236}">
                  <a16:creationId xmlns:a16="http://schemas.microsoft.com/office/drawing/2014/main" id="{49515596-E3B4-6591-722F-B22624BB043A}"/>
                </a:ext>
              </a:extLst>
            </p:cNvPr>
            <p:cNvSpPr txBox="1">
              <a:spLocks noChangeArrowheads="1"/>
            </p:cNvSpPr>
            <p:nvPr/>
          </p:nvSpPr>
          <p:spPr bwMode="auto">
            <a:xfrm>
              <a:off x="5135083" y="2098996"/>
              <a:ext cx="1008959"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Neutrófilos</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46" name="TextBox 329">
              <a:extLst>
                <a:ext uri="{FF2B5EF4-FFF2-40B4-BE49-F238E27FC236}">
                  <a16:creationId xmlns:a16="http://schemas.microsoft.com/office/drawing/2014/main" id="{637C55D6-D313-40F9-954D-4920F31B31BF}"/>
                </a:ext>
              </a:extLst>
            </p:cNvPr>
            <p:cNvSpPr txBox="1">
              <a:spLocks noChangeArrowheads="1"/>
            </p:cNvSpPr>
            <p:nvPr/>
          </p:nvSpPr>
          <p:spPr bwMode="auto">
            <a:xfrm>
              <a:off x="5893467" y="4550203"/>
              <a:ext cx="1613502"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srgbClr val="000000"/>
                  </a:solidFill>
                  <a:effectLst/>
                  <a:uLnTx/>
                  <a:uFillTx/>
                  <a:latin typeface="+mn-lt"/>
                  <a:ea typeface="+mn-ea"/>
                  <a:cs typeface="Arial" pitchFamily="34" charset="0"/>
                </a:rPr>
                <a:t>Mastócito</a:t>
              </a:r>
              <a:endParaRPr kumimoji="0" lang="en-US" alt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p:txBody>
        </p:sp>
        <p:pic>
          <p:nvPicPr>
            <p:cNvPr id="347" name="Picture 2" descr="\\znycfp2\ny dept\NY Bioscience\NOVARTIS\AIN457\PROGRAM (CROSS INDICATION)\Master slide deck\GHP visuals portfolio\GHP visuals portfolio\Cells\PNG files\Macrophage.png">
              <a:extLst>
                <a:ext uri="{FF2B5EF4-FFF2-40B4-BE49-F238E27FC236}">
                  <a16:creationId xmlns:a16="http://schemas.microsoft.com/office/drawing/2014/main" id="{BE3B7BAB-C13F-504E-541B-AECC552C88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3720" y="3499686"/>
              <a:ext cx="822229" cy="822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 name="Picture 2" descr="\\znycfp2\ny dept\NY Bioscience\NOVARTIS\AIN457\PROGRAM (CROSS INDICATION)\Master slide deck\GHP visuals portfolio\GHP visuals portfolio\Cells\PNG files\Macrophage.png">
              <a:extLst>
                <a:ext uri="{FF2B5EF4-FFF2-40B4-BE49-F238E27FC236}">
                  <a16:creationId xmlns:a16="http://schemas.microsoft.com/office/drawing/2014/main" id="{31E97CE3-4812-9918-730D-EDFEE22EB9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5819" y="3147579"/>
              <a:ext cx="822229" cy="8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9"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9EE81700-7628-E1EC-7BCB-CF1288A471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47293" y="1559227"/>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0"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BD1986D9-282B-F8E5-3566-979C33D220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14" y="4163272"/>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1"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C4476A05-2C01-0754-4FAF-A2AFF1A7A2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12902" y="1729477"/>
              <a:ext cx="868659" cy="69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2"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1DC6AAFA-3C30-BA9B-400B-17184BABAA5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59935" y="3915637"/>
              <a:ext cx="818358" cy="65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3" name="Picture 336" descr="\\znycfp2\ny dept\NY Bioscience\NOVARTIS\AIN457\PROGRAM (CROSS INDICATION)\Master slide deck\GHP visuals portfolio\GHP visuals portfolio\Cells\PNG files\Dendritic cell.png">
              <a:extLst>
                <a:ext uri="{FF2B5EF4-FFF2-40B4-BE49-F238E27FC236}">
                  <a16:creationId xmlns:a16="http://schemas.microsoft.com/office/drawing/2014/main" id="{B347F183-5D12-21A0-BEA7-D1767CE724C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8761017">
              <a:off x="7830056" y="4085886"/>
              <a:ext cx="1209160" cy="87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4" name="Picture 4" descr="\\znycfp2\ny dept\NY Bioscience\NOVARTIS\AIN457\PROGRAM (CROSS INDICATION)\Master slide deck\GHP visuals portfolio\GHP visuals portfolio\Cells\PNG files\Mast Cell.png">
              <a:extLst>
                <a:ext uri="{FF2B5EF4-FFF2-40B4-BE49-F238E27FC236}">
                  <a16:creationId xmlns:a16="http://schemas.microsoft.com/office/drawing/2014/main" id="{0B927377-474D-44DB-5C4B-5ECB8BDDF9C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17156" y="4043324"/>
              <a:ext cx="700345" cy="56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5" name="Picture 4" descr="\\znycfp2\ny dept\NY Bioscience\NOVARTIS\AIN457\PROGRAM (CROSS INDICATION)\Master slide deck\GHP visuals portfolio\GHP visuals portfolio\Cells\PNG files\Neutrophil.png">
              <a:extLst>
                <a:ext uri="{FF2B5EF4-FFF2-40B4-BE49-F238E27FC236}">
                  <a16:creationId xmlns:a16="http://schemas.microsoft.com/office/drawing/2014/main" id="{4FA77132-ECF8-949C-060C-5EC759D9E1A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38952" y="4314175"/>
              <a:ext cx="947981" cy="75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6" name="AutoShape 25">
              <a:extLst>
                <a:ext uri="{FF2B5EF4-FFF2-40B4-BE49-F238E27FC236}">
                  <a16:creationId xmlns:a16="http://schemas.microsoft.com/office/drawing/2014/main" id="{1ED07008-0B44-70FA-F467-23C4CE0CC60C}"/>
                </a:ext>
              </a:extLst>
            </p:cNvPr>
            <p:cNvSpPr>
              <a:spLocks noChangeAspect="1" noChangeArrowheads="1"/>
            </p:cNvSpPr>
            <p:nvPr/>
          </p:nvSpPr>
          <p:spPr bwMode="auto">
            <a:xfrm rot="10638973">
              <a:off x="5258901" y="4619851"/>
              <a:ext cx="73517" cy="195401"/>
            </a:xfrm>
            <a:prstGeom prst="roundRect">
              <a:avLst>
                <a:gd name="adj" fmla="val 16667"/>
              </a:avLst>
            </a:prstGeom>
            <a:gradFill rotWithShape="1">
              <a:gsLst>
                <a:gs pos="0">
                  <a:srgbClr val="475E00"/>
                </a:gs>
                <a:gs pos="50000">
                  <a:srgbClr val="99CC00"/>
                </a:gs>
                <a:gs pos="100000">
                  <a:srgbClr val="475E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mn-lt"/>
                <a:ea typeface="+mn-ea"/>
                <a:cs typeface="Arial" pitchFamily="34" charset="0"/>
              </a:endParaRPr>
            </a:p>
          </p:txBody>
        </p:sp>
        <p:grpSp>
          <p:nvGrpSpPr>
            <p:cNvPr id="357" name="Group 3">
              <a:extLst>
                <a:ext uri="{FF2B5EF4-FFF2-40B4-BE49-F238E27FC236}">
                  <a16:creationId xmlns:a16="http://schemas.microsoft.com/office/drawing/2014/main" id="{25064B88-DBA2-8588-B0FC-24A50378B0F0}"/>
                </a:ext>
              </a:extLst>
            </p:cNvPr>
            <p:cNvGrpSpPr>
              <a:grpSpLocks/>
            </p:cNvGrpSpPr>
            <p:nvPr/>
          </p:nvGrpSpPr>
          <p:grpSpPr bwMode="auto">
            <a:xfrm>
              <a:off x="3571882" y="1170362"/>
              <a:ext cx="6635866" cy="793208"/>
              <a:chOff x="2499687" y="1168927"/>
              <a:chExt cx="5446482" cy="651069"/>
            </a:xfrm>
          </p:grpSpPr>
          <p:pic>
            <p:nvPicPr>
              <p:cNvPr id="358"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A39CCE99-36A6-0B61-1995-837AD1E96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417819">
                <a:off x="2499687" y="1168927"/>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9"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474F9A2-8C4D-BD26-C689-0F2B87CAFB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593436">
                <a:off x="4236831" y="1320166"/>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0" name="Picture 2" descr="\\Znycfp2\ny dept\NY Bioscience\NOVARTIS\AIN457\PROGRAM (CROSS INDICATION)\Master slide deck\Files from Audra\GHP Powerpoint visuals portfolio_22Jan13\Cells\Endothelial cell smaller.tif">
                <a:extLst>
                  <a:ext uri="{FF2B5EF4-FFF2-40B4-BE49-F238E27FC236}">
                    <a16:creationId xmlns:a16="http://schemas.microsoft.com/office/drawing/2014/main" id="{6C39CE47-E775-B4DC-1055-A81445EA6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371852">
                <a:off x="5940864" y="1265739"/>
                <a:ext cx="2005305" cy="499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1" name="TextBox 631">
              <a:extLst>
                <a:ext uri="{FF2B5EF4-FFF2-40B4-BE49-F238E27FC236}">
                  <a16:creationId xmlns:a16="http://schemas.microsoft.com/office/drawing/2014/main" id="{6E33D1C8-5FA7-79E7-6959-F2763A6FCBE8}"/>
                </a:ext>
              </a:extLst>
            </p:cNvPr>
            <p:cNvSpPr txBox="1">
              <a:spLocks noChangeArrowheads="1"/>
            </p:cNvSpPr>
            <p:nvPr/>
          </p:nvSpPr>
          <p:spPr bwMode="auto">
            <a:xfrm>
              <a:off x="4016852" y="2795472"/>
              <a:ext cx="1540324"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Células</a:t>
              </a:r>
              <a:r>
                <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endoteliais</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62" name="TextBox 632">
              <a:extLst>
                <a:ext uri="{FF2B5EF4-FFF2-40B4-BE49-F238E27FC236}">
                  <a16:creationId xmlns:a16="http://schemas.microsoft.com/office/drawing/2014/main" id="{957A497E-8DBC-406A-C9B2-3D8F1FE7EE9F}"/>
                </a:ext>
              </a:extLst>
            </p:cNvPr>
            <p:cNvSpPr txBox="1">
              <a:spLocks noChangeArrowheads="1"/>
            </p:cNvSpPr>
            <p:nvPr/>
          </p:nvSpPr>
          <p:spPr bwMode="auto">
            <a:xfrm>
              <a:off x="10411712" y="2758442"/>
              <a:ext cx="131363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100" b="0" i="0" u="none" strike="noStrike" kern="1200" cap="none" spc="0" normalizeH="0" baseline="0" noProof="0" dirty="0" err="1">
                  <a:ln>
                    <a:noFill/>
                  </a:ln>
                  <a:solidFill>
                    <a:prstClr val="black"/>
                  </a:solidFill>
                  <a:effectLst/>
                  <a:uLnTx/>
                  <a:uFillTx/>
                  <a:latin typeface="+mn-lt"/>
                  <a:ea typeface="+mn-ea"/>
                  <a:cs typeface="Arial" pitchFamily="34" charset="0"/>
                </a:rPr>
                <a:t>Aumento</a:t>
              </a:r>
              <a:r>
                <a:rPr kumimoji="0" lang="en-US" altLang="en-US" sz="1100" b="0" i="0" u="none" strike="noStrike" kern="1200" cap="none" spc="0" normalizeH="0" baseline="0" noProof="0" dirty="0">
                  <a:ln>
                    <a:noFill/>
                  </a:ln>
                  <a:solidFill>
                    <a:prstClr val="black"/>
                  </a:solidFill>
                  <a:effectLst/>
                  <a:uLnTx/>
                  <a:uFillTx/>
                  <a:latin typeface="+mn-lt"/>
                  <a:ea typeface="+mn-ea"/>
                  <a:cs typeface="Arial" pitchFamily="34" charset="0"/>
                </a:rPr>
                <a:t> da </a:t>
              </a:r>
              <a:r>
                <a:rPr kumimoji="0" lang="en-US" altLang="en-US" sz="1100" b="0" i="0" u="none" strike="noStrike" kern="1200" cap="none" spc="0" normalizeH="0" baseline="0" noProof="0" dirty="0" err="1">
                  <a:ln>
                    <a:noFill/>
                  </a:ln>
                  <a:solidFill>
                    <a:prstClr val="black"/>
                  </a:solidFill>
                  <a:effectLst/>
                  <a:uLnTx/>
                  <a:uFillTx/>
                  <a:latin typeface="+mn-lt"/>
                  <a:ea typeface="+mn-ea"/>
                  <a:cs typeface="Arial" pitchFamily="34" charset="0"/>
                </a:rPr>
                <a:t>permeabilidade</a:t>
              </a:r>
              <a:r>
                <a:rPr kumimoji="0" lang="en-US" altLang="en-US" sz="1100" b="0" i="0" u="none" strike="noStrike" kern="1200" cap="none" spc="0" normalizeH="0" baseline="0" noProof="0" dirty="0">
                  <a:ln>
                    <a:noFill/>
                  </a:ln>
                  <a:solidFill>
                    <a:prstClr val="black"/>
                  </a:solidFill>
                  <a:effectLst/>
                  <a:uLnTx/>
                  <a:uFillTx/>
                  <a:latin typeface="+mn-lt"/>
                  <a:ea typeface="+mn-ea"/>
                  <a:cs typeface="Arial" pitchFamily="34" charset="0"/>
                </a:rPr>
                <a:t> vascular</a:t>
              </a:r>
            </a:p>
          </p:txBody>
        </p:sp>
        <p:sp>
          <p:nvSpPr>
            <p:cNvPr id="363" name="TextBox 633">
              <a:extLst>
                <a:ext uri="{FF2B5EF4-FFF2-40B4-BE49-F238E27FC236}">
                  <a16:creationId xmlns:a16="http://schemas.microsoft.com/office/drawing/2014/main" id="{55CFFFF3-FA31-B26A-49CF-C2B2A4E0CC32}"/>
                </a:ext>
              </a:extLst>
            </p:cNvPr>
            <p:cNvSpPr txBox="1">
              <a:spLocks noChangeArrowheads="1"/>
            </p:cNvSpPr>
            <p:nvPr/>
          </p:nvSpPr>
          <p:spPr bwMode="auto">
            <a:xfrm>
              <a:off x="6158514" y="2571052"/>
              <a:ext cx="1114361"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Hemácias</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364" name="TextBox 1022">
              <a:extLst>
                <a:ext uri="{FF2B5EF4-FFF2-40B4-BE49-F238E27FC236}">
                  <a16:creationId xmlns:a16="http://schemas.microsoft.com/office/drawing/2014/main" id="{F9F85499-D023-8E0E-68AA-855FD9D0513F}"/>
                </a:ext>
              </a:extLst>
            </p:cNvPr>
            <p:cNvSpPr txBox="1">
              <a:spLocks noChangeArrowheads="1"/>
            </p:cNvSpPr>
            <p:nvPr/>
          </p:nvSpPr>
          <p:spPr bwMode="auto">
            <a:xfrm>
              <a:off x="8035162" y="4858414"/>
              <a:ext cx="1407245" cy="31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Célula</a:t>
              </a:r>
              <a:r>
                <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prstClr val="black"/>
                  </a:solidFill>
                  <a:effectLst/>
                  <a:uLnTx/>
                  <a:uFillTx/>
                  <a:latin typeface="+mn-lt"/>
                  <a:ea typeface="+mn-ea"/>
                  <a:cs typeface="Arial" pitchFamily="34" charset="0"/>
                </a:rPr>
                <a:t>dendrítica</a:t>
              </a:r>
              <a:endParaRPr kumimoji="0" lang="en-US" altLang="en-US" sz="1200" b="0" i="0" u="none" strike="noStrike" kern="1200" cap="none" spc="0" normalizeH="0" baseline="0" noProof="0" dirty="0">
                <a:ln>
                  <a:noFill/>
                </a:ln>
                <a:solidFill>
                  <a:prstClr val="black"/>
                </a:solidFill>
                <a:effectLst/>
                <a:uLnTx/>
                <a:uFillTx/>
                <a:latin typeface="+mn-lt"/>
                <a:ea typeface="+mn-ea"/>
                <a:cs typeface="Arial" pitchFamily="34" charset="0"/>
              </a:endParaRPr>
            </a:p>
          </p:txBody>
        </p:sp>
        <p:pic>
          <p:nvPicPr>
            <p:cNvPr id="365" name="Imagem 364" descr="Uma imagem contendo escuro, computador, mesa, maçã&#10;&#10;Descrição gerada automaticamente">
              <a:extLst>
                <a:ext uri="{FF2B5EF4-FFF2-40B4-BE49-F238E27FC236}">
                  <a16:creationId xmlns:a16="http://schemas.microsoft.com/office/drawing/2014/main" id="{D6427C90-09EF-DB83-0458-B1F17BB9C83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52958" y="1984651"/>
              <a:ext cx="652364" cy="519717"/>
            </a:xfrm>
            <a:prstGeom prst="rect">
              <a:avLst/>
            </a:prstGeom>
          </p:spPr>
        </p:pic>
        <p:pic>
          <p:nvPicPr>
            <p:cNvPr id="366" name="Imagem 365" descr="Uma imagem contendo escuro, luz, comida&#10;&#10;Descrição gerada automaticamente">
              <a:extLst>
                <a:ext uri="{FF2B5EF4-FFF2-40B4-BE49-F238E27FC236}">
                  <a16:creationId xmlns:a16="http://schemas.microsoft.com/office/drawing/2014/main" id="{7D93054B-5330-580D-B02F-57C1409B65B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17206" y="2493082"/>
              <a:ext cx="652364" cy="607786"/>
            </a:xfrm>
            <a:prstGeom prst="rect">
              <a:avLst/>
            </a:prstGeom>
          </p:spPr>
        </p:pic>
        <p:pic>
          <p:nvPicPr>
            <p:cNvPr id="367" name="Imagem 366" descr="Uma imagem contendo escuro, computador, mesa, maçã&#10;&#10;Descrição gerada automaticamente">
              <a:extLst>
                <a:ext uri="{FF2B5EF4-FFF2-40B4-BE49-F238E27FC236}">
                  <a16:creationId xmlns:a16="http://schemas.microsoft.com/office/drawing/2014/main" id="{8925D95C-D89B-02F8-BFB2-FCBF9975057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9112324">
              <a:off x="4502745" y="1550968"/>
              <a:ext cx="652364" cy="519717"/>
            </a:xfrm>
            <a:prstGeom prst="rect">
              <a:avLst/>
            </a:prstGeom>
          </p:spPr>
        </p:pic>
        <p:pic>
          <p:nvPicPr>
            <p:cNvPr id="368" name="Imagem 367" descr="Uma imagem contendo escuro, luz, comida&#10;&#10;Descrição gerada automaticamente">
              <a:extLst>
                <a:ext uri="{FF2B5EF4-FFF2-40B4-BE49-F238E27FC236}">
                  <a16:creationId xmlns:a16="http://schemas.microsoft.com/office/drawing/2014/main" id="{C5FB2333-8B55-0B27-51A0-C9A62346A19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6300000">
              <a:off x="4591680" y="2068667"/>
              <a:ext cx="652364" cy="607786"/>
            </a:xfrm>
            <a:prstGeom prst="rect">
              <a:avLst/>
            </a:prstGeom>
          </p:spPr>
        </p:pic>
      </p:grpSp>
      <p:grpSp>
        <p:nvGrpSpPr>
          <p:cNvPr id="376" name="Agrupar 375">
            <a:extLst>
              <a:ext uri="{FF2B5EF4-FFF2-40B4-BE49-F238E27FC236}">
                <a16:creationId xmlns:a16="http://schemas.microsoft.com/office/drawing/2014/main" id="{4ADE8FDD-5DEE-8343-89C3-4B1F353C27C0}"/>
              </a:ext>
            </a:extLst>
          </p:cNvPr>
          <p:cNvGrpSpPr/>
          <p:nvPr/>
        </p:nvGrpSpPr>
        <p:grpSpPr>
          <a:xfrm>
            <a:off x="2033501" y="1716824"/>
            <a:ext cx="2308728" cy="563423"/>
            <a:chOff x="1592437" y="1849719"/>
            <a:chExt cx="2634243" cy="642862"/>
          </a:xfrm>
        </p:grpSpPr>
        <p:sp>
          <p:nvSpPr>
            <p:cNvPr id="370" name="Retângulo: Cantos Arredondados 369">
              <a:extLst>
                <a:ext uri="{FF2B5EF4-FFF2-40B4-BE49-F238E27FC236}">
                  <a16:creationId xmlns:a16="http://schemas.microsoft.com/office/drawing/2014/main" id="{264BC764-1A7E-64A5-4292-C1CD77E4C22F}"/>
                </a:ext>
              </a:extLst>
            </p:cNvPr>
            <p:cNvSpPr/>
            <p:nvPr/>
          </p:nvSpPr>
          <p:spPr>
            <a:xfrm>
              <a:off x="1592437" y="1849719"/>
              <a:ext cx="2634243" cy="642862"/>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334" name="TextBox 1032">
              <a:extLst>
                <a:ext uri="{FF2B5EF4-FFF2-40B4-BE49-F238E27FC236}">
                  <a16:creationId xmlns:a16="http://schemas.microsoft.com/office/drawing/2014/main" id="{2F0796D9-94B5-F9C8-8985-0A50ED8B718F}"/>
                </a:ext>
              </a:extLst>
            </p:cNvPr>
            <p:cNvSpPr txBox="1">
              <a:spLocks noChangeArrowheads="1"/>
            </p:cNvSpPr>
            <p:nvPr/>
          </p:nvSpPr>
          <p:spPr bwMode="auto">
            <a:xfrm>
              <a:off x="2113853" y="1920062"/>
              <a:ext cx="210023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Neutrófilo vai até o lugar da infecção</a:t>
              </a:r>
            </a:p>
          </p:txBody>
        </p:sp>
      </p:grpSp>
      <p:grpSp>
        <p:nvGrpSpPr>
          <p:cNvPr id="377" name="Agrupar 376">
            <a:extLst>
              <a:ext uri="{FF2B5EF4-FFF2-40B4-BE49-F238E27FC236}">
                <a16:creationId xmlns:a16="http://schemas.microsoft.com/office/drawing/2014/main" id="{618A43FF-CA17-D73F-A9D5-58DA7BF765DC}"/>
              </a:ext>
            </a:extLst>
          </p:cNvPr>
          <p:cNvGrpSpPr/>
          <p:nvPr/>
        </p:nvGrpSpPr>
        <p:grpSpPr>
          <a:xfrm>
            <a:off x="1745039" y="4161377"/>
            <a:ext cx="2926569" cy="1131564"/>
            <a:chOff x="1334322" y="4830886"/>
            <a:chExt cx="3339195" cy="1291107"/>
          </a:xfrm>
        </p:grpSpPr>
        <p:sp>
          <p:nvSpPr>
            <p:cNvPr id="371" name="Retângulo: Cantos Arredondados 370">
              <a:extLst>
                <a:ext uri="{FF2B5EF4-FFF2-40B4-BE49-F238E27FC236}">
                  <a16:creationId xmlns:a16="http://schemas.microsoft.com/office/drawing/2014/main" id="{A01DB378-5F5F-AFE2-3902-5FB240E072F8}"/>
                </a:ext>
              </a:extLst>
            </p:cNvPr>
            <p:cNvSpPr/>
            <p:nvPr/>
          </p:nvSpPr>
          <p:spPr>
            <a:xfrm>
              <a:off x="1334322" y="4830886"/>
              <a:ext cx="2857097" cy="1291107"/>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331" name="TextBox 1028">
              <a:extLst>
                <a:ext uri="{FF2B5EF4-FFF2-40B4-BE49-F238E27FC236}">
                  <a16:creationId xmlns:a16="http://schemas.microsoft.com/office/drawing/2014/main" id="{A46B6A31-34FA-E65E-26B5-22FB551E1AF0}"/>
                </a:ext>
              </a:extLst>
            </p:cNvPr>
            <p:cNvSpPr txBox="1">
              <a:spLocks noChangeArrowheads="1"/>
            </p:cNvSpPr>
            <p:nvPr/>
          </p:nvSpPr>
          <p:spPr bwMode="auto">
            <a:xfrm>
              <a:off x="1864399" y="4874996"/>
              <a:ext cx="280911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Monócitos</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e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macrófagos</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reconhecem</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o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antígeno</a:t>
              </a:r>
              <a:endPar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Células</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ativadas</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reconhecem</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citocinas</a:t>
              </a:r>
              <a:r>
                <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rPr>
                <a:t> e </a:t>
              </a:r>
              <a:r>
                <a:rPr kumimoji="0" lang="en-US"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quimiocinas</a:t>
              </a:r>
              <a:endParaRPr kumimoji="0" lang="en-US" altLang="en-US" sz="1200" b="0" i="0" u="none" strike="noStrike" kern="1200" cap="none" spc="0" normalizeH="0" baseline="0" noProof="0" dirty="0">
                <a:ln>
                  <a:noFill/>
                </a:ln>
                <a:solidFill>
                  <a:schemeClr val="bg1"/>
                </a:solidFill>
                <a:effectLst/>
                <a:uLnTx/>
                <a:uFillTx/>
                <a:latin typeface="+mn-lt"/>
                <a:ea typeface="+mn-ea"/>
                <a:cs typeface="Arial" pitchFamily="34" charset="0"/>
              </a:endParaRPr>
            </a:p>
          </p:txBody>
        </p:sp>
      </p:grpSp>
      <p:grpSp>
        <p:nvGrpSpPr>
          <p:cNvPr id="375" name="Agrupar 374">
            <a:extLst>
              <a:ext uri="{FF2B5EF4-FFF2-40B4-BE49-F238E27FC236}">
                <a16:creationId xmlns:a16="http://schemas.microsoft.com/office/drawing/2014/main" id="{0E966120-2E0B-7013-2B7B-CC572995317E}"/>
              </a:ext>
            </a:extLst>
          </p:cNvPr>
          <p:cNvGrpSpPr/>
          <p:nvPr/>
        </p:nvGrpSpPr>
        <p:grpSpPr>
          <a:xfrm>
            <a:off x="8454500" y="1706001"/>
            <a:ext cx="2948040" cy="705491"/>
            <a:chOff x="8013436" y="1838896"/>
            <a:chExt cx="3363693" cy="804960"/>
          </a:xfrm>
        </p:grpSpPr>
        <p:sp>
          <p:nvSpPr>
            <p:cNvPr id="373" name="Retângulo: Cantos Arredondados 372">
              <a:extLst>
                <a:ext uri="{FF2B5EF4-FFF2-40B4-BE49-F238E27FC236}">
                  <a16:creationId xmlns:a16="http://schemas.microsoft.com/office/drawing/2014/main" id="{97CE0255-7077-5FCF-7B46-607563D47BF8}"/>
                </a:ext>
              </a:extLst>
            </p:cNvPr>
            <p:cNvSpPr/>
            <p:nvPr/>
          </p:nvSpPr>
          <p:spPr>
            <a:xfrm>
              <a:off x="8013436" y="1838896"/>
              <a:ext cx="3363693" cy="804960"/>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342" name="TextBox 1038">
              <a:extLst>
                <a:ext uri="{FF2B5EF4-FFF2-40B4-BE49-F238E27FC236}">
                  <a16:creationId xmlns:a16="http://schemas.microsoft.com/office/drawing/2014/main" id="{45203FBE-F139-DE51-873F-A158C67F1FF7}"/>
                </a:ext>
              </a:extLst>
            </p:cNvPr>
            <p:cNvSpPr txBox="1">
              <a:spLocks noChangeArrowheads="1"/>
            </p:cNvSpPr>
            <p:nvPr/>
          </p:nvSpPr>
          <p:spPr bwMode="auto">
            <a:xfrm>
              <a:off x="8615874" y="1873087"/>
              <a:ext cx="276125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Citocinas e </a:t>
              </a:r>
              <a:r>
                <a:rPr kumimoji="0" lang="pt-BR" altLang="en-US" sz="1200" b="0" i="0" u="none" strike="noStrike" kern="1200" cap="none" spc="0" normalizeH="0" baseline="0" noProof="0" dirty="0" err="1">
                  <a:ln>
                    <a:noFill/>
                  </a:ln>
                  <a:solidFill>
                    <a:schemeClr val="bg1"/>
                  </a:solidFill>
                  <a:effectLst/>
                  <a:uLnTx/>
                  <a:uFillTx/>
                  <a:latin typeface="+mn-lt"/>
                  <a:ea typeface="+mn-ea"/>
                  <a:cs typeface="Arial" pitchFamily="34" charset="0"/>
                </a:rPr>
                <a:t>quimiocinas</a:t>
              </a: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 pró inflamatórias auxiliam o neutrófilo a entrar no tecido inflamado</a:t>
              </a:r>
            </a:p>
          </p:txBody>
        </p:sp>
      </p:grpSp>
      <p:sp>
        <p:nvSpPr>
          <p:cNvPr id="336" name="Oval 286">
            <a:extLst>
              <a:ext uri="{FF2B5EF4-FFF2-40B4-BE49-F238E27FC236}">
                <a16:creationId xmlns:a16="http://schemas.microsoft.com/office/drawing/2014/main" id="{A8F6BC0D-3B1D-8164-198A-6E56809E54D3}"/>
              </a:ext>
            </a:extLst>
          </p:cNvPr>
          <p:cNvSpPr/>
          <p:nvPr/>
        </p:nvSpPr>
        <p:spPr bwMode="auto">
          <a:xfrm>
            <a:off x="2088942" y="1784863"/>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2</a:t>
            </a:r>
          </a:p>
        </p:txBody>
      </p:sp>
      <p:sp>
        <p:nvSpPr>
          <p:cNvPr id="372" name="Oval 286">
            <a:extLst>
              <a:ext uri="{FF2B5EF4-FFF2-40B4-BE49-F238E27FC236}">
                <a16:creationId xmlns:a16="http://schemas.microsoft.com/office/drawing/2014/main" id="{AD4E6A8F-9367-51D3-C2A7-02EBA205AD96}"/>
              </a:ext>
            </a:extLst>
          </p:cNvPr>
          <p:cNvSpPr/>
          <p:nvPr/>
        </p:nvSpPr>
        <p:spPr bwMode="auto">
          <a:xfrm>
            <a:off x="1825034" y="4508046"/>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1</a:t>
            </a:r>
          </a:p>
        </p:txBody>
      </p:sp>
      <p:sp>
        <p:nvSpPr>
          <p:cNvPr id="374" name="Oval 286">
            <a:extLst>
              <a:ext uri="{FF2B5EF4-FFF2-40B4-BE49-F238E27FC236}">
                <a16:creationId xmlns:a16="http://schemas.microsoft.com/office/drawing/2014/main" id="{27411DB3-2200-77B3-71F6-023FA7662F84}"/>
              </a:ext>
            </a:extLst>
          </p:cNvPr>
          <p:cNvSpPr/>
          <p:nvPr/>
        </p:nvSpPr>
        <p:spPr bwMode="auto">
          <a:xfrm>
            <a:off x="8540059" y="1851164"/>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3</a:t>
            </a:r>
          </a:p>
        </p:txBody>
      </p:sp>
      <p:grpSp>
        <p:nvGrpSpPr>
          <p:cNvPr id="4" name="Agrupar 3">
            <a:extLst>
              <a:ext uri="{FF2B5EF4-FFF2-40B4-BE49-F238E27FC236}">
                <a16:creationId xmlns:a16="http://schemas.microsoft.com/office/drawing/2014/main" id="{C90AC78A-64BF-0A1C-14EC-88F2E7F44513}"/>
              </a:ext>
            </a:extLst>
          </p:cNvPr>
          <p:cNvGrpSpPr/>
          <p:nvPr/>
        </p:nvGrpSpPr>
        <p:grpSpPr>
          <a:xfrm>
            <a:off x="6042752" y="4469070"/>
            <a:ext cx="5457173" cy="1040461"/>
            <a:chOff x="8013435" y="1688819"/>
            <a:chExt cx="6226596" cy="1187158"/>
          </a:xfrm>
        </p:grpSpPr>
        <p:sp>
          <p:nvSpPr>
            <p:cNvPr id="5" name="Retângulo: Cantos Arredondados 4">
              <a:extLst>
                <a:ext uri="{FF2B5EF4-FFF2-40B4-BE49-F238E27FC236}">
                  <a16:creationId xmlns:a16="http://schemas.microsoft.com/office/drawing/2014/main" id="{6994EC3C-25AB-45A9-B205-3744930E4D09}"/>
                </a:ext>
              </a:extLst>
            </p:cNvPr>
            <p:cNvSpPr/>
            <p:nvPr/>
          </p:nvSpPr>
          <p:spPr>
            <a:xfrm>
              <a:off x="8013435" y="1838896"/>
              <a:ext cx="6226596" cy="1037081"/>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9" name="TextBox 1038">
              <a:extLst>
                <a:ext uri="{FF2B5EF4-FFF2-40B4-BE49-F238E27FC236}">
                  <a16:creationId xmlns:a16="http://schemas.microsoft.com/office/drawing/2014/main" id="{9DB128A4-49E2-7590-CCF7-3F006ACD412E}"/>
                </a:ext>
              </a:extLst>
            </p:cNvPr>
            <p:cNvSpPr txBox="1">
              <a:spLocks noChangeArrowheads="1"/>
            </p:cNvSpPr>
            <p:nvPr/>
          </p:nvSpPr>
          <p:spPr bwMode="auto">
            <a:xfrm>
              <a:off x="8615872" y="1688819"/>
              <a:ext cx="5513043" cy="1123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Células dendríticas ativadas migram para o linfonodo e ativam células T</a:t>
              </a:r>
            </a:p>
            <a:p>
              <a:pPr marL="0" marR="0" lvl="0" indent="0" algn="l" defTabSz="914400" rtl="0" eaLnBrk="1" fontAlgn="auto" latinLnBrk="0" hangingPunct="1">
                <a:lnSpc>
                  <a:spcPct val="100000"/>
                </a:lnSpc>
                <a:spcBef>
                  <a:spcPts val="120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Células T ativadas iniciam a resposta imune adaptativa; ativação de células T e células B</a:t>
              </a:r>
            </a:p>
          </p:txBody>
        </p:sp>
      </p:grpSp>
      <p:sp>
        <p:nvSpPr>
          <p:cNvPr id="10" name="Oval 286">
            <a:extLst>
              <a:ext uri="{FF2B5EF4-FFF2-40B4-BE49-F238E27FC236}">
                <a16:creationId xmlns:a16="http://schemas.microsoft.com/office/drawing/2014/main" id="{A417ED99-C002-A83F-98CF-29954DC6CF19}"/>
              </a:ext>
            </a:extLst>
          </p:cNvPr>
          <p:cNvSpPr/>
          <p:nvPr/>
        </p:nvSpPr>
        <p:spPr bwMode="auto">
          <a:xfrm>
            <a:off x="6127526" y="4862048"/>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4</a:t>
            </a:r>
          </a:p>
        </p:txBody>
      </p:sp>
      <p:grpSp>
        <p:nvGrpSpPr>
          <p:cNvPr id="12" name="Agrupar 11">
            <a:extLst>
              <a:ext uri="{FF2B5EF4-FFF2-40B4-BE49-F238E27FC236}">
                <a16:creationId xmlns:a16="http://schemas.microsoft.com/office/drawing/2014/main" id="{8B1CEDD1-EBE8-CFB6-1294-5CD51B88C501}"/>
              </a:ext>
            </a:extLst>
          </p:cNvPr>
          <p:cNvGrpSpPr/>
          <p:nvPr/>
        </p:nvGrpSpPr>
        <p:grpSpPr>
          <a:xfrm>
            <a:off x="2124174" y="5678799"/>
            <a:ext cx="3019674" cy="550205"/>
            <a:chOff x="8013435" y="2049479"/>
            <a:chExt cx="3445426" cy="627779"/>
          </a:xfrm>
        </p:grpSpPr>
        <p:sp>
          <p:nvSpPr>
            <p:cNvPr id="14" name="Retângulo: Cantos Arredondados 13">
              <a:extLst>
                <a:ext uri="{FF2B5EF4-FFF2-40B4-BE49-F238E27FC236}">
                  <a16:creationId xmlns:a16="http://schemas.microsoft.com/office/drawing/2014/main" id="{E66EE0A0-6A8F-BC46-356A-04F56FA2A796}"/>
                </a:ext>
              </a:extLst>
            </p:cNvPr>
            <p:cNvSpPr/>
            <p:nvPr/>
          </p:nvSpPr>
          <p:spPr>
            <a:xfrm>
              <a:off x="8013435" y="2049479"/>
              <a:ext cx="3445426" cy="627779"/>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27" name="TextBox 1038">
              <a:extLst>
                <a:ext uri="{FF2B5EF4-FFF2-40B4-BE49-F238E27FC236}">
                  <a16:creationId xmlns:a16="http://schemas.microsoft.com/office/drawing/2014/main" id="{E42D3BE7-43A0-D0DA-CC1A-74C94F13D1A2}"/>
                </a:ext>
              </a:extLst>
            </p:cNvPr>
            <p:cNvSpPr txBox="1">
              <a:spLocks noChangeArrowheads="1"/>
            </p:cNvSpPr>
            <p:nvPr/>
          </p:nvSpPr>
          <p:spPr bwMode="auto">
            <a:xfrm>
              <a:off x="8615872" y="2218114"/>
              <a:ext cx="2716357" cy="316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Patógeno é destruído ou eliminado</a:t>
              </a:r>
            </a:p>
          </p:txBody>
        </p:sp>
      </p:grpSp>
      <p:sp>
        <p:nvSpPr>
          <p:cNvPr id="48" name="Oval 286">
            <a:extLst>
              <a:ext uri="{FF2B5EF4-FFF2-40B4-BE49-F238E27FC236}">
                <a16:creationId xmlns:a16="http://schemas.microsoft.com/office/drawing/2014/main" id="{FA62F2C7-7EE2-6124-6249-FC364D199139}"/>
              </a:ext>
            </a:extLst>
          </p:cNvPr>
          <p:cNvSpPr/>
          <p:nvPr/>
        </p:nvSpPr>
        <p:spPr bwMode="auto">
          <a:xfrm>
            <a:off x="2208947" y="5755682"/>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ea typeface="+mn-ea"/>
                <a:cs typeface="+mn-cs"/>
              </a:rPr>
              <a:t>5</a:t>
            </a:r>
          </a:p>
        </p:txBody>
      </p:sp>
      <p:grpSp>
        <p:nvGrpSpPr>
          <p:cNvPr id="59" name="Agrupar 58">
            <a:extLst>
              <a:ext uri="{FF2B5EF4-FFF2-40B4-BE49-F238E27FC236}">
                <a16:creationId xmlns:a16="http://schemas.microsoft.com/office/drawing/2014/main" id="{B4859090-C038-D945-AFDC-E0ADED0238C5}"/>
              </a:ext>
            </a:extLst>
          </p:cNvPr>
          <p:cNvGrpSpPr/>
          <p:nvPr/>
        </p:nvGrpSpPr>
        <p:grpSpPr>
          <a:xfrm>
            <a:off x="6572323" y="5624681"/>
            <a:ext cx="4388108" cy="647078"/>
            <a:chOff x="6512282" y="5721075"/>
            <a:chExt cx="4388108" cy="647078"/>
          </a:xfrm>
        </p:grpSpPr>
        <p:sp>
          <p:nvSpPr>
            <p:cNvPr id="56" name="Retângulo: Cantos Arredondados 55">
              <a:extLst>
                <a:ext uri="{FF2B5EF4-FFF2-40B4-BE49-F238E27FC236}">
                  <a16:creationId xmlns:a16="http://schemas.microsoft.com/office/drawing/2014/main" id="{BE77B50A-C75E-24CC-8F02-F848807EE500}"/>
                </a:ext>
              </a:extLst>
            </p:cNvPr>
            <p:cNvSpPr/>
            <p:nvPr/>
          </p:nvSpPr>
          <p:spPr>
            <a:xfrm>
              <a:off x="6512282" y="5721075"/>
              <a:ext cx="4388108" cy="647078"/>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a:solidFill>
                  <a:srgbClr val="FFFFFF"/>
                </a:solidFill>
                <a:latin typeface="Calibri"/>
              </a:endParaRPr>
            </a:p>
          </p:txBody>
        </p:sp>
        <p:sp>
          <p:nvSpPr>
            <p:cNvPr id="57" name="TextBox 1038">
              <a:extLst>
                <a:ext uri="{FF2B5EF4-FFF2-40B4-BE49-F238E27FC236}">
                  <a16:creationId xmlns:a16="http://schemas.microsoft.com/office/drawing/2014/main" id="{070AA00F-8E95-4E91-DA5E-2A4D317D7F27}"/>
                </a:ext>
              </a:extLst>
            </p:cNvPr>
            <p:cNvSpPr txBox="1">
              <a:spLocks noChangeArrowheads="1"/>
            </p:cNvSpPr>
            <p:nvPr/>
          </p:nvSpPr>
          <p:spPr bwMode="auto">
            <a:xfrm>
              <a:off x="7040276" y="5826594"/>
              <a:ext cx="386011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ts val="400"/>
                </a:spcAft>
                <a:defRPr sz="2400">
                  <a:solidFill>
                    <a:srgbClr val="E34969"/>
                  </a:solidFill>
                  <a:latin typeface="Arial" pitchFamily="34" charset="0"/>
                  <a:cs typeface="Arial" pitchFamily="34" charset="0"/>
                </a:defRPr>
              </a:lvl1pPr>
              <a:lvl2pPr marL="742950" indent="-285750" eaLnBrk="0" hangingPunct="0">
                <a:spcBef>
                  <a:spcPts val="600"/>
                </a:spcBef>
                <a:buClr>
                  <a:srgbClr val="007988"/>
                </a:buClr>
                <a:buFont typeface="Arial" pitchFamily="34" charset="0"/>
                <a:buChar char="•"/>
                <a:defRPr>
                  <a:solidFill>
                    <a:srgbClr val="737C78"/>
                  </a:solidFill>
                  <a:latin typeface="Arial" pitchFamily="34" charset="0"/>
                  <a:cs typeface="Arial" pitchFamily="34" charset="0"/>
                </a:defRPr>
              </a:lvl2pPr>
              <a:lvl3pPr marL="11430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3pPr>
              <a:lvl4pPr marL="1600200" indent="-228600" eaLnBrk="0" hangingPunct="0">
                <a:spcBef>
                  <a:spcPts val="800"/>
                </a:spcBef>
                <a:buClr>
                  <a:srgbClr val="007988"/>
                </a:buClr>
                <a:buSzPct val="80000"/>
                <a:buFont typeface="Arial" pitchFamily="34" charset="0"/>
                <a:buChar char="–"/>
                <a:defRPr sz="1600">
                  <a:solidFill>
                    <a:srgbClr val="565D5A"/>
                  </a:solidFill>
                  <a:latin typeface="Arial" pitchFamily="34" charset="0"/>
                  <a:cs typeface="Arial" pitchFamily="34" charset="0"/>
                </a:defRPr>
              </a:lvl4pPr>
              <a:lvl5pPr marL="2057400" indent="-228600" eaLnBrk="0" hangingPunct="0">
                <a:spcBef>
                  <a:spcPts val="800"/>
                </a:spcBef>
                <a:defRPr sz="1200">
                  <a:solidFill>
                    <a:srgbClr val="565D5A"/>
                  </a:solidFill>
                  <a:latin typeface="Arial" pitchFamily="34" charset="0"/>
                  <a:cs typeface="Arial" pitchFamily="34" charset="0"/>
                </a:defRPr>
              </a:lvl5pPr>
              <a:lvl6pPr marL="25146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6pPr>
              <a:lvl7pPr marL="29718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7pPr>
              <a:lvl8pPr marL="34290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8pPr>
              <a:lvl9pPr marL="3886200" indent="-228600" defTabSz="457200" eaLnBrk="0" fontAlgn="base" hangingPunct="0">
                <a:spcBef>
                  <a:spcPts val="800"/>
                </a:spcBef>
                <a:spcAft>
                  <a:spcPct val="0"/>
                </a:spcAft>
                <a:defRPr sz="1200">
                  <a:solidFill>
                    <a:srgbClr val="565D5A"/>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pt-BR" altLang="en-US" sz="1200" b="0" i="0" u="none" strike="noStrike" kern="1200" cap="none" spc="0" normalizeH="0" baseline="0" noProof="0" dirty="0">
                  <a:ln>
                    <a:noFill/>
                  </a:ln>
                  <a:solidFill>
                    <a:schemeClr val="bg1"/>
                  </a:solidFill>
                  <a:effectLst/>
                  <a:uLnTx/>
                  <a:uFillTx/>
                  <a:latin typeface="+mn-lt"/>
                  <a:ea typeface="+mn-ea"/>
                  <a:cs typeface="Arial" pitchFamily="34" charset="0"/>
                </a:rPr>
                <a:t>Infiltração de linfócitos e produção contínua de citocinas podem levar a inflamação crônica e destruição de tecidos</a:t>
              </a:r>
            </a:p>
          </p:txBody>
        </p:sp>
      </p:grpSp>
      <p:sp>
        <p:nvSpPr>
          <p:cNvPr id="58" name="Oval 286">
            <a:extLst>
              <a:ext uri="{FF2B5EF4-FFF2-40B4-BE49-F238E27FC236}">
                <a16:creationId xmlns:a16="http://schemas.microsoft.com/office/drawing/2014/main" id="{5CF1E88F-FC86-23ED-C02F-6B388CFCFB74}"/>
              </a:ext>
            </a:extLst>
          </p:cNvPr>
          <p:cNvSpPr/>
          <p:nvPr/>
        </p:nvSpPr>
        <p:spPr bwMode="auto">
          <a:xfrm>
            <a:off x="6657096" y="5759472"/>
            <a:ext cx="400158" cy="4001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2"/>
                </a:solidFill>
                <a:effectLst/>
                <a:uLnTx/>
                <a:uFillTx/>
                <a:ea typeface="+mn-ea"/>
                <a:cs typeface="+mn-cs"/>
              </a:rPr>
              <a:t>6</a:t>
            </a:r>
          </a:p>
        </p:txBody>
      </p:sp>
    </p:spTree>
    <p:extLst>
      <p:ext uri="{BB962C8B-B14F-4D97-AF65-F5344CB8AC3E}">
        <p14:creationId xmlns:p14="http://schemas.microsoft.com/office/powerpoint/2010/main" val="1785598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77"/>
                                        </p:tgtEl>
                                        <p:attrNameLst>
                                          <p:attrName>style.visibility</p:attrName>
                                        </p:attrNameLst>
                                      </p:cBhvr>
                                      <p:to>
                                        <p:strVal val="visible"/>
                                      </p:to>
                                    </p:set>
                                    <p:animEffect transition="in" filter="fade">
                                      <p:cBhvr>
                                        <p:cTn id="7" dur="500"/>
                                        <p:tgtEl>
                                          <p:spTgt spid="377"/>
                                        </p:tgtEl>
                                      </p:cBhvr>
                                    </p:animEffect>
                                  </p:childTnLst>
                                </p:cTn>
                              </p:par>
                              <p:par>
                                <p:cTn id="8" presetID="53" presetClass="entr" presetSubtype="16" fill="hold" grpId="0" nodeType="withEffect">
                                  <p:stCondLst>
                                    <p:cond delay="750"/>
                                  </p:stCondLst>
                                  <p:childTnLst>
                                    <p:set>
                                      <p:cBhvr>
                                        <p:cTn id="9" dur="1" fill="hold">
                                          <p:stCondLst>
                                            <p:cond delay="0"/>
                                          </p:stCondLst>
                                        </p:cTn>
                                        <p:tgtEl>
                                          <p:spTgt spid="372"/>
                                        </p:tgtEl>
                                        <p:attrNameLst>
                                          <p:attrName>style.visibility</p:attrName>
                                        </p:attrNameLst>
                                      </p:cBhvr>
                                      <p:to>
                                        <p:strVal val="visible"/>
                                      </p:to>
                                    </p:set>
                                    <p:anim calcmode="lin" valueType="num">
                                      <p:cBhvr>
                                        <p:cTn id="10" dur="500" fill="hold"/>
                                        <p:tgtEl>
                                          <p:spTgt spid="372"/>
                                        </p:tgtEl>
                                        <p:attrNameLst>
                                          <p:attrName>ppt_w</p:attrName>
                                        </p:attrNameLst>
                                      </p:cBhvr>
                                      <p:tavLst>
                                        <p:tav tm="0">
                                          <p:val>
                                            <p:fltVal val="0"/>
                                          </p:val>
                                        </p:tav>
                                        <p:tav tm="100000">
                                          <p:val>
                                            <p:strVal val="#ppt_w"/>
                                          </p:val>
                                        </p:tav>
                                      </p:tavLst>
                                    </p:anim>
                                    <p:anim calcmode="lin" valueType="num">
                                      <p:cBhvr>
                                        <p:cTn id="11" dur="500" fill="hold"/>
                                        <p:tgtEl>
                                          <p:spTgt spid="372"/>
                                        </p:tgtEl>
                                        <p:attrNameLst>
                                          <p:attrName>ppt_h</p:attrName>
                                        </p:attrNameLst>
                                      </p:cBhvr>
                                      <p:tavLst>
                                        <p:tav tm="0">
                                          <p:val>
                                            <p:fltVal val="0"/>
                                          </p:val>
                                        </p:tav>
                                        <p:tav tm="100000">
                                          <p:val>
                                            <p:strVal val="#ppt_h"/>
                                          </p:val>
                                        </p:tav>
                                      </p:tavLst>
                                    </p:anim>
                                    <p:animEffect transition="in" filter="fade">
                                      <p:cBhvr>
                                        <p:cTn id="12" dur="500"/>
                                        <p:tgtEl>
                                          <p:spTgt spid="372"/>
                                        </p:tgtEl>
                                      </p:cBhvr>
                                    </p:animEffect>
                                  </p:childTnLst>
                                </p:cTn>
                              </p:par>
                            </p:childTnLst>
                          </p:cTn>
                        </p:par>
                        <p:par>
                          <p:cTn id="13" fill="hold">
                            <p:stCondLst>
                              <p:cond delay="1250"/>
                            </p:stCondLst>
                            <p:childTnLst>
                              <p:par>
                                <p:cTn id="14" presetID="10" presetClass="entr" presetSubtype="0" fill="hold" nodeType="afterEffect">
                                  <p:stCondLst>
                                    <p:cond delay="500"/>
                                  </p:stCondLst>
                                  <p:childTnLst>
                                    <p:set>
                                      <p:cBhvr>
                                        <p:cTn id="15" dur="1" fill="hold">
                                          <p:stCondLst>
                                            <p:cond delay="0"/>
                                          </p:stCondLst>
                                        </p:cTn>
                                        <p:tgtEl>
                                          <p:spTgt spid="376"/>
                                        </p:tgtEl>
                                        <p:attrNameLst>
                                          <p:attrName>style.visibility</p:attrName>
                                        </p:attrNameLst>
                                      </p:cBhvr>
                                      <p:to>
                                        <p:strVal val="visible"/>
                                      </p:to>
                                    </p:set>
                                    <p:animEffect transition="in" filter="fade">
                                      <p:cBhvr>
                                        <p:cTn id="16" dur="500"/>
                                        <p:tgtEl>
                                          <p:spTgt spid="376"/>
                                        </p:tgtEl>
                                      </p:cBhvr>
                                    </p:animEffect>
                                  </p:childTnLst>
                                </p:cTn>
                              </p:par>
                              <p:par>
                                <p:cTn id="17" presetID="53" presetClass="entr" presetSubtype="16" fill="hold" grpId="0" nodeType="withEffect">
                                  <p:stCondLst>
                                    <p:cond delay="750"/>
                                  </p:stCondLst>
                                  <p:childTnLst>
                                    <p:set>
                                      <p:cBhvr>
                                        <p:cTn id="18" dur="1" fill="hold">
                                          <p:stCondLst>
                                            <p:cond delay="0"/>
                                          </p:stCondLst>
                                        </p:cTn>
                                        <p:tgtEl>
                                          <p:spTgt spid="336"/>
                                        </p:tgtEl>
                                        <p:attrNameLst>
                                          <p:attrName>style.visibility</p:attrName>
                                        </p:attrNameLst>
                                      </p:cBhvr>
                                      <p:to>
                                        <p:strVal val="visible"/>
                                      </p:to>
                                    </p:set>
                                    <p:anim calcmode="lin" valueType="num">
                                      <p:cBhvr>
                                        <p:cTn id="19" dur="500" fill="hold"/>
                                        <p:tgtEl>
                                          <p:spTgt spid="336"/>
                                        </p:tgtEl>
                                        <p:attrNameLst>
                                          <p:attrName>ppt_w</p:attrName>
                                        </p:attrNameLst>
                                      </p:cBhvr>
                                      <p:tavLst>
                                        <p:tav tm="0">
                                          <p:val>
                                            <p:fltVal val="0"/>
                                          </p:val>
                                        </p:tav>
                                        <p:tav tm="100000">
                                          <p:val>
                                            <p:strVal val="#ppt_w"/>
                                          </p:val>
                                        </p:tav>
                                      </p:tavLst>
                                    </p:anim>
                                    <p:anim calcmode="lin" valueType="num">
                                      <p:cBhvr>
                                        <p:cTn id="20" dur="500" fill="hold"/>
                                        <p:tgtEl>
                                          <p:spTgt spid="336"/>
                                        </p:tgtEl>
                                        <p:attrNameLst>
                                          <p:attrName>ppt_h</p:attrName>
                                        </p:attrNameLst>
                                      </p:cBhvr>
                                      <p:tavLst>
                                        <p:tav tm="0">
                                          <p:val>
                                            <p:fltVal val="0"/>
                                          </p:val>
                                        </p:tav>
                                        <p:tav tm="100000">
                                          <p:val>
                                            <p:strVal val="#ppt_h"/>
                                          </p:val>
                                        </p:tav>
                                      </p:tavLst>
                                    </p:anim>
                                    <p:animEffect transition="in" filter="fade">
                                      <p:cBhvr>
                                        <p:cTn id="21" dur="500"/>
                                        <p:tgtEl>
                                          <p:spTgt spid="336"/>
                                        </p:tgtEl>
                                      </p:cBhvr>
                                    </p:animEffect>
                                  </p:childTnLst>
                                </p:cTn>
                              </p:par>
                            </p:childTnLst>
                          </p:cTn>
                        </p:par>
                        <p:par>
                          <p:cTn id="22" fill="hold">
                            <p:stCondLst>
                              <p:cond delay="2500"/>
                            </p:stCondLst>
                            <p:childTnLst>
                              <p:par>
                                <p:cTn id="23" presetID="10" presetClass="entr" presetSubtype="0" fill="hold" nodeType="afterEffect">
                                  <p:stCondLst>
                                    <p:cond delay="500"/>
                                  </p:stCondLst>
                                  <p:childTnLst>
                                    <p:set>
                                      <p:cBhvr>
                                        <p:cTn id="24" dur="1" fill="hold">
                                          <p:stCondLst>
                                            <p:cond delay="0"/>
                                          </p:stCondLst>
                                        </p:cTn>
                                        <p:tgtEl>
                                          <p:spTgt spid="375"/>
                                        </p:tgtEl>
                                        <p:attrNameLst>
                                          <p:attrName>style.visibility</p:attrName>
                                        </p:attrNameLst>
                                      </p:cBhvr>
                                      <p:to>
                                        <p:strVal val="visible"/>
                                      </p:to>
                                    </p:set>
                                    <p:animEffect transition="in" filter="fade">
                                      <p:cBhvr>
                                        <p:cTn id="25" dur="500"/>
                                        <p:tgtEl>
                                          <p:spTgt spid="375"/>
                                        </p:tgtEl>
                                      </p:cBhvr>
                                    </p:animEffect>
                                  </p:childTnLst>
                                </p:cTn>
                              </p:par>
                              <p:par>
                                <p:cTn id="26" presetID="53" presetClass="entr" presetSubtype="16" fill="hold" grpId="0" nodeType="withEffect">
                                  <p:stCondLst>
                                    <p:cond delay="750"/>
                                  </p:stCondLst>
                                  <p:childTnLst>
                                    <p:set>
                                      <p:cBhvr>
                                        <p:cTn id="27" dur="1" fill="hold">
                                          <p:stCondLst>
                                            <p:cond delay="0"/>
                                          </p:stCondLst>
                                        </p:cTn>
                                        <p:tgtEl>
                                          <p:spTgt spid="374"/>
                                        </p:tgtEl>
                                        <p:attrNameLst>
                                          <p:attrName>style.visibility</p:attrName>
                                        </p:attrNameLst>
                                      </p:cBhvr>
                                      <p:to>
                                        <p:strVal val="visible"/>
                                      </p:to>
                                    </p:set>
                                    <p:anim calcmode="lin" valueType="num">
                                      <p:cBhvr>
                                        <p:cTn id="28" dur="500" fill="hold"/>
                                        <p:tgtEl>
                                          <p:spTgt spid="374"/>
                                        </p:tgtEl>
                                        <p:attrNameLst>
                                          <p:attrName>ppt_w</p:attrName>
                                        </p:attrNameLst>
                                      </p:cBhvr>
                                      <p:tavLst>
                                        <p:tav tm="0">
                                          <p:val>
                                            <p:fltVal val="0"/>
                                          </p:val>
                                        </p:tav>
                                        <p:tav tm="100000">
                                          <p:val>
                                            <p:strVal val="#ppt_w"/>
                                          </p:val>
                                        </p:tav>
                                      </p:tavLst>
                                    </p:anim>
                                    <p:anim calcmode="lin" valueType="num">
                                      <p:cBhvr>
                                        <p:cTn id="29" dur="500" fill="hold"/>
                                        <p:tgtEl>
                                          <p:spTgt spid="374"/>
                                        </p:tgtEl>
                                        <p:attrNameLst>
                                          <p:attrName>ppt_h</p:attrName>
                                        </p:attrNameLst>
                                      </p:cBhvr>
                                      <p:tavLst>
                                        <p:tav tm="0">
                                          <p:val>
                                            <p:fltVal val="0"/>
                                          </p:val>
                                        </p:tav>
                                        <p:tav tm="100000">
                                          <p:val>
                                            <p:strVal val="#ppt_h"/>
                                          </p:val>
                                        </p:tav>
                                      </p:tavLst>
                                    </p:anim>
                                    <p:animEffect transition="in" filter="fade">
                                      <p:cBhvr>
                                        <p:cTn id="30" dur="500"/>
                                        <p:tgtEl>
                                          <p:spTgt spid="374"/>
                                        </p:tgtEl>
                                      </p:cBhvr>
                                    </p:animEffect>
                                  </p:childTnLst>
                                </p:cTn>
                              </p:par>
                            </p:childTnLst>
                          </p:cTn>
                        </p:par>
                        <p:par>
                          <p:cTn id="31" fill="hold">
                            <p:stCondLst>
                              <p:cond delay="3750"/>
                            </p:stCondLst>
                            <p:childTnLst>
                              <p:par>
                                <p:cTn id="32" presetID="10" presetClass="entr" presetSubtype="0" fill="hold" nodeType="afterEffect">
                                  <p:stCondLst>
                                    <p:cond delay="50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53" presetClass="entr" presetSubtype="16" fill="hold" grpId="0" nodeType="withEffect">
                                  <p:stCondLst>
                                    <p:cond delay="750"/>
                                  </p:stCondLst>
                                  <p:childTnLst>
                                    <p:set>
                                      <p:cBhvr>
                                        <p:cTn id="36" dur="1" fill="hold">
                                          <p:stCondLst>
                                            <p:cond delay="0"/>
                                          </p:stCondLst>
                                        </p:cTn>
                                        <p:tgtEl>
                                          <p:spTgt spid="10"/>
                                        </p:tgtEl>
                                        <p:attrNameLst>
                                          <p:attrName>style.visibility</p:attrName>
                                        </p:attrNameLst>
                                      </p:cBhvr>
                                      <p:to>
                                        <p:strVal val="visible"/>
                                      </p:to>
                                    </p:set>
                                    <p:anim calcmode="lin" valueType="num">
                                      <p:cBhvr>
                                        <p:cTn id="37" dur="500" fill="hold"/>
                                        <p:tgtEl>
                                          <p:spTgt spid="10"/>
                                        </p:tgtEl>
                                        <p:attrNameLst>
                                          <p:attrName>ppt_w</p:attrName>
                                        </p:attrNameLst>
                                      </p:cBhvr>
                                      <p:tavLst>
                                        <p:tav tm="0">
                                          <p:val>
                                            <p:fltVal val="0"/>
                                          </p:val>
                                        </p:tav>
                                        <p:tav tm="100000">
                                          <p:val>
                                            <p:strVal val="#ppt_w"/>
                                          </p:val>
                                        </p:tav>
                                      </p:tavLst>
                                    </p:anim>
                                    <p:anim calcmode="lin" valueType="num">
                                      <p:cBhvr>
                                        <p:cTn id="38" dur="500" fill="hold"/>
                                        <p:tgtEl>
                                          <p:spTgt spid="10"/>
                                        </p:tgtEl>
                                        <p:attrNameLst>
                                          <p:attrName>ppt_h</p:attrName>
                                        </p:attrNameLst>
                                      </p:cBhvr>
                                      <p:tavLst>
                                        <p:tav tm="0">
                                          <p:val>
                                            <p:fltVal val="0"/>
                                          </p:val>
                                        </p:tav>
                                        <p:tav tm="100000">
                                          <p:val>
                                            <p:strVal val="#ppt_h"/>
                                          </p:val>
                                        </p:tav>
                                      </p:tavLst>
                                    </p:anim>
                                    <p:animEffect transition="in" filter="fade">
                                      <p:cBhvr>
                                        <p:cTn id="39" dur="500"/>
                                        <p:tgtEl>
                                          <p:spTgt spid="10"/>
                                        </p:tgtEl>
                                      </p:cBhvr>
                                    </p:animEffect>
                                  </p:childTnLst>
                                </p:cTn>
                              </p:par>
                            </p:childTnLst>
                          </p:cTn>
                        </p:par>
                        <p:par>
                          <p:cTn id="40" fill="hold">
                            <p:stCondLst>
                              <p:cond delay="5000"/>
                            </p:stCondLst>
                            <p:childTnLst>
                              <p:par>
                                <p:cTn id="41" presetID="10" presetClass="entr" presetSubtype="0" fill="hold" nodeType="afterEffect">
                                  <p:stCondLst>
                                    <p:cond delay="5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53" presetClass="entr" presetSubtype="16" fill="hold" grpId="0" nodeType="withEffect">
                                  <p:stCondLst>
                                    <p:cond delay="750"/>
                                  </p:stCondLst>
                                  <p:childTnLst>
                                    <p:set>
                                      <p:cBhvr>
                                        <p:cTn id="45" dur="1" fill="hold">
                                          <p:stCondLst>
                                            <p:cond delay="0"/>
                                          </p:stCondLst>
                                        </p:cTn>
                                        <p:tgtEl>
                                          <p:spTgt spid="48"/>
                                        </p:tgtEl>
                                        <p:attrNameLst>
                                          <p:attrName>style.visibility</p:attrName>
                                        </p:attrNameLst>
                                      </p:cBhvr>
                                      <p:to>
                                        <p:strVal val="visible"/>
                                      </p:to>
                                    </p:set>
                                    <p:anim calcmode="lin" valueType="num">
                                      <p:cBhvr>
                                        <p:cTn id="46" dur="500" fill="hold"/>
                                        <p:tgtEl>
                                          <p:spTgt spid="48"/>
                                        </p:tgtEl>
                                        <p:attrNameLst>
                                          <p:attrName>ppt_w</p:attrName>
                                        </p:attrNameLst>
                                      </p:cBhvr>
                                      <p:tavLst>
                                        <p:tav tm="0">
                                          <p:val>
                                            <p:fltVal val="0"/>
                                          </p:val>
                                        </p:tav>
                                        <p:tav tm="100000">
                                          <p:val>
                                            <p:strVal val="#ppt_w"/>
                                          </p:val>
                                        </p:tav>
                                      </p:tavLst>
                                    </p:anim>
                                    <p:anim calcmode="lin" valueType="num">
                                      <p:cBhvr>
                                        <p:cTn id="47" dur="500" fill="hold"/>
                                        <p:tgtEl>
                                          <p:spTgt spid="48"/>
                                        </p:tgtEl>
                                        <p:attrNameLst>
                                          <p:attrName>ppt_h</p:attrName>
                                        </p:attrNameLst>
                                      </p:cBhvr>
                                      <p:tavLst>
                                        <p:tav tm="0">
                                          <p:val>
                                            <p:fltVal val="0"/>
                                          </p:val>
                                        </p:tav>
                                        <p:tav tm="100000">
                                          <p:val>
                                            <p:strVal val="#ppt_h"/>
                                          </p:val>
                                        </p:tav>
                                      </p:tavLst>
                                    </p:anim>
                                    <p:animEffect transition="in" filter="fade">
                                      <p:cBhvr>
                                        <p:cTn id="48" dur="500"/>
                                        <p:tgtEl>
                                          <p:spTgt spid="48"/>
                                        </p:tgtEl>
                                      </p:cBhvr>
                                    </p:animEffect>
                                  </p:childTnLst>
                                </p:cTn>
                              </p:par>
                            </p:childTnLst>
                          </p:cTn>
                        </p:par>
                        <p:par>
                          <p:cTn id="49" fill="hold">
                            <p:stCondLst>
                              <p:cond delay="6250"/>
                            </p:stCondLst>
                            <p:childTnLst>
                              <p:par>
                                <p:cTn id="50" presetID="10" presetClass="entr" presetSubtype="0" fill="hold" nodeType="afterEffect">
                                  <p:stCondLst>
                                    <p:cond delay="50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500"/>
                                        <p:tgtEl>
                                          <p:spTgt spid="59"/>
                                        </p:tgtEl>
                                      </p:cBhvr>
                                    </p:animEffect>
                                  </p:childTnLst>
                                </p:cTn>
                              </p:par>
                              <p:par>
                                <p:cTn id="53" presetID="53" presetClass="entr" presetSubtype="16" fill="hold" grpId="0" nodeType="withEffect">
                                  <p:stCondLst>
                                    <p:cond delay="750"/>
                                  </p:stCondLst>
                                  <p:childTnLst>
                                    <p:set>
                                      <p:cBhvr>
                                        <p:cTn id="54" dur="1" fill="hold">
                                          <p:stCondLst>
                                            <p:cond delay="0"/>
                                          </p:stCondLst>
                                        </p:cTn>
                                        <p:tgtEl>
                                          <p:spTgt spid="58"/>
                                        </p:tgtEl>
                                        <p:attrNameLst>
                                          <p:attrName>style.visibility</p:attrName>
                                        </p:attrNameLst>
                                      </p:cBhvr>
                                      <p:to>
                                        <p:strVal val="visible"/>
                                      </p:to>
                                    </p:set>
                                    <p:anim calcmode="lin" valueType="num">
                                      <p:cBhvr>
                                        <p:cTn id="55" dur="500" fill="hold"/>
                                        <p:tgtEl>
                                          <p:spTgt spid="58"/>
                                        </p:tgtEl>
                                        <p:attrNameLst>
                                          <p:attrName>ppt_w</p:attrName>
                                        </p:attrNameLst>
                                      </p:cBhvr>
                                      <p:tavLst>
                                        <p:tav tm="0">
                                          <p:val>
                                            <p:fltVal val="0"/>
                                          </p:val>
                                        </p:tav>
                                        <p:tav tm="100000">
                                          <p:val>
                                            <p:strVal val="#ppt_w"/>
                                          </p:val>
                                        </p:tav>
                                      </p:tavLst>
                                    </p:anim>
                                    <p:anim calcmode="lin" valueType="num">
                                      <p:cBhvr>
                                        <p:cTn id="56" dur="500" fill="hold"/>
                                        <p:tgtEl>
                                          <p:spTgt spid="58"/>
                                        </p:tgtEl>
                                        <p:attrNameLst>
                                          <p:attrName>ppt_h</p:attrName>
                                        </p:attrNameLst>
                                      </p:cBhvr>
                                      <p:tavLst>
                                        <p:tav tm="0">
                                          <p:val>
                                            <p:fltVal val="0"/>
                                          </p:val>
                                        </p:tav>
                                        <p:tav tm="100000">
                                          <p:val>
                                            <p:strVal val="#ppt_h"/>
                                          </p:val>
                                        </p:tav>
                                      </p:tavLst>
                                    </p:anim>
                                    <p:animEffect transition="in" filter="fade">
                                      <p:cBhvr>
                                        <p:cTn id="5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72" grpId="0" animBg="1"/>
      <p:bldP spid="374" grpId="0" animBg="1"/>
      <p:bldP spid="10" grpId="0" animBg="1"/>
      <p:bldP spid="48" grpId="0" animBg="1"/>
      <p:bldP spid="5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A50892B4-009C-EF03-8F1A-3198A260AA29}"/>
              </a:ext>
            </a:extLst>
          </p:cNvPr>
          <p:cNvPicPr>
            <a:picLocks noChangeAspect="1"/>
          </p:cNvPicPr>
          <p:nvPr/>
        </p:nvPicPr>
        <p:blipFill>
          <a:blip r:embed="rId3">
            <a:alphaModFix/>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35396" b="16176"/>
          <a:stretch/>
        </p:blipFill>
        <p:spPr>
          <a:xfrm>
            <a:off x="0" y="2241915"/>
            <a:ext cx="12191990" cy="3936230"/>
          </a:xfrm>
          <a:prstGeom prst="rect">
            <a:avLst/>
          </a:prstGeom>
        </p:spPr>
      </p:pic>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86170" y="6227080"/>
            <a:ext cx="9000172" cy="565786"/>
          </a:xfrm>
        </p:spPr>
        <p:txBody>
          <a:bodyPr/>
          <a:lstStyle/>
          <a:p>
            <a:r>
              <a:rPr lang="pt-BR" dirty="0"/>
              <a:t>Córdova Martínez A, Alvarez-Mon M. O sistema imunológico (I): conceitos gerais, adaptação ao exercício físico e implicações clínicas. </a:t>
            </a:r>
            <a:r>
              <a:rPr lang="pt-BR" dirty="0" err="1"/>
              <a:t>Rev</a:t>
            </a:r>
            <a:r>
              <a:rPr lang="pt-BR" dirty="0"/>
              <a:t> </a:t>
            </a:r>
            <a:r>
              <a:rPr lang="pt-BR" dirty="0" err="1"/>
              <a:t>Bras</a:t>
            </a:r>
            <a:r>
              <a:rPr lang="pt-BR" dirty="0"/>
              <a:t> Med Esporte. 1999May;5(3):120–5.</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0351411"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Qual o papel do sistema imunológico?</a:t>
            </a:r>
            <a:endParaRPr lang="pt-BR" sz="4400" b="1" baseline="30000" dirty="0">
              <a:gradFill>
                <a:gsLst>
                  <a:gs pos="0">
                    <a:schemeClr val="accent1"/>
                  </a:gs>
                  <a:gs pos="100000">
                    <a:schemeClr val="bg2"/>
                  </a:gs>
                </a:gsLst>
                <a:lin ang="2700000" scaled="0"/>
              </a:gradFill>
              <a:latin typeface="Calisto MT"/>
            </a:endParaRPr>
          </a:p>
        </p:txBody>
      </p:sp>
      <p:sp>
        <p:nvSpPr>
          <p:cNvPr id="5" name="Retângulo: Cantos Arredondados 4">
            <a:extLst>
              <a:ext uri="{FF2B5EF4-FFF2-40B4-BE49-F238E27FC236}">
                <a16:creationId xmlns:a16="http://schemas.microsoft.com/office/drawing/2014/main" id="{89ED563C-F61C-8541-CC8C-A7A8598E832F}"/>
              </a:ext>
            </a:extLst>
          </p:cNvPr>
          <p:cNvSpPr/>
          <p:nvPr/>
        </p:nvSpPr>
        <p:spPr>
          <a:xfrm>
            <a:off x="356515" y="1430766"/>
            <a:ext cx="11427498" cy="1704784"/>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Cantos Arredondados 7">
            <a:extLst>
              <a:ext uri="{FF2B5EF4-FFF2-40B4-BE49-F238E27FC236}">
                <a16:creationId xmlns:a16="http://schemas.microsoft.com/office/drawing/2014/main" id="{E49C2E38-868F-A7DA-F7DC-1DA113A8E414}"/>
              </a:ext>
            </a:extLst>
          </p:cNvPr>
          <p:cNvSpPr/>
          <p:nvPr/>
        </p:nvSpPr>
        <p:spPr>
          <a:xfrm>
            <a:off x="711043" y="2750203"/>
            <a:ext cx="2591111" cy="278208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4" name="Retângulo: Cantos Arredondados 13">
            <a:extLst>
              <a:ext uri="{FF2B5EF4-FFF2-40B4-BE49-F238E27FC236}">
                <a16:creationId xmlns:a16="http://schemas.microsoft.com/office/drawing/2014/main" id="{798E0F90-7367-09B9-0D39-7E832F39A896}"/>
              </a:ext>
            </a:extLst>
          </p:cNvPr>
          <p:cNvSpPr/>
          <p:nvPr/>
        </p:nvSpPr>
        <p:spPr>
          <a:xfrm>
            <a:off x="3462412" y="2750203"/>
            <a:ext cx="2591111" cy="278208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5" name="Retângulo: Cantos Arredondados 14">
            <a:extLst>
              <a:ext uri="{FF2B5EF4-FFF2-40B4-BE49-F238E27FC236}">
                <a16:creationId xmlns:a16="http://schemas.microsoft.com/office/drawing/2014/main" id="{E43F327B-F010-0399-849F-D10465A08102}"/>
              </a:ext>
            </a:extLst>
          </p:cNvPr>
          <p:cNvSpPr/>
          <p:nvPr/>
        </p:nvSpPr>
        <p:spPr>
          <a:xfrm>
            <a:off x="6213781" y="2750203"/>
            <a:ext cx="2591111" cy="278208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6" name="Retângulo: Cantos Arredondados 15">
            <a:extLst>
              <a:ext uri="{FF2B5EF4-FFF2-40B4-BE49-F238E27FC236}">
                <a16:creationId xmlns:a16="http://schemas.microsoft.com/office/drawing/2014/main" id="{1550E0D2-D963-38E2-3F60-16287A02ACDB}"/>
              </a:ext>
            </a:extLst>
          </p:cNvPr>
          <p:cNvSpPr/>
          <p:nvPr/>
        </p:nvSpPr>
        <p:spPr>
          <a:xfrm>
            <a:off x="8965149" y="2750203"/>
            <a:ext cx="2591111" cy="278208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0" name="CaixaDeTexto 19">
            <a:extLst>
              <a:ext uri="{FF2B5EF4-FFF2-40B4-BE49-F238E27FC236}">
                <a16:creationId xmlns:a16="http://schemas.microsoft.com/office/drawing/2014/main" id="{D1360176-75D0-E21D-2C1A-58FE081DE827}"/>
              </a:ext>
            </a:extLst>
          </p:cNvPr>
          <p:cNvSpPr txBox="1"/>
          <p:nvPr/>
        </p:nvSpPr>
        <p:spPr>
          <a:xfrm>
            <a:off x="929089" y="3412571"/>
            <a:ext cx="2155023" cy="1551194"/>
          </a:xfrm>
          <a:prstGeom prst="rect">
            <a:avLst/>
          </a:prstGeom>
          <a:noFill/>
        </p:spPr>
        <p:txBody>
          <a:bodyPr wrap="square" lIns="0" tIns="0" rIns="0" bIns="0">
            <a:spAutoFit/>
          </a:bodyPr>
          <a:lstStyle/>
          <a:p>
            <a:pPr algn="ctr">
              <a:lnSpc>
                <a:spcPct val="90000"/>
              </a:lnSpc>
              <a:spcBef>
                <a:spcPts val="1200"/>
              </a:spcBef>
            </a:pPr>
            <a:r>
              <a:rPr kumimoji="0" lang="pt-BR" sz="1600" i="0" u="none" strike="noStrike" kern="1200" cap="none" spc="0" normalizeH="0" baseline="0" noProof="0" dirty="0">
                <a:ln>
                  <a:noFill/>
                </a:ln>
                <a:solidFill>
                  <a:schemeClr val="tx2"/>
                </a:solidFill>
                <a:effectLst/>
                <a:uLnTx/>
                <a:uFillTx/>
              </a:rPr>
              <a:t>O sistema imunológico deve ser capaz de </a:t>
            </a:r>
            <a:r>
              <a:rPr kumimoji="0" lang="pt-BR" sz="1600" b="1" i="0" u="none" strike="noStrike" kern="1200" cap="none" spc="0" normalizeH="0" baseline="0" noProof="0" dirty="0">
                <a:ln>
                  <a:noFill/>
                </a:ln>
                <a:solidFill>
                  <a:schemeClr val="tx2"/>
                </a:solidFill>
                <a:effectLst/>
                <a:uLnTx/>
                <a:uFillTx/>
              </a:rPr>
              <a:t>distinguir entre o “próprio” </a:t>
            </a:r>
            <a:r>
              <a:rPr kumimoji="0" lang="pt-BR" sz="1600" i="0" u="none" strike="noStrike" kern="1200" cap="none" spc="0" normalizeH="0" baseline="0" noProof="0" dirty="0">
                <a:ln>
                  <a:noFill/>
                </a:ln>
                <a:solidFill>
                  <a:schemeClr val="tx2"/>
                </a:solidFill>
                <a:effectLst/>
                <a:uLnTx/>
                <a:uFillTx/>
              </a:rPr>
              <a:t>(células, tecidos, </a:t>
            </a:r>
            <a:r>
              <a:rPr kumimoji="0" lang="pt-BR" sz="1600" i="0" u="none" strike="noStrike" kern="1200" cap="none" spc="0" normalizeH="0" baseline="0" noProof="0" dirty="0" err="1">
                <a:ln>
                  <a:noFill/>
                </a:ln>
                <a:solidFill>
                  <a:schemeClr val="tx2"/>
                </a:solidFill>
                <a:effectLst/>
                <a:uLnTx/>
                <a:uFillTx/>
              </a:rPr>
              <a:t>etc</a:t>
            </a:r>
            <a:r>
              <a:rPr kumimoji="0" lang="pt-BR" sz="1600" i="0" u="none" strike="noStrike" kern="1200" cap="none" spc="0" normalizeH="0" baseline="0" noProof="0" dirty="0">
                <a:ln>
                  <a:noFill/>
                </a:ln>
                <a:solidFill>
                  <a:schemeClr val="tx2"/>
                </a:solidFill>
                <a:effectLst/>
                <a:uLnTx/>
                <a:uFillTx/>
              </a:rPr>
              <a:t>) e o </a:t>
            </a:r>
            <a:r>
              <a:rPr kumimoji="0" lang="pt-BR" sz="1600" b="1" i="0" u="none" strike="noStrike" kern="1200" cap="none" spc="0" normalizeH="0" baseline="0" noProof="0" dirty="0">
                <a:ln>
                  <a:noFill/>
                </a:ln>
                <a:solidFill>
                  <a:schemeClr val="tx2"/>
                </a:solidFill>
                <a:effectLst/>
                <a:uLnTx/>
                <a:uFillTx/>
              </a:rPr>
              <a:t>“não-próprio”</a:t>
            </a:r>
            <a:r>
              <a:rPr kumimoji="0" lang="pt-BR" sz="1600" i="0" u="none" strike="noStrike" kern="1200" cap="none" spc="0" normalizeH="0" baseline="0" noProof="0" dirty="0">
                <a:ln>
                  <a:noFill/>
                </a:ln>
                <a:solidFill>
                  <a:schemeClr val="tx2"/>
                </a:solidFill>
                <a:effectLst/>
                <a:uLnTx/>
                <a:uFillTx/>
              </a:rPr>
              <a:t> (patógeno) Antígeno</a:t>
            </a:r>
          </a:p>
        </p:txBody>
      </p:sp>
      <p:sp>
        <p:nvSpPr>
          <p:cNvPr id="33" name="Freeform 5">
            <a:extLst>
              <a:ext uri="{FF2B5EF4-FFF2-40B4-BE49-F238E27FC236}">
                <a16:creationId xmlns:a16="http://schemas.microsoft.com/office/drawing/2014/main" id="{C53E3AD0-196C-2007-74D8-022D964DB884}"/>
              </a:ext>
            </a:extLst>
          </p:cNvPr>
          <p:cNvSpPr>
            <a:spLocks/>
          </p:cNvSpPr>
          <p:nvPr/>
        </p:nvSpPr>
        <p:spPr bwMode="auto">
          <a:xfrm>
            <a:off x="1544318" y="2376087"/>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36" name="Freeform 5">
            <a:extLst>
              <a:ext uri="{FF2B5EF4-FFF2-40B4-BE49-F238E27FC236}">
                <a16:creationId xmlns:a16="http://schemas.microsoft.com/office/drawing/2014/main" id="{464B3649-7602-DA47-A45A-C6946C4FA653}"/>
              </a:ext>
            </a:extLst>
          </p:cNvPr>
          <p:cNvSpPr>
            <a:spLocks/>
          </p:cNvSpPr>
          <p:nvPr/>
        </p:nvSpPr>
        <p:spPr bwMode="auto">
          <a:xfrm>
            <a:off x="4270585" y="2376087"/>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Freeform 5">
            <a:extLst>
              <a:ext uri="{FF2B5EF4-FFF2-40B4-BE49-F238E27FC236}">
                <a16:creationId xmlns:a16="http://schemas.microsoft.com/office/drawing/2014/main" id="{F7A65017-C330-6CE5-D7FF-60D034EE9553}"/>
              </a:ext>
            </a:extLst>
          </p:cNvPr>
          <p:cNvSpPr>
            <a:spLocks/>
          </p:cNvSpPr>
          <p:nvPr/>
        </p:nvSpPr>
        <p:spPr bwMode="auto">
          <a:xfrm>
            <a:off x="7050642" y="2376087"/>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42" name="Freeform 5">
            <a:extLst>
              <a:ext uri="{FF2B5EF4-FFF2-40B4-BE49-F238E27FC236}">
                <a16:creationId xmlns:a16="http://schemas.microsoft.com/office/drawing/2014/main" id="{F13A8868-5E2C-A82A-3EE0-315F59B482D7}"/>
              </a:ext>
            </a:extLst>
          </p:cNvPr>
          <p:cNvSpPr>
            <a:spLocks/>
          </p:cNvSpPr>
          <p:nvPr/>
        </p:nvSpPr>
        <p:spPr bwMode="auto">
          <a:xfrm>
            <a:off x="9809182" y="2376087"/>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CaixaDeTexto 8">
            <a:extLst>
              <a:ext uri="{FF2B5EF4-FFF2-40B4-BE49-F238E27FC236}">
                <a16:creationId xmlns:a16="http://schemas.microsoft.com/office/drawing/2014/main" id="{A6C9871C-4314-20C2-48F4-5B94EC70FF2F}"/>
              </a:ext>
            </a:extLst>
          </p:cNvPr>
          <p:cNvSpPr txBox="1"/>
          <p:nvPr/>
        </p:nvSpPr>
        <p:spPr>
          <a:xfrm>
            <a:off x="3619626" y="3412571"/>
            <a:ext cx="2155023" cy="1329595"/>
          </a:xfrm>
          <a:prstGeom prst="rect">
            <a:avLst/>
          </a:prstGeom>
          <a:noFill/>
        </p:spPr>
        <p:txBody>
          <a:bodyPr wrap="square" lIns="0" tIns="0" rIns="0" bIns="0">
            <a:spAutoFit/>
          </a:bodyPr>
          <a:lstStyle/>
          <a:p>
            <a:pPr algn="ctr">
              <a:lnSpc>
                <a:spcPct val="90000"/>
              </a:lnSpc>
              <a:spcBef>
                <a:spcPts val="1200"/>
              </a:spcBef>
            </a:pPr>
            <a:r>
              <a:rPr kumimoji="0" lang="pt-BR" sz="1600" i="0" u="none" strike="noStrike" kern="1200" cap="none" spc="0" normalizeH="0" baseline="0" noProof="0" dirty="0">
                <a:ln>
                  <a:noFill/>
                </a:ln>
                <a:solidFill>
                  <a:schemeClr val="tx2"/>
                </a:solidFill>
                <a:effectLst/>
                <a:uLnTx/>
                <a:uFillTx/>
              </a:rPr>
              <a:t>Uma vez que o sistema imune reconhece uma ameaça, ele deve ser capaz de </a:t>
            </a:r>
            <a:r>
              <a:rPr kumimoji="0" lang="pt-BR" sz="1600" b="1" i="0" u="none" strike="noStrike" kern="1200" cap="none" spc="0" normalizeH="0" baseline="0" noProof="0" dirty="0">
                <a:ln>
                  <a:noFill/>
                </a:ln>
                <a:solidFill>
                  <a:schemeClr val="tx2"/>
                </a:solidFill>
                <a:effectLst/>
                <a:uLnTx/>
                <a:uFillTx/>
              </a:rPr>
              <a:t>contê-lo e eliminá-lo para proteger o hospedeiro</a:t>
            </a:r>
          </a:p>
        </p:txBody>
      </p:sp>
      <p:sp>
        <p:nvSpPr>
          <p:cNvPr id="10" name="CaixaDeTexto 9">
            <a:extLst>
              <a:ext uri="{FF2B5EF4-FFF2-40B4-BE49-F238E27FC236}">
                <a16:creationId xmlns:a16="http://schemas.microsoft.com/office/drawing/2014/main" id="{C1A91329-C4DA-E405-898C-0DB26F00EF30}"/>
              </a:ext>
            </a:extLst>
          </p:cNvPr>
          <p:cNvSpPr txBox="1"/>
          <p:nvPr/>
        </p:nvSpPr>
        <p:spPr>
          <a:xfrm>
            <a:off x="6316580" y="3412571"/>
            <a:ext cx="2360436" cy="1551194"/>
          </a:xfrm>
          <a:prstGeom prst="rect">
            <a:avLst/>
          </a:prstGeom>
          <a:noFill/>
        </p:spPr>
        <p:txBody>
          <a:bodyPr wrap="square" lIns="0" tIns="0" rIns="0" bIns="0">
            <a:spAutoFit/>
          </a:bodyPr>
          <a:lstStyle/>
          <a:p>
            <a:pPr algn="ctr">
              <a:lnSpc>
                <a:spcPct val="90000"/>
              </a:lnSpc>
              <a:spcBef>
                <a:spcPts val="1200"/>
              </a:spcBef>
            </a:pPr>
            <a:r>
              <a:rPr kumimoji="0" lang="pt-BR" sz="1600" i="0" u="none" strike="noStrike" kern="1200" cap="none" spc="0" normalizeH="0" baseline="0" noProof="0" dirty="0">
                <a:ln>
                  <a:noFill/>
                </a:ln>
                <a:solidFill>
                  <a:schemeClr val="tx2"/>
                </a:solidFill>
                <a:effectLst/>
                <a:uLnTx/>
                <a:uFillTx/>
              </a:rPr>
              <a:t>O sistema imunológico deve </a:t>
            </a:r>
            <a:r>
              <a:rPr kumimoji="0" lang="pt-BR" sz="1600" b="1" i="0" u="none" strike="noStrike" kern="1200" cap="none" spc="0" normalizeH="0" baseline="0" noProof="0" dirty="0">
                <a:ln>
                  <a:noFill/>
                </a:ln>
                <a:solidFill>
                  <a:schemeClr val="tx2"/>
                </a:solidFill>
                <a:effectLst/>
                <a:uLnTx/>
                <a:uFillTx/>
              </a:rPr>
              <a:t>encontrar um equilíbrio </a:t>
            </a:r>
            <a:r>
              <a:rPr kumimoji="0" lang="pt-BR" sz="1600" i="0" u="none" strike="noStrike" kern="1200" cap="none" spc="0" normalizeH="0" baseline="0" noProof="0" dirty="0">
                <a:ln>
                  <a:noFill/>
                </a:ln>
                <a:solidFill>
                  <a:schemeClr val="tx2"/>
                </a:solidFill>
                <a:effectLst/>
                <a:uLnTx/>
                <a:uFillTx/>
              </a:rPr>
              <a:t>entre </a:t>
            </a:r>
            <a:r>
              <a:rPr kumimoji="0" lang="pt-BR" sz="1600" b="1" i="0" u="none" strike="noStrike" kern="1200" cap="none" spc="0" normalizeH="0" baseline="0" noProof="0" dirty="0">
                <a:ln>
                  <a:noFill/>
                </a:ln>
                <a:solidFill>
                  <a:schemeClr val="tx2"/>
                </a:solidFill>
                <a:effectLst/>
                <a:uLnTx/>
                <a:uFillTx/>
              </a:rPr>
              <a:t>responder adequadamente </a:t>
            </a:r>
            <a:r>
              <a:rPr kumimoji="0" lang="pt-BR" sz="1600" i="0" u="none" strike="noStrike" kern="1200" cap="none" spc="0" normalizeH="0" baseline="0" noProof="0" dirty="0">
                <a:ln>
                  <a:noFill/>
                </a:ln>
                <a:solidFill>
                  <a:schemeClr val="tx2"/>
                </a:solidFill>
                <a:effectLst/>
                <a:uLnTx/>
                <a:uFillTx/>
              </a:rPr>
              <a:t>a uma ameaça e </a:t>
            </a:r>
            <a:r>
              <a:rPr kumimoji="0" lang="pt-BR" sz="1600" b="1" i="0" u="none" strike="noStrike" kern="1200" cap="none" spc="0" normalizeH="0" baseline="0" noProof="0" dirty="0">
                <a:ln>
                  <a:noFill/>
                </a:ln>
                <a:solidFill>
                  <a:schemeClr val="tx2"/>
                </a:solidFill>
                <a:effectLst/>
                <a:uLnTx/>
                <a:uFillTx/>
              </a:rPr>
              <a:t>minimizar os danos aos tecidos </a:t>
            </a:r>
            <a:r>
              <a:rPr kumimoji="0" lang="pt-BR" sz="1600" i="0" u="none" strike="noStrike" kern="1200" cap="none" spc="0" normalizeH="0" baseline="0" noProof="0" dirty="0">
                <a:ln>
                  <a:noFill/>
                </a:ln>
                <a:solidFill>
                  <a:schemeClr val="tx2"/>
                </a:solidFill>
                <a:effectLst/>
                <a:uLnTx/>
                <a:uFillTx/>
              </a:rPr>
              <a:t>do hospedeiro</a:t>
            </a:r>
          </a:p>
        </p:txBody>
      </p:sp>
      <p:sp>
        <p:nvSpPr>
          <p:cNvPr id="32" name="CaixaDeTexto 31">
            <a:extLst>
              <a:ext uri="{FF2B5EF4-FFF2-40B4-BE49-F238E27FC236}">
                <a16:creationId xmlns:a16="http://schemas.microsoft.com/office/drawing/2014/main" id="{3D56570C-F708-D63A-6447-71E1945E2A6A}"/>
              </a:ext>
            </a:extLst>
          </p:cNvPr>
          <p:cNvSpPr txBox="1"/>
          <p:nvPr/>
        </p:nvSpPr>
        <p:spPr>
          <a:xfrm>
            <a:off x="9086342" y="3412571"/>
            <a:ext cx="2284491" cy="1994392"/>
          </a:xfrm>
          <a:prstGeom prst="rect">
            <a:avLst/>
          </a:prstGeom>
          <a:noFill/>
        </p:spPr>
        <p:txBody>
          <a:bodyPr wrap="square" lIns="0" tIns="0" rIns="0" bIns="0">
            <a:spAutoFit/>
          </a:bodyPr>
          <a:lstStyle/>
          <a:p>
            <a:pPr algn="ctr">
              <a:lnSpc>
                <a:spcPct val="90000"/>
              </a:lnSpc>
              <a:spcBef>
                <a:spcPts val="1200"/>
              </a:spcBef>
            </a:pPr>
            <a:r>
              <a:rPr kumimoji="0" lang="pt-BR" sz="1600" i="0" u="none" strike="noStrike" kern="1200" cap="none" spc="0" normalizeH="0" baseline="0" noProof="0" dirty="0">
                <a:ln>
                  <a:noFill/>
                </a:ln>
                <a:solidFill>
                  <a:schemeClr val="tx2"/>
                </a:solidFill>
                <a:effectLst/>
                <a:uLnTx/>
                <a:uFillTx/>
              </a:rPr>
              <a:t>O sistema imunológico </a:t>
            </a:r>
            <a:r>
              <a:rPr kumimoji="0" lang="pt-BR" sz="1600" b="1" i="0" u="none" strike="noStrike" kern="1200" cap="none" spc="0" normalizeH="0" baseline="0" noProof="0" dirty="0">
                <a:ln>
                  <a:noFill/>
                </a:ln>
                <a:solidFill>
                  <a:schemeClr val="tx2"/>
                </a:solidFill>
                <a:effectLst/>
                <a:uLnTx/>
                <a:uFillTx/>
              </a:rPr>
              <a:t>protege o hospedeiro de doenças recorrentes</a:t>
            </a:r>
            <a:r>
              <a:rPr kumimoji="0" lang="pt-BR" sz="1600" i="0" u="none" strike="noStrike" kern="1200" cap="none" spc="0" normalizeH="0" baseline="0" noProof="0" dirty="0">
                <a:ln>
                  <a:noFill/>
                </a:ln>
                <a:solidFill>
                  <a:schemeClr val="tx2"/>
                </a:solidFill>
                <a:effectLst/>
                <a:uLnTx/>
                <a:uFillTx/>
              </a:rPr>
              <a:t> devido à exposição ao mesmo patógeno. </a:t>
            </a:r>
            <a:br>
              <a:rPr kumimoji="0" lang="pt-BR" sz="1600" i="0" u="none" strike="noStrike" kern="1200" cap="none" spc="0" normalizeH="0" baseline="0" noProof="0" dirty="0">
                <a:ln>
                  <a:noFill/>
                </a:ln>
                <a:solidFill>
                  <a:schemeClr val="tx2"/>
                </a:solidFill>
                <a:effectLst/>
                <a:uLnTx/>
                <a:uFillTx/>
              </a:rPr>
            </a:br>
            <a:r>
              <a:rPr kumimoji="0" lang="pt-BR" sz="1600" i="0" u="none" strike="noStrike" kern="1200" cap="none" spc="0" normalizeH="0" baseline="0" noProof="0" dirty="0">
                <a:ln>
                  <a:noFill/>
                </a:ln>
                <a:solidFill>
                  <a:schemeClr val="tx2"/>
                </a:solidFill>
                <a:effectLst/>
                <a:uLnTx/>
                <a:uFillTx/>
              </a:rPr>
              <a:t>A exposição subsequente ao mesmo patógeno gerará uma </a:t>
            </a:r>
            <a:r>
              <a:rPr kumimoji="0" lang="pt-BR" sz="1600" b="1" i="0" u="none" strike="noStrike" kern="1200" cap="none" spc="0" normalizeH="0" baseline="0" noProof="0" dirty="0">
                <a:ln>
                  <a:noFill/>
                </a:ln>
                <a:solidFill>
                  <a:schemeClr val="tx2"/>
                </a:solidFill>
                <a:effectLst/>
                <a:uLnTx/>
                <a:uFillTx/>
              </a:rPr>
              <a:t>resposta imune mais rápida e forte</a:t>
            </a:r>
          </a:p>
        </p:txBody>
      </p:sp>
      <p:sp>
        <p:nvSpPr>
          <p:cNvPr id="37" name="CaixaDeTexto 36">
            <a:extLst>
              <a:ext uri="{FF2B5EF4-FFF2-40B4-BE49-F238E27FC236}">
                <a16:creationId xmlns:a16="http://schemas.microsoft.com/office/drawing/2014/main" id="{E320C6AC-A395-40BB-EA58-94A57E45439C}"/>
              </a:ext>
            </a:extLst>
          </p:cNvPr>
          <p:cNvSpPr txBox="1"/>
          <p:nvPr/>
        </p:nvSpPr>
        <p:spPr>
          <a:xfrm>
            <a:off x="888343" y="1780250"/>
            <a:ext cx="2236510" cy="461665"/>
          </a:xfrm>
          <a:prstGeom prst="rect">
            <a:avLst/>
          </a:prstGeom>
          <a:noFill/>
        </p:spPr>
        <p:txBody>
          <a:bodyPr wrap="square" rtlCol="0">
            <a:spAutoFit/>
          </a:bodyPr>
          <a:lstStyle/>
          <a:p>
            <a:pPr algn="ctr">
              <a:spcAft>
                <a:spcPts val="600"/>
              </a:spcAft>
            </a:pPr>
            <a:r>
              <a:rPr lang="pt-BR" sz="2400" b="1" dirty="0">
                <a:solidFill>
                  <a:schemeClr val="bg1"/>
                </a:solidFill>
                <a:latin typeface="+mj-lt"/>
              </a:rPr>
              <a:t>RECONHECE</a:t>
            </a:r>
            <a:endParaRPr lang="pt-BR" sz="2000" b="1" dirty="0">
              <a:solidFill>
                <a:schemeClr val="bg1"/>
              </a:solidFill>
              <a:latin typeface="+mj-lt"/>
            </a:endParaRPr>
          </a:p>
        </p:txBody>
      </p:sp>
      <p:sp>
        <p:nvSpPr>
          <p:cNvPr id="38" name="CaixaDeTexto 37">
            <a:extLst>
              <a:ext uri="{FF2B5EF4-FFF2-40B4-BE49-F238E27FC236}">
                <a16:creationId xmlns:a16="http://schemas.microsoft.com/office/drawing/2014/main" id="{06715259-7FF6-61CB-0082-05378B6D8FC3}"/>
              </a:ext>
            </a:extLst>
          </p:cNvPr>
          <p:cNvSpPr txBox="1"/>
          <p:nvPr/>
        </p:nvSpPr>
        <p:spPr>
          <a:xfrm>
            <a:off x="3731168" y="1780250"/>
            <a:ext cx="1931940" cy="461665"/>
          </a:xfrm>
          <a:prstGeom prst="rect">
            <a:avLst/>
          </a:prstGeom>
          <a:noFill/>
        </p:spPr>
        <p:txBody>
          <a:bodyPr wrap="square" rtlCol="0">
            <a:spAutoFit/>
          </a:bodyPr>
          <a:lstStyle/>
          <a:p>
            <a:pPr algn="ctr">
              <a:spcAft>
                <a:spcPts val="600"/>
              </a:spcAft>
            </a:pPr>
            <a:r>
              <a:rPr lang="pt-BR" sz="2400" b="1" dirty="0">
                <a:solidFill>
                  <a:schemeClr val="bg1"/>
                </a:solidFill>
                <a:latin typeface="+mj-lt"/>
              </a:rPr>
              <a:t>RESPONDE</a:t>
            </a:r>
            <a:endParaRPr lang="pt-BR" sz="2000" b="1" dirty="0">
              <a:solidFill>
                <a:schemeClr val="bg1"/>
              </a:solidFill>
              <a:latin typeface="+mj-lt"/>
            </a:endParaRPr>
          </a:p>
        </p:txBody>
      </p:sp>
      <p:sp>
        <p:nvSpPr>
          <p:cNvPr id="40" name="CaixaDeTexto 39">
            <a:extLst>
              <a:ext uri="{FF2B5EF4-FFF2-40B4-BE49-F238E27FC236}">
                <a16:creationId xmlns:a16="http://schemas.microsoft.com/office/drawing/2014/main" id="{CCD19FFC-3B3B-3644-414B-424989F4158D}"/>
              </a:ext>
            </a:extLst>
          </p:cNvPr>
          <p:cNvSpPr txBox="1"/>
          <p:nvPr/>
        </p:nvSpPr>
        <p:spPr>
          <a:xfrm>
            <a:off x="6675906" y="1780250"/>
            <a:ext cx="1566455" cy="461665"/>
          </a:xfrm>
          <a:prstGeom prst="rect">
            <a:avLst/>
          </a:prstGeom>
          <a:noFill/>
        </p:spPr>
        <p:txBody>
          <a:bodyPr wrap="square" rtlCol="0">
            <a:spAutoFit/>
          </a:bodyPr>
          <a:lstStyle/>
          <a:p>
            <a:pPr algn="ctr">
              <a:spcAft>
                <a:spcPts val="600"/>
              </a:spcAft>
            </a:pPr>
            <a:r>
              <a:rPr lang="pt-BR" sz="2400" b="1" dirty="0">
                <a:solidFill>
                  <a:schemeClr val="bg1"/>
                </a:solidFill>
                <a:latin typeface="+mj-lt"/>
              </a:rPr>
              <a:t>REGULA</a:t>
            </a:r>
            <a:endParaRPr lang="pt-BR" sz="2000" b="1" dirty="0">
              <a:solidFill>
                <a:schemeClr val="bg1"/>
              </a:solidFill>
              <a:latin typeface="+mj-lt"/>
            </a:endParaRPr>
          </a:p>
        </p:txBody>
      </p:sp>
      <p:sp>
        <p:nvSpPr>
          <p:cNvPr id="41" name="CaixaDeTexto 40">
            <a:extLst>
              <a:ext uri="{FF2B5EF4-FFF2-40B4-BE49-F238E27FC236}">
                <a16:creationId xmlns:a16="http://schemas.microsoft.com/office/drawing/2014/main" id="{468B65D2-6AFF-92A7-E93A-A45AFE8894A8}"/>
              </a:ext>
            </a:extLst>
          </p:cNvPr>
          <p:cNvSpPr txBox="1"/>
          <p:nvPr/>
        </p:nvSpPr>
        <p:spPr>
          <a:xfrm>
            <a:off x="9272328" y="1780250"/>
            <a:ext cx="1826141" cy="461665"/>
          </a:xfrm>
          <a:prstGeom prst="rect">
            <a:avLst/>
          </a:prstGeom>
          <a:noFill/>
        </p:spPr>
        <p:txBody>
          <a:bodyPr wrap="square" rtlCol="0">
            <a:spAutoFit/>
          </a:bodyPr>
          <a:lstStyle/>
          <a:p>
            <a:pPr algn="ctr">
              <a:spcAft>
                <a:spcPts val="600"/>
              </a:spcAft>
            </a:pPr>
            <a:r>
              <a:rPr lang="pt-BR" sz="2400" b="1" dirty="0">
                <a:solidFill>
                  <a:schemeClr val="bg1"/>
                </a:solidFill>
                <a:latin typeface="+mj-lt"/>
              </a:rPr>
              <a:t>MEMÓRIA</a:t>
            </a:r>
            <a:endParaRPr lang="pt-BR" sz="2000" b="1" dirty="0">
              <a:solidFill>
                <a:schemeClr val="bg1"/>
              </a:solidFill>
              <a:latin typeface="+mj-lt"/>
            </a:endParaRPr>
          </a:p>
        </p:txBody>
      </p:sp>
      <p:sp>
        <p:nvSpPr>
          <p:cNvPr id="63" name="Forma Livre: Forma 62">
            <a:extLst>
              <a:ext uri="{FF2B5EF4-FFF2-40B4-BE49-F238E27FC236}">
                <a16:creationId xmlns:a16="http://schemas.microsoft.com/office/drawing/2014/main" id="{5D4E5426-542C-4B71-EE4F-A85DDDA61F8D}"/>
              </a:ext>
            </a:extLst>
          </p:cNvPr>
          <p:cNvSpPr/>
          <p:nvPr/>
        </p:nvSpPr>
        <p:spPr>
          <a:xfrm>
            <a:off x="7174455" y="2531673"/>
            <a:ext cx="677186" cy="566721"/>
          </a:xfrm>
          <a:custGeom>
            <a:avLst/>
            <a:gdLst>
              <a:gd name="connsiteX0" fmla="*/ 534353 w 537210"/>
              <a:gd name="connsiteY0" fmla="*/ 185738 h 449579"/>
              <a:gd name="connsiteX1" fmla="*/ 534353 w 537210"/>
              <a:gd name="connsiteY1" fmla="*/ 183833 h 449579"/>
              <a:gd name="connsiteX2" fmla="*/ 533400 w 537210"/>
              <a:gd name="connsiteY2" fmla="*/ 181928 h 449579"/>
              <a:gd name="connsiteX3" fmla="*/ 533400 w 537210"/>
              <a:gd name="connsiteY3" fmla="*/ 180975 h 449579"/>
              <a:gd name="connsiteX4" fmla="*/ 461010 w 537210"/>
              <a:gd name="connsiteY4" fmla="*/ 82868 h 449579"/>
              <a:gd name="connsiteX5" fmla="*/ 461010 w 537210"/>
              <a:gd name="connsiteY5" fmla="*/ 82868 h 449579"/>
              <a:gd name="connsiteX6" fmla="*/ 453390 w 537210"/>
              <a:gd name="connsiteY6" fmla="*/ 79058 h 449579"/>
              <a:gd name="connsiteX7" fmla="*/ 301943 w 537210"/>
              <a:gd name="connsiteY7" fmla="*/ 79058 h 449579"/>
              <a:gd name="connsiteX8" fmla="*/ 301943 w 537210"/>
              <a:gd name="connsiteY8" fmla="*/ 34290 h 449579"/>
              <a:gd name="connsiteX9" fmla="*/ 266700 w 537210"/>
              <a:gd name="connsiteY9" fmla="*/ 0 h 449579"/>
              <a:gd name="connsiteX10" fmla="*/ 232410 w 537210"/>
              <a:gd name="connsiteY10" fmla="*/ 34290 h 449579"/>
              <a:gd name="connsiteX11" fmla="*/ 232410 w 537210"/>
              <a:gd name="connsiteY11" fmla="*/ 79058 h 449579"/>
              <a:gd name="connsiteX12" fmla="*/ 80963 w 537210"/>
              <a:gd name="connsiteY12" fmla="*/ 79058 h 449579"/>
              <a:gd name="connsiteX13" fmla="*/ 73343 w 537210"/>
              <a:gd name="connsiteY13" fmla="*/ 82868 h 449579"/>
              <a:gd name="connsiteX14" fmla="*/ 73343 w 537210"/>
              <a:gd name="connsiteY14" fmla="*/ 82868 h 449579"/>
              <a:gd name="connsiteX15" fmla="*/ 952 w 537210"/>
              <a:gd name="connsiteY15" fmla="*/ 180975 h 449579"/>
              <a:gd name="connsiteX16" fmla="*/ 952 w 537210"/>
              <a:gd name="connsiteY16" fmla="*/ 181928 h 449579"/>
              <a:gd name="connsiteX17" fmla="*/ 0 w 537210"/>
              <a:gd name="connsiteY17" fmla="*/ 183833 h 449579"/>
              <a:gd name="connsiteX18" fmla="*/ 0 w 537210"/>
              <a:gd name="connsiteY18" fmla="*/ 185738 h 449579"/>
              <a:gd name="connsiteX19" fmla="*/ 0 w 537210"/>
              <a:gd name="connsiteY19" fmla="*/ 186690 h 449579"/>
              <a:gd name="connsiteX20" fmla="*/ 81915 w 537210"/>
              <a:gd name="connsiteY20" fmla="*/ 268605 h 449579"/>
              <a:gd name="connsiteX21" fmla="*/ 163830 w 537210"/>
              <a:gd name="connsiteY21" fmla="*/ 186690 h 449579"/>
              <a:gd name="connsiteX22" fmla="*/ 163830 w 537210"/>
              <a:gd name="connsiteY22" fmla="*/ 185738 h 449579"/>
              <a:gd name="connsiteX23" fmla="*/ 163830 w 537210"/>
              <a:gd name="connsiteY23" fmla="*/ 183833 h 449579"/>
              <a:gd name="connsiteX24" fmla="*/ 162878 w 537210"/>
              <a:gd name="connsiteY24" fmla="*/ 181928 h 449579"/>
              <a:gd name="connsiteX25" fmla="*/ 162878 w 537210"/>
              <a:gd name="connsiteY25" fmla="*/ 180975 h 449579"/>
              <a:gd name="connsiteX26" fmla="*/ 101918 w 537210"/>
              <a:gd name="connsiteY26" fmla="*/ 98108 h 449579"/>
              <a:gd name="connsiteX27" fmla="*/ 234315 w 537210"/>
              <a:gd name="connsiteY27" fmla="*/ 98108 h 449579"/>
              <a:gd name="connsiteX28" fmla="*/ 234315 w 537210"/>
              <a:gd name="connsiteY28" fmla="*/ 320040 h 449579"/>
              <a:gd name="connsiteX29" fmla="*/ 215265 w 537210"/>
              <a:gd name="connsiteY29" fmla="*/ 320040 h 449579"/>
              <a:gd name="connsiteX30" fmla="*/ 177165 w 537210"/>
              <a:gd name="connsiteY30" fmla="*/ 358140 h 449579"/>
              <a:gd name="connsiteX31" fmla="*/ 177165 w 537210"/>
              <a:gd name="connsiteY31" fmla="*/ 377190 h 449579"/>
              <a:gd name="connsiteX32" fmla="*/ 136208 w 537210"/>
              <a:gd name="connsiteY32" fmla="*/ 377190 h 449579"/>
              <a:gd name="connsiteX33" fmla="*/ 113348 w 537210"/>
              <a:gd name="connsiteY33" fmla="*/ 400050 h 449579"/>
              <a:gd name="connsiteX34" fmla="*/ 113348 w 537210"/>
              <a:gd name="connsiteY34" fmla="*/ 426720 h 449579"/>
              <a:gd name="connsiteX35" fmla="*/ 136208 w 537210"/>
              <a:gd name="connsiteY35" fmla="*/ 449580 h 449579"/>
              <a:gd name="connsiteX36" fmla="*/ 400050 w 537210"/>
              <a:gd name="connsiteY36" fmla="*/ 449580 h 449579"/>
              <a:gd name="connsiteX37" fmla="*/ 423863 w 537210"/>
              <a:gd name="connsiteY37" fmla="*/ 426720 h 449579"/>
              <a:gd name="connsiteX38" fmla="*/ 423863 w 537210"/>
              <a:gd name="connsiteY38" fmla="*/ 400050 h 449579"/>
              <a:gd name="connsiteX39" fmla="*/ 400050 w 537210"/>
              <a:gd name="connsiteY39" fmla="*/ 377190 h 449579"/>
              <a:gd name="connsiteX40" fmla="*/ 360045 w 537210"/>
              <a:gd name="connsiteY40" fmla="*/ 377190 h 449579"/>
              <a:gd name="connsiteX41" fmla="*/ 360045 w 537210"/>
              <a:gd name="connsiteY41" fmla="*/ 358140 h 449579"/>
              <a:gd name="connsiteX42" fmla="*/ 321945 w 537210"/>
              <a:gd name="connsiteY42" fmla="*/ 320040 h 449579"/>
              <a:gd name="connsiteX43" fmla="*/ 302895 w 537210"/>
              <a:gd name="connsiteY43" fmla="*/ 320040 h 449579"/>
              <a:gd name="connsiteX44" fmla="*/ 302895 w 537210"/>
              <a:gd name="connsiteY44" fmla="*/ 97155 h 449579"/>
              <a:gd name="connsiteX45" fmla="*/ 435293 w 537210"/>
              <a:gd name="connsiteY45" fmla="*/ 97155 h 449579"/>
              <a:gd name="connsiteX46" fmla="*/ 374333 w 537210"/>
              <a:gd name="connsiteY46" fmla="*/ 180023 h 449579"/>
              <a:gd name="connsiteX47" fmla="*/ 374333 w 537210"/>
              <a:gd name="connsiteY47" fmla="*/ 180975 h 449579"/>
              <a:gd name="connsiteX48" fmla="*/ 373380 w 537210"/>
              <a:gd name="connsiteY48" fmla="*/ 182880 h 449579"/>
              <a:gd name="connsiteX49" fmla="*/ 373380 w 537210"/>
              <a:gd name="connsiteY49" fmla="*/ 184785 h 449579"/>
              <a:gd name="connsiteX50" fmla="*/ 373380 w 537210"/>
              <a:gd name="connsiteY50" fmla="*/ 185738 h 449579"/>
              <a:gd name="connsiteX51" fmla="*/ 455295 w 537210"/>
              <a:gd name="connsiteY51" fmla="*/ 267653 h 449579"/>
              <a:gd name="connsiteX52" fmla="*/ 537210 w 537210"/>
              <a:gd name="connsiteY52" fmla="*/ 185738 h 449579"/>
              <a:gd name="connsiteX53" fmla="*/ 534353 w 537210"/>
              <a:gd name="connsiteY53" fmla="*/ 185738 h 449579"/>
              <a:gd name="connsiteX54" fmla="*/ 80963 w 537210"/>
              <a:gd name="connsiteY54" fmla="*/ 103823 h 449579"/>
              <a:gd name="connsiteX55" fmla="*/ 134303 w 537210"/>
              <a:gd name="connsiteY55" fmla="*/ 176213 h 449579"/>
              <a:gd name="connsiteX56" fmla="*/ 27623 w 537210"/>
              <a:gd name="connsiteY56" fmla="*/ 176213 h 449579"/>
              <a:gd name="connsiteX57" fmla="*/ 80963 w 537210"/>
              <a:gd name="connsiteY57" fmla="*/ 103823 h 449579"/>
              <a:gd name="connsiteX58" fmla="*/ 80963 w 537210"/>
              <a:gd name="connsiteY58" fmla="*/ 249555 h 449579"/>
              <a:gd name="connsiteX59" fmla="*/ 19050 w 537210"/>
              <a:gd name="connsiteY59" fmla="*/ 196215 h 449579"/>
              <a:gd name="connsiteX60" fmla="*/ 142875 w 537210"/>
              <a:gd name="connsiteY60" fmla="*/ 196215 h 449579"/>
              <a:gd name="connsiteX61" fmla="*/ 80963 w 537210"/>
              <a:gd name="connsiteY61" fmla="*/ 249555 h 449579"/>
              <a:gd name="connsiteX62" fmla="*/ 250508 w 537210"/>
              <a:gd name="connsiteY62" fmla="*/ 33338 h 449579"/>
              <a:gd name="connsiteX63" fmla="*/ 265748 w 537210"/>
              <a:gd name="connsiteY63" fmla="*/ 18098 h 449579"/>
              <a:gd name="connsiteX64" fmla="*/ 281940 w 537210"/>
              <a:gd name="connsiteY64" fmla="*/ 33338 h 449579"/>
              <a:gd name="connsiteX65" fmla="*/ 281940 w 537210"/>
              <a:gd name="connsiteY65" fmla="*/ 78105 h 449579"/>
              <a:gd name="connsiteX66" fmla="*/ 250508 w 537210"/>
              <a:gd name="connsiteY66" fmla="*/ 78105 h 449579"/>
              <a:gd name="connsiteX67" fmla="*/ 250508 w 537210"/>
              <a:gd name="connsiteY67" fmla="*/ 33338 h 449579"/>
              <a:gd name="connsiteX68" fmla="*/ 403860 w 537210"/>
              <a:gd name="connsiteY68" fmla="*/ 400050 h 449579"/>
              <a:gd name="connsiteX69" fmla="*/ 403860 w 537210"/>
              <a:gd name="connsiteY69" fmla="*/ 426720 h 449579"/>
              <a:gd name="connsiteX70" fmla="*/ 399098 w 537210"/>
              <a:gd name="connsiteY70" fmla="*/ 430530 h 449579"/>
              <a:gd name="connsiteX71" fmla="*/ 134303 w 537210"/>
              <a:gd name="connsiteY71" fmla="*/ 430530 h 449579"/>
              <a:gd name="connsiteX72" fmla="*/ 130493 w 537210"/>
              <a:gd name="connsiteY72" fmla="*/ 426720 h 449579"/>
              <a:gd name="connsiteX73" fmla="*/ 130493 w 537210"/>
              <a:gd name="connsiteY73" fmla="*/ 400050 h 449579"/>
              <a:gd name="connsiteX74" fmla="*/ 134303 w 537210"/>
              <a:gd name="connsiteY74" fmla="*/ 396240 h 449579"/>
              <a:gd name="connsiteX75" fmla="*/ 398145 w 537210"/>
              <a:gd name="connsiteY75" fmla="*/ 396240 h 449579"/>
              <a:gd name="connsiteX76" fmla="*/ 403860 w 537210"/>
              <a:gd name="connsiteY76" fmla="*/ 400050 h 449579"/>
              <a:gd name="connsiteX77" fmla="*/ 339090 w 537210"/>
              <a:gd name="connsiteY77" fmla="*/ 358140 h 449579"/>
              <a:gd name="connsiteX78" fmla="*/ 339090 w 537210"/>
              <a:gd name="connsiteY78" fmla="*/ 377190 h 449579"/>
              <a:gd name="connsiteX79" fmla="*/ 194310 w 537210"/>
              <a:gd name="connsiteY79" fmla="*/ 377190 h 449579"/>
              <a:gd name="connsiteX80" fmla="*/ 194310 w 537210"/>
              <a:gd name="connsiteY80" fmla="*/ 358140 h 449579"/>
              <a:gd name="connsiteX81" fmla="*/ 213360 w 537210"/>
              <a:gd name="connsiteY81" fmla="*/ 339090 h 449579"/>
              <a:gd name="connsiteX82" fmla="*/ 320993 w 537210"/>
              <a:gd name="connsiteY82" fmla="*/ 339090 h 449579"/>
              <a:gd name="connsiteX83" fmla="*/ 339090 w 537210"/>
              <a:gd name="connsiteY83" fmla="*/ 358140 h 449579"/>
              <a:gd name="connsiteX84" fmla="*/ 282893 w 537210"/>
              <a:gd name="connsiteY84" fmla="*/ 320040 h 449579"/>
              <a:gd name="connsiteX85" fmla="*/ 251460 w 537210"/>
              <a:gd name="connsiteY85" fmla="*/ 320040 h 449579"/>
              <a:gd name="connsiteX86" fmla="*/ 251460 w 537210"/>
              <a:gd name="connsiteY86" fmla="*/ 97155 h 449579"/>
              <a:gd name="connsiteX87" fmla="*/ 282893 w 537210"/>
              <a:gd name="connsiteY87" fmla="*/ 97155 h 449579"/>
              <a:gd name="connsiteX88" fmla="*/ 282893 w 537210"/>
              <a:gd name="connsiteY88" fmla="*/ 320040 h 449579"/>
              <a:gd name="connsiteX89" fmla="*/ 505778 w 537210"/>
              <a:gd name="connsiteY89" fmla="*/ 177165 h 449579"/>
              <a:gd name="connsiteX90" fmla="*/ 399098 w 537210"/>
              <a:gd name="connsiteY90" fmla="*/ 177165 h 449579"/>
              <a:gd name="connsiteX91" fmla="*/ 452438 w 537210"/>
              <a:gd name="connsiteY91" fmla="*/ 104775 h 449579"/>
              <a:gd name="connsiteX92" fmla="*/ 505778 w 537210"/>
              <a:gd name="connsiteY92" fmla="*/ 177165 h 449579"/>
              <a:gd name="connsiteX93" fmla="*/ 452438 w 537210"/>
              <a:gd name="connsiteY93" fmla="*/ 249555 h 449579"/>
              <a:gd name="connsiteX94" fmla="*/ 390525 w 537210"/>
              <a:gd name="connsiteY94" fmla="*/ 196215 h 449579"/>
              <a:gd name="connsiteX95" fmla="*/ 514350 w 537210"/>
              <a:gd name="connsiteY95" fmla="*/ 196215 h 449579"/>
              <a:gd name="connsiteX96" fmla="*/ 452438 w 537210"/>
              <a:gd name="connsiteY96" fmla="*/ 249555 h 4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37210" h="449579">
                <a:moveTo>
                  <a:pt x="534353" y="185738"/>
                </a:moveTo>
                <a:cubicBezTo>
                  <a:pt x="534353" y="184785"/>
                  <a:pt x="534353" y="184785"/>
                  <a:pt x="534353" y="183833"/>
                </a:cubicBezTo>
                <a:cubicBezTo>
                  <a:pt x="534353" y="182880"/>
                  <a:pt x="533400" y="182880"/>
                  <a:pt x="533400" y="181928"/>
                </a:cubicBezTo>
                <a:cubicBezTo>
                  <a:pt x="533400" y="181928"/>
                  <a:pt x="533400" y="180975"/>
                  <a:pt x="533400" y="180975"/>
                </a:cubicBezTo>
                <a:lnTo>
                  <a:pt x="461010" y="82868"/>
                </a:lnTo>
                <a:cubicBezTo>
                  <a:pt x="461010" y="82868"/>
                  <a:pt x="461010" y="82868"/>
                  <a:pt x="461010" y="82868"/>
                </a:cubicBezTo>
                <a:cubicBezTo>
                  <a:pt x="459105" y="80963"/>
                  <a:pt x="457200" y="79058"/>
                  <a:pt x="453390" y="79058"/>
                </a:cubicBezTo>
                <a:lnTo>
                  <a:pt x="301943" y="79058"/>
                </a:lnTo>
                <a:lnTo>
                  <a:pt x="301943" y="34290"/>
                </a:lnTo>
                <a:cubicBezTo>
                  <a:pt x="301943" y="15240"/>
                  <a:pt x="285750" y="0"/>
                  <a:pt x="266700" y="0"/>
                </a:cubicBezTo>
                <a:cubicBezTo>
                  <a:pt x="247650" y="0"/>
                  <a:pt x="232410" y="15240"/>
                  <a:pt x="232410" y="34290"/>
                </a:cubicBezTo>
                <a:lnTo>
                  <a:pt x="232410" y="79058"/>
                </a:lnTo>
                <a:lnTo>
                  <a:pt x="80963" y="79058"/>
                </a:lnTo>
                <a:cubicBezTo>
                  <a:pt x="78105" y="79058"/>
                  <a:pt x="75248" y="80010"/>
                  <a:pt x="73343" y="82868"/>
                </a:cubicBezTo>
                <a:cubicBezTo>
                  <a:pt x="73343" y="82868"/>
                  <a:pt x="73343" y="82868"/>
                  <a:pt x="73343" y="82868"/>
                </a:cubicBezTo>
                <a:lnTo>
                  <a:pt x="952" y="180975"/>
                </a:lnTo>
                <a:cubicBezTo>
                  <a:pt x="952" y="180975"/>
                  <a:pt x="952" y="181928"/>
                  <a:pt x="952" y="181928"/>
                </a:cubicBezTo>
                <a:cubicBezTo>
                  <a:pt x="0" y="181928"/>
                  <a:pt x="0" y="182880"/>
                  <a:pt x="0" y="183833"/>
                </a:cubicBezTo>
                <a:cubicBezTo>
                  <a:pt x="0" y="184785"/>
                  <a:pt x="0" y="184785"/>
                  <a:pt x="0" y="185738"/>
                </a:cubicBezTo>
                <a:cubicBezTo>
                  <a:pt x="0" y="185738"/>
                  <a:pt x="0" y="186690"/>
                  <a:pt x="0" y="186690"/>
                </a:cubicBezTo>
                <a:cubicBezTo>
                  <a:pt x="0" y="231458"/>
                  <a:pt x="37148" y="268605"/>
                  <a:pt x="81915" y="268605"/>
                </a:cubicBezTo>
                <a:cubicBezTo>
                  <a:pt x="126682" y="268605"/>
                  <a:pt x="163830" y="231458"/>
                  <a:pt x="163830" y="186690"/>
                </a:cubicBezTo>
                <a:cubicBezTo>
                  <a:pt x="163830" y="186690"/>
                  <a:pt x="163830" y="185738"/>
                  <a:pt x="163830" y="185738"/>
                </a:cubicBezTo>
                <a:cubicBezTo>
                  <a:pt x="163830" y="184785"/>
                  <a:pt x="163830" y="184785"/>
                  <a:pt x="163830" y="183833"/>
                </a:cubicBezTo>
                <a:cubicBezTo>
                  <a:pt x="163830" y="182880"/>
                  <a:pt x="162878" y="182880"/>
                  <a:pt x="162878" y="181928"/>
                </a:cubicBezTo>
                <a:cubicBezTo>
                  <a:pt x="162878" y="181928"/>
                  <a:pt x="162878" y="180975"/>
                  <a:pt x="162878" y="180975"/>
                </a:cubicBezTo>
                <a:lnTo>
                  <a:pt x="101918" y="98108"/>
                </a:lnTo>
                <a:lnTo>
                  <a:pt x="234315" y="98108"/>
                </a:lnTo>
                <a:lnTo>
                  <a:pt x="234315" y="320040"/>
                </a:lnTo>
                <a:lnTo>
                  <a:pt x="215265" y="320040"/>
                </a:lnTo>
                <a:cubicBezTo>
                  <a:pt x="194310" y="320040"/>
                  <a:pt x="177165" y="336233"/>
                  <a:pt x="177165" y="358140"/>
                </a:cubicBezTo>
                <a:lnTo>
                  <a:pt x="177165" y="377190"/>
                </a:lnTo>
                <a:lnTo>
                  <a:pt x="136208" y="377190"/>
                </a:lnTo>
                <a:cubicBezTo>
                  <a:pt x="122873" y="377190"/>
                  <a:pt x="113348" y="386715"/>
                  <a:pt x="113348" y="400050"/>
                </a:cubicBezTo>
                <a:lnTo>
                  <a:pt x="113348" y="426720"/>
                </a:lnTo>
                <a:cubicBezTo>
                  <a:pt x="113348" y="440055"/>
                  <a:pt x="122873" y="449580"/>
                  <a:pt x="136208" y="449580"/>
                </a:cubicBezTo>
                <a:lnTo>
                  <a:pt x="400050" y="449580"/>
                </a:lnTo>
                <a:cubicBezTo>
                  <a:pt x="413385" y="449580"/>
                  <a:pt x="423863" y="439103"/>
                  <a:pt x="423863" y="426720"/>
                </a:cubicBezTo>
                <a:lnTo>
                  <a:pt x="423863" y="400050"/>
                </a:lnTo>
                <a:cubicBezTo>
                  <a:pt x="423863" y="386715"/>
                  <a:pt x="413385" y="377190"/>
                  <a:pt x="400050" y="377190"/>
                </a:cubicBezTo>
                <a:lnTo>
                  <a:pt x="360045" y="377190"/>
                </a:lnTo>
                <a:lnTo>
                  <a:pt x="360045" y="358140"/>
                </a:lnTo>
                <a:cubicBezTo>
                  <a:pt x="360045" y="337185"/>
                  <a:pt x="343853" y="320040"/>
                  <a:pt x="321945" y="320040"/>
                </a:cubicBezTo>
                <a:lnTo>
                  <a:pt x="302895" y="320040"/>
                </a:lnTo>
                <a:lnTo>
                  <a:pt x="302895" y="97155"/>
                </a:lnTo>
                <a:lnTo>
                  <a:pt x="435293" y="97155"/>
                </a:lnTo>
                <a:lnTo>
                  <a:pt x="374333" y="180023"/>
                </a:lnTo>
                <a:cubicBezTo>
                  <a:pt x="374333" y="180023"/>
                  <a:pt x="374333" y="180975"/>
                  <a:pt x="374333" y="180975"/>
                </a:cubicBezTo>
                <a:cubicBezTo>
                  <a:pt x="374333" y="181928"/>
                  <a:pt x="373380" y="181928"/>
                  <a:pt x="373380" y="182880"/>
                </a:cubicBezTo>
                <a:cubicBezTo>
                  <a:pt x="373380" y="183833"/>
                  <a:pt x="373380" y="183833"/>
                  <a:pt x="373380" y="184785"/>
                </a:cubicBezTo>
                <a:cubicBezTo>
                  <a:pt x="373380" y="184785"/>
                  <a:pt x="373380" y="185738"/>
                  <a:pt x="373380" y="185738"/>
                </a:cubicBezTo>
                <a:cubicBezTo>
                  <a:pt x="373380" y="230505"/>
                  <a:pt x="410528" y="267653"/>
                  <a:pt x="455295" y="267653"/>
                </a:cubicBezTo>
                <a:cubicBezTo>
                  <a:pt x="500063" y="267653"/>
                  <a:pt x="537210" y="230505"/>
                  <a:pt x="537210" y="185738"/>
                </a:cubicBezTo>
                <a:cubicBezTo>
                  <a:pt x="534353" y="185738"/>
                  <a:pt x="534353" y="185738"/>
                  <a:pt x="534353" y="185738"/>
                </a:cubicBezTo>
                <a:close/>
                <a:moveTo>
                  <a:pt x="80963" y="103823"/>
                </a:moveTo>
                <a:lnTo>
                  <a:pt x="134303" y="176213"/>
                </a:lnTo>
                <a:lnTo>
                  <a:pt x="27623" y="176213"/>
                </a:lnTo>
                <a:lnTo>
                  <a:pt x="80963" y="103823"/>
                </a:lnTo>
                <a:close/>
                <a:moveTo>
                  <a:pt x="80963" y="249555"/>
                </a:moveTo>
                <a:cubicBezTo>
                  <a:pt x="50483" y="249555"/>
                  <a:pt x="23813" y="225742"/>
                  <a:pt x="19050" y="196215"/>
                </a:cubicBezTo>
                <a:lnTo>
                  <a:pt x="142875" y="196215"/>
                </a:lnTo>
                <a:cubicBezTo>
                  <a:pt x="138113" y="225742"/>
                  <a:pt x="112395" y="249555"/>
                  <a:pt x="80963" y="249555"/>
                </a:cubicBezTo>
                <a:close/>
                <a:moveTo>
                  <a:pt x="250508" y="33338"/>
                </a:moveTo>
                <a:cubicBezTo>
                  <a:pt x="250508" y="24765"/>
                  <a:pt x="257175" y="18098"/>
                  <a:pt x="265748" y="18098"/>
                </a:cubicBezTo>
                <a:cubicBezTo>
                  <a:pt x="275273" y="18098"/>
                  <a:pt x="281940" y="24765"/>
                  <a:pt x="281940" y="33338"/>
                </a:cubicBezTo>
                <a:lnTo>
                  <a:pt x="281940" y="78105"/>
                </a:lnTo>
                <a:lnTo>
                  <a:pt x="250508" y="78105"/>
                </a:lnTo>
                <a:lnTo>
                  <a:pt x="250508" y="33338"/>
                </a:lnTo>
                <a:close/>
                <a:moveTo>
                  <a:pt x="403860" y="400050"/>
                </a:moveTo>
                <a:lnTo>
                  <a:pt x="403860" y="426720"/>
                </a:lnTo>
                <a:cubicBezTo>
                  <a:pt x="403860" y="429578"/>
                  <a:pt x="401003" y="430530"/>
                  <a:pt x="399098" y="430530"/>
                </a:cubicBezTo>
                <a:lnTo>
                  <a:pt x="134303" y="430530"/>
                </a:lnTo>
                <a:cubicBezTo>
                  <a:pt x="131445" y="430530"/>
                  <a:pt x="130493" y="429578"/>
                  <a:pt x="130493" y="426720"/>
                </a:cubicBezTo>
                <a:lnTo>
                  <a:pt x="130493" y="400050"/>
                </a:lnTo>
                <a:cubicBezTo>
                  <a:pt x="130493" y="397193"/>
                  <a:pt x="131445" y="396240"/>
                  <a:pt x="134303" y="396240"/>
                </a:cubicBezTo>
                <a:lnTo>
                  <a:pt x="398145" y="396240"/>
                </a:lnTo>
                <a:cubicBezTo>
                  <a:pt x="401003" y="396240"/>
                  <a:pt x="403860" y="397193"/>
                  <a:pt x="403860" y="400050"/>
                </a:cubicBezTo>
                <a:close/>
                <a:moveTo>
                  <a:pt x="339090" y="358140"/>
                </a:moveTo>
                <a:lnTo>
                  <a:pt x="339090" y="377190"/>
                </a:lnTo>
                <a:lnTo>
                  <a:pt x="194310" y="377190"/>
                </a:lnTo>
                <a:lnTo>
                  <a:pt x="194310" y="358140"/>
                </a:lnTo>
                <a:cubicBezTo>
                  <a:pt x="194310" y="347663"/>
                  <a:pt x="202883" y="339090"/>
                  <a:pt x="213360" y="339090"/>
                </a:cubicBezTo>
                <a:lnTo>
                  <a:pt x="320993" y="339090"/>
                </a:lnTo>
                <a:cubicBezTo>
                  <a:pt x="330518" y="339090"/>
                  <a:pt x="339090" y="347663"/>
                  <a:pt x="339090" y="358140"/>
                </a:cubicBezTo>
                <a:close/>
                <a:moveTo>
                  <a:pt x="282893" y="320040"/>
                </a:moveTo>
                <a:lnTo>
                  <a:pt x="251460" y="320040"/>
                </a:lnTo>
                <a:lnTo>
                  <a:pt x="251460" y="97155"/>
                </a:lnTo>
                <a:lnTo>
                  <a:pt x="282893" y="97155"/>
                </a:lnTo>
                <a:lnTo>
                  <a:pt x="282893" y="320040"/>
                </a:lnTo>
                <a:close/>
                <a:moveTo>
                  <a:pt x="505778" y="177165"/>
                </a:moveTo>
                <a:lnTo>
                  <a:pt x="399098" y="177165"/>
                </a:lnTo>
                <a:lnTo>
                  <a:pt x="452438" y="104775"/>
                </a:lnTo>
                <a:lnTo>
                  <a:pt x="505778" y="177165"/>
                </a:lnTo>
                <a:close/>
                <a:moveTo>
                  <a:pt x="452438" y="249555"/>
                </a:moveTo>
                <a:cubicBezTo>
                  <a:pt x="421005" y="249555"/>
                  <a:pt x="395288" y="226695"/>
                  <a:pt x="390525" y="196215"/>
                </a:cubicBezTo>
                <a:lnTo>
                  <a:pt x="514350" y="196215"/>
                </a:lnTo>
                <a:cubicBezTo>
                  <a:pt x="509588" y="225742"/>
                  <a:pt x="482918" y="249555"/>
                  <a:pt x="452438" y="249555"/>
                </a:cubicBezTo>
                <a:close/>
              </a:path>
            </a:pathLst>
          </a:custGeom>
          <a:solidFill>
            <a:schemeClr val="bg1"/>
          </a:solidFill>
          <a:ln w="9525" cap="flat">
            <a:noFill/>
            <a:prstDash val="solid"/>
            <a:miter/>
          </a:ln>
        </p:spPr>
        <p:txBody>
          <a:bodyPr rtlCol="0" anchor="ctr"/>
          <a:lstStyle/>
          <a:p>
            <a:endParaRPr lang="pt-BR"/>
          </a:p>
        </p:txBody>
      </p:sp>
      <p:grpSp>
        <p:nvGrpSpPr>
          <p:cNvPr id="89" name="Agrupar 88">
            <a:extLst>
              <a:ext uri="{FF2B5EF4-FFF2-40B4-BE49-F238E27FC236}">
                <a16:creationId xmlns:a16="http://schemas.microsoft.com/office/drawing/2014/main" id="{C883D9DA-93EA-29FF-AAC5-2D84BDCF28C5}"/>
              </a:ext>
            </a:extLst>
          </p:cNvPr>
          <p:cNvGrpSpPr/>
          <p:nvPr/>
        </p:nvGrpSpPr>
        <p:grpSpPr>
          <a:xfrm>
            <a:off x="4397212" y="2472418"/>
            <a:ext cx="687272" cy="687030"/>
            <a:chOff x="9104838" y="778809"/>
            <a:chExt cx="571501" cy="571300"/>
          </a:xfrm>
          <a:solidFill>
            <a:schemeClr val="bg1"/>
          </a:solidFill>
        </p:grpSpPr>
        <p:sp>
          <p:nvSpPr>
            <p:cNvPr id="67" name="Forma Livre: Forma 66">
              <a:extLst>
                <a:ext uri="{FF2B5EF4-FFF2-40B4-BE49-F238E27FC236}">
                  <a16:creationId xmlns:a16="http://schemas.microsoft.com/office/drawing/2014/main" id="{2B6739FD-FC74-FDBC-8DC9-C4BA6C8613F9}"/>
                </a:ext>
              </a:extLst>
            </p:cNvPr>
            <p:cNvSpPr/>
            <p:nvPr/>
          </p:nvSpPr>
          <p:spPr>
            <a:xfrm>
              <a:off x="9276287" y="969109"/>
              <a:ext cx="219075" cy="381000"/>
            </a:xfrm>
            <a:custGeom>
              <a:avLst/>
              <a:gdLst>
                <a:gd name="connsiteX0" fmla="*/ 219075 w 219075"/>
                <a:gd name="connsiteY0" fmla="*/ 114300 h 381000"/>
                <a:gd name="connsiteX1" fmla="*/ 218594 w 219075"/>
                <a:gd name="connsiteY1" fmla="*/ 114300 h 381000"/>
                <a:gd name="connsiteX2" fmla="*/ 219075 w 219075"/>
                <a:gd name="connsiteY2" fmla="*/ 109538 h 381000"/>
                <a:gd name="connsiteX3" fmla="*/ 219075 w 219075"/>
                <a:gd name="connsiteY3" fmla="*/ 61913 h 381000"/>
                <a:gd name="connsiteX4" fmla="*/ 185738 w 219075"/>
                <a:gd name="connsiteY4" fmla="*/ 28575 h 381000"/>
                <a:gd name="connsiteX5" fmla="*/ 171314 w 219075"/>
                <a:gd name="connsiteY5" fmla="*/ 31993 h 381000"/>
                <a:gd name="connsiteX6" fmla="*/ 136909 w 219075"/>
                <a:gd name="connsiteY6" fmla="*/ 23 h 381000"/>
                <a:gd name="connsiteX7" fmla="*/ 114329 w 219075"/>
                <a:gd name="connsiteY7" fmla="*/ 10046 h 381000"/>
                <a:gd name="connsiteX8" fmla="*/ 114081 w 219075"/>
                <a:gd name="connsiteY8" fmla="*/ 9744 h 381000"/>
                <a:gd name="connsiteX9" fmla="*/ 67090 w 219075"/>
                <a:gd name="connsiteY9" fmla="*/ 9721 h 381000"/>
                <a:gd name="connsiteX10" fmla="*/ 58870 w 219075"/>
                <a:gd name="connsiteY10" fmla="*/ 23283 h 381000"/>
                <a:gd name="connsiteX11" fmla="*/ 13757 w 219075"/>
                <a:gd name="connsiteY11" fmla="*/ 35983 h 381000"/>
                <a:gd name="connsiteX12" fmla="*/ 9525 w 219075"/>
                <a:gd name="connsiteY12" fmla="*/ 52388 h 381000"/>
                <a:gd name="connsiteX13" fmla="*/ 9525 w 219075"/>
                <a:gd name="connsiteY13" fmla="*/ 98306 h 381000"/>
                <a:gd name="connsiteX14" fmla="*/ 0 w 219075"/>
                <a:gd name="connsiteY14" fmla="*/ 128207 h 381000"/>
                <a:gd name="connsiteX15" fmla="*/ 0 w 219075"/>
                <a:gd name="connsiteY15" fmla="*/ 187738 h 381000"/>
                <a:gd name="connsiteX16" fmla="*/ 12539 w 219075"/>
                <a:gd name="connsiteY16" fmla="*/ 217369 h 381000"/>
                <a:gd name="connsiteX17" fmla="*/ 38100 w 219075"/>
                <a:gd name="connsiteY17" fmla="*/ 242158 h 381000"/>
                <a:gd name="connsiteX18" fmla="*/ 38100 w 219075"/>
                <a:gd name="connsiteY18" fmla="*/ 381000 h 381000"/>
                <a:gd name="connsiteX19" fmla="*/ 57150 w 219075"/>
                <a:gd name="connsiteY19" fmla="*/ 381000 h 381000"/>
                <a:gd name="connsiteX20" fmla="*/ 57150 w 219075"/>
                <a:gd name="connsiteY20" fmla="*/ 238125 h 381000"/>
                <a:gd name="connsiteX21" fmla="*/ 54257 w 219075"/>
                <a:gd name="connsiteY21" fmla="*/ 231289 h 381000"/>
                <a:gd name="connsiteX22" fmla="*/ 25803 w 219075"/>
                <a:gd name="connsiteY22" fmla="*/ 203695 h 381000"/>
                <a:gd name="connsiteX23" fmla="*/ 19050 w 219075"/>
                <a:gd name="connsiteY23" fmla="*/ 187738 h 381000"/>
                <a:gd name="connsiteX24" fmla="*/ 19050 w 219075"/>
                <a:gd name="connsiteY24" fmla="*/ 128207 h 381000"/>
                <a:gd name="connsiteX25" fmla="*/ 52006 w 219075"/>
                <a:gd name="connsiteY25" fmla="*/ 95250 h 381000"/>
                <a:gd name="connsiteX26" fmla="*/ 88967 w 219075"/>
                <a:gd name="connsiteY26" fmla="*/ 95250 h 381000"/>
                <a:gd name="connsiteX27" fmla="*/ 100938 w 219075"/>
                <a:gd name="connsiteY27" fmla="*/ 100441 h 381000"/>
                <a:gd name="connsiteX28" fmla="*/ 104732 w 219075"/>
                <a:gd name="connsiteY28" fmla="*/ 109989 h 381000"/>
                <a:gd name="connsiteX29" fmla="*/ 104652 w 219075"/>
                <a:gd name="connsiteY29" fmla="*/ 110818 h 381000"/>
                <a:gd name="connsiteX30" fmla="*/ 103549 w 219075"/>
                <a:gd name="connsiteY30" fmla="*/ 115320 h 381000"/>
                <a:gd name="connsiteX31" fmla="*/ 103387 w 219075"/>
                <a:gd name="connsiteY31" fmla="*/ 115626 h 381000"/>
                <a:gd name="connsiteX32" fmla="*/ 90488 w 219075"/>
                <a:gd name="connsiteY32" fmla="*/ 123825 h 381000"/>
                <a:gd name="connsiteX33" fmla="*/ 57150 w 219075"/>
                <a:gd name="connsiteY33" fmla="*/ 123825 h 381000"/>
                <a:gd name="connsiteX34" fmla="*/ 47625 w 219075"/>
                <a:gd name="connsiteY34" fmla="*/ 133350 h 381000"/>
                <a:gd name="connsiteX35" fmla="*/ 47625 w 219075"/>
                <a:gd name="connsiteY35" fmla="*/ 152400 h 381000"/>
                <a:gd name="connsiteX36" fmla="*/ 50499 w 219075"/>
                <a:gd name="connsiteY36" fmla="*/ 159219 h 381000"/>
                <a:gd name="connsiteX37" fmla="*/ 76270 w 219075"/>
                <a:gd name="connsiteY37" fmla="*/ 172418 h 381000"/>
                <a:gd name="connsiteX38" fmla="*/ 114300 w 219075"/>
                <a:gd name="connsiteY38" fmla="*/ 219075 h 381000"/>
                <a:gd name="connsiteX39" fmla="*/ 133350 w 219075"/>
                <a:gd name="connsiteY39" fmla="*/ 219075 h 381000"/>
                <a:gd name="connsiteX40" fmla="*/ 80097 w 219075"/>
                <a:gd name="connsiteY40" fmla="*/ 153759 h 381000"/>
                <a:gd name="connsiteX41" fmla="*/ 66675 w 219075"/>
                <a:gd name="connsiteY41" fmla="*/ 148075 h 381000"/>
                <a:gd name="connsiteX42" fmla="*/ 66675 w 219075"/>
                <a:gd name="connsiteY42" fmla="*/ 142875 h 381000"/>
                <a:gd name="connsiteX43" fmla="*/ 90488 w 219075"/>
                <a:gd name="connsiteY43" fmla="*/ 142875 h 381000"/>
                <a:gd name="connsiteX44" fmla="*/ 97060 w 219075"/>
                <a:gd name="connsiteY44" fmla="*/ 142237 h 381000"/>
                <a:gd name="connsiteX45" fmla="*/ 109002 w 219075"/>
                <a:gd name="connsiteY45" fmla="*/ 137304 h 381000"/>
                <a:gd name="connsiteX46" fmla="*/ 109848 w 219075"/>
                <a:gd name="connsiteY46" fmla="*/ 136609 h 381000"/>
                <a:gd name="connsiteX47" fmla="*/ 114081 w 219075"/>
                <a:gd name="connsiteY47" fmla="*/ 133132 h 381000"/>
                <a:gd name="connsiteX48" fmla="*/ 114084 w 219075"/>
                <a:gd name="connsiteY48" fmla="*/ 133130 h 381000"/>
                <a:gd name="connsiteX49" fmla="*/ 114086 w 219075"/>
                <a:gd name="connsiteY49" fmla="*/ 133127 h 381000"/>
                <a:gd name="connsiteX50" fmla="*/ 114331 w 219075"/>
                <a:gd name="connsiteY50" fmla="*/ 132833 h 381000"/>
                <a:gd name="connsiteX51" fmla="*/ 161239 w 219075"/>
                <a:gd name="connsiteY51" fmla="*/ 133482 h 381000"/>
                <a:gd name="connsiteX52" fmla="*/ 161925 w 219075"/>
                <a:gd name="connsiteY52" fmla="*/ 132795 h 381000"/>
                <a:gd name="connsiteX53" fmla="*/ 200025 w 219075"/>
                <a:gd name="connsiteY53" fmla="*/ 139532 h 381000"/>
                <a:gd name="connsiteX54" fmla="*/ 200025 w 219075"/>
                <a:gd name="connsiteY54" fmla="*/ 198500 h 381000"/>
                <a:gd name="connsiteX55" fmla="*/ 177947 w 219075"/>
                <a:gd name="connsiteY55" fmla="*/ 229094 h 381000"/>
                <a:gd name="connsiteX56" fmla="*/ 171450 w 219075"/>
                <a:gd name="connsiteY56" fmla="*/ 238125 h 381000"/>
                <a:gd name="connsiteX57" fmla="*/ 171450 w 219075"/>
                <a:gd name="connsiteY57" fmla="*/ 381000 h 381000"/>
                <a:gd name="connsiteX58" fmla="*/ 190500 w 219075"/>
                <a:gd name="connsiteY58" fmla="*/ 381000 h 381000"/>
                <a:gd name="connsiteX59" fmla="*/ 190500 w 219075"/>
                <a:gd name="connsiteY59" fmla="*/ 244479 h 381000"/>
                <a:gd name="connsiteX60" fmla="*/ 219075 w 219075"/>
                <a:gd name="connsiteY60" fmla="*/ 198500 h 381000"/>
                <a:gd name="connsiteX61" fmla="*/ 28575 w 219075"/>
                <a:gd name="connsiteY61" fmla="*/ 81841 h 381000"/>
                <a:gd name="connsiteX62" fmla="*/ 28575 w 219075"/>
                <a:gd name="connsiteY62" fmla="*/ 52388 h 381000"/>
                <a:gd name="connsiteX63" fmla="*/ 42863 w 219075"/>
                <a:gd name="connsiteY63" fmla="*/ 38100 h 381000"/>
                <a:gd name="connsiteX64" fmla="*/ 57150 w 219075"/>
                <a:gd name="connsiteY64" fmla="*/ 52388 h 381000"/>
                <a:gd name="connsiteX65" fmla="*/ 57150 w 219075"/>
                <a:gd name="connsiteY65" fmla="*/ 76200 h 381000"/>
                <a:gd name="connsiteX66" fmla="*/ 52006 w 219075"/>
                <a:gd name="connsiteY66" fmla="*/ 76200 h 381000"/>
                <a:gd name="connsiteX67" fmla="*/ 28575 w 219075"/>
                <a:gd name="connsiteY67" fmla="*/ 81841 h 381000"/>
                <a:gd name="connsiteX68" fmla="*/ 88967 w 219075"/>
                <a:gd name="connsiteY68" fmla="*/ 76200 h 381000"/>
                <a:gd name="connsiteX69" fmla="*/ 76200 w 219075"/>
                <a:gd name="connsiteY69" fmla="*/ 76200 h 381000"/>
                <a:gd name="connsiteX70" fmla="*/ 76200 w 219075"/>
                <a:gd name="connsiteY70" fmla="*/ 33338 h 381000"/>
                <a:gd name="connsiteX71" fmla="*/ 90488 w 219075"/>
                <a:gd name="connsiteY71" fmla="*/ 19050 h 381000"/>
                <a:gd name="connsiteX72" fmla="*/ 104775 w 219075"/>
                <a:gd name="connsiteY72" fmla="*/ 33338 h 381000"/>
                <a:gd name="connsiteX73" fmla="*/ 104775 w 219075"/>
                <a:gd name="connsiteY73" fmla="*/ 80102 h 381000"/>
                <a:gd name="connsiteX74" fmla="*/ 88967 w 219075"/>
                <a:gd name="connsiteY74" fmla="*/ 76200 h 381000"/>
                <a:gd name="connsiteX75" fmla="*/ 138113 w 219075"/>
                <a:gd name="connsiteY75" fmla="*/ 123825 h 381000"/>
                <a:gd name="connsiteX76" fmla="*/ 123825 w 219075"/>
                <a:gd name="connsiteY76" fmla="*/ 109538 h 381000"/>
                <a:gd name="connsiteX77" fmla="*/ 123825 w 219075"/>
                <a:gd name="connsiteY77" fmla="*/ 33338 h 381000"/>
                <a:gd name="connsiteX78" fmla="*/ 138113 w 219075"/>
                <a:gd name="connsiteY78" fmla="*/ 19050 h 381000"/>
                <a:gd name="connsiteX79" fmla="*/ 152400 w 219075"/>
                <a:gd name="connsiteY79" fmla="*/ 33338 h 381000"/>
                <a:gd name="connsiteX80" fmla="*/ 152400 w 219075"/>
                <a:gd name="connsiteY80" fmla="*/ 109538 h 381000"/>
                <a:gd name="connsiteX81" fmla="*/ 138113 w 219075"/>
                <a:gd name="connsiteY81" fmla="*/ 123825 h 381000"/>
                <a:gd name="connsiteX82" fmla="*/ 185738 w 219075"/>
                <a:gd name="connsiteY82" fmla="*/ 123825 h 381000"/>
                <a:gd name="connsiteX83" fmla="*/ 171450 w 219075"/>
                <a:gd name="connsiteY83" fmla="*/ 109538 h 381000"/>
                <a:gd name="connsiteX84" fmla="*/ 171450 w 219075"/>
                <a:gd name="connsiteY84" fmla="*/ 61913 h 381000"/>
                <a:gd name="connsiteX85" fmla="*/ 185738 w 219075"/>
                <a:gd name="connsiteY85" fmla="*/ 47625 h 381000"/>
                <a:gd name="connsiteX86" fmla="*/ 200025 w 219075"/>
                <a:gd name="connsiteY86" fmla="*/ 61913 h 381000"/>
                <a:gd name="connsiteX87" fmla="*/ 200025 w 219075"/>
                <a:gd name="connsiteY87" fmla="*/ 109538 h 381000"/>
                <a:gd name="connsiteX88" fmla="*/ 185738 w 219075"/>
                <a:gd name="connsiteY88" fmla="*/ 12382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19075" h="381000">
                  <a:moveTo>
                    <a:pt x="219075" y="114300"/>
                  </a:moveTo>
                  <a:lnTo>
                    <a:pt x="218594" y="114300"/>
                  </a:lnTo>
                  <a:cubicBezTo>
                    <a:pt x="218869" y="112727"/>
                    <a:pt x="219030" y="111135"/>
                    <a:pt x="219075" y="109538"/>
                  </a:cubicBezTo>
                  <a:lnTo>
                    <a:pt x="219075" y="61913"/>
                  </a:lnTo>
                  <a:cubicBezTo>
                    <a:pt x="219053" y="43510"/>
                    <a:pt x="204140" y="28598"/>
                    <a:pt x="185738" y="28575"/>
                  </a:cubicBezTo>
                  <a:cubicBezTo>
                    <a:pt x="180732" y="28604"/>
                    <a:pt x="175800" y="29773"/>
                    <a:pt x="171314" y="31993"/>
                  </a:cubicBezTo>
                  <a:cubicBezTo>
                    <a:pt x="170642" y="13664"/>
                    <a:pt x="155238" y="-649"/>
                    <a:pt x="136909" y="23"/>
                  </a:cubicBezTo>
                  <a:cubicBezTo>
                    <a:pt x="128374" y="336"/>
                    <a:pt x="120287" y="3925"/>
                    <a:pt x="114329" y="10046"/>
                  </a:cubicBezTo>
                  <a:cubicBezTo>
                    <a:pt x="114237" y="9952"/>
                    <a:pt x="114174" y="9837"/>
                    <a:pt x="114081" y="9744"/>
                  </a:cubicBezTo>
                  <a:cubicBezTo>
                    <a:pt x="101111" y="-3239"/>
                    <a:pt x="80073" y="-3249"/>
                    <a:pt x="67090" y="9721"/>
                  </a:cubicBezTo>
                  <a:cubicBezTo>
                    <a:pt x="63296" y="13512"/>
                    <a:pt x="60475" y="18165"/>
                    <a:pt x="58870" y="23283"/>
                  </a:cubicBezTo>
                  <a:cubicBezTo>
                    <a:pt x="42905" y="14332"/>
                    <a:pt x="22708" y="20019"/>
                    <a:pt x="13757" y="35983"/>
                  </a:cubicBezTo>
                  <a:cubicBezTo>
                    <a:pt x="10949" y="40992"/>
                    <a:pt x="9491" y="46645"/>
                    <a:pt x="9525" y="52388"/>
                  </a:cubicBezTo>
                  <a:lnTo>
                    <a:pt x="9525" y="98306"/>
                  </a:lnTo>
                  <a:cubicBezTo>
                    <a:pt x="3327" y="107044"/>
                    <a:pt x="-2" y="117493"/>
                    <a:pt x="0" y="128207"/>
                  </a:cubicBezTo>
                  <a:lnTo>
                    <a:pt x="0" y="187738"/>
                  </a:lnTo>
                  <a:cubicBezTo>
                    <a:pt x="26" y="198899"/>
                    <a:pt x="4546" y="209579"/>
                    <a:pt x="12539" y="217369"/>
                  </a:cubicBezTo>
                  <a:lnTo>
                    <a:pt x="38100" y="242158"/>
                  </a:lnTo>
                  <a:lnTo>
                    <a:pt x="38100" y="381000"/>
                  </a:lnTo>
                  <a:lnTo>
                    <a:pt x="57150" y="381000"/>
                  </a:lnTo>
                  <a:lnTo>
                    <a:pt x="57150" y="238125"/>
                  </a:lnTo>
                  <a:cubicBezTo>
                    <a:pt x="57149" y="235549"/>
                    <a:pt x="56105" y="233083"/>
                    <a:pt x="54257" y="231289"/>
                  </a:cubicBezTo>
                  <a:lnTo>
                    <a:pt x="25803" y="203695"/>
                  </a:lnTo>
                  <a:cubicBezTo>
                    <a:pt x="21497" y="199501"/>
                    <a:pt x="19063" y="193749"/>
                    <a:pt x="19050" y="187738"/>
                  </a:cubicBezTo>
                  <a:lnTo>
                    <a:pt x="19050" y="128207"/>
                  </a:lnTo>
                  <a:cubicBezTo>
                    <a:pt x="19071" y="110014"/>
                    <a:pt x="33814" y="95271"/>
                    <a:pt x="52006" y="95250"/>
                  </a:cubicBezTo>
                  <a:lnTo>
                    <a:pt x="88967" y="95250"/>
                  </a:lnTo>
                  <a:cubicBezTo>
                    <a:pt x="93501" y="95265"/>
                    <a:pt x="97829" y="97142"/>
                    <a:pt x="100938" y="100441"/>
                  </a:cubicBezTo>
                  <a:cubicBezTo>
                    <a:pt x="103424" y="102992"/>
                    <a:pt x="104789" y="106428"/>
                    <a:pt x="104732" y="109989"/>
                  </a:cubicBezTo>
                  <a:cubicBezTo>
                    <a:pt x="104723" y="110270"/>
                    <a:pt x="104676" y="110541"/>
                    <a:pt x="104652" y="110818"/>
                  </a:cubicBezTo>
                  <a:cubicBezTo>
                    <a:pt x="104529" y="112368"/>
                    <a:pt x="104157" y="113888"/>
                    <a:pt x="103549" y="115320"/>
                  </a:cubicBezTo>
                  <a:cubicBezTo>
                    <a:pt x="103503" y="115426"/>
                    <a:pt x="103435" y="115521"/>
                    <a:pt x="103387" y="115626"/>
                  </a:cubicBezTo>
                  <a:cubicBezTo>
                    <a:pt x="101095" y="120677"/>
                    <a:pt x="96033" y="123895"/>
                    <a:pt x="90488" y="123825"/>
                  </a:cubicBezTo>
                  <a:lnTo>
                    <a:pt x="57150" y="123825"/>
                  </a:lnTo>
                  <a:cubicBezTo>
                    <a:pt x="51889" y="123825"/>
                    <a:pt x="47625" y="128090"/>
                    <a:pt x="47625" y="133350"/>
                  </a:cubicBezTo>
                  <a:lnTo>
                    <a:pt x="47625" y="152400"/>
                  </a:lnTo>
                  <a:cubicBezTo>
                    <a:pt x="47656" y="154961"/>
                    <a:pt x="48687" y="157409"/>
                    <a:pt x="50499" y="159219"/>
                  </a:cubicBezTo>
                  <a:cubicBezTo>
                    <a:pt x="57590" y="166077"/>
                    <a:pt x="66561" y="170672"/>
                    <a:pt x="76270" y="172418"/>
                  </a:cubicBezTo>
                  <a:cubicBezTo>
                    <a:pt x="98381" y="177026"/>
                    <a:pt x="114245" y="196489"/>
                    <a:pt x="114300" y="219075"/>
                  </a:cubicBezTo>
                  <a:lnTo>
                    <a:pt x="133350" y="219075"/>
                  </a:lnTo>
                  <a:cubicBezTo>
                    <a:pt x="133268" y="187453"/>
                    <a:pt x="111055" y="160208"/>
                    <a:pt x="80097" y="153759"/>
                  </a:cubicBezTo>
                  <a:cubicBezTo>
                    <a:pt x="75260" y="152874"/>
                    <a:pt x="70677" y="150934"/>
                    <a:pt x="66675" y="148075"/>
                  </a:cubicBezTo>
                  <a:lnTo>
                    <a:pt x="66675" y="142875"/>
                  </a:lnTo>
                  <a:lnTo>
                    <a:pt x="90488" y="142875"/>
                  </a:lnTo>
                  <a:cubicBezTo>
                    <a:pt x="92694" y="142877"/>
                    <a:pt x="94895" y="142663"/>
                    <a:pt x="97060" y="142237"/>
                  </a:cubicBezTo>
                  <a:cubicBezTo>
                    <a:pt x="101327" y="141397"/>
                    <a:pt x="105386" y="139720"/>
                    <a:pt x="109002" y="137304"/>
                  </a:cubicBezTo>
                  <a:cubicBezTo>
                    <a:pt x="109303" y="137103"/>
                    <a:pt x="109553" y="136821"/>
                    <a:pt x="109848" y="136609"/>
                  </a:cubicBezTo>
                  <a:cubicBezTo>
                    <a:pt x="111352" y="135568"/>
                    <a:pt x="112768" y="134405"/>
                    <a:pt x="114081" y="133132"/>
                  </a:cubicBezTo>
                  <a:lnTo>
                    <a:pt x="114084" y="133130"/>
                  </a:lnTo>
                  <a:lnTo>
                    <a:pt x="114086" y="133127"/>
                  </a:lnTo>
                  <a:cubicBezTo>
                    <a:pt x="114177" y="133036"/>
                    <a:pt x="114241" y="132924"/>
                    <a:pt x="114331" y="132833"/>
                  </a:cubicBezTo>
                  <a:cubicBezTo>
                    <a:pt x="127105" y="145965"/>
                    <a:pt x="148107" y="146256"/>
                    <a:pt x="161239" y="133482"/>
                  </a:cubicBezTo>
                  <a:cubicBezTo>
                    <a:pt x="161471" y="133256"/>
                    <a:pt x="161700" y="133027"/>
                    <a:pt x="161925" y="132795"/>
                  </a:cubicBezTo>
                  <a:cubicBezTo>
                    <a:pt x="171811" y="143084"/>
                    <a:pt x="187211" y="145806"/>
                    <a:pt x="200025" y="139532"/>
                  </a:cubicBezTo>
                  <a:lnTo>
                    <a:pt x="200025" y="198500"/>
                  </a:lnTo>
                  <a:cubicBezTo>
                    <a:pt x="200015" y="212386"/>
                    <a:pt x="191122" y="224708"/>
                    <a:pt x="177947" y="229094"/>
                  </a:cubicBezTo>
                  <a:cubicBezTo>
                    <a:pt x="174065" y="230395"/>
                    <a:pt x="171450" y="234031"/>
                    <a:pt x="171450" y="238125"/>
                  </a:cubicBezTo>
                  <a:lnTo>
                    <a:pt x="171450" y="381000"/>
                  </a:lnTo>
                  <a:lnTo>
                    <a:pt x="190500" y="381000"/>
                  </a:lnTo>
                  <a:lnTo>
                    <a:pt x="190500" y="244479"/>
                  </a:lnTo>
                  <a:cubicBezTo>
                    <a:pt x="207998" y="235838"/>
                    <a:pt x="219075" y="218015"/>
                    <a:pt x="219075" y="198500"/>
                  </a:cubicBezTo>
                  <a:close/>
                  <a:moveTo>
                    <a:pt x="28575" y="81841"/>
                  </a:moveTo>
                  <a:lnTo>
                    <a:pt x="28575" y="52388"/>
                  </a:lnTo>
                  <a:cubicBezTo>
                    <a:pt x="28575" y="44497"/>
                    <a:pt x="34972" y="38100"/>
                    <a:pt x="42863" y="38100"/>
                  </a:cubicBezTo>
                  <a:cubicBezTo>
                    <a:pt x="50753" y="38100"/>
                    <a:pt x="57150" y="44497"/>
                    <a:pt x="57150" y="52388"/>
                  </a:cubicBezTo>
                  <a:lnTo>
                    <a:pt x="57150" y="76200"/>
                  </a:lnTo>
                  <a:lnTo>
                    <a:pt x="52006" y="76200"/>
                  </a:lnTo>
                  <a:cubicBezTo>
                    <a:pt x="43860" y="76205"/>
                    <a:pt x="35831" y="78138"/>
                    <a:pt x="28575" y="81841"/>
                  </a:cubicBezTo>
                  <a:close/>
                  <a:moveTo>
                    <a:pt x="88967" y="76200"/>
                  </a:moveTo>
                  <a:lnTo>
                    <a:pt x="76200" y="76200"/>
                  </a:lnTo>
                  <a:lnTo>
                    <a:pt x="76200" y="33338"/>
                  </a:lnTo>
                  <a:cubicBezTo>
                    <a:pt x="76200" y="25447"/>
                    <a:pt x="82597" y="19050"/>
                    <a:pt x="90488" y="19050"/>
                  </a:cubicBezTo>
                  <a:cubicBezTo>
                    <a:pt x="98378" y="19050"/>
                    <a:pt x="104775" y="25447"/>
                    <a:pt x="104775" y="33338"/>
                  </a:cubicBezTo>
                  <a:lnTo>
                    <a:pt x="104775" y="80102"/>
                  </a:lnTo>
                  <a:cubicBezTo>
                    <a:pt x="99881" y="77589"/>
                    <a:pt x="94468" y="76253"/>
                    <a:pt x="88967" y="76200"/>
                  </a:cubicBezTo>
                  <a:close/>
                  <a:moveTo>
                    <a:pt x="138113" y="123825"/>
                  </a:moveTo>
                  <a:cubicBezTo>
                    <a:pt x="130225" y="123817"/>
                    <a:pt x="123834" y="117425"/>
                    <a:pt x="123825" y="109538"/>
                  </a:cubicBezTo>
                  <a:lnTo>
                    <a:pt x="123825" y="33338"/>
                  </a:lnTo>
                  <a:cubicBezTo>
                    <a:pt x="123825" y="25447"/>
                    <a:pt x="130222" y="19050"/>
                    <a:pt x="138113" y="19050"/>
                  </a:cubicBezTo>
                  <a:cubicBezTo>
                    <a:pt x="146003" y="19050"/>
                    <a:pt x="152400" y="25447"/>
                    <a:pt x="152400" y="33338"/>
                  </a:cubicBezTo>
                  <a:lnTo>
                    <a:pt x="152400" y="109538"/>
                  </a:lnTo>
                  <a:cubicBezTo>
                    <a:pt x="152391" y="117425"/>
                    <a:pt x="146000" y="123817"/>
                    <a:pt x="138113" y="123825"/>
                  </a:cubicBezTo>
                  <a:close/>
                  <a:moveTo>
                    <a:pt x="185738" y="123825"/>
                  </a:moveTo>
                  <a:cubicBezTo>
                    <a:pt x="177850" y="123817"/>
                    <a:pt x="171459" y="117425"/>
                    <a:pt x="171450" y="109538"/>
                  </a:cubicBezTo>
                  <a:lnTo>
                    <a:pt x="171450" y="61913"/>
                  </a:lnTo>
                  <a:cubicBezTo>
                    <a:pt x="171450" y="54022"/>
                    <a:pt x="177847" y="47625"/>
                    <a:pt x="185738" y="47625"/>
                  </a:cubicBezTo>
                  <a:cubicBezTo>
                    <a:pt x="193628" y="47625"/>
                    <a:pt x="200025" y="54022"/>
                    <a:pt x="200025" y="61913"/>
                  </a:cubicBezTo>
                  <a:lnTo>
                    <a:pt x="200025" y="109538"/>
                  </a:lnTo>
                  <a:cubicBezTo>
                    <a:pt x="200016" y="117425"/>
                    <a:pt x="193625" y="123817"/>
                    <a:pt x="185738" y="123825"/>
                  </a:cubicBezTo>
                  <a:close/>
                </a:path>
              </a:pathLst>
            </a:custGeom>
            <a:grpFill/>
            <a:ln w="9525" cap="flat">
              <a:noFill/>
              <a:prstDash val="solid"/>
              <a:miter/>
            </a:ln>
          </p:spPr>
          <p:txBody>
            <a:bodyPr rtlCol="0" anchor="ctr"/>
            <a:lstStyle/>
            <a:p>
              <a:endParaRPr lang="pt-BR"/>
            </a:p>
          </p:txBody>
        </p:sp>
        <p:sp>
          <p:nvSpPr>
            <p:cNvPr id="68" name="Forma Livre: Forma 67">
              <a:extLst>
                <a:ext uri="{FF2B5EF4-FFF2-40B4-BE49-F238E27FC236}">
                  <a16:creationId xmlns:a16="http://schemas.microsoft.com/office/drawing/2014/main" id="{0A398329-B6C8-13EE-1FB9-DF9E821AF45A}"/>
                </a:ext>
              </a:extLst>
            </p:cNvPr>
            <p:cNvSpPr/>
            <p:nvPr/>
          </p:nvSpPr>
          <p:spPr>
            <a:xfrm>
              <a:off x="9104838" y="778809"/>
              <a:ext cx="571501" cy="527386"/>
            </a:xfrm>
            <a:custGeom>
              <a:avLst/>
              <a:gdLst>
                <a:gd name="connsiteX0" fmla="*/ 569914 w 571501"/>
                <a:gd name="connsiteY0" fmla="*/ 270765 h 527386"/>
                <a:gd name="connsiteX1" fmla="*/ 561975 w 571501"/>
                <a:gd name="connsiteY1" fmla="*/ 266500 h 527386"/>
                <a:gd name="connsiteX2" fmla="*/ 489463 w 571501"/>
                <a:gd name="connsiteY2" fmla="*/ 266500 h 527386"/>
                <a:gd name="connsiteX3" fmla="*/ 542437 w 571501"/>
                <a:gd name="connsiteY3" fmla="*/ 107589 h 527386"/>
                <a:gd name="connsiteX4" fmla="*/ 536407 w 571501"/>
                <a:gd name="connsiteY4" fmla="*/ 95539 h 527386"/>
                <a:gd name="connsiteX5" fmla="*/ 531647 w 571501"/>
                <a:gd name="connsiteY5" fmla="*/ 95213 h 527386"/>
                <a:gd name="connsiteX6" fmla="*/ 384986 w 571501"/>
                <a:gd name="connsiteY6" fmla="*/ 122714 h 527386"/>
                <a:gd name="connsiteX7" fmla="*/ 293298 w 571501"/>
                <a:gd name="connsiteY7" fmla="*/ 3517 h 527386"/>
                <a:gd name="connsiteX8" fmla="*/ 279405 w 571501"/>
                <a:gd name="connsiteY8" fmla="*/ 2312 h 527386"/>
                <a:gd name="connsiteX9" fmla="*/ 278201 w 571501"/>
                <a:gd name="connsiteY9" fmla="*/ 3517 h 527386"/>
                <a:gd name="connsiteX10" fmla="*/ 186513 w 571501"/>
                <a:gd name="connsiteY10" fmla="*/ 122714 h 527386"/>
                <a:gd name="connsiteX11" fmla="*/ 39853 w 571501"/>
                <a:gd name="connsiteY11" fmla="*/ 95213 h 527386"/>
                <a:gd name="connsiteX12" fmla="*/ 28739 w 571501"/>
                <a:gd name="connsiteY12" fmla="*/ 102816 h 527386"/>
                <a:gd name="connsiteX13" fmla="*/ 28924 w 571501"/>
                <a:gd name="connsiteY13" fmla="*/ 107124 h 527386"/>
                <a:gd name="connsiteX14" fmla="*/ 73195 w 571501"/>
                <a:gd name="connsiteY14" fmla="*/ 266500 h 527386"/>
                <a:gd name="connsiteX15" fmla="*/ 9525 w 571501"/>
                <a:gd name="connsiteY15" fmla="*/ 266500 h 527386"/>
                <a:gd name="connsiteX16" fmla="*/ 0 w 571501"/>
                <a:gd name="connsiteY16" fmla="*/ 276035 h 527386"/>
                <a:gd name="connsiteX17" fmla="*/ 632 w 571501"/>
                <a:gd name="connsiteY17" fmla="*/ 279444 h 527386"/>
                <a:gd name="connsiteX18" fmla="*/ 95882 w 571501"/>
                <a:gd name="connsiteY18" fmla="*/ 527094 h 527386"/>
                <a:gd name="connsiteX19" fmla="*/ 113667 w 571501"/>
                <a:gd name="connsiteY19" fmla="*/ 520257 h 527386"/>
                <a:gd name="connsiteX20" fmla="*/ 23394 w 571501"/>
                <a:gd name="connsiteY20" fmla="*/ 285550 h 527386"/>
                <a:gd name="connsiteX21" fmla="*/ 85725 w 571501"/>
                <a:gd name="connsiteY21" fmla="*/ 285550 h 527386"/>
                <a:gd name="connsiteX22" fmla="*/ 95248 w 571501"/>
                <a:gd name="connsiteY22" fmla="*/ 276019 h 527386"/>
                <a:gd name="connsiteX23" fmla="*/ 94901 w 571501"/>
                <a:gd name="connsiteY23" fmla="*/ 273477 h 527386"/>
                <a:gd name="connsiteX24" fmla="*/ 51369 w 571501"/>
                <a:gd name="connsiteY24" fmla="*/ 116756 h 527386"/>
                <a:gd name="connsiteX25" fmla="*/ 188747 w 571501"/>
                <a:gd name="connsiteY25" fmla="*/ 142513 h 527386"/>
                <a:gd name="connsiteX26" fmla="*/ 198048 w 571501"/>
                <a:gd name="connsiteY26" fmla="*/ 138960 h 527386"/>
                <a:gd name="connsiteX27" fmla="*/ 285750 w 571501"/>
                <a:gd name="connsiteY27" fmla="*/ 24948 h 527386"/>
                <a:gd name="connsiteX28" fmla="*/ 373452 w 571501"/>
                <a:gd name="connsiteY28" fmla="*/ 138959 h 527386"/>
                <a:gd name="connsiteX29" fmla="*/ 382753 w 571501"/>
                <a:gd name="connsiteY29" fmla="*/ 142512 h 527386"/>
                <a:gd name="connsiteX30" fmla="*/ 519243 w 571501"/>
                <a:gd name="connsiteY30" fmla="*/ 116919 h 527386"/>
                <a:gd name="connsiteX31" fmla="*/ 467213 w 571501"/>
                <a:gd name="connsiteY31" fmla="*/ 273011 h 527386"/>
                <a:gd name="connsiteX32" fmla="*/ 473247 w 571501"/>
                <a:gd name="connsiteY32" fmla="*/ 285063 h 527386"/>
                <a:gd name="connsiteX33" fmla="*/ 476250 w 571501"/>
                <a:gd name="connsiteY33" fmla="*/ 285550 h 527386"/>
                <a:gd name="connsiteX34" fmla="*/ 547604 w 571501"/>
                <a:gd name="connsiteY34" fmla="*/ 285550 h 527386"/>
                <a:gd name="connsiteX35" fmla="*/ 448428 w 571501"/>
                <a:gd name="connsiteY35" fmla="*/ 519964 h 527386"/>
                <a:gd name="connsiteX36" fmla="*/ 465971 w 571501"/>
                <a:gd name="connsiteY36" fmla="*/ 527387 h 527386"/>
                <a:gd name="connsiteX37" fmla="*/ 570747 w 571501"/>
                <a:gd name="connsiteY37" fmla="*/ 279737 h 527386"/>
                <a:gd name="connsiteX38" fmla="*/ 569914 w 571501"/>
                <a:gd name="connsiteY38" fmla="*/ 270765 h 52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71501" h="527386">
                  <a:moveTo>
                    <a:pt x="569914" y="270765"/>
                  </a:moveTo>
                  <a:cubicBezTo>
                    <a:pt x="568151" y="268101"/>
                    <a:pt x="565169" y="266499"/>
                    <a:pt x="561975" y="266500"/>
                  </a:cubicBezTo>
                  <a:lnTo>
                    <a:pt x="489463" y="266500"/>
                  </a:lnTo>
                  <a:lnTo>
                    <a:pt x="542437" y="107589"/>
                  </a:lnTo>
                  <a:cubicBezTo>
                    <a:pt x="544099" y="102597"/>
                    <a:pt x="541399" y="97202"/>
                    <a:pt x="536407" y="95539"/>
                  </a:cubicBezTo>
                  <a:cubicBezTo>
                    <a:pt x="534873" y="95029"/>
                    <a:pt x="533235" y="94916"/>
                    <a:pt x="531647" y="95213"/>
                  </a:cubicBezTo>
                  <a:lnTo>
                    <a:pt x="384986" y="122714"/>
                  </a:lnTo>
                  <a:lnTo>
                    <a:pt x="293298" y="3517"/>
                  </a:lnTo>
                  <a:cubicBezTo>
                    <a:pt x="289794" y="-652"/>
                    <a:pt x="283574" y="-1192"/>
                    <a:pt x="279405" y="2312"/>
                  </a:cubicBezTo>
                  <a:cubicBezTo>
                    <a:pt x="278970" y="2678"/>
                    <a:pt x="278567" y="3081"/>
                    <a:pt x="278201" y="3517"/>
                  </a:cubicBezTo>
                  <a:lnTo>
                    <a:pt x="186513" y="122714"/>
                  </a:lnTo>
                  <a:lnTo>
                    <a:pt x="39853" y="95213"/>
                  </a:lnTo>
                  <a:cubicBezTo>
                    <a:pt x="34685" y="94244"/>
                    <a:pt x="29708" y="97648"/>
                    <a:pt x="28739" y="102816"/>
                  </a:cubicBezTo>
                  <a:cubicBezTo>
                    <a:pt x="28470" y="104248"/>
                    <a:pt x="28533" y="105721"/>
                    <a:pt x="28924" y="107124"/>
                  </a:cubicBezTo>
                  <a:lnTo>
                    <a:pt x="73195" y="266500"/>
                  </a:lnTo>
                  <a:lnTo>
                    <a:pt x="9525" y="266500"/>
                  </a:lnTo>
                  <a:cubicBezTo>
                    <a:pt x="4262" y="266503"/>
                    <a:pt x="-3" y="270772"/>
                    <a:pt x="0" y="276035"/>
                  </a:cubicBezTo>
                  <a:cubicBezTo>
                    <a:pt x="1" y="277200"/>
                    <a:pt x="215" y="278356"/>
                    <a:pt x="632" y="279444"/>
                  </a:cubicBezTo>
                  <a:lnTo>
                    <a:pt x="95882" y="527094"/>
                  </a:lnTo>
                  <a:lnTo>
                    <a:pt x="113667" y="520257"/>
                  </a:lnTo>
                  <a:lnTo>
                    <a:pt x="23394" y="285550"/>
                  </a:lnTo>
                  <a:lnTo>
                    <a:pt x="85725" y="285550"/>
                  </a:lnTo>
                  <a:cubicBezTo>
                    <a:pt x="90987" y="285548"/>
                    <a:pt x="95250" y="281281"/>
                    <a:pt x="95248" y="276019"/>
                  </a:cubicBezTo>
                  <a:cubicBezTo>
                    <a:pt x="95247" y="275160"/>
                    <a:pt x="95131" y="274305"/>
                    <a:pt x="94901" y="273477"/>
                  </a:cubicBezTo>
                  <a:lnTo>
                    <a:pt x="51369" y="116756"/>
                  </a:lnTo>
                  <a:lnTo>
                    <a:pt x="188747" y="142513"/>
                  </a:lnTo>
                  <a:cubicBezTo>
                    <a:pt x="192270" y="143187"/>
                    <a:pt x="195872" y="141811"/>
                    <a:pt x="198048" y="138960"/>
                  </a:cubicBezTo>
                  <a:lnTo>
                    <a:pt x="285750" y="24948"/>
                  </a:lnTo>
                  <a:lnTo>
                    <a:pt x="373452" y="138959"/>
                  </a:lnTo>
                  <a:cubicBezTo>
                    <a:pt x="375636" y="141800"/>
                    <a:pt x="379231" y="143173"/>
                    <a:pt x="382753" y="142512"/>
                  </a:cubicBezTo>
                  <a:lnTo>
                    <a:pt x="519243" y="116919"/>
                  </a:lnTo>
                  <a:lnTo>
                    <a:pt x="467213" y="273011"/>
                  </a:lnTo>
                  <a:cubicBezTo>
                    <a:pt x="465551" y="278005"/>
                    <a:pt x="468253" y="283401"/>
                    <a:pt x="473247" y="285063"/>
                  </a:cubicBezTo>
                  <a:cubicBezTo>
                    <a:pt x="474216" y="285385"/>
                    <a:pt x="475229" y="285550"/>
                    <a:pt x="476250" y="285550"/>
                  </a:cubicBezTo>
                  <a:lnTo>
                    <a:pt x="547604" y="285550"/>
                  </a:lnTo>
                  <a:lnTo>
                    <a:pt x="448428" y="519964"/>
                  </a:lnTo>
                  <a:lnTo>
                    <a:pt x="465971" y="527387"/>
                  </a:lnTo>
                  <a:lnTo>
                    <a:pt x="570747" y="279737"/>
                  </a:lnTo>
                  <a:cubicBezTo>
                    <a:pt x="571993" y="276796"/>
                    <a:pt x="571681" y="273426"/>
                    <a:pt x="569914" y="270765"/>
                  </a:cubicBezTo>
                  <a:close/>
                </a:path>
              </a:pathLst>
            </a:custGeom>
            <a:grpFill/>
            <a:ln w="9525"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D6231766-45DD-3C67-F556-C6A70E39DE50}"/>
                </a:ext>
              </a:extLst>
            </p:cNvPr>
            <p:cNvSpPr/>
            <p:nvPr/>
          </p:nvSpPr>
          <p:spPr>
            <a:xfrm>
              <a:off x="9171511" y="845514"/>
              <a:ext cx="428627" cy="441459"/>
            </a:xfrm>
            <a:custGeom>
              <a:avLst/>
              <a:gdLst>
                <a:gd name="connsiteX0" fmla="*/ 426989 w 428627"/>
                <a:gd name="connsiteY0" fmla="*/ 242081 h 441459"/>
                <a:gd name="connsiteX1" fmla="*/ 419101 w 428627"/>
                <a:gd name="connsiteY1" fmla="*/ 237895 h 441459"/>
                <a:gd name="connsiteX2" fmla="*/ 365384 w 428627"/>
                <a:gd name="connsiteY2" fmla="*/ 237895 h 441459"/>
                <a:gd name="connsiteX3" fmla="*/ 409144 w 428627"/>
                <a:gd name="connsiteY3" fmla="*/ 97862 h 441459"/>
                <a:gd name="connsiteX4" fmla="*/ 402883 w 428627"/>
                <a:gd name="connsiteY4" fmla="*/ 85928 h 441459"/>
                <a:gd name="connsiteX5" fmla="*/ 398349 w 428627"/>
                <a:gd name="connsiteY5" fmla="*/ 85649 h 441459"/>
                <a:gd name="connsiteX6" fmla="*/ 299462 w 428627"/>
                <a:gd name="connsiteY6" fmla="*/ 103629 h 441459"/>
                <a:gd name="connsiteX7" fmla="*/ 226778 w 428627"/>
                <a:gd name="connsiteY7" fmla="*/ 3691 h 441459"/>
                <a:gd name="connsiteX8" fmla="*/ 212885 w 428627"/>
                <a:gd name="connsiteY8" fmla="*/ 2180 h 441459"/>
                <a:gd name="connsiteX9" fmla="*/ 211375 w 428627"/>
                <a:gd name="connsiteY9" fmla="*/ 3691 h 441459"/>
                <a:gd name="connsiteX10" fmla="*/ 138691 w 428627"/>
                <a:gd name="connsiteY10" fmla="*/ 103629 h 441459"/>
                <a:gd name="connsiteX11" fmla="*/ 39804 w 428627"/>
                <a:gd name="connsiteY11" fmla="*/ 85649 h 441459"/>
                <a:gd name="connsiteX12" fmla="*/ 28729 w 428627"/>
                <a:gd name="connsiteY12" fmla="*/ 93317 h 441459"/>
                <a:gd name="connsiteX13" fmla="*/ 28860 w 428627"/>
                <a:gd name="connsiteY13" fmla="*/ 97332 h 441459"/>
                <a:gd name="connsiteX14" fmla="*/ 64002 w 428627"/>
                <a:gd name="connsiteY14" fmla="*/ 237895 h 441459"/>
                <a:gd name="connsiteX15" fmla="*/ 9526 w 428627"/>
                <a:gd name="connsiteY15" fmla="*/ 237895 h 441459"/>
                <a:gd name="connsiteX16" fmla="*/ 0 w 428627"/>
                <a:gd name="connsiteY16" fmla="*/ 247425 h 441459"/>
                <a:gd name="connsiteX17" fmla="*/ 680 w 428627"/>
                <a:gd name="connsiteY17" fmla="*/ 250959 h 441459"/>
                <a:gd name="connsiteX18" fmla="*/ 76880 w 428627"/>
                <a:gd name="connsiteY18" fmla="*/ 441459 h 441459"/>
                <a:gd name="connsiteX19" fmla="*/ 94572 w 428627"/>
                <a:gd name="connsiteY19" fmla="*/ 434381 h 441459"/>
                <a:gd name="connsiteX20" fmla="*/ 23595 w 428627"/>
                <a:gd name="connsiteY20" fmla="*/ 256945 h 441459"/>
                <a:gd name="connsiteX21" fmla="*/ 76201 w 428627"/>
                <a:gd name="connsiteY21" fmla="*/ 256945 h 441459"/>
                <a:gd name="connsiteX22" fmla="*/ 85726 w 428627"/>
                <a:gd name="connsiteY22" fmla="*/ 247411 h 441459"/>
                <a:gd name="connsiteX23" fmla="*/ 85443 w 428627"/>
                <a:gd name="connsiteY23" fmla="*/ 245109 h 441459"/>
                <a:gd name="connsiteX24" fmla="*/ 50924 w 428627"/>
                <a:gd name="connsiteY24" fmla="*/ 107033 h 441459"/>
                <a:gd name="connsiteX25" fmla="*/ 141174 w 428627"/>
                <a:gd name="connsiteY25" fmla="*/ 123442 h 441459"/>
                <a:gd name="connsiteX26" fmla="*/ 150578 w 428627"/>
                <a:gd name="connsiteY26" fmla="*/ 119674 h 441459"/>
                <a:gd name="connsiteX27" fmla="*/ 219076 w 428627"/>
                <a:gd name="connsiteY27" fmla="*/ 25490 h 441459"/>
                <a:gd name="connsiteX28" fmla="*/ 287575 w 428627"/>
                <a:gd name="connsiteY28" fmla="*/ 119674 h 441459"/>
                <a:gd name="connsiteX29" fmla="*/ 296979 w 428627"/>
                <a:gd name="connsiteY29" fmla="*/ 123442 h 441459"/>
                <a:gd name="connsiteX30" fmla="*/ 386262 w 428627"/>
                <a:gd name="connsiteY30" fmla="*/ 107210 h 441459"/>
                <a:gd name="connsiteX31" fmla="*/ 343334 w 428627"/>
                <a:gd name="connsiteY31" fmla="*/ 244578 h 441459"/>
                <a:gd name="connsiteX32" fmla="*/ 349589 w 428627"/>
                <a:gd name="connsiteY32" fmla="*/ 256512 h 441459"/>
                <a:gd name="connsiteX33" fmla="*/ 352426 w 428627"/>
                <a:gd name="connsiteY33" fmla="*/ 256945 h 441459"/>
                <a:gd name="connsiteX34" fmla="*/ 405033 w 428627"/>
                <a:gd name="connsiteY34" fmla="*/ 256945 h 441459"/>
                <a:gd name="connsiteX35" fmla="*/ 334055 w 428627"/>
                <a:gd name="connsiteY35" fmla="*/ 434381 h 441459"/>
                <a:gd name="connsiteX36" fmla="*/ 351747 w 428627"/>
                <a:gd name="connsiteY36" fmla="*/ 441459 h 441459"/>
                <a:gd name="connsiteX37" fmla="*/ 427947 w 428627"/>
                <a:gd name="connsiteY37" fmla="*/ 250959 h 441459"/>
                <a:gd name="connsiteX38" fmla="*/ 426989 w 428627"/>
                <a:gd name="connsiteY38" fmla="*/ 242081 h 44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28627" h="441459">
                  <a:moveTo>
                    <a:pt x="426989" y="242081"/>
                  </a:moveTo>
                  <a:cubicBezTo>
                    <a:pt x="425218" y="239463"/>
                    <a:pt x="422263" y="237894"/>
                    <a:pt x="419101" y="237895"/>
                  </a:cubicBezTo>
                  <a:lnTo>
                    <a:pt x="365384" y="237895"/>
                  </a:lnTo>
                  <a:lnTo>
                    <a:pt x="409144" y="97862"/>
                  </a:lnTo>
                  <a:cubicBezTo>
                    <a:pt x="410711" y="92838"/>
                    <a:pt x="407908" y="87495"/>
                    <a:pt x="402883" y="85928"/>
                  </a:cubicBezTo>
                  <a:cubicBezTo>
                    <a:pt x="401417" y="85471"/>
                    <a:pt x="399861" y="85375"/>
                    <a:pt x="398349" y="85649"/>
                  </a:cubicBezTo>
                  <a:lnTo>
                    <a:pt x="299462" y="103629"/>
                  </a:lnTo>
                  <a:lnTo>
                    <a:pt x="226778" y="3691"/>
                  </a:lnTo>
                  <a:cubicBezTo>
                    <a:pt x="223359" y="-563"/>
                    <a:pt x="217139" y="-1239"/>
                    <a:pt x="212885" y="2180"/>
                  </a:cubicBezTo>
                  <a:cubicBezTo>
                    <a:pt x="212328" y="2628"/>
                    <a:pt x="211822" y="3134"/>
                    <a:pt x="211375" y="3691"/>
                  </a:cubicBezTo>
                  <a:lnTo>
                    <a:pt x="138691" y="103629"/>
                  </a:lnTo>
                  <a:lnTo>
                    <a:pt x="39804" y="85649"/>
                  </a:lnTo>
                  <a:cubicBezTo>
                    <a:pt x="34628" y="84708"/>
                    <a:pt x="29670" y="88141"/>
                    <a:pt x="28729" y="93317"/>
                  </a:cubicBezTo>
                  <a:cubicBezTo>
                    <a:pt x="28487" y="94649"/>
                    <a:pt x="28532" y="96018"/>
                    <a:pt x="28860" y="97332"/>
                  </a:cubicBezTo>
                  <a:lnTo>
                    <a:pt x="64002" y="237895"/>
                  </a:lnTo>
                  <a:lnTo>
                    <a:pt x="9526" y="237895"/>
                  </a:lnTo>
                  <a:cubicBezTo>
                    <a:pt x="4264" y="237896"/>
                    <a:pt x="-1" y="242163"/>
                    <a:pt x="0" y="247425"/>
                  </a:cubicBezTo>
                  <a:cubicBezTo>
                    <a:pt x="0" y="248636"/>
                    <a:pt x="231" y="249835"/>
                    <a:pt x="680" y="250959"/>
                  </a:cubicBezTo>
                  <a:lnTo>
                    <a:pt x="76880" y="441459"/>
                  </a:lnTo>
                  <a:lnTo>
                    <a:pt x="94572" y="434381"/>
                  </a:lnTo>
                  <a:lnTo>
                    <a:pt x="23595" y="256945"/>
                  </a:lnTo>
                  <a:lnTo>
                    <a:pt x="76201" y="256945"/>
                  </a:lnTo>
                  <a:cubicBezTo>
                    <a:pt x="81464" y="256943"/>
                    <a:pt x="85729" y="252674"/>
                    <a:pt x="85726" y="247411"/>
                  </a:cubicBezTo>
                  <a:cubicBezTo>
                    <a:pt x="85726" y="246635"/>
                    <a:pt x="85631" y="245862"/>
                    <a:pt x="85443" y="245109"/>
                  </a:cubicBezTo>
                  <a:lnTo>
                    <a:pt x="50924" y="107033"/>
                  </a:lnTo>
                  <a:lnTo>
                    <a:pt x="141174" y="123442"/>
                  </a:lnTo>
                  <a:cubicBezTo>
                    <a:pt x="144773" y="124102"/>
                    <a:pt x="148431" y="122636"/>
                    <a:pt x="150578" y="119674"/>
                  </a:cubicBezTo>
                  <a:lnTo>
                    <a:pt x="219076" y="25490"/>
                  </a:lnTo>
                  <a:lnTo>
                    <a:pt x="287575" y="119674"/>
                  </a:lnTo>
                  <a:cubicBezTo>
                    <a:pt x="289724" y="122634"/>
                    <a:pt x="293380" y="124099"/>
                    <a:pt x="296979" y="123442"/>
                  </a:cubicBezTo>
                  <a:lnTo>
                    <a:pt x="386262" y="107210"/>
                  </a:lnTo>
                  <a:lnTo>
                    <a:pt x="343334" y="244578"/>
                  </a:lnTo>
                  <a:cubicBezTo>
                    <a:pt x="341766" y="249601"/>
                    <a:pt x="344566" y="254944"/>
                    <a:pt x="349589" y="256512"/>
                  </a:cubicBezTo>
                  <a:cubicBezTo>
                    <a:pt x="350507" y="256799"/>
                    <a:pt x="351464" y="256945"/>
                    <a:pt x="352426" y="256945"/>
                  </a:cubicBezTo>
                  <a:lnTo>
                    <a:pt x="405033" y="256945"/>
                  </a:lnTo>
                  <a:lnTo>
                    <a:pt x="334055" y="434381"/>
                  </a:lnTo>
                  <a:lnTo>
                    <a:pt x="351747" y="441459"/>
                  </a:lnTo>
                  <a:lnTo>
                    <a:pt x="427947" y="250959"/>
                  </a:lnTo>
                  <a:cubicBezTo>
                    <a:pt x="429120" y="248024"/>
                    <a:pt x="428761" y="244699"/>
                    <a:pt x="426989" y="242081"/>
                  </a:cubicBezTo>
                  <a:close/>
                </a:path>
              </a:pathLst>
            </a:custGeom>
            <a:grpFill/>
            <a:ln w="9525" cap="flat">
              <a:noFill/>
              <a:prstDash val="solid"/>
              <a:miter/>
            </a:ln>
          </p:spPr>
          <p:txBody>
            <a:bodyPr rtlCol="0" anchor="ctr"/>
            <a:lstStyle/>
            <a:p>
              <a:endParaRPr lang="pt-BR"/>
            </a:p>
          </p:txBody>
        </p:sp>
      </p:grpSp>
      <p:grpSp>
        <p:nvGrpSpPr>
          <p:cNvPr id="79" name="Gráfico 58">
            <a:extLst>
              <a:ext uri="{FF2B5EF4-FFF2-40B4-BE49-F238E27FC236}">
                <a16:creationId xmlns:a16="http://schemas.microsoft.com/office/drawing/2014/main" id="{3EC6AC2B-83EE-556E-AA0B-FB1E787250D5}"/>
              </a:ext>
            </a:extLst>
          </p:cNvPr>
          <p:cNvGrpSpPr/>
          <p:nvPr/>
        </p:nvGrpSpPr>
        <p:grpSpPr>
          <a:xfrm>
            <a:off x="1710488" y="2472418"/>
            <a:ext cx="641587" cy="644496"/>
            <a:chOff x="12205335" y="482034"/>
            <a:chExt cx="835364" cy="839152"/>
          </a:xfrm>
          <a:solidFill>
            <a:schemeClr val="bg1"/>
          </a:solidFill>
        </p:grpSpPr>
        <p:sp>
          <p:nvSpPr>
            <p:cNvPr id="80" name="Forma Livre: Forma 79">
              <a:extLst>
                <a:ext uri="{FF2B5EF4-FFF2-40B4-BE49-F238E27FC236}">
                  <a16:creationId xmlns:a16="http://schemas.microsoft.com/office/drawing/2014/main" id="{A49A1607-61A1-0234-5179-E9E43E2B98B5}"/>
                </a:ext>
              </a:extLst>
            </p:cNvPr>
            <p:cNvSpPr/>
            <p:nvPr/>
          </p:nvSpPr>
          <p:spPr>
            <a:xfrm>
              <a:off x="12205335" y="482034"/>
              <a:ext cx="835364" cy="839152"/>
            </a:xfrm>
            <a:custGeom>
              <a:avLst/>
              <a:gdLst>
                <a:gd name="connsiteX0" fmla="*/ 746760 w 835364"/>
                <a:gd name="connsiteY0" fmla="*/ 87630 h 839152"/>
                <a:gd name="connsiteX1" fmla="*/ 535305 w 835364"/>
                <a:gd name="connsiteY1" fmla="*/ 0 h 839152"/>
                <a:gd name="connsiteX2" fmla="*/ 326708 w 835364"/>
                <a:gd name="connsiteY2" fmla="*/ 86678 h 839152"/>
                <a:gd name="connsiteX3" fmla="*/ 240983 w 835364"/>
                <a:gd name="connsiteY3" fmla="*/ 297180 h 839152"/>
                <a:gd name="connsiteX4" fmla="*/ 280988 w 835364"/>
                <a:gd name="connsiteY4" fmla="*/ 443865 h 839152"/>
                <a:gd name="connsiteX5" fmla="*/ 22860 w 835364"/>
                <a:gd name="connsiteY5" fmla="*/ 703898 h 839152"/>
                <a:gd name="connsiteX6" fmla="*/ 22860 w 835364"/>
                <a:gd name="connsiteY6" fmla="*/ 816293 h 839152"/>
                <a:gd name="connsiteX7" fmla="*/ 79058 w 835364"/>
                <a:gd name="connsiteY7" fmla="*/ 839153 h 839152"/>
                <a:gd name="connsiteX8" fmla="*/ 135255 w 835364"/>
                <a:gd name="connsiteY8" fmla="*/ 816293 h 839152"/>
                <a:gd name="connsiteX9" fmla="*/ 393383 w 835364"/>
                <a:gd name="connsiteY9" fmla="*/ 556260 h 839152"/>
                <a:gd name="connsiteX10" fmla="*/ 541020 w 835364"/>
                <a:gd name="connsiteY10" fmla="*/ 595313 h 839152"/>
                <a:gd name="connsiteX11" fmla="*/ 749618 w 835364"/>
                <a:gd name="connsiteY11" fmla="*/ 508635 h 839152"/>
                <a:gd name="connsiteX12" fmla="*/ 835343 w 835364"/>
                <a:gd name="connsiteY12" fmla="*/ 298133 h 839152"/>
                <a:gd name="connsiteX13" fmla="*/ 746760 w 835364"/>
                <a:gd name="connsiteY13" fmla="*/ 87630 h 839152"/>
                <a:gd name="connsiteX14" fmla="*/ 116205 w 835364"/>
                <a:gd name="connsiteY14" fmla="*/ 796290 h 839152"/>
                <a:gd name="connsiteX15" fmla="*/ 41910 w 835364"/>
                <a:gd name="connsiteY15" fmla="*/ 796290 h 839152"/>
                <a:gd name="connsiteX16" fmla="*/ 41910 w 835364"/>
                <a:gd name="connsiteY16" fmla="*/ 721995 h 839152"/>
                <a:gd name="connsiteX17" fmla="*/ 191453 w 835364"/>
                <a:gd name="connsiteY17" fmla="*/ 571500 h 839152"/>
                <a:gd name="connsiteX18" fmla="*/ 265748 w 835364"/>
                <a:gd name="connsiteY18" fmla="*/ 644843 h 839152"/>
                <a:gd name="connsiteX19" fmla="*/ 116205 w 835364"/>
                <a:gd name="connsiteY19" fmla="*/ 796290 h 839152"/>
                <a:gd name="connsiteX20" fmla="*/ 284798 w 835364"/>
                <a:gd name="connsiteY20" fmla="*/ 626745 h 839152"/>
                <a:gd name="connsiteX21" fmla="*/ 210503 w 835364"/>
                <a:gd name="connsiteY21" fmla="*/ 553403 h 839152"/>
                <a:gd name="connsiteX22" fmla="*/ 295275 w 835364"/>
                <a:gd name="connsiteY22" fmla="*/ 467678 h 839152"/>
                <a:gd name="connsiteX23" fmla="*/ 328613 w 835364"/>
                <a:gd name="connsiteY23" fmla="*/ 507683 h 839152"/>
                <a:gd name="connsiteX24" fmla="*/ 368618 w 835364"/>
                <a:gd name="connsiteY24" fmla="*/ 541020 h 839152"/>
                <a:gd name="connsiteX25" fmla="*/ 284798 w 835364"/>
                <a:gd name="connsiteY25" fmla="*/ 626745 h 839152"/>
                <a:gd name="connsiteX26" fmla="*/ 730568 w 835364"/>
                <a:gd name="connsiteY26" fmla="*/ 489585 h 839152"/>
                <a:gd name="connsiteX27" fmla="*/ 541020 w 835364"/>
                <a:gd name="connsiteY27" fmla="*/ 568643 h 839152"/>
                <a:gd name="connsiteX28" fmla="*/ 348615 w 835364"/>
                <a:gd name="connsiteY28" fmla="*/ 489585 h 839152"/>
                <a:gd name="connsiteX29" fmla="*/ 268605 w 835364"/>
                <a:gd name="connsiteY29" fmla="*/ 298133 h 839152"/>
                <a:gd name="connsiteX30" fmla="*/ 346710 w 835364"/>
                <a:gd name="connsiteY30" fmla="*/ 107633 h 839152"/>
                <a:gd name="connsiteX31" fmla="*/ 535305 w 835364"/>
                <a:gd name="connsiteY31" fmla="*/ 27622 h 839152"/>
                <a:gd name="connsiteX32" fmla="*/ 727710 w 835364"/>
                <a:gd name="connsiteY32" fmla="*/ 106680 h 839152"/>
                <a:gd name="connsiteX33" fmla="*/ 807720 w 835364"/>
                <a:gd name="connsiteY33" fmla="*/ 298133 h 839152"/>
                <a:gd name="connsiteX34" fmla="*/ 730568 w 835364"/>
                <a:gd name="connsiteY34" fmla="*/ 489585 h 83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5364" h="839152">
                  <a:moveTo>
                    <a:pt x="746760" y="87630"/>
                  </a:moveTo>
                  <a:cubicBezTo>
                    <a:pt x="689610" y="31433"/>
                    <a:pt x="614363" y="0"/>
                    <a:pt x="535305" y="0"/>
                  </a:cubicBezTo>
                  <a:cubicBezTo>
                    <a:pt x="456248" y="0"/>
                    <a:pt x="381953" y="31433"/>
                    <a:pt x="326708" y="86678"/>
                  </a:cubicBezTo>
                  <a:cubicBezTo>
                    <a:pt x="270510" y="142875"/>
                    <a:pt x="240030" y="217170"/>
                    <a:pt x="240983" y="297180"/>
                  </a:cubicBezTo>
                  <a:cubicBezTo>
                    <a:pt x="240983" y="349568"/>
                    <a:pt x="255270" y="399098"/>
                    <a:pt x="280988" y="443865"/>
                  </a:cubicBezTo>
                  <a:lnTo>
                    <a:pt x="22860" y="703898"/>
                  </a:lnTo>
                  <a:cubicBezTo>
                    <a:pt x="-7620" y="735330"/>
                    <a:pt x="-7620" y="784860"/>
                    <a:pt x="22860" y="816293"/>
                  </a:cubicBezTo>
                  <a:cubicBezTo>
                    <a:pt x="38100" y="831533"/>
                    <a:pt x="59055" y="839153"/>
                    <a:pt x="79058" y="839153"/>
                  </a:cubicBezTo>
                  <a:cubicBezTo>
                    <a:pt x="99060" y="839153"/>
                    <a:pt x="120015" y="831533"/>
                    <a:pt x="135255" y="816293"/>
                  </a:cubicBezTo>
                  <a:lnTo>
                    <a:pt x="393383" y="556260"/>
                  </a:lnTo>
                  <a:cubicBezTo>
                    <a:pt x="438150" y="581978"/>
                    <a:pt x="488633" y="595313"/>
                    <a:pt x="541020" y="595313"/>
                  </a:cubicBezTo>
                  <a:cubicBezTo>
                    <a:pt x="620078" y="595313"/>
                    <a:pt x="694373" y="563880"/>
                    <a:pt x="749618" y="508635"/>
                  </a:cubicBezTo>
                  <a:cubicBezTo>
                    <a:pt x="805815" y="452438"/>
                    <a:pt x="836295" y="378143"/>
                    <a:pt x="835343" y="298133"/>
                  </a:cubicBezTo>
                  <a:cubicBezTo>
                    <a:pt x="835343" y="219075"/>
                    <a:pt x="803910" y="143828"/>
                    <a:pt x="746760" y="87630"/>
                  </a:cubicBezTo>
                  <a:close/>
                  <a:moveTo>
                    <a:pt x="116205" y="796290"/>
                  </a:moveTo>
                  <a:cubicBezTo>
                    <a:pt x="96203" y="816293"/>
                    <a:pt x="62865" y="817245"/>
                    <a:pt x="41910" y="796290"/>
                  </a:cubicBezTo>
                  <a:cubicBezTo>
                    <a:pt x="21908" y="776288"/>
                    <a:pt x="20955" y="742950"/>
                    <a:pt x="41910" y="721995"/>
                  </a:cubicBezTo>
                  <a:lnTo>
                    <a:pt x="191453" y="571500"/>
                  </a:lnTo>
                  <a:lnTo>
                    <a:pt x="265748" y="644843"/>
                  </a:lnTo>
                  <a:lnTo>
                    <a:pt x="116205" y="796290"/>
                  </a:lnTo>
                  <a:close/>
                  <a:moveTo>
                    <a:pt x="284798" y="626745"/>
                  </a:moveTo>
                  <a:lnTo>
                    <a:pt x="210503" y="553403"/>
                  </a:lnTo>
                  <a:lnTo>
                    <a:pt x="295275" y="467678"/>
                  </a:lnTo>
                  <a:cubicBezTo>
                    <a:pt x="305753" y="481965"/>
                    <a:pt x="316230" y="495300"/>
                    <a:pt x="328613" y="507683"/>
                  </a:cubicBezTo>
                  <a:cubicBezTo>
                    <a:pt x="340995" y="520065"/>
                    <a:pt x="355283" y="531495"/>
                    <a:pt x="368618" y="541020"/>
                  </a:cubicBezTo>
                  <a:lnTo>
                    <a:pt x="284798" y="626745"/>
                  </a:lnTo>
                  <a:close/>
                  <a:moveTo>
                    <a:pt x="730568" y="489585"/>
                  </a:moveTo>
                  <a:cubicBezTo>
                    <a:pt x="680085" y="540068"/>
                    <a:pt x="613410" y="568643"/>
                    <a:pt x="541020" y="568643"/>
                  </a:cubicBezTo>
                  <a:cubicBezTo>
                    <a:pt x="468630" y="568643"/>
                    <a:pt x="400050" y="541020"/>
                    <a:pt x="348615" y="489585"/>
                  </a:cubicBezTo>
                  <a:cubicBezTo>
                    <a:pt x="297180" y="438150"/>
                    <a:pt x="268605" y="370523"/>
                    <a:pt x="268605" y="298133"/>
                  </a:cubicBezTo>
                  <a:cubicBezTo>
                    <a:pt x="267653" y="225743"/>
                    <a:pt x="296228" y="158115"/>
                    <a:pt x="346710" y="107633"/>
                  </a:cubicBezTo>
                  <a:cubicBezTo>
                    <a:pt x="396240" y="56198"/>
                    <a:pt x="463868" y="27622"/>
                    <a:pt x="535305" y="27622"/>
                  </a:cubicBezTo>
                  <a:cubicBezTo>
                    <a:pt x="607695" y="27622"/>
                    <a:pt x="676275" y="55245"/>
                    <a:pt x="727710" y="106680"/>
                  </a:cubicBezTo>
                  <a:cubicBezTo>
                    <a:pt x="779145" y="158115"/>
                    <a:pt x="807720" y="225743"/>
                    <a:pt x="807720" y="298133"/>
                  </a:cubicBezTo>
                  <a:cubicBezTo>
                    <a:pt x="808673" y="370523"/>
                    <a:pt x="781050" y="438150"/>
                    <a:pt x="730568" y="489585"/>
                  </a:cubicBezTo>
                  <a:close/>
                </a:path>
              </a:pathLst>
            </a:custGeom>
            <a:grpFill/>
            <a:ln w="9525" cap="flat">
              <a:noFill/>
              <a:prstDash val="solid"/>
              <a:miter/>
            </a:ln>
          </p:spPr>
          <p:txBody>
            <a:bodyPr rtlCol="0" anchor="ctr"/>
            <a:lstStyle/>
            <a:p>
              <a:endParaRPr lang="pt-BR"/>
            </a:p>
          </p:txBody>
        </p:sp>
        <p:sp>
          <p:nvSpPr>
            <p:cNvPr id="81" name="Forma Livre: Forma 80">
              <a:extLst>
                <a:ext uri="{FF2B5EF4-FFF2-40B4-BE49-F238E27FC236}">
                  <a16:creationId xmlns:a16="http://schemas.microsoft.com/office/drawing/2014/main" id="{7782CC53-CCDF-D414-0DD4-244D14EA1614}"/>
                </a:ext>
              </a:extLst>
            </p:cNvPr>
            <p:cNvSpPr/>
            <p:nvPr/>
          </p:nvSpPr>
          <p:spPr>
            <a:xfrm>
              <a:off x="12523584" y="559186"/>
              <a:ext cx="441845" cy="441960"/>
            </a:xfrm>
            <a:custGeom>
              <a:avLst/>
              <a:gdLst>
                <a:gd name="connsiteX0" fmla="*/ 375170 w 441845"/>
                <a:gd name="connsiteY0" fmla="*/ 64770 h 441960"/>
                <a:gd name="connsiteX1" fmla="*/ 218008 w 441845"/>
                <a:gd name="connsiteY1" fmla="*/ 0 h 441960"/>
                <a:gd name="connsiteX2" fmla="*/ 63703 w 441845"/>
                <a:gd name="connsiteY2" fmla="*/ 64770 h 441960"/>
                <a:gd name="connsiteX3" fmla="*/ 65608 w 441845"/>
                <a:gd name="connsiteY3" fmla="*/ 377190 h 441960"/>
                <a:gd name="connsiteX4" fmla="*/ 222770 w 441845"/>
                <a:gd name="connsiteY4" fmla="*/ 441960 h 441960"/>
                <a:gd name="connsiteX5" fmla="*/ 378028 w 441845"/>
                <a:gd name="connsiteY5" fmla="*/ 377190 h 441960"/>
                <a:gd name="connsiteX6" fmla="*/ 441845 w 441845"/>
                <a:gd name="connsiteY6" fmla="*/ 220980 h 441960"/>
                <a:gd name="connsiteX7" fmla="*/ 375170 w 441845"/>
                <a:gd name="connsiteY7" fmla="*/ 64770 h 441960"/>
                <a:gd name="connsiteX8" fmla="*/ 358025 w 441845"/>
                <a:gd name="connsiteY8" fmla="*/ 358140 h 441960"/>
                <a:gd name="connsiteX9" fmla="*/ 222770 w 441845"/>
                <a:gd name="connsiteY9" fmla="*/ 414338 h 441960"/>
                <a:gd name="connsiteX10" fmla="*/ 84658 w 441845"/>
                <a:gd name="connsiteY10" fmla="*/ 357188 h 441960"/>
                <a:gd name="connsiteX11" fmla="*/ 82753 w 441845"/>
                <a:gd name="connsiteY11" fmla="*/ 82868 h 441960"/>
                <a:gd name="connsiteX12" fmla="*/ 218008 w 441845"/>
                <a:gd name="connsiteY12" fmla="*/ 26670 h 441960"/>
                <a:gd name="connsiteX13" fmla="*/ 356120 w 441845"/>
                <a:gd name="connsiteY13" fmla="*/ 83820 h 441960"/>
                <a:gd name="connsiteX14" fmla="*/ 414223 w 441845"/>
                <a:gd name="connsiteY14" fmla="*/ 220980 h 441960"/>
                <a:gd name="connsiteX15" fmla="*/ 358025 w 441845"/>
                <a:gd name="connsiteY15" fmla="*/ 35814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1845" h="441960">
                  <a:moveTo>
                    <a:pt x="375170" y="64770"/>
                  </a:moveTo>
                  <a:cubicBezTo>
                    <a:pt x="333260" y="22860"/>
                    <a:pt x="277063" y="0"/>
                    <a:pt x="218008" y="0"/>
                  </a:cubicBezTo>
                  <a:cubicBezTo>
                    <a:pt x="158953" y="0"/>
                    <a:pt x="104660" y="22860"/>
                    <a:pt x="63703" y="64770"/>
                  </a:cubicBezTo>
                  <a:cubicBezTo>
                    <a:pt x="-22022" y="150495"/>
                    <a:pt x="-21070" y="290513"/>
                    <a:pt x="65608" y="377190"/>
                  </a:cubicBezTo>
                  <a:cubicBezTo>
                    <a:pt x="107518" y="419100"/>
                    <a:pt x="163715" y="441960"/>
                    <a:pt x="222770" y="441960"/>
                  </a:cubicBezTo>
                  <a:cubicBezTo>
                    <a:pt x="281825" y="441960"/>
                    <a:pt x="336118" y="419100"/>
                    <a:pt x="378028" y="377190"/>
                  </a:cubicBezTo>
                  <a:cubicBezTo>
                    <a:pt x="418985" y="335280"/>
                    <a:pt x="441845" y="280035"/>
                    <a:pt x="441845" y="220980"/>
                  </a:cubicBezTo>
                  <a:cubicBezTo>
                    <a:pt x="439940" y="161925"/>
                    <a:pt x="417080" y="106680"/>
                    <a:pt x="375170" y="64770"/>
                  </a:cubicBezTo>
                  <a:close/>
                  <a:moveTo>
                    <a:pt x="358025" y="358140"/>
                  </a:moveTo>
                  <a:cubicBezTo>
                    <a:pt x="321830" y="394335"/>
                    <a:pt x="273253" y="414338"/>
                    <a:pt x="222770" y="414338"/>
                  </a:cubicBezTo>
                  <a:cubicBezTo>
                    <a:pt x="170383" y="414338"/>
                    <a:pt x="121805" y="394335"/>
                    <a:pt x="84658" y="357188"/>
                  </a:cubicBezTo>
                  <a:cubicBezTo>
                    <a:pt x="8458" y="281940"/>
                    <a:pt x="7505" y="159068"/>
                    <a:pt x="82753" y="82868"/>
                  </a:cubicBezTo>
                  <a:cubicBezTo>
                    <a:pt x="118948" y="46672"/>
                    <a:pt x="166573" y="26670"/>
                    <a:pt x="218008" y="26670"/>
                  </a:cubicBezTo>
                  <a:cubicBezTo>
                    <a:pt x="270395" y="26670"/>
                    <a:pt x="318973" y="46672"/>
                    <a:pt x="356120" y="83820"/>
                  </a:cubicBezTo>
                  <a:cubicBezTo>
                    <a:pt x="393268" y="120015"/>
                    <a:pt x="413270" y="169545"/>
                    <a:pt x="414223" y="220980"/>
                  </a:cubicBezTo>
                  <a:cubicBezTo>
                    <a:pt x="414223" y="272415"/>
                    <a:pt x="394220" y="320993"/>
                    <a:pt x="358025" y="358140"/>
                  </a:cubicBezTo>
                  <a:close/>
                </a:path>
              </a:pathLst>
            </a:custGeom>
            <a:grpFill/>
            <a:ln w="9525" cap="flat">
              <a:noFill/>
              <a:prstDash val="solid"/>
              <a:miter/>
            </a:ln>
          </p:spPr>
          <p:txBody>
            <a:bodyPr rtlCol="0" anchor="ctr"/>
            <a:lstStyle/>
            <a:p>
              <a:endParaRPr lang="pt-BR"/>
            </a:p>
          </p:txBody>
        </p:sp>
        <p:sp>
          <p:nvSpPr>
            <p:cNvPr id="82" name="Forma Livre: Forma 81">
              <a:extLst>
                <a:ext uri="{FF2B5EF4-FFF2-40B4-BE49-F238E27FC236}">
                  <a16:creationId xmlns:a16="http://schemas.microsoft.com/office/drawing/2014/main" id="{58C0A0B8-883E-8E3D-EA17-DEE5E3156351}"/>
                </a:ext>
              </a:extLst>
            </p:cNvPr>
            <p:cNvSpPr/>
            <p:nvPr/>
          </p:nvSpPr>
          <p:spPr>
            <a:xfrm>
              <a:off x="12831603" y="663485"/>
              <a:ext cx="70046" cy="232886"/>
            </a:xfrm>
            <a:custGeom>
              <a:avLst/>
              <a:gdLst>
                <a:gd name="connsiteX0" fmla="*/ 23336 w 70046"/>
                <a:gd name="connsiteY0" fmla="*/ 4286 h 232886"/>
                <a:gd name="connsiteX1" fmla="*/ 4286 w 70046"/>
                <a:gd name="connsiteY1" fmla="*/ 4286 h 232886"/>
                <a:gd name="connsiteX2" fmla="*/ 4286 w 70046"/>
                <a:gd name="connsiteY2" fmla="*/ 23336 h 232886"/>
                <a:gd name="connsiteX3" fmla="*/ 43339 w 70046"/>
                <a:gd name="connsiteY3" fmla="*/ 116681 h 232886"/>
                <a:gd name="connsiteX4" fmla="*/ 5239 w 70046"/>
                <a:gd name="connsiteY4" fmla="*/ 210026 h 232886"/>
                <a:gd name="connsiteX5" fmla="*/ 5239 w 70046"/>
                <a:gd name="connsiteY5" fmla="*/ 229076 h 232886"/>
                <a:gd name="connsiteX6" fmla="*/ 14764 w 70046"/>
                <a:gd name="connsiteY6" fmla="*/ 232886 h 232886"/>
                <a:gd name="connsiteX7" fmla="*/ 24289 w 70046"/>
                <a:gd name="connsiteY7" fmla="*/ 229076 h 232886"/>
                <a:gd name="connsiteX8" fmla="*/ 70009 w 70046"/>
                <a:gd name="connsiteY8" fmla="*/ 116681 h 232886"/>
                <a:gd name="connsiteX9" fmla="*/ 23336 w 70046"/>
                <a:gd name="connsiteY9" fmla="*/ 4286 h 23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046" h="232886">
                  <a:moveTo>
                    <a:pt x="23336" y="4286"/>
                  </a:moveTo>
                  <a:cubicBezTo>
                    <a:pt x="17621" y="-1429"/>
                    <a:pt x="9049" y="-1429"/>
                    <a:pt x="4286" y="4286"/>
                  </a:cubicBezTo>
                  <a:cubicBezTo>
                    <a:pt x="-1429" y="10001"/>
                    <a:pt x="-1429" y="18574"/>
                    <a:pt x="4286" y="23336"/>
                  </a:cubicBezTo>
                  <a:cubicBezTo>
                    <a:pt x="29051" y="48101"/>
                    <a:pt x="43339" y="81439"/>
                    <a:pt x="43339" y="116681"/>
                  </a:cubicBezTo>
                  <a:cubicBezTo>
                    <a:pt x="43339" y="151924"/>
                    <a:pt x="30004" y="185261"/>
                    <a:pt x="5239" y="210026"/>
                  </a:cubicBezTo>
                  <a:cubicBezTo>
                    <a:pt x="-476" y="215741"/>
                    <a:pt x="-476" y="224314"/>
                    <a:pt x="5239" y="229076"/>
                  </a:cubicBezTo>
                  <a:cubicBezTo>
                    <a:pt x="8096" y="231934"/>
                    <a:pt x="10954" y="232886"/>
                    <a:pt x="14764" y="232886"/>
                  </a:cubicBezTo>
                  <a:cubicBezTo>
                    <a:pt x="18574" y="232886"/>
                    <a:pt x="21431" y="231934"/>
                    <a:pt x="24289" y="229076"/>
                  </a:cubicBezTo>
                  <a:cubicBezTo>
                    <a:pt x="53816" y="199549"/>
                    <a:pt x="70009" y="159544"/>
                    <a:pt x="70009" y="116681"/>
                  </a:cubicBezTo>
                  <a:cubicBezTo>
                    <a:pt x="70961" y="73819"/>
                    <a:pt x="53816" y="33814"/>
                    <a:pt x="23336" y="4286"/>
                  </a:cubicBezTo>
                  <a:close/>
                </a:path>
              </a:pathLst>
            </a:custGeom>
            <a:grpFill/>
            <a:ln w="9525" cap="flat">
              <a:noFill/>
              <a:prstDash val="solid"/>
              <a:miter/>
            </a:ln>
          </p:spPr>
          <p:txBody>
            <a:bodyPr rtlCol="0" anchor="ctr"/>
            <a:lstStyle/>
            <a:p>
              <a:endParaRPr lang="pt-BR"/>
            </a:p>
          </p:txBody>
        </p:sp>
      </p:grpSp>
      <p:sp>
        <p:nvSpPr>
          <p:cNvPr id="86" name="Forma Livre: Forma 85">
            <a:extLst>
              <a:ext uri="{FF2B5EF4-FFF2-40B4-BE49-F238E27FC236}">
                <a16:creationId xmlns:a16="http://schemas.microsoft.com/office/drawing/2014/main" id="{D5F4F89F-8A2B-BBAD-6E52-9A453E4C7E04}"/>
              </a:ext>
            </a:extLst>
          </p:cNvPr>
          <p:cNvSpPr/>
          <p:nvPr/>
        </p:nvSpPr>
        <p:spPr>
          <a:xfrm>
            <a:off x="9964399" y="2531673"/>
            <a:ext cx="603177" cy="634020"/>
          </a:xfrm>
          <a:custGeom>
            <a:avLst/>
            <a:gdLst>
              <a:gd name="connsiteX0" fmla="*/ 769286 w 849540"/>
              <a:gd name="connsiteY0" fmla="*/ 216145 h 892981"/>
              <a:gd name="connsiteX1" fmla="*/ 594559 w 849540"/>
              <a:gd name="connsiteY1" fmla="*/ 216145 h 892981"/>
              <a:gd name="connsiteX2" fmla="*/ 514303 w 849540"/>
              <a:gd name="connsiteY2" fmla="*/ 296401 h 892981"/>
              <a:gd name="connsiteX3" fmla="*/ 514303 w 849540"/>
              <a:gd name="connsiteY3" fmla="*/ 320213 h 892981"/>
              <a:gd name="connsiteX4" fmla="*/ 492165 w 849540"/>
              <a:gd name="connsiteY4" fmla="*/ 339486 h 892981"/>
              <a:gd name="connsiteX5" fmla="*/ 368674 w 849540"/>
              <a:gd name="connsiteY5" fmla="*/ 553427 h 892981"/>
              <a:gd name="connsiteX6" fmla="*/ 368674 w 849540"/>
              <a:gd name="connsiteY6" fmla="*/ 598150 h 892981"/>
              <a:gd name="connsiteX7" fmla="*/ 407406 w 849540"/>
              <a:gd name="connsiteY7" fmla="*/ 620512 h 892981"/>
              <a:gd name="connsiteX8" fmla="*/ 582990 w 849540"/>
              <a:gd name="connsiteY8" fmla="*/ 620512 h 892981"/>
              <a:gd name="connsiteX9" fmla="*/ 582990 w 849540"/>
              <a:gd name="connsiteY9" fmla="*/ 837691 h 892981"/>
              <a:gd name="connsiteX10" fmla="*/ 638280 w 849540"/>
              <a:gd name="connsiteY10" fmla="*/ 892981 h 892981"/>
              <a:gd name="connsiteX11" fmla="*/ 681960 w 849540"/>
              <a:gd name="connsiteY11" fmla="*/ 871550 h 892981"/>
              <a:gd name="connsiteX12" fmla="*/ 725604 w 849540"/>
              <a:gd name="connsiteY12" fmla="*/ 892981 h 892981"/>
              <a:gd name="connsiteX13" fmla="*/ 780894 w 849540"/>
              <a:gd name="connsiteY13" fmla="*/ 837691 h 892981"/>
              <a:gd name="connsiteX14" fmla="*/ 780894 w 849540"/>
              <a:gd name="connsiteY14" fmla="*/ 524928 h 892981"/>
              <a:gd name="connsiteX15" fmla="*/ 849541 w 849540"/>
              <a:gd name="connsiteY15" fmla="*/ 445529 h 892981"/>
              <a:gd name="connsiteX16" fmla="*/ 849541 w 849540"/>
              <a:gd name="connsiteY16" fmla="*/ 296367 h 892981"/>
              <a:gd name="connsiteX17" fmla="*/ 769285 w 849540"/>
              <a:gd name="connsiteY17" fmla="*/ 216149 h 892981"/>
              <a:gd name="connsiteX18" fmla="*/ 388771 w 849540"/>
              <a:gd name="connsiteY18" fmla="*/ 586582 h 892981"/>
              <a:gd name="connsiteX19" fmla="*/ 388771 w 849540"/>
              <a:gd name="connsiteY19" fmla="*/ 565076 h 892981"/>
              <a:gd name="connsiteX20" fmla="*/ 512301 w 849540"/>
              <a:gd name="connsiteY20" fmla="*/ 351097 h 892981"/>
              <a:gd name="connsiteX21" fmla="*/ 530942 w 849540"/>
              <a:gd name="connsiteY21" fmla="*/ 340344 h 892981"/>
              <a:gd name="connsiteX22" fmla="*/ 549582 w 849540"/>
              <a:gd name="connsiteY22" fmla="*/ 351097 h 892981"/>
              <a:gd name="connsiteX23" fmla="*/ 673112 w 849540"/>
              <a:gd name="connsiteY23" fmla="*/ 565038 h 892981"/>
              <a:gd name="connsiteX24" fmla="*/ 673112 w 849540"/>
              <a:gd name="connsiteY24" fmla="*/ 586544 h 892981"/>
              <a:gd name="connsiteX25" fmla="*/ 654471 w 849540"/>
              <a:gd name="connsiteY25" fmla="*/ 597297 h 892981"/>
              <a:gd name="connsiteX26" fmla="*/ 407412 w 849540"/>
              <a:gd name="connsiteY26" fmla="*/ 597334 h 892981"/>
              <a:gd name="connsiteX27" fmla="*/ 388771 w 849540"/>
              <a:gd name="connsiteY27" fmla="*/ 586581 h 892981"/>
              <a:gd name="connsiteX28" fmla="*/ 826331 w 849540"/>
              <a:gd name="connsiteY28" fmla="*/ 445526 h 892981"/>
              <a:gd name="connsiteX29" fmla="*/ 780901 w 849540"/>
              <a:gd name="connsiteY29" fmla="*/ 501374 h 892981"/>
              <a:gd name="connsiteX30" fmla="*/ 780901 w 849540"/>
              <a:gd name="connsiteY30" fmla="*/ 340859 h 892981"/>
              <a:gd name="connsiteX31" fmla="*/ 769292 w 849540"/>
              <a:gd name="connsiteY31" fmla="*/ 329250 h 892981"/>
              <a:gd name="connsiteX32" fmla="*/ 757683 w 849540"/>
              <a:gd name="connsiteY32" fmla="*/ 340859 h 892981"/>
              <a:gd name="connsiteX33" fmla="*/ 757683 w 849540"/>
              <a:gd name="connsiteY33" fmla="*/ 837683 h 892981"/>
              <a:gd name="connsiteX34" fmla="*/ 725611 w 849540"/>
              <a:gd name="connsiteY34" fmla="*/ 869755 h 892981"/>
              <a:gd name="connsiteX35" fmla="*/ 693538 w 849540"/>
              <a:gd name="connsiteY35" fmla="*/ 837683 h 892981"/>
              <a:gd name="connsiteX36" fmla="*/ 693538 w 849540"/>
              <a:gd name="connsiteY36" fmla="*/ 659575 h 892981"/>
              <a:gd name="connsiteX37" fmla="*/ 681929 w 849540"/>
              <a:gd name="connsiteY37" fmla="*/ 647966 h 892981"/>
              <a:gd name="connsiteX38" fmla="*/ 670320 w 849540"/>
              <a:gd name="connsiteY38" fmla="*/ 659575 h 892981"/>
              <a:gd name="connsiteX39" fmla="*/ 670320 w 849540"/>
              <a:gd name="connsiteY39" fmla="*/ 837683 h 892981"/>
              <a:gd name="connsiteX40" fmla="*/ 638247 w 849540"/>
              <a:gd name="connsiteY40" fmla="*/ 869755 h 892981"/>
              <a:gd name="connsiteX41" fmla="*/ 606175 w 849540"/>
              <a:gd name="connsiteY41" fmla="*/ 837683 h 892981"/>
              <a:gd name="connsiteX42" fmla="*/ 606175 w 849540"/>
              <a:gd name="connsiteY42" fmla="*/ 620503 h 892981"/>
              <a:gd name="connsiteX43" fmla="*/ 654469 w 849540"/>
              <a:gd name="connsiteY43" fmla="*/ 620503 h 892981"/>
              <a:gd name="connsiteX44" fmla="*/ 693202 w 849540"/>
              <a:gd name="connsiteY44" fmla="*/ 598141 h 892981"/>
              <a:gd name="connsiteX45" fmla="*/ 693202 w 849540"/>
              <a:gd name="connsiteY45" fmla="*/ 553419 h 892981"/>
              <a:gd name="connsiteX46" fmla="*/ 569634 w 849540"/>
              <a:gd name="connsiteY46" fmla="*/ 339478 h 892981"/>
              <a:gd name="connsiteX47" fmla="*/ 537524 w 849540"/>
              <a:gd name="connsiteY47" fmla="*/ 317600 h 892981"/>
              <a:gd name="connsiteX48" fmla="*/ 537524 w 849540"/>
              <a:gd name="connsiteY48" fmla="*/ 296354 h 892981"/>
              <a:gd name="connsiteX49" fmla="*/ 594563 w 849540"/>
              <a:gd name="connsiteY49" fmla="*/ 239316 h 892981"/>
              <a:gd name="connsiteX50" fmla="*/ 769290 w 849540"/>
              <a:gd name="connsiteY50" fmla="*/ 239316 h 892981"/>
              <a:gd name="connsiteX51" fmla="*/ 826328 w 849540"/>
              <a:gd name="connsiteY51" fmla="*/ 296354 h 892981"/>
              <a:gd name="connsiteX52" fmla="*/ 681932 w 849540"/>
              <a:gd name="connsiteY52" fmla="*/ 197543 h 892981"/>
              <a:gd name="connsiteX53" fmla="*/ 780678 w 849540"/>
              <a:gd name="connsiteY53" fmla="*/ 98797 h 892981"/>
              <a:gd name="connsiteX54" fmla="*/ 681932 w 849540"/>
              <a:gd name="connsiteY54" fmla="*/ 13 h 892981"/>
              <a:gd name="connsiteX55" fmla="*/ 583186 w 849540"/>
              <a:gd name="connsiteY55" fmla="*/ 98759 h 892981"/>
              <a:gd name="connsiteX56" fmla="*/ 681932 w 849540"/>
              <a:gd name="connsiteY56" fmla="*/ 197543 h 892981"/>
              <a:gd name="connsiteX57" fmla="*/ 681932 w 849540"/>
              <a:gd name="connsiteY57" fmla="*/ 23188 h 892981"/>
              <a:gd name="connsiteX58" fmla="*/ 757499 w 849540"/>
              <a:gd name="connsiteY58" fmla="*/ 98755 h 892981"/>
              <a:gd name="connsiteX59" fmla="*/ 681932 w 849540"/>
              <a:gd name="connsiteY59" fmla="*/ 174323 h 892981"/>
              <a:gd name="connsiteX60" fmla="*/ 606364 w 849540"/>
              <a:gd name="connsiteY60" fmla="*/ 98755 h 892981"/>
              <a:gd name="connsiteX61" fmla="*/ 681932 w 849540"/>
              <a:gd name="connsiteY61" fmla="*/ 23188 h 892981"/>
              <a:gd name="connsiteX62" fmla="*/ 207615 w 849540"/>
              <a:gd name="connsiteY62" fmla="*/ 389900 h 892981"/>
              <a:gd name="connsiteX63" fmla="*/ 169701 w 849540"/>
              <a:gd name="connsiteY63" fmla="*/ 351986 h 892981"/>
              <a:gd name="connsiteX64" fmla="*/ 131787 w 849540"/>
              <a:gd name="connsiteY64" fmla="*/ 389900 h 892981"/>
              <a:gd name="connsiteX65" fmla="*/ 169701 w 849540"/>
              <a:gd name="connsiteY65" fmla="*/ 427814 h 892981"/>
              <a:gd name="connsiteX66" fmla="*/ 207615 w 849540"/>
              <a:gd name="connsiteY66" fmla="*/ 389900 h 892981"/>
              <a:gd name="connsiteX67" fmla="*/ 154968 w 849540"/>
              <a:gd name="connsiteY67" fmla="*/ 389900 h 892981"/>
              <a:gd name="connsiteX68" fmla="*/ 169702 w 849540"/>
              <a:gd name="connsiteY68" fmla="*/ 375166 h 892981"/>
              <a:gd name="connsiteX69" fmla="*/ 184436 w 849540"/>
              <a:gd name="connsiteY69" fmla="*/ 389900 h 892981"/>
              <a:gd name="connsiteX70" fmla="*/ 169702 w 849540"/>
              <a:gd name="connsiteY70" fmla="*/ 404634 h 892981"/>
              <a:gd name="connsiteX71" fmla="*/ 154968 w 849540"/>
              <a:gd name="connsiteY71" fmla="*/ 389900 h 892981"/>
              <a:gd name="connsiteX72" fmla="*/ 181273 w 849540"/>
              <a:gd name="connsiteY72" fmla="*/ 499695 h 892981"/>
              <a:gd name="connsiteX73" fmla="*/ 181273 w 849540"/>
              <a:gd name="connsiteY73" fmla="*/ 471566 h 892981"/>
              <a:gd name="connsiteX74" fmla="*/ 219187 w 849540"/>
              <a:gd name="connsiteY74" fmla="*/ 455828 h 892981"/>
              <a:gd name="connsiteX75" fmla="*/ 254534 w 849540"/>
              <a:gd name="connsiteY75" fmla="*/ 491175 h 892981"/>
              <a:gd name="connsiteX76" fmla="*/ 261677 w 849540"/>
              <a:gd name="connsiteY76" fmla="*/ 546279 h 892981"/>
              <a:gd name="connsiteX77" fmla="*/ 293862 w 849540"/>
              <a:gd name="connsiteY77" fmla="*/ 559598 h 892981"/>
              <a:gd name="connsiteX78" fmla="*/ 326046 w 849540"/>
              <a:gd name="connsiteY78" fmla="*/ 546279 h 892981"/>
              <a:gd name="connsiteX79" fmla="*/ 339365 w 849540"/>
              <a:gd name="connsiteY79" fmla="*/ 514095 h 892981"/>
              <a:gd name="connsiteX80" fmla="*/ 326046 w 849540"/>
              <a:gd name="connsiteY80" fmla="*/ 481911 h 892981"/>
              <a:gd name="connsiteX81" fmla="*/ 293862 w 849540"/>
              <a:gd name="connsiteY81" fmla="*/ 468591 h 892981"/>
              <a:gd name="connsiteX82" fmla="*/ 270904 w 849540"/>
              <a:gd name="connsiteY82" fmla="*/ 474767 h 892981"/>
              <a:gd name="connsiteX83" fmla="*/ 235558 w 849540"/>
              <a:gd name="connsiteY83" fmla="*/ 439421 h 892981"/>
              <a:gd name="connsiteX84" fmla="*/ 251296 w 849540"/>
              <a:gd name="connsiteY84" fmla="*/ 401507 h 892981"/>
              <a:gd name="connsiteX85" fmla="*/ 279424 w 849540"/>
              <a:gd name="connsiteY85" fmla="*/ 401507 h 892981"/>
              <a:gd name="connsiteX86" fmla="*/ 291034 w 849540"/>
              <a:gd name="connsiteY86" fmla="*/ 389898 h 892981"/>
              <a:gd name="connsiteX87" fmla="*/ 279424 w 849540"/>
              <a:gd name="connsiteY87" fmla="*/ 378289 h 892981"/>
              <a:gd name="connsiteX88" fmla="*/ 251296 w 849540"/>
              <a:gd name="connsiteY88" fmla="*/ 378289 h 892981"/>
              <a:gd name="connsiteX89" fmla="*/ 235558 w 849540"/>
              <a:gd name="connsiteY89" fmla="*/ 340374 h 892981"/>
              <a:gd name="connsiteX90" fmla="*/ 270904 w 849540"/>
              <a:gd name="connsiteY90" fmla="*/ 305028 h 892981"/>
              <a:gd name="connsiteX91" fmla="*/ 326008 w 849540"/>
              <a:gd name="connsiteY91" fmla="*/ 297884 h 892981"/>
              <a:gd name="connsiteX92" fmla="*/ 339328 w 849540"/>
              <a:gd name="connsiteY92" fmla="*/ 265700 h 892981"/>
              <a:gd name="connsiteX93" fmla="*/ 326008 w 849540"/>
              <a:gd name="connsiteY93" fmla="*/ 233516 h 892981"/>
              <a:gd name="connsiteX94" fmla="*/ 293824 w 849540"/>
              <a:gd name="connsiteY94" fmla="*/ 220196 h 892981"/>
              <a:gd name="connsiteX95" fmla="*/ 261640 w 849540"/>
              <a:gd name="connsiteY95" fmla="*/ 233516 h 892981"/>
              <a:gd name="connsiteX96" fmla="*/ 254497 w 849540"/>
              <a:gd name="connsiteY96" fmla="*/ 288620 h 892981"/>
              <a:gd name="connsiteX97" fmla="*/ 219150 w 849540"/>
              <a:gd name="connsiteY97" fmla="*/ 323967 h 892981"/>
              <a:gd name="connsiteX98" fmla="*/ 181236 w 849540"/>
              <a:gd name="connsiteY98" fmla="*/ 308228 h 892981"/>
              <a:gd name="connsiteX99" fmla="*/ 181236 w 849540"/>
              <a:gd name="connsiteY99" fmla="*/ 280100 h 892981"/>
              <a:gd name="connsiteX100" fmla="*/ 169627 w 849540"/>
              <a:gd name="connsiteY100" fmla="*/ 268491 h 892981"/>
              <a:gd name="connsiteX101" fmla="*/ 158018 w 849540"/>
              <a:gd name="connsiteY101" fmla="*/ 280100 h 892981"/>
              <a:gd name="connsiteX102" fmla="*/ 158018 w 849540"/>
              <a:gd name="connsiteY102" fmla="*/ 308228 h 892981"/>
              <a:gd name="connsiteX103" fmla="*/ 120104 w 849540"/>
              <a:gd name="connsiteY103" fmla="*/ 323967 h 892981"/>
              <a:gd name="connsiteX104" fmla="*/ 84757 w 849540"/>
              <a:gd name="connsiteY104" fmla="*/ 288620 h 892981"/>
              <a:gd name="connsiteX105" fmla="*/ 77614 w 849540"/>
              <a:gd name="connsiteY105" fmla="*/ 233516 h 892981"/>
              <a:gd name="connsiteX106" fmla="*/ 45504 w 849540"/>
              <a:gd name="connsiteY106" fmla="*/ 220196 h 892981"/>
              <a:gd name="connsiteX107" fmla="*/ 13320 w 849540"/>
              <a:gd name="connsiteY107" fmla="*/ 233516 h 892981"/>
              <a:gd name="connsiteX108" fmla="*/ 13320 w 849540"/>
              <a:gd name="connsiteY108" fmla="*/ 297884 h 892981"/>
              <a:gd name="connsiteX109" fmla="*/ 68424 w 849540"/>
              <a:gd name="connsiteY109" fmla="*/ 305028 h 892981"/>
              <a:gd name="connsiteX110" fmla="*/ 103770 w 849540"/>
              <a:gd name="connsiteY110" fmla="*/ 340374 h 892981"/>
              <a:gd name="connsiteX111" fmla="*/ 88032 w 849540"/>
              <a:gd name="connsiteY111" fmla="*/ 378289 h 892981"/>
              <a:gd name="connsiteX112" fmla="*/ 59904 w 849540"/>
              <a:gd name="connsiteY112" fmla="*/ 378289 h 892981"/>
              <a:gd name="connsiteX113" fmla="*/ 48295 w 849540"/>
              <a:gd name="connsiteY113" fmla="*/ 389898 h 892981"/>
              <a:gd name="connsiteX114" fmla="*/ 59904 w 849540"/>
              <a:gd name="connsiteY114" fmla="*/ 401507 h 892981"/>
              <a:gd name="connsiteX115" fmla="*/ 88032 w 849540"/>
              <a:gd name="connsiteY115" fmla="*/ 401507 h 892981"/>
              <a:gd name="connsiteX116" fmla="*/ 103770 w 849540"/>
              <a:gd name="connsiteY116" fmla="*/ 439421 h 892981"/>
              <a:gd name="connsiteX117" fmla="*/ 68424 w 849540"/>
              <a:gd name="connsiteY117" fmla="*/ 474767 h 892981"/>
              <a:gd name="connsiteX118" fmla="*/ 13320 w 849540"/>
              <a:gd name="connsiteY118" fmla="*/ 481911 h 892981"/>
              <a:gd name="connsiteX119" fmla="*/ 0 w 849540"/>
              <a:gd name="connsiteY119" fmla="*/ 514095 h 892981"/>
              <a:gd name="connsiteX120" fmla="*/ 13320 w 849540"/>
              <a:gd name="connsiteY120" fmla="*/ 546279 h 892981"/>
              <a:gd name="connsiteX121" fmla="*/ 45504 w 849540"/>
              <a:gd name="connsiteY121" fmla="*/ 559599 h 892981"/>
              <a:gd name="connsiteX122" fmla="*/ 77688 w 849540"/>
              <a:gd name="connsiteY122" fmla="*/ 546279 h 892981"/>
              <a:gd name="connsiteX123" fmla="*/ 84832 w 849540"/>
              <a:gd name="connsiteY123" fmla="*/ 491175 h 892981"/>
              <a:gd name="connsiteX124" fmla="*/ 120178 w 849540"/>
              <a:gd name="connsiteY124" fmla="*/ 455829 h 892981"/>
              <a:gd name="connsiteX125" fmla="*/ 158092 w 849540"/>
              <a:gd name="connsiteY125" fmla="*/ 471567 h 892981"/>
              <a:gd name="connsiteX126" fmla="*/ 158092 w 849540"/>
              <a:gd name="connsiteY126" fmla="*/ 499695 h 892981"/>
              <a:gd name="connsiteX127" fmla="*/ 169701 w 849540"/>
              <a:gd name="connsiteY127" fmla="*/ 511304 h 892981"/>
              <a:gd name="connsiteX128" fmla="*/ 181272 w 849540"/>
              <a:gd name="connsiteY128" fmla="*/ 499695 h 892981"/>
              <a:gd name="connsiteX129" fmla="*/ 278047 w 849540"/>
              <a:gd name="connsiteY129" fmla="*/ 498393 h 892981"/>
              <a:gd name="connsiteX130" fmla="*/ 278196 w 849540"/>
              <a:gd name="connsiteY130" fmla="*/ 498244 h 892981"/>
              <a:gd name="connsiteX131" fmla="*/ 293897 w 849540"/>
              <a:gd name="connsiteY131" fmla="*/ 491770 h 892981"/>
              <a:gd name="connsiteX132" fmla="*/ 309672 w 849540"/>
              <a:gd name="connsiteY132" fmla="*/ 498318 h 892981"/>
              <a:gd name="connsiteX133" fmla="*/ 316221 w 849540"/>
              <a:gd name="connsiteY133" fmla="*/ 514093 h 892981"/>
              <a:gd name="connsiteX134" fmla="*/ 309672 w 849540"/>
              <a:gd name="connsiteY134" fmla="*/ 529869 h 892981"/>
              <a:gd name="connsiteX135" fmla="*/ 293897 w 849540"/>
              <a:gd name="connsiteY135" fmla="*/ 536417 h 892981"/>
              <a:gd name="connsiteX136" fmla="*/ 278122 w 849540"/>
              <a:gd name="connsiteY136" fmla="*/ 529869 h 892981"/>
              <a:gd name="connsiteX137" fmla="*/ 278047 w 849540"/>
              <a:gd name="connsiteY137" fmla="*/ 498391 h 892981"/>
              <a:gd name="connsiteX138" fmla="*/ 278084 w 849540"/>
              <a:gd name="connsiteY138" fmla="*/ 249923 h 892981"/>
              <a:gd name="connsiteX139" fmla="*/ 293860 w 849540"/>
              <a:gd name="connsiteY139" fmla="*/ 243375 h 892981"/>
              <a:gd name="connsiteX140" fmla="*/ 309635 w 849540"/>
              <a:gd name="connsiteY140" fmla="*/ 249923 h 892981"/>
              <a:gd name="connsiteX141" fmla="*/ 316183 w 849540"/>
              <a:gd name="connsiteY141" fmla="*/ 265699 h 892981"/>
              <a:gd name="connsiteX142" fmla="*/ 309635 w 849540"/>
              <a:gd name="connsiteY142" fmla="*/ 281474 h 892981"/>
              <a:gd name="connsiteX143" fmla="*/ 278121 w 849540"/>
              <a:gd name="connsiteY143" fmla="*/ 281548 h 892981"/>
              <a:gd name="connsiteX144" fmla="*/ 277972 w 849540"/>
              <a:gd name="connsiteY144" fmla="*/ 281400 h 892981"/>
              <a:gd name="connsiteX145" fmla="*/ 278083 w 849540"/>
              <a:gd name="connsiteY145" fmla="*/ 249922 h 892981"/>
              <a:gd name="connsiteX146" fmla="*/ 61276 w 849540"/>
              <a:gd name="connsiteY146" fmla="*/ 281512 h 892981"/>
              <a:gd name="connsiteX147" fmla="*/ 29688 w 849540"/>
              <a:gd name="connsiteY147" fmla="*/ 281512 h 892981"/>
              <a:gd name="connsiteX148" fmla="*/ 29688 w 849540"/>
              <a:gd name="connsiteY148" fmla="*/ 249923 h 892981"/>
              <a:gd name="connsiteX149" fmla="*/ 45463 w 849540"/>
              <a:gd name="connsiteY149" fmla="*/ 243375 h 892981"/>
              <a:gd name="connsiteX150" fmla="*/ 61238 w 849540"/>
              <a:gd name="connsiteY150" fmla="*/ 249923 h 892981"/>
              <a:gd name="connsiteX151" fmla="*/ 61275 w 849540"/>
              <a:gd name="connsiteY151" fmla="*/ 281512 h 892981"/>
              <a:gd name="connsiteX152" fmla="*/ 61276 w 849540"/>
              <a:gd name="connsiteY152" fmla="*/ 529905 h 892981"/>
              <a:gd name="connsiteX153" fmla="*/ 45501 w 849540"/>
              <a:gd name="connsiteY153" fmla="*/ 536453 h 892981"/>
              <a:gd name="connsiteX154" fmla="*/ 29726 w 849540"/>
              <a:gd name="connsiteY154" fmla="*/ 529905 h 892981"/>
              <a:gd name="connsiteX155" fmla="*/ 23177 w 849540"/>
              <a:gd name="connsiteY155" fmla="*/ 514130 h 892981"/>
              <a:gd name="connsiteX156" fmla="*/ 29726 w 849540"/>
              <a:gd name="connsiteY156" fmla="*/ 498354 h 892981"/>
              <a:gd name="connsiteX157" fmla="*/ 45501 w 849540"/>
              <a:gd name="connsiteY157" fmla="*/ 491843 h 892981"/>
              <a:gd name="connsiteX158" fmla="*/ 61314 w 849540"/>
              <a:gd name="connsiteY158" fmla="*/ 498354 h 892981"/>
              <a:gd name="connsiteX159" fmla="*/ 61277 w 849540"/>
              <a:gd name="connsiteY159" fmla="*/ 529906 h 892981"/>
              <a:gd name="connsiteX160" fmla="*/ 110389 w 849540"/>
              <a:gd name="connsiteY160" fmla="*/ 389935 h 892981"/>
              <a:gd name="connsiteX161" fmla="*/ 110389 w 849540"/>
              <a:gd name="connsiteY161" fmla="*/ 389898 h 892981"/>
              <a:gd name="connsiteX162" fmla="*/ 110389 w 849540"/>
              <a:gd name="connsiteY162" fmla="*/ 389861 h 892981"/>
              <a:gd name="connsiteX163" fmla="*/ 169697 w 849540"/>
              <a:gd name="connsiteY163" fmla="*/ 330590 h 892981"/>
              <a:gd name="connsiteX164" fmla="*/ 229006 w 849540"/>
              <a:gd name="connsiteY164" fmla="*/ 389861 h 892981"/>
              <a:gd name="connsiteX165" fmla="*/ 229006 w 849540"/>
              <a:gd name="connsiteY165" fmla="*/ 389898 h 892981"/>
              <a:gd name="connsiteX166" fmla="*/ 229006 w 849540"/>
              <a:gd name="connsiteY166" fmla="*/ 389935 h 892981"/>
              <a:gd name="connsiteX167" fmla="*/ 169697 w 849540"/>
              <a:gd name="connsiteY167" fmla="*/ 449206 h 892981"/>
              <a:gd name="connsiteX168" fmla="*/ 110389 w 849540"/>
              <a:gd name="connsiteY168" fmla="*/ 389935 h 892981"/>
              <a:gd name="connsiteX169" fmla="*/ 369688 w 849540"/>
              <a:gd name="connsiteY169" fmla="*/ 729559 h 892981"/>
              <a:gd name="connsiteX170" fmla="*/ 358079 w 849540"/>
              <a:gd name="connsiteY170" fmla="*/ 741168 h 892981"/>
              <a:gd name="connsiteX171" fmla="*/ 358079 w 849540"/>
              <a:gd name="connsiteY171" fmla="*/ 744442 h 892981"/>
              <a:gd name="connsiteX172" fmla="*/ 336351 w 849540"/>
              <a:gd name="connsiteY172" fmla="*/ 744442 h 892981"/>
              <a:gd name="connsiteX173" fmla="*/ 325709 w 849540"/>
              <a:gd name="connsiteY173" fmla="*/ 718843 h 892981"/>
              <a:gd name="connsiteX174" fmla="*/ 341076 w 849540"/>
              <a:gd name="connsiteY174" fmla="*/ 703477 h 892981"/>
              <a:gd name="connsiteX175" fmla="*/ 343383 w 849540"/>
              <a:gd name="connsiteY175" fmla="*/ 705784 h 892981"/>
              <a:gd name="connsiteX176" fmla="*/ 351568 w 849540"/>
              <a:gd name="connsiteY176" fmla="*/ 709169 h 892981"/>
              <a:gd name="connsiteX177" fmla="*/ 359791 w 849540"/>
              <a:gd name="connsiteY177" fmla="*/ 705784 h 892981"/>
              <a:gd name="connsiteX178" fmla="*/ 359791 w 849540"/>
              <a:gd name="connsiteY178" fmla="*/ 689375 h 892981"/>
              <a:gd name="connsiteX179" fmla="*/ 338770 w 849540"/>
              <a:gd name="connsiteY179" fmla="*/ 668353 h 892981"/>
              <a:gd name="connsiteX180" fmla="*/ 322361 w 849540"/>
              <a:gd name="connsiteY180" fmla="*/ 668353 h 892981"/>
              <a:gd name="connsiteX181" fmla="*/ 322361 w 849540"/>
              <a:gd name="connsiteY181" fmla="*/ 684762 h 892981"/>
              <a:gd name="connsiteX182" fmla="*/ 324668 w 849540"/>
              <a:gd name="connsiteY182" fmla="*/ 687069 h 892981"/>
              <a:gd name="connsiteX183" fmla="*/ 309301 w 849540"/>
              <a:gd name="connsiteY183" fmla="*/ 702435 h 892981"/>
              <a:gd name="connsiteX184" fmla="*/ 283703 w 849540"/>
              <a:gd name="connsiteY184" fmla="*/ 691794 h 892981"/>
              <a:gd name="connsiteX185" fmla="*/ 283703 w 849540"/>
              <a:gd name="connsiteY185" fmla="*/ 670066 h 892981"/>
              <a:gd name="connsiteX186" fmla="*/ 286977 w 849540"/>
              <a:gd name="connsiteY186" fmla="*/ 670066 h 892981"/>
              <a:gd name="connsiteX187" fmla="*/ 298586 w 849540"/>
              <a:gd name="connsiteY187" fmla="*/ 658457 h 892981"/>
              <a:gd name="connsiteX188" fmla="*/ 286977 w 849540"/>
              <a:gd name="connsiteY188" fmla="*/ 646848 h 892981"/>
              <a:gd name="connsiteX189" fmla="*/ 257248 w 849540"/>
              <a:gd name="connsiteY189" fmla="*/ 646848 h 892981"/>
              <a:gd name="connsiteX190" fmla="*/ 245639 w 849540"/>
              <a:gd name="connsiteY190" fmla="*/ 658457 h 892981"/>
              <a:gd name="connsiteX191" fmla="*/ 257248 w 849540"/>
              <a:gd name="connsiteY191" fmla="*/ 670066 h 892981"/>
              <a:gd name="connsiteX192" fmla="*/ 260523 w 849540"/>
              <a:gd name="connsiteY192" fmla="*/ 670066 h 892981"/>
              <a:gd name="connsiteX193" fmla="*/ 260523 w 849540"/>
              <a:gd name="connsiteY193" fmla="*/ 691794 h 892981"/>
              <a:gd name="connsiteX194" fmla="*/ 234924 w 849540"/>
              <a:gd name="connsiteY194" fmla="*/ 702435 h 892981"/>
              <a:gd name="connsiteX195" fmla="*/ 219557 w 849540"/>
              <a:gd name="connsiteY195" fmla="*/ 687069 h 892981"/>
              <a:gd name="connsiteX196" fmla="*/ 221864 w 849540"/>
              <a:gd name="connsiteY196" fmla="*/ 684762 h 892981"/>
              <a:gd name="connsiteX197" fmla="*/ 221864 w 849540"/>
              <a:gd name="connsiteY197" fmla="*/ 668353 h 892981"/>
              <a:gd name="connsiteX198" fmla="*/ 205456 w 849540"/>
              <a:gd name="connsiteY198" fmla="*/ 668353 h 892981"/>
              <a:gd name="connsiteX199" fmla="*/ 184434 w 849540"/>
              <a:gd name="connsiteY199" fmla="*/ 689375 h 892981"/>
              <a:gd name="connsiteX200" fmla="*/ 184434 w 849540"/>
              <a:gd name="connsiteY200" fmla="*/ 705784 h 892981"/>
              <a:gd name="connsiteX201" fmla="*/ 192657 w 849540"/>
              <a:gd name="connsiteY201" fmla="*/ 709169 h 892981"/>
              <a:gd name="connsiteX202" fmla="*/ 200842 w 849540"/>
              <a:gd name="connsiteY202" fmla="*/ 705784 h 892981"/>
              <a:gd name="connsiteX203" fmla="*/ 203149 w 849540"/>
              <a:gd name="connsiteY203" fmla="*/ 703477 h 892981"/>
              <a:gd name="connsiteX204" fmla="*/ 218516 w 849540"/>
              <a:gd name="connsiteY204" fmla="*/ 718843 h 892981"/>
              <a:gd name="connsiteX205" fmla="*/ 207874 w 849540"/>
              <a:gd name="connsiteY205" fmla="*/ 744442 h 892981"/>
              <a:gd name="connsiteX206" fmla="*/ 186146 w 849540"/>
              <a:gd name="connsiteY206" fmla="*/ 744442 h 892981"/>
              <a:gd name="connsiteX207" fmla="*/ 186183 w 849540"/>
              <a:gd name="connsiteY207" fmla="*/ 741168 h 892981"/>
              <a:gd name="connsiteX208" fmla="*/ 174574 w 849540"/>
              <a:gd name="connsiteY208" fmla="*/ 729559 h 892981"/>
              <a:gd name="connsiteX209" fmla="*/ 162965 w 849540"/>
              <a:gd name="connsiteY209" fmla="*/ 741168 h 892981"/>
              <a:gd name="connsiteX210" fmla="*/ 162965 w 849540"/>
              <a:gd name="connsiteY210" fmla="*/ 770896 h 892981"/>
              <a:gd name="connsiteX211" fmla="*/ 174574 w 849540"/>
              <a:gd name="connsiteY211" fmla="*/ 782505 h 892981"/>
              <a:gd name="connsiteX212" fmla="*/ 186183 w 849540"/>
              <a:gd name="connsiteY212" fmla="*/ 770896 h 892981"/>
              <a:gd name="connsiteX213" fmla="*/ 186183 w 849540"/>
              <a:gd name="connsiteY213" fmla="*/ 767622 h 892981"/>
              <a:gd name="connsiteX214" fmla="*/ 207912 w 849540"/>
              <a:gd name="connsiteY214" fmla="*/ 767622 h 892981"/>
              <a:gd name="connsiteX215" fmla="*/ 218553 w 849540"/>
              <a:gd name="connsiteY215" fmla="*/ 793220 h 892981"/>
              <a:gd name="connsiteX216" fmla="*/ 203186 w 849540"/>
              <a:gd name="connsiteY216" fmla="*/ 808624 h 892981"/>
              <a:gd name="connsiteX217" fmla="*/ 200879 w 849540"/>
              <a:gd name="connsiteY217" fmla="*/ 806317 h 892981"/>
              <a:gd name="connsiteX218" fmla="*/ 184471 w 849540"/>
              <a:gd name="connsiteY218" fmla="*/ 806317 h 892981"/>
              <a:gd name="connsiteX219" fmla="*/ 184471 w 849540"/>
              <a:gd name="connsiteY219" fmla="*/ 822726 h 892981"/>
              <a:gd name="connsiteX220" fmla="*/ 205492 w 849540"/>
              <a:gd name="connsiteY220" fmla="*/ 843748 h 892981"/>
              <a:gd name="connsiteX221" fmla="*/ 213678 w 849540"/>
              <a:gd name="connsiteY221" fmla="*/ 847134 h 892981"/>
              <a:gd name="connsiteX222" fmla="*/ 221901 w 849540"/>
              <a:gd name="connsiteY222" fmla="*/ 843748 h 892981"/>
              <a:gd name="connsiteX223" fmla="*/ 221901 w 849540"/>
              <a:gd name="connsiteY223" fmla="*/ 827339 h 892981"/>
              <a:gd name="connsiteX224" fmla="*/ 219594 w 849540"/>
              <a:gd name="connsiteY224" fmla="*/ 825032 h 892981"/>
              <a:gd name="connsiteX225" fmla="*/ 234961 w 849540"/>
              <a:gd name="connsiteY225" fmla="*/ 809665 h 892981"/>
              <a:gd name="connsiteX226" fmla="*/ 260559 w 849540"/>
              <a:gd name="connsiteY226" fmla="*/ 820307 h 892981"/>
              <a:gd name="connsiteX227" fmla="*/ 260559 w 849540"/>
              <a:gd name="connsiteY227" fmla="*/ 842035 h 892981"/>
              <a:gd name="connsiteX228" fmla="*/ 257285 w 849540"/>
              <a:gd name="connsiteY228" fmla="*/ 842035 h 892981"/>
              <a:gd name="connsiteX229" fmla="*/ 245676 w 849540"/>
              <a:gd name="connsiteY229" fmla="*/ 853644 h 892981"/>
              <a:gd name="connsiteX230" fmla="*/ 257285 w 849540"/>
              <a:gd name="connsiteY230" fmla="*/ 865253 h 892981"/>
              <a:gd name="connsiteX231" fmla="*/ 287013 w 849540"/>
              <a:gd name="connsiteY231" fmla="*/ 865253 h 892981"/>
              <a:gd name="connsiteX232" fmla="*/ 298622 w 849540"/>
              <a:gd name="connsiteY232" fmla="*/ 853644 h 892981"/>
              <a:gd name="connsiteX233" fmla="*/ 287013 w 849540"/>
              <a:gd name="connsiteY233" fmla="*/ 842035 h 892981"/>
              <a:gd name="connsiteX234" fmla="*/ 283739 w 849540"/>
              <a:gd name="connsiteY234" fmla="*/ 842035 h 892981"/>
              <a:gd name="connsiteX235" fmla="*/ 283739 w 849540"/>
              <a:gd name="connsiteY235" fmla="*/ 820307 h 892981"/>
              <a:gd name="connsiteX236" fmla="*/ 309337 w 849540"/>
              <a:gd name="connsiteY236" fmla="*/ 809665 h 892981"/>
              <a:gd name="connsiteX237" fmla="*/ 324704 w 849540"/>
              <a:gd name="connsiteY237" fmla="*/ 825032 h 892981"/>
              <a:gd name="connsiteX238" fmla="*/ 322397 w 849540"/>
              <a:gd name="connsiteY238" fmla="*/ 827339 h 892981"/>
              <a:gd name="connsiteX239" fmla="*/ 322397 w 849540"/>
              <a:gd name="connsiteY239" fmla="*/ 843748 h 892981"/>
              <a:gd name="connsiteX240" fmla="*/ 330620 w 849540"/>
              <a:gd name="connsiteY240" fmla="*/ 847134 h 892981"/>
              <a:gd name="connsiteX241" fmla="*/ 338806 w 849540"/>
              <a:gd name="connsiteY241" fmla="*/ 843748 h 892981"/>
              <a:gd name="connsiteX242" fmla="*/ 359827 w 849540"/>
              <a:gd name="connsiteY242" fmla="*/ 822726 h 892981"/>
              <a:gd name="connsiteX243" fmla="*/ 359827 w 849540"/>
              <a:gd name="connsiteY243" fmla="*/ 806317 h 892981"/>
              <a:gd name="connsiteX244" fmla="*/ 343418 w 849540"/>
              <a:gd name="connsiteY244" fmla="*/ 806317 h 892981"/>
              <a:gd name="connsiteX245" fmla="*/ 341112 w 849540"/>
              <a:gd name="connsiteY245" fmla="*/ 808624 h 892981"/>
              <a:gd name="connsiteX246" fmla="*/ 325745 w 849540"/>
              <a:gd name="connsiteY246" fmla="*/ 793257 h 892981"/>
              <a:gd name="connsiteX247" fmla="*/ 336386 w 849540"/>
              <a:gd name="connsiteY247" fmla="*/ 767659 h 892981"/>
              <a:gd name="connsiteX248" fmla="*/ 358115 w 849540"/>
              <a:gd name="connsiteY248" fmla="*/ 767659 h 892981"/>
              <a:gd name="connsiteX249" fmla="*/ 358115 w 849540"/>
              <a:gd name="connsiteY249" fmla="*/ 770933 h 892981"/>
              <a:gd name="connsiteX250" fmla="*/ 369724 w 849540"/>
              <a:gd name="connsiteY250" fmla="*/ 782542 h 892981"/>
              <a:gd name="connsiteX251" fmla="*/ 381333 w 849540"/>
              <a:gd name="connsiteY251" fmla="*/ 770933 h 892981"/>
              <a:gd name="connsiteX252" fmla="*/ 381296 w 849540"/>
              <a:gd name="connsiteY252" fmla="*/ 741168 h 892981"/>
              <a:gd name="connsiteX253" fmla="*/ 369687 w 849540"/>
              <a:gd name="connsiteY253" fmla="*/ 729559 h 892981"/>
              <a:gd name="connsiteX254" fmla="*/ 272133 w 849540"/>
              <a:gd name="connsiteY254" fmla="*/ 798131 h 892981"/>
              <a:gd name="connsiteX255" fmla="*/ 230052 w 849540"/>
              <a:gd name="connsiteY255" fmla="*/ 756049 h 892981"/>
              <a:gd name="connsiteX256" fmla="*/ 272133 w 849540"/>
              <a:gd name="connsiteY256" fmla="*/ 713968 h 892981"/>
              <a:gd name="connsiteX257" fmla="*/ 314215 w 849540"/>
              <a:gd name="connsiteY257" fmla="*/ 756049 h 892981"/>
              <a:gd name="connsiteX258" fmla="*/ 272133 w 849540"/>
              <a:gd name="connsiteY258" fmla="*/ 798131 h 892981"/>
              <a:gd name="connsiteX259" fmla="*/ 306289 w 849540"/>
              <a:gd name="connsiteY259" fmla="*/ 135620 h 892981"/>
              <a:gd name="connsiteX260" fmla="*/ 317898 w 849540"/>
              <a:gd name="connsiteY260" fmla="*/ 124010 h 892981"/>
              <a:gd name="connsiteX261" fmla="*/ 317898 w 849540"/>
              <a:gd name="connsiteY261" fmla="*/ 120736 h 892981"/>
              <a:gd name="connsiteX262" fmla="*/ 339626 w 849540"/>
              <a:gd name="connsiteY262" fmla="*/ 120736 h 892981"/>
              <a:gd name="connsiteX263" fmla="*/ 350268 w 849540"/>
              <a:gd name="connsiteY263" fmla="*/ 146335 h 892981"/>
              <a:gd name="connsiteX264" fmla="*/ 334901 w 849540"/>
              <a:gd name="connsiteY264" fmla="*/ 161701 h 892981"/>
              <a:gd name="connsiteX265" fmla="*/ 332594 w 849540"/>
              <a:gd name="connsiteY265" fmla="*/ 159395 h 892981"/>
              <a:gd name="connsiteX266" fmla="*/ 316185 w 849540"/>
              <a:gd name="connsiteY266" fmla="*/ 159395 h 892981"/>
              <a:gd name="connsiteX267" fmla="*/ 316185 w 849540"/>
              <a:gd name="connsiteY267" fmla="*/ 175803 h 892981"/>
              <a:gd name="connsiteX268" fmla="*/ 337207 w 849540"/>
              <a:gd name="connsiteY268" fmla="*/ 196825 h 892981"/>
              <a:gd name="connsiteX269" fmla="*/ 345393 w 849540"/>
              <a:gd name="connsiteY269" fmla="*/ 200211 h 892981"/>
              <a:gd name="connsiteX270" fmla="*/ 353578 w 849540"/>
              <a:gd name="connsiteY270" fmla="*/ 196825 h 892981"/>
              <a:gd name="connsiteX271" fmla="*/ 353578 w 849540"/>
              <a:gd name="connsiteY271" fmla="*/ 180416 h 892981"/>
              <a:gd name="connsiteX272" fmla="*/ 351271 w 849540"/>
              <a:gd name="connsiteY272" fmla="*/ 178109 h 892981"/>
              <a:gd name="connsiteX273" fmla="*/ 366638 w 849540"/>
              <a:gd name="connsiteY273" fmla="*/ 162743 h 892981"/>
              <a:gd name="connsiteX274" fmla="*/ 392237 w 849540"/>
              <a:gd name="connsiteY274" fmla="*/ 173384 h 892981"/>
              <a:gd name="connsiteX275" fmla="*/ 392237 w 849540"/>
              <a:gd name="connsiteY275" fmla="*/ 195112 h 892981"/>
              <a:gd name="connsiteX276" fmla="*/ 388962 w 849540"/>
              <a:gd name="connsiteY276" fmla="*/ 195112 h 892981"/>
              <a:gd name="connsiteX277" fmla="*/ 377353 w 849540"/>
              <a:gd name="connsiteY277" fmla="*/ 206721 h 892981"/>
              <a:gd name="connsiteX278" fmla="*/ 388962 w 849540"/>
              <a:gd name="connsiteY278" fmla="*/ 218331 h 892981"/>
              <a:gd name="connsiteX279" fmla="*/ 418691 w 849540"/>
              <a:gd name="connsiteY279" fmla="*/ 218331 h 892981"/>
              <a:gd name="connsiteX280" fmla="*/ 430300 w 849540"/>
              <a:gd name="connsiteY280" fmla="*/ 206721 h 892981"/>
              <a:gd name="connsiteX281" fmla="*/ 418691 w 849540"/>
              <a:gd name="connsiteY281" fmla="*/ 195112 h 892981"/>
              <a:gd name="connsiteX282" fmla="*/ 415417 w 849540"/>
              <a:gd name="connsiteY282" fmla="*/ 195112 h 892981"/>
              <a:gd name="connsiteX283" fmla="*/ 415417 w 849540"/>
              <a:gd name="connsiteY283" fmla="*/ 173384 h 892981"/>
              <a:gd name="connsiteX284" fmla="*/ 441015 w 849540"/>
              <a:gd name="connsiteY284" fmla="*/ 162743 h 892981"/>
              <a:gd name="connsiteX285" fmla="*/ 456382 w 849540"/>
              <a:gd name="connsiteY285" fmla="*/ 178109 h 892981"/>
              <a:gd name="connsiteX286" fmla="*/ 454075 w 849540"/>
              <a:gd name="connsiteY286" fmla="*/ 180416 h 892981"/>
              <a:gd name="connsiteX287" fmla="*/ 454075 w 849540"/>
              <a:gd name="connsiteY287" fmla="*/ 196825 h 892981"/>
              <a:gd name="connsiteX288" fmla="*/ 462260 w 849540"/>
              <a:gd name="connsiteY288" fmla="*/ 200211 h 892981"/>
              <a:gd name="connsiteX289" fmla="*/ 470446 w 849540"/>
              <a:gd name="connsiteY289" fmla="*/ 196825 h 892981"/>
              <a:gd name="connsiteX290" fmla="*/ 491468 w 849540"/>
              <a:gd name="connsiteY290" fmla="*/ 175803 h 892981"/>
              <a:gd name="connsiteX291" fmla="*/ 491468 w 849540"/>
              <a:gd name="connsiteY291" fmla="*/ 159395 h 892981"/>
              <a:gd name="connsiteX292" fmla="*/ 475059 w 849540"/>
              <a:gd name="connsiteY292" fmla="*/ 159395 h 892981"/>
              <a:gd name="connsiteX293" fmla="*/ 472752 w 849540"/>
              <a:gd name="connsiteY293" fmla="*/ 161701 h 892981"/>
              <a:gd name="connsiteX294" fmla="*/ 457385 w 849540"/>
              <a:gd name="connsiteY294" fmla="*/ 146335 h 892981"/>
              <a:gd name="connsiteX295" fmla="*/ 468027 w 849540"/>
              <a:gd name="connsiteY295" fmla="*/ 120736 h 892981"/>
              <a:gd name="connsiteX296" fmla="*/ 489755 w 849540"/>
              <a:gd name="connsiteY296" fmla="*/ 120736 h 892981"/>
              <a:gd name="connsiteX297" fmla="*/ 489755 w 849540"/>
              <a:gd name="connsiteY297" fmla="*/ 124010 h 892981"/>
              <a:gd name="connsiteX298" fmla="*/ 501364 w 849540"/>
              <a:gd name="connsiteY298" fmla="*/ 135620 h 892981"/>
              <a:gd name="connsiteX299" fmla="*/ 512973 w 849540"/>
              <a:gd name="connsiteY299" fmla="*/ 124010 h 892981"/>
              <a:gd name="connsiteX300" fmla="*/ 512973 w 849540"/>
              <a:gd name="connsiteY300" fmla="*/ 94282 h 892981"/>
              <a:gd name="connsiteX301" fmla="*/ 501364 w 849540"/>
              <a:gd name="connsiteY301" fmla="*/ 82673 h 892981"/>
              <a:gd name="connsiteX302" fmla="*/ 489755 w 849540"/>
              <a:gd name="connsiteY302" fmla="*/ 94282 h 892981"/>
              <a:gd name="connsiteX303" fmla="*/ 489755 w 849540"/>
              <a:gd name="connsiteY303" fmla="*/ 97556 h 892981"/>
              <a:gd name="connsiteX304" fmla="*/ 468027 w 849540"/>
              <a:gd name="connsiteY304" fmla="*/ 97556 h 892981"/>
              <a:gd name="connsiteX305" fmla="*/ 457385 w 849540"/>
              <a:gd name="connsiteY305" fmla="*/ 71958 h 892981"/>
              <a:gd name="connsiteX306" fmla="*/ 472752 w 849540"/>
              <a:gd name="connsiteY306" fmla="*/ 56591 h 892981"/>
              <a:gd name="connsiteX307" fmla="*/ 475059 w 849540"/>
              <a:gd name="connsiteY307" fmla="*/ 58898 h 892981"/>
              <a:gd name="connsiteX308" fmla="*/ 483245 w 849540"/>
              <a:gd name="connsiteY308" fmla="*/ 62284 h 892981"/>
              <a:gd name="connsiteX309" fmla="*/ 491430 w 849540"/>
              <a:gd name="connsiteY309" fmla="*/ 58898 h 892981"/>
              <a:gd name="connsiteX310" fmla="*/ 491430 w 849540"/>
              <a:gd name="connsiteY310" fmla="*/ 42489 h 892981"/>
              <a:gd name="connsiteX311" fmla="*/ 470408 w 849540"/>
              <a:gd name="connsiteY311" fmla="*/ 21468 h 892981"/>
              <a:gd name="connsiteX312" fmla="*/ 454000 w 849540"/>
              <a:gd name="connsiteY312" fmla="*/ 21468 h 892981"/>
              <a:gd name="connsiteX313" fmla="*/ 454000 w 849540"/>
              <a:gd name="connsiteY313" fmla="*/ 37876 h 892981"/>
              <a:gd name="connsiteX314" fmla="*/ 456307 w 849540"/>
              <a:gd name="connsiteY314" fmla="*/ 40183 h 892981"/>
              <a:gd name="connsiteX315" fmla="*/ 440940 w 849540"/>
              <a:gd name="connsiteY315" fmla="*/ 55550 h 892981"/>
              <a:gd name="connsiteX316" fmla="*/ 415341 w 849540"/>
              <a:gd name="connsiteY316" fmla="*/ 44908 h 892981"/>
              <a:gd name="connsiteX317" fmla="*/ 415341 w 849540"/>
              <a:gd name="connsiteY317" fmla="*/ 23180 h 892981"/>
              <a:gd name="connsiteX318" fmla="*/ 418616 w 849540"/>
              <a:gd name="connsiteY318" fmla="*/ 23180 h 892981"/>
              <a:gd name="connsiteX319" fmla="*/ 430225 w 849540"/>
              <a:gd name="connsiteY319" fmla="*/ 11571 h 892981"/>
              <a:gd name="connsiteX320" fmla="*/ 418728 w 849540"/>
              <a:gd name="connsiteY320" fmla="*/ 0 h 892981"/>
              <a:gd name="connsiteX321" fmla="*/ 389000 w 849540"/>
              <a:gd name="connsiteY321" fmla="*/ 0 h 892981"/>
              <a:gd name="connsiteX322" fmla="*/ 377391 w 849540"/>
              <a:gd name="connsiteY322" fmla="*/ 11609 h 892981"/>
              <a:gd name="connsiteX323" fmla="*/ 389000 w 849540"/>
              <a:gd name="connsiteY323" fmla="*/ 23218 h 892981"/>
              <a:gd name="connsiteX324" fmla="*/ 392274 w 849540"/>
              <a:gd name="connsiteY324" fmla="*/ 23218 h 892981"/>
              <a:gd name="connsiteX325" fmla="*/ 392274 w 849540"/>
              <a:gd name="connsiteY325" fmla="*/ 44947 h 892981"/>
              <a:gd name="connsiteX326" fmla="*/ 366675 w 849540"/>
              <a:gd name="connsiteY326" fmla="*/ 55588 h 892981"/>
              <a:gd name="connsiteX327" fmla="*/ 351309 w 849540"/>
              <a:gd name="connsiteY327" fmla="*/ 40221 h 892981"/>
              <a:gd name="connsiteX328" fmla="*/ 353616 w 849540"/>
              <a:gd name="connsiteY328" fmla="*/ 37914 h 892981"/>
              <a:gd name="connsiteX329" fmla="*/ 353616 w 849540"/>
              <a:gd name="connsiteY329" fmla="*/ 21506 h 892981"/>
              <a:gd name="connsiteX330" fmla="*/ 337207 w 849540"/>
              <a:gd name="connsiteY330" fmla="*/ 21506 h 892981"/>
              <a:gd name="connsiteX331" fmla="*/ 316185 w 849540"/>
              <a:gd name="connsiteY331" fmla="*/ 42527 h 892981"/>
              <a:gd name="connsiteX332" fmla="*/ 316185 w 849540"/>
              <a:gd name="connsiteY332" fmla="*/ 58936 h 892981"/>
              <a:gd name="connsiteX333" fmla="*/ 324371 w 849540"/>
              <a:gd name="connsiteY333" fmla="*/ 62322 h 892981"/>
              <a:gd name="connsiteX334" fmla="*/ 332556 w 849540"/>
              <a:gd name="connsiteY334" fmla="*/ 58936 h 892981"/>
              <a:gd name="connsiteX335" fmla="*/ 334863 w 849540"/>
              <a:gd name="connsiteY335" fmla="*/ 56629 h 892981"/>
              <a:gd name="connsiteX336" fmla="*/ 350230 w 849540"/>
              <a:gd name="connsiteY336" fmla="*/ 71996 h 892981"/>
              <a:gd name="connsiteX337" fmla="*/ 339589 w 849540"/>
              <a:gd name="connsiteY337" fmla="*/ 97594 h 892981"/>
              <a:gd name="connsiteX338" fmla="*/ 317860 w 849540"/>
              <a:gd name="connsiteY338" fmla="*/ 97594 h 892981"/>
              <a:gd name="connsiteX339" fmla="*/ 317860 w 849540"/>
              <a:gd name="connsiteY339" fmla="*/ 94320 h 892981"/>
              <a:gd name="connsiteX340" fmla="*/ 306251 w 849540"/>
              <a:gd name="connsiteY340" fmla="*/ 82711 h 892981"/>
              <a:gd name="connsiteX341" fmla="*/ 294642 w 849540"/>
              <a:gd name="connsiteY341" fmla="*/ 94320 h 892981"/>
              <a:gd name="connsiteX342" fmla="*/ 294642 w 849540"/>
              <a:gd name="connsiteY342" fmla="*/ 124049 h 892981"/>
              <a:gd name="connsiteX343" fmla="*/ 306288 w 849540"/>
              <a:gd name="connsiteY343" fmla="*/ 135620 h 892981"/>
              <a:gd name="connsiteX344" fmla="*/ 403844 w 849540"/>
              <a:gd name="connsiteY344" fmla="*/ 67047 h 892981"/>
              <a:gd name="connsiteX345" fmla="*/ 445925 w 849540"/>
              <a:gd name="connsiteY345" fmla="*/ 109129 h 892981"/>
              <a:gd name="connsiteX346" fmla="*/ 403844 w 849540"/>
              <a:gd name="connsiteY346" fmla="*/ 151210 h 892981"/>
              <a:gd name="connsiteX347" fmla="*/ 361762 w 849540"/>
              <a:gd name="connsiteY347" fmla="*/ 109129 h 892981"/>
              <a:gd name="connsiteX348" fmla="*/ 403844 w 849540"/>
              <a:gd name="connsiteY348" fmla="*/ 67047 h 892981"/>
              <a:gd name="connsiteX349" fmla="*/ 513829 w 849540"/>
              <a:gd name="connsiteY349" fmla="*/ 525885 h 892981"/>
              <a:gd name="connsiteX350" fmla="*/ 548022 w 849540"/>
              <a:gd name="connsiteY350" fmla="*/ 525885 h 892981"/>
              <a:gd name="connsiteX351" fmla="*/ 559631 w 849540"/>
              <a:gd name="connsiteY351" fmla="*/ 514276 h 892981"/>
              <a:gd name="connsiteX352" fmla="*/ 559631 w 849540"/>
              <a:gd name="connsiteY352" fmla="*/ 390337 h 892981"/>
              <a:gd name="connsiteX353" fmla="*/ 548022 w 849540"/>
              <a:gd name="connsiteY353" fmla="*/ 378728 h 892981"/>
              <a:gd name="connsiteX354" fmla="*/ 513829 w 849540"/>
              <a:gd name="connsiteY354" fmla="*/ 378728 h 892981"/>
              <a:gd name="connsiteX355" fmla="*/ 502220 w 849540"/>
              <a:gd name="connsiteY355" fmla="*/ 390337 h 892981"/>
              <a:gd name="connsiteX356" fmla="*/ 502220 w 849540"/>
              <a:gd name="connsiteY356" fmla="*/ 514276 h 892981"/>
              <a:gd name="connsiteX357" fmla="*/ 513829 w 849540"/>
              <a:gd name="connsiteY357" fmla="*/ 525885 h 892981"/>
              <a:gd name="connsiteX358" fmla="*/ 525438 w 849540"/>
              <a:gd name="connsiteY358" fmla="*/ 401946 h 892981"/>
              <a:gd name="connsiteX359" fmla="*/ 536451 w 849540"/>
              <a:gd name="connsiteY359" fmla="*/ 401946 h 892981"/>
              <a:gd name="connsiteX360" fmla="*/ 536451 w 849540"/>
              <a:gd name="connsiteY360" fmla="*/ 502702 h 892981"/>
              <a:gd name="connsiteX361" fmla="*/ 525438 w 849540"/>
              <a:gd name="connsiteY361" fmla="*/ 502702 h 892981"/>
              <a:gd name="connsiteX362" fmla="*/ 530945 w 849540"/>
              <a:gd name="connsiteY362" fmla="*/ 527333 h 892981"/>
              <a:gd name="connsiteX363" fmla="*/ 501552 w 849540"/>
              <a:gd name="connsiteY363" fmla="*/ 556726 h 892981"/>
              <a:gd name="connsiteX364" fmla="*/ 530945 w 849540"/>
              <a:gd name="connsiteY364" fmla="*/ 586120 h 892981"/>
              <a:gd name="connsiteX365" fmla="*/ 560338 w 849540"/>
              <a:gd name="connsiteY365" fmla="*/ 556726 h 892981"/>
              <a:gd name="connsiteX366" fmla="*/ 530945 w 849540"/>
              <a:gd name="connsiteY366" fmla="*/ 527333 h 892981"/>
              <a:gd name="connsiteX367" fmla="*/ 530945 w 849540"/>
              <a:gd name="connsiteY367" fmla="*/ 562941 h 892981"/>
              <a:gd name="connsiteX368" fmla="*/ 524731 w 849540"/>
              <a:gd name="connsiteY368" fmla="*/ 556727 h 892981"/>
              <a:gd name="connsiteX369" fmla="*/ 530945 w 849540"/>
              <a:gd name="connsiteY369" fmla="*/ 550513 h 892981"/>
              <a:gd name="connsiteX370" fmla="*/ 537158 w 849540"/>
              <a:gd name="connsiteY370" fmla="*/ 556727 h 892981"/>
              <a:gd name="connsiteX371" fmla="*/ 530945 w 849540"/>
              <a:gd name="connsiteY371" fmla="*/ 562941 h 892981"/>
              <a:gd name="connsiteX372" fmla="*/ 479488 w 849540"/>
              <a:gd name="connsiteY372" fmla="*/ 791283 h 892981"/>
              <a:gd name="connsiteX373" fmla="*/ 474130 w 849540"/>
              <a:gd name="connsiteY373" fmla="*/ 806799 h 892981"/>
              <a:gd name="connsiteX374" fmla="*/ 469070 w 849540"/>
              <a:gd name="connsiteY374" fmla="*/ 807952 h 892981"/>
              <a:gd name="connsiteX375" fmla="*/ 458614 w 849540"/>
              <a:gd name="connsiteY375" fmla="*/ 801441 h 892981"/>
              <a:gd name="connsiteX376" fmla="*/ 428142 w 849540"/>
              <a:gd name="connsiteY376" fmla="*/ 790911 h 892981"/>
              <a:gd name="connsiteX377" fmla="*/ 412627 w 849540"/>
              <a:gd name="connsiteY377" fmla="*/ 785553 h 892981"/>
              <a:gd name="connsiteX378" fmla="*/ 417984 w 849540"/>
              <a:gd name="connsiteY378" fmla="*/ 770038 h 892981"/>
              <a:gd name="connsiteX379" fmla="*/ 479487 w 849540"/>
              <a:gd name="connsiteY379" fmla="*/ 791283 h 892981"/>
              <a:gd name="connsiteX380" fmla="*/ 417278 w 849540"/>
              <a:gd name="connsiteY380" fmla="*/ 700015 h 892981"/>
              <a:gd name="connsiteX381" fmla="*/ 463303 w 849540"/>
              <a:gd name="connsiteY381" fmla="*/ 653990 h 892981"/>
              <a:gd name="connsiteX382" fmla="*/ 474912 w 849540"/>
              <a:gd name="connsiteY382" fmla="*/ 665599 h 892981"/>
              <a:gd name="connsiteX383" fmla="*/ 463303 w 849540"/>
              <a:gd name="connsiteY383" fmla="*/ 677208 h 892981"/>
              <a:gd name="connsiteX384" fmla="*/ 440495 w 849540"/>
              <a:gd name="connsiteY384" fmla="*/ 700016 h 892981"/>
              <a:gd name="connsiteX385" fmla="*/ 428886 w 849540"/>
              <a:gd name="connsiteY385" fmla="*/ 711625 h 892981"/>
              <a:gd name="connsiteX386" fmla="*/ 417277 w 849540"/>
              <a:gd name="connsiteY386" fmla="*/ 700016 h 892981"/>
              <a:gd name="connsiteX387" fmla="*/ 390341 w 849540"/>
              <a:gd name="connsiteY387" fmla="*/ 436144 h 892981"/>
              <a:gd name="connsiteX388" fmla="*/ 384983 w 849540"/>
              <a:gd name="connsiteY388" fmla="*/ 451659 h 892981"/>
              <a:gd name="connsiteX389" fmla="*/ 379923 w 849540"/>
              <a:gd name="connsiteY389" fmla="*/ 452812 h 892981"/>
              <a:gd name="connsiteX390" fmla="*/ 369467 w 849540"/>
              <a:gd name="connsiteY390" fmla="*/ 446301 h 892981"/>
              <a:gd name="connsiteX391" fmla="*/ 356407 w 849540"/>
              <a:gd name="connsiteY391" fmla="*/ 434730 h 892981"/>
              <a:gd name="connsiteX392" fmla="*/ 338995 w 849540"/>
              <a:gd name="connsiteY392" fmla="*/ 435772 h 892981"/>
              <a:gd name="connsiteX393" fmla="*/ 323479 w 849540"/>
              <a:gd name="connsiteY393" fmla="*/ 430414 h 892981"/>
              <a:gd name="connsiteX394" fmla="*/ 328837 w 849540"/>
              <a:gd name="connsiteY394" fmla="*/ 414899 h 892981"/>
              <a:gd name="connsiteX395" fmla="*/ 363998 w 849540"/>
              <a:gd name="connsiteY395" fmla="*/ 412778 h 892981"/>
              <a:gd name="connsiteX396" fmla="*/ 390340 w 849540"/>
              <a:gd name="connsiteY396" fmla="*/ 436144 h 892981"/>
              <a:gd name="connsiteX397" fmla="*/ 391829 w 849540"/>
              <a:gd name="connsiteY397" fmla="*/ 348335 h 892981"/>
              <a:gd name="connsiteX398" fmla="*/ 380220 w 849540"/>
              <a:gd name="connsiteY398" fmla="*/ 336726 h 892981"/>
              <a:gd name="connsiteX399" fmla="*/ 426245 w 849540"/>
              <a:gd name="connsiteY399" fmla="*/ 290701 h 892981"/>
              <a:gd name="connsiteX400" fmla="*/ 437854 w 849540"/>
              <a:gd name="connsiteY400" fmla="*/ 302310 h 892981"/>
              <a:gd name="connsiteX401" fmla="*/ 426245 w 849540"/>
              <a:gd name="connsiteY401" fmla="*/ 313919 h 892981"/>
              <a:gd name="connsiteX402" fmla="*/ 403437 w 849540"/>
              <a:gd name="connsiteY402" fmla="*/ 336727 h 892981"/>
              <a:gd name="connsiteX403" fmla="*/ 391828 w 849540"/>
              <a:gd name="connsiteY403" fmla="*/ 348336 h 892981"/>
              <a:gd name="connsiteX404" fmla="*/ 159771 w 849540"/>
              <a:gd name="connsiteY404" fmla="*/ 143138 h 892981"/>
              <a:gd name="connsiteX405" fmla="*/ 221274 w 849540"/>
              <a:gd name="connsiteY405" fmla="*/ 164383 h 892981"/>
              <a:gd name="connsiteX406" fmla="*/ 215916 w 849540"/>
              <a:gd name="connsiteY406" fmla="*/ 179898 h 892981"/>
              <a:gd name="connsiteX407" fmla="*/ 210856 w 849540"/>
              <a:gd name="connsiteY407" fmla="*/ 181052 h 892981"/>
              <a:gd name="connsiteX408" fmla="*/ 200401 w 849540"/>
              <a:gd name="connsiteY408" fmla="*/ 174541 h 892981"/>
              <a:gd name="connsiteX409" fmla="*/ 169928 w 849540"/>
              <a:gd name="connsiteY409" fmla="*/ 164011 h 892981"/>
              <a:gd name="connsiteX410" fmla="*/ 154413 w 849540"/>
              <a:gd name="connsiteY410" fmla="*/ 158653 h 892981"/>
              <a:gd name="connsiteX411" fmla="*/ 159771 w 849540"/>
              <a:gd name="connsiteY411" fmla="*/ 143138 h 892981"/>
              <a:gd name="connsiteX412" fmla="*/ 210075 w 849540"/>
              <a:gd name="connsiteY412" fmla="*/ 539987 h 892981"/>
              <a:gd name="connsiteX413" fmla="*/ 221684 w 849540"/>
              <a:gd name="connsiteY413" fmla="*/ 551596 h 892981"/>
              <a:gd name="connsiteX414" fmla="*/ 210075 w 849540"/>
              <a:gd name="connsiteY414" fmla="*/ 563205 h 892981"/>
              <a:gd name="connsiteX415" fmla="*/ 187267 w 849540"/>
              <a:gd name="connsiteY415" fmla="*/ 586013 h 892981"/>
              <a:gd name="connsiteX416" fmla="*/ 175658 w 849540"/>
              <a:gd name="connsiteY416" fmla="*/ 597622 h 892981"/>
              <a:gd name="connsiteX417" fmla="*/ 164049 w 849540"/>
              <a:gd name="connsiteY417" fmla="*/ 586013 h 892981"/>
              <a:gd name="connsiteX418" fmla="*/ 210074 w 849540"/>
              <a:gd name="connsiteY418" fmla="*/ 539988 h 892981"/>
              <a:gd name="connsiteX419" fmla="*/ 68543 w 849540"/>
              <a:gd name="connsiteY419" fmla="*/ 630102 h 892981"/>
              <a:gd name="connsiteX420" fmla="*/ 53027 w 849540"/>
              <a:gd name="connsiteY420" fmla="*/ 624744 h 892981"/>
              <a:gd name="connsiteX421" fmla="*/ 58385 w 849540"/>
              <a:gd name="connsiteY421" fmla="*/ 609229 h 892981"/>
              <a:gd name="connsiteX422" fmla="*/ 119888 w 849540"/>
              <a:gd name="connsiteY422" fmla="*/ 630475 h 892981"/>
              <a:gd name="connsiteX423" fmla="*/ 114530 w 849540"/>
              <a:gd name="connsiteY423" fmla="*/ 645990 h 892981"/>
              <a:gd name="connsiteX424" fmla="*/ 109470 w 849540"/>
              <a:gd name="connsiteY424" fmla="*/ 647143 h 892981"/>
              <a:gd name="connsiteX425" fmla="*/ 99015 w 849540"/>
              <a:gd name="connsiteY425" fmla="*/ 640632 h 892981"/>
              <a:gd name="connsiteX426" fmla="*/ 68542 w 849540"/>
              <a:gd name="connsiteY426" fmla="*/ 630102 h 892981"/>
              <a:gd name="connsiteX427" fmla="*/ 552565 w 849540"/>
              <a:gd name="connsiteY427" fmla="*/ 811973 h 892981"/>
              <a:gd name="connsiteX428" fmla="*/ 540956 w 849540"/>
              <a:gd name="connsiteY428" fmla="*/ 823582 h 892981"/>
              <a:gd name="connsiteX429" fmla="*/ 518148 w 849540"/>
              <a:gd name="connsiteY429" fmla="*/ 846389 h 892981"/>
              <a:gd name="connsiteX430" fmla="*/ 506539 w 849540"/>
              <a:gd name="connsiteY430" fmla="*/ 857998 h 892981"/>
              <a:gd name="connsiteX431" fmla="*/ 494930 w 849540"/>
              <a:gd name="connsiteY431" fmla="*/ 846389 h 892981"/>
              <a:gd name="connsiteX432" fmla="*/ 540955 w 849540"/>
              <a:gd name="connsiteY432" fmla="*/ 800365 h 892981"/>
              <a:gd name="connsiteX433" fmla="*/ 552564 w 849540"/>
              <a:gd name="connsiteY433" fmla="*/ 811974 h 892981"/>
              <a:gd name="connsiteX434" fmla="*/ 127702 w 849540"/>
              <a:gd name="connsiteY434" fmla="*/ 705074 h 892981"/>
              <a:gd name="connsiteX435" fmla="*/ 116093 w 849540"/>
              <a:gd name="connsiteY435" fmla="*/ 716683 h 892981"/>
              <a:gd name="connsiteX436" fmla="*/ 93286 w 849540"/>
              <a:gd name="connsiteY436" fmla="*/ 739490 h 892981"/>
              <a:gd name="connsiteX437" fmla="*/ 81677 w 849540"/>
              <a:gd name="connsiteY437" fmla="*/ 751099 h 892981"/>
              <a:gd name="connsiteX438" fmla="*/ 70068 w 849540"/>
              <a:gd name="connsiteY438" fmla="*/ 739490 h 892981"/>
              <a:gd name="connsiteX439" fmla="*/ 116092 w 849540"/>
              <a:gd name="connsiteY439" fmla="*/ 693465 h 892981"/>
              <a:gd name="connsiteX440" fmla="*/ 127702 w 849540"/>
              <a:gd name="connsiteY440" fmla="*/ 705075 h 892981"/>
              <a:gd name="connsiteX441" fmla="*/ 109620 w 849540"/>
              <a:gd name="connsiteY441" fmla="*/ 99007 h 892981"/>
              <a:gd name="connsiteX442" fmla="*/ 155645 w 849540"/>
              <a:gd name="connsiteY442" fmla="*/ 52983 h 892981"/>
              <a:gd name="connsiteX443" fmla="*/ 167254 w 849540"/>
              <a:gd name="connsiteY443" fmla="*/ 64592 h 892981"/>
              <a:gd name="connsiteX444" fmla="*/ 155645 w 849540"/>
              <a:gd name="connsiteY444" fmla="*/ 76201 h 892981"/>
              <a:gd name="connsiteX445" fmla="*/ 132837 w 849540"/>
              <a:gd name="connsiteY445" fmla="*/ 99008 h 892981"/>
              <a:gd name="connsiteX446" fmla="*/ 121228 w 849540"/>
              <a:gd name="connsiteY446" fmla="*/ 110617 h 892981"/>
              <a:gd name="connsiteX447" fmla="*/ 109619 w 849540"/>
              <a:gd name="connsiteY447" fmla="*/ 99008 h 89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849540" h="892981">
                <a:moveTo>
                  <a:pt x="769286" y="216145"/>
                </a:moveTo>
                <a:lnTo>
                  <a:pt x="594559" y="216145"/>
                </a:lnTo>
                <a:cubicBezTo>
                  <a:pt x="550320" y="216145"/>
                  <a:pt x="514303" y="252124"/>
                  <a:pt x="514303" y="296401"/>
                </a:cubicBezTo>
                <a:lnTo>
                  <a:pt x="514303" y="320213"/>
                </a:lnTo>
                <a:cubicBezTo>
                  <a:pt x="505150" y="323785"/>
                  <a:pt x="497449" y="330408"/>
                  <a:pt x="492165" y="339486"/>
                </a:cubicBezTo>
                <a:lnTo>
                  <a:pt x="368674" y="553427"/>
                </a:lnTo>
                <a:cubicBezTo>
                  <a:pt x="360451" y="567640"/>
                  <a:pt x="360451" y="583937"/>
                  <a:pt x="368674" y="598150"/>
                </a:cubicBezTo>
                <a:cubicBezTo>
                  <a:pt x="376896" y="612363"/>
                  <a:pt x="390998" y="620512"/>
                  <a:pt x="407406" y="620512"/>
                </a:cubicBezTo>
                <a:lnTo>
                  <a:pt x="582990" y="620512"/>
                </a:lnTo>
                <a:lnTo>
                  <a:pt x="582990" y="837691"/>
                </a:lnTo>
                <a:cubicBezTo>
                  <a:pt x="582990" y="868164"/>
                  <a:pt x="607770" y="892981"/>
                  <a:pt x="638280" y="892981"/>
                </a:cubicBezTo>
                <a:cubicBezTo>
                  <a:pt x="656028" y="892981"/>
                  <a:pt x="671840" y="884572"/>
                  <a:pt x="681960" y="871550"/>
                </a:cubicBezTo>
                <a:cubicBezTo>
                  <a:pt x="692044" y="884572"/>
                  <a:pt x="707894" y="892981"/>
                  <a:pt x="725604" y="892981"/>
                </a:cubicBezTo>
                <a:cubicBezTo>
                  <a:pt x="756076" y="892981"/>
                  <a:pt x="780894" y="868201"/>
                  <a:pt x="780894" y="837691"/>
                </a:cubicBezTo>
                <a:lnTo>
                  <a:pt x="780894" y="524928"/>
                </a:lnTo>
                <a:cubicBezTo>
                  <a:pt x="819663" y="519310"/>
                  <a:pt x="849541" y="485824"/>
                  <a:pt x="849541" y="445529"/>
                </a:cubicBezTo>
                <a:lnTo>
                  <a:pt x="849541" y="296367"/>
                </a:lnTo>
                <a:cubicBezTo>
                  <a:pt x="849541" y="252129"/>
                  <a:pt x="813525" y="216149"/>
                  <a:pt x="769285" y="216149"/>
                </a:cubicBezTo>
                <a:close/>
                <a:moveTo>
                  <a:pt x="388771" y="586582"/>
                </a:moveTo>
                <a:cubicBezTo>
                  <a:pt x="384753" y="579661"/>
                  <a:pt x="384753" y="571997"/>
                  <a:pt x="388771" y="565076"/>
                </a:cubicBezTo>
                <a:lnTo>
                  <a:pt x="512301" y="351097"/>
                </a:lnTo>
                <a:cubicBezTo>
                  <a:pt x="516320" y="344177"/>
                  <a:pt x="522943" y="340344"/>
                  <a:pt x="530942" y="340344"/>
                </a:cubicBezTo>
                <a:cubicBezTo>
                  <a:pt x="538941" y="340344"/>
                  <a:pt x="545564" y="344177"/>
                  <a:pt x="549582" y="351097"/>
                </a:cubicBezTo>
                <a:lnTo>
                  <a:pt x="673112" y="565038"/>
                </a:lnTo>
                <a:cubicBezTo>
                  <a:pt x="677130" y="571959"/>
                  <a:pt x="677130" y="579623"/>
                  <a:pt x="673112" y="586544"/>
                </a:cubicBezTo>
                <a:cubicBezTo>
                  <a:pt x="669093" y="593465"/>
                  <a:pt x="662470" y="597297"/>
                  <a:pt x="654471" y="597297"/>
                </a:cubicBezTo>
                <a:lnTo>
                  <a:pt x="407412" y="597334"/>
                </a:lnTo>
                <a:cubicBezTo>
                  <a:pt x="399375" y="597334"/>
                  <a:pt x="392789" y="593501"/>
                  <a:pt x="388771" y="586581"/>
                </a:cubicBezTo>
                <a:close/>
                <a:moveTo>
                  <a:pt x="826331" y="445526"/>
                </a:moveTo>
                <a:cubicBezTo>
                  <a:pt x="826331" y="473022"/>
                  <a:pt x="806797" y="496016"/>
                  <a:pt x="780901" y="501374"/>
                </a:cubicBezTo>
                <a:lnTo>
                  <a:pt x="780901" y="340859"/>
                </a:lnTo>
                <a:cubicBezTo>
                  <a:pt x="780901" y="334459"/>
                  <a:pt x="775730" y="329250"/>
                  <a:pt x="769292" y="329250"/>
                </a:cubicBezTo>
                <a:cubicBezTo>
                  <a:pt x="762893" y="329250"/>
                  <a:pt x="757683" y="334421"/>
                  <a:pt x="757683" y="340859"/>
                </a:cubicBezTo>
                <a:lnTo>
                  <a:pt x="757683" y="837683"/>
                </a:lnTo>
                <a:cubicBezTo>
                  <a:pt x="757683" y="855356"/>
                  <a:pt x="743284" y="869755"/>
                  <a:pt x="725611" y="869755"/>
                </a:cubicBezTo>
                <a:cubicBezTo>
                  <a:pt x="707937" y="869755"/>
                  <a:pt x="693538" y="855356"/>
                  <a:pt x="693538" y="837683"/>
                </a:cubicBezTo>
                <a:lnTo>
                  <a:pt x="693538" y="659575"/>
                </a:lnTo>
                <a:cubicBezTo>
                  <a:pt x="693538" y="653175"/>
                  <a:pt x="688366" y="647966"/>
                  <a:pt x="681929" y="647966"/>
                </a:cubicBezTo>
                <a:cubicBezTo>
                  <a:pt x="675529" y="647966"/>
                  <a:pt x="670320" y="653138"/>
                  <a:pt x="670320" y="659575"/>
                </a:cubicBezTo>
                <a:lnTo>
                  <a:pt x="670320" y="837683"/>
                </a:lnTo>
                <a:cubicBezTo>
                  <a:pt x="670320" y="855356"/>
                  <a:pt x="655921" y="869755"/>
                  <a:pt x="638247" y="869755"/>
                </a:cubicBezTo>
                <a:cubicBezTo>
                  <a:pt x="620574" y="869755"/>
                  <a:pt x="606175" y="855356"/>
                  <a:pt x="606175" y="837683"/>
                </a:cubicBezTo>
                <a:lnTo>
                  <a:pt x="606175" y="620503"/>
                </a:lnTo>
                <a:lnTo>
                  <a:pt x="654469" y="620503"/>
                </a:lnTo>
                <a:cubicBezTo>
                  <a:pt x="670878" y="620503"/>
                  <a:pt x="684979" y="612355"/>
                  <a:pt x="693202" y="598141"/>
                </a:cubicBezTo>
                <a:cubicBezTo>
                  <a:pt x="701425" y="583928"/>
                  <a:pt x="701425" y="567632"/>
                  <a:pt x="693202" y="553419"/>
                </a:cubicBezTo>
                <a:lnTo>
                  <a:pt x="569634" y="339478"/>
                </a:lnTo>
                <a:cubicBezTo>
                  <a:pt x="562565" y="327199"/>
                  <a:pt x="551068" y="319497"/>
                  <a:pt x="537524" y="317600"/>
                </a:cubicBezTo>
                <a:lnTo>
                  <a:pt x="537524" y="296354"/>
                </a:lnTo>
                <a:cubicBezTo>
                  <a:pt x="537524" y="264914"/>
                  <a:pt x="563123" y="239316"/>
                  <a:pt x="594563" y="239316"/>
                </a:cubicBezTo>
                <a:lnTo>
                  <a:pt x="769290" y="239316"/>
                </a:lnTo>
                <a:cubicBezTo>
                  <a:pt x="800730" y="239316"/>
                  <a:pt x="826328" y="264914"/>
                  <a:pt x="826328" y="296354"/>
                </a:cubicBezTo>
                <a:close/>
                <a:moveTo>
                  <a:pt x="681932" y="197543"/>
                </a:moveTo>
                <a:cubicBezTo>
                  <a:pt x="736365" y="197543"/>
                  <a:pt x="780678" y="153230"/>
                  <a:pt x="780678" y="98797"/>
                </a:cubicBezTo>
                <a:cubicBezTo>
                  <a:pt x="780678" y="44325"/>
                  <a:pt x="736402" y="13"/>
                  <a:pt x="681932" y="13"/>
                </a:cubicBezTo>
                <a:cubicBezTo>
                  <a:pt x="627498" y="13"/>
                  <a:pt x="583186" y="44326"/>
                  <a:pt x="583186" y="98759"/>
                </a:cubicBezTo>
                <a:cubicBezTo>
                  <a:pt x="583186" y="153230"/>
                  <a:pt x="627499" y="197543"/>
                  <a:pt x="681932" y="197543"/>
                </a:cubicBezTo>
                <a:close/>
                <a:moveTo>
                  <a:pt x="681932" y="23188"/>
                </a:moveTo>
                <a:cubicBezTo>
                  <a:pt x="723604" y="23188"/>
                  <a:pt x="757499" y="57083"/>
                  <a:pt x="757499" y="98755"/>
                </a:cubicBezTo>
                <a:cubicBezTo>
                  <a:pt x="757499" y="140427"/>
                  <a:pt x="723604" y="174323"/>
                  <a:pt x="681932" y="174323"/>
                </a:cubicBezTo>
                <a:cubicBezTo>
                  <a:pt x="640260" y="174323"/>
                  <a:pt x="606364" y="140427"/>
                  <a:pt x="606364" y="98755"/>
                </a:cubicBezTo>
                <a:cubicBezTo>
                  <a:pt x="606402" y="57083"/>
                  <a:pt x="640297" y="23188"/>
                  <a:pt x="681932" y="23188"/>
                </a:cubicBezTo>
                <a:close/>
                <a:moveTo>
                  <a:pt x="207615" y="389900"/>
                </a:moveTo>
                <a:cubicBezTo>
                  <a:pt x="207615" y="368990"/>
                  <a:pt x="190611" y="351986"/>
                  <a:pt x="169701" y="351986"/>
                </a:cubicBezTo>
                <a:cubicBezTo>
                  <a:pt x="148791" y="351986"/>
                  <a:pt x="131787" y="368990"/>
                  <a:pt x="131787" y="389900"/>
                </a:cubicBezTo>
                <a:cubicBezTo>
                  <a:pt x="131787" y="410810"/>
                  <a:pt x="148791" y="427814"/>
                  <a:pt x="169701" y="427814"/>
                </a:cubicBezTo>
                <a:cubicBezTo>
                  <a:pt x="190611" y="427852"/>
                  <a:pt x="207615" y="410848"/>
                  <a:pt x="207615" y="389900"/>
                </a:cubicBezTo>
                <a:close/>
                <a:moveTo>
                  <a:pt x="154968" y="389900"/>
                </a:moveTo>
                <a:cubicBezTo>
                  <a:pt x="154968" y="381789"/>
                  <a:pt x="161591" y="375166"/>
                  <a:pt x="169702" y="375166"/>
                </a:cubicBezTo>
                <a:cubicBezTo>
                  <a:pt x="177813" y="375166"/>
                  <a:pt x="184436" y="381789"/>
                  <a:pt x="184436" y="389900"/>
                </a:cubicBezTo>
                <a:cubicBezTo>
                  <a:pt x="184436" y="398011"/>
                  <a:pt x="177814" y="404634"/>
                  <a:pt x="169702" y="404634"/>
                </a:cubicBezTo>
                <a:cubicBezTo>
                  <a:pt x="161554" y="404634"/>
                  <a:pt x="154968" y="398049"/>
                  <a:pt x="154968" y="389900"/>
                </a:cubicBezTo>
                <a:close/>
                <a:moveTo>
                  <a:pt x="181273" y="499695"/>
                </a:moveTo>
                <a:lnTo>
                  <a:pt x="181273" y="471566"/>
                </a:lnTo>
                <a:cubicBezTo>
                  <a:pt x="195375" y="469557"/>
                  <a:pt x="208322" y="464013"/>
                  <a:pt x="219187" y="455828"/>
                </a:cubicBezTo>
                <a:lnTo>
                  <a:pt x="254534" y="491175"/>
                </a:lnTo>
                <a:cubicBezTo>
                  <a:pt x="244376" y="508587"/>
                  <a:pt x="246795" y="531396"/>
                  <a:pt x="261677" y="546279"/>
                </a:cubicBezTo>
                <a:cubicBezTo>
                  <a:pt x="270272" y="554873"/>
                  <a:pt x="281695" y="559598"/>
                  <a:pt x="293862" y="559598"/>
                </a:cubicBezTo>
                <a:cubicBezTo>
                  <a:pt x="306028" y="559598"/>
                  <a:pt x="317451" y="554873"/>
                  <a:pt x="326046" y="546279"/>
                </a:cubicBezTo>
                <a:cubicBezTo>
                  <a:pt x="334640" y="537684"/>
                  <a:pt x="339365" y="526261"/>
                  <a:pt x="339365" y="514095"/>
                </a:cubicBezTo>
                <a:cubicBezTo>
                  <a:pt x="339365" y="501928"/>
                  <a:pt x="334640" y="490505"/>
                  <a:pt x="326046" y="481911"/>
                </a:cubicBezTo>
                <a:cubicBezTo>
                  <a:pt x="317451" y="473316"/>
                  <a:pt x="306028" y="468591"/>
                  <a:pt x="293862" y="468591"/>
                </a:cubicBezTo>
                <a:cubicBezTo>
                  <a:pt x="285676" y="468591"/>
                  <a:pt x="277825" y="470749"/>
                  <a:pt x="270904" y="474767"/>
                </a:cubicBezTo>
                <a:lnTo>
                  <a:pt x="235558" y="439421"/>
                </a:lnTo>
                <a:cubicBezTo>
                  <a:pt x="243744" y="428557"/>
                  <a:pt x="249287" y="415571"/>
                  <a:pt x="251296" y="401507"/>
                </a:cubicBezTo>
                <a:lnTo>
                  <a:pt x="279424" y="401507"/>
                </a:lnTo>
                <a:cubicBezTo>
                  <a:pt x="285824" y="401507"/>
                  <a:pt x="291034" y="396335"/>
                  <a:pt x="291034" y="389898"/>
                </a:cubicBezTo>
                <a:cubicBezTo>
                  <a:pt x="291034" y="383498"/>
                  <a:pt x="285862" y="378289"/>
                  <a:pt x="279424" y="378289"/>
                </a:cubicBezTo>
                <a:lnTo>
                  <a:pt x="251296" y="378289"/>
                </a:lnTo>
                <a:cubicBezTo>
                  <a:pt x="249287" y="364187"/>
                  <a:pt x="243743" y="351239"/>
                  <a:pt x="235558" y="340374"/>
                </a:cubicBezTo>
                <a:lnTo>
                  <a:pt x="270904" y="305028"/>
                </a:lnTo>
                <a:cubicBezTo>
                  <a:pt x="288317" y="315185"/>
                  <a:pt x="311126" y="312767"/>
                  <a:pt x="326008" y="297884"/>
                </a:cubicBezTo>
                <a:cubicBezTo>
                  <a:pt x="334603" y="289289"/>
                  <a:pt x="339328" y="277866"/>
                  <a:pt x="339328" y="265700"/>
                </a:cubicBezTo>
                <a:cubicBezTo>
                  <a:pt x="339328" y="253534"/>
                  <a:pt x="334603" y="242111"/>
                  <a:pt x="326008" y="233516"/>
                </a:cubicBezTo>
                <a:cubicBezTo>
                  <a:pt x="317414" y="224921"/>
                  <a:pt x="305991" y="220196"/>
                  <a:pt x="293824" y="220196"/>
                </a:cubicBezTo>
                <a:cubicBezTo>
                  <a:pt x="281658" y="220196"/>
                  <a:pt x="270235" y="224922"/>
                  <a:pt x="261640" y="233516"/>
                </a:cubicBezTo>
                <a:cubicBezTo>
                  <a:pt x="246720" y="248436"/>
                  <a:pt x="244339" y="271207"/>
                  <a:pt x="254497" y="288620"/>
                </a:cubicBezTo>
                <a:lnTo>
                  <a:pt x="219150" y="323967"/>
                </a:lnTo>
                <a:cubicBezTo>
                  <a:pt x="208286" y="315781"/>
                  <a:pt x="195301" y="310237"/>
                  <a:pt x="181236" y="308228"/>
                </a:cubicBezTo>
                <a:lnTo>
                  <a:pt x="181236" y="280100"/>
                </a:lnTo>
                <a:cubicBezTo>
                  <a:pt x="181236" y="273700"/>
                  <a:pt x="176064" y="268491"/>
                  <a:pt x="169627" y="268491"/>
                </a:cubicBezTo>
                <a:cubicBezTo>
                  <a:pt x="163227" y="268491"/>
                  <a:pt x="158018" y="273663"/>
                  <a:pt x="158018" y="280100"/>
                </a:cubicBezTo>
                <a:lnTo>
                  <a:pt x="158018" y="308228"/>
                </a:lnTo>
                <a:cubicBezTo>
                  <a:pt x="143916" y="310238"/>
                  <a:pt x="130969" y="315781"/>
                  <a:pt x="120104" y="323967"/>
                </a:cubicBezTo>
                <a:lnTo>
                  <a:pt x="84757" y="288620"/>
                </a:lnTo>
                <a:cubicBezTo>
                  <a:pt x="94915" y="271208"/>
                  <a:pt x="92496" y="248399"/>
                  <a:pt x="77614" y="233516"/>
                </a:cubicBezTo>
                <a:cubicBezTo>
                  <a:pt x="69093" y="224921"/>
                  <a:pt x="57633" y="220196"/>
                  <a:pt x="45504" y="220196"/>
                </a:cubicBezTo>
                <a:cubicBezTo>
                  <a:pt x="33337" y="220196"/>
                  <a:pt x="21914" y="224922"/>
                  <a:pt x="13320" y="233516"/>
                </a:cubicBezTo>
                <a:cubicBezTo>
                  <a:pt x="-4428" y="251264"/>
                  <a:pt x="-4428" y="280136"/>
                  <a:pt x="13320" y="297884"/>
                </a:cubicBezTo>
                <a:cubicBezTo>
                  <a:pt x="28240" y="312804"/>
                  <a:pt x="51010" y="315185"/>
                  <a:pt x="68424" y="305028"/>
                </a:cubicBezTo>
                <a:lnTo>
                  <a:pt x="103770" y="340374"/>
                </a:lnTo>
                <a:cubicBezTo>
                  <a:pt x="95585" y="351238"/>
                  <a:pt x="90041" y="364224"/>
                  <a:pt x="88032" y="378289"/>
                </a:cubicBezTo>
                <a:lnTo>
                  <a:pt x="59904" y="378289"/>
                </a:lnTo>
                <a:cubicBezTo>
                  <a:pt x="53504" y="378289"/>
                  <a:pt x="48295" y="383460"/>
                  <a:pt x="48295" y="389898"/>
                </a:cubicBezTo>
                <a:cubicBezTo>
                  <a:pt x="48295" y="396297"/>
                  <a:pt x="53466" y="401507"/>
                  <a:pt x="59904" y="401507"/>
                </a:cubicBezTo>
                <a:lnTo>
                  <a:pt x="88032" y="401507"/>
                </a:lnTo>
                <a:cubicBezTo>
                  <a:pt x="90041" y="415608"/>
                  <a:pt x="95585" y="428556"/>
                  <a:pt x="103770" y="439421"/>
                </a:cubicBezTo>
                <a:lnTo>
                  <a:pt x="68424" y="474767"/>
                </a:lnTo>
                <a:cubicBezTo>
                  <a:pt x="51011" y="464610"/>
                  <a:pt x="28203" y="467028"/>
                  <a:pt x="13320" y="481911"/>
                </a:cubicBezTo>
                <a:cubicBezTo>
                  <a:pt x="4725" y="490506"/>
                  <a:pt x="0" y="501929"/>
                  <a:pt x="0" y="514095"/>
                </a:cubicBezTo>
                <a:cubicBezTo>
                  <a:pt x="0" y="526261"/>
                  <a:pt x="4725" y="537685"/>
                  <a:pt x="13320" y="546279"/>
                </a:cubicBezTo>
                <a:cubicBezTo>
                  <a:pt x="21915" y="554874"/>
                  <a:pt x="33337" y="559599"/>
                  <a:pt x="45504" y="559599"/>
                </a:cubicBezTo>
                <a:cubicBezTo>
                  <a:pt x="57670" y="559599"/>
                  <a:pt x="69093" y="554874"/>
                  <a:pt x="77688" y="546279"/>
                </a:cubicBezTo>
                <a:cubicBezTo>
                  <a:pt x="92608" y="531359"/>
                  <a:pt x="94989" y="508589"/>
                  <a:pt x="84832" y="491175"/>
                </a:cubicBezTo>
                <a:lnTo>
                  <a:pt x="120178" y="455829"/>
                </a:lnTo>
                <a:cubicBezTo>
                  <a:pt x="131042" y="464014"/>
                  <a:pt x="144028" y="469558"/>
                  <a:pt x="158092" y="471567"/>
                </a:cubicBezTo>
                <a:lnTo>
                  <a:pt x="158092" y="499695"/>
                </a:lnTo>
                <a:cubicBezTo>
                  <a:pt x="158092" y="506095"/>
                  <a:pt x="163264" y="511304"/>
                  <a:pt x="169701" y="511304"/>
                </a:cubicBezTo>
                <a:cubicBezTo>
                  <a:pt x="176101" y="511304"/>
                  <a:pt x="181272" y="506095"/>
                  <a:pt x="181272" y="499695"/>
                </a:cubicBezTo>
                <a:close/>
                <a:moveTo>
                  <a:pt x="278047" y="498393"/>
                </a:moveTo>
                <a:cubicBezTo>
                  <a:pt x="278084" y="498355"/>
                  <a:pt x="278122" y="498318"/>
                  <a:pt x="278196" y="498244"/>
                </a:cubicBezTo>
                <a:cubicBezTo>
                  <a:pt x="282400" y="494076"/>
                  <a:pt x="287981" y="491770"/>
                  <a:pt x="293897" y="491770"/>
                </a:cubicBezTo>
                <a:cubicBezTo>
                  <a:pt x="299850" y="491770"/>
                  <a:pt x="305468" y="494076"/>
                  <a:pt x="309672" y="498318"/>
                </a:cubicBezTo>
                <a:cubicBezTo>
                  <a:pt x="313877" y="502522"/>
                  <a:pt x="316221" y="508140"/>
                  <a:pt x="316221" y="514093"/>
                </a:cubicBezTo>
                <a:cubicBezTo>
                  <a:pt x="316221" y="520046"/>
                  <a:pt x="313914" y="525664"/>
                  <a:pt x="309672" y="529869"/>
                </a:cubicBezTo>
                <a:cubicBezTo>
                  <a:pt x="305468" y="534073"/>
                  <a:pt x="299850" y="536417"/>
                  <a:pt x="293897" y="536417"/>
                </a:cubicBezTo>
                <a:cubicBezTo>
                  <a:pt x="287944" y="536417"/>
                  <a:pt x="282326" y="534110"/>
                  <a:pt x="278122" y="529869"/>
                </a:cubicBezTo>
                <a:cubicBezTo>
                  <a:pt x="269452" y="521237"/>
                  <a:pt x="269415" y="507098"/>
                  <a:pt x="278047" y="498391"/>
                </a:cubicBezTo>
                <a:close/>
                <a:moveTo>
                  <a:pt x="278084" y="249923"/>
                </a:moveTo>
                <a:cubicBezTo>
                  <a:pt x="282289" y="245719"/>
                  <a:pt x="287907" y="243375"/>
                  <a:pt x="293860" y="243375"/>
                </a:cubicBezTo>
                <a:cubicBezTo>
                  <a:pt x="299813" y="243375"/>
                  <a:pt x="305431" y="245682"/>
                  <a:pt x="309635" y="249923"/>
                </a:cubicBezTo>
                <a:cubicBezTo>
                  <a:pt x="313839" y="254128"/>
                  <a:pt x="316183" y="259746"/>
                  <a:pt x="316183" y="265699"/>
                </a:cubicBezTo>
                <a:cubicBezTo>
                  <a:pt x="316183" y="271652"/>
                  <a:pt x="313877" y="277270"/>
                  <a:pt x="309635" y="281474"/>
                </a:cubicBezTo>
                <a:cubicBezTo>
                  <a:pt x="300966" y="290143"/>
                  <a:pt x="286827" y="290180"/>
                  <a:pt x="278121" y="281548"/>
                </a:cubicBezTo>
                <a:cubicBezTo>
                  <a:pt x="278083" y="281511"/>
                  <a:pt x="278046" y="281474"/>
                  <a:pt x="277972" y="281400"/>
                </a:cubicBezTo>
                <a:cubicBezTo>
                  <a:pt x="269414" y="272730"/>
                  <a:pt x="269414" y="258592"/>
                  <a:pt x="278083" y="249922"/>
                </a:cubicBezTo>
                <a:close/>
                <a:moveTo>
                  <a:pt x="61276" y="281512"/>
                </a:moveTo>
                <a:cubicBezTo>
                  <a:pt x="52570" y="290218"/>
                  <a:pt x="38394" y="290218"/>
                  <a:pt x="29688" y="281512"/>
                </a:cubicBezTo>
                <a:cubicBezTo>
                  <a:pt x="20981" y="272806"/>
                  <a:pt x="20981" y="258630"/>
                  <a:pt x="29688" y="249923"/>
                </a:cubicBezTo>
                <a:cubicBezTo>
                  <a:pt x="33892" y="245719"/>
                  <a:pt x="39510" y="243375"/>
                  <a:pt x="45463" y="243375"/>
                </a:cubicBezTo>
                <a:cubicBezTo>
                  <a:pt x="51416" y="243375"/>
                  <a:pt x="57034" y="245682"/>
                  <a:pt x="61238" y="249923"/>
                </a:cubicBezTo>
                <a:cubicBezTo>
                  <a:pt x="69945" y="258593"/>
                  <a:pt x="69982" y="272731"/>
                  <a:pt x="61275" y="281512"/>
                </a:cubicBezTo>
                <a:close/>
                <a:moveTo>
                  <a:pt x="61276" y="529905"/>
                </a:moveTo>
                <a:cubicBezTo>
                  <a:pt x="57072" y="534109"/>
                  <a:pt x="51454" y="536453"/>
                  <a:pt x="45501" y="536453"/>
                </a:cubicBezTo>
                <a:cubicBezTo>
                  <a:pt x="39548" y="536453"/>
                  <a:pt x="33930" y="534147"/>
                  <a:pt x="29726" y="529905"/>
                </a:cubicBezTo>
                <a:cubicBezTo>
                  <a:pt x="25521" y="525701"/>
                  <a:pt x="23177" y="520083"/>
                  <a:pt x="23177" y="514130"/>
                </a:cubicBezTo>
                <a:cubicBezTo>
                  <a:pt x="23177" y="508177"/>
                  <a:pt x="25484" y="502559"/>
                  <a:pt x="29726" y="498354"/>
                </a:cubicBezTo>
                <a:cubicBezTo>
                  <a:pt x="34079" y="494001"/>
                  <a:pt x="39772" y="491843"/>
                  <a:pt x="45501" y="491843"/>
                </a:cubicBezTo>
                <a:cubicBezTo>
                  <a:pt x="51194" y="491843"/>
                  <a:pt x="56923" y="494001"/>
                  <a:pt x="61314" y="498354"/>
                </a:cubicBezTo>
                <a:cubicBezTo>
                  <a:pt x="69984" y="507024"/>
                  <a:pt x="69984" y="521199"/>
                  <a:pt x="61277" y="529906"/>
                </a:cubicBezTo>
                <a:close/>
                <a:moveTo>
                  <a:pt x="110389" y="389935"/>
                </a:moveTo>
                <a:lnTo>
                  <a:pt x="110389" y="389898"/>
                </a:lnTo>
                <a:lnTo>
                  <a:pt x="110389" y="389861"/>
                </a:lnTo>
                <a:cubicBezTo>
                  <a:pt x="110389" y="357193"/>
                  <a:pt x="136992" y="330590"/>
                  <a:pt x="169697" y="330590"/>
                </a:cubicBezTo>
                <a:cubicBezTo>
                  <a:pt x="202365" y="330590"/>
                  <a:pt x="228969" y="357156"/>
                  <a:pt x="229006" y="389861"/>
                </a:cubicBezTo>
                <a:lnTo>
                  <a:pt x="229006" y="389898"/>
                </a:lnTo>
                <a:lnTo>
                  <a:pt x="229006" y="389935"/>
                </a:lnTo>
                <a:cubicBezTo>
                  <a:pt x="229006" y="422603"/>
                  <a:pt x="202403" y="449206"/>
                  <a:pt x="169697" y="449206"/>
                </a:cubicBezTo>
                <a:cubicBezTo>
                  <a:pt x="136992" y="449206"/>
                  <a:pt x="110389" y="422603"/>
                  <a:pt x="110389" y="389935"/>
                </a:cubicBezTo>
                <a:close/>
                <a:moveTo>
                  <a:pt x="369688" y="729559"/>
                </a:moveTo>
                <a:cubicBezTo>
                  <a:pt x="363289" y="729559"/>
                  <a:pt x="358079" y="734730"/>
                  <a:pt x="358079" y="741168"/>
                </a:cubicBezTo>
                <a:lnTo>
                  <a:pt x="358079" y="744442"/>
                </a:lnTo>
                <a:lnTo>
                  <a:pt x="336351" y="744442"/>
                </a:lnTo>
                <a:cubicBezTo>
                  <a:pt x="334676" y="735066"/>
                  <a:pt x="330956" y="726360"/>
                  <a:pt x="325709" y="718843"/>
                </a:cubicBezTo>
                <a:lnTo>
                  <a:pt x="341076" y="703477"/>
                </a:lnTo>
                <a:lnTo>
                  <a:pt x="343383" y="705784"/>
                </a:lnTo>
                <a:cubicBezTo>
                  <a:pt x="345653" y="708053"/>
                  <a:pt x="348629" y="709169"/>
                  <a:pt x="351568" y="709169"/>
                </a:cubicBezTo>
                <a:cubicBezTo>
                  <a:pt x="354545" y="709169"/>
                  <a:pt x="357484" y="708053"/>
                  <a:pt x="359791" y="705784"/>
                </a:cubicBezTo>
                <a:cubicBezTo>
                  <a:pt x="364330" y="701244"/>
                  <a:pt x="364330" y="693914"/>
                  <a:pt x="359791" y="689375"/>
                </a:cubicBezTo>
                <a:lnTo>
                  <a:pt x="338770" y="668353"/>
                </a:lnTo>
                <a:cubicBezTo>
                  <a:pt x="334230" y="663814"/>
                  <a:pt x="326900" y="663814"/>
                  <a:pt x="322361" y="668353"/>
                </a:cubicBezTo>
                <a:cubicBezTo>
                  <a:pt x="317822" y="672892"/>
                  <a:pt x="317822" y="680222"/>
                  <a:pt x="322361" y="684762"/>
                </a:cubicBezTo>
                <a:lnTo>
                  <a:pt x="324668" y="687069"/>
                </a:lnTo>
                <a:lnTo>
                  <a:pt x="309301" y="702435"/>
                </a:lnTo>
                <a:cubicBezTo>
                  <a:pt x="301748" y="697189"/>
                  <a:pt x="293079" y="693506"/>
                  <a:pt x="283703" y="691794"/>
                </a:cubicBezTo>
                <a:lnTo>
                  <a:pt x="283703" y="670066"/>
                </a:lnTo>
                <a:lnTo>
                  <a:pt x="286977" y="670066"/>
                </a:lnTo>
                <a:cubicBezTo>
                  <a:pt x="293376" y="670066"/>
                  <a:pt x="298586" y="664894"/>
                  <a:pt x="298586" y="658457"/>
                </a:cubicBezTo>
                <a:cubicBezTo>
                  <a:pt x="298586" y="652057"/>
                  <a:pt x="293414" y="646848"/>
                  <a:pt x="286977" y="646848"/>
                </a:cubicBezTo>
                <a:lnTo>
                  <a:pt x="257248" y="646848"/>
                </a:lnTo>
                <a:cubicBezTo>
                  <a:pt x="250849" y="646848"/>
                  <a:pt x="245639" y="652019"/>
                  <a:pt x="245639" y="658457"/>
                </a:cubicBezTo>
                <a:cubicBezTo>
                  <a:pt x="245639" y="664856"/>
                  <a:pt x="250811" y="670066"/>
                  <a:pt x="257248" y="670066"/>
                </a:cubicBezTo>
                <a:lnTo>
                  <a:pt x="260523" y="670066"/>
                </a:lnTo>
                <a:lnTo>
                  <a:pt x="260523" y="691794"/>
                </a:lnTo>
                <a:cubicBezTo>
                  <a:pt x="251146" y="693468"/>
                  <a:pt x="242440" y="697189"/>
                  <a:pt x="234924" y="702435"/>
                </a:cubicBezTo>
                <a:lnTo>
                  <a:pt x="219557" y="687069"/>
                </a:lnTo>
                <a:lnTo>
                  <a:pt x="221864" y="684762"/>
                </a:lnTo>
                <a:cubicBezTo>
                  <a:pt x="226404" y="680223"/>
                  <a:pt x="226404" y="672893"/>
                  <a:pt x="221864" y="668353"/>
                </a:cubicBezTo>
                <a:cubicBezTo>
                  <a:pt x="217325" y="663814"/>
                  <a:pt x="209995" y="663814"/>
                  <a:pt x="205456" y="668353"/>
                </a:cubicBezTo>
                <a:lnTo>
                  <a:pt x="184434" y="689375"/>
                </a:lnTo>
                <a:cubicBezTo>
                  <a:pt x="179895" y="693914"/>
                  <a:pt x="179895" y="701244"/>
                  <a:pt x="184434" y="705784"/>
                </a:cubicBezTo>
                <a:cubicBezTo>
                  <a:pt x="186703" y="708053"/>
                  <a:pt x="189680" y="709169"/>
                  <a:pt x="192657" y="709169"/>
                </a:cubicBezTo>
                <a:cubicBezTo>
                  <a:pt x="195633" y="709169"/>
                  <a:pt x="198573" y="708053"/>
                  <a:pt x="200842" y="705784"/>
                </a:cubicBezTo>
                <a:lnTo>
                  <a:pt x="203149" y="703477"/>
                </a:lnTo>
                <a:lnTo>
                  <a:pt x="218516" y="718843"/>
                </a:lnTo>
                <a:cubicBezTo>
                  <a:pt x="213270" y="726396"/>
                  <a:pt x="209586" y="735065"/>
                  <a:pt x="207874" y="744442"/>
                </a:cubicBezTo>
                <a:lnTo>
                  <a:pt x="186146" y="744442"/>
                </a:lnTo>
                <a:lnTo>
                  <a:pt x="186183" y="741168"/>
                </a:lnTo>
                <a:cubicBezTo>
                  <a:pt x="186183" y="734768"/>
                  <a:pt x="181011" y="729559"/>
                  <a:pt x="174574" y="729559"/>
                </a:cubicBezTo>
                <a:cubicBezTo>
                  <a:pt x="168174" y="729559"/>
                  <a:pt x="162965" y="734730"/>
                  <a:pt x="162965" y="741168"/>
                </a:cubicBezTo>
                <a:lnTo>
                  <a:pt x="162965" y="770896"/>
                </a:lnTo>
                <a:cubicBezTo>
                  <a:pt x="162965" y="777296"/>
                  <a:pt x="168137" y="782505"/>
                  <a:pt x="174574" y="782505"/>
                </a:cubicBezTo>
                <a:cubicBezTo>
                  <a:pt x="180974" y="782505"/>
                  <a:pt x="186183" y="777333"/>
                  <a:pt x="186183" y="770896"/>
                </a:cubicBezTo>
                <a:lnTo>
                  <a:pt x="186183" y="767622"/>
                </a:lnTo>
                <a:lnTo>
                  <a:pt x="207912" y="767622"/>
                </a:lnTo>
                <a:cubicBezTo>
                  <a:pt x="209586" y="776998"/>
                  <a:pt x="213307" y="785704"/>
                  <a:pt x="218553" y="793220"/>
                </a:cubicBezTo>
                <a:lnTo>
                  <a:pt x="203186" y="808624"/>
                </a:lnTo>
                <a:lnTo>
                  <a:pt x="200879" y="806317"/>
                </a:lnTo>
                <a:cubicBezTo>
                  <a:pt x="196340" y="801778"/>
                  <a:pt x="189010" y="801778"/>
                  <a:pt x="184471" y="806317"/>
                </a:cubicBezTo>
                <a:cubicBezTo>
                  <a:pt x="179931" y="810857"/>
                  <a:pt x="179931" y="818186"/>
                  <a:pt x="184471" y="822726"/>
                </a:cubicBezTo>
                <a:lnTo>
                  <a:pt x="205492" y="843748"/>
                </a:lnTo>
                <a:cubicBezTo>
                  <a:pt x="207762" y="846017"/>
                  <a:pt x="210739" y="847134"/>
                  <a:pt x="213678" y="847134"/>
                </a:cubicBezTo>
                <a:cubicBezTo>
                  <a:pt x="216655" y="847134"/>
                  <a:pt x="219594" y="846017"/>
                  <a:pt x="221901" y="843748"/>
                </a:cubicBezTo>
                <a:cubicBezTo>
                  <a:pt x="226440" y="839208"/>
                  <a:pt x="226440" y="831879"/>
                  <a:pt x="221901" y="827339"/>
                </a:cubicBezTo>
                <a:lnTo>
                  <a:pt x="219594" y="825032"/>
                </a:lnTo>
                <a:lnTo>
                  <a:pt x="234961" y="809665"/>
                </a:lnTo>
                <a:cubicBezTo>
                  <a:pt x="242514" y="814912"/>
                  <a:pt x="251183" y="818595"/>
                  <a:pt x="260559" y="820307"/>
                </a:cubicBezTo>
                <a:lnTo>
                  <a:pt x="260559" y="842035"/>
                </a:lnTo>
                <a:lnTo>
                  <a:pt x="257285" y="842035"/>
                </a:lnTo>
                <a:cubicBezTo>
                  <a:pt x="250885" y="842035"/>
                  <a:pt x="245676" y="847207"/>
                  <a:pt x="245676" y="853644"/>
                </a:cubicBezTo>
                <a:cubicBezTo>
                  <a:pt x="245676" y="860044"/>
                  <a:pt x="250847" y="865253"/>
                  <a:pt x="257285" y="865253"/>
                </a:cubicBezTo>
                <a:lnTo>
                  <a:pt x="287013" y="865253"/>
                </a:lnTo>
                <a:cubicBezTo>
                  <a:pt x="293413" y="865253"/>
                  <a:pt x="298622" y="860082"/>
                  <a:pt x="298622" y="853644"/>
                </a:cubicBezTo>
                <a:cubicBezTo>
                  <a:pt x="298622" y="847245"/>
                  <a:pt x="293451" y="842035"/>
                  <a:pt x="287013" y="842035"/>
                </a:cubicBezTo>
                <a:lnTo>
                  <a:pt x="283739" y="842035"/>
                </a:lnTo>
                <a:lnTo>
                  <a:pt x="283739" y="820307"/>
                </a:lnTo>
                <a:cubicBezTo>
                  <a:pt x="293115" y="818632"/>
                  <a:pt x="301821" y="814912"/>
                  <a:pt x="309337" y="809665"/>
                </a:cubicBezTo>
                <a:lnTo>
                  <a:pt x="324704" y="825032"/>
                </a:lnTo>
                <a:lnTo>
                  <a:pt x="322397" y="827339"/>
                </a:lnTo>
                <a:cubicBezTo>
                  <a:pt x="317858" y="831878"/>
                  <a:pt x="317858" y="839208"/>
                  <a:pt x="322397" y="843748"/>
                </a:cubicBezTo>
                <a:cubicBezTo>
                  <a:pt x="324667" y="846017"/>
                  <a:pt x="327643" y="847134"/>
                  <a:pt x="330620" y="847134"/>
                </a:cubicBezTo>
                <a:cubicBezTo>
                  <a:pt x="333597" y="847134"/>
                  <a:pt x="336536" y="846017"/>
                  <a:pt x="338806" y="843748"/>
                </a:cubicBezTo>
                <a:lnTo>
                  <a:pt x="359827" y="822726"/>
                </a:lnTo>
                <a:cubicBezTo>
                  <a:pt x="364366" y="818187"/>
                  <a:pt x="364366" y="810857"/>
                  <a:pt x="359827" y="806317"/>
                </a:cubicBezTo>
                <a:cubicBezTo>
                  <a:pt x="355288" y="801778"/>
                  <a:pt x="347958" y="801778"/>
                  <a:pt x="343418" y="806317"/>
                </a:cubicBezTo>
                <a:lnTo>
                  <a:pt x="341112" y="808624"/>
                </a:lnTo>
                <a:lnTo>
                  <a:pt x="325745" y="793257"/>
                </a:lnTo>
                <a:cubicBezTo>
                  <a:pt x="330991" y="785704"/>
                  <a:pt x="334675" y="777035"/>
                  <a:pt x="336386" y="767659"/>
                </a:cubicBezTo>
                <a:lnTo>
                  <a:pt x="358115" y="767659"/>
                </a:lnTo>
                <a:lnTo>
                  <a:pt x="358115" y="770933"/>
                </a:lnTo>
                <a:cubicBezTo>
                  <a:pt x="358115" y="777333"/>
                  <a:pt x="363286" y="782542"/>
                  <a:pt x="369724" y="782542"/>
                </a:cubicBezTo>
                <a:cubicBezTo>
                  <a:pt x="376123" y="782542"/>
                  <a:pt x="381333" y="777371"/>
                  <a:pt x="381333" y="770933"/>
                </a:cubicBezTo>
                <a:lnTo>
                  <a:pt x="381296" y="741168"/>
                </a:lnTo>
                <a:cubicBezTo>
                  <a:pt x="381296" y="734768"/>
                  <a:pt x="376087" y="729559"/>
                  <a:pt x="369687" y="729559"/>
                </a:cubicBezTo>
                <a:close/>
                <a:moveTo>
                  <a:pt x="272133" y="798131"/>
                </a:moveTo>
                <a:cubicBezTo>
                  <a:pt x="248916" y="798131"/>
                  <a:pt x="230052" y="779267"/>
                  <a:pt x="230052" y="756049"/>
                </a:cubicBezTo>
                <a:cubicBezTo>
                  <a:pt x="230052" y="732832"/>
                  <a:pt x="248916" y="713968"/>
                  <a:pt x="272133" y="713968"/>
                </a:cubicBezTo>
                <a:cubicBezTo>
                  <a:pt x="295350" y="713968"/>
                  <a:pt x="314215" y="732832"/>
                  <a:pt x="314215" y="756049"/>
                </a:cubicBezTo>
                <a:cubicBezTo>
                  <a:pt x="314215" y="779267"/>
                  <a:pt x="295350" y="798131"/>
                  <a:pt x="272133" y="798131"/>
                </a:cubicBezTo>
                <a:close/>
                <a:moveTo>
                  <a:pt x="306289" y="135620"/>
                </a:moveTo>
                <a:cubicBezTo>
                  <a:pt x="312688" y="135620"/>
                  <a:pt x="317898" y="130448"/>
                  <a:pt x="317898" y="124010"/>
                </a:cubicBezTo>
                <a:lnTo>
                  <a:pt x="317898" y="120736"/>
                </a:lnTo>
                <a:lnTo>
                  <a:pt x="339626" y="120736"/>
                </a:lnTo>
                <a:cubicBezTo>
                  <a:pt x="341301" y="130112"/>
                  <a:pt x="345021" y="138818"/>
                  <a:pt x="350268" y="146335"/>
                </a:cubicBezTo>
                <a:lnTo>
                  <a:pt x="334901" y="161701"/>
                </a:lnTo>
                <a:lnTo>
                  <a:pt x="332594" y="159395"/>
                </a:lnTo>
                <a:cubicBezTo>
                  <a:pt x="328055" y="154855"/>
                  <a:pt x="320725" y="154855"/>
                  <a:pt x="316185" y="159395"/>
                </a:cubicBezTo>
                <a:cubicBezTo>
                  <a:pt x="311646" y="163934"/>
                  <a:pt x="311646" y="171264"/>
                  <a:pt x="316185" y="175803"/>
                </a:cubicBezTo>
                <a:lnTo>
                  <a:pt x="337207" y="196825"/>
                </a:lnTo>
                <a:cubicBezTo>
                  <a:pt x="339477" y="199095"/>
                  <a:pt x="342453" y="200211"/>
                  <a:pt x="345393" y="200211"/>
                </a:cubicBezTo>
                <a:cubicBezTo>
                  <a:pt x="348369" y="200211"/>
                  <a:pt x="351309" y="199095"/>
                  <a:pt x="353578" y="196825"/>
                </a:cubicBezTo>
                <a:cubicBezTo>
                  <a:pt x="358118" y="192286"/>
                  <a:pt x="358118" y="184956"/>
                  <a:pt x="353578" y="180416"/>
                </a:cubicBezTo>
                <a:lnTo>
                  <a:pt x="351271" y="178109"/>
                </a:lnTo>
                <a:lnTo>
                  <a:pt x="366638" y="162743"/>
                </a:lnTo>
                <a:cubicBezTo>
                  <a:pt x="374191" y="167989"/>
                  <a:pt x="382860" y="171672"/>
                  <a:pt x="392237" y="173384"/>
                </a:cubicBezTo>
                <a:lnTo>
                  <a:pt x="392237" y="195112"/>
                </a:lnTo>
                <a:lnTo>
                  <a:pt x="388962" y="195112"/>
                </a:lnTo>
                <a:cubicBezTo>
                  <a:pt x="382563" y="195112"/>
                  <a:pt x="377353" y="200284"/>
                  <a:pt x="377353" y="206721"/>
                </a:cubicBezTo>
                <a:cubicBezTo>
                  <a:pt x="377353" y="213121"/>
                  <a:pt x="382525" y="218331"/>
                  <a:pt x="388962" y="218331"/>
                </a:cubicBezTo>
                <a:lnTo>
                  <a:pt x="418691" y="218331"/>
                </a:lnTo>
                <a:cubicBezTo>
                  <a:pt x="425090" y="218331"/>
                  <a:pt x="430300" y="213159"/>
                  <a:pt x="430300" y="206721"/>
                </a:cubicBezTo>
                <a:cubicBezTo>
                  <a:pt x="430300" y="200322"/>
                  <a:pt x="425128" y="195112"/>
                  <a:pt x="418691" y="195112"/>
                </a:cubicBezTo>
                <a:lnTo>
                  <a:pt x="415417" y="195112"/>
                </a:lnTo>
                <a:lnTo>
                  <a:pt x="415417" y="173384"/>
                </a:lnTo>
                <a:cubicBezTo>
                  <a:pt x="424793" y="171710"/>
                  <a:pt x="433499" y="167989"/>
                  <a:pt x="441015" y="162743"/>
                </a:cubicBezTo>
                <a:lnTo>
                  <a:pt x="456382" y="178109"/>
                </a:lnTo>
                <a:lnTo>
                  <a:pt x="454075" y="180416"/>
                </a:lnTo>
                <a:cubicBezTo>
                  <a:pt x="449536" y="184955"/>
                  <a:pt x="449536" y="192285"/>
                  <a:pt x="454075" y="196825"/>
                </a:cubicBezTo>
                <a:cubicBezTo>
                  <a:pt x="456344" y="199095"/>
                  <a:pt x="459321" y="200211"/>
                  <a:pt x="462260" y="200211"/>
                </a:cubicBezTo>
                <a:cubicBezTo>
                  <a:pt x="465237" y="200211"/>
                  <a:pt x="468176" y="199095"/>
                  <a:pt x="470446" y="196825"/>
                </a:cubicBezTo>
                <a:lnTo>
                  <a:pt x="491468" y="175803"/>
                </a:lnTo>
                <a:cubicBezTo>
                  <a:pt x="496007" y="171264"/>
                  <a:pt x="496007" y="163934"/>
                  <a:pt x="491468" y="159395"/>
                </a:cubicBezTo>
                <a:cubicBezTo>
                  <a:pt x="486928" y="154855"/>
                  <a:pt x="479599" y="154855"/>
                  <a:pt x="475059" y="159395"/>
                </a:cubicBezTo>
                <a:lnTo>
                  <a:pt x="472752" y="161701"/>
                </a:lnTo>
                <a:lnTo>
                  <a:pt x="457385" y="146335"/>
                </a:lnTo>
                <a:cubicBezTo>
                  <a:pt x="462632" y="138782"/>
                  <a:pt x="466315" y="130113"/>
                  <a:pt x="468027" y="120736"/>
                </a:cubicBezTo>
                <a:lnTo>
                  <a:pt x="489755" y="120736"/>
                </a:lnTo>
                <a:lnTo>
                  <a:pt x="489755" y="124010"/>
                </a:lnTo>
                <a:cubicBezTo>
                  <a:pt x="489755" y="130410"/>
                  <a:pt x="494927" y="135620"/>
                  <a:pt x="501364" y="135620"/>
                </a:cubicBezTo>
                <a:cubicBezTo>
                  <a:pt x="507764" y="135620"/>
                  <a:pt x="512973" y="130448"/>
                  <a:pt x="512973" y="124010"/>
                </a:cubicBezTo>
                <a:lnTo>
                  <a:pt x="512973" y="94282"/>
                </a:lnTo>
                <a:cubicBezTo>
                  <a:pt x="512973" y="87882"/>
                  <a:pt x="507802" y="82673"/>
                  <a:pt x="501364" y="82673"/>
                </a:cubicBezTo>
                <a:cubicBezTo>
                  <a:pt x="494965" y="82673"/>
                  <a:pt x="489755" y="87845"/>
                  <a:pt x="489755" y="94282"/>
                </a:cubicBezTo>
                <a:lnTo>
                  <a:pt x="489755" y="97556"/>
                </a:lnTo>
                <a:lnTo>
                  <a:pt x="468027" y="97556"/>
                </a:lnTo>
                <a:cubicBezTo>
                  <a:pt x="466352" y="88180"/>
                  <a:pt x="462632" y="79474"/>
                  <a:pt x="457385" y="71958"/>
                </a:cubicBezTo>
                <a:lnTo>
                  <a:pt x="472752" y="56591"/>
                </a:lnTo>
                <a:lnTo>
                  <a:pt x="475059" y="58898"/>
                </a:lnTo>
                <a:cubicBezTo>
                  <a:pt x="477329" y="61168"/>
                  <a:pt x="480305" y="62284"/>
                  <a:pt x="483245" y="62284"/>
                </a:cubicBezTo>
                <a:cubicBezTo>
                  <a:pt x="486221" y="62284"/>
                  <a:pt x="489160" y="61168"/>
                  <a:pt x="491430" y="58898"/>
                </a:cubicBezTo>
                <a:cubicBezTo>
                  <a:pt x="495969" y="54359"/>
                  <a:pt x="495969" y="47029"/>
                  <a:pt x="491430" y="42489"/>
                </a:cubicBezTo>
                <a:lnTo>
                  <a:pt x="470408" y="21468"/>
                </a:lnTo>
                <a:cubicBezTo>
                  <a:pt x="465869" y="16928"/>
                  <a:pt x="458539" y="16928"/>
                  <a:pt x="454000" y="21468"/>
                </a:cubicBezTo>
                <a:cubicBezTo>
                  <a:pt x="449461" y="26007"/>
                  <a:pt x="449461" y="33337"/>
                  <a:pt x="454000" y="37876"/>
                </a:cubicBezTo>
                <a:lnTo>
                  <a:pt x="456307" y="40183"/>
                </a:lnTo>
                <a:lnTo>
                  <a:pt x="440940" y="55550"/>
                </a:lnTo>
                <a:cubicBezTo>
                  <a:pt x="433387" y="50304"/>
                  <a:pt x="424718" y="46620"/>
                  <a:pt x="415341" y="44908"/>
                </a:cubicBezTo>
                <a:lnTo>
                  <a:pt x="415341" y="23180"/>
                </a:lnTo>
                <a:lnTo>
                  <a:pt x="418616" y="23180"/>
                </a:lnTo>
                <a:cubicBezTo>
                  <a:pt x="425015" y="23180"/>
                  <a:pt x="430225" y="18008"/>
                  <a:pt x="430225" y="11571"/>
                </a:cubicBezTo>
                <a:cubicBezTo>
                  <a:pt x="430299" y="5209"/>
                  <a:pt x="425127" y="0"/>
                  <a:pt x="418728" y="0"/>
                </a:cubicBezTo>
                <a:lnTo>
                  <a:pt x="389000" y="0"/>
                </a:lnTo>
                <a:cubicBezTo>
                  <a:pt x="382600" y="0"/>
                  <a:pt x="377391" y="5172"/>
                  <a:pt x="377391" y="11609"/>
                </a:cubicBezTo>
                <a:cubicBezTo>
                  <a:pt x="377391" y="18009"/>
                  <a:pt x="382562" y="23218"/>
                  <a:pt x="389000" y="23218"/>
                </a:cubicBezTo>
                <a:lnTo>
                  <a:pt x="392274" y="23218"/>
                </a:lnTo>
                <a:lnTo>
                  <a:pt x="392274" y="44947"/>
                </a:lnTo>
                <a:cubicBezTo>
                  <a:pt x="382898" y="46621"/>
                  <a:pt x="374192" y="50342"/>
                  <a:pt x="366675" y="55588"/>
                </a:cubicBezTo>
                <a:lnTo>
                  <a:pt x="351309" y="40221"/>
                </a:lnTo>
                <a:lnTo>
                  <a:pt x="353616" y="37914"/>
                </a:lnTo>
                <a:cubicBezTo>
                  <a:pt x="358155" y="33375"/>
                  <a:pt x="358155" y="26045"/>
                  <a:pt x="353616" y="21506"/>
                </a:cubicBezTo>
                <a:cubicBezTo>
                  <a:pt x="349076" y="16966"/>
                  <a:pt x="341746" y="16966"/>
                  <a:pt x="337207" y="21506"/>
                </a:cubicBezTo>
                <a:lnTo>
                  <a:pt x="316185" y="42527"/>
                </a:lnTo>
                <a:cubicBezTo>
                  <a:pt x="311646" y="47067"/>
                  <a:pt x="311646" y="54396"/>
                  <a:pt x="316185" y="58936"/>
                </a:cubicBezTo>
                <a:cubicBezTo>
                  <a:pt x="318455" y="61206"/>
                  <a:pt x="321431" y="62322"/>
                  <a:pt x="324371" y="62322"/>
                </a:cubicBezTo>
                <a:cubicBezTo>
                  <a:pt x="327347" y="62322"/>
                  <a:pt x="330287" y="61206"/>
                  <a:pt x="332556" y="58936"/>
                </a:cubicBezTo>
                <a:lnTo>
                  <a:pt x="334863" y="56629"/>
                </a:lnTo>
                <a:lnTo>
                  <a:pt x="350230" y="71996"/>
                </a:lnTo>
                <a:cubicBezTo>
                  <a:pt x="344984" y="79549"/>
                  <a:pt x="341300" y="88218"/>
                  <a:pt x="339589" y="97594"/>
                </a:cubicBezTo>
                <a:lnTo>
                  <a:pt x="317860" y="97594"/>
                </a:lnTo>
                <a:lnTo>
                  <a:pt x="317860" y="94320"/>
                </a:lnTo>
                <a:cubicBezTo>
                  <a:pt x="317860" y="87920"/>
                  <a:pt x="312688" y="82711"/>
                  <a:pt x="306251" y="82711"/>
                </a:cubicBezTo>
                <a:cubicBezTo>
                  <a:pt x="299851" y="82711"/>
                  <a:pt x="294642" y="87883"/>
                  <a:pt x="294642" y="94320"/>
                </a:cubicBezTo>
                <a:lnTo>
                  <a:pt x="294642" y="124049"/>
                </a:lnTo>
                <a:cubicBezTo>
                  <a:pt x="294679" y="130448"/>
                  <a:pt x="299851" y="135620"/>
                  <a:pt x="306288" y="135620"/>
                </a:cubicBezTo>
                <a:close/>
                <a:moveTo>
                  <a:pt x="403844" y="67047"/>
                </a:moveTo>
                <a:cubicBezTo>
                  <a:pt x="427061" y="67047"/>
                  <a:pt x="445925" y="85911"/>
                  <a:pt x="445925" y="109129"/>
                </a:cubicBezTo>
                <a:cubicBezTo>
                  <a:pt x="445925" y="132346"/>
                  <a:pt x="427061" y="151210"/>
                  <a:pt x="403844" y="151210"/>
                </a:cubicBezTo>
                <a:cubicBezTo>
                  <a:pt x="380627" y="151210"/>
                  <a:pt x="361762" y="132346"/>
                  <a:pt x="361762" y="109129"/>
                </a:cubicBezTo>
                <a:cubicBezTo>
                  <a:pt x="361725" y="85949"/>
                  <a:pt x="380627" y="67047"/>
                  <a:pt x="403844" y="67047"/>
                </a:cubicBezTo>
                <a:close/>
                <a:moveTo>
                  <a:pt x="513829" y="525885"/>
                </a:moveTo>
                <a:lnTo>
                  <a:pt x="548022" y="525885"/>
                </a:lnTo>
                <a:cubicBezTo>
                  <a:pt x="554422" y="525885"/>
                  <a:pt x="559631" y="520714"/>
                  <a:pt x="559631" y="514276"/>
                </a:cubicBezTo>
                <a:lnTo>
                  <a:pt x="559631" y="390337"/>
                </a:lnTo>
                <a:cubicBezTo>
                  <a:pt x="559631" y="383937"/>
                  <a:pt x="554459" y="378728"/>
                  <a:pt x="548022" y="378728"/>
                </a:cubicBezTo>
                <a:lnTo>
                  <a:pt x="513829" y="378728"/>
                </a:lnTo>
                <a:cubicBezTo>
                  <a:pt x="507429" y="378728"/>
                  <a:pt x="502220" y="383900"/>
                  <a:pt x="502220" y="390337"/>
                </a:cubicBezTo>
                <a:lnTo>
                  <a:pt x="502220" y="514276"/>
                </a:lnTo>
                <a:cubicBezTo>
                  <a:pt x="502257" y="520676"/>
                  <a:pt x="507429" y="525885"/>
                  <a:pt x="513829" y="525885"/>
                </a:cubicBezTo>
                <a:close/>
                <a:moveTo>
                  <a:pt x="525438" y="401946"/>
                </a:moveTo>
                <a:lnTo>
                  <a:pt x="536451" y="401946"/>
                </a:lnTo>
                <a:lnTo>
                  <a:pt x="536451" y="502702"/>
                </a:lnTo>
                <a:lnTo>
                  <a:pt x="525438" y="502702"/>
                </a:lnTo>
                <a:close/>
                <a:moveTo>
                  <a:pt x="530945" y="527333"/>
                </a:moveTo>
                <a:cubicBezTo>
                  <a:pt x="514723" y="527333"/>
                  <a:pt x="501552" y="540504"/>
                  <a:pt x="501552" y="556726"/>
                </a:cubicBezTo>
                <a:cubicBezTo>
                  <a:pt x="501552" y="572949"/>
                  <a:pt x="514723" y="586120"/>
                  <a:pt x="530945" y="586120"/>
                </a:cubicBezTo>
                <a:cubicBezTo>
                  <a:pt x="547167" y="586120"/>
                  <a:pt x="560338" y="572949"/>
                  <a:pt x="560338" y="556726"/>
                </a:cubicBezTo>
                <a:cubicBezTo>
                  <a:pt x="560338" y="540504"/>
                  <a:pt x="547167" y="527333"/>
                  <a:pt x="530945" y="527333"/>
                </a:cubicBezTo>
                <a:close/>
                <a:moveTo>
                  <a:pt x="530945" y="562941"/>
                </a:moveTo>
                <a:cubicBezTo>
                  <a:pt x="527522" y="562941"/>
                  <a:pt x="524731" y="560150"/>
                  <a:pt x="524731" y="556727"/>
                </a:cubicBezTo>
                <a:cubicBezTo>
                  <a:pt x="524731" y="553304"/>
                  <a:pt x="527522" y="550513"/>
                  <a:pt x="530945" y="550513"/>
                </a:cubicBezTo>
                <a:cubicBezTo>
                  <a:pt x="534368" y="550513"/>
                  <a:pt x="537158" y="553304"/>
                  <a:pt x="537158" y="556727"/>
                </a:cubicBezTo>
                <a:cubicBezTo>
                  <a:pt x="537158" y="560150"/>
                  <a:pt x="534368" y="562941"/>
                  <a:pt x="530945" y="562941"/>
                </a:cubicBezTo>
                <a:close/>
                <a:moveTo>
                  <a:pt x="479488" y="791283"/>
                </a:moveTo>
                <a:cubicBezTo>
                  <a:pt x="482278" y="797051"/>
                  <a:pt x="479897" y="803971"/>
                  <a:pt x="474130" y="806799"/>
                </a:cubicBezTo>
                <a:cubicBezTo>
                  <a:pt x="472493" y="807580"/>
                  <a:pt x="470781" y="807952"/>
                  <a:pt x="469070" y="807952"/>
                </a:cubicBezTo>
                <a:cubicBezTo>
                  <a:pt x="464791" y="807952"/>
                  <a:pt x="460661" y="805534"/>
                  <a:pt x="458614" y="801441"/>
                </a:cubicBezTo>
                <a:cubicBezTo>
                  <a:pt x="453108" y="790130"/>
                  <a:pt x="439453" y="785405"/>
                  <a:pt x="428142" y="790911"/>
                </a:cubicBezTo>
                <a:cubicBezTo>
                  <a:pt x="422375" y="793702"/>
                  <a:pt x="415455" y="791320"/>
                  <a:pt x="412627" y="785553"/>
                </a:cubicBezTo>
                <a:cubicBezTo>
                  <a:pt x="409836" y="779786"/>
                  <a:pt x="412217" y="772866"/>
                  <a:pt x="417984" y="770038"/>
                </a:cubicBezTo>
                <a:cubicBezTo>
                  <a:pt x="440792" y="758950"/>
                  <a:pt x="468363" y="768475"/>
                  <a:pt x="479487" y="791283"/>
                </a:cubicBezTo>
                <a:close/>
                <a:moveTo>
                  <a:pt x="417278" y="700015"/>
                </a:moveTo>
                <a:cubicBezTo>
                  <a:pt x="417278" y="674639"/>
                  <a:pt x="437928" y="653990"/>
                  <a:pt x="463303" y="653990"/>
                </a:cubicBezTo>
                <a:cubicBezTo>
                  <a:pt x="469703" y="653990"/>
                  <a:pt x="474912" y="659162"/>
                  <a:pt x="474912" y="665599"/>
                </a:cubicBezTo>
                <a:cubicBezTo>
                  <a:pt x="474912" y="671999"/>
                  <a:pt x="469740" y="677208"/>
                  <a:pt x="463303" y="677208"/>
                </a:cubicBezTo>
                <a:cubicBezTo>
                  <a:pt x="450727" y="677208"/>
                  <a:pt x="440495" y="687440"/>
                  <a:pt x="440495" y="700016"/>
                </a:cubicBezTo>
                <a:cubicBezTo>
                  <a:pt x="440495" y="706415"/>
                  <a:pt x="435324" y="711625"/>
                  <a:pt x="428886" y="711625"/>
                </a:cubicBezTo>
                <a:cubicBezTo>
                  <a:pt x="422450" y="711625"/>
                  <a:pt x="417277" y="706453"/>
                  <a:pt x="417277" y="700016"/>
                </a:cubicBezTo>
                <a:close/>
                <a:moveTo>
                  <a:pt x="390341" y="436144"/>
                </a:moveTo>
                <a:cubicBezTo>
                  <a:pt x="393131" y="441911"/>
                  <a:pt x="390750" y="448831"/>
                  <a:pt x="384983" y="451659"/>
                </a:cubicBezTo>
                <a:cubicBezTo>
                  <a:pt x="383346" y="452440"/>
                  <a:pt x="381634" y="452812"/>
                  <a:pt x="379923" y="452812"/>
                </a:cubicBezTo>
                <a:cubicBezTo>
                  <a:pt x="375644" y="452812"/>
                  <a:pt x="371477" y="450394"/>
                  <a:pt x="369467" y="446301"/>
                </a:cubicBezTo>
                <a:cubicBezTo>
                  <a:pt x="366788" y="440832"/>
                  <a:pt x="362174" y="436702"/>
                  <a:pt x="356407" y="434730"/>
                </a:cubicBezTo>
                <a:cubicBezTo>
                  <a:pt x="350640" y="432721"/>
                  <a:pt x="344464" y="433130"/>
                  <a:pt x="338995" y="435772"/>
                </a:cubicBezTo>
                <a:cubicBezTo>
                  <a:pt x="333228" y="438563"/>
                  <a:pt x="326307" y="436181"/>
                  <a:pt x="323479" y="430414"/>
                </a:cubicBezTo>
                <a:cubicBezTo>
                  <a:pt x="320689" y="424647"/>
                  <a:pt x="323070" y="417727"/>
                  <a:pt x="328837" y="414899"/>
                </a:cubicBezTo>
                <a:cubicBezTo>
                  <a:pt x="339888" y="409504"/>
                  <a:pt x="352352" y="408760"/>
                  <a:pt x="363998" y="412778"/>
                </a:cubicBezTo>
                <a:cubicBezTo>
                  <a:pt x="375607" y="416834"/>
                  <a:pt x="384982" y="425131"/>
                  <a:pt x="390340" y="436144"/>
                </a:cubicBezTo>
                <a:close/>
                <a:moveTo>
                  <a:pt x="391829" y="348335"/>
                </a:moveTo>
                <a:cubicBezTo>
                  <a:pt x="385429" y="348335"/>
                  <a:pt x="380220" y="343163"/>
                  <a:pt x="380220" y="336726"/>
                </a:cubicBezTo>
                <a:cubicBezTo>
                  <a:pt x="380220" y="311350"/>
                  <a:pt x="400870" y="290701"/>
                  <a:pt x="426245" y="290701"/>
                </a:cubicBezTo>
                <a:cubicBezTo>
                  <a:pt x="432644" y="290701"/>
                  <a:pt x="437854" y="295873"/>
                  <a:pt x="437854" y="302310"/>
                </a:cubicBezTo>
                <a:cubicBezTo>
                  <a:pt x="437854" y="308710"/>
                  <a:pt x="432682" y="313919"/>
                  <a:pt x="426245" y="313919"/>
                </a:cubicBezTo>
                <a:cubicBezTo>
                  <a:pt x="413669" y="313919"/>
                  <a:pt x="403437" y="324151"/>
                  <a:pt x="403437" y="336727"/>
                </a:cubicBezTo>
                <a:cubicBezTo>
                  <a:pt x="403400" y="343126"/>
                  <a:pt x="398228" y="348336"/>
                  <a:pt x="391828" y="348336"/>
                </a:cubicBezTo>
                <a:close/>
                <a:moveTo>
                  <a:pt x="159771" y="143138"/>
                </a:moveTo>
                <a:cubicBezTo>
                  <a:pt x="182579" y="132050"/>
                  <a:pt x="210150" y="141575"/>
                  <a:pt x="221274" y="164383"/>
                </a:cubicBezTo>
                <a:cubicBezTo>
                  <a:pt x="224065" y="170150"/>
                  <a:pt x="221683" y="177070"/>
                  <a:pt x="215916" y="179898"/>
                </a:cubicBezTo>
                <a:cubicBezTo>
                  <a:pt x="214279" y="180680"/>
                  <a:pt x="212568" y="181052"/>
                  <a:pt x="210856" y="181052"/>
                </a:cubicBezTo>
                <a:cubicBezTo>
                  <a:pt x="206577" y="181052"/>
                  <a:pt x="202410" y="178633"/>
                  <a:pt x="200401" y="174541"/>
                </a:cubicBezTo>
                <a:cubicBezTo>
                  <a:pt x="194894" y="163230"/>
                  <a:pt x="181239" y="158504"/>
                  <a:pt x="169928" y="164011"/>
                </a:cubicBezTo>
                <a:cubicBezTo>
                  <a:pt x="164161" y="166801"/>
                  <a:pt x="157241" y="164420"/>
                  <a:pt x="154413" y="158653"/>
                </a:cubicBezTo>
                <a:cubicBezTo>
                  <a:pt x="151622" y="152886"/>
                  <a:pt x="154041" y="145966"/>
                  <a:pt x="159771" y="143138"/>
                </a:cubicBezTo>
                <a:close/>
                <a:moveTo>
                  <a:pt x="210075" y="539987"/>
                </a:moveTo>
                <a:cubicBezTo>
                  <a:pt x="216474" y="539987"/>
                  <a:pt x="221684" y="545159"/>
                  <a:pt x="221684" y="551596"/>
                </a:cubicBezTo>
                <a:cubicBezTo>
                  <a:pt x="221684" y="557996"/>
                  <a:pt x="216512" y="563205"/>
                  <a:pt x="210075" y="563205"/>
                </a:cubicBezTo>
                <a:cubicBezTo>
                  <a:pt x="197499" y="563205"/>
                  <a:pt x="187267" y="573437"/>
                  <a:pt x="187267" y="586013"/>
                </a:cubicBezTo>
                <a:cubicBezTo>
                  <a:pt x="187267" y="592413"/>
                  <a:pt x="182095" y="597622"/>
                  <a:pt x="175658" y="597622"/>
                </a:cubicBezTo>
                <a:cubicBezTo>
                  <a:pt x="169258" y="597622"/>
                  <a:pt x="164049" y="592450"/>
                  <a:pt x="164049" y="586013"/>
                </a:cubicBezTo>
                <a:cubicBezTo>
                  <a:pt x="164086" y="560637"/>
                  <a:pt x="184699" y="539988"/>
                  <a:pt x="210074" y="539988"/>
                </a:cubicBezTo>
                <a:close/>
                <a:moveTo>
                  <a:pt x="68543" y="630102"/>
                </a:moveTo>
                <a:cubicBezTo>
                  <a:pt x="62776" y="632893"/>
                  <a:pt x="55855" y="630512"/>
                  <a:pt x="53027" y="624744"/>
                </a:cubicBezTo>
                <a:cubicBezTo>
                  <a:pt x="50237" y="618977"/>
                  <a:pt x="52618" y="612057"/>
                  <a:pt x="58385" y="609229"/>
                </a:cubicBezTo>
                <a:cubicBezTo>
                  <a:pt x="81193" y="598141"/>
                  <a:pt x="108764" y="607667"/>
                  <a:pt x="119888" y="630475"/>
                </a:cubicBezTo>
                <a:cubicBezTo>
                  <a:pt x="122679" y="636242"/>
                  <a:pt x="120297" y="643162"/>
                  <a:pt x="114530" y="645990"/>
                </a:cubicBezTo>
                <a:cubicBezTo>
                  <a:pt x="112893" y="646771"/>
                  <a:pt x="111182" y="647143"/>
                  <a:pt x="109470" y="647143"/>
                </a:cubicBezTo>
                <a:cubicBezTo>
                  <a:pt x="105191" y="647143"/>
                  <a:pt x="101061" y="644725"/>
                  <a:pt x="99015" y="640632"/>
                </a:cubicBezTo>
                <a:cubicBezTo>
                  <a:pt x="93508" y="629321"/>
                  <a:pt x="79853" y="624596"/>
                  <a:pt x="68542" y="630102"/>
                </a:cubicBezTo>
                <a:close/>
                <a:moveTo>
                  <a:pt x="552565" y="811973"/>
                </a:moveTo>
                <a:cubicBezTo>
                  <a:pt x="552565" y="818372"/>
                  <a:pt x="547393" y="823582"/>
                  <a:pt x="540956" y="823582"/>
                </a:cubicBezTo>
                <a:cubicBezTo>
                  <a:pt x="528380" y="823582"/>
                  <a:pt x="518148" y="833813"/>
                  <a:pt x="518148" y="846389"/>
                </a:cubicBezTo>
                <a:cubicBezTo>
                  <a:pt x="518148" y="852789"/>
                  <a:pt x="512977" y="857998"/>
                  <a:pt x="506539" y="857998"/>
                </a:cubicBezTo>
                <a:cubicBezTo>
                  <a:pt x="500140" y="857998"/>
                  <a:pt x="494930" y="852827"/>
                  <a:pt x="494930" y="846389"/>
                </a:cubicBezTo>
                <a:cubicBezTo>
                  <a:pt x="494930" y="821014"/>
                  <a:pt x="515581" y="800365"/>
                  <a:pt x="540955" y="800365"/>
                </a:cubicBezTo>
                <a:cubicBezTo>
                  <a:pt x="547392" y="800365"/>
                  <a:pt x="552564" y="805574"/>
                  <a:pt x="552564" y="811974"/>
                </a:cubicBezTo>
                <a:close/>
                <a:moveTo>
                  <a:pt x="127702" y="705074"/>
                </a:moveTo>
                <a:cubicBezTo>
                  <a:pt x="127702" y="711473"/>
                  <a:pt x="122531" y="716683"/>
                  <a:pt x="116093" y="716683"/>
                </a:cubicBezTo>
                <a:cubicBezTo>
                  <a:pt x="103518" y="716683"/>
                  <a:pt x="93286" y="726914"/>
                  <a:pt x="93286" y="739490"/>
                </a:cubicBezTo>
                <a:cubicBezTo>
                  <a:pt x="93286" y="745890"/>
                  <a:pt x="88114" y="751099"/>
                  <a:pt x="81677" y="751099"/>
                </a:cubicBezTo>
                <a:cubicBezTo>
                  <a:pt x="75277" y="751099"/>
                  <a:pt x="70068" y="745928"/>
                  <a:pt x="70068" y="739490"/>
                </a:cubicBezTo>
                <a:cubicBezTo>
                  <a:pt x="70068" y="714115"/>
                  <a:pt x="90718" y="693465"/>
                  <a:pt x="116092" y="693465"/>
                </a:cubicBezTo>
                <a:cubicBezTo>
                  <a:pt x="122529" y="693503"/>
                  <a:pt x="127702" y="698674"/>
                  <a:pt x="127702" y="705075"/>
                </a:cubicBezTo>
                <a:close/>
                <a:moveTo>
                  <a:pt x="109620" y="99007"/>
                </a:moveTo>
                <a:cubicBezTo>
                  <a:pt x="109620" y="73632"/>
                  <a:pt x="130270" y="52983"/>
                  <a:pt x="155645" y="52983"/>
                </a:cubicBezTo>
                <a:cubicBezTo>
                  <a:pt x="162045" y="52983"/>
                  <a:pt x="167254" y="58154"/>
                  <a:pt x="167254" y="64592"/>
                </a:cubicBezTo>
                <a:cubicBezTo>
                  <a:pt x="167254" y="70991"/>
                  <a:pt x="162082" y="76201"/>
                  <a:pt x="155645" y="76201"/>
                </a:cubicBezTo>
                <a:cubicBezTo>
                  <a:pt x="143069" y="76201"/>
                  <a:pt x="132837" y="86432"/>
                  <a:pt x="132837" y="99008"/>
                </a:cubicBezTo>
                <a:cubicBezTo>
                  <a:pt x="132837" y="105408"/>
                  <a:pt x="127666" y="110617"/>
                  <a:pt x="121228" y="110617"/>
                </a:cubicBezTo>
                <a:cubicBezTo>
                  <a:pt x="114829" y="110617"/>
                  <a:pt x="109619" y="105446"/>
                  <a:pt x="109619" y="99008"/>
                </a:cubicBezTo>
                <a:close/>
              </a:path>
            </a:pathLst>
          </a:custGeom>
          <a:solidFill>
            <a:schemeClr val="bg1"/>
          </a:solidFill>
          <a:ln w="9525" cap="flat">
            <a:noFill/>
            <a:prstDash val="solid"/>
            <a:miter/>
          </a:ln>
        </p:spPr>
        <p:txBody>
          <a:bodyPr rtlCol="0" anchor="ctr"/>
          <a:lstStyle/>
          <a:p>
            <a:endParaRPr lang="pt-BR"/>
          </a:p>
        </p:txBody>
      </p:sp>
    </p:spTree>
    <p:extLst>
      <p:ext uri="{BB962C8B-B14F-4D97-AF65-F5344CB8AC3E}">
        <p14:creationId xmlns:p14="http://schemas.microsoft.com/office/powerpoint/2010/main" val="67618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childTnLst>
                          </p:cTn>
                        </p:par>
                        <p:par>
                          <p:cTn id="19" fill="hold">
                            <p:stCondLst>
                              <p:cond delay="1750"/>
                            </p:stCondLst>
                            <p:childTnLst>
                              <p:par>
                                <p:cTn id="20" presetID="10" presetClass="entr" presetSubtype="0" fill="hold" grpId="0" nodeType="after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2250"/>
                            </p:stCondLst>
                            <p:childTnLst>
                              <p:par>
                                <p:cTn id="24" presetID="10" presetClass="entr" presetSubtype="0"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53" presetClass="entr" presetSubtype="16" fill="hold" grpId="0" nodeType="withEffect">
                                  <p:stCondLst>
                                    <p:cond delay="1000"/>
                                  </p:stCondLst>
                                  <p:childTnLst>
                                    <p:set>
                                      <p:cBhvr>
                                        <p:cTn id="37" dur="1" fill="hold">
                                          <p:stCondLst>
                                            <p:cond delay="0"/>
                                          </p:stCondLst>
                                        </p:cTn>
                                        <p:tgtEl>
                                          <p:spTgt spid="33"/>
                                        </p:tgtEl>
                                        <p:attrNameLst>
                                          <p:attrName>style.visibility</p:attrName>
                                        </p:attrNameLst>
                                      </p:cBhvr>
                                      <p:to>
                                        <p:strVal val="visible"/>
                                      </p:to>
                                    </p:set>
                                    <p:anim calcmode="lin" valueType="num">
                                      <p:cBhvr>
                                        <p:cTn id="38" dur="500" fill="hold"/>
                                        <p:tgtEl>
                                          <p:spTgt spid="33"/>
                                        </p:tgtEl>
                                        <p:attrNameLst>
                                          <p:attrName>ppt_w</p:attrName>
                                        </p:attrNameLst>
                                      </p:cBhvr>
                                      <p:tavLst>
                                        <p:tav tm="0">
                                          <p:val>
                                            <p:fltVal val="0"/>
                                          </p:val>
                                        </p:tav>
                                        <p:tav tm="100000">
                                          <p:val>
                                            <p:strVal val="#ppt_w"/>
                                          </p:val>
                                        </p:tav>
                                      </p:tavLst>
                                    </p:anim>
                                    <p:anim calcmode="lin" valueType="num">
                                      <p:cBhvr>
                                        <p:cTn id="39" dur="500" fill="hold"/>
                                        <p:tgtEl>
                                          <p:spTgt spid="33"/>
                                        </p:tgtEl>
                                        <p:attrNameLst>
                                          <p:attrName>ppt_h</p:attrName>
                                        </p:attrNameLst>
                                      </p:cBhvr>
                                      <p:tavLst>
                                        <p:tav tm="0">
                                          <p:val>
                                            <p:fltVal val="0"/>
                                          </p:val>
                                        </p:tav>
                                        <p:tav tm="100000">
                                          <p:val>
                                            <p:strVal val="#ppt_h"/>
                                          </p:val>
                                        </p:tav>
                                      </p:tavLst>
                                    </p:anim>
                                    <p:animEffect transition="in" filter="fade">
                                      <p:cBhvr>
                                        <p:cTn id="40" dur="500"/>
                                        <p:tgtEl>
                                          <p:spTgt spid="33"/>
                                        </p:tgtEl>
                                      </p:cBhvr>
                                    </p:animEffect>
                                  </p:childTnLst>
                                </p:cTn>
                              </p:par>
                              <p:par>
                                <p:cTn id="41" presetID="53" presetClass="entr" presetSubtype="16" fill="hold" grpId="0" nodeType="withEffect">
                                  <p:stCondLst>
                                    <p:cond delay="1000"/>
                                  </p:stCondLst>
                                  <p:childTnLst>
                                    <p:set>
                                      <p:cBhvr>
                                        <p:cTn id="42" dur="1" fill="hold">
                                          <p:stCondLst>
                                            <p:cond delay="0"/>
                                          </p:stCondLst>
                                        </p:cTn>
                                        <p:tgtEl>
                                          <p:spTgt spid="36"/>
                                        </p:tgtEl>
                                        <p:attrNameLst>
                                          <p:attrName>style.visibility</p:attrName>
                                        </p:attrNameLst>
                                      </p:cBhvr>
                                      <p:to>
                                        <p:strVal val="visible"/>
                                      </p:to>
                                    </p:set>
                                    <p:anim calcmode="lin" valueType="num">
                                      <p:cBhvr>
                                        <p:cTn id="43" dur="500" fill="hold"/>
                                        <p:tgtEl>
                                          <p:spTgt spid="36"/>
                                        </p:tgtEl>
                                        <p:attrNameLst>
                                          <p:attrName>ppt_w</p:attrName>
                                        </p:attrNameLst>
                                      </p:cBhvr>
                                      <p:tavLst>
                                        <p:tav tm="0">
                                          <p:val>
                                            <p:fltVal val="0"/>
                                          </p:val>
                                        </p:tav>
                                        <p:tav tm="100000">
                                          <p:val>
                                            <p:strVal val="#ppt_w"/>
                                          </p:val>
                                        </p:tav>
                                      </p:tavLst>
                                    </p:anim>
                                    <p:anim calcmode="lin" valueType="num">
                                      <p:cBhvr>
                                        <p:cTn id="44" dur="500" fill="hold"/>
                                        <p:tgtEl>
                                          <p:spTgt spid="36"/>
                                        </p:tgtEl>
                                        <p:attrNameLst>
                                          <p:attrName>ppt_h</p:attrName>
                                        </p:attrNameLst>
                                      </p:cBhvr>
                                      <p:tavLst>
                                        <p:tav tm="0">
                                          <p:val>
                                            <p:fltVal val="0"/>
                                          </p:val>
                                        </p:tav>
                                        <p:tav tm="100000">
                                          <p:val>
                                            <p:strVal val="#ppt_h"/>
                                          </p:val>
                                        </p:tav>
                                      </p:tavLst>
                                    </p:anim>
                                    <p:animEffect transition="in" filter="fade">
                                      <p:cBhvr>
                                        <p:cTn id="45" dur="500"/>
                                        <p:tgtEl>
                                          <p:spTgt spid="36"/>
                                        </p:tgtEl>
                                      </p:cBhvr>
                                    </p:animEffect>
                                  </p:childTnLst>
                                </p:cTn>
                              </p:par>
                              <p:par>
                                <p:cTn id="46" presetID="53" presetClass="entr" presetSubtype="16" fill="hold" grpId="0" nodeType="withEffect">
                                  <p:stCondLst>
                                    <p:cond delay="1000"/>
                                  </p:stCondLst>
                                  <p:childTnLst>
                                    <p:set>
                                      <p:cBhvr>
                                        <p:cTn id="47" dur="1" fill="hold">
                                          <p:stCondLst>
                                            <p:cond delay="0"/>
                                          </p:stCondLst>
                                        </p:cTn>
                                        <p:tgtEl>
                                          <p:spTgt spid="39"/>
                                        </p:tgtEl>
                                        <p:attrNameLst>
                                          <p:attrName>style.visibility</p:attrName>
                                        </p:attrNameLst>
                                      </p:cBhvr>
                                      <p:to>
                                        <p:strVal val="visible"/>
                                      </p:to>
                                    </p:set>
                                    <p:anim calcmode="lin" valueType="num">
                                      <p:cBhvr>
                                        <p:cTn id="48" dur="500" fill="hold"/>
                                        <p:tgtEl>
                                          <p:spTgt spid="39"/>
                                        </p:tgtEl>
                                        <p:attrNameLst>
                                          <p:attrName>ppt_w</p:attrName>
                                        </p:attrNameLst>
                                      </p:cBhvr>
                                      <p:tavLst>
                                        <p:tav tm="0">
                                          <p:val>
                                            <p:fltVal val="0"/>
                                          </p:val>
                                        </p:tav>
                                        <p:tav tm="100000">
                                          <p:val>
                                            <p:strVal val="#ppt_w"/>
                                          </p:val>
                                        </p:tav>
                                      </p:tavLst>
                                    </p:anim>
                                    <p:anim calcmode="lin" valueType="num">
                                      <p:cBhvr>
                                        <p:cTn id="49" dur="500" fill="hold"/>
                                        <p:tgtEl>
                                          <p:spTgt spid="39"/>
                                        </p:tgtEl>
                                        <p:attrNameLst>
                                          <p:attrName>ppt_h</p:attrName>
                                        </p:attrNameLst>
                                      </p:cBhvr>
                                      <p:tavLst>
                                        <p:tav tm="0">
                                          <p:val>
                                            <p:fltVal val="0"/>
                                          </p:val>
                                        </p:tav>
                                        <p:tav tm="100000">
                                          <p:val>
                                            <p:strVal val="#ppt_h"/>
                                          </p:val>
                                        </p:tav>
                                      </p:tavLst>
                                    </p:anim>
                                    <p:animEffect transition="in" filter="fade">
                                      <p:cBhvr>
                                        <p:cTn id="50" dur="500"/>
                                        <p:tgtEl>
                                          <p:spTgt spid="39"/>
                                        </p:tgtEl>
                                      </p:cBhvr>
                                    </p:animEffect>
                                  </p:childTnLst>
                                </p:cTn>
                              </p:par>
                              <p:par>
                                <p:cTn id="51" presetID="53" presetClass="entr" presetSubtype="16" fill="hold" grpId="0" nodeType="withEffect">
                                  <p:stCondLst>
                                    <p:cond delay="1000"/>
                                  </p:stCondLst>
                                  <p:childTnLst>
                                    <p:set>
                                      <p:cBhvr>
                                        <p:cTn id="52" dur="1" fill="hold">
                                          <p:stCondLst>
                                            <p:cond delay="0"/>
                                          </p:stCondLst>
                                        </p:cTn>
                                        <p:tgtEl>
                                          <p:spTgt spid="42"/>
                                        </p:tgtEl>
                                        <p:attrNameLst>
                                          <p:attrName>style.visibility</p:attrName>
                                        </p:attrNameLst>
                                      </p:cBhvr>
                                      <p:to>
                                        <p:strVal val="visible"/>
                                      </p:to>
                                    </p:set>
                                    <p:anim calcmode="lin" valueType="num">
                                      <p:cBhvr>
                                        <p:cTn id="53" dur="500" fill="hold"/>
                                        <p:tgtEl>
                                          <p:spTgt spid="42"/>
                                        </p:tgtEl>
                                        <p:attrNameLst>
                                          <p:attrName>ppt_w</p:attrName>
                                        </p:attrNameLst>
                                      </p:cBhvr>
                                      <p:tavLst>
                                        <p:tav tm="0">
                                          <p:val>
                                            <p:fltVal val="0"/>
                                          </p:val>
                                        </p:tav>
                                        <p:tav tm="100000">
                                          <p:val>
                                            <p:strVal val="#ppt_w"/>
                                          </p:val>
                                        </p:tav>
                                      </p:tavLst>
                                    </p:anim>
                                    <p:anim calcmode="lin" valueType="num">
                                      <p:cBhvr>
                                        <p:cTn id="54" dur="500" fill="hold"/>
                                        <p:tgtEl>
                                          <p:spTgt spid="42"/>
                                        </p:tgtEl>
                                        <p:attrNameLst>
                                          <p:attrName>ppt_h</p:attrName>
                                        </p:attrNameLst>
                                      </p:cBhvr>
                                      <p:tavLst>
                                        <p:tav tm="0">
                                          <p:val>
                                            <p:fltVal val="0"/>
                                          </p:val>
                                        </p:tav>
                                        <p:tav tm="100000">
                                          <p:val>
                                            <p:strVal val="#ppt_h"/>
                                          </p:val>
                                        </p:tav>
                                      </p:tavLst>
                                    </p:anim>
                                    <p:animEffect transition="in" filter="fade">
                                      <p:cBhvr>
                                        <p:cTn id="55" dur="500"/>
                                        <p:tgtEl>
                                          <p:spTgt spid="42"/>
                                        </p:tgtEl>
                                      </p:cBhvr>
                                    </p:animEffect>
                                  </p:childTnLst>
                                </p:cTn>
                              </p:par>
                              <p:par>
                                <p:cTn id="56" presetID="53" presetClass="entr" presetSubtype="16" fill="hold" grpId="0" nodeType="withEffect">
                                  <p:stCondLst>
                                    <p:cond delay="1000"/>
                                  </p:stCondLst>
                                  <p:childTnLst>
                                    <p:set>
                                      <p:cBhvr>
                                        <p:cTn id="57" dur="1" fill="hold">
                                          <p:stCondLst>
                                            <p:cond delay="0"/>
                                          </p:stCondLst>
                                        </p:cTn>
                                        <p:tgtEl>
                                          <p:spTgt spid="63"/>
                                        </p:tgtEl>
                                        <p:attrNameLst>
                                          <p:attrName>style.visibility</p:attrName>
                                        </p:attrNameLst>
                                      </p:cBhvr>
                                      <p:to>
                                        <p:strVal val="visible"/>
                                      </p:to>
                                    </p:set>
                                    <p:anim calcmode="lin" valueType="num">
                                      <p:cBhvr>
                                        <p:cTn id="58" dur="500" fill="hold"/>
                                        <p:tgtEl>
                                          <p:spTgt spid="63"/>
                                        </p:tgtEl>
                                        <p:attrNameLst>
                                          <p:attrName>ppt_w</p:attrName>
                                        </p:attrNameLst>
                                      </p:cBhvr>
                                      <p:tavLst>
                                        <p:tav tm="0">
                                          <p:val>
                                            <p:fltVal val="0"/>
                                          </p:val>
                                        </p:tav>
                                        <p:tav tm="100000">
                                          <p:val>
                                            <p:strVal val="#ppt_w"/>
                                          </p:val>
                                        </p:tav>
                                      </p:tavLst>
                                    </p:anim>
                                    <p:anim calcmode="lin" valueType="num">
                                      <p:cBhvr>
                                        <p:cTn id="59" dur="500" fill="hold"/>
                                        <p:tgtEl>
                                          <p:spTgt spid="63"/>
                                        </p:tgtEl>
                                        <p:attrNameLst>
                                          <p:attrName>ppt_h</p:attrName>
                                        </p:attrNameLst>
                                      </p:cBhvr>
                                      <p:tavLst>
                                        <p:tav tm="0">
                                          <p:val>
                                            <p:fltVal val="0"/>
                                          </p:val>
                                        </p:tav>
                                        <p:tav tm="100000">
                                          <p:val>
                                            <p:strVal val="#ppt_h"/>
                                          </p:val>
                                        </p:tav>
                                      </p:tavLst>
                                    </p:anim>
                                    <p:animEffect transition="in" filter="fade">
                                      <p:cBhvr>
                                        <p:cTn id="60" dur="500"/>
                                        <p:tgtEl>
                                          <p:spTgt spid="63"/>
                                        </p:tgtEl>
                                      </p:cBhvr>
                                    </p:animEffect>
                                  </p:childTnLst>
                                </p:cTn>
                              </p:par>
                              <p:par>
                                <p:cTn id="61" presetID="53" presetClass="entr" presetSubtype="16" fill="hold" nodeType="withEffect">
                                  <p:stCondLst>
                                    <p:cond delay="1000"/>
                                  </p:stCondLst>
                                  <p:childTnLst>
                                    <p:set>
                                      <p:cBhvr>
                                        <p:cTn id="62" dur="1" fill="hold">
                                          <p:stCondLst>
                                            <p:cond delay="0"/>
                                          </p:stCondLst>
                                        </p:cTn>
                                        <p:tgtEl>
                                          <p:spTgt spid="89"/>
                                        </p:tgtEl>
                                        <p:attrNameLst>
                                          <p:attrName>style.visibility</p:attrName>
                                        </p:attrNameLst>
                                      </p:cBhvr>
                                      <p:to>
                                        <p:strVal val="visible"/>
                                      </p:to>
                                    </p:set>
                                    <p:anim calcmode="lin" valueType="num">
                                      <p:cBhvr>
                                        <p:cTn id="63" dur="500" fill="hold"/>
                                        <p:tgtEl>
                                          <p:spTgt spid="89"/>
                                        </p:tgtEl>
                                        <p:attrNameLst>
                                          <p:attrName>ppt_w</p:attrName>
                                        </p:attrNameLst>
                                      </p:cBhvr>
                                      <p:tavLst>
                                        <p:tav tm="0">
                                          <p:val>
                                            <p:fltVal val="0"/>
                                          </p:val>
                                        </p:tav>
                                        <p:tav tm="100000">
                                          <p:val>
                                            <p:strVal val="#ppt_w"/>
                                          </p:val>
                                        </p:tav>
                                      </p:tavLst>
                                    </p:anim>
                                    <p:anim calcmode="lin" valueType="num">
                                      <p:cBhvr>
                                        <p:cTn id="64" dur="500" fill="hold"/>
                                        <p:tgtEl>
                                          <p:spTgt spid="89"/>
                                        </p:tgtEl>
                                        <p:attrNameLst>
                                          <p:attrName>ppt_h</p:attrName>
                                        </p:attrNameLst>
                                      </p:cBhvr>
                                      <p:tavLst>
                                        <p:tav tm="0">
                                          <p:val>
                                            <p:fltVal val="0"/>
                                          </p:val>
                                        </p:tav>
                                        <p:tav tm="100000">
                                          <p:val>
                                            <p:strVal val="#ppt_h"/>
                                          </p:val>
                                        </p:tav>
                                      </p:tavLst>
                                    </p:anim>
                                    <p:animEffect transition="in" filter="fade">
                                      <p:cBhvr>
                                        <p:cTn id="65" dur="500"/>
                                        <p:tgtEl>
                                          <p:spTgt spid="89"/>
                                        </p:tgtEl>
                                      </p:cBhvr>
                                    </p:animEffect>
                                  </p:childTnLst>
                                </p:cTn>
                              </p:par>
                              <p:par>
                                <p:cTn id="66" presetID="53" presetClass="entr" presetSubtype="16" fill="hold" nodeType="withEffect">
                                  <p:stCondLst>
                                    <p:cond delay="1000"/>
                                  </p:stCondLst>
                                  <p:childTnLst>
                                    <p:set>
                                      <p:cBhvr>
                                        <p:cTn id="67" dur="1" fill="hold">
                                          <p:stCondLst>
                                            <p:cond delay="0"/>
                                          </p:stCondLst>
                                        </p:cTn>
                                        <p:tgtEl>
                                          <p:spTgt spid="79"/>
                                        </p:tgtEl>
                                        <p:attrNameLst>
                                          <p:attrName>style.visibility</p:attrName>
                                        </p:attrNameLst>
                                      </p:cBhvr>
                                      <p:to>
                                        <p:strVal val="visible"/>
                                      </p:to>
                                    </p:set>
                                    <p:anim calcmode="lin" valueType="num">
                                      <p:cBhvr>
                                        <p:cTn id="68" dur="500" fill="hold"/>
                                        <p:tgtEl>
                                          <p:spTgt spid="79"/>
                                        </p:tgtEl>
                                        <p:attrNameLst>
                                          <p:attrName>ppt_w</p:attrName>
                                        </p:attrNameLst>
                                      </p:cBhvr>
                                      <p:tavLst>
                                        <p:tav tm="0">
                                          <p:val>
                                            <p:fltVal val="0"/>
                                          </p:val>
                                        </p:tav>
                                        <p:tav tm="100000">
                                          <p:val>
                                            <p:strVal val="#ppt_w"/>
                                          </p:val>
                                        </p:tav>
                                      </p:tavLst>
                                    </p:anim>
                                    <p:anim calcmode="lin" valueType="num">
                                      <p:cBhvr>
                                        <p:cTn id="69" dur="500" fill="hold"/>
                                        <p:tgtEl>
                                          <p:spTgt spid="79"/>
                                        </p:tgtEl>
                                        <p:attrNameLst>
                                          <p:attrName>ppt_h</p:attrName>
                                        </p:attrNameLst>
                                      </p:cBhvr>
                                      <p:tavLst>
                                        <p:tav tm="0">
                                          <p:val>
                                            <p:fltVal val="0"/>
                                          </p:val>
                                        </p:tav>
                                        <p:tav tm="100000">
                                          <p:val>
                                            <p:strVal val="#ppt_h"/>
                                          </p:val>
                                        </p:tav>
                                      </p:tavLst>
                                    </p:anim>
                                    <p:animEffect transition="in" filter="fade">
                                      <p:cBhvr>
                                        <p:cTn id="70" dur="500"/>
                                        <p:tgtEl>
                                          <p:spTgt spid="79"/>
                                        </p:tgtEl>
                                      </p:cBhvr>
                                    </p:animEffect>
                                  </p:childTnLst>
                                </p:cTn>
                              </p:par>
                              <p:par>
                                <p:cTn id="71" presetID="53" presetClass="entr" presetSubtype="16" fill="hold" grpId="0" nodeType="withEffect">
                                  <p:stCondLst>
                                    <p:cond delay="1000"/>
                                  </p:stCondLst>
                                  <p:childTnLst>
                                    <p:set>
                                      <p:cBhvr>
                                        <p:cTn id="72" dur="1" fill="hold">
                                          <p:stCondLst>
                                            <p:cond delay="0"/>
                                          </p:stCondLst>
                                        </p:cTn>
                                        <p:tgtEl>
                                          <p:spTgt spid="86"/>
                                        </p:tgtEl>
                                        <p:attrNameLst>
                                          <p:attrName>style.visibility</p:attrName>
                                        </p:attrNameLst>
                                      </p:cBhvr>
                                      <p:to>
                                        <p:strVal val="visible"/>
                                      </p:to>
                                    </p:set>
                                    <p:anim calcmode="lin" valueType="num">
                                      <p:cBhvr>
                                        <p:cTn id="73" dur="500" fill="hold"/>
                                        <p:tgtEl>
                                          <p:spTgt spid="86"/>
                                        </p:tgtEl>
                                        <p:attrNameLst>
                                          <p:attrName>ppt_w</p:attrName>
                                        </p:attrNameLst>
                                      </p:cBhvr>
                                      <p:tavLst>
                                        <p:tav tm="0">
                                          <p:val>
                                            <p:fltVal val="0"/>
                                          </p:val>
                                        </p:tav>
                                        <p:tav tm="100000">
                                          <p:val>
                                            <p:strVal val="#ppt_w"/>
                                          </p:val>
                                        </p:tav>
                                      </p:tavLst>
                                    </p:anim>
                                    <p:anim calcmode="lin" valueType="num">
                                      <p:cBhvr>
                                        <p:cTn id="74" dur="500" fill="hold"/>
                                        <p:tgtEl>
                                          <p:spTgt spid="86"/>
                                        </p:tgtEl>
                                        <p:attrNameLst>
                                          <p:attrName>ppt_h</p:attrName>
                                        </p:attrNameLst>
                                      </p:cBhvr>
                                      <p:tavLst>
                                        <p:tav tm="0">
                                          <p:val>
                                            <p:fltVal val="0"/>
                                          </p:val>
                                        </p:tav>
                                        <p:tav tm="100000">
                                          <p:val>
                                            <p:strVal val="#ppt_h"/>
                                          </p:val>
                                        </p:tav>
                                      </p:tavLst>
                                    </p:anim>
                                    <p:animEffect transition="in" filter="fade">
                                      <p:cBhvr>
                                        <p:cTn id="75" dur="500"/>
                                        <p:tgtEl>
                                          <p:spTgt spid="86"/>
                                        </p:tgtEl>
                                      </p:cBhvr>
                                    </p:animEffect>
                                  </p:childTnLst>
                                </p:cTn>
                              </p:par>
                              <p:par>
                                <p:cTn id="76" presetID="10" presetClass="entr" presetSubtype="0" fill="hold" grpId="0" nodeType="withEffect">
                                  <p:stCondLst>
                                    <p:cond delay="1250"/>
                                  </p:stCondLst>
                                  <p:childTnLst>
                                    <p:set>
                                      <p:cBhvr>
                                        <p:cTn id="77" dur="1" fill="hold">
                                          <p:stCondLst>
                                            <p:cond delay="0"/>
                                          </p:stCondLst>
                                        </p:cTn>
                                        <p:tgtEl>
                                          <p:spTgt spid="20"/>
                                        </p:tgtEl>
                                        <p:attrNameLst>
                                          <p:attrName>style.visibility</p:attrName>
                                        </p:attrNameLst>
                                      </p:cBhvr>
                                      <p:to>
                                        <p:strVal val="visible"/>
                                      </p:to>
                                    </p:set>
                                    <p:animEffect transition="in" filter="fade">
                                      <p:cBhvr>
                                        <p:cTn id="78" dur="500"/>
                                        <p:tgtEl>
                                          <p:spTgt spid="20"/>
                                        </p:tgtEl>
                                      </p:cBhvr>
                                    </p:animEffect>
                                  </p:childTnLst>
                                </p:cTn>
                              </p:par>
                              <p:par>
                                <p:cTn id="79" presetID="10" presetClass="entr" presetSubtype="0" fill="hold" grpId="0" nodeType="withEffect">
                                  <p:stCondLst>
                                    <p:cond delay="1250"/>
                                  </p:stCondLst>
                                  <p:childTnLst>
                                    <p:set>
                                      <p:cBhvr>
                                        <p:cTn id="80" dur="1" fill="hold">
                                          <p:stCondLst>
                                            <p:cond delay="0"/>
                                          </p:stCondLst>
                                        </p:cTn>
                                        <p:tgtEl>
                                          <p:spTgt spid="9"/>
                                        </p:tgtEl>
                                        <p:attrNameLst>
                                          <p:attrName>style.visibility</p:attrName>
                                        </p:attrNameLst>
                                      </p:cBhvr>
                                      <p:to>
                                        <p:strVal val="visible"/>
                                      </p:to>
                                    </p:set>
                                    <p:animEffect transition="in" filter="fade">
                                      <p:cBhvr>
                                        <p:cTn id="81" dur="500"/>
                                        <p:tgtEl>
                                          <p:spTgt spid="9"/>
                                        </p:tgtEl>
                                      </p:cBhvr>
                                    </p:animEffect>
                                  </p:childTnLst>
                                </p:cTn>
                              </p:par>
                              <p:par>
                                <p:cTn id="82" presetID="10" presetClass="entr" presetSubtype="0" fill="hold" grpId="0" nodeType="withEffect">
                                  <p:stCondLst>
                                    <p:cond delay="1250"/>
                                  </p:stCondLst>
                                  <p:childTnLst>
                                    <p:set>
                                      <p:cBhvr>
                                        <p:cTn id="83" dur="1" fill="hold">
                                          <p:stCondLst>
                                            <p:cond delay="0"/>
                                          </p:stCondLst>
                                        </p:cTn>
                                        <p:tgtEl>
                                          <p:spTgt spid="10"/>
                                        </p:tgtEl>
                                        <p:attrNameLst>
                                          <p:attrName>style.visibility</p:attrName>
                                        </p:attrNameLst>
                                      </p:cBhvr>
                                      <p:to>
                                        <p:strVal val="visible"/>
                                      </p:to>
                                    </p:set>
                                    <p:animEffect transition="in" filter="fade">
                                      <p:cBhvr>
                                        <p:cTn id="84" dur="500"/>
                                        <p:tgtEl>
                                          <p:spTgt spid="10"/>
                                        </p:tgtEl>
                                      </p:cBhvr>
                                    </p:animEffect>
                                  </p:childTnLst>
                                </p:cTn>
                              </p:par>
                              <p:par>
                                <p:cTn id="85" presetID="10" presetClass="entr" presetSubtype="0" fill="hold" grpId="0" nodeType="withEffect">
                                  <p:stCondLst>
                                    <p:cond delay="1250"/>
                                  </p:stCondLst>
                                  <p:childTnLst>
                                    <p:set>
                                      <p:cBhvr>
                                        <p:cTn id="86" dur="1" fill="hold">
                                          <p:stCondLst>
                                            <p:cond delay="0"/>
                                          </p:stCondLst>
                                        </p:cTn>
                                        <p:tgtEl>
                                          <p:spTgt spid="32"/>
                                        </p:tgtEl>
                                        <p:attrNameLst>
                                          <p:attrName>style.visibility</p:attrName>
                                        </p:attrNameLst>
                                      </p:cBhvr>
                                      <p:to>
                                        <p:strVal val="visible"/>
                                      </p:to>
                                    </p:set>
                                    <p:animEffect transition="in" filter="fade">
                                      <p:cBhvr>
                                        <p:cTn id="8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4" grpId="0" animBg="1"/>
      <p:bldP spid="15" grpId="0" animBg="1"/>
      <p:bldP spid="16" grpId="0" animBg="1"/>
      <p:bldP spid="20" grpId="0"/>
      <p:bldP spid="33" grpId="0" animBg="1"/>
      <p:bldP spid="36" grpId="0" animBg="1"/>
      <p:bldP spid="39" grpId="0" animBg="1"/>
      <p:bldP spid="42" grpId="0" animBg="1"/>
      <p:bldP spid="9" grpId="0"/>
      <p:bldP spid="10" grpId="0"/>
      <p:bldP spid="32" grpId="0"/>
      <p:bldP spid="37" grpId="0"/>
      <p:bldP spid="38" grpId="0"/>
      <p:bldP spid="40" grpId="0"/>
      <p:bldP spid="41" grpId="0"/>
      <p:bldP spid="63" grpId="0" animBg="1"/>
      <p:bldP spid="8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tângulo: Cantos Arredondados 83">
            <a:extLst>
              <a:ext uri="{FF2B5EF4-FFF2-40B4-BE49-F238E27FC236}">
                <a16:creationId xmlns:a16="http://schemas.microsoft.com/office/drawing/2014/main" id="{F4BB9067-ADBB-B327-939B-E64F30701DFD}"/>
              </a:ext>
            </a:extLst>
          </p:cNvPr>
          <p:cNvSpPr/>
          <p:nvPr/>
        </p:nvSpPr>
        <p:spPr>
          <a:xfrm>
            <a:off x="1040931" y="1048547"/>
            <a:ext cx="10110137" cy="5152228"/>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es-ES" b="0" i="0" dirty="0">
                <a:solidFill>
                  <a:srgbClr val="1D1D1D"/>
                </a:solidFill>
                <a:effectLst/>
                <a:latin typeface="Arial" panose="020B0604020202020204" pitchFamily="34" charset="0"/>
              </a:rPr>
              <a:t>Adaptado de Gray D et al. </a:t>
            </a:r>
            <a:r>
              <a:rPr lang="es-ES" b="0" i="0" dirty="0" err="1">
                <a:solidFill>
                  <a:srgbClr val="1D1D1D"/>
                </a:solidFill>
                <a:effectLst/>
                <a:latin typeface="Arial" panose="020B0604020202020204" pitchFamily="34" charset="0"/>
              </a:rPr>
              <a:t>Eur</a:t>
            </a:r>
            <a:r>
              <a:rPr lang="es-ES" b="0" i="0" dirty="0">
                <a:solidFill>
                  <a:srgbClr val="1D1D1D"/>
                </a:solidFill>
                <a:effectLst/>
                <a:latin typeface="Arial" panose="020B0604020202020204" pitchFamily="34" charset="0"/>
              </a:rPr>
              <a:t> J </a:t>
            </a:r>
            <a:r>
              <a:rPr lang="es-ES" b="0" i="0" dirty="0" err="1">
                <a:solidFill>
                  <a:srgbClr val="1D1D1D"/>
                </a:solidFill>
                <a:effectLst/>
                <a:latin typeface="Arial" panose="020B0604020202020204" pitchFamily="34" charset="0"/>
              </a:rPr>
              <a:t>Immunol</a:t>
            </a:r>
            <a:r>
              <a:rPr lang="es-ES" b="0" i="0" dirty="0">
                <a:solidFill>
                  <a:srgbClr val="1D1D1D"/>
                </a:solidFill>
                <a:effectLst/>
                <a:latin typeface="Arial" panose="020B0604020202020204" pitchFamily="34" charset="0"/>
              </a:rPr>
              <a:t>. 2007 Dec;37(12):3304-10.</a:t>
            </a:r>
            <a:endParaRPr lang="pt-BR"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Funções efetoras – linfócito B</a:t>
            </a:r>
          </a:p>
        </p:txBody>
      </p:sp>
      <p:grpSp>
        <p:nvGrpSpPr>
          <p:cNvPr id="90" name="Agrupar 89">
            <a:extLst>
              <a:ext uri="{FF2B5EF4-FFF2-40B4-BE49-F238E27FC236}">
                <a16:creationId xmlns:a16="http://schemas.microsoft.com/office/drawing/2014/main" id="{CC32BB55-FF00-3A53-8BC0-8D99973E6D15}"/>
              </a:ext>
            </a:extLst>
          </p:cNvPr>
          <p:cNvGrpSpPr/>
          <p:nvPr/>
        </p:nvGrpSpPr>
        <p:grpSpPr>
          <a:xfrm>
            <a:off x="1328807" y="1135333"/>
            <a:ext cx="9208673" cy="4926101"/>
            <a:chOff x="1439006" y="1122242"/>
            <a:chExt cx="9208673" cy="4926101"/>
          </a:xfrm>
        </p:grpSpPr>
        <p:pic>
          <p:nvPicPr>
            <p:cNvPr id="54" name="Imagem 53" descr="Padrão do plano de fundo&#10;&#10;Descrição gerada automaticamente com confiança média">
              <a:extLst>
                <a:ext uri="{FF2B5EF4-FFF2-40B4-BE49-F238E27FC236}">
                  <a16:creationId xmlns:a16="http://schemas.microsoft.com/office/drawing/2014/main" id="{D03777AC-6428-ECF6-FF52-B412480319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4687" y="1171287"/>
              <a:ext cx="8001534" cy="4828011"/>
            </a:xfrm>
            <a:prstGeom prst="rect">
              <a:avLst/>
            </a:prstGeom>
          </p:spPr>
        </p:pic>
        <p:sp>
          <p:nvSpPr>
            <p:cNvPr id="60" name="CaixaDeTexto 59">
              <a:extLst>
                <a:ext uri="{FF2B5EF4-FFF2-40B4-BE49-F238E27FC236}">
                  <a16:creationId xmlns:a16="http://schemas.microsoft.com/office/drawing/2014/main" id="{F38180E6-B22E-8675-2E70-D92675416DE0}"/>
                </a:ext>
              </a:extLst>
            </p:cNvPr>
            <p:cNvSpPr txBox="1"/>
            <p:nvPr/>
          </p:nvSpPr>
          <p:spPr>
            <a:xfrm>
              <a:off x="1439006" y="2688472"/>
              <a:ext cx="1066574" cy="313932"/>
            </a:xfrm>
            <a:prstGeom prst="rect">
              <a:avLst/>
            </a:prstGeom>
            <a:noFill/>
          </p:spPr>
          <p:txBody>
            <a:bodyPr wrap="none" rtlCol="0">
              <a:spAutoFit/>
            </a:bodyPr>
            <a:lstStyle/>
            <a:p>
              <a:pPr algn="l">
                <a:lnSpc>
                  <a:spcPct val="90000"/>
                </a:lnSpc>
                <a:spcAft>
                  <a:spcPts val="600"/>
                </a:spcAft>
              </a:pPr>
              <a:r>
                <a:rPr lang="pt-BR" sz="1600" b="1" dirty="0"/>
                <a:t>Linfócito T</a:t>
              </a:r>
            </a:p>
          </p:txBody>
        </p:sp>
        <p:sp>
          <p:nvSpPr>
            <p:cNvPr id="61" name="CaixaDeTexto 60">
              <a:extLst>
                <a:ext uri="{FF2B5EF4-FFF2-40B4-BE49-F238E27FC236}">
                  <a16:creationId xmlns:a16="http://schemas.microsoft.com/office/drawing/2014/main" id="{E612BDE1-4DCF-6B64-2AB2-C9231AD18D81}"/>
                </a:ext>
              </a:extLst>
            </p:cNvPr>
            <p:cNvSpPr txBox="1"/>
            <p:nvPr/>
          </p:nvSpPr>
          <p:spPr>
            <a:xfrm>
              <a:off x="1814230" y="3995047"/>
              <a:ext cx="527709" cy="313932"/>
            </a:xfrm>
            <a:prstGeom prst="rect">
              <a:avLst/>
            </a:prstGeom>
            <a:noFill/>
          </p:spPr>
          <p:txBody>
            <a:bodyPr wrap="none" rtlCol="0">
              <a:spAutoFit/>
            </a:bodyPr>
            <a:lstStyle/>
            <a:p>
              <a:pPr algn="l">
                <a:lnSpc>
                  <a:spcPct val="90000"/>
                </a:lnSpc>
                <a:spcAft>
                  <a:spcPts val="600"/>
                </a:spcAft>
              </a:pPr>
              <a:r>
                <a:rPr lang="pt-BR" sz="1600" b="1" dirty="0"/>
                <a:t>APC</a:t>
              </a:r>
            </a:p>
          </p:txBody>
        </p:sp>
        <p:sp>
          <p:nvSpPr>
            <p:cNvPr id="62" name="CaixaDeTexto 61">
              <a:extLst>
                <a:ext uri="{FF2B5EF4-FFF2-40B4-BE49-F238E27FC236}">
                  <a16:creationId xmlns:a16="http://schemas.microsoft.com/office/drawing/2014/main" id="{B08F391B-7331-9D05-4E2D-0AB2E17BEA68}"/>
                </a:ext>
              </a:extLst>
            </p:cNvPr>
            <p:cNvSpPr txBox="1"/>
            <p:nvPr/>
          </p:nvSpPr>
          <p:spPr>
            <a:xfrm>
              <a:off x="2526804" y="3929855"/>
              <a:ext cx="1522384" cy="535531"/>
            </a:xfrm>
            <a:prstGeom prst="rect">
              <a:avLst/>
            </a:prstGeom>
            <a:noFill/>
          </p:spPr>
          <p:txBody>
            <a:bodyPr wrap="square" rtlCol="0">
              <a:spAutoFit/>
            </a:bodyPr>
            <a:lstStyle/>
            <a:p>
              <a:pPr algn="ctr">
                <a:lnSpc>
                  <a:spcPct val="90000"/>
                </a:lnSpc>
                <a:spcAft>
                  <a:spcPts val="600"/>
                </a:spcAft>
              </a:pPr>
              <a:r>
                <a:rPr lang="pt-BR" sz="1600" b="1" dirty="0"/>
                <a:t>Linfócito B INATIVADO</a:t>
              </a:r>
            </a:p>
          </p:txBody>
        </p:sp>
        <p:sp>
          <p:nvSpPr>
            <p:cNvPr id="63" name="CaixaDeTexto 62">
              <a:extLst>
                <a:ext uri="{FF2B5EF4-FFF2-40B4-BE49-F238E27FC236}">
                  <a16:creationId xmlns:a16="http://schemas.microsoft.com/office/drawing/2014/main" id="{7E987877-C70D-ADF8-30FE-74D50BE9DA6E}"/>
                </a:ext>
              </a:extLst>
            </p:cNvPr>
            <p:cNvSpPr txBox="1"/>
            <p:nvPr/>
          </p:nvSpPr>
          <p:spPr>
            <a:xfrm>
              <a:off x="4547766" y="3665755"/>
              <a:ext cx="1522384" cy="535531"/>
            </a:xfrm>
            <a:prstGeom prst="rect">
              <a:avLst/>
            </a:prstGeom>
            <a:noFill/>
          </p:spPr>
          <p:txBody>
            <a:bodyPr wrap="square" rtlCol="0">
              <a:spAutoFit/>
            </a:bodyPr>
            <a:lstStyle/>
            <a:p>
              <a:pPr algn="ctr">
                <a:lnSpc>
                  <a:spcPct val="90000"/>
                </a:lnSpc>
                <a:spcAft>
                  <a:spcPts val="600"/>
                </a:spcAft>
              </a:pPr>
              <a:r>
                <a:rPr lang="pt-BR" sz="1600" b="1" dirty="0"/>
                <a:t>Linfócito B ATIVADO</a:t>
              </a:r>
            </a:p>
          </p:txBody>
        </p:sp>
        <p:sp>
          <p:nvSpPr>
            <p:cNvPr id="64" name="CaixaDeTexto 63">
              <a:extLst>
                <a:ext uri="{FF2B5EF4-FFF2-40B4-BE49-F238E27FC236}">
                  <a16:creationId xmlns:a16="http://schemas.microsoft.com/office/drawing/2014/main" id="{B04D6170-E8C3-3D5B-2708-5447A159613A}"/>
                </a:ext>
              </a:extLst>
            </p:cNvPr>
            <p:cNvSpPr txBox="1"/>
            <p:nvPr/>
          </p:nvSpPr>
          <p:spPr>
            <a:xfrm>
              <a:off x="6987403" y="5512812"/>
              <a:ext cx="1615549" cy="535531"/>
            </a:xfrm>
            <a:prstGeom prst="rect">
              <a:avLst/>
            </a:prstGeom>
            <a:noFill/>
          </p:spPr>
          <p:txBody>
            <a:bodyPr wrap="square" rtlCol="0">
              <a:spAutoFit/>
            </a:bodyPr>
            <a:lstStyle/>
            <a:p>
              <a:pPr algn="ctr">
                <a:lnSpc>
                  <a:spcPct val="90000"/>
                </a:lnSpc>
                <a:spcAft>
                  <a:spcPts val="600"/>
                </a:spcAft>
              </a:pPr>
              <a:r>
                <a:rPr lang="pt-BR" sz="1600" b="1" dirty="0"/>
                <a:t>Linfócito B de MEMÓRIA</a:t>
              </a:r>
            </a:p>
          </p:txBody>
        </p:sp>
        <p:sp>
          <p:nvSpPr>
            <p:cNvPr id="65" name="CaixaDeTexto 64">
              <a:extLst>
                <a:ext uri="{FF2B5EF4-FFF2-40B4-BE49-F238E27FC236}">
                  <a16:creationId xmlns:a16="http://schemas.microsoft.com/office/drawing/2014/main" id="{9B20BDA9-AE3F-0557-23F6-3FBA0E71EF7D}"/>
                </a:ext>
              </a:extLst>
            </p:cNvPr>
            <p:cNvSpPr txBox="1"/>
            <p:nvPr/>
          </p:nvSpPr>
          <p:spPr>
            <a:xfrm>
              <a:off x="8530016" y="3906125"/>
              <a:ext cx="1066574" cy="313932"/>
            </a:xfrm>
            <a:prstGeom prst="rect">
              <a:avLst/>
            </a:prstGeom>
            <a:noFill/>
          </p:spPr>
          <p:txBody>
            <a:bodyPr wrap="none" rtlCol="0">
              <a:spAutoFit/>
            </a:bodyPr>
            <a:lstStyle/>
            <a:p>
              <a:pPr algn="l">
                <a:lnSpc>
                  <a:spcPct val="90000"/>
                </a:lnSpc>
                <a:spcAft>
                  <a:spcPts val="600"/>
                </a:spcAft>
              </a:pPr>
              <a:r>
                <a:rPr lang="pt-BR" sz="1600" b="1" dirty="0"/>
                <a:t>Linfócito T</a:t>
              </a:r>
            </a:p>
          </p:txBody>
        </p:sp>
        <p:sp>
          <p:nvSpPr>
            <p:cNvPr id="66" name="CaixaDeTexto 65">
              <a:extLst>
                <a:ext uri="{FF2B5EF4-FFF2-40B4-BE49-F238E27FC236}">
                  <a16:creationId xmlns:a16="http://schemas.microsoft.com/office/drawing/2014/main" id="{DEF7425B-9904-6400-945E-88B69CCD6778}"/>
                </a:ext>
              </a:extLst>
            </p:cNvPr>
            <p:cNvSpPr txBox="1"/>
            <p:nvPr/>
          </p:nvSpPr>
          <p:spPr>
            <a:xfrm>
              <a:off x="9536221" y="1913674"/>
              <a:ext cx="1111458" cy="313932"/>
            </a:xfrm>
            <a:prstGeom prst="rect">
              <a:avLst/>
            </a:prstGeom>
            <a:noFill/>
          </p:spPr>
          <p:txBody>
            <a:bodyPr wrap="none" rtlCol="0">
              <a:spAutoFit/>
            </a:bodyPr>
            <a:lstStyle/>
            <a:p>
              <a:pPr algn="l">
                <a:lnSpc>
                  <a:spcPct val="90000"/>
                </a:lnSpc>
                <a:spcAft>
                  <a:spcPts val="600"/>
                </a:spcAft>
              </a:pPr>
              <a:r>
                <a:rPr lang="pt-BR" sz="1600" b="1" dirty="0"/>
                <a:t>Anticorpos</a:t>
              </a:r>
            </a:p>
          </p:txBody>
        </p:sp>
        <p:sp>
          <p:nvSpPr>
            <p:cNvPr id="67" name="CaixaDeTexto 66">
              <a:extLst>
                <a:ext uri="{FF2B5EF4-FFF2-40B4-BE49-F238E27FC236}">
                  <a16:creationId xmlns:a16="http://schemas.microsoft.com/office/drawing/2014/main" id="{4A35D071-CF40-4883-99A1-06F1C06B08FA}"/>
                </a:ext>
              </a:extLst>
            </p:cNvPr>
            <p:cNvSpPr txBox="1"/>
            <p:nvPr/>
          </p:nvSpPr>
          <p:spPr>
            <a:xfrm>
              <a:off x="6502118" y="1122242"/>
              <a:ext cx="1118832" cy="313932"/>
            </a:xfrm>
            <a:prstGeom prst="rect">
              <a:avLst/>
            </a:prstGeom>
            <a:noFill/>
          </p:spPr>
          <p:txBody>
            <a:bodyPr wrap="none" rtlCol="0">
              <a:spAutoFit/>
            </a:bodyPr>
            <a:lstStyle/>
            <a:p>
              <a:pPr algn="l">
                <a:lnSpc>
                  <a:spcPct val="90000"/>
                </a:lnSpc>
                <a:spcAft>
                  <a:spcPts val="600"/>
                </a:spcAft>
              </a:pPr>
              <a:r>
                <a:rPr lang="pt-BR" sz="1600" b="1" dirty="0"/>
                <a:t>Plasmócito</a:t>
              </a:r>
            </a:p>
          </p:txBody>
        </p:sp>
        <p:cxnSp>
          <p:nvCxnSpPr>
            <p:cNvPr id="68" name="Conector de Seta Reta 67">
              <a:extLst>
                <a:ext uri="{FF2B5EF4-FFF2-40B4-BE49-F238E27FC236}">
                  <a16:creationId xmlns:a16="http://schemas.microsoft.com/office/drawing/2014/main" id="{B4F80A07-DEFB-7BF3-D43B-03FBBB269850}"/>
                </a:ext>
              </a:extLst>
            </p:cNvPr>
            <p:cNvCxnSpPr/>
            <p:nvPr/>
          </p:nvCxnSpPr>
          <p:spPr>
            <a:xfrm>
              <a:off x="3611449" y="3333525"/>
              <a:ext cx="1147687" cy="0"/>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Conector de Seta Reta 68">
              <a:extLst>
                <a:ext uri="{FF2B5EF4-FFF2-40B4-BE49-F238E27FC236}">
                  <a16:creationId xmlns:a16="http://schemas.microsoft.com/office/drawing/2014/main" id="{CF357DAC-BECE-461E-4D12-F47CC3199F5E}"/>
                </a:ext>
              </a:extLst>
            </p:cNvPr>
            <p:cNvCxnSpPr>
              <a:cxnSpLocks/>
            </p:cNvCxnSpPr>
            <p:nvPr/>
          </p:nvCxnSpPr>
          <p:spPr>
            <a:xfrm flipV="1">
              <a:off x="5685407" y="2469429"/>
              <a:ext cx="1301997" cy="864096"/>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Conector de Seta Reta 69">
              <a:extLst>
                <a:ext uri="{FF2B5EF4-FFF2-40B4-BE49-F238E27FC236}">
                  <a16:creationId xmlns:a16="http://schemas.microsoft.com/office/drawing/2014/main" id="{62C6608B-E38B-8B58-A2E4-CABCA1AFB2FB}"/>
                </a:ext>
              </a:extLst>
            </p:cNvPr>
            <p:cNvCxnSpPr>
              <a:cxnSpLocks/>
            </p:cNvCxnSpPr>
            <p:nvPr/>
          </p:nvCxnSpPr>
          <p:spPr>
            <a:xfrm>
              <a:off x="5685407" y="3416967"/>
              <a:ext cx="994908" cy="708646"/>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Conector de Seta Reta 70">
              <a:extLst>
                <a:ext uri="{FF2B5EF4-FFF2-40B4-BE49-F238E27FC236}">
                  <a16:creationId xmlns:a16="http://schemas.microsoft.com/office/drawing/2014/main" id="{7B7A413B-EFF8-D7D2-C93B-DDA301199A70}"/>
                </a:ext>
              </a:extLst>
            </p:cNvPr>
            <p:cNvCxnSpPr>
              <a:cxnSpLocks/>
            </p:cNvCxnSpPr>
            <p:nvPr/>
          </p:nvCxnSpPr>
          <p:spPr>
            <a:xfrm flipV="1">
              <a:off x="7888914" y="2977927"/>
              <a:ext cx="0" cy="1396407"/>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Conector reto 71">
              <a:extLst>
                <a:ext uri="{FF2B5EF4-FFF2-40B4-BE49-F238E27FC236}">
                  <a16:creationId xmlns:a16="http://schemas.microsoft.com/office/drawing/2014/main" id="{2E05836B-80D0-139B-7AD2-2D916F4023F3}"/>
                </a:ext>
              </a:extLst>
            </p:cNvPr>
            <p:cNvCxnSpPr/>
            <p:nvPr/>
          </p:nvCxnSpPr>
          <p:spPr>
            <a:xfrm>
              <a:off x="8795904" y="1885998"/>
              <a:ext cx="7599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to 72">
              <a:extLst>
                <a:ext uri="{FF2B5EF4-FFF2-40B4-BE49-F238E27FC236}">
                  <a16:creationId xmlns:a16="http://schemas.microsoft.com/office/drawing/2014/main" id="{319116BA-C7BF-0810-E5B3-A5E41A617CF3}"/>
                </a:ext>
              </a:extLst>
            </p:cNvPr>
            <p:cNvCxnSpPr>
              <a:cxnSpLocks/>
            </p:cNvCxnSpPr>
            <p:nvPr/>
          </p:nvCxnSpPr>
          <p:spPr>
            <a:xfrm>
              <a:off x="9066368" y="2293404"/>
              <a:ext cx="48953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Arco 73">
              <a:extLst>
                <a:ext uri="{FF2B5EF4-FFF2-40B4-BE49-F238E27FC236}">
                  <a16:creationId xmlns:a16="http://schemas.microsoft.com/office/drawing/2014/main" id="{81200B95-23D2-5467-69CE-D7315BF64DDB}"/>
                </a:ext>
              </a:extLst>
            </p:cNvPr>
            <p:cNvSpPr/>
            <p:nvPr/>
          </p:nvSpPr>
          <p:spPr>
            <a:xfrm rot="19111393">
              <a:off x="2403349" y="2742130"/>
              <a:ext cx="823760" cy="844097"/>
            </a:xfrm>
            <a:prstGeom prst="arc">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5" name="CaixaDeTexto 74">
              <a:extLst>
                <a:ext uri="{FF2B5EF4-FFF2-40B4-BE49-F238E27FC236}">
                  <a16:creationId xmlns:a16="http://schemas.microsoft.com/office/drawing/2014/main" id="{B0DDBC7D-816D-5ADD-DB67-C181D9268575}"/>
                </a:ext>
              </a:extLst>
            </p:cNvPr>
            <p:cNvSpPr txBox="1"/>
            <p:nvPr/>
          </p:nvSpPr>
          <p:spPr>
            <a:xfrm>
              <a:off x="8015356" y="1341844"/>
              <a:ext cx="516488" cy="313932"/>
            </a:xfrm>
            <a:prstGeom prst="rect">
              <a:avLst/>
            </a:prstGeom>
            <a:noFill/>
          </p:spPr>
          <p:txBody>
            <a:bodyPr wrap="none" rtlCol="0">
              <a:spAutoFit/>
            </a:bodyPr>
            <a:lstStyle/>
            <a:p>
              <a:pPr algn="l">
                <a:lnSpc>
                  <a:spcPct val="90000"/>
                </a:lnSpc>
                <a:spcAft>
                  <a:spcPts val="600"/>
                </a:spcAft>
              </a:pPr>
              <a:r>
                <a:rPr lang="pt-BR" sz="1600" b="1" dirty="0" err="1"/>
                <a:t>IgM</a:t>
              </a:r>
              <a:endParaRPr lang="pt-BR" sz="1600" b="1" dirty="0"/>
            </a:p>
          </p:txBody>
        </p:sp>
        <p:sp>
          <p:nvSpPr>
            <p:cNvPr id="76" name="CaixaDeTexto 75">
              <a:extLst>
                <a:ext uri="{FF2B5EF4-FFF2-40B4-BE49-F238E27FC236}">
                  <a16:creationId xmlns:a16="http://schemas.microsoft.com/office/drawing/2014/main" id="{A654D09F-4A9B-14F8-BBA3-FE24A6B5361A}"/>
                </a:ext>
              </a:extLst>
            </p:cNvPr>
            <p:cNvSpPr txBox="1"/>
            <p:nvPr/>
          </p:nvSpPr>
          <p:spPr>
            <a:xfrm>
              <a:off x="8328928" y="1771791"/>
              <a:ext cx="468398" cy="313932"/>
            </a:xfrm>
            <a:prstGeom prst="rect">
              <a:avLst/>
            </a:prstGeom>
            <a:noFill/>
          </p:spPr>
          <p:txBody>
            <a:bodyPr wrap="none" rtlCol="0">
              <a:spAutoFit/>
            </a:bodyPr>
            <a:lstStyle/>
            <a:p>
              <a:pPr algn="l">
                <a:lnSpc>
                  <a:spcPct val="90000"/>
                </a:lnSpc>
                <a:spcAft>
                  <a:spcPts val="600"/>
                </a:spcAft>
              </a:pPr>
              <a:r>
                <a:rPr lang="pt-BR" sz="1600" b="1" dirty="0">
                  <a:solidFill>
                    <a:schemeClr val="accent2"/>
                  </a:solidFill>
                </a:rPr>
                <a:t>IgG</a:t>
              </a:r>
            </a:p>
          </p:txBody>
        </p:sp>
        <p:sp>
          <p:nvSpPr>
            <p:cNvPr id="77" name="CaixaDeTexto 76">
              <a:extLst>
                <a:ext uri="{FF2B5EF4-FFF2-40B4-BE49-F238E27FC236}">
                  <a16:creationId xmlns:a16="http://schemas.microsoft.com/office/drawing/2014/main" id="{E0C11366-C81C-3592-B054-C3A2B1AE8DC6}"/>
                </a:ext>
              </a:extLst>
            </p:cNvPr>
            <p:cNvSpPr txBox="1"/>
            <p:nvPr/>
          </p:nvSpPr>
          <p:spPr>
            <a:xfrm>
              <a:off x="8604382" y="2127247"/>
              <a:ext cx="461986" cy="313932"/>
            </a:xfrm>
            <a:prstGeom prst="rect">
              <a:avLst/>
            </a:prstGeom>
            <a:noFill/>
          </p:spPr>
          <p:txBody>
            <a:bodyPr wrap="none" rtlCol="0">
              <a:spAutoFit/>
            </a:bodyPr>
            <a:lstStyle/>
            <a:p>
              <a:pPr algn="l">
                <a:lnSpc>
                  <a:spcPct val="90000"/>
                </a:lnSpc>
                <a:spcAft>
                  <a:spcPts val="600"/>
                </a:spcAft>
              </a:pPr>
              <a:r>
                <a:rPr lang="pt-BR" sz="1600" b="1" dirty="0">
                  <a:solidFill>
                    <a:srgbClr val="C00000"/>
                  </a:solidFill>
                </a:rPr>
                <a:t>IgA</a:t>
              </a:r>
            </a:p>
          </p:txBody>
        </p:sp>
        <p:sp>
          <p:nvSpPr>
            <p:cNvPr id="78" name="CaixaDeTexto 77">
              <a:extLst>
                <a:ext uri="{FF2B5EF4-FFF2-40B4-BE49-F238E27FC236}">
                  <a16:creationId xmlns:a16="http://schemas.microsoft.com/office/drawing/2014/main" id="{C81FE1B7-DA4F-7098-6252-D5060695CAA0}"/>
                </a:ext>
              </a:extLst>
            </p:cNvPr>
            <p:cNvSpPr txBox="1"/>
            <p:nvPr/>
          </p:nvSpPr>
          <p:spPr>
            <a:xfrm>
              <a:off x="8876489" y="2499031"/>
              <a:ext cx="436338" cy="313932"/>
            </a:xfrm>
            <a:prstGeom prst="rect">
              <a:avLst/>
            </a:prstGeom>
            <a:noFill/>
          </p:spPr>
          <p:txBody>
            <a:bodyPr wrap="none" rtlCol="0">
              <a:spAutoFit/>
            </a:bodyPr>
            <a:lstStyle/>
            <a:p>
              <a:pPr algn="l">
                <a:lnSpc>
                  <a:spcPct val="90000"/>
                </a:lnSpc>
                <a:spcAft>
                  <a:spcPts val="600"/>
                </a:spcAft>
              </a:pPr>
              <a:r>
                <a:rPr lang="pt-BR" sz="1600" b="1" dirty="0">
                  <a:solidFill>
                    <a:schemeClr val="tx2">
                      <a:lumMod val="90000"/>
                      <a:lumOff val="10000"/>
                    </a:schemeClr>
                  </a:solidFill>
                </a:rPr>
                <a:t>IgE</a:t>
              </a:r>
            </a:p>
          </p:txBody>
        </p:sp>
        <p:sp>
          <p:nvSpPr>
            <p:cNvPr id="79" name="Forma Livre: Forma 78">
              <a:extLst>
                <a:ext uri="{FF2B5EF4-FFF2-40B4-BE49-F238E27FC236}">
                  <a16:creationId xmlns:a16="http://schemas.microsoft.com/office/drawing/2014/main" id="{38988C77-2FAD-AD40-8A92-D0A248A78819}"/>
                </a:ext>
              </a:extLst>
            </p:cNvPr>
            <p:cNvSpPr/>
            <p:nvPr/>
          </p:nvSpPr>
          <p:spPr>
            <a:xfrm>
              <a:off x="8544232" y="1478734"/>
              <a:ext cx="1016000" cy="1168400"/>
            </a:xfrm>
            <a:custGeom>
              <a:avLst/>
              <a:gdLst>
                <a:gd name="connsiteX0" fmla="*/ 0 w 1016000"/>
                <a:gd name="connsiteY0" fmla="*/ 0 h 1168400"/>
                <a:gd name="connsiteX1" fmla="*/ 1016000 w 1016000"/>
                <a:gd name="connsiteY1" fmla="*/ 0 h 1168400"/>
                <a:gd name="connsiteX2" fmla="*/ 1016000 w 1016000"/>
                <a:gd name="connsiteY2" fmla="*/ 1168400 h 1168400"/>
                <a:gd name="connsiteX3" fmla="*/ 762000 w 1016000"/>
                <a:gd name="connsiteY3" fmla="*/ 1168400 h 1168400"/>
              </a:gdLst>
              <a:ahLst/>
              <a:cxnLst>
                <a:cxn ang="0">
                  <a:pos x="connsiteX0" y="connsiteY0"/>
                </a:cxn>
                <a:cxn ang="0">
                  <a:pos x="connsiteX1" y="connsiteY1"/>
                </a:cxn>
                <a:cxn ang="0">
                  <a:pos x="connsiteX2" y="connsiteY2"/>
                </a:cxn>
                <a:cxn ang="0">
                  <a:pos x="connsiteX3" y="connsiteY3"/>
                </a:cxn>
              </a:cxnLst>
              <a:rect l="l" t="t" r="r" b="b"/>
              <a:pathLst>
                <a:path w="1016000" h="1168400">
                  <a:moveTo>
                    <a:pt x="0" y="0"/>
                  </a:moveTo>
                  <a:lnTo>
                    <a:pt x="1016000" y="0"/>
                  </a:lnTo>
                  <a:lnTo>
                    <a:pt x="1016000" y="1168400"/>
                  </a:lnTo>
                  <a:lnTo>
                    <a:pt x="762000" y="1168400"/>
                  </a:lnTo>
                </a:path>
              </a:pathLst>
            </a:cu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80" name="CaixaDeTexto 79">
              <a:extLst>
                <a:ext uri="{FF2B5EF4-FFF2-40B4-BE49-F238E27FC236}">
                  <a16:creationId xmlns:a16="http://schemas.microsoft.com/office/drawing/2014/main" id="{FF97E3AB-5A86-C5E4-31C1-332D31AEB9FC}"/>
                </a:ext>
              </a:extLst>
            </p:cNvPr>
            <p:cNvSpPr txBox="1"/>
            <p:nvPr/>
          </p:nvSpPr>
          <p:spPr>
            <a:xfrm>
              <a:off x="6729160" y="4801900"/>
              <a:ext cx="516488" cy="313932"/>
            </a:xfrm>
            <a:prstGeom prst="rect">
              <a:avLst/>
            </a:prstGeom>
            <a:noFill/>
          </p:spPr>
          <p:txBody>
            <a:bodyPr wrap="none" rtlCol="0">
              <a:spAutoFit/>
            </a:bodyPr>
            <a:lstStyle/>
            <a:p>
              <a:pPr algn="l">
                <a:lnSpc>
                  <a:spcPct val="90000"/>
                </a:lnSpc>
                <a:spcAft>
                  <a:spcPts val="600"/>
                </a:spcAft>
              </a:pPr>
              <a:r>
                <a:rPr lang="pt-BR" sz="1600" b="1" dirty="0" err="1"/>
                <a:t>IgM</a:t>
              </a:r>
              <a:endParaRPr lang="pt-BR" sz="1600" b="1" dirty="0"/>
            </a:p>
          </p:txBody>
        </p:sp>
        <p:sp>
          <p:nvSpPr>
            <p:cNvPr id="81" name="CaixaDeTexto 80">
              <a:extLst>
                <a:ext uri="{FF2B5EF4-FFF2-40B4-BE49-F238E27FC236}">
                  <a16:creationId xmlns:a16="http://schemas.microsoft.com/office/drawing/2014/main" id="{8B679ED2-887F-5734-548D-E98BFE514AF7}"/>
                </a:ext>
              </a:extLst>
            </p:cNvPr>
            <p:cNvSpPr txBox="1"/>
            <p:nvPr/>
          </p:nvSpPr>
          <p:spPr>
            <a:xfrm>
              <a:off x="7335944" y="5000390"/>
              <a:ext cx="468398" cy="313932"/>
            </a:xfrm>
            <a:prstGeom prst="rect">
              <a:avLst/>
            </a:prstGeom>
            <a:noFill/>
          </p:spPr>
          <p:txBody>
            <a:bodyPr wrap="none" rtlCol="0">
              <a:spAutoFit/>
            </a:bodyPr>
            <a:lstStyle/>
            <a:p>
              <a:pPr algn="l">
                <a:lnSpc>
                  <a:spcPct val="90000"/>
                </a:lnSpc>
                <a:spcAft>
                  <a:spcPts val="600"/>
                </a:spcAft>
              </a:pPr>
              <a:r>
                <a:rPr lang="pt-BR" sz="1600" b="1" dirty="0">
                  <a:solidFill>
                    <a:schemeClr val="accent2"/>
                  </a:solidFill>
                </a:rPr>
                <a:t>IgG</a:t>
              </a:r>
            </a:p>
          </p:txBody>
        </p:sp>
        <p:sp>
          <p:nvSpPr>
            <p:cNvPr id="82" name="CaixaDeTexto 81">
              <a:extLst>
                <a:ext uri="{FF2B5EF4-FFF2-40B4-BE49-F238E27FC236}">
                  <a16:creationId xmlns:a16="http://schemas.microsoft.com/office/drawing/2014/main" id="{F8C23FBD-7E60-FBAB-8EBD-3EE065E444FB}"/>
                </a:ext>
              </a:extLst>
            </p:cNvPr>
            <p:cNvSpPr txBox="1"/>
            <p:nvPr/>
          </p:nvSpPr>
          <p:spPr>
            <a:xfrm>
              <a:off x="8015356" y="5229559"/>
              <a:ext cx="461986" cy="313932"/>
            </a:xfrm>
            <a:prstGeom prst="rect">
              <a:avLst/>
            </a:prstGeom>
            <a:noFill/>
          </p:spPr>
          <p:txBody>
            <a:bodyPr wrap="none" rtlCol="0">
              <a:spAutoFit/>
            </a:bodyPr>
            <a:lstStyle/>
            <a:p>
              <a:pPr algn="l">
                <a:lnSpc>
                  <a:spcPct val="90000"/>
                </a:lnSpc>
                <a:spcAft>
                  <a:spcPts val="600"/>
                </a:spcAft>
              </a:pPr>
              <a:r>
                <a:rPr lang="pt-BR" sz="1600" b="1" dirty="0">
                  <a:solidFill>
                    <a:srgbClr val="C00000"/>
                  </a:solidFill>
                </a:rPr>
                <a:t>IgA</a:t>
              </a:r>
            </a:p>
          </p:txBody>
        </p:sp>
        <p:sp>
          <p:nvSpPr>
            <p:cNvPr id="83" name="CaixaDeTexto 82">
              <a:extLst>
                <a:ext uri="{FF2B5EF4-FFF2-40B4-BE49-F238E27FC236}">
                  <a16:creationId xmlns:a16="http://schemas.microsoft.com/office/drawing/2014/main" id="{5A9CE5AE-D47F-495F-ECCB-C33B08962328}"/>
                </a:ext>
              </a:extLst>
            </p:cNvPr>
            <p:cNvSpPr txBox="1"/>
            <p:nvPr/>
          </p:nvSpPr>
          <p:spPr>
            <a:xfrm>
              <a:off x="8626965" y="5479048"/>
              <a:ext cx="436338" cy="313932"/>
            </a:xfrm>
            <a:prstGeom prst="rect">
              <a:avLst/>
            </a:prstGeom>
            <a:noFill/>
          </p:spPr>
          <p:txBody>
            <a:bodyPr wrap="none" rtlCol="0">
              <a:spAutoFit/>
            </a:bodyPr>
            <a:lstStyle/>
            <a:p>
              <a:pPr algn="l">
                <a:lnSpc>
                  <a:spcPct val="90000"/>
                </a:lnSpc>
                <a:spcAft>
                  <a:spcPts val="600"/>
                </a:spcAft>
              </a:pPr>
              <a:r>
                <a:rPr lang="pt-BR" sz="1600" b="1" dirty="0">
                  <a:solidFill>
                    <a:schemeClr val="tx2">
                      <a:lumMod val="90000"/>
                      <a:lumOff val="10000"/>
                    </a:schemeClr>
                  </a:solidFill>
                </a:rPr>
                <a:t>IgE</a:t>
              </a:r>
            </a:p>
          </p:txBody>
        </p:sp>
      </p:grpSp>
    </p:spTree>
    <p:extLst>
      <p:ext uri="{BB962C8B-B14F-4D97-AF65-F5344CB8AC3E}">
        <p14:creationId xmlns:p14="http://schemas.microsoft.com/office/powerpoint/2010/main" val="241745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nodeType="withEffect">
                                  <p:stCondLst>
                                    <p:cond delay="50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107385" y="6216110"/>
            <a:ext cx="10239690" cy="565786"/>
          </a:xfrm>
        </p:spPr>
        <p:txBody>
          <a:bodyPr/>
          <a:lstStyle/>
          <a:p>
            <a:r>
              <a:rPr lang="en-US" b="0" i="0" dirty="0">
                <a:solidFill>
                  <a:srgbClr val="1D1D1D"/>
                </a:solidFill>
                <a:effectLst/>
                <a:latin typeface="Arial" panose="020B0604020202020204" pitchFamily="34" charset="0"/>
              </a:rPr>
              <a:t>1. de </a:t>
            </a:r>
            <a:r>
              <a:rPr lang="en-US" b="0" i="0" dirty="0" err="1">
                <a:solidFill>
                  <a:srgbClr val="1D1D1D"/>
                </a:solidFill>
                <a:effectLst/>
                <a:latin typeface="Arial" panose="020B0604020202020204" pitchFamily="34" charset="0"/>
              </a:rPr>
              <a:t>Taeye</a:t>
            </a:r>
            <a:r>
              <a:rPr lang="en-US" b="0" i="0" dirty="0">
                <a:solidFill>
                  <a:srgbClr val="1D1D1D"/>
                </a:solidFill>
                <a:effectLst/>
                <a:latin typeface="Arial" panose="020B0604020202020204" pitchFamily="34" charset="0"/>
              </a:rPr>
              <a:t> SW, </a:t>
            </a:r>
            <a:r>
              <a:rPr lang="en-US" b="0" i="0" dirty="0" err="1">
                <a:solidFill>
                  <a:srgbClr val="1D1D1D"/>
                </a:solidFill>
                <a:effectLst/>
                <a:latin typeface="Arial" panose="020B0604020202020204" pitchFamily="34" charset="0"/>
              </a:rPr>
              <a:t>Rispens</a:t>
            </a:r>
            <a:r>
              <a:rPr lang="en-US" b="0" i="0" dirty="0">
                <a:solidFill>
                  <a:srgbClr val="1D1D1D"/>
                </a:solidFill>
                <a:effectLst/>
                <a:latin typeface="Arial" panose="020B0604020202020204" pitchFamily="34" charset="0"/>
              </a:rPr>
              <a:t> T, </a:t>
            </a:r>
            <a:r>
              <a:rPr lang="en-US" b="0" i="0" dirty="0" err="1">
                <a:solidFill>
                  <a:srgbClr val="1D1D1D"/>
                </a:solidFill>
                <a:effectLst/>
                <a:latin typeface="Arial" panose="020B0604020202020204" pitchFamily="34" charset="0"/>
              </a:rPr>
              <a:t>Vidarsson</a:t>
            </a:r>
            <a:r>
              <a:rPr lang="en-US" b="0" i="0" dirty="0">
                <a:solidFill>
                  <a:srgbClr val="1D1D1D"/>
                </a:solidFill>
                <a:effectLst/>
                <a:latin typeface="Arial" panose="020B0604020202020204" pitchFamily="34" charset="0"/>
              </a:rPr>
              <a:t> G. The Ligands for Human IgG and Their Effector Functions. Antibodies (Basel). 2019 Apr 25;8(2):30.</a:t>
            </a:r>
            <a:endParaRPr lang="pt-BR"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Anticorpos: estrutura</a:t>
            </a:r>
            <a:r>
              <a:rPr lang="pt-BR" sz="4000" b="1" baseline="30000" dirty="0">
                <a:gradFill>
                  <a:gsLst>
                    <a:gs pos="0">
                      <a:schemeClr val="accent1"/>
                    </a:gs>
                    <a:gs pos="100000">
                      <a:schemeClr val="bg2"/>
                    </a:gs>
                  </a:gsLst>
                  <a:lin ang="2700000" scaled="0"/>
                </a:gradFill>
                <a:latin typeface="Calisto MT"/>
              </a:rPr>
              <a:t>1</a:t>
            </a:r>
            <a:endParaRPr lang="pt-BR" sz="4000" b="1" dirty="0">
              <a:gradFill>
                <a:gsLst>
                  <a:gs pos="0">
                    <a:schemeClr val="accent1"/>
                  </a:gs>
                  <a:gs pos="100000">
                    <a:schemeClr val="bg2"/>
                  </a:gs>
                </a:gsLst>
                <a:lin ang="2700000" scaled="0"/>
              </a:gradFill>
              <a:latin typeface="Calisto MT"/>
            </a:endParaRPr>
          </a:p>
        </p:txBody>
      </p:sp>
      <p:sp>
        <p:nvSpPr>
          <p:cNvPr id="4" name="Rectangle 27">
            <a:extLst>
              <a:ext uri="{FF2B5EF4-FFF2-40B4-BE49-F238E27FC236}">
                <a16:creationId xmlns:a16="http://schemas.microsoft.com/office/drawing/2014/main" id="{40EFFCD1-D485-C125-7706-16A74AAB2BF8}"/>
              </a:ext>
            </a:extLst>
          </p:cNvPr>
          <p:cNvSpPr/>
          <p:nvPr/>
        </p:nvSpPr>
        <p:spPr>
          <a:xfrm>
            <a:off x="8362450" y="4411184"/>
            <a:ext cx="396925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endParaRPr>
          </a:p>
        </p:txBody>
      </p:sp>
      <p:pic>
        <p:nvPicPr>
          <p:cNvPr id="5" name="Picture 9">
            <a:extLst>
              <a:ext uri="{FF2B5EF4-FFF2-40B4-BE49-F238E27FC236}">
                <a16:creationId xmlns:a16="http://schemas.microsoft.com/office/drawing/2014/main" id="{5BA1F8D3-B97F-985A-0D3E-4FBB31E4886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t="6107" b="3141"/>
          <a:stretch/>
        </p:blipFill>
        <p:spPr>
          <a:xfrm>
            <a:off x="6350" y="1301857"/>
            <a:ext cx="12179300" cy="4702443"/>
          </a:xfrm>
          <a:prstGeom prst="rect">
            <a:avLst/>
          </a:prstGeom>
        </p:spPr>
      </p:pic>
      <p:sp>
        <p:nvSpPr>
          <p:cNvPr id="6" name="TextBox 11">
            <a:extLst>
              <a:ext uri="{FF2B5EF4-FFF2-40B4-BE49-F238E27FC236}">
                <a16:creationId xmlns:a16="http://schemas.microsoft.com/office/drawing/2014/main" id="{25EA1152-E237-15C8-0AB6-16D455812255}"/>
              </a:ext>
            </a:extLst>
          </p:cNvPr>
          <p:cNvSpPr txBox="1"/>
          <p:nvPr/>
        </p:nvSpPr>
        <p:spPr>
          <a:xfrm>
            <a:off x="4778231" y="1671181"/>
            <a:ext cx="18646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chemeClr val="accent3"/>
                </a:solidFill>
                <a:effectLst/>
                <a:uLnTx/>
                <a:uFillTx/>
                <a:latin typeface="Arial" panose="020B0604020202020204"/>
                <a:ea typeface="+mn-ea"/>
                <a:cs typeface="+mn-cs"/>
              </a:rPr>
              <a:t>Cadeia pesada</a:t>
            </a:r>
            <a:r>
              <a:rPr kumimoji="0" lang="pt-BR" sz="1800" b="0" i="0" u="none" strike="noStrike" kern="1200" cap="none" spc="0" normalizeH="0" baseline="0" noProof="0" dirty="0">
                <a:ln>
                  <a:noFill/>
                </a:ln>
                <a:solidFill>
                  <a:schemeClr val="accent3"/>
                </a:solidFill>
                <a:effectLst/>
                <a:uLnTx/>
                <a:uFillTx/>
                <a:latin typeface="Arial" panose="020B0604020202020204"/>
                <a:ea typeface="+mn-ea"/>
                <a:cs typeface="+mn-cs"/>
              </a:rPr>
              <a:t> </a:t>
            </a:r>
            <a:endParaRPr kumimoji="0" lang="en-US" sz="1800" b="1" i="0" u="none" strike="noStrike" kern="1200" cap="none" spc="0" normalizeH="0" baseline="0" noProof="0" dirty="0">
              <a:ln>
                <a:noFill/>
              </a:ln>
              <a:solidFill>
                <a:schemeClr val="accent3"/>
              </a:solidFill>
              <a:effectLst>
                <a:outerShdw blurRad="50800" dist="38100" dir="2700000" algn="tl" rotWithShape="0">
                  <a:prstClr val="black">
                    <a:alpha val="40000"/>
                  </a:prstClr>
                </a:outerShdw>
              </a:effectLst>
              <a:uLnTx/>
              <a:uFillTx/>
              <a:latin typeface="Arial" panose="020B0604020202020204"/>
              <a:ea typeface="+mn-ea"/>
              <a:cs typeface="+mn-cs"/>
            </a:endParaRPr>
          </a:p>
        </p:txBody>
      </p:sp>
      <p:cxnSp>
        <p:nvCxnSpPr>
          <p:cNvPr id="7" name="Straight Arrow Connector 12">
            <a:extLst>
              <a:ext uri="{FF2B5EF4-FFF2-40B4-BE49-F238E27FC236}">
                <a16:creationId xmlns:a16="http://schemas.microsoft.com/office/drawing/2014/main" id="{1048A212-8B18-D8F9-FC95-A2E3D443FE9F}"/>
              </a:ext>
            </a:extLst>
          </p:cNvPr>
          <p:cNvCxnSpPr/>
          <p:nvPr/>
        </p:nvCxnSpPr>
        <p:spPr>
          <a:xfrm>
            <a:off x="5768263" y="2024905"/>
            <a:ext cx="480447" cy="457200"/>
          </a:xfrm>
          <a:prstGeom prst="straightConnector1">
            <a:avLst/>
          </a:prstGeom>
          <a:noFill/>
          <a:ln w="31750" cap="flat" cmpd="sng" algn="ctr">
            <a:solidFill>
              <a:schemeClr val="accent3"/>
            </a:solidFill>
            <a:prstDash val="solid"/>
            <a:miter lim="800000"/>
            <a:headEnd type="none" w="med" len="med"/>
            <a:tailEnd type="arrow" w="med" len="med"/>
          </a:ln>
          <a:effectLst/>
        </p:spPr>
      </p:cxnSp>
      <p:cxnSp>
        <p:nvCxnSpPr>
          <p:cNvPr id="8" name="Straight Arrow Connector 14">
            <a:extLst>
              <a:ext uri="{FF2B5EF4-FFF2-40B4-BE49-F238E27FC236}">
                <a16:creationId xmlns:a16="http://schemas.microsoft.com/office/drawing/2014/main" id="{DA84A2C0-024D-3F91-7421-0CD28D13C37B}"/>
              </a:ext>
            </a:extLst>
          </p:cNvPr>
          <p:cNvCxnSpPr>
            <a:cxnSpLocks/>
          </p:cNvCxnSpPr>
          <p:nvPr/>
        </p:nvCxnSpPr>
        <p:spPr>
          <a:xfrm flipH="1" flipV="1">
            <a:off x="7783352" y="2883408"/>
            <a:ext cx="534692" cy="382292"/>
          </a:xfrm>
          <a:prstGeom prst="straightConnector1">
            <a:avLst/>
          </a:prstGeom>
          <a:noFill/>
          <a:ln w="31750" cap="flat" cmpd="sng" algn="ctr">
            <a:solidFill>
              <a:schemeClr val="accent3"/>
            </a:solidFill>
            <a:prstDash val="solid"/>
            <a:miter lim="800000"/>
            <a:headEnd type="none" w="med" len="med"/>
            <a:tailEnd type="arrow" w="med" len="med"/>
          </a:ln>
          <a:effectLst/>
        </p:spPr>
      </p:cxnSp>
      <p:sp>
        <p:nvSpPr>
          <p:cNvPr id="9" name="TextBox 17">
            <a:extLst>
              <a:ext uri="{FF2B5EF4-FFF2-40B4-BE49-F238E27FC236}">
                <a16:creationId xmlns:a16="http://schemas.microsoft.com/office/drawing/2014/main" id="{4882A16D-E443-8449-21DB-00B172AD4E3A}"/>
              </a:ext>
            </a:extLst>
          </p:cNvPr>
          <p:cNvSpPr txBox="1"/>
          <p:nvPr/>
        </p:nvSpPr>
        <p:spPr>
          <a:xfrm>
            <a:off x="8330960" y="3162378"/>
            <a:ext cx="14542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chemeClr val="accent3"/>
                </a:solidFill>
                <a:effectLst/>
                <a:uLnTx/>
                <a:uFillTx/>
                <a:latin typeface="Arial" panose="020B0604020202020204"/>
                <a:ea typeface="+mn-ea"/>
                <a:cs typeface="+mn-cs"/>
              </a:rPr>
              <a:t>Cadeia leve</a:t>
            </a:r>
          </a:p>
        </p:txBody>
      </p:sp>
      <p:sp>
        <p:nvSpPr>
          <p:cNvPr id="10" name="Arc 16">
            <a:extLst>
              <a:ext uri="{FF2B5EF4-FFF2-40B4-BE49-F238E27FC236}">
                <a16:creationId xmlns:a16="http://schemas.microsoft.com/office/drawing/2014/main" id="{8D28EF99-18DD-22FD-CBFE-B61A8D6ED925}"/>
              </a:ext>
            </a:extLst>
          </p:cNvPr>
          <p:cNvSpPr/>
          <p:nvPr/>
        </p:nvSpPr>
        <p:spPr>
          <a:xfrm>
            <a:off x="6377553" y="1418095"/>
            <a:ext cx="1766806" cy="1611824"/>
          </a:xfrm>
          <a:prstGeom prst="arc">
            <a:avLst>
              <a:gd name="adj1" fmla="val 14483369"/>
              <a:gd name="adj2" fmla="val 0"/>
            </a:avLst>
          </a:prstGeom>
          <a:noFill/>
          <a:ln w="31750" cap="flat" cmpd="sng" algn="ctr">
            <a:solidFill>
              <a:schemeClr val="accent2"/>
            </a:solidFill>
            <a:prstDash val="sysDash"/>
            <a:miter lim="800000"/>
            <a:tailEnd type="none" w="lg" len="me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22">
            <a:extLst>
              <a:ext uri="{FF2B5EF4-FFF2-40B4-BE49-F238E27FC236}">
                <a16:creationId xmlns:a16="http://schemas.microsoft.com/office/drawing/2014/main" id="{6E98D4CA-4CA3-F743-D0E7-89CC7C0BF93A}"/>
              </a:ext>
            </a:extLst>
          </p:cNvPr>
          <p:cNvSpPr txBox="1"/>
          <p:nvPr/>
        </p:nvSpPr>
        <p:spPr>
          <a:xfrm>
            <a:off x="8116666" y="1469759"/>
            <a:ext cx="20066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chemeClr val="accent2"/>
                </a:solidFill>
                <a:effectLst/>
                <a:uLnTx/>
                <a:uFillTx/>
                <a:latin typeface="Arial" panose="020B0604020202020204"/>
                <a:ea typeface="+mn-ea"/>
                <a:cs typeface="+mn-cs"/>
              </a:rPr>
              <a:t>Sítios de ligação ao antígeno</a:t>
            </a:r>
            <a:endParaRPr kumimoji="0" lang="pt-BR" sz="1600" b="0"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13" name="Rounded Rectangle 21">
            <a:extLst>
              <a:ext uri="{FF2B5EF4-FFF2-40B4-BE49-F238E27FC236}">
                <a16:creationId xmlns:a16="http://schemas.microsoft.com/office/drawing/2014/main" id="{A69FE7C6-2D7C-52C5-6D20-B22EDB30919A}"/>
              </a:ext>
            </a:extLst>
          </p:cNvPr>
          <p:cNvSpPr/>
          <p:nvPr/>
        </p:nvSpPr>
        <p:spPr>
          <a:xfrm>
            <a:off x="3835831" y="2767585"/>
            <a:ext cx="2293749" cy="1200912"/>
          </a:xfrm>
          <a:prstGeom prst="roundRect">
            <a:avLst>
              <a:gd name="adj" fmla="val 0"/>
            </a:avLst>
          </a:prstGeom>
          <a:solidFill>
            <a:srgbClr val="003865">
              <a:alpha val="30196"/>
            </a:srgbClr>
          </a:solidFill>
          <a:ln w="19050" cap="flat" cmpd="sng" algn="ctr">
            <a:solidFill>
              <a:schemeClr val="tx2"/>
            </a:solidFill>
            <a:prstDash val="sysDot"/>
            <a:miter lim="800000"/>
            <a:tailEnd type="none" w="lg" len="me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7" name="Rounded Rectangle 31">
            <a:extLst>
              <a:ext uri="{FF2B5EF4-FFF2-40B4-BE49-F238E27FC236}">
                <a16:creationId xmlns:a16="http://schemas.microsoft.com/office/drawing/2014/main" id="{466A5CF8-E25D-DA7E-D124-16A87CB60D99}"/>
              </a:ext>
            </a:extLst>
          </p:cNvPr>
          <p:cNvSpPr/>
          <p:nvPr/>
        </p:nvSpPr>
        <p:spPr>
          <a:xfrm>
            <a:off x="6172201" y="3733800"/>
            <a:ext cx="2026920" cy="1892808"/>
          </a:xfrm>
          <a:prstGeom prst="roundRect">
            <a:avLst>
              <a:gd name="adj" fmla="val 0"/>
            </a:avLst>
          </a:prstGeom>
          <a:solidFill>
            <a:srgbClr val="003865">
              <a:alpha val="30196"/>
            </a:srgbClr>
          </a:solidFill>
          <a:ln w="19050" cap="flat" cmpd="sng" algn="ctr">
            <a:solidFill>
              <a:schemeClr val="tx2"/>
            </a:solidFill>
            <a:prstDash val="sysDot"/>
            <a:miter lim="800000"/>
            <a:tailEnd type="none" w="lg" len="me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Agrupar 30">
            <a:extLst>
              <a:ext uri="{FF2B5EF4-FFF2-40B4-BE49-F238E27FC236}">
                <a16:creationId xmlns:a16="http://schemas.microsoft.com/office/drawing/2014/main" id="{5151B5AA-7C35-A9E9-C583-6FF51B4FCB73}"/>
              </a:ext>
            </a:extLst>
          </p:cNvPr>
          <p:cNvGrpSpPr/>
          <p:nvPr/>
        </p:nvGrpSpPr>
        <p:grpSpPr>
          <a:xfrm>
            <a:off x="2406796" y="2883408"/>
            <a:ext cx="1614404" cy="961379"/>
            <a:chOff x="2406796" y="2883408"/>
            <a:chExt cx="1614404" cy="961379"/>
          </a:xfrm>
        </p:grpSpPr>
        <p:sp>
          <p:nvSpPr>
            <p:cNvPr id="27" name="Retângulo: Cantos Arredondados 26">
              <a:extLst>
                <a:ext uri="{FF2B5EF4-FFF2-40B4-BE49-F238E27FC236}">
                  <a16:creationId xmlns:a16="http://schemas.microsoft.com/office/drawing/2014/main" id="{991FE2EE-B430-0504-A367-4B6C783CF513}"/>
                </a:ext>
              </a:extLst>
            </p:cNvPr>
            <p:cNvSpPr/>
            <p:nvPr/>
          </p:nvSpPr>
          <p:spPr>
            <a:xfrm>
              <a:off x="2406796" y="2883408"/>
              <a:ext cx="1614404" cy="961379"/>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14" name="TextBox 24">
              <a:extLst>
                <a:ext uri="{FF2B5EF4-FFF2-40B4-BE49-F238E27FC236}">
                  <a16:creationId xmlns:a16="http://schemas.microsoft.com/office/drawing/2014/main" id="{68221814-60CA-FA3A-39E1-58B4EEDC567A}"/>
                </a:ext>
              </a:extLst>
            </p:cNvPr>
            <p:cNvSpPr txBox="1"/>
            <p:nvPr/>
          </p:nvSpPr>
          <p:spPr>
            <a:xfrm>
              <a:off x="2569933" y="2967089"/>
              <a:ext cx="1438148" cy="738664"/>
            </a:xfrm>
            <a:prstGeom prst="roundRect">
              <a:avLst>
                <a:gd name="adj" fmla="val 0"/>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uLnTx/>
                  <a:uFillTx/>
                  <a:latin typeface="Arial" panose="020B0604020202020204"/>
                  <a:ea typeface="+mn-ea"/>
                  <a:cs typeface="+mn-cs"/>
                </a:rPr>
                <a:t>Região</a:t>
              </a:r>
              <a:r>
                <a:rPr kumimoji="0" lang="en-US" sz="1800" b="1" i="0" u="none" strike="noStrike" kern="1200" cap="none" spc="0" normalizeH="0" baseline="0" noProof="0" dirty="0">
                  <a:ln>
                    <a:noFill/>
                  </a:ln>
                  <a:solidFill>
                    <a:srgbClr val="FFFFFF"/>
                  </a:solidFill>
                  <a:uLnTx/>
                  <a:uFillTx/>
                  <a:latin typeface="Arial" panose="020B0604020202020204"/>
                  <a:ea typeface="+mn-ea"/>
                  <a:cs typeface="+mn-cs"/>
                </a:rPr>
                <a:t> Fa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FFFFFF"/>
                  </a:solidFill>
                  <a:uLnTx/>
                  <a:uFillTx/>
                  <a:latin typeface="Arial" panose="020B0604020202020204"/>
                  <a:ea typeface="+mn-ea"/>
                  <a:cs typeface="+mn-cs"/>
                </a:rPr>
                <a:t>Sítio de ligação ao antígeno</a:t>
              </a:r>
              <a:endParaRPr kumimoji="0" lang="pt-BR" sz="1200" b="0" i="0" u="none" strike="noStrike" kern="1200" cap="none" spc="0" normalizeH="0" baseline="0" noProof="0" dirty="0">
                <a:ln>
                  <a:noFill/>
                </a:ln>
                <a:solidFill>
                  <a:srgbClr val="FFFFFF"/>
                </a:solidFill>
                <a:uLnTx/>
                <a:uFillTx/>
                <a:latin typeface="Arial" panose="020B0604020202020204"/>
                <a:ea typeface="+mn-ea"/>
                <a:cs typeface="+mn-cs"/>
              </a:endParaRPr>
            </a:p>
          </p:txBody>
        </p:sp>
      </p:grpSp>
      <p:grpSp>
        <p:nvGrpSpPr>
          <p:cNvPr id="32" name="Agrupar 31">
            <a:extLst>
              <a:ext uri="{FF2B5EF4-FFF2-40B4-BE49-F238E27FC236}">
                <a16:creationId xmlns:a16="http://schemas.microsoft.com/office/drawing/2014/main" id="{C982866C-FD9A-169E-D41C-04DB07E201D5}"/>
              </a:ext>
            </a:extLst>
          </p:cNvPr>
          <p:cNvGrpSpPr/>
          <p:nvPr/>
        </p:nvGrpSpPr>
        <p:grpSpPr>
          <a:xfrm>
            <a:off x="8116666" y="4139908"/>
            <a:ext cx="1614404" cy="1085089"/>
            <a:chOff x="8116666" y="4139908"/>
            <a:chExt cx="1614404" cy="1085089"/>
          </a:xfrm>
        </p:grpSpPr>
        <p:sp>
          <p:nvSpPr>
            <p:cNvPr id="28" name="Retângulo: Cantos Arredondados 27">
              <a:extLst>
                <a:ext uri="{FF2B5EF4-FFF2-40B4-BE49-F238E27FC236}">
                  <a16:creationId xmlns:a16="http://schemas.microsoft.com/office/drawing/2014/main" id="{F96E90D1-98CC-9877-5202-ABB75C58727E}"/>
                </a:ext>
              </a:extLst>
            </p:cNvPr>
            <p:cNvSpPr/>
            <p:nvPr/>
          </p:nvSpPr>
          <p:spPr>
            <a:xfrm>
              <a:off x="8116666" y="4139908"/>
              <a:ext cx="1614404" cy="1085089"/>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29" name="TextBox 24">
              <a:extLst>
                <a:ext uri="{FF2B5EF4-FFF2-40B4-BE49-F238E27FC236}">
                  <a16:creationId xmlns:a16="http://schemas.microsoft.com/office/drawing/2014/main" id="{F0C05F55-98AC-4D12-3BED-51ED0D34D4B7}"/>
                </a:ext>
              </a:extLst>
            </p:cNvPr>
            <p:cNvSpPr txBox="1"/>
            <p:nvPr/>
          </p:nvSpPr>
          <p:spPr>
            <a:xfrm>
              <a:off x="8241742" y="4229654"/>
              <a:ext cx="1438148" cy="923330"/>
            </a:xfrm>
            <a:prstGeom prst="roundRect">
              <a:avLst>
                <a:gd name="adj" fmla="val 0"/>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uLnTx/>
                  <a:uFillTx/>
                  <a:latin typeface="Arial" panose="020B0604020202020204"/>
                  <a:ea typeface="+mn-ea"/>
                  <a:cs typeface="+mn-cs"/>
                </a:rPr>
                <a:t>Região</a:t>
              </a:r>
              <a:r>
                <a:rPr kumimoji="0" lang="en-US" sz="1800" b="1" i="0" u="none" strike="noStrike" kern="1200" cap="none" spc="0" normalizeH="0" baseline="0" noProof="0" dirty="0">
                  <a:ln>
                    <a:noFill/>
                  </a:ln>
                  <a:solidFill>
                    <a:srgbClr val="FFFFFF"/>
                  </a:solidFill>
                  <a:uLnTx/>
                  <a:uFillTx/>
                  <a:latin typeface="Arial" panose="020B0604020202020204"/>
                  <a:ea typeface="+mn-ea"/>
                  <a:cs typeface="+mn-cs"/>
                </a:rPr>
                <a:t> Fc</a:t>
              </a:r>
            </a:p>
            <a:p>
              <a:pPr lvl="0">
                <a:defRPr/>
              </a:pPr>
              <a:r>
                <a:rPr lang="pt-BR" sz="1200" b="1" dirty="0">
                  <a:solidFill>
                    <a:srgbClr val="FFFFFF"/>
                  </a:solidFill>
                  <a:latin typeface="Arial" panose="020B0604020202020204"/>
                </a:rPr>
                <a:t>Sítio de ligação com</a:t>
              </a:r>
              <a:r>
                <a:rPr lang="pt-BR" sz="1200" dirty="0">
                  <a:solidFill>
                    <a:srgbClr val="FFFFFF"/>
                  </a:solidFill>
                  <a:latin typeface="Arial" panose="020B0604020202020204"/>
                </a:rPr>
                <a:t> </a:t>
              </a:r>
              <a:r>
                <a:rPr lang="pt-BR" sz="1200" b="1" dirty="0">
                  <a:solidFill>
                    <a:srgbClr val="FFFFFF"/>
                  </a:solidFill>
                  <a:latin typeface="Arial" panose="020B0604020202020204"/>
                </a:rPr>
                <a:t>moléculas e células efetoras</a:t>
              </a:r>
              <a:r>
                <a:rPr lang="pt-BR" sz="1200" dirty="0">
                  <a:solidFill>
                    <a:srgbClr val="FFFFFF"/>
                  </a:solidFill>
                  <a:latin typeface="Arial" panose="020B0604020202020204"/>
                </a:rPr>
                <a:t> </a:t>
              </a:r>
              <a:endParaRPr lang="en-US" sz="1200" b="1" dirty="0">
                <a:solidFill>
                  <a:srgbClr val="FFFFFF"/>
                </a:solidFill>
                <a:effectLst>
                  <a:outerShdw blurRad="50800" dist="38100" dir="2700000" algn="tl" rotWithShape="0">
                    <a:prstClr val="black">
                      <a:alpha val="40000"/>
                    </a:prstClr>
                  </a:outerShdw>
                </a:effectLst>
                <a:latin typeface="Arial" panose="020B0604020202020204"/>
              </a:endParaRPr>
            </a:p>
          </p:txBody>
        </p:sp>
      </p:grpSp>
      <p:sp>
        <p:nvSpPr>
          <p:cNvPr id="19" name="Oval 34">
            <a:extLst>
              <a:ext uri="{FF2B5EF4-FFF2-40B4-BE49-F238E27FC236}">
                <a16:creationId xmlns:a16="http://schemas.microsoft.com/office/drawing/2014/main" id="{BDD3B62A-4F14-7802-3C76-21118A1D22DB}"/>
              </a:ext>
            </a:extLst>
          </p:cNvPr>
          <p:cNvSpPr/>
          <p:nvPr/>
        </p:nvSpPr>
        <p:spPr>
          <a:xfrm>
            <a:off x="6169152" y="4370832"/>
            <a:ext cx="908304" cy="908304"/>
          </a:xfrm>
          <a:prstGeom prst="ellipse">
            <a:avLst/>
          </a:prstGeom>
          <a:solidFill>
            <a:schemeClr val="bg2">
              <a:lumMod val="60000"/>
              <a:lumOff val="40000"/>
              <a:alpha val="30196"/>
            </a:schemeClr>
          </a:solidFill>
          <a:ln w="19050" cap="flat" cmpd="sng" algn="ctr">
            <a:solidFill>
              <a:schemeClr val="bg2"/>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nvGrpSpPr>
          <p:cNvPr id="33" name="Agrupar 32">
            <a:extLst>
              <a:ext uri="{FF2B5EF4-FFF2-40B4-BE49-F238E27FC236}">
                <a16:creationId xmlns:a16="http://schemas.microsoft.com/office/drawing/2014/main" id="{A792DC3F-5F30-80C7-544C-3414F91CCF25}"/>
              </a:ext>
            </a:extLst>
          </p:cNvPr>
          <p:cNvGrpSpPr/>
          <p:nvPr/>
        </p:nvGrpSpPr>
        <p:grpSpPr>
          <a:xfrm>
            <a:off x="4504107" y="4385784"/>
            <a:ext cx="1873446" cy="866015"/>
            <a:chOff x="4504107" y="4385784"/>
            <a:chExt cx="1873446" cy="866015"/>
          </a:xfrm>
        </p:grpSpPr>
        <p:sp>
          <p:nvSpPr>
            <p:cNvPr id="30" name="Retângulo: Cantos Arredondados 29">
              <a:extLst>
                <a:ext uri="{FF2B5EF4-FFF2-40B4-BE49-F238E27FC236}">
                  <a16:creationId xmlns:a16="http://schemas.microsoft.com/office/drawing/2014/main" id="{9AEE596A-A4B3-7FEB-0A06-AED680927117}"/>
                </a:ext>
              </a:extLst>
            </p:cNvPr>
            <p:cNvSpPr/>
            <p:nvPr/>
          </p:nvSpPr>
          <p:spPr>
            <a:xfrm>
              <a:off x="4504107" y="4385784"/>
              <a:ext cx="1790127" cy="866015"/>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a:solidFill>
                  <a:srgbClr val="FFFFFF"/>
                </a:solidFill>
                <a:latin typeface="Calibri"/>
              </a:endParaRPr>
            </a:p>
          </p:txBody>
        </p:sp>
        <p:sp>
          <p:nvSpPr>
            <p:cNvPr id="20" name="TextBox 36">
              <a:extLst>
                <a:ext uri="{FF2B5EF4-FFF2-40B4-BE49-F238E27FC236}">
                  <a16:creationId xmlns:a16="http://schemas.microsoft.com/office/drawing/2014/main" id="{17F3083E-6686-5533-FE77-73DA06F19F2C}"/>
                </a:ext>
              </a:extLst>
            </p:cNvPr>
            <p:cNvSpPr txBox="1"/>
            <p:nvPr/>
          </p:nvSpPr>
          <p:spPr>
            <a:xfrm>
              <a:off x="4538657" y="4544440"/>
              <a:ext cx="1838896" cy="553998"/>
            </a:xfrm>
            <a:prstGeom prst="roundRect">
              <a:avLst>
                <a:gd name="adj" fmla="val 0"/>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err="1">
                  <a:ln>
                    <a:noFill/>
                  </a:ln>
                  <a:solidFill>
                    <a:srgbClr val="FFFFFF"/>
                  </a:solidFill>
                  <a:uLnTx/>
                  <a:uFillTx/>
                  <a:latin typeface="Arial" panose="020B0604020202020204"/>
                  <a:ea typeface="+mn-ea"/>
                  <a:cs typeface="+mn-cs"/>
                </a:rPr>
                <a:t>Sítio</a:t>
              </a:r>
              <a:r>
                <a:rPr kumimoji="0" lang="en-US" sz="1500" b="1" i="0" u="none" strike="noStrike" kern="0" cap="none" spc="0" normalizeH="0" baseline="0" noProof="0" dirty="0">
                  <a:ln>
                    <a:noFill/>
                  </a:ln>
                  <a:solidFill>
                    <a:srgbClr val="FFFFFF"/>
                  </a:solidFill>
                  <a:uLnTx/>
                  <a:uFillTx/>
                  <a:latin typeface="Arial" panose="020B0604020202020204"/>
                  <a:ea typeface="+mn-ea"/>
                  <a:cs typeface="+mn-cs"/>
                </a:rPr>
                <a:t> de </a:t>
              </a:r>
              <a:r>
                <a:rPr kumimoji="0" lang="en-US" sz="1500" b="1" i="0" u="none" strike="noStrike" kern="0" cap="none" spc="0" normalizeH="0" baseline="0" noProof="0" dirty="0" err="1">
                  <a:ln>
                    <a:noFill/>
                  </a:ln>
                  <a:solidFill>
                    <a:srgbClr val="FFFFFF"/>
                  </a:solidFill>
                  <a:uLnTx/>
                  <a:uFillTx/>
                  <a:latin typeface="Arial" panose="020B0604020202020204"/>
                  <a:ea typeface="+mn-ea"/>
                  <a:cs typeface="+mn-cs"/>
                </a:rPr>
                <a:t>ligação</a:t>
              </a:r>
              <a:r>
                <a:rPr kumimoji="0" lang="en-US" sz="1500" b="1" i="0" u="none" strike="noStrike" kern="0" cap="none" spc="0" normalizeH="0" baseline="0" noProof="0" dirty="0">
                  <a:ln>
                    <a:noFill/>
                  </a:ln>
                  <a:solidFill>
                    <a:srgbClr val="FFFFFF"/>
                  </a:solidFill>
                  <a:uLnTx/>
                  <a:uFillTx/>
                  <a:latin typeface="Arial" panose="020B0604020202020204"/>
                  <a:ea typeface="+mn-ea"/>
                  <a:cs typeface="+mn-cs"/>
                </a:rPr>
                <a:t> do complemento</a:t>
              </a:r>
            </a:p>
          </p:txBody>
        </p:sp>
      </p:grpSp>
    </p:spTree>
    <p:extLst>
      <p:ext uri="{BB962C8B-B14F-4D97-AF65-F5344CB8AC3E}">
        <p14:creationId xmlns:p14="http://schemas.microsoft.com/office/powerpoint/2010/main" val="427946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500"/>
                                  </p:stCondLst>
                                  <p:childTnLst>
                                    <p:set>
                                      <p:cBhvr>
                                        <p:cTn id="10" dur="1" fill="hold">
                                          <p:stCondLst>
                                            <p:cond delay="0"/>
                                          </p:stCondLst>
                                        </p:cTn>
                                        <p:tgtEl>
                                          <p:spTgt spid="13"/>
                                        </p:tgtEl>
                                        <p:attrNameLst>
                                          <p:attrName>style.visibility</p:attrName>
                                        </p:attrNameLst>
                                      </p:cBhvr>
                                      <p:to>
                                        <p:strVal val="visible"/>
                                      </p:to>
                                    </p:set>
                                    <p:anim calcmode="lin" valueType="num">
                                      <p:cBhvr>
                                        <p:cTn id="11" dur="500" fill="hold"/>
                                        <p:tgtEl>
                                          <p:spTgt spid="13"/>
                                        </p:tgtEl>
                                        <p:attrNameLst>
                                          <p:attrName>ppt_w</p:attrName>
                                        </p:attrNameLst>
                                      </p:cBhvr>
                                      <p:tavLst>
                                        <p:tav tm="0">
                                          <p:val>
                                            <p:fltVal val="0"/>
                                          </p:val>
                                        </p:tav>
                                        <p:tav tm="100000">
                                          <p:val>
                                            <p:strVal val="#ppt_w"/>
                                          </p:val>
                                        </p:tav>
                                      </p:tavLst>
                                    </p:anim>
                                    <p:anim calcmode="lin" valueType="num">
                                      <p:cBhvr>
                                        <p:cTn id="12" dur="500" fill="hold"/>
                                        <p:tgtEl>
                                          <p:spTgt spid="13"/>
                                        </p:tgtEl>
                                        <p:attrNameLst>
                                          <p:attrName>ppt_h</p:attrName>
                                        </p:attrNameLst>
                                      </p:cBhvr>
                                      <p:tavLst>
                                        <p:tav tm="0">
                                          <p:val>
                                            <p:fltVal val="0"/>
                                          </p:val>
                                        </p:tav>
                                        <p:tav tm="100000">
                                          <p:val>
                                            <p:strVal val="#ppt_h"/>
                                          </p:val>
                                        </p:tav>
                                      </p:tavLst>
                                    </p:anim>
                                    <p:animEffect transition="in" filter="fade">
                                      <p:cBhvr>
                                        <p:cTn id="13" dur="500"/>
                                        <p:tgtEl>
                                          <p:spTgt spid="13"/>
                                        </p:tgtEl>
                                      </p:cBhvr>
                                    </p:animEffect>
                                  </p:childTnLst>
                                </p:cTn>
                              </p:par>
                              <p:par>
                                <p:cTn id="14" presetID="10" presetClass="entr" presetSubtype="0" fill="hold" nodeType="withEffect">
                                  <p:stCondLst>
                                    <p:cond delay="50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childTnLst>
                          </p:cTn>
                        </p:par>
                        <p:par>
                          <p:cTn id="17" fill="hold">
                            <p:stCondLst>
                              <p:cond delay="1500"/>
                            </p:stCondLst>
                            <p:childTnLst>
                              <p:par>
                                <p:cTn id="18" presetID="53" presetClass="entr" presetSubtype="16" fill="hold" grpId="0" nodeType="afterEffect">
                                  <p:stCondLst>
                                    <p:cond delay="500"/>
                                  </p:stCondLst>
                                  <p:childTnLst>
                                    <p:set>
                                      <p:cBhvr>
                                        <p:cTn id="19" dur="1" fill="hold">
                                          <p:stCondLst>
                                            <p:cond delay="0"/>
                                          </p:stCondLst>
                                        </p:cTn>
                                        <p:tgtEl>
                                          <p:spTgt spid="17"/>
                                        </p:tgtEl>
                                        <p:attrNameLst>
                                          <p:attrName>style.visibility</p:attrName>
                                        </p:attrNameLst>
                                      </p:cBhvr>
                                      <p:to>
                                        <p:strVal val="visible"/>
                                      </p:to>
                                    </p:set>
                                    <p:anim calcmode="lin" valueType="num">
                                      <p:cBhvr>
                                        <p:cTn id="20" dur="500" fill="hold"/>
                                        <p:tgtEl>
                                          <p:spTgt spid="17"/>
                                        </p:tgtEl>
                                        <p:attrNameLst>
                                          <p:attrName>ppt_w</p:attrName>
                                        </p:attrNameLst>
                                      </p:cBhvr>
                                      <p:tavLst>
                                        <p:tav tm="0">
                                          <p:val>
                                            <p:fltVal val="0"/>
                                          </p:val>
                                        </p:tav>
                                        <p:tav tm="100000">
                                          <p:val>
                                            <p:strVal val="#ppt_w"/>
                                          </p:val>
                                        </p:tav>
                                      </p:tavLst>
                                    </p:anim>
                                    <p:anim calcmode="lin" valueType="num">
                                      <p:cBhvr>
                                        <p:cTn id="21" dur="500" fill="hold"/>
                                        <p:tgtEl>
                                          <p:spTgt spid="17"/>
                                        </p:tgtEl>
                                        <p:attrNameLst>
                                          <p:attrName>ppt_h</p:attrName>
                                        </p:attrNameLst>
                                      </p:cBhvr>
                                      <p:tavLst>
                                        <p:tav tm="0">
                                          <p:val>
                                            <p:fltVal val="0"/>
                                          </p:val>
                                        </p:tav>
                                        <p:tav tm="100000">
                                          <p:val>
                                            <p:strVal val="#ppt_h"/>
                                          </p:val>
                                        </p:tav>
                                      </p:tavLst>
                                    </p:anim>
                                    <p:animEffect transition="in" filter="fade">
                                      <p:cBhvr>
                                        <p:cTn id="22" dur="500"/>
                                        <p:tgtEl>
                                          <p:spTgt spid="17"/>
                                        </p:tgtEl>
                                      </p:cBhvr>
                                    </p:animEffect>
                                  </p:childTnLst>
                                </p:cTn>
                              </p:par>
                              <p:par>
                                <p:cTn id="23" presetID="10" presetClass="entr" presetSubtype="0" fill="hold" nodeType="withEffect">
                                  <p:stCondLst>
                                    <p:cond delay="50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par>
                          <p:cTn id="26" fill="hold">
                            <p:stCondLst>
                              <p:cond delay="2500"/>
                            </p:stCondLst>
                            <p:childTnLst>
                              <p:par>
                                <p:cTn id="27" presetID="53" presetClass="entr" presetSubtype="16" fill="hold" grpId="0" nodeType="afterEffect">
                                  <p:stCondLst>
                                    <p:cond delay="500"/>
                                  </p:stCondLst>
                                  <p:childTnLst>
                                    <p:set>
                                      <p:cBhvr>
                                        <p:cTn id="28" dur="1" fill="hold">
                                          <p:stCondLst>
                                            <p:cond delay="0"/>
                                          </p:stCondLst>
                                        </p:cTn>
                                        <p:tgtEl>
                                          <p:spTgt spid="19"/>
                                        </p:tgtEl>
                                        <p:attrNameLst>
                                          <p:attrName>style.visibility</p:attrName>
                                        </p:attrNameLst>
                                      </p:cBhvr>
                                      <p:to>
                                        <p:strVal val="visible"/>
                                      </p:to>
                                    </p:set>
                                    <p:anim calcmode="lin" valueType="num">
                                      <p:cBhvr>
                                        <p:cTn id="29" dur="500" fill="hold"/>
                                        <p:tgtEl>
                                          <p:spTgt spid="19"/>
                                        </p:tgtEl>
                                        <p:attrNameLst>
                                          <p:attrName>ppt_w</p:attrName>
                                        </p:attrNameLst>
                                      </p:cBhvr>
                                      <p:tavLst>
                                        <p:tav tm="0">
                                          <p:val>
                                            <p:fltVal val="0"/>
                                          </p:val>
                                        </p:tav>
                                        <p:tav tm="100000">
                                          <p:val>
                                            <p:strVal val="#ppt_w"/>
                                          </p:val>
                                        </p:tav>
                                      </p:tavLst>
                                    </p:anim>
                                    <p:anim calcmode="lin" valueType="num">
                                      <p:cBhvr>
                                        <p:cTn id="30" dur="500" fill="hold"/>
                                        <p:tgtEl>
                                          <p:spTgt spid="19"/>
                                        </p:tgtEl>
                                        <p:attrNameLst>
                                          <p:attrName>ppt_h</p:attrName>
                                        </p:attrNameLst>
                                      </p:cBhvr>
                                      <p:tavLst>
                                        <p:tav tm="0">
                                          <p:val>
                                            <p:fltVal val="0"/>
                                          </p:val>
                                        </p:tav>
                                        <p:tav tm="100000">
                                          <p:val>
                                            <p:strVal val="#ppt_h"/>
                                          </p:val>
                                        </p:tav>
                                      </p:tavLst>
                                    </p:anim>
                                    <p:animEffect transition="in" filter="fade">
                                      <p:cBhvr>
                                        <p:cTn id="31" dur="500"/>
                                        <p:tgtEl>
                                          <p:spTgt spid="19"/>
                                        </p:tgtEl>
                                      </p:cBhvr>
                                    </p:animEffect>
                                  </p:childTnLst>
                                </p:cTn>
                              </p:par>
                              <p:par>
                                <p:cTn id="32" presetID="10" presetClass="entr" presetSubtype="0" fill="hold" nodeType="withEffect">
                                  <p:stCondLst>
                                    <p:cond delay="50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childTnLst>
                          </p:cTn>
                        </p:par>
                        <p:par>
                          <p:cTn id="35" fill="hold">
                            <p:stCondLst>
                              <p:cond delay="3500"/>
                            </p:stCondLst>
                            <p:childTnLst>
                              <p:par>
                                <p:cTn id="36" presetID="10" presetClass="entr" presetSubtype="0" fill="hold" grpId="0" nodeType="afterEffect">
                                  <p:stCondLst>
                                    <p:cond delay="5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22" presetClass="entr" presetSubtype="1" fill="hold" nodeType="withEffect">
                                  <p:stCondLst>
                                    <p:cond delay="500"/>
                                  </p:stCondLst>
                                  <p:childTnLst>
                                    <p:set>
                                      <p:cBhvr>
                                        <p:cTn id="40" dur="1" fill="hold">
                                          <p:stCondLst>
                                            <p:cond delay="0"/>
                                          </p:stCondLst>
                                        </p:cTn>
                                        <p:tgtEl>
                                          <p:spTgt spid="7"/>
                                        </p:tgtEl>
                                        <p:attrNameLst>
                                          <p:attrName>style.visibility</p:attrName>
                                        </p:attrNameLst>
                                      </p:cBhvr>
                                      <p:to>
                                        <p:strVal val="visible"/>
                                      </p:to>
                                    </p:set>
                                    <p:animEffect transition="in" filter="wipe(up)">
                                      <p:cBhvr>
                                        <p:cTn id="41" dur="500"/>
                                        <p:tgtEl>
                                          <p:spTgt spid="7"/>
                                        </p:tgtEl>
                                      </p:cBhvr>
                                    </p:animEffect>
                                  </p:childTnLst>
                                </p:cTn>
                              </p:par>
                            </p:childTnLst>
                          </p:cTn>
                        </p:par>
                        <p:par>
                          <p:cTn id="42" fill="hold">
                            <p:stCondLst>
                              <p:cond delay="4500"/>
                            </p:stCondLst>
                            <p:childTnLst>
                              <p:par>
                                <p:cTn id="43" presetID="10" presetClass="entr" presetSubtype="0" fill="hold" grpId="0" nodeType="afterEffect">
                                  <p:stCondLst>
                                    <p:cond delay="50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22" presetClass="entr" presetSubtype="4" fill="hold" nodeType="withEffect">
                                  <p:stCondLst>
                                    <p:cond delay="500"/>
                                  </p:stCondLst>
                                  <p:childTnLst>
                                    <p:set>
                                      <p:cBhvr>
                                        <p:cTn id="47" dur="1" fill="hold">
                                          <p:stCondLst>
                                            <p:cond delay="0"/>
                                          </p:stCondLst>
                                        </p:cTn>
                                        <p:tgtEl>
                                          <p:spTgt spid="8"/>
                                        </p:tgtEl>
                                        <p:attrNameLst>
                                          <p:attrName>style.visibility</p:attrName>
                                        </p:attrNameLst>
                                      </p:cBhvr>
                                      <p:to>
                                        <p:strVal val="visible"/>
                                      </p:to>
                                    </p:set>
                                    <p:animEffect transition="in" filter="wipe(down)">
                                      <p:cBhvr>
                                        <p:cTn id="48" dur="500"/>
                                        <p:tgtEl>
                                          <p:spTgt spid="8"/>
                                        </p:tgtEl>
                                      </p:cBhvr>
                                    </p:animEffect>
                                  </p:childTnLst>
                                </p:cTn>
                              </p:par>
                            </p:childTnLst>
                          </p:cTn>
                        </p:par>
                        <p:par>
                          <p:cTn id="49" fill="hold">
                            <p:stCondLst>
                              <p:cond delay="5500"/>
                            </p:stCondLst>
                            <p:childTnLst>
                              <p:par>
                                <p:cTn id="50" presetID="22" presetClass="entr" presetSubtype="8" fill="hold" grpId="0" nodeType="afterEffect">
                                  <p:stCondLst>
                                    <p:cond delay="500"/>
                                  </p:stCondLst>
                                  <p:childTnLst>
                                    <p:set>
                                      <p:cBhvr>
                                        <p:cTn id="51" dur="1" fill="hold">
                                          <p:stCondLst>
                                            <p:cond delay="0"/>
                                          </p:stCondLst>
                                        </p:cTn>
                                        <p:tgtEl>
                                          <p:spTgt spid="10"/>
                                        </p:tgtEl>
                                        <p:attrNameLst>
                                          <p:attrName>style.visibility</p:attrName>
                                        </p:attrNameLst>
                                      </p:cBhvr>
                                      <p:to>
                                        <p:strVal val="visible"/>
                                      </p:to>
                                    </p:set>
                                    <p:animEffect transition="in" filter="wipe(left)">
                                      <p:cBhvr>
                                        <p:cTn id="52" dur="500"/>
                                        <p:tgtEl>
                                          <p:spTgt spid="10"/>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animBg="1"/>
      <p:bldP spid="12" grpId="0"/>
      <p:bldP spid="13" grpId="0" animBg="1"/>
      <p:bldP spid="17" grpId="0" animBg="1"/>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tângulo: Cantos Arredondados 83">
            <a:extLst>
              <a:ext uri="{FF2B5EF4-FFF2-40B4-BE49-F238E27FC236}">
                <a16:creationId xmlns:a16="http://schemas.microsoft.com/office/drawing/2014/main" id="{F4BB9067-ADBB-B327-939B-E64F30701DFD}"/>
              </a:ext>
            </a:extLst>
          </p:cNvPr>
          <p:cNvSpPr/>
          <p:nvPr/>
        </p:nvSpPr>
        <p:spPr>
          <a:xfrm>
            <a:off x="1129831" y="1013082"/>
            <a:ext cx="9754069" cy="4935897"/>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46088" y="6190071"/>
            <a:ext cx="10806111" cy="565786"/>
          </a:xfrm>
        </p:spPr>
        <p:txBody>
          <a:bodyPr/>
          <a:lstStyle/>
          <a:p>
            <a:r>
              <a:rPr lang="pt-BR" dirty="0"/>
              <a:t>aIgG2 </a:t>
            </a:r>
            <a:r>
              <a:rPr lang="pt-BR" dirty="0" err="1"/>
              <a:t>can</a:t>
            </a:r>
            <a:r>
              <a:rPr lang="pt-BR" dirty="0"/>
              <a:t> </a:t>
            </a:r>
            <a:r>
              <a:rPr lang="pt-BR" dirty="0" err="1"/>
              <a:t>act</a:t>
            </a:r>
            <a:r>
              <a:rPr lang="pt-BR" dirty="0"/>
              <a:t> as </a:t>
            </a:r>
            <a:r>
              <a:rPr lang="pt-BR" dirty="0" err="1"/>
              <a:t>an</a:t>
            </a:r>
            <a:r>
              <a:rPr lang="pt-BR" dirty="0"/>
              <a:t> </a:t>
            </a:r>
            <a:r>
              <a:rPr lang="pt-BR" dirty="0" err="1"/>
              <a:t>opsonin</a:t>
            </a:r>
            <a:r>
              <a:rPr lang="pt-BR" dirty="0"/>
              <a:t> in </a:t>
            </a:r>
            <a:r>
              <a:rPr lang="pt-BR" dirty="0" err="1"/>
              <a:t>the</a:t>
            </a:r>
            <a:r>
              <a:rPr lang="pt-BR" dirty="0"/>
              <a:t> </a:t>
            </a:r>
            <a:r>
              <a:rPr lang="pt-BR" dirty="0" err="1"/>
              <a:t>presence</a:t>
            </a:r>
            <a:r>
              <a:rPr lang="pt-BR" dirty="0"/>
              <a:t> </a:t>
            </a:r>
            <a:r>
              <a:rPr lang="pt-BR" dirty="0" err="1"/>
              <a:t>of</a:t>
            </a:r>
            <a:r>
              <a:rPr lang="pt-BR" dirty="0"/>
              <a:t> </a:t>
            </a:r>
            <a:r>
              <a:rPr lang="pt-BR" dirty="0" err="1"/>
              <a:t>Fc</a:t>
            </a:r>
            <a:r>
              <a:rPr lang="pt-BR" dirty="0"/>
              <a:t> (</a:t>
            </a:r>
            <a:r>
              <a:rPr lang="pt-BR" dirty="0" err="1"/>
              <a:t>fragment</a:t>
            </a:r>
            <a:r>
              <a:rPr lang="pt-BR" dirty="0"/>
              <a:t>, </a:t>
            </a:r>
            <a:r>
              <a:rPr lang="pt-BR" dirty="0" err="1"/>
              <a:t>crystallizable</a:t>
            </a:r>
            <a:r>
              <a:rPr lang="pt-BR" dirty="0"/>
              <a:t>) receptor </a:t>
            </a:r>
            <a:r>
              <a:rPr lang="pt-BR" dirty="0" err="1"/>
              <a:t>of</a:t>
            </a:r>
            <a:r>
              <a:rPr lang="pt-BR" dirty="0"/>
              <a:t> </a:t>
            </a:r>
            <a:r>
              <a:rPr lang="pt-BR" dirty="0" err="1"/>
              <a:t>the</a:t>
            </a:r>
            <a:r>
              <a:rPr lang="pt-BR" dirty="0"/>
              <a:t> </a:t>
            </a:r>
            <a:r>
              <a:rPr lang="pt-BR" dirty="0" err="1"/>
              <a:t>appropriate</a:t>
            </a:r>
            <a:r>
              <a:rPr lang="pt-BR" dirty="0"/>
              <a:t> </a:t>
            </a:r>
            <a:r>
              <a:rPr lang="pt-BR" dirty="0" err="1"/>
              <a:t>allotype</a:t>
            </a:r>
            <a:r>
              <a:rPr lang="pt-BR" dirty="0"/>
              <a:t>, </a:t>
            </a:r>
            <a:r>
              <a:rPr lang="pt-BR" dirty="0" err="1"/>
              <a:t>found</a:t>
            </a:r>
            <a:r>
              <a:rPr lang="pt-BR" dirty="0"/>
              <a:t> in </a:t>
            </a:r>
            <a:r>
              <a:rPr lang="pt-BR" dirty="0" err="1"/>
              <a:t>about</a:t>
            </a:r>
            <a:r>
              <a:rPr lang="pt-BR" dirty="0"/>
              <a:t> 50% </a:t>
            </a:r>
            <a:r>
              <a:rPr lang="pt-BR" dirty="0" err="1"/>
              <a:t>of</a:t>
            </a:r>
            <a:r>
              <a:rPr lang="pt-BR" dirty="0"/>
              <a:t> </a:t>
            </a:r>
            <a:r>
              <a:rPr lang="pt-BR" dirty="0" err="1"/>
              <a:t>Caucasian</a:t>
            </a:r>
            <a:r>
              <a:rPr lang="pt-BR" dirty="0"/>
              <a:t> individuals.3</a:t>
            </a:r>
            <a:br>
              <a:rPr lang="pt-BR" dirty="0"/>
            </a:br>
            <a:r>
              <a:rPr lang="pt-BR" dirty="0" err="1"/>
              <a:t>Ig</a:t>
            </a:r>
            <a:r>
              <a:rPr lang="pt-BR" dirty="0"/>
              <a:t>, </a:t>
            </a:r>
            <a:r>
              <a:rPr lang="pt-BR" dirty="0" err="1"/>
              <a:t>immunoglobulin</a:t>
            </a:r>
            <a:endParaRPr lang="pt-BR" dirty="0"/>
          </a:p>
          <a:p>
            <a:endParaRPr lang="pt-BR" dirty="0"/>
          </a:p>
          <a:p>
            <a:pPr algn="l" fontAlgn="base"/>
            <a:r>
              <a:rPr lang="pt-BR" sz="700" b="0" i="0" dirty="0">
                <a:solidFill>
                  <a:srgbClr val="1D1D1D"/>
                </a:solidFill>
                <a:effectLst/>
                <a:latin typeface="Arial" panose="020B0604020202020204" pitchFamily="34" charset="0"/>
              </a:rPr>
              <a:t>1. </a:t>
            </a:r>
            <a:r>
              <a:rPr lang="pt-BR" sz="700" b="0" i="0" dirty="0" err="1">
                <a:solidFill>
                  <a:srgbClr val="1D1D1D"/>
                </a:solidFill>
                <a:effectLst/>
                <a:latin typeface="Arial" panose="020B0604020202020204" pitchFamily="34" charset="0"/>
              </a:rPr>
              <a:t>Isobe</a:t>
            </a:r>
            <a:r>
              <a:rPr lang="pt-BR" sz="700" b="0" i="0" dirty="0">
                <a:solidFill>
                  <a:srgbClr val="1D1D1D"/>
                </a:solidFill>
                <a:effectLst/>
                <a:latin typeface="Arial" panose="020B0604020202020204" pitchFamily="34" charset="0"/>
              </a:rPr>
              <a:t> N, </a:t>
            </a:r>
            <a:r>
              <a:rPr lang="pt-BR" sz="700" b="0" i="0" dirty="0" err="1">
                <a:solidFill>
                  <a:srgbClr val="1D1D1D"/>
                </a:solidFill>
                <a:effectLst/>
                <a:latin typeface="Arial" panose="020B0604020202020204" pitchFamily="34" charset="0"/>
              </a:rPr>
              <a:t>Yonekawa</a:t>
            </a:r>
            <a:r>
              <a:rPr lang="pt-BR" sz="700" b="0" i="0" dirty="0">
                <a:solidFill>
                  <a:srgbClr val="1D1D1D"/>
                </a:solidFill>
                <a:effectLst/>
                <a:latin typeface="Arial" panose="020B0604020202020204" pitchFamily="34" charset="0"/>
              </a:rPr>
              <a:t> T, Matsushita T et al. </a:t>
            </a:r>
            <a:r>
              <a:rPr lang="pt-BR" sz="700" b="0" i="0" dirty="0" err="1">
                <a:solidFill>
                  <a:srgbClr val="1D1D1D"/>
                </a:solidFill>
                <a:effectLst/>
                <a:latin typeface="Arial" panose="020B0604020202020204" pitchFamily="34" charset="0"/>
              </a:rPr>
              <a:t>Quantitativ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ssays</a:t>
            </a:r>
            <a:r>
              <a:rPr lang="pt-BR" sz="700" b="0" i="0" dirty="0">
                <a:solidFill>
                  <a:srgbClr val="1D1D1D"/>
                </a:solidFill>
                <a:effectLst/>
                <a:latin typeface="Arial" panose="020B0604020202020204" pitchFamily="34" charset="0"/>
              </a:rPr>
              <a:t> for anti-aquaporin-4 </a:t>
            </a:r>
            <a:r>
              <a:rPr lang="pt-BR" sz="700" b="0" i="0" dirty="0" err="1">
                <a:solidFill>
                  <a:srgbClr val="1D1D1D"/>
                </a:solidFill>
                <a:effectLst/>
                <a:latin typeface="Arial" panose="020B0604020202020204" pitchFamily="34" charset="0"/>
              </a:rPr>
              <a:t>antibody</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subclas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alysis</a:t>
            </a:r>
            <a:r>
              <a:rPr lang="pt-BR" sz="700" b="0" i="0" dirty="0">
                <a:solidFill>
                  <a:srgbClr val="1D1D1D"/>
                </a:solidFill>
                <a:effectLst/>
                <a:latin typeface="Arial" panose="020B0604020202020204" pitchFamily="34" charset="0"/>
              </a:rPr>
              <a:t> in </a:t>
            </a:r>
            <a:r>
              <a:rPr lang="pt-BR" sz="700" b="0" i="0" dirty="0" err="1">
                <a:solidFill>
                  <a:srgbClr val="1D1D1D"/>
                </a:solidFill>
                <a:effectLst/>
                <a:latin typeface="Arial" panose="020B0604020202020204" pitchFamily="34" charset="0"/>
              </a:rPr>
              <a:t>neuromyeliti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ptica</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ul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Scler</a:t>
            </a:r>
            <a:r>
              <a:rPr lang="pt-BR" sz="700" b="0" i="0" dirty="0">
                <a:solidFill>
                  <a:srgbClr val="1D1D1D"/>
                </a:solidFill>
                <a:effectLst/>
                <a:latin typeface="Arial" panose="020B0604020202020204" pitchFamily="34" charset="0"/>
              </a:rPr>
              <a:t>. 2012 Nov;18(11):1541-51.</a:t>
            </a:r>
          </a:p>
          <a:p>
            <a:pPr algn="l" fontAlgn="base"/>
            <a:r>
              <a:rPr lang="pt-BR" sz="700" b="0" i="0" dirty="0">
                <a:solidFill>
                  <a:srgbClr val="1D1D1D"/>
                </a:solidFill>
                <a:effectLst/>
                <a:latin typeface="Arial" panose="020B0604020202020204" pitchFamily="34" charset="0"/>
              </a:rPr>
              <a:t>2. de </a:t>
            </a:r>
            <a:r>
              <a:rPr lang="pt-BR" sz="700" b="0" i="0" dirty="0" err="1">
                <a:solidFill>
                  <a:srgbClr val="1D1D1D"/>
                </a:solidFill>
                <a:effectLst/>
                <a:latin typeface="Arial" panose="020B0604020202020204" pitchFamily="34" charset="0"/>
              </a:rPr>
              <a:t>Taeye</a:t>
            </a:r>
            <a:r>
              <a:rPr lang="pt-BR" sz="700" b="0" i="0" dirty="0">
                <a:solidFill>
                  <a:srgbClr val="1D1D1D"/>
                </a:solidFill>
                <a:effectLst/>
                <a:latin typeface="Arial" panose="020B0604020202020204" pitchFamily="34" charset="0"/>
              </a:rPr>
              <a:t> SW, </a:t>
            </a:r>
            <a:r>
              <a:rPr lang="pt-BR" sz="700" b="0" i="0" dirty="0" err="1">
                <a:solidFill>
                  <a:srgbClr val="1D1D1D"/>
                </a:solidFill>
                <a:effectLst/>
                <a:latin typeface="Arial" panose="020B0604020202020204" pitchFamily="34" charset="0"/>
              </a:rPr>
              <a:t>Rispens</a:t>
            </a:r>
            <a:r>
              <a:rPr lang="pt-BR" sz="700" b="0" i="0" dirty="0">
                <a:solidFill>
                  <a:srgbClr val="1D1D1D"/>
                </a:solidFill>
                <a:effectLst/>
                <a:latin typeface="Arial" panose="020B0604020202020204" pitchFamily="34" charset="0"/>
              </a:rPr>
              <a:t> T, </a:t>
            </a:r>
            <a:r>
              <a:rPr lang="pt-BR" sz="700" b="0" i="0" dirty="0" err="1">
                <a:solidFill>
                  <a:srgbClr val="1D1D1D"/>
                </a:solidFill>
                <a:effectLst/>
                <a:latin typeface="Arial" panose="020B0604020202020204" pitchFamily="34" charset="0"/>
              </a:rPr>
              <a:t>Vidarsson</a:t>
            </a:r>
            <a:r>
              <a:rPr lang="pt-BR" sz="700" b="0" i="0" dirty="0">
                <a:solidFill>
                  <a:srgbClr val="1D1D1D"/>
                </a:solidFill>
                <a:effectLst/>
                <a:latin typeface="Arial" panose="020B0604020202020204" pitchFamily="34" charset="0"/>
              </a:rPr>
              <a:t> G. The </a:t>
            </a:r>
            <a:r>
              <a:rPr lang="pt-BR" sz="700" b="0" i="0" dirty="0" err="1">
                <a:solidFill>
                  <a:srgbClr val="1D1D1D"/>
                </a:solidFill>
                <a:effectLst/>
                <a:latin typeface="Arial" panose="020B0604020202020204" pitchFamily="34" charset="0"/>
              </a:rPr>
              <a:t>Ligands</a:t>
            </a:r>
            <a:r>
              <a:rPr lang="pt-BR" sz="700" b="0" i="0" dirty="0">
                <a:solidFill>
                  <a:srgbClr val="1D1D1D"/>
                </a:solidFill>
                <a:effectLst/>
                <a:latin typeface="Arial" panose="020B0604020202020204" pitchFamily="34" charset="0"/>
              </a:rPr>
              <a:t> for </a:t>
            </a:r>
            <a:r>
              <a:rPr lang="pt-BR" sz="700" b="0" i="0" dirty="0" err="1">
                <a:solidFill>
                  <a:srgbClr val="1D1D1D"/>
                </a:solidFill>
                <a:effectLst/>
                <a:latin typeface="Arial" panose="020B0604020202020204" pitchFamily="34" charset="0"/>
              </a:rPr>
              <a:t>Human</a:t>
            </a:r>
            <a:r>
              <a:rPr lang="pt-BR" sz="700" b="0" i="0" dirty="0">
                <a:solidFill>
                  <a:srgbClr val="1D1D1D"/>
                </a:solidFill>
                <a:effectLst/>
                <a:latin typeface="Arial" panose="020B0604020202020204" pitchFamily="34" charset="0"/>
              </a:rPr>
              <a:t> IgG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i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ffecto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Function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tibodies</a:t>
            </a:r>
            <a:r>
              <a:rPr lang="pt-BR" sz="700" b="0" i="0" dirty="0">
                <a:solidFill>
                  <a:srgbClr val="1D1D1D"/>
                </a:solidFill>
                <a:effectLst/>
                <a:latin typeface="Arial" panose="020B0604020202020204" pitchFamily="34" charset="0"/>
              </a:rPr>
              <a:t> (Basel). 2019 </a:t>
            </a:r>
            <a:r>
              <a:rPr lang="pt-BR" sz="700" b="0" i="0" dirty="0" err="1">
                <a:solidFill>
                  <a:srgbClr val="1D1D1D"/>
                </a:solidFill>
                <a:effectLst/>
                <a:latin typeface="Arial" panose="020B0604020202020204" pitchFamily="34" charset="0"/>
              </a:rPr>
              <a:t>Apr</a:t>
            </a:r>
            <a:r>
              <a:rPr lang="pt-BR" sz="700" b="0" i="0" dirty="0">
                <a:solidFill>
                  <a:srgbClr val="1D1D1D"/>
                </a:solidFill>
                <a:effectLst/>
                <a:latin typeface="Arial" panose="020B0604020202020204" pitchFamily="34" charset="0"/>
              </a:rPr>
              <a:t> 25;8(2):30.</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709266"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Anticorpos: Subclasses e Atividade Funcional</a:t>
            </a:r>
            <a:r>
              <a:rPr lang="pt-BR" sz="4000" b="1" baseline="30000" dirty="0">
                <a:gradFill>
                  <a:gsLst>
                    <a:gs pos="0">
                      <a:schemeClr val="accent1"/>
                    </a:gs>
                    <a:gs pos="100000">
                      <a:schemeClr val="bg2"/>
                    </a:gs>
                  </a:gsLst>
                  <a:lin ang="2700000" scaled="0"/>
                </a:gradFill>
                <a:latin typeface="Calisto MT"/>
              </a:rPr>
              <a:t>1-2</a:t>
            </a:r>
            <a:endParaRPr lang="pt-BR" sz="4000" b="1" dirty="0">
              <a:gradFill>
                <a:gsLst>
                  <a:gs pos="0">
                    <a:schemeClr val="accent1"/>
                  </a:gs>
                  <a:gs pos="100000">
                    <a:schemeClr val="bg2"/>
                  </a:gs>
                </a:gsLst>
                <a:lin ang="2700000" scaled="0"/>
              </a:gradFill>
              <a:latin typeface="Calisto MT"/>
            </a:endParaRPr>
          </a:p>
        </p:txBody>
      </p:sp>
      <p:sp>
        <p:nvSpPr>
          <p:cNvPr id="7" name="Rectangle 124">
            <a:extLst>
              <a:ext uri="{FF2B5EF4-FFF2-40B4-BE49-F238E27FC236}">
                <a16:creationId xmlns:a16="http://schemas.microsoft.com/office/drawing/2014/main" id="{8C5C7960-2321-0A55-2B38-A29A57DE65BD}"/>
              </a:ext>
            </a:extLst>
          </p:cNvPr>
          <p:cNvSpPr/>
          <p:nvPr/>
        </p:nvSpPr>
        <p:spPr>
          <a:xfrm>
            <a:off x="1366481" y="5481560"/>
            <a:ext cx="9204158" cy="307777"/>
          </a:xfrm>
          <a:prstGeom prst="rect">
            <a:avLst/>
          </a:prstGeom>
          <a:solidFill>
            <a:schemeClr val="bg1"/>
          </a:solidFill>
          <a:ln>
            <a:solidFill>
              <a:schemeClr val="bg1">
                <a:lumMod val="65000"/>
              </a:schemeClr>
            </a:solidFill>
          </a:ln>
        </p:spPr>
        <p:txBody>
          <a:bodyPr wrap="square">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effectLst/>
                <a:uLnTx/>
                <a:uFillTx/>
                <a:ea typeface="ヒラギノ角ゴ Pro W3" panose="020B0300000000000000" pitchFamily="34" charset="-128"/>
                <a:cs typeface="Arial" panose="020B0604020202020204" pitchFamily="34" charset="0"/>
              </a:rPr>
              <a:t>+ Funções efetoras menores       ++ Funções efetoras menores        +++ Funções efetoras principais</a:t>
            </a:r>
            <a:endParaRPr kumimoji="0" lang="en-US" sz="1400" b="1" i="0" u="none" strike="noStrike" kern="1200" cap="none" spc="0" normalizeH="0" baseline="0" noProof="0" dirty="0">
              <a:ln>
                <a:noFill/>
              </a:ln>
              <a:effectLst/>
              <a:uLnTx/>
              <a:uFillTx/>
              <a:ea typeface="ヒラギノ角ゴ Pro W3" panose="020B0300000000000000" pitchFamily="34" charset="-128"/>
              <a:cs typeface="Arial" panose="020B0604020202020204" pitchFamily="34" charset="0"/>
            </a:endParaRPr>
          </a:p>
        </p:txBody>
      </p:sp>
      <p:graphicFrame>
        <p:nvGraphicFramePr>
          <p:cNvPr id="8" name="Table 100">
            <a:extLst>
              <a:ext uri="{FF2B5EF4-FFF2-40B4-BE49-F238E27FC236}">
                <a16:creationId xmlns:a16="http://schemas.microsoft.com/office/drawing/2014/main" id="{EF0AAE45-35DD-26CA-BD12-3A8DC5CA425E}"/>
              </a:ext>
            </a:extLst>
          </p:cNvPr>
          <p:cNvGraphicFramePr>
            <a:graphicFrameLocks noGrp="1"/>
          </p:cNvGraphicFramePr>
          <p:nvPr>
            <p:extLst>
              <p:ext uri="{D42A27DB-BD31-4B8C-83A1-F6EECF244321}">
                <p14:modId xmlns:p14="http://schemas.microsoft.com/office/powerpoint/2010/main" val="1072676461"/>
              </p:ext>
            </p:extLst>
          </p:nvPr>
        </p:nvGraphicFramePr>
        <p:xfrm>
          <a:off x="1390316" y="1213391"/>
          <a:ext cx="9204158" cy="4037651"/>
        </p:xfrm>
        <a:graphic>
          <a:graphicData uri="http://schemas.openxmlformats.org/drawingml/2006/table">
            <a:tbl>
              <a:tblPr firstRow="1" bandRow="1"/>
              <a:tblGrid>
                <a:gridCol w="2121457">
                  <a:extLst>
                    <a:ext uri="{9D8B030D-6E8A-4147-A177-3AD203B41FA5}">
                      <a16:colId xmlns:a16="http://schemas.microsoft.com/office/drawing/2014/main" val="20000"/>
                    </a:ext>
                  </a:extLst>
                </a:gridCol>
                <a:gridCol w="982896">
                  <a:extLst>
                    <a:ext uri="{9D8B030D-6E8A-4147-A177-3AD203B41FA5}">
                      <a16:colId xmlns:a16="http://schemas.microsoft.com/office/drawing/2014/main" val="857641635"/>
                    </a:ext>
                  </a:extLst>
                </a:gridCol>
                <a:gridCol w="814135">
                  <a:extLst>
                    <a:ext uri="{9D8B030D-6E8A-4147-A177-3AD203B41FA5}">
                      <a16:colId xmlns:a16="http://schemas.microsoft.com/office/drawing/2014/main" val="1774656147"/>
                    </a:ext>
                  </a:extLst>
                </a:gridCol>
                <a:gridCol w="914350">
                  <a:extLst>
                    <a:ext uri="{9D8B030D-6E8A-4147-A177-3AD203B41FA5}">
                      <a16:colId xmlns:a16="http://schemas.microsoft.com/office/drawing/2014/main" val="20003"/>
                    </a:ext>
                  </a:extLst>
                </a:gridCol>
                <a:gridCol w="914350">
                  <a:extLst>
                    <a:ext uri="{9D8B030D-6E8A-4147-A177-3AD203B41FA5}">
                      <a16:colId xmlns:a16="http://schemas.microsoft.com/office/drawing/2014/main" val="20004"/>
                    </a:ext>
                  </a:extLst>
                </a:gridCol>
                <a:gridCol w="914350">
                  <a:extLst>
                    <a:ext uri="{9D8B030D-6E8A-4147-A177-3AD203B41FA5}">
                      <a16:colId xmlns:a16="http://schemas.microsoft.com/office/drawing/2014/main" val="20005"/>
                    </a:ext>
                  </a:extLst>
                </a:gridCol>
                <a:gridCol w="914350">
                  <a:extLst>
                    <a:ext uri="{9D8B030D-6E8A-4147-A177-3AD203B41FA5}">
                      <a16:colId xmlns:a16="http://schemas.microsoft.com/office/drawing/2014/main" val="3985811310"/>
                    </a:ext>
                  </a:extLst>
                </a:gridCol>
                <a:gridCol w="814135">
                  <a:extLst>
                    <a:ext uri="{9D8B030D-6E8A-4147-A177-3AD203B41FA5}">
                      <a16:colId xmlns:a16="http://schemas.microsoft.com/office/drawing/2014/main" val="2015879763"/>
                    </a:ext>
                  </a:extLst>
                </a:gridCol>
                <a:gridCol w="814135">
                  <a:extLst>
                    <a:ext uri="{9D8B030D-6E8A-4147-A177-3AD203B41FA5}">
                      <a16:colId xmlns:a16="http://schemas.microsoft.com/office/drawing/2014/main" val="3599586456"/>
                    </a:ext>
                  </a:extLst>
                </a:gridCol>
              </a:tblGrid>
              <a:tr h="663723">
                <a:tc>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pPr algn="l"/>
                      <a:r>
                        <a:rPr lang="en-US" sz="1600" b="1" dirty="0" err="1">
                          <a:solidFill>
                            <a:schemeClr val="bg1"/>
                          </a:solidFill>
                          <a:latin typeface="+mj-lt"/>
                        </a:rPr>
                        <a:t>Atividade</a:t>
                      </a:r>
                      <a:r>
                        <a:rPr lang="en-US" sz="1600" b="1" dirty="0">
                          <a:solidFill>
                            <a:schemeClr val="bg1"/>
                          </a:solidFill>
                          <a:latin typeface="+mj-lt"/>
                        </a:rPr>
                        <a:t> funcional</a:t>
                      </a:r>
                      <a:r>
                        <a:rPr lang="en-US" sz="1600" b="1" baseline="30000" dirty="0">
                          <a:solidFill>
                            <a:schemeClr val="bg1"/>
                          </a:solidFill>
                          <a:latin typeface="+mj-lt"/>
                        </a:rPr>
                        <a:t>2</a:t>
                      </a:r>
                    </a:p>
                  </a:txBody>
                  <a:tcPr marR="0" marT="0" marB="0" anchor="ctr">
                    <a:lnL w="12700"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800" b="1" dirty="0">
                          <a:solidFill>
                            <a:schemeClr val="bg1"/>
                          </a:solidFill>
                          <a:latin typeface="+mj-lt"/>
                          <a:cs typeface="Arial" panose="020B0604020202020204" pitchFamily="34" charset="0"/>
                        </a:rPr>
                        <a:t>Ig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800" b="1" dirty="0">
                          <a:solidFill>
                            <a:schemeClr val="bg1"/>
                          </a:solidFill>
                          <a:latin typeface="+mj-lt"/>
                          <a:cs typeface="Arial" panose="020B0604020202020204" pitchFamily="34" charset="0"/>
                        </a:rPr>
                        <a:t>IgD</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pPr algn="ctr"/>
                      <a:r>
                        <a:rPr lang="en-US" sz="1800" b="1" dirty="0">
                          <a:solidFill>
                            <a:schemeClr val="bg1"/>
                          </a:solidFill>
                          <a:latin typeface="+mj-lt"/>
                        </a:rPr>
                        <a:t>IgG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pPr algn="ctr"/>
                      <a:r>
                        <a:rPr lang="en-US" sz="1800" b="1" dirty="0">
                          <a:solidFill>
                            <a:schemeClr val="bg1"/>
                          </a:solidFill>
                          <a:latin typeface="+mj-lt"/>
                        </a:rPr>
                        <a:t>IgG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b="1" kern="1200">
                          <a:solidFill>
                            <a:schemeClr val="lt1"/>
                          </a:solidFill>
                          <a:latin typeface="Arial" panose="020B0604020202020204"/>
                        </a:defRPr>
                      </a:lvl1pPr>
                      <a:lvl2pPr marL="609585" algn="l" defTabSz="1219170" rtl="0" eaLnBrk="1" latinLnBrk="0" hangingPunct="1">
                        <a:defRPr sz="2400" b="1" kern="1200">
                          <a:solidFill>
                            <a:schemeClr val="lt1"/>
                          </a:solidFill>
                          <a:latin typeface="Arial" panose="020B0604020202020204"/>
                        </a:defRPr>
                      </a:lvl2pPr>
                      <a:lvl3pPr marL="1219170" algn="l" defTabSz="1219170" rtl="0" eaLnBrk="1" latinLnBrk="0" hangingPunct="1">
                        <a:defRPr sz="2400" b="1" kern="1200">
                          <a:solidFill>
                            <a:schemeClr val="lt1"/>
                          </a:solidFill>
                          <a:latin typeface="Arial" panose="020B0604020202020204"/>
                        </a:defRPr>
                      </a:lvl3pPr>
                      <a:lvl4pPr marL="1828754" algn="l" defTabSz="1219170" rtl="0" eaLnBrk="1" latinLnBrk="0" hangingPunct="1">
                        <a:defRPr sz="2400" b="1" kern="1200">
                          <a:solidFill>
                            <a:schemeClr val="lt1"/>
                          </a:solidFill>
                          <a:latin typeface="Arial" panose="020B0604020202020204"/>
                        </a:defRPr>
                      </a:lvl4pPr>
                      <a:lvl5pPr marL="2438339" algn="l" defTabSz="1219170" rtl="0" eaLnBrk="1" latinLnBrk="0" hangingPunct="1">
                        <a:defRPr sz="2400" b="1" kern="1200">
                          <a:solidFill>
                            <a:schemeClr val="lt1"/>
                          </a:solidFill>
                          <a:latin typeface="Arial" panose="020B0604020202020204"/>
                        </a:defRPr>
                      </a:lvl5pPr>
                      <a:lvl6pPr marL="3047924" algn="l" defTabSz="1219170" rtl="0" eaLnBrk="1" latinLnBrk="0" hangingPunct="1">
                        <a:defRPr sz="2400" b="1" kern="1200">
                          <a:solidFill>
                            <a:schemeClr val="lt1"/>
                          </a:solidFill>
                          <a:latin typeface="Arial" panose="020B0604020202020204"/>
                        </a:defRPr>
                      </a:lvl6pPr>
                      <a:lvl7pPr marL="3657509" algn="l" defTabSz="1219170" rtl="0" eaLnBrk="1" latinLnBrk="0" hangingPunct="1">
                        <a:defRPr sz="2400" b="1" kern="1200">
                          <a:solidFill>
                            <a:schemeClr val="lt1"/>
                          </a:solidFill>
                          <a:latin typeface="Arial" panose="020B0604020202020204"/>
                        </a:defRPr>
                      </a:lvl7pPr>
                      <a:lvl8pPr marL="4267093" algn="l" defTabSz="1219170" rtl="0" eaLnBrk="1" latinLnBrk="0" hangingPunct="1">
                        <a:defRPr sz="2400" b="1" kern="1200">
                          <a:solidFill>
                            <a:schemeClr val="lt1"/>
                          </a:solidFill>
                          <a:latin typeface="Arial" panose="020B0604020202020204"/>
                        </a:defRPr>
                      </a:lvl8pPr>
                      <a:lvl9pPr marL="4876678" algn="l" defTabSz="1219170" rtl="0" eaLnBrk="1" latinLnBrk="0" hangingPunct="1">
                        <a:defRPr sz="2400" b="1" kern="1200">
                          <a:solidFill>
                            <a:schemeClr val="lt1"/>
                          </a:solidFill>
                          <a:latin typeface="Arial" panose="020B0604020202020204"/>
                        </a:defRPr>
                      </a:lvl9pPr>
                    </a:lstStyle>
                    <a:p>
                      <a:pPr algn="ctr"/>
                      <a:r>
                        <a:rPr lang="en-US" sz="1800" b="1" dirty="0">
                          <a:solidFill>
                            <a:schemeClr val="bg1"/>
                          </a:solidFill>
                          <a:latin typeface="+mj-lt"/>
                        </a:rPr>
                        <a:t>IgG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800" b="1" dirty="0">
                          <a:solidFill>
                            <a:schemeClr val="bg1"/>
                          </a:solidFill>
                          <a:latin typeface="+mj-lt"/>
                        </a:rPr>
                        <a:t>IgG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800" b="1" dirty="0">
                          <a:solidFill>
                            <a:schemeClr val="bg1"/>
                          </a:solidFill>
                          <a:latin typeface="+mj-lt"/>
                          <a:cs typeface="Arial" panose="020B0604020202020204" pitchFamily="34" charset="0"/>
                        </a:rPr>
                        <a:t>IgA</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800" b="1" dirty="0">
                          <a:solidFill>
                            <a:schemeClr val="bg1"/>
                          </a:solidFill>
                          <a:latin typeface="+mj-lt"/>
                          <a:cs typeface="Arial" panose="020B0604020202020204" pitchFamily="34" charset="0"/>
                        </a:rPr>
                        <a:t>Ig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1216826">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l">
                        <a:lnSpc>
                          <a:spcPct val="90000"/>
                        </a:lnSpc>
                      </a:pPr>
                      <a:r>
                        <a:rPr lang="en-US" sz="1600" b="1" dirty="0">
                          <a:solidFill>
                            <a:srgbClr val="37302C"/>
                          </a:solidFill>
                          <a:latin typeface="+mj-lt"/>
                        </a:rPr>
                        <a:t>Estrutura</a:t>
                      </a:r>
                      <a:r>
                        <a:rPr lang="en-US" sz="1600" b="1" baseline="30000" dirty="0">
                          <a:solidFill>
                            <a:srgbClr val="37302C"/>
                          </a:solidFill>
                          <a:latin typeface="+mj-lt"/>
                        </a:rPr>
                        <a:t>3</a:t>
                      </a:r>
                    </a:p>
                  </a:txBody>
                  <a:tcPr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dirty="0">
                        <a:solidFill>
                          <a:schemeClr val="tx1"/>
                        </a:solidFill>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b="1" dirty="0">
                        <a:solidFill>
                          <a:schemeClr val="tx1"/>
                        </a:solidFill>
                        <a:latin typeface="+mn-lt"/>
                        <a:cs typeface="Arial" panose="020B06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en-US" sz="1800" b="1" dirty="0">
                        <a:solidFill>
                          <a:schemeClr val="tx1"/>
                        </a:solidFill>
                        <a:latin typeface="+mn-lt"/>
                        <a:cs typeface="Arial" panose="020B06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9034">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l">
                        <a:lnSpc>
                          <a:spcPct val="90000"/>
                        </a:lnSpc>
                      </a:pPr>
                      <a:r>
                        <a:rPr lang="en-US" sz="1600" b="1" dirty="0" err="1">
                          <a:solidFill>
                            <a:srgbClr val="37302C"/>
                          </a:solidFill>
                          <a:latin typeface="+mn-lt"/>
                        </a:rPr>
                        <a:t>Neutralização</a:t>
                      </a:r>
                      <a:endParaRPr lang="en-US" sz="1600" b="1" dirty="0">
                        <a:solidFill>
                          <a:srgbClr val="37302C"/>
                        </a:solidFill>
                        <a:latin typeface="+mn-lt"/>
                      </a:endParaRPr>
                    </a:p>
                  </a:txBody>
                  <a:tcPr marR="0" marT="0" marB="0" anchor="ctr">
                    <a:lnL w="9525" cap="flat" cmpd="sng" algn="ctr">
                      <a:no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cs typeface="Arial" panose="020B0604020202020204" pitchFamily="34" charset="0"/>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19034">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l">
                        <a:lnSpc>
                          <a:spcPct val="90000"/>
                        </a:lnSpc>
                      </a:pPr>
                      <a:r>
                        <a:rPr lang="en-US" sz="1600" b="1" dirty="0" err="1">
                          <a:solidFill>
                            <a:srgbClr val="37302C"/>
                          </a:solidFill>
                          <a:latin typeface="+mn-lt"/>
                        </a:rPr>
                        <a:t>Opsonização</a:t>
                      </a:r>
                      <a:endParaRPr lang="en-US" sz="1600" b="1" dirty="0">
                        <a:solidFill>
                          <a:srgbClr val="37302C"/>
                        </a:solidFill>
                        <a:latin typeface="+mn-lt"/>
                      </a:endParaRPr>
                    </a:p>
                  </a:txBody>
                  <a:tcPr marR="0" marT="0" marB="0" anchor="ctr">
                    <a:lnL w="9525" cap="flat" cmpd="sng" algn="ctr">
                      <a:no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r>
                        <a:rPr lang="en-US" sz="1800" b="1" baseline="30000" dirty="0">
                          <a:solidFill>
                            <a:srgbClr val="37302C"/>
                          </a:solidFill>
                          <a:latin typeface="+mn-lt"/>
                        </a:rPr>
                        <a:t>a</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2400" b="1" dirty="0">
                          <a:solidFill>
                            <a:srgbClr val="37302C"/>
                          </a:solidFill>
                          <a:latin typeface="+mn-lt"/>
                          <a:cs typeface="Arial" panose="020B0604020202020204" pitchFamily="34" charset="0"/>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19034">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l">
                        <a:lnSpc>
                          <a:spcPct val="90000"/>
                        </a:lnSpc>
                      </a:pPr>
                      <a:r>
                        <a:rPr lang="en-US" sz="1600" b="1" dirty="0" err="1">
                          <a:solidFill>
                            <a:srgbClr val="37302C"/>
                          </a:solidFill>
                          <a:latin typeface="+mn-lt"/>
                        </a:rPr>
                        <a:t>Ativação</a:t>
                      </a:r>
                      <a:r>
                        <a:rPr lang="en-US" sz="1600" b="1" dirty="0">
                          <a:solidFill>
                            <a:srgbClr val="37302C"/>
                          </a:solidFill>
                          <a:latin typeface="+mn-lt"/>
                        </a:rPr>
                        <a:t> do </a:t>
                      </a:r>
                      <a:r>
                        <a:rPr lang="en-US" sz="1600" b="1" dirty="0" err="1">
                          <a:solidFill>
                            <a:srgbClr val="37302C"/>
                          </a:solidFill>
                          <a:latin typeface="+mn-lt"/>
                        </a:rPr>
                        <a:t>sistema</a:t>
                      </a:r>
                      <a:r>
                        <a:rPr lang="en-US" sz="1600" b="1" dirty="0">
                          <a:solidFill>
                            <a:srgbClr val="37302C"/>
                          </a:solidFill>
                          <a:latin typeface="+mn-lt"/>
                        </a:rPr>
                        <a:t> </a:t>
                      </a:r>
                      <a:r>
                        <a:rPr lang="en-US" sz="1600" b="1" dirty="0" err="1">
                          <a:solidFill>
                            <a:srgbClr val="37302C"/>
                          </a:solidFill>
                          <a:latin typeface="+mn-lt"/>
                        </a:rPr>
                        <a:t>complemento</a:t>
                      </a:r>
                      <a:endParaRPr lang="en-US" sz="1600" b="1" dirty="0">
                        <a:solidFill>
                          <a:srgbClr val="37302C"/>
                        </a:solidFill>
                        <a:latin typeface="+mn-lt"/>
                      </a:endParaRPr>
                    </a:p>
                  </a:txBody>
                  <a:tcPr marR="0" marT="0" marB="0" anchor="ctr">
                    <a:lnL w="9525" cap="flat" cmpd="sng" algn="ctr">
                      <a:no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2400" b="1" kern="1200" dirty="0">
                          <a:solidFill>
                            <a:srgbClr val="37302C"/>
                          </a:solidFill>
                          <a:latin typeface="+mn-lt"/>
                          <a:ea typeface="+mn-ea"/>
                          <a:cs typeface="+mn-cs"/>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09090"/>
                    </a:solid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2400" b="1" kern="1200" dirty="0">
                          <a:solidFill>
                            <a:schemeClr val="accent1">
                              <a:lumMod val="50000"/>
                            </a:schemeClr>
                          </a:solidFill>
                          <a:latin typeface="+mn-lt"/>
                        </a:rPr>
                        <a:t>++</a:t>
                      </a:r>
                      <a:endParaRPr lang="en-US" sz="2400" b="1" kern="1200" dirty="0">
                        <a:solidFill>
                          <a:schemeClr val="accent1">
                            <a:lumMod val="50000"/>
                          </a:schemeClr>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219170" rtl="0" eaLnBrk="1" latinLnBrk="0" hangingPunct="1">
                        <a:defRPr sz="2400" kern="1200">
                          <a:solidFill>
                            <a:schemeClr val="dk1"/>
                          </a:solidFill>
                          <a:latin typeface="Arial" panose="020B0604020202020204"/>
                        </a:defRPr>
                      </a:lvl1pPr>
                      <a:lvl2pPr marL="609585" algn="l" defTabSz="1219170" rtl="0" eaLnBrk="1" latinLnBrk="0" hangingPunct="1">
                        <a:defRPr sz="2400" kern="1200">
                          <a:solidFill>
                            <a:schemeClr val="dk1"/>
                          </a:solidFill>
                          <a:latin typeface="Arial" panose="020B0604020202020204"/>
                        </a:defRPr>
                      </a:lvl2pPr>
                      <a:lvl3pPr marL="1219170" algn="l" defTabSz="1219170" rtl="0" eaLnBrk="1" latinLnBrk="0" hangingPunct="1">
                        <a:defRPr sz="2400" kern="1200">
                          <a:solidFill>
                            <a:schemeClr val="dk1"/>
                          </a:solidFill>
                          <a:latin typeface="Arial" panose="020B0604020202020204"/>
                        </a:defRPr>
                      </a:lvl3pPr>
                      <a:lvl4pPr marL="1828754" algn="l" defTabSz="1219170" rtl="0" eaLnBrk="1" latinLnBrk="0" hangingPunct="1">
                        <a:defRPr sz="2400" kern="1200">
                          <a:solidFill>
                            <a:schemeClr val="dk1"/>
                          </a:solidFill>
                          <a:latin typeface="Arial" panose="020B0604020202020204"/>
                        </a:defRPr>
                      </a:lvl4pPr>
                      <a:lvl5pPr marL="2438339" algn="l" defTabSz="1219170" rtl="0" eaLnBrk="1" latinLnBrk="0" hangingPunct="1">
                        <a:defRPr sz="2400" kern="1200">
                          <a:solidFill>
                            <a:schemeClr val="dk1"/>
                          </a:solidFill>
                          <a:latin typeface="Arial" panose="020B0604020202020204"/>
                        </a:defRPr>
                      </a:lvl5pPr>
                      <a:lvl6pPr marL="3047924" algn="l" defTabSz="1219170" rtl="0" eaLnBrk="1" latinLnBrk="0" hangingPunct="1">
                        <a:defRPr sz="2400" kern="1200">
                          <a:solidFill>
                            <a:schemeClr val="dk1"/>
                          </a:solidFill>
                          <a:latin typeface="Arial" panose="020B0604020202020204"/>
                        </a:defRPr>
                      </a:lvl6pPr>
                      <a:lvl7pPr marL="3657509" algn="l" defTabSz="1219170" rtl="0" eaLnBrk="1" latinLnBrk="0" hangingPunct="1">
                        <a:defRPr sz="2400" kern="1200">
                          <a:solidFill>
                            <a:schemeClr val="dk1"/>
                          </a:solidFill>
                          <a:latin typeface="Arial" panose="020B0604020202020204"/>
                        </a:defRPr>
                      </a:lvl7pPr>
                      <a:lvl8pPr marL="4267093" algn="l" defTabSz="1219170" rtl="0" eaLnBrk="1" latinLnBrk="0" hangingPunct="1">
                        <a:defRPr sz="2400" kern="1200">
                          <a:solidFill>
                            <a:schemeClr val="dk1"/>
                          </a:solidFill>
                          <a:latin typeface="Arial" panose="020B0604020202020204"/>
                        </a:defRPr>
                      </a:lvl8pPr>
                      <a:lvl9pPr marL="4876678" algn="l" defTabSz="1219170" rtl="0" eaLnBrk="1" latinLnBrk="0" hangingPunct="1">
                        <a:defRPr sz="2400" kern="1200">
                          <a:solidFill>
                            <a:schemeClr val="dk1"/>
                          </a:solidFill>
                          <a:latin typeface="Arial" panose="020B0604020202020204"/>
                        </a:defRPr>
                      </a:lvl9pPr>
                    </a:lstStyle>
                    <a:p>
                      <a:pPr algn="ctr">
                        <a:lnSpc>
                          <a:spcPct val="90000"/>
                        </a:lnSpc>
                      </a:pPr>
                      <a:r>
                        <a:rPr lang="en-US" sz="2400" b="1" dirty="0">
                          <a:solidFill>
                            <a:srgbClr val="37302C"/>
                          </a:solidFill>
                          <a:latin typeface="+mn-lt"/>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09090"/>
                    </a:solid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kern="1200" dirty="0">
                          <a:solidFill>
                            <a:srgbClr val="37302C"/>
                          </a:solidFill>
                          <a:latin typeface="+mn-lt"/>
                          <a:ea typeface="+mn-ea"/>
                          <a:cs typeface="Arial" panose="020B0604020202020204" pitchFamily="34" charset="0"/>
                        </a:rPr>
                        <a:t>+</a:t>
                      </a: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2400" b="1" dirty="0">
                          <a:solidFill>
                            <a:srgbClr val="37302C"/>
                          </a:solidFill>
                          <a:latin typeface="+mn-lt"/>
                        </a:rPr>
                        <a:t>–</a:t>
                      </a:r>
                      <a:endParaRPr lang="en-US" sz="2400" b="1" kern="1200" dirty="0">
                        <a:solidFill>
                          <a:srgbClr val="37302C"/>
                        </a:solidFill>
                        <a:latin typeface="+mn-lt"/>
                        <a:ea typeface="+mn-ea"/>
                        <a:cs typeface="+mn-cs"/>
                      </a:endParaRPr>
                    </a:p>
                  </a:txBody>
                  <a:tcPr marL="0" marR="0" marT="0" marB="0" anchor="ctr">
                    <a:lnL w="9525"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9" name="Group 2">
            <a:extLst>
              <a:ext uri="{FF2B5EF4-FFF2-40B4-BE49-F238E27FC236}">
                <a16:creationId xmlns:a16="http://schemas.microsoft.com/office/drawing/2014/main" id="{306C3A17-A60C-0CFA-0FAE-F81E17B0DF07}"/>
              </a:ext>
            </a:extLst>
          </p:cNvPr>
          <p:cNvGrpSpPr/>
          <p:nvPr/>
        </p:nvGrpSpPr>
        <p:grpSpPr>
          <a:xfrm>
            <a:off x="3726276" y="2070453"/>
            <a:ext cx="6671082" cy="880233"/>
            <a:chOff x="3350678" y="1827064"/>
            <a:chExt cx="6671082" cy="880233"/>
          </a:xfrm>
        </p:grpSpPr>
        <p:grpSp>
          <p:nvGrpSpPr>
            <p:cNvPr id="10" name="Group 192">
              <a:extLst>
                <a:ext uri="{FF2B5EF4-FFF2-40B4-BE49-F238E27FC236}">
                  <a16:creationId xmlns:a16="http://schemas.microsoft.com/office/drawing/2014/main" id="{93C44EC9-B9E5-B5F8-02E6-F1F8293CE767}"/>
                </a:ext>
              </a:extLst>
            </p:cNvPr>
            <p:cNvGrpSpPr/>
            <p:nvPr/>
          </p:nvGrpSpPr>
          <p:grpSpPr>
            <a:xfrm>
              <a:off x="7940858" y="1970783"/>
              <a:ext cx="440592" cy="592795"/>
              <a:chOff x="6866796" y="2182922"/>
              <a:chExt cx="1940088" cy="2610300"/>
            </a:xfrm>
          </p:grpSpPr>
          <p:sp>
            <p:nvSpPr>
              <p:cNvPr id="271" name="Freeform 87">
                <a:extLst>
                  <a:ext uri="{FF2B5EF4-FFF2-40B4-BE49-F238E27FC236}">
                    <a16:creationId xmlns:a16="http://schemas.microsoft.com/office/drawing/2014/main" id="{F217B356-20AF-5D28-E2EC-F50A1CFBA83E}"/>
                  </a:ext>
                </a:extLst>
              </p:cNvPr>
              <p:cNvSpPr/>
              <p:nvPr/>
            </p:nvSpPr>
            <p:spPr>
              <a:xfrm>
                <a:off x="7702254"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2" name="Freeform 88">
                <a:extLst>
                  <a:ext uri="{FF2B5EF4-FFF2-40B4-BE49-F238E27FC236}">
                    <a16:creationId xmlns:a16="http://schemas.microsoft.com/office/drawing/2014/main" id="{FB72792E-D259-1F01-DB3B-BA4769DDA268}"/>
                  </a:ext>
                </a:extLst>
              </p:cNvPr>
              <p:cNvSpPr/>
              <p:nvPr/>
            </p:nvSpPr>
            <p:spPr>
              <a:xfrm flipH="1">
                <a:off x="7873542"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73" name="Straight Connector 195">
                <a:extLst>
                  <a:ext uri="{FF2B5EF4-FFF2-40B4-BE49-F238E27FC236}">
                    <a16:creationId xmlns:a16="http://schemas.microsoft.com/office/drawing/2014/main" id="{95CF9229-F30A-EACD-3AF1-F7EDF464BE8A}"/>
                  </a:ext>
                </a:extLst>
              </p:cNvPr>
              <p:cNvCxnSpPr>
                <a:cxnSpLocks/>
              </p:cNvCxnSpPr>
              <p:nvPr/>
            </p:nvCxnSpPr>
            <p:spPr>
              <a:xfrm>
                <a:off x="7774953" y="3339850"/>
                <a:ext cx="100584" cy="0"/>
              </a:xfrm>
              <a:prstGeom prst="line">
                <a:avLst/>
              </a:prstGeom>
              <a:noFill/>
              <a:ln w="6350" cap="flat" cmpd="sng" algn="ctr">
                <a:solidFill>
                  <a:srgbClr val="37302C"/>
                </a:solidFill>
                <a:prstDash val="solid"/>
                <a:miter lim="800000"/>
              </a:ln>
              <a:effectLst/>
            </p:spPr>
          </p:cxnSp>
          <p:sp>
            <p:nvSpPr>
              <p:cNvPr id="274" name="Oval 196">
                <a:extLst>
                  <a:ext uri="{FF2B5EF4-FFF2-40B4-BE49-F238E27FC236}">
                    <a16:creationId xmlns:a16="http://schemas.microsoft.com/office/drawing/2014/main" id="{71650EF4-9C5E-B77F-732F-13DB7FE88E4B}"/>
                  </a:ext>
                </a:extLst>
              </p:cNvPr>
              <p:cNvSpPr/>
              <p:nvPr/>
            </p:nvSpPr>
            <p:spPr>
              <a:xfrm rot="2280519">
                <a:off x="7022111"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5" name="Oval 197">
                <a:extLst>
                  <a:ext uri="{FF2B5EF4-FFF2-40B4-BE49-F238E27FC236}">
                    <a16:creationId xmlns:a16="http://schemas.microsoft.com/office/drawing/2014/main" id="{4A0FBD7B-AFF8-055C-CA7D-94B1DE4854FA}"/>
                  </a:ext>
                </a:extLst>
              </p:cNvPr>
              <p:cNvSpPr/>
              <p:nvPr/>
            </p:nvSpPr>
            <p:spPr>
              <a:xfrm rot="3757393">
                <a:off x="6693144"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6" name="Oval 198">
                <a:extLst>
                  <a:ext uri="{FF2B5EF4-FFF2-40B4-BE49-F238E27FC236}">
                    <a16:creationId xmlns:a16="http://schemas.microsoft.com/office/drawing/2014/main" id="{8A8E8ECF-6E7E-4FAD-6685-395F2EBDA800}"/>
                  </a:ext>
                </a:extLst>
              </p:cNvPr>
              <p:cNvSpPr/>
              <p:nvPr/>
            </p:nvSpPr>
            <p:spPr>
              <a:xfrm rot="3922235">
                <a:off x="7283214"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7" name="Oval 199">
                <a:extLst>
                  <a:ext uri="{FF2B5EF4-FFF2-40B4-BE49-F238E27FC236}">
                    <a16:creationId xmlns:a16="http://schemas.microsoft.com/office/drawing/2014/main" id="{550CF371-66F8-B8C3-D4A7-98A9CF1DE2F1}"/>
                  </a:ext>
                </a:extLst>
              </p:cNvPr>
              <p:cNvSpPr/>
              <p:nvPr/>
            </p:nvSpPr>
            <p:spPr>
              <a:xfrm rot="2188031">
                <a:off x="6925342"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278" name="Group 200">
                <a:extLst>
                  <a:ext uri="{FF2B5EF4-FFF2-40B4-BE49-F238E27FC236}">
                    <a16:creationId xmlns:a16="http://schemas.microsoft.com/office/drawing/2014/main" id="{F939FFB5-6E0C-EC9F-46B5-0367F0DDAA51}"/>
                  </a:ext>
                </a:extLst>
              </p:cNvPr>
              <p:cNvGrpSpPr/>
              <p:nvPr/>
            </p:nvGrpSpPr>
            <p:grpSpPr>
              <a:xfrm flipH="1">
                <a:off x="7901745" y="2185364"/>
                <a:ext cx="905139" cy="938095"/>
                <a:chOff x="1661865" y="2161675"/>
                <a:chExt cx="905139" cy="938095"/>
              </a:xfrm>
            </p:grpSpPr>
            <p:sp>
              <p:nvSpPr>
                <p:cNvPr id="284" name="Oval 206">
                  <a:extLst>
                    <a:ext uri="{FF2B5EF4-FFF2-40B4-BE49-F238E27FC236}">
                      <a16:creationId xmlns:a16="http://schemas.microsoft.com/office/drawing/2014/main" id="{354AA599-1E2E-F223-B3BB-B80EEE7C1DDA}"/>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5" name="Oval 207">
                  <a:extLst>
                    <a:ext uri="{FF2B5EF4-FFF2-40B4-BE49-F238E27FC236}">
                      <a16:creationId xmlns:a16="http://schemas.microsoft.com/office/drawing/2014/main" id="{DF29CAD5-B4E1-B90B-3F56-A60BC5C4B1C5}"/>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6" name="Oval 208">
                  <a:extLst>
                    <a:ext uri="{FF2B5EF4-FFF2-40B4-BE49-F238E27FC236}">
                      <a16:creationId xmlns:a16="http://schemas.microsoft.com/office/drawing/2014/main" id="{3BD5E963-0A1A-AE2E-31D8-12DBA96ECD96}"/>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7" name="Oval 209">
                  <a:extLst>
                    <a:ext uri="{FF2B5EF4-FFF2-40B4-BE49-F238E27FC236}">
                      <a16:creationId xmlns:a16="http://schemas.microsoft.com/office/drawing/2014/main" id="{84142782-756D-2516-4427-21BCC63ADF6E}"/>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79" name="Oval 201">
                <a:extLst>
                  <a:ext uri="{FF2B5EF4-FFF2-40B4-BE49-F238E27FC236}">
                    <a16:creationId xmlns:a16="http://schemas.microsoft.com/office/drawing/2014/main" id="{59B484EA-5064-E0E9-CF77-03DA43E8DE7F}"/>
                  </a:ext>
                </a:extLst>
              </p:cNvPr>
              <p:cNvSpPr/>
              <p:nvPr/>
            </p:nvSpPr>
            <p:spPr>
              <a:xfrm rot="6864317">
                <a:off x="7696408"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0" name="Oval 202">
                <a:extLst>
                  <a:ext uri="{FF2B5EF4-FFF2-40B4-BE49-F238E27FC236}">
                    <a16:creationId xmlns:a16="http://schemas.microsoft.com/office/drawing/2014/main" id="{6420538F-5BFE-FF77-09AE-47B1DD63EA8D}"/>
                  </a:ext>
                </a:extLst>
              </p:cNvPr>
              <p:cNvSpPr/>
              <p:nvPr/>
            </p:nvSpPr>
            <p:spPr>
              <a:xfrm rot="4042536">
                <a:off x="7701567"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1" name="Oval 203">
                <a:extLst>
                  <a:ext uri="{FF2B5EF4-FFF2-40B4-BE49-F238E27FC236}">
                    <a16:creationId xmlns:a16="http://schemas.microsoft.com/office/drawing/2014/main" id="{29735D0C-8498-ED3F-F358-DA433E352434}"/>
                  </a:ext>
                </a:extLst>
              </p:cNvPr>
              <p:cNvSpPr/>
              <p:nvPr/>
            </p:nvSpPr>
            <p:spPr>
              <a:xfrm rot="14735683" flipH="1">
                <a:off x="7266284"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2" name="Oval 204">
                <a:extLst>
                  <a:ext uri="{FF2B5EF4-FFF2-40B4-BE49-F238E27FC236}">
                    <a16:creationId xmlns:a16="http://schemas.microsoft.com/office/drawing/2014/main" id="{2549CDDA-9690-E326-5319-D7415D53498B}"/>
                  </a:ext>
                </a:extLst>
              </p:cNvPr>
              <p:cNvSpPr/>
              <p:nvPr/>
            </p:nvSpPr>
            <p:spPr>
              <a:xfrm rot="17557464" flipH="1">
                <a:off x="7271443"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83" name="Straight Connector 205">
                <a:extLst>
                  <a:ext uri="{FF2B5EF4-FFF2-40B4-BE49-F238E27FC236}">
                    <a16:creationId xmlns:a16="http://schemas.microsoft.com/office/drawing/2014/main" id="{4165BA99-EE8F-6550-CB9E-4B82C2C0285C}"/>
                  </a:ext>
                </a:extLst>
              </p:cNvPr>
              <p:cNvCxnSpPr>
                <a:cxnSpLocks/>
              </p:cNvCxnSpPr>
              <p:nvPr/>
            </p:nvCxnSpPr>
            <p:spPr>
              <a:xfrm>
                <a:off x="7771778" y="3240815"/>
                <a:ext cx="109728" cy="0"/>
              </a:xfrm>
              <a:prstGeom prst="line">
                <a:avLst/>
              </a:prstGeom>
              <a:noFill/>
              <a:ln w="6350" cap="flat" cmpd="sng" algn="ctr">
                <a:solidFill>
                  <a:srgbClr val="37302C"/>
                </a:solidFill>
                <a:prstDash val="solid"/>
                <a:miter lim="800000"/>
              </a:ln>
              <a:effectLst/>
            </p:spPr>
          </p:cxnSp>
        </p:grpSp>
        <p:grpSp>
          <p:nvGrpSpPr>
            <p:cNvPr id="11" name="Group 125">
              <a:extLst>
                <a:ext uri="{FF2B5EF4-FFF2-40B4-BE49-F238E27FC236}">
                  <a16:creationId xmlns:a16="http://schemas.microsoft.com/office/drawing/2014/main" id="{92398079-6F20-4F27-B31F-509750C191FC}"/>
                </a:ext>
              </a:extLst>
            </p:cNvPr>
            <p:cNvGrpSpPr/>
            <p:nvPr/>
          </p:nvGrpSpPr>
          <p:grpSpPr>
            <a:xfrm>
              <a:off x="5188146" y="1970783"/>
              <a:ext cx="440592" cy="592795"/>
              <a:chOff x="247890" y="2182922"/>
              <a:chExt cx="1940088" cy="2610300"/>
            </a:xfrm>
          </p:grpSpPr>
          <p:sp>
            <p:nvSpPr>
              <p:cNvPr id="254" name="Freeform 15">
                <a:extLst>
                  <a:ext uri="{FF2B5EF4-FFF2-40B4-BE49-F238E27FC236}">
                    <a16:creationId xmlns:a16="http://schemas.microsoft.com/office/drawing/2014/main" id="{50676570-D2E8-BB12-7F8A-8618A45E9D6E}"/>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55" name="Freeform 16">
                <a:extLst>
                  <a:ext uri="{FF2B5EF4-FFF2-40B4-BE49-F238E27FC236}">
                    <a16:creationId xmlns:a16="http://schemas.microsoft.com/office/drawing/2014/main" id="{97410610-D949-FB69-9BAE-EEA4F63929FB}"/>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56" name="Straight Connector 128">
                <a:extLst>
                  <a:ext uri="{FF2B5EF4-FFF2-40B4-BE49-F238E27FC236}">
                    <a16:creationId xmlns:a16="http://schemas.microsoft.com/office/drawing/2014/main" id="{D02E240F-EDC5-F7D8-C3ED-BA8D6F3855CC}"/>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257" name="Straight Connector 129">
                <a:extLst>
                  <a:ext uri="{FF2B5EF4-FFF2-40B4-BE49-F238E27FC236}">
                    <a16:creationId xmlns:a16="http://schemas.microsoft.com/office/drawing/2014/main" id="{A3747742-80E4-2097-D7FC-2CF00C879AA0}"/>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258" name="Oval 130">
                <a:extLst>
                  <a:ext uri="{FF2B5EF4-FFF2-40B4-BE49-F238E27FC236}">
                    <a16:creationId xmlns:a16="http://schemas.microsoft.com/office/drawing/2014/main" id="{2E51C186-9852-AD0B-970B-64D769BF1EAC}"/>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59" name="Oval 131">
                <a:extLst>
                  <a:ext uri="{FF2B5EF4-FFF2-40B4-BE49-F238E27FC236}">
                    <a16:creationId xmlns:a16="http://schemas.microsoft.com/office/drawing/2014/main" id="{943D760B-5145-8BF4-2FC0-77184B2CBD77}"/>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0" name="Oval 132">
                <a:extLst>
                  <a:ext uri="{FF2B5EF4-FFF2-40B4-BE49-F238E27FC236}">
                    <a16:creationId xmlns:a16="http://schemas.microsoft.com/office/drawing/2014/main" id="{4BE303AB-2747-7243-3BA9-4D293F6BA43D}"/>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1" name="Oval 133">
                <a:extLst>
                  <a:ext uri="{FF2B5EF4-FFF2-40B4-BE49-F238E27FC236}">
                    <a16:creationId xmlns:a16="http://schemas.microsoft.com/office/drawing/2014/main" id="{EEEDDBAE-0C2F-0262-12F9-ADA304EF78E2}"/>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262" name="Group 134">
                <a:extLst>
                  <a:ext uri="{FF2B5EF4-FFF2-40B4-BE49-F238E27FC236}">
                    <a16:creationId xmlns:a16="http://schemas.microsoft.com/office/drawing/2014/main" id="{9EFE71BA-D516-50AA-DD3E-C335ABAFE78F}"/>
                  </a:ext>
                </a:extLst>
              </p:cNvPr>
              <p:cNvGrpSpPr/>
              <p:nvPr/>
            </p:nvGrpSpPr>
            <p:grpSpPr>
              <a:xfrm flipH="1">
                <a:off x="1282839" y="2185364"/>
                <a:ext cx="905139" cy="938095"/>
                <a:chOff x="1661865" y="2161675"/>
                <a:chExt cx="905139" cy="938095"/>
              </a:xfrm>
            </p:grpSpPr>
            <p:sp>
              <p:nvSpPr>
                <p:cNvPr id="267" name="Oval 139">
                  <a:extLst>
                    <a:ext uri="{FF2B5EF4-FFF2-40B4-BE49-F238E27FC236}">
                      <a16:creationId xmlns:a16="http://schemas.microsoft.com/office/drawing/2014/main" id="{234C6954-13FC-03DF-E2C1-912457DCC2E0}"/>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8" name="Oval 140">
                  <a:extLst>
                    <a:ext uri="{FF2B5EF4-FFF2-40B4-BE49-F238E27FC236}">
                      <a16:creationId xmlns:a16="http://schemas.microsoft.com/office/drawing/2014/main" id="{8C9B402A-029F-0D33-5F6E-D0842A24F43B}"/>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9" name="Oval 141">
                  <a:extLst>
                    <a:ext uri="{FF2B5EF4-FFF2-40B4-BE49-F238E27FC236}">
                      <a16:creationId xmlns:a16="http://schemas.microsoft.com/office/drawing/2014/main" id="{E2C15732-5A08-6108-407F-2CD6D6FDB333}"/>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0" name="Oval 142">
                  <a:extLst>
                    <a:ext uri="{FF2B5EF4-FFF2-40B4-BE49-F238E27FC236}">
                      <a16:creationId xmlns:a16="http://schemas.microsoft.com/office/drawing/2014/main" id="{BBBCA6F1-62B2-DCA2-8DE4-3B204AD02F21}"/>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63" name="Oval 135">
                <a:extLst>
                  <a:ext uri="{FF2B5EF4-FFF2-40B4-BE49-F238E27FC236}">
                    <a16:creationId xmlns:a16="http://schemas.microsoft.com/office/drawing/2014/main" id="{284F0E21-6CCB-B9AA-7C4F-6C9A5E3936D4}"/>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4" name="Oval 136">
                <a:extLst>
                  <a:ext uri="{FF2B5EF4-FFF2-40B4-BE49-F238E27FC236}">
                    <a16:creationId xmlns:a16="http://schemas.microsoft.com/office/drawing/2014/main" id="{FA37F562-6CEF-98CE-F6A6-5E3892ABC700}"/>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5" name="Oval 137">
                <a:extLst>
                  <a:ext uri="{FF2B5EF4-FFF2-40B4-BE49-F238E27FC236}">
                    <a16:creationId xmlns:a16="http://schemas.microsoft.com/office/drawing/2014/main" id="{2FE4D666-AE33-F5D7-CDBB-8F7DDCB0EC39}"/>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66" name="Oval 138">
                <a:extLst>
                  <a:ext uri="{FF2B5EF4-FFF2-40B4-BE49-F238E27FC236}">
                    <a16:creationId xmlns:a16="http://schemas.microsoft.com/office/drawing/2014/main" id="{9E616F28-ABC8-6CA8-788D-0EEFBE5BE677}"/>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2" name="Group 143">
              <a:extLst>
                <a:ext uri="{FF2B5EF4-FFF2-40B4-BE49-F238E27FC236}">
                  <a16:creationId xmlns:a16="http://schemas.microsoft.com/office/drawing/2014/main" id="{10FE9895-BDBE-E8D2-732C-F1123FE68A26}"/>
                </a:ext>
              </a:extLst>
            </p:cNvPr>
            <p:cNvGrpSpPr/>
            <p:nvPr/>
          </p:nvGrpSpPr>
          <p:grpSpPr>
            <a:xfrm>
              <a:off x="6081311" y="1970783"/>
              <a:ext cx="440592" cy="592795"/>
              <a:chOff x="2472549" y="2182922"/>
              <a:chExt cx="1940088" cy="2610300"/>
            </a:xfrm>
          </p:grpSpPr>
          <p:sp>
            <p:nvSpPr>
              <p:cNvPr id="235" name="Freeform 38">
                <a:extLst>
                  <a:ext uri="{FF2B5EF4-FFF2-40B4-BE49-F238E27FC236}">
                    <a16:creationId xmlns:a16="http://schemas.microsoft.com/office/drawing/2014/main" id="{2FA2F56D-8879-87B9-265E-B575D6C97425}"/>
                  </a:ext>
                </a:extLst>
              </p:cNvPr>
              <p:cNvSpPr/>
              <p:nvPr/>
            </p:nvSpPr>
            <p:spPr>
              <a:xfrm>
                <a:off x="3308007"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36" name="Freeform 39">
                <a:extLst>
                  <a:ext uri="{FF2B5EF4-FFF2-40B4-BE49-F238E27FC236}">
                    <a16:creationId xmlns:a16="http://schemas.microsoft.com/office/drawing/2014/main" id="{5AB93BFF-AF42-8107-20A1-B4F0AFC71D7A}"/>
                  </a:ext>
                </a:extLst>
              </p:cNvPr>
              <p:cNvSpPr/>
              <p:nvPr/>
            </p:nvSpPr>
            <p:spPr>
              <a:xfrm flipH="1">
                <a:off x="3479295"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37" name="Straight Connector 146">
                <a:extLst>
                  <a:ext uri="{FF2B5EF4-FFF2-40B4-BE49-F238E27FC236}">
                    <a16:creationId xmlns:a16="http://schemas.microsoft.com/office/drawing/2014/main" id="{752E640B-126C-FEA8-1CF1-37D2530D13B7}"/>
                  </a:ext>
                </a:extLst>
              </p:cNvPr>
              <p:cNvCxnSpPr>
                <a:cxnSpLocks/>
              </p:cNvCxnSpPr>
              <p:nvPr/>
            </p:nvCxnSpPr>
            <p:spPr>
              <a:xfrm>
                <a:off x="3371181" y="3156316"/>
                <a:ext cx="128016" cy="0"/>
              </a:xfrm>
              <a:prstGeom prst="line">
                <a:avLst/>
              </a:prstGeom>
              <a:noFill/>
              <a:ln w="6350" cap="rnd" cmpd="sng" algn="ctr">
                <a:solidFill>
                  <a:srgbClr val="37302C"/>
                </a:solidFill>
                <a:prstDash val="sysDot"/>
                <a:round/>
              </a:ln>
              <a:effectLst/>
            </p:spPr>
          </p:cxnSp>
          <p:cxnSp>
            <p:nvCxnSpPr>
              <p:cNvPr id="238" name="Straight Connector 147">
                <a:extLst>
                  <a:ext uri="{FF2B5EF4-FFF2-40B4-BE49-F238E27FC236}">
                    <a16:creationId xmlns:a16="http://schemas.microsoft.com/office/drawing/2014/main" id="{D148D03B-C0DC-A7E3-0DCE-3F4BC95E6A9D}"/>
                  </a:ext>
                </a:extLst>
              </p:cNvPr>
              <p:cNvCxnSpPr>
                <a:cxnSpLocks/>
              </p:cNvCxnSpPr>
              <p:nvPr/>
            </p:nvCxnSpPr>
            <p:spPr>
              <a:xfrm>
                <a:off x="3380706" y="3339850"/>
                <a:ext cx="100584" cy="0"/>
              </a:xfrm>
              <a:prstGeom prst="line">
                <a:avLst/>
              </a:prstGeom>
              <a:noFill/>
              <a:ln w="6350" cap="flat" cmpd="sng" algn="ctr">
                <a:solidFill>
                  <a:srgbClr val="37302C"/>
                </a:solidFill>
                <a:prstDash val="solid"/>
                <a:miter lim="800000"/>
              </a:ln>
              <a:effectLst/>
            </p:spPr>
          </p:cxnSp>
          <p:sp>
            <p:nvSpPr>
              <p:cNvPr id="239" name="Oval 148">
                <a:extLst>
                  <a:ext uri="{FF2B5EF4-FFF2-40B4-BE49-F238E27FC236}">
                    <a16:creationId xmlns:a16="http://schemas.microsoft.com/office/drawing/2014/main" id="{42CE0D07-3842-A82C-E172-48FF7685DA08}"/>
                  </a:ext>
                </a:extLst>
              </p:cNvPr>
              <p:cNvSpPr/>
              <p:nvPr/>
            </p:nvSpPr>
            <p:spPr>
              <a:xfrm rot="2280519">
                <a:off x="2627864"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0" name="Oval 149">
                <a:extLst>
                  <a:ext uri="{FF2B5EF4-FFF2-40B4-BE49-F238E27FC236}">
                    <a16:creationId xmlns:a16="http://schemas.microsoft.com/office/drawing/2014/main" id="{21F54D5A-FA91-0DE0-EA98-5D861489F405}"/>
                  </a:ext>
                </a:extLst>
              </p:cNvPr>
              <p:cNvSpPr/>
              <p:nvPr/>
            </p:nvSpPr>
            <p:spPr>
              <a:xfrm rot="3757393">
                <a:off x="2298897"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1" name="Oval 150">
                <a:extLst>
                  <a:ext uri="{FF2B5EF4-FFF2-40B4-BE49-F238E27FC236}">
                    <a16:creationId xmlns:a16="http://schemas.microsoft.com/office/drawing/2014/main" id="{C72BD015-E2DC-6983-E489-C29CB6282679}"/>
                  </a:ext>
                </a:extLst>
              </p:cNvPr>
              <p:cNvSpPr/>
              <p:nvPr/>
            </p:nvSpPr>
            <p:spPr>
              <a:xfrm rot="3922235">
                <a:off x="2888967"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2" name="Oval 151">
                <a:extLst>
                  <a:ext uri="{FF2B5EF4-FFF2-40B4-BE49-F238E27FC236}">
                    <a16:creationId xmlns:a16="http://schemas.microsoft.com/office/drawing/2014/main" id="{7AB11C2D-3874-E97F-99A7-ABEA4ECCA219}"/>
                  </a:ext>
                </a:extLst>
              </p:cNvPr>
              <p:cNvSpPr/>
              <p:nvPr/>
            </p:nvSpPr>
            <p:spPr>
              <a:xfrm rot="2188031">
                <a:off x="2531095"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243" name="Group 152">
                <a:extLst>
                  <a:ext uri="{FF2B5EF4-FFF2-40B4-BE49-F238E27FC236}">
                    <a16:creationId xmlns:a16="http://schemas.microsoft.com/office/drawing/2014/main" id="{C0EE8BEC-EFB7-F7E4-C276-7A059436F6A2}"/>
                  </a:ext>
                </a:extLst>
              </p:cNvPr>
              <p:cNvGrpSpPr/>
              <p:nvPr/>
            </p:nvGrpSpPr>
            <p:grpSpPr>
              <a:xfrm flipH="1">
                <a:off x="3507498" y="2185364"/>
                <a:ext cx="905139" cy="938095"/>
                <a:chOff x="1661865" y="2161675"/>
                <a:chExt cx="905139" cy="938095"/>
              </a:xfrm>
            </p:grpSpPr>
            <p:sp>
              <p:nvSpPr>
                <p:cNvPr id="250" name="Oval 159">
                  <a:extLst>
                    <a:ext uri="{FF2B5EF4-FFF2-40B4-BE49-F238E27FC236}">
                      <a16:creationId xmlns:a16="http://schemas.microsoft.com/office/drawing/2014/main" id="{98342DBE-8E1B-A5E2-CEEA-E01782CCD482}"/>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51" name="Oval 160">
                  <a:extLst>
                    <a:ext uri="{FF2B5EF4-FFF2-40B4-BE49-F238E27FC236}">
                      <a16:creationId xmlns:a16="http://schemas.microsoft.com/office/drawing/2014/main" id="{568553E1-3072-E6F4-F199-716D8DD3CF5F}"/>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52" name="Oval 161">
                  <a:extLst>
                    <a:ext uri="{FF2B5EF4-FFF2-40B4-BE49-F238E27FC236}">
                      <a16:creationId xmlns:a16="http://schemas.microsoft.com/office/drawing/2014/main" id="{CE1B80CA-08DD-F64E-1D67-91138D325658}"/>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53" name="Oval 162">
                  <a:extLst>
                    <a:ext uri="{FF2B5EF4-FFF2-40B4-BE49-F238E27FC236}">
                      <a16:creationId xmlns:a16="http://schemas.microsoft.com/office/drawing/2014/main" id="{9816308D-681E-8069-6581-840ABB3CEACB}"/>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44" name="Oval 153">
                <a:extLst>
                  <a:ext uri="{FF2B5EF4-FFF2-40B4-BE49-F238E27FC236}">
                    <a16:creationId xmlns:a16="http://schemas.microsoft.com/office/drawing/2014/main" id="{52EDA3C0-5569-D796-4938-12BC26BBFBF9}"/>
                  </a:ext>
                </a:extLst>
              </p:cNvPr>
              <p:cNvSpPr/>
              <p:nvPr/>
            </p:nvSpPr>
            <p:spPr>
              <a:xfrm rot="6864317">
                <a:off x="3302161"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5" name="Oval 154">
                <a:extLst>
                  <a:ext uri="{FF2B5EF4-FFF2-40B4-BE49-F238E27FC236}">
                    <a16:creationId xmlns:a16="http://schemas.microsoft.com/office/drawing/2014/main" id="{E659DF15-2404-3502-B3FF-02CD723D7ED0}"/>
                  </a:ext>
                </a:extLst>
              </p:cNvPr>
              <p:cNvSpPr/>
              <p:nvPr/>
            </p:nvSpPr>
            <p:spPr>
              <a:xfrm rot="4042536">
                <a:off x="3307320"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6" name="Oval 155">
                <a:extLst>
                  <a:ext uri="{FF2B5EF4-FFF2-40B4-BE49-F238E27FC236}">
                    <a16:creationId xmlns:a16="http://schemas.microsoft.com/office/drawing/2014/main" id="{E2F54DA3-CAD2-F8D3-9C4A-A31802515E06}"/>
                  </a:ext>
                </a:extLst>
              </p:cNvPr>
              <p:cNvSpPr/>
              <p:nvPr/>
            </p:nvSpPr>
            <p:spPr>
              <a:xfrm rot="14735683" flipH="1">
                <a:off x="2872037"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7" name="Oval 156">
                <a:extLst>
                  <a:ext uri="{FF2B5EF4-FFF2-40B4-BE49-F238E27FC236}">
                    <a16:creationId xmlns:a16="http://schemas.microsoft.com/office/drawing/2014/main" id="{E6DBF294-8FD1-2A93-CD2E-D136C1C766EE}"/>
                  </a:ext>
                </a:extLst>
              </p:cNvPr>
              <p:cNvSpPr/>
              <p:nvPr/>
            </p:nvSpPr>
            <p:spPr>
              <a:xfrm rot="17557464" flipH="1">
                <a:off x="2877196"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48" name="Straight Connector 157">
                <a:extLst>
                  <a:ext uri="{FF2B5EF4-FFF2-40B4-BE49-F238E27FC236}">
                    <a16:creationId xmlns:a16="http://schemas.microsoft.com/office/drawing/2014/main" id="{0E6046E4-1A73-428A-63CE-F4FA915C70CF}"/>
                  </a:ext>
                </a:extLst>
              </p:cNvPr>
              <p:cNvCxnSpPr>
                <a:cxnSpLocks/>
              </p:cNvCxnSpPr>
              <p:nvPr/>
            </p:nvCxnSpPr>
            <p:spPr>
              <a:xfrm>
                <a:off x="3377531" y="3240815"/>
                <a:ext cx="109728" cy="0"/>
              </a:xfrm>
              <a:prstGeom prst="line">
                <a:avLst/>
              </a:prstGeom>
              <a:noFill/>
              <a:ln w="6350" cap="rnd" cmpd="sng" algn="ctr">
                <a:solidFill>
                  <a:srgbClr val="37302C"/>
                </a:solidFill>
                <a:prstDash val="sysDot"/>
                <a:round/>
              </a:ln>
              <a:effectLst/>
            </p:spPr>
          </p:cxnSp>
          <p:cxnSp>
            <p:nvCxnSpPr>
              <p:cNvPr id="249" name="Straight Connector 158">
                <a:extLst>
                  <a:ext uri="{FF2B5EF4-FFF2-40B4-BE49-F238E27FC236}">
                    <a16:creationId xmlns:a16="http://schemas.microsoft.com/office/drawing/2014/main" id="{F8B10C66-272B-7156-FD36-5345F783EF53}"/>
                  </a:ext>
                </a:extLst>
              </p:cNvPr>
              <p:cNvCxnSpPr>
                <a:cxnSpLocks/>
              </p:cNvCxnSpPr>
              <p:nvPr/>
            </p:nvCxnSpPr>
            <p:spPr>
              <a:xfrm>
                <a:off x="3380706" y="3410310"/>
                <a:ext cx="100584" cy="0"/>
              </a:xfrm>
              <a:prstGeom prst="line">
                <a:avLst/>
              </a:prstGeom>
              <a:noFill/>
              <a:ln w="6350" cap="flat" cmpd="sng" algn="ctr">
                <a:solidFill>
                  <a:srgbClr val="37302C"/>
                </a:solidFill>
                <a:prstDash val="solid"/>
                <a:miter lim="800000"/>
              </a:ln>
              <a:effectLst/>
            </p:spPr>
          </p:cxnSp>
        </p:grpSp>
        <p:grpSp>
          <p:nvGrpSpPr>
            <p:cNvPr id="13" name="Group 163">
              <a:extLst>
                <a:ext uri="{FF2B5EF4-FFF2-40B4-BE49-F238E27FC236}">
                  <a16:creationId xmlns:a16="http://schemas.microsoft.com/office/drawing/2014/main" id="{5C90116E-DFBA-A5DD-9896-8D72E6E49040}"/>
                </a:ext>
              </a:extLst>
            </p:cNvPr>
            <p:cNvGrpSpPr/>
            <p:nvPr/>
          </p:nvGrpSpPr>
          <p:grpSpPr>
            <a:xfrm>
              <a:off x="7049060" y="1900482"/>
              <a:ext cx="440592" cy="733397"/>
              <a:chOff x="4719656" y="1563797"/>
              <a:chExt cx="1940088" cy="3229425"/>
            </a:xfrm>
          </p:grpSpPr>
          <p:grpSp>
            <p:nvGrpSpPr>
              <p:cNvPr id="207" name="Group 164">
                <a:extLst>
                  <a:ext uri="{FF2B5EF4-FFF2-40B4-BE49-F238E27FC236}">
                    <a16:creationId xmlns:a16="http://schemas.microsoft.com/office/drawing/2014/main" id="{C3043D3C-96BC-087F-B311-AC7B6A7BC429}"/>
                  </a:ext>
                </a:extLst>
              </p:cNvPr>
              <p:cNvGrpSpPr/>
              <p:nvPr/>
            </p:nvGrpSpPr>
            <p:grpSpPr>
              <a:xfrm>
                <a:off x="5551938" y="2381250"/>
                <a:ext cx="276124" cy="1162642"/>
                <a:chOff x="5555113" y="2381250"/>
                <a:chExt cx="276124" cy="1162642"/>
              </a:xfrm>
            </p:grpSpPr>
            <p:sp>
              <p:nvSpPr>
                <p:cNvPr id="221" name="Freeform 72">
                  <a:extLst>
                    <a:ext uri="{FF2B5EF4-FFF2-40B4-BE49-F238E27FC236}">
                      <a16:creationId xmlns:a16="http://schemas.microsoft.com/office/drawing/2014/main" id="{3377A4D0-9AB5-AFCB-A155-3303F3473544}"/>
                    </a:ext>
                  </a:extLst>
                </p:cNvPr>
                <p:cNvSpPr/>
                <p:nvPr/>
              </p:nvSpPr>
              <p:spPr>
                <a:xfrm>
                  <a:off x="5555113" y="2381250"/>
                  <a:ext cx="81687" cy="1162642"/>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22" name="Straight Connector 179">
                  <a:extLst>
                    <a:ext uri="{FF2B5EF4-FFF2-40B4-BE49-F238E27FC236}">
                      <a16:creationId xmlns:a16="http://schemas.microsoft.com/office/drawing/2014/main" id="{9E2C47A1-44F7-9BEA-C328-508424F22BEB}"/>
                    </a:ext>
                  </a:extLst>
                </p:cNvPr>
                <p:cNvCxnSpPr>
                  <a:cxnSpLocks/>
                </p:cNvCxnSpPr>
                <p:nvPr/>
              </p:nvCxnSpPr>
              <p:spPr>
                <a:xfrm>
                  <a:off x="5627812" y="3331745"/>
                  <a:ext cx="144338" cy="0"/>
                </a:xfrm>
                <a:prstGeom prst="line">
                  <a:avLst/>
                </a:prstGeom>
                <a:noFill/>
                <a:ln w="6350" cap="flat" cmpd="sng" algn="ctr">
                  <a:solidFill>
                    <a:srgbClr val="37302C"/>
                  </a:solidFill>
                  <a:prstDash val="solid"/>
                  <a:miter lim="800000"/>
                </a:ln>
                <a:effectLst/>
              </p:spPr>
            </p:cxnSp>
            <p:cxnSp>
              <p:nvCxnSpPr>
                <p:cNvPr id="223" name="Straight Connector 180">
                  <a:extLst>
                    <a:ext uri="{FF2B5EF4-FFF2-40B4-BE49-F238E27FC236}">
                      <a16:creationId xmlns:a16="http://schemas.microsoft.com/office/drawing/2014/main" id="{AC3D536D-11E7-76E9-C57B-D21598CCFEFB}"/>
                    </a:ext>
                  </a:extLst>
                </p:cNvPr>
                <p:cNvCxnSpPr>
                  <a:cxnSpLocks/>
                </p:cNvCxnSpPr>
                <p:nvPr/>
              </p:nvCxnSpPr>
              <p:spPr>
                <a:xfrm>
                  <a:off x="5611937" y="3410310"/>
                  <a:ext cx="169738" cy="0"/>
                </a:xfrm>
                <a:prstGeom prst="line">
                  <a:avLst/>
                </a:prstGeom>
                <a:noFill/>
                <a:ln w="6350" cap="flat" cmpd="sng" algn="ctr">
                  <a:solidFill>
                    <a:srgbClr val="37302C"/>
                  </a:solidFill>
                  <a:prstDash val="solid"/>
                  <a:miter lim="800000"/>
                </a:ln>
                <a:effectLst/>
              </p:spPr>
            </p:cxnSp>
            <p:cxnSp>
              <p:nvCxnSpPr>
                <p:cNvPr id="224" name="Straight Connector 181">
                  <a:extLst>
                    <a:ext uri="{FF2B5EF4-FFF2-40B4-BE49-F238E27FC236}">
                      <a16:creationId xmlns:a16="http://schemas.microsoft.com/office/drawing/2014/main" id="{091F961F-50AA-2B11-94EB-978F4BE27514}"/>
                    </a:ext>
                  </a:extLst>
                </p:cNvPr>
                <p:cNvCxnSpPr>
                  <a:cxnSpLocks/>
                </p:cNvCxnSpPr>
                <p:nvPr/>
              </p:nvCxnSpPr>
              <p:spPr>
                <a:xfrm>
                  <a:off x="5627812" y="3253175"/>
                  <a:ext cx="128463" cy="0"/>
                </a:xfrm>
                <a:prstGeom prst="line">
                  <a:avLst/>
                </a:prstGeom>
                <a:noFill/>
                <a:ln w="6350" cap="flat" cmpd="sng" algn="ctr">
                  <a:solidFill>
                    <a:srgbClr val="37302C"/>
                  </a:solidFill>
                  <a:prstDash val="solid"/>
                  <a:miter lim="800000"/>
                </a:ln>
                <a:effectLst/>
              </p:spPr>
            </p:cxnSp>
            <p:cxnSp>
              <p:nvCxnSpPr>
                <p:cNvPr id="225" name="Straight Connector 182">
                  <a:extLst>
                    <a:ext uri="{FF2B5EF4-FFF2-40B4-BE49-F238E27FC236}">
                      <a16:creationId xmlns:a16="http://schemas.microsoft.com/office/drawing/2014/main" id="{62003254-CF15-33DA-9982-0497177FC9CD}"/>
                    </a:ext>
                  </a:extLst>
                </p:cNvPr>
                <p:cNvCxnSpPr>
                  <a:cxnSpLocks/>
                </p:cNvCxnSpPr>
                <p:nvPr/>
              </p:nvCxnSpPr>
              <p:spPr>
                <a:xfrm>
                  <a:off x="5627812" y="3174605"/>
                  <a:ext cx="128463" cy="0"/>
                </a:xfrm>
                <a:prstGeom prst="line">
                  <a:avLst/>
                </a:prstGeom>
                <a:noFill/>
                <a:ln w="6350" cap="flat" cmpd="sng" algn="ctr">
                  <a:solidFill>
                    <a:srgbClr val="37302C"/>
                  </a:solidFill>
                  <a:prstDash val="solid"/>
                  <a:miter lim="800000"/>
                </a:ln>
                <a:effectLst/>
              </p:spPr>
            </p:cxnSp>
            <p:cxnSp>
              <p:nvCxnSpPr>
                <p:cNvPr id="226" name="Straight Connector 183">
                  <a:extLst>
                    <a:ext uri="{FF2B5EF4-FFF2-40B4-BE49-F238E27FC236}">
                      <a16:creationId xmlns:a16="http://schemas.microsoft.com/office/drawing/2014/main" id="{3B5D4A5E-F382-B5D5-CB51-032DB02FE920}"/>
                    </a:ext>
                  </a:extLst>
                </p:cNvPr>
                <p:cNvCxnSpPr>
                  <a:cxnSpLocks/>
                </p:cNvCxnSpPr>
                <p:nvPr/>
              </p:nvCxnSpPr>
              <p:spPr>
                <a:xfrm>
                  <a:off x="5627812" y="3096035"/>
                  <a:ext cx="128463" cy="0"/>
                </a:xfrm>
                <a:prstGeom prst="line">
                  <a:avLst/>
                </a:prstGeom>
                <a:noFill/>
                <a:ln w="6350" cap="flat" cmpd="sng" algn="ctr">
                  <a:solidFill>
                    <a:srgbClr val="37302C"/>
                  </a:solidFill>
                  <a:prstDash val="solid"/>
                  <a:miter lim="800000"/>
                </a:ln>
                <a:effectLst/>
              </p:spPr>
            </p:cxnSp>
            <p:cxnSp>
              <p:nvCxnSpPr>
                <p:cNvPr id="227" name="Straight Connector 184">
                  <a:extLst>
                    <a:ext uri="{FF2B5EF4-FFF2-40B4-BE49-F238E27FC236}">
                      <a16:creationId xmlns:a16="http://schemas.microsoft.com/office/drawing/2014/main" id="{3310AE1D-3F7B-F3E4-8277-99C4E29000E3}"/>
                    </a:ext>
                  </a:extLst>
                </p:cNvPr>
                <p:cNvCxnSpPr>
                  <a:cxnSpLocks/>
                </p:cNvCxnSpPr>
                <p:nvPr/>
              </p:nvCxnSpPr>
              <p:spPr>
                <a:xfrm>
                  <a:off x="5627812" y="3017465"/>
                  <a:ext cx="128463" cy="0"/>
                </a:xfrm>
                <a:prstGeom prst="line">
                  <a:avLst/>
                </a:prstGeom>
                <a:noFill/>
                <a:ln w="6350" cap="flat" cmpd="sng" algn="ctr">
                  <a:solidFill>
                    <a:srgbClr val="37302C"/>
                  </a:solidFill>
                  <a:prstDash val="solid"/>
                  <a:miter lim="800000"/>
                </a:ln>
                <a:effectLst/>
              </p:spPr>
            </p:cxnSp>
            <p:cxnSp>
              <p:nvCxnSpPr>
                <p:cNvPr id="228" name="Straight Connector 185">
                  <a:extLst>
                    <a:ext uri="{FF2B5EF4-FFF2-40B4-BE49-F238E27FC236}">
                      <a16:creationId xmlns:a16="http://schemas.microsoft.com/office/drawing/2014/main" id="{C9A97505-29AB-894B-73B8-121272E96781}"/>
                    </a:ext>
                  </a:extLst>
                </p:cNvPr>
                <p:cNvCxnSpPr>
                  <a:cxnSpLocks/>
                </p:cNvCxnSpPr>
                <p:nvPr/>
              </p:nvCxnSpPr>
              <p:spPr>
                <a:xfrm>
                  <a:off x="5627812" y="2938895"/>
                  <a:ext cx="128463" cy="0"/>
                </a:xfrm>
                <a:prstGeom prst="line">
                  <a:avLst/>
                </a:prstGeom>
                <a:noFill/>
                <a:ln w="6350" cap="flat" cmpd="sng" algn="ctr">
                  <a:solidFill>
                    <a:srgbClr val="37302C"/>
                  </a:solidFill>
                  <a:prstDash val="solid"/>
                  <a:miter lim="800000"/>
                </a:ln>
                <a:effectLst/>
              </p:spPr>
            </p:cxnSp>
            <p:cxnSp>
              <p:nvCxnSpPr>
                <p:cNvPr id="229" name="Straight Connector 186">
                  <a:extLst>
                    <a:ext uri="{FF2B5EF4-FFF2-40B4-BE49-F238E27FC236}">
                      <a16:creationId xmlns:a16="http://schemas.microsoft.com/office/drawing/2014/main" id="{D41423B7-E87D-8316-7E95-3F434AE1F782}"/>
                    </a:ext>
                  </a:extLst>
                </p:cNvPr>
                <p:cNvCxnSpPr>
                  <a:cxnSpLocks/>
                </p:cNvCxnSpPr>
                <p:nvPr/>
              </p:nvCxnSpPr>
              <p:spPr>
                <a:xfrm>
                  <a:off x="5627812" y="2860325"/>
                  <a:ext cx="137988" cy="0"/>
                </a:xfrm>
                <a:prstGeom prst="line">
                  <a:avLst/>
                </a:prstGeom>
                <a:noFill/>
                <a:ln w="6350" cap="flat" cmpd="sng" algn="ctr">
                  <a:solidFill>
                    <a:srgbClr val="37302C"/>
                  </a:solidFill>
                  <a:prstDash val="solid"/>
                  <a:miter lim="800000"/>
                </a:ln>
                <a:effectLst/>
              </p:spPr>
            </p:cxnSp>
            <p:cxnSp>
              <p:nvCxnSpPr>
                <p:cNvPr id="230" name="Straight Connector 187">
                  <a:extLst>
                    <a:ext uri="{FF2B5EF4-FFF2-40B4-BE49-F238E27FC236}">
                      <a16:creationId xmlns:a16="http://schemas.microsoft.com/office/drawing/2014/main" id="{A61DF06A-515D-DFCA-3380-A34141E8A352}"/>
                    </a:ext>
                  </a:extLst>
                </p:cNvPr>
                <p:cNvCxnSpPr>
                  <a:cxnSpLocks/>
                </p:cNvCxnSpPr>
                <p:nvPr/>
              </p:nvCxnSpPr>
              <p:spPr>
                <a:xfrm>
                  <a:off x="5611937" y="2781755"/>
                  <a:ext cx="153863" cy="0"/>
                </a:xfrm>
                <a:prstGeom prst="line">
                  <a:avLst/>
                </a:prstGeom>
                <a:noFill/>
                <a:ln w="6350" cap="flat" cmpd="sng" algn="ctr">
                  <a:solidFill>
                    <a:srgbClr val="37302C"/>
                  </a:solidFill>
                  <a:prstDash val="solid"/>
                  <a:miter lim="800000"/>
                </a:ln>
                <a:effectLst/>
              </p:spPr>
            </p:cxnSp>
            <p:cxnSp>
              <p:nvCxnSpPr>
                <p:cNvPr id="231" name="Straight Connector 188">
                  <a:extLst>
                    <a:ext uri="{FF2B5EF4-FFF2-40B4-BE49-F238E27FC236}">
                      <a16:creationId xmlns:a16="http://schemas.microsoft.com/office/drawing/2014/main" id="{E99C8436-8C57-50B1-45AD-7BA530A09F32}"/>
                    </a:ext>
                  </a:extLst>
                </p:cNvPr>
                <p:cNvCxnSpPr>
                  <a:cxnSpLocks/>
                </p:cNvCxnSpPr>
                <p:nvPr/>
              </p:nvCxnSpPr>
              <p:spPr>
                <a:xfrm>
                  <a:off x="5600700" y="2703185"/>
                  <a:ext cx="174625" cy="0"/>
                </a:xfrm>
                <a:prstGeom prst="line">
                  <a:avLst/>
                </a:prstGeom>
                <a:noFill/>
                <a:ln w="6350" cap="flat" cmpd="sng" algn="ctr">
                  <a:solidFill>
                    <a:srgbClr val="37302C"/>
                  </a:solidFill>
                  <a:prstDash val="solid"/>
                  <a:miter lim="800000"/>
                </a:ln>
                <a:effectLst/>
              </p:spPr>
            </p:cxnSp>
            <p:cxnSp>
              <p:nvCxnSpPr>
                <p:cNvPr id="232" name="Straight Connector 189">
                  <a:extLst>
                    <a:ext uri="{FF2B5EF4-FFF2-40B4-BE49-F238E27FC236}">
                      <a16:creationId xmlns:a16="http://schemas.microsoft.com/office/drawing/2014/main" id="{33D477E0-C17C-F443-619A-2963DD694FDA}"/>
                    </a:ext>
                  </a:extLst>
                </p:cNvPr>
                <p:cNvCxnSpPr>
                  <a:cxnSpLocks/>
                </p:cNvCxnSpPr>
                <p:nvPr/>
              </p:nvCxnSpPr>
              <p:spPr>
                <a:xfrm>
                  <a:off x="5594350" y="2624615"/>
                  <a:ext cx="190500" cy="0"/>
                </a:xfrm>
                <a:prstGeom prst="line">
                  <a:avLst/>
                </a:prstGeom>
                <a:noFill/>
                <a:ln w="6350" cap="flat" cmpd="sng" algn="ctr">
                  <a:solidFill>
                    <a:srgbClr val="37302C"/>
                  </a:solidFill>
                  <a:prstDash val="solid"/>
                  <a:miter lim="800000"/>
                </a:ln>
                <a:effectLst/>
              </p:spPr>
            </p:cxnSp>
            <p:cxnSp>
              <p:nvCxnSpPr>
                <p:cNvPr id="233" name="Straight Connector 190">
                  <a:extLst>
                    <a:ext uri="{FF2B5EF4-FFF2-40B4-BE49-F238E27FC236}">
                      <a16:creationId xmlns:a16="http://schemas.microsoft.com/office/drawing/2014/main" id="{3930CEB8-758B-F0FF-37C8-FA491742EEA4}"/>
                    </a:ext>
                  </a:extLst>
                </p:cNvPr>
                <p:cNvCxnSpPr>
                  <a:cxnSpLocks/>
                </p:cNvCxnSpPr>
                <p:nvPr/>
              </p:nvCxnSpPr>
              <p:spPr>
                <a:xfrm>
                  <a:off x="5588000" y="2546045"/>
                  <a:ext cx="196850" cy="0"/>
                </a:xfrm>
                <a:prstGeom prst="line">
                  <a:avLst/>
                </a:prstGeom>
                <a:noFill/>
                <a:ln w="6350" cap="flat" cmpd="sng" algn="ctr">
                  <a:solidFill>
                    <a:srgbClr val="37302C"/>
                  </a:solidFill>
                  <a:prstDash val="solid"/>
                  <a:miter lim="800000"/>
                </a:ln>
                <a:effectLst/>
              </p:spPr>
            </p:cxnSp>
            <p:sp>
              <p:nvSpPr>
                <p:cNvPr id="234" name="Freeform 85">
                  <a:extLst>
                    <a:ext uri="{FF2B5EF4-FFF2-40B4-BE49-F238E27FC236}">
                      <a16:creationId xmlns:a16="http://schemas.microsoft.com/office/drawing/2014/main" id="{38ADB989-3CD9-B331-7FBD-44C62D063D27}"/>
                    </a:ext>
                  </a:extLst>
                </p:cNvPr>
                <p:cNvSpPr/>
                <p:nvPr/>
              </p:nvSpPr>
              <p:spPr>
                <a:xfrm flipH="1">
                  <a:off x="5749550" y="2381250"/>
                  <a:ext cx="81687" cy="1162642"/>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08" name="Oval 165">
                <a:extLst>
                  <a:ext uri="{FF2B5EF4-FFF2-40B4-BE49-F238E27FC236}">
                    <a16:creationId xmlns:a16="http://schemas.microsoft.com/office/drawing/2014/main" id="{1DF65CB1-E37D-C413-64DD-347B75F424A8}"/>
                  </a:ext>
                </a:extLst>
              </p:cNvPr>
              <p:cNvSpPr/>
              <p:nvPr/>
            </p:nvSpPr>
            <p:spPr>
              <a:xfrm rot="2280519">
                <a:off x="4874971" y="2186823"/>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9" name="Oval 166">
                <a:extLst>
                  <a:ext uri="{FF2B5EF4-FFF2-40B4-BE49-F238E27FC236}">
                    <a16:creationId xmlns:a16="http://schemas.microsoft.com/office/drawing/2014/main" id="{6E19E999-FA4E-8A73-FDDA-6197E3D36E41}"/>
                  </a:ext>
                </a:extLst>
              </p:cNvPr>
              <p:cNvSpPr/>
              <p:nvPr/>
            </p:nvSpPr>
            <p:spPr>
              <a:xfrm rot="3757393">
                <a:off x="4546004" y="1748789"/>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0" name="Oval 167">
                <a:extLst>
                  <a:ext uri="{FF2B5EF4-FFF2-40B4-BE49-F238E27FC236}">
                    <a16:creationId xmlns:a16="http://schemas.microsoft.com/office/drawing/2014/main" id="{8F486513-EDDE-9D5E-4207-1E71E6227B32}"/>
                  </a:ext>
                </a:extLst>
              </p:cNvPr>
              <p:cNvSpPr/>
              <p:nvPr/>
            </p:nvSpPr>
            <p:spPr>
              <a:xfrm rot="3922235">
                <a:off x="5136074" y="2004414"/>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1" name="Oval 168">
                <a:extLst>
                  <a:ext uri="{FF2B5EF4-FFF2-40B4-BE49-F238E27FC236}">
                    <a16:creationId xmlns:a16="http://schemas.microsoft.com/office/drawing/2014/main" id="{259FFA17-470E-2777-F84B-7C6C72A20D09}"/>
                  </a:ext>
                </a:extLst>
              </p:cNvPr>
              <p:cNvSpPr/>
              <p:nvPr/>
            </p:nvSpPr>
            <p:spPr>
              <a:xfrm rot="2188031">
                <a:off x="4778202" y="1563797"/>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212" name="Group 169">
                <a:extLst>
                  <a:ext uri="{FF2B5EF4-FFF2-40B4-BE49-F238E27FC236}">
                    <a16:creationId xmlns:a16="http://schemas.microsoft.com/office/drawing/2014/main" id="{6CEF0388-19AC-B70E-0666-9BFA538C5838}"/>
                  </a:ext>
                </a:extLst>
              </p:cNvPr>
              <p:cNvGrpSpPr/>
              <p:nvPr/>
            </p:nvGrpSpPr>
            <p:grpSpPr>
              <a:xfrm flipH="1">
                <a:off x="5754605" y="1566239"/>
                <a:ext cx="905139" cy="938095"/>
                <a:chOff x="1661865" y="2161675"/>
                <a:chExt cx="905139" cy="938095"/>
              </a:xfrm>
            </p:grpSpPr>
            <p:sp>
              <p:nvSpPr>
                <p:cNvPr id="217" name="Oval 174">
                  <a:extLst>
                    <a:ext uri="{FF2B5EF4-FFF2-40B4-BE49-F238E27FC236}">
                      <a16:creationId xmlns:a16="http://schemas.microsoft.com/office/drawing/2014/main" id="{11C5E53E-D2F0-FDD5-D745-80D1464EF807}"/>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8" name="Oval 175">
                  <a:extLst>
                    <a:ext uri="{FF2B5EF4-FFF2-40B4-BE49-F238E27FC236}">
                      <a16:creationId xmlns:a16="http://schemas.microsoft.com/office/drawing/2014/main" id="{E5BE3DBE-CB7C-C483-AA5F-8DF0231D7F6A}"/>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9" name="Oval 176">
                  <a:extLst>
                    <a:ext uri="{FF2B5EF4-FFF2-40B4-BE49-F238E27FC236}">
                      <a16:creationId xmlns:a16="http://schemas.microsoft.com/office/drawing/2014/main" id="{344F6DCD-A331-ED7E-97A2-C119CD7231A3}"/>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20" name="Oval 177">
                  <a:extLst>
                    <a:ext uri="{FF2B5EF4-FFF2-40B4-BE49-F238E27FC236}">
                      <a16:creationId xmlns:a16="http://schemas.microsoft.com/office/drawing/2014/main" id="{689A1AFC-A7EA-3CB8-E4E7-03578865CDCF}"/>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13" name="Oval 170">
                <a:extLst>
                  <a:ext uri="{FF2B5EF4-FFF2-40B4-BE49-F238E27FC236}">
                    <a16:creationId xmlns:a16="http://schemas.microsoft.com/office/drawing/2014/main" id="{40743E2C-840A-43EC-5178-2C20EF4A1D59}"/>
                  </a:ext>
                </a:extLst>
              </p:cNvPr>
              <p:cNvSpPr/>
              <p:nvPr/>
            </p:nvSpPr>
            <p:spPr>
              <a:xfrm rot="6864317">
                <a:off x="5549267" y="4269700"/>
                <a:ext cx="691334" cy="355709"/>
              </a:xfrm>
              <a:prstGeom prst="ellipse">
                <a:avLst/>
              </a:prstGeom>
              <a:gradFill flip="none" rotWithShape="1">
                <a:gsLst>
                  <a:gs pos="0">
                    <a:srgbClr val="002F6C">
                      <a:lumMod val="5000"/>
                      <a:lumOff val="95000"/>
                    </a:srgbClr>
                  </a:gs>
                  <a:gs pos="88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4" name="Oval 171">
                <a:extLst>
                  <a:ext uri="{FF2B5EF4-FFF2-40B4-BE49-F238E27FC236}">
                    <a16:creationId xmlns:a16="http://schemas.microsoft.com/office/drawing/2014/main" id="{BC975486-AE6B-22B2-99C6-E73DE49D14A4}"/>
                  </a:ext>
                </a:extLst>
              </p:cNvPr>
              <p:cNvSpPr/>
              <p:nvPr/>
            </p:nvSpPr>
            <p:spPr>
              <a:xfrm rot="4042536">
                <a:off x="5554426" y="3636719"/>
                <a:ext cx="691334" cy="355709"/>
              </a:xfrm>
              <a:prstGeom prst="ellipse">
                <a:avLst/>
              </a:prstGeom>
              <a:gradFill flip="none" rotWithShape="1">
                <a:gsLst>
                  <a:gs pos="0">
                    <a:srgbClr val="002F6C">
                      <a:lumMod val="5000"/>
                      <a:lumOff val="95000"/>
                    </a:srgbClr>
                  </a:gs>
                  <a:gs pos="88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5" name="Oval 172">
                <a:extLst>
                  <a:ext uri="{FF2B5EF4-FFF2-40B4-BE49-F238E27FC236}">
                    <a16:creationId xmlns:a16="http://schemas.microsoft.com/office/drawing/2014/main" id="{DAE2C99D-32AC-758F-8C0A-FC48DB2A1816}"/>
                  </a:ext>
                </a:extLst>
              </p:cNvPr>
              <p:cNvSpPr/>
              <p:nvPr/>
            </p:nvSpPr>
            <p:spPr>
              <a:xfrm rot="14735683" flipH="1">
                <a:off x="5119143" y="4269699"/>
                <a:ext cx="691334" cy="355709"/>
              </a:xfrm>
              <a:prstGeom prst="ellipse">
                <a:avLst/>
              </a:prstGeom>
              <a:gradFill flip="none" rotWithShape="1">
                <a:gsLst>
                  <a:gs pos="0">
                    <a:srgbClr val="002F6C">
                      <a:lumMod val="5000"/>
                      <a:lumOff val="95000"/>
                    </a:srgbClr>
                  </a:gs>
                  <a:gs pos="88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16" name="Oval 173">
                <a:extLst>
                  <a:ext uri="{FF2B5EF4-FFF2-40B4-BE49-F238E27FC236}">
                    <a16:creationId xmlns:a16="http://schemas.microsoft.com/office/drawing/2014/main" id="{D7EFE8A6-892D-55B3-6879-07E51A63C45A}"/>
                  </a:ext>
                </a:extLst>
              </p:cNvPr>
              <p:cNvSpPr/>
              <p:nvPr/>
            </p:nvSpPr>
            <p:spPr>
              <a:xfrm rot="17557464" flipH="1">
                <a:off x="5124302" y="3636718"/>
                <a:ext cx="691334" cy="355709"/>
              </a:xfrm>
              <a:prstGeom prst="ellipse">
                <a:avLst/>
              </a:prstGeom>
              <a:gradFill flip="none" rotWithShape="1">
                <a:gsLst>
                  <a:gs pos="0">
                    <a:srgbClr val="002F6C">
                      <a:lumMod val="5000"/>
                      <a:lumOff val="95000"/>
                    </a:srgbClr>
                  </a:gs>
                  <a:gs pos="88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4" name="Group 119">
              <a:extLst>
                <a:ext uri="{FF2B5EF4-FFF2-40B4-BE49-F238E27FC236}">
                  <a16:creationId xmlns:a16="http://schemas.microsoft.com/office/drawing/2014/main" id="{630C2E80-FECD-D25B-1226-68ACD0C5B92C}"/>
                </a:ext>
              </a:extLst>
            </p:cNvPr>
            <p:cNvGrpSpPr/>
            <p:nvPr/>
          </p:nvGrpSpPr>
          <p:grpSpPr>
            <a:xfrm>
              <a:off x="4316864" y="1970783"/>
              <a:ext cx="440592" cy="592795"/>
              <a:chOff x="247890" y="2182922"/>
              <a:chExt cx="1940088" cy="2610300"/>
            </a:xfrm>
          </p:grpSpPr>
          <p:sp>
            <p:nvSpPr>
              <p:cNvPr id="190" name="Freeform 15">
                <a:extLst>
                  <a:ext uri="{FF2B5EF4-FFF2-40B4-BE49-F238E27FC236}">
                    <a16:creationId xmlns:a16="http://schemas.microsoft.com/office/drawing/2014/main" id="{5486936A-5499-1DA0-3CB1-E66143AF0311}"/>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91" name="Freeform 16">
                <a:extLst>
                  <a:ext uri="{FF2B5EF4-FFF2-40B4-BE49-F238E27FC236}">
                    <a16:creationId xmlns:a16="http://schemas.microsoft.com/office/drawing/2014/main" id="{316EB325-D93C-E03C-DD2E-16D8E32C11E5}"/>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92" name="Straight Connector 122">
                <a:extLst>
                  <a:ext uri="{FF2B5EF4-FFF2-40B4-BE49-F238E27FC236}">
                    <a16:creationId xmlns:a16="http://schemas.microsoft.com/office/drawing/2014/main" id="{89BA0CED-11C0-039C-FEAC-9F0F2247A8A4}"/>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93" name="Straight Connector 210">
                <a:extLst>
                  <a:ext uri="{FF2B5EF4-FFF2-40B4-BE49-F238E27FC236}">
                    <a16:creationId xmlns:a16="http://schemas.microsoft.com/office/drawing/2014/main" id="{2D91C567-445D-A04A-3791-539D40D689DD}"/>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94" name="Oval 211">
                <a:extLst>
                  <a:ext uri="{FF2B5EF4-FFF2-40B4-BE49-F238E27FC236}">
                    <a16:creationId xmlns:a16="http://schemas.microsoft.com/office/drawing/2014/main" id="{2335A664-F9A8-9BB6-32AD-60E20905BC3C}"/>
                  </a:ext>
                </a:extLst>
              </p:cNvPr>
              <p:cNvSpPr/>
              <p:nvPr/>
            </p:nvSpPr>
            <p:spPr>
              <a:xfrm rot="2280519">
                <a:off x="403205" y="2805948"/>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95" name="Oval 214">
                <a:extLst>
                  <a:ext uri="{FF2B5EF4-FFF2-40B4-BE49-F238E27FC236}">
                    <a16:creationId xmlns:a16="http://schemas.microsoft.com/office/drawing/2014/main" id="{A689C52E-6383-D1C9-A172-5A6ACF2EB4E8}"/>
                  </a:ext>
                </a:extLst>
              </p:cNvPr>
              <p:cNvSpPr/>
              <p:nvPr/>
            </p:nvSpPr>
            <p:spPr>
              <a:xfrm rot="3757393">
                <a:off x="74238" y="2367914"/>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96" name="Oval 215">
                <a:extLst>
                  <a:ext uri="{FF2B5EF4-FFF2-40B4-BE49-F238E27FC236}">
                    <a16:creationId xmlns:a16="http://schemas.microsoft.com/office/drawing/2014/main" id="{B530FEAA-C8D7-81CC-657E-BBD3AC2275FB}"/>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97" name="Oval 216">
                <a:extLst>
                  <a:ext uri="{FF2B5EF4-FFF2-40B4-BE49-F238E27FC236}">
                    <a16:creationId xmlns:a16="http://schemas.microsoft.com/office/drawing/2014/main" id="{9CF946F8-A4A2-A620-35F6-5F9A834AD583}"/>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98" name="Group 217">
                <a:extLst>
                  <a:ext uri="{FF2B5EF4-FFF2-40B4-BE49-F238E27FC236}">
                    <a16:creationId xmlns:a16="http://schemas.microsoft.com/office/drawing/2014/main" id="{2B28E85E-6F2C-4382-E8A8-25DC9A6EFA80}"/>
                  </a:ext>
                </a:extLst>
              </p:cNvPr>
              <p:cNvGrpSpPr/>
              <p:nvPr/>
            </p:nvGrpSpPr>
            <p:grpSpPr>
              <a:xfrm flipH="1">
                <a:off x="1282839" y="2185364"/>
                <a:ext cx="905139" cy="938095"/>
                <a:chOff x="1661865" y="2161675"/>
                <a:chExt cx="905139" cy="938095"/>
              </a:xfrm>
            </p:grpSpPr>
            <p:sp>
              <p:nvSpPr>
                <p:cNvPr id="203" name="Oval 222">
                  <a:extLst>
                    <a:ext uri="{FF2B5EF4-FFF2-40B4-BE49-F238E27FC236}">
                      <a16:creationId xmlns:a16="http://schemas.microsoft.com/office/drawing/2014/main" id="{55730B19-0AF9-DC77-484E-1DD4598BC8D0}"/>
                    </a:ext>
                  </a:extLst>
                </p:cNvPr>
                <p:cNvSpPr/>
                <p:nvPr/>
              </p:nvSpPr>
              <p:spPr>
                <a:xfrm rot="2280519">
                  <a:off x="1817180" y="2784701"/>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4" name="Oval 223">
                  <a:extLst>
                    <a:ext uri="{FF2B5EF4-FFF2-40B4-BE49-F238E27FC236}">
                      <a16:creationId xmlns:a16="http://schemas.microsoft.com/office/drawing/2014/main" id="{B90D4B54-0DAF-DFD3-EF45-D0449A5F56D4}"/>
                    </a:ext>
                  </a:extLst>
                </p:cNvPr>
                <p:cNvSpPr/>
                <p:nvPr/>
              </p:nvSpPr>
              <p:spPr>
                <a:xfrm rot="3757393">
                  <a:off x="1488213" y="2346667"/>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5" name="Oval 224">
                  <a:extLst>
                    <a:ext uri="{FF2B5EF4-FFF2-40B4-BE49-F238E27FC236}">
                      <a16:creationId xmlns:a16="http://schemas.microsoft.com/office/drawing/2014/main" id="{AD168FBA-BF8E-9824-1837-9A185B949B13}"/>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6" name="Oval 225">
                  <a:extLst>
                    <a:ext uri="{FF2B5EF4-FFF2-40B4-BE49-F238E27FC236}">
                      <a16:creationId xmlns:a16="http://schemas.microsoft.com/office/drawing/2014/main" id="{2DAC9DC0-9E4D-B794-476D-AED27B552282}"/>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99" name="Oval 218">
                <a:extLst>
                  <a:ext uri="{FF2B5EF4-FFF2-40B4-BE49-F238E27FC236}">
                    <a16:creationId xmlns:a16="http://schemas.microsoft.com/office/drawing/2014/main" id="{1BEB008B-B0B6-3D2F-865A-9F158DC71906}"/>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0" name="Oval 219">
                <a:extLst>
                  <a:ext uri="{FF2B5EF4-FFF2-40B4-BE49-F238E27FC236}">
                    <a16:creationId xmlns:a16="http://schemas.microsoft.com/office/drawing/2014/main" id="{7A90B31B-5C30-1273-97F8-4FF5B69436E7}"/>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1" name="Oval 220">
                <a:extLst>
                  <a:ext uri="{FF2B5EF4-FFF2-40B4-BE49-F238E27FC236}">
                    <a16:creationId xmlns:a16="http://schemas.microsoft.com/office/drawing/2014/main" id="{5CDAAAE8-B314-7BEB-FED1-EB66D588676A}"/>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02" name="Oval 221">
                <a:extLst>
                  <a:ext uri="{FF2B5EF4-FFF2-40B4-BE49-F238E27FC236}">
                    <a16:creationId xmlns:a16="http://schemas.microsoft.com/office/drawing/2014/main" id="{935E45E9-893B-918C-D14D-40EDAD10AA54}"/>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chemeClr val="tx1"/>
                  </a:gs>
                </a:gsLst>
                <a:path path="circle">
                  <a:fillToRect l="50000" t="50000" r="50000" b="50000"/>
                </a:path>
                <a:tileRect/>
              </a:gradFill>
              <a:ln w="6350" cap="flat" cmpd="sng" algn="ctr">
                <a:solidFill>
                  <a:schemeClr val="tx1">
                    <a:lumMod val="90000"/>
                    <a:lumOff val="1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5" name="Group 6">
              <a:extLst>
                <a:ext uri="{FF2B5EF4-FFF2-40B4-BE49-F238E27FC236}">
                  <a16:creationId xmlns:a16="http://schemas.microsoft.com/office/drawing/2014/main" id="{3B269276-F1BF-6B0E-4D61-206E4D7030B6}"/>
                </a:ext>
              </a:extLst>
            </p:cNvPr>
            <p:cNvGrpSpPr/>
            <p:nvPr/>
          </p:nvGrpSpPr>
          <p:grpSpPr>
            <a:xfrm>
              <a:off x="3350678" y="1958234"/>
              <a:ext cx="601227" cy="617891"/>
              <a:chOff x="14083942" y="2603773"/>
              <a:chExt cx="601226" cy="617890"/>
            </a:xfrm>
          </p:grpSpPr>
          <p:grpSp>
            <p:nvGrpSpPr>
              <p:cNvPr id="99" name="Group 244">
                <a:extLst>
                  <a:ext uri="{FF2B5EF4-FFF2-40B4-BE49-F238E27FC236}">
                    <a16:creationId xmlns:a16="http://schemas.microsoft.com/office/drawing/2014/main" id="{31DE8396-4017-1967-86C2-BCF4F4246451}"/>
                  </a:ext>
                </a:extLst>
              </p:cNvPr>
              <p:cNvGrpSpPr/>
              <p:nvPr/>
            </p:nvGrpSpPr>
            <p:grpSpPr>
              <a:xfrm rot="5400000">
                <a:off x="14443404" y="2777603"/>
                <a:ext cx="206156" cy="277373"/>
                <a:chOff x="247890" y="2182922"/>
                <a:chExt cx="1940088" cy="2610300"/>
              </a:xfrm>
            </p:grpSpPr>
            <p:sp>
              <p:nvSpPr>
                <p:cNvPr id="173" name="Freeform 15">
                  <a:extLst>
                    <a:ext uri="{FF2B5EF4-FFF2-40B4-BE49-F238E27FC236}">
                      <a16:creationId xmlns:a16="http://schemas.microsoft.com/office/drawing/2014/main" id="{8D001404-2E5B-7B04-A6B5-B191B5889499}"/>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4" name="Freeform 16">
                  <a:extLst>
                    <a:ext uri="{FF2B5EF4-FFF2-40B4-BE49-F238E27FC236}">
                      <a16:creationId xmlns:a16="http://schemas.microsoft.com/office/drawing/2014/main" id="{E145ED91-5953-B213-49E8-B5459EC9C913}"/>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75" name="Straight Connector 247">
                  <a:extLst>
                    <a:ext uri="{FF2B5EF4-FFF2-40B4-BE49-F238E27FC236}">
                      <a16:creationId xmlns:a16="http://schemas.microsoft.com/office/drawing/2014/main" id="{F11472BD-0A7B-E60A-A206-35738F29D864}"/>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76" name="Straight Connector 248">
                  <a:extLst>
                    <a:ext uri="{FF2B5EF4-FFF2-40B4-BE49-F238E27FC236}">
                      <a16:creationId xmlns:a16="http://schemas.microsoft.com/office/drawing/2014/main" id="{57350CB0-0583-70C3-18DD-7654A438EFB9}"/>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77" name="Oval 249">
                  <a:extLst>
                    <a:ext uri="{FF2B5EF4-FFF2-40B4-BE49-F238E27FC236}">
                      <a16:creationId xmlns:a16="http://schemas.microsoft.com/office/drawing/2014/main" id="{83660DFA-2746-3959-0DCE-DE0A867CFC3B}"/>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8" name="Oval 250">
                  <a:extLst>
                    <a:ext uri="{FF2B5EF4-FFF2-40B4-BE49-F238E27FC236}">
                      <a16:creationId xmlns:a16="http://schemas.microsoft.com/office/drawing/2014/main" id="{D75F9A32-6B0F-2BAB-8266-3AC60785D044}"/>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9" name="Oval 251">
                  <a:extLst>
                    <a:ext uri="{FF2B5EF4-FFF2-40B4-BE49-F238E27FC236}">
                      <a16:creationId xmlns:a16="http://schemas.microsoft.com/office/drawing/2014/main" id="{38EA3239-DBC0-830B-6F78-30F6B0D181EA}"/>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0" name="Oval 252">
                  <a:extLst>
                    <a:ext uri="{FF2B5EF4-FFF2-40B4-BE49-F238E27FC236}">
                      <a16:creationId xmlns:a16="http://schemas.microsoft.com/office/drawing/2014/main" id="{4BB365EF-DD22-C66C-5C90-D01508E6F376}"/>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81" name="Group 253">
                  <a:extLst>
                    <a:ext uri="{FF2B5EF4-FFF2-40B4-BE49-F238E27FC236}">
                      <a16:creationId xmlns:a16="http://schemas.microsoft.com/office/drawing/2014/main" id="{963860D3-DFBF-66C1-4AF0-4A1F267D8199}"/>
                    </a:ext>
                  </a:extLst>
                </p:cNvPr>
                <p:cNvGrpSpPr/>
                <p:nvPr/>
              </p:nvGrpSpPr>
              <p:grpSpPr>
                <a:xfrm flipH="1">
                  <a:off x="1282839" y="2185364"/>
                  <a:ext cx="905139" cy="938095"/>
                  <a:chOff x="1661865" y="2161675"/>
                  <a:chExt cx="905139" cy="938095"/>
                </a:xfrm>
              </p:grpSpPr>
              <p:sp>
                <p:nvSpPr>
                  <p:cNvPr id="186" name="Oval 258">
                    <a:extLst>
                      <a:ext uri="{FF2B5EF4-FFF2-40B4-BE49-F238E27FC236}">
                        <a16:creationId xmlns:a16="http://schemas.microsoft.com/office/drawing/2014/main" id="{5A37DD32-48F9-DD67-B498-B1412E47DD10}"/>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7" name="Oval 259">
                    <a:extLst>
                      <a:ext uri="{FF2B5EF4-FFF2-40B4-BE49-F238E27FC236}">
                        <a16:creationId xmlns:a16="http://schemas.microsoft.com/office/drawing/2014/main" id="{9156F928-6841-6648-65BA-0A2F39AE413E}"/>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8" name="Oval 260">
                    <a:extLst>
                      <a:ext uri="{FF2B5EF4-FFF2-40B4-BE49-F238E27FC236}">
                        <a16:creationId xmlns:a16="http://schemas.microsoft.com/office/drawing/2014/main" id="{FC458D44-8CB7-CEDD-DB7F-12E971D2259C}"/>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9" name="Oval 261">
                    <a:extLst>
                      <a:ext uri="{FF2B5EF4-FFF2-40B4-BE49-F238E27FC236}">
                        <a16:creationId xmlns:a16="http://schemas.microsoft.com/office/drawing/2014/main" id="{AC53C363-2D1F-DD52-F9D4-6130ED004A36}"/>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82" name="Oval 254">
                  <a:extLst>
                    <a:ext uri="{FF2B5EF4-FFF2-40B4-BE49-F238E27FC236}">
                      <a16:creationId xmlns:a16="http://schemas.microsoft.com/office/drawing/2014/main" id="{EAAFF9B0-2D80-448A-5B95-CBBEB6D0D57A}"/>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3" name="Oval 255">
                  <a:extLst>
                    <a:ext uri="{FF2B5EF4-FFF2-40B4-BE49-F238E27FC236}">
                      <a16:creationId xmlns:a16="http://schemas.microsoft.com/office/drawing/2014/main" id="{9C564B7E-ECDB-6CC1-1B7D-692695AF6066}"/>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4" name="Oval 256">
                  <a:extLst>
                    <a:ext uri="{FF2B5EF4-FFF2-40B4-BE49-F238E27FC236}">
                      <a16:creationId xmlns:a16="http://schemas.microsoft.com/office/drawing/2014/main" id="{4C746F34-93B0-E259-7340-2AFC108C001E}"/>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85" name="Oval 257">
                  <a:extLst>
                    <a:ext uri="{FF2B5EF4-FFF2-40B4-BE49-F238E27FC236}">
                      <a16:creationId xmlns:a16="http://schemas.microsoft.com/office/drawing/2014/main" id="{E161D796-C08C-2F3C-534C-D36DC1314DE0}"/>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00" name="Group 262">
                <a:extLst>
                  <a:ext uri="{FF2B5EF4-FFF2-40B4-BE49-F238E27FC236}">
                    <a16:creationId xmlns:a16="http://schemas.microsoft.com/office/drawing/2014/main" id="{AB8AB323-E9BE-C741-16D6-5814E3FEA1D9}"/>
                  </a:ext>
                </a:extLst>
              </p:cNvPr>
              <p:cNvGrpSpPr/>
              <p:nvPr/>
            </p:nvGrpSpPr>
            <p:grpSpPr>
              <a:xfrm rot="9780000">
                <a:off x="14312435" y="2944290"/>
                <a:ext cx="206156" cy="277373"/>
                <a:chOff x="247890" y="2182922"/>
                <a:chExt cx="1940088" cy="2610300"/>
              </a:xfrm>
            </p:grpSpPr>
            <p:sp>
              <p:nvSpPr>
                <p:cNvPr id="156" name="Freeform 15">
                  <a:extLst>
                    <a:ext uri="{FF2B5EF4-FFF2-40B4-BE49-F238E27FC236}">
                      <a16:creationId xmlns:a16="http://schemas.microsoft.com/office/drawing/2014/main" id="{060D0077-E205-1F81-507E-D2C923AC3B72}"/>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7" name="Freeform 16">
                  <a:extLst>
                    <a:ext uri="{FF2B5EF4-FFF2-40B4-BE49-F238E27FC236}">
                      <a16:creationId xmlns:a16="http://schemas.microsoft.com/office/drawing/2014/main" id="{1DD5965C-42D5-6487-907B-FBDEC599AE86}"/>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58" name="Straight Connector 265">
                  <a:extLst>
                    <a:ext uri="{FF2B5EF4-FFF2-40B4-BE49-F238E27FC236}">
                      <a16:creationId xmlns:a16="http://schemas.microsoft.com/office/drawing/2014/main" id="{2D3467E1-7041-14C7-9BD6-E79700B944A8}"/>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59" name="Straight Connector 266">
                  <a:extLst>
                    <a:ext uri="{FF2B5EF4-FFF2-40B4-BE49-F238E27FC236}">
                      <a16:creationId xmlns:a16="http://schemas.microsoft.com/office/drawing/2014/main" id="{E9BF0E66-F9CA-2145-1C1E-FC16EABC6A5F}"/>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60" name="Oval 267">
                  <a:extLst>
                    <a:ext uri="{FF2B5EF4-FFF2-40B4-BE49-F238E27FC236}">
                      <a16:creationId xmlns:a16="http://schemas.microsoft.com/office/drawing/2014/main" id="{28172F6E-2060-D370-A4A7-1D66034D1815}"/>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1" name="Oval 268">
                  <a:extLst>
                    <a:ext uri="{FF2B5EF4-FFF2-40B4-BE49-F238E27FC236}">
                      <a16:creationId xmlns:a16="http://schemas.microsoft.com/office/drawing/2014/main" id="{E6497621-DE70-DF3B-2A85-975CE824E417}"/>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2" name="Oval 269">
                  <a:extLst>
                    <a:ext uri="{FF2B5EF4-FFF2-40B4-BE49-F238E27FC236}">
                      <a16:creationId xmlns:a16="http://schemas.microsoft.com/office/drawing/2014/main" id="{E70DEDDE-EAFA-10D6-FD63-36446B94EEE2}"/>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3" name="Oval 270">
                  <a:extLst>
                    <a:ext uri="{FF2B5EF4-FFF2-40B4-BE49-F238E27FC236}">
                      <a16:creationId xmlns:a16="http://schemas.microsoft.com/office/drawing/2014/main" id="{6B9E2248-C7EC-CACD-5F61-4C132083DDBF}"/>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64" name="Group 271">
                  <a:extLst>
                    <a:ext uri="{FF2B5EF4-FFF2-40B4-BE49-F238E27FC236}">
                      <a16:creationId xmlns:a16="http://schemas.microsoft.com/office/drawing/2014/main" id="{4EDBDF4C-B8FD-4A74-BCC1-3C6CD81BF198}"/>
                    </a:ext>
                  </a:extLst>
                </p:cNvPr>
                <p:cNvGrpSpPr/>
                <p:nvPr/>
              </p:nvGrpSpPr>
              <p:grpSpPr>
                <a:xfrm flipH="1">
                  <a:off x="1282839" y="2185364"/>
                  <a:ext cx="905139" cy="938095"/>
                  <a:chOff x="1661865" y="2161675"/>
                  <a:chExt cx="905139" cy="938095"/>
                </a:xfrm>
              </p:grpSpPr>
              <p:sp>
                <p:nvSpPr>
                  <p:cNvPr id="169" name="Oval 276">
                    <a:extLst>
                      <a:ext uri="{FF2B5EF4-FFF2-40B4-BE49-F238E27FC236}">
                        <a16:creationId xmlns:a16="http://schemas.microsoft.com/office/drawing/2014/main" id="{2E687A42-E275-9C6D-AC57-80C34F80FC26}"/>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0" name="Oval 277">
                    <a:extLst>
                      <a:ext uri="{FF2B5EF4-FFF2-40B4-BE49-F238E27FC236}">
                        <a16:creationId xmlns:a16="http://schemas.microsoft.com/office/drawing/2014/main" id="{642A1721-139A-44A4-7D36-1943DA1A72AE}"/>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1" name="Oval 278">
                    <a:extLst>
                      <a:ext uri="{FF2B5EF4-FFF2-40B4-BE49-F238E27FC236}">
                        <a16:creationId xmlns:a16="http://schemas.microsoft.com/office/drawing/2014/main" id="{D03D9EA3-032A-36DB-E28F-7B975892AA47}"/>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72" name="Oval 279">
                    <a:extLst>
                      <a:ext uri="{FF2B5EF4-FFF2-40B4-BE49-F238E27FC236}">
                        <a16:creationId xmlns:a16="http://schemas.microsoft.com/office/drawing/2014/main" id="{9D899CAF-F1D0-1DD1-0AD0-14AB96E70073}"/>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65" name="Oval 272">
                  <a:extLst>
                    <a:ext uri="{FF2B5EF4-FFF2-40B4-BE49-F238E27FC236}">
                      <a16:creationId xmlns:a16="http://schemas.microsoft.com/office/drawing/2014/main" id="{CF06FAEE-C7F0-9611-8DFB-54579CB314DA}"/>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6" name="Oval 273">
                  <a:extLst>
                    <a:ext uri="{FF2B5EF4-FFF2-40B4-BE49-F238E27FC236}">
                      <a16:creationId xmlns:a16="http://schemas.microsoft.com/office/drawing/2014/main" id="{DB6E4AC1-0FE6-BFAD-4780-0ED4E50856AB}"/>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7" name="Oval 274">
                  <a:extLst>
                    <a:ext uri="{FF2B5EF4-FFF2-40B4-BE49-F238E27FC236}">
                      <a16:creationId xmlns:a16="http://schemas.microsoft.com/office/drawing/2014/main" id="{E0B87974-5168-C5A4-73C9-EC8F68F50F0F}"/>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68" name="Oval 275">
                  <a:extLst>
                    <a:ext uri="{FF2B5EF4-FFF2-40B4-BE49-F238E27FC236}">
                      <a16:creationId xmlns:a16="http://schemas.microsoft.com/office/drawing/2014/main" id="{6AD881BA-C352-A2D9-341F-A9DDAD678DE8}"/>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01" name="Group 280">
                <a:extLst>
                  <a:ext uri="{FF2B5EF4-FFF2-40B4-BE49-F238E27FC236}">
                    <a16:creationId xmlns:a16="http://schemas.microsoft.com/office/drawing/2014/main" id="{2D4A0988-E498-B03A-3B6C-338B921CFFFD}"/>
                  </a:ext>
                </a:extLst>
              </p:cNvPr>
              <p:cNvGrpSpPr/>
              <p:nvPr/>
            </p:nvGrpSpPr>
            <p:grpSpPr>
              <a:xfrm rot="14220000">
                <a:off x="14119551" y="2870472"/>
                <a:ext cx="206156" cy="277373"/>
                <a:chOff x="247890" y="2182922"/>
                <a:chExt cx="1940088" cy="2610300"/>
              </a:xfrm>
            </p:grpSpPr>
            <p:sp>
              <p:nvSpPr>
                <p:cNvPr id="139" name="Freeform 15">
                  <a:extLst>
                    <a:ext uri="{FF2B5EF4-FFF2-40B4-BE49-F238E27FC236}">
                      <a16:creationId xmlns:a16="http://schemas.microsoft.com/office/drawing/2014/main" id="{230C6EF6-1FC8-7997-915F-DC0C3DBCF05A}"/>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40" name="Freeform 16">
                  <a:extLst>
                    <a:ext uri="{FF2B5EF4-FFF2-40B4-BE49-F238E27FC236}">
                      <a16:creationId xmlns:a16="http://schemas.microsoft.com/office/drawing/2014/main" id="{234D24DB-62E0-B880-E3C5-EF74900FA558}"/>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41" name="Straight Connector 283">
                  <a:extLst>
                    <a:ext uri="{FF2B5EF4-FFF2-40B4-BE49-F238E27FC236}">
                      <a16:creationId xmlns:a16="http://schemas.microsoft.com/office/drawing/2014/main" id="{03F950FC-7EF0-44AB-D21F-3D35F866B4DD}"/>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42" name="Straight Connector 284">
                  <a:extLst>
                    <a:ext uri="{FF2B5EF4-FFF2-40B4-BE49-F238E27FC236}">
                      <a16:creationId xmlns:a16="http://schemas.microsoft.com/office/drawing/2014/main" id="{0BF89076-6873-8856-CD48-648714692915}"/>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43" name="Oval 285">
                  <a:extLst>
                    <a:ext uri="{FF2B5EF4-FFF2-40B4-BE49-F238E27FC236}">
                      <a16:creationId xmlns:a16="http://schemas.microsoft.com/office/drawing/2014/main" id="{08CD5D77-7AC4-78FB-7E78-86851CE8A1AD}"/>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44" name="Oval 286">
                  <a:extLst>
                    <a:ext uri="{FF2B5EF4-FFF2-40B4-BE49-F238E27FC236}">
                      <a16:creationId xmlns:a16="http://schemas.microsoft.com/office/drawing/2014/main" id="{41AEC005-9E8F-C146-262E-470FF48CE465}"/>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45" name="Oval 287">
                  <a:extLst>
                    <a:ext uri="{FF2B5EF4-FFF2-40B4-BE49-F238E27FC236}">
                      <a16:creationId xmlns:a16="http://schemas.microsoft.com/office/drawing/2014/main" id="{0C142A6B-5AE6-D2A7-4160-F19686915421}"/>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46" name="Oval 288">
                  <a:extLst>
                    <a:ext uri="{FF2B5EF4-FFF2-40B4-BE49-F238E27FC236}">
                      <a16:creationId xmlns:a16="http://schemas.microsoft.com/office/drawing/2014/main" id="{F2E3F281-79CD-AD70-67C4-DCCC9416B3FC}"/>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47" name="Group 289">
                  <a:extLst>
                    <a:ext uri="{FF2B5EF4-FFF2-40B4-BE49-F238E27FC236}">
                      <a16:creationId xmlns:a16="http://schemas.microsoft.com/office/drawing/2014/main" id="{F48099AD-8F43-4599-A3B1-273F4453CD01}"/>
                    </a:ext>
                  </a:extLst>
                </p:cNvPr>
                <p:cNvGrpSpPr/>
                <p:nvPr/>
              </p:nvGrpSpPr>
              <p:grpSpPr>
                <a:xfrm flipH="1">
                  <a:off x="1282839" y="2185364"/>
                  <a:ext cx="905139" cy="938095"/>
                  <a:chOff x="1661865" y="2161675"/>
                  <a:chExt cx="905139" cy="938095"/>
                </a:xfrm>
              </p:grpSpPr>
              <p:sp>
                <p:nvSpPr>
                  <p:cNvPr id="152" name="Oval 294">
                    <a:extLst>
                      <a:ext uri="{FF2B5EF4-FFF2-40B4-BE49-F238E27FC236}">
                        <a16:creationId xmlns:a16="http://schemas.microsoft.com/office/drawing/2014/main" id="{C2378D01-A93D-679E-2173-0B775C118ED1}"/>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3" name="Oval 295">
                    <a:extLst>
                      <a:ext uri="{FF2B5EF4-FFF2-40B4-BE49-F238E27FC236}">
                        <a16:creationId xmlns:a16="http://schemas.microsoft.com/office/drawing/2014/main" id="{6184FB88-022D-4369-605D-C03F472A9840}"/>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4" name="Oval 296">
                    <a:extLst>
                      <a:ext uri="{FF2B5EF4-FFF2-40B4-BE49-F238E27FC236}">
                        <a16:creationId xmlns:a16="http://schemas.microsoft.com/office/drawing/2014/main" id="{A2755195-924B-9ABD-C48B-ED2EE6F14163}"/>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5" name="Oval 297">
                    <a:extLst>
                      <a:ext uri="{FF2B5EF4-FFF2-40B4-BE49-F238E27FC236}">
                        <a16:creationId xmlns:a16="http://schemas.microsoft.com/office/drawing/2014/main" id="{D09BF2A0-321A-DEB2-7F03-30FDACCA20E4}"/>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48" name="Oval 290">
                  <a:extLst>
                    <a:ext uri="{FF2B5EF4-FFF2-40B4-BE49-F238E27FC236}">
                      <a16:creationId xmlns:a16="http://schemas.microsoft.com/office/drawing/2014/main" id="{EDDF4968-884B-799E-A470-F3AC21E9626E}"/>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49" name="Oval 291">
                  <a:extLst>
                    <a:ext uri="{FF2B5EF4-FFF2-40B4-BE49-F238E27FC236}">
                      <a16:creationId xmlns:a16="http://schemas.microsoft.com/office/drawing/2014/main" id="{F3EE7B2A-1081-D5B9-85AC-7782BC818EBE}"/>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0" name="Oval 292">
                  <a:extLst>
                    <a:ext uri="{FF2B5EF4-FFF2-40B4-BE49-F238E27FC236}">
                      <a16:creationId xmlns:a16="http://schemas.microsoft.com/office/drawing/2014/main" id="{8B5CF1C2-14B5-4B8C-ACA4-CB0D014E9956}"/>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51" name="Oval 293">
                  <a:extLst>
                    <a:ext uri="{FF2B5EF4-FFF2-40B4-BE49-F238E27FC236}">
                      <a16:creationId xmlns:a16="http://schemas.microsoft.com/office/drawing/2014/main" id="{BCAB3D8B-6E84-8E14-B597-6F522B4A4422}"/>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02" name="Group 298">
                <a:extLst>
                  <a:ext uri="{FF2B5EF4-FFF2-40B4-BE49-F238E27FC236}">
                    <a16:creationId xmlns:a16="http://schemas.microsoft.com/office/drawing/2014/main" id="{3B72C5B7-876F-EE1C-3D1F-404681DAA0D0}"/>
                  </a:ext>
                </a:extLst>
              </p:cNvPr>
              <p:cNvGrpSpPr/>
              <p:nvPr/>
            </p:nvGrpSpPr>
            <p:grpSpPr>
              <a:xfrm rot="18420000">
                <a:off x="14124314" y="2670446"/>
                <a:ext cx="206156" cy="277373"/>
                <a:chOff x="247890" y="2182922"/>
                <a:chExt cx="1940088" cy="2610300"/>
              </a:xfrm>
            </p:grpSpPr>
            <p:sp>
              <p:nvSpPr>
                <p:cNvPr id="122" name="Freeform 15">
                  <a:extLst>
                    <a:ext uri="{FF2B5EF4-FFF2-40B4-BE49-F238E27FC236}">
                      <a16:creationId xmlns:a16="http://schemas.microsoft.com/office/drawing/2014/main" id="{DAFFDB24-B6BE-025B-AE94-F54C485FAC0D}"/>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3" name="Freeform 16">
                  <a:extLst>
                    <a:ext uri="{FF2B5EF4-FFF2-40B4-BE49-F238E27FC236}">
                      <a16:creationId xmlns:a16="http://schemas.microsoft.com/office/drawing/2014/main" id="{BA9D1C4D-E9EA-A19F-6C2F-EB992D13A7EA}"/>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24" name="Straight Connector 301">
                  <a:extLst>
                    <a:ext uri="{FF2B5EF4-FFF2-40B4-BE49-F238E27FC236}">
                      <a16:creationId xmlns:a16="http://schemas.microsoft.com/office/drawing/2014/main" id="{B19D1DA2-C0E0-EA42-0332-DCA2EE05A7F8}"/>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25" name="Straight Connector 302">
                  <a:extLst>
                    <a:ext uri="{FF2B5EF4-FFF2-40B4-BE49-F238E27FC236}">
                      <a16:creationId xmlns:a16="http://schemas.microsoft.com/office/drawing/2014/main" id="{2F4723B9-A0AA-45C5-F72A-4BB69CB4BA59}"/>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26" name="Oval 303">
                  <a:extLst>
                    <a:ext uri="{FF2B5EF4-FFF2-40B4-BE49-F238E27FC236}">
                      <a16:creationId xmlns:a16="http://schemas.microsoft.com/office/drawing/2014/main" id="{C2C5F903-305E-662B-ABDA-17A269B8A68D}"/>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7" name="Oval 304">
                  <a:extLst>
                    <a:ext uri="{FF2B5EF4-FFF2-40B4-BE49-F238E27FC236}">
                      <a16:creationId xmlns:a16="http://schemas.microsoft.com/office/drawing/2014/main" id="{0CF656BA-E781-E0ED-E66C-A8F6BFDB7A8B}"/>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8" name="Oval 305">
                  <a:extLst>
                    <a:ext uri="{FF2B5EF4-FFF2-40B4-BE49-F238E27FC236}">
                      <a16:creationId xmlns:a16="http://schemas.microsoft.com/office/drawing/2014/main" id="{9BA74610-2F76-A584-43B7-B0CE2CC35D24}"/>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9" name="Oval 306">
                  <a:extLst>
                    <a:ext uri="{FF2B5EF4-FFF2-40B4-BE49-F238E27FC236}">
                      <a16:creationId xmlns:a16="http://schemas.microsoft.com/office/drawing/2014/main" id="{4EF13BBF-9461-E406-2F05-A17C339D0B07}"/>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30" name="Group 307">
                  <a:extLst>
                    <a:ext uri="{FF2B5EF4-FFF2-40B4-BE49-F238E27FC236}">
                      <a16:creationId xmlns:a16="http://schemas.microsoft.com/office/drawing/2014/main" id="{451B0CFE-6B3A-437C-13F0-3D636F879176}"/>
                    </a:ext>
                  </a:extLst>
                </p:cNvPr>
                <p:cNvGrpSpPr/>
                <p:nvPr/>
              </p:nvGrpSpPr>
              <p:grpSpPr>
                <a:xfrm flipH="1">
                  <a:off x="1282839" y="2185364"/>
                  <a:ext cx="905139" cy="938095"/>
                  <a:chOff x="1661865" y="2161675"/>
                  <a:chExt cx="905139" cy="938095"/>
                </a:xfrm>
              </p:grpSpPr>
              <p:sp>
                <p:nvSpPr>
                  <p:cNvPr id="135" name="Oval 312">
                    <a:extLst>
                      <a:ext uri="{FF2B5EF4-FFF2-40B4-BE49-F238E27FC236}">
                        <a16:creationId xmlns:a16="http://schemas.microsoft.com/office/drawing/2014/main" id="{EAB84D9F-9B31-2CB8-9194-25B81164880F}"/>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6" name="Oval 313">
                    <a:extLst>
                      <a:ext uri="{FF2B5EF4-FFF2-40B4-BE49-F238E27FC236}">
                        <a16:creationId xmlns:a16="http://schemas.microsoft.com/office/drawing/2014/main" id="{593ADC51-5968-1B26-A1B3-A988B4D72D5C}"/>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7" name="Oval 314">
                    <a:extLst>
                      <a:ext uri="{FF2B5EF4-FFF2-40B4-BE49-F238E27FC236}">
                        <a16:creationId xmlns:a16="http://schemas.microsoft.com/office/drawing/2014/main" id="{F6048FE4-D3EC-C2E6-BA40-78B311148B3A}"/>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8" name="Oval 315">
                    <a:extLst>
                      <a:ext uri="{FF2B5EF4-FFF2-40B4-BE49-F238E27FC236}">
                        <a16:creationId xmlns:a16="http://schemas.microsoft.com/office/drawing/2014/main" id="{CF0E590D-CB03-7FBC-684A-CF6A95E9EC6F}"/>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31" name="Oval 308">
                  <a:extLst>
                    <a:ext uri="{FF2B5EF4-FFF2-40B4-BE49-F238E27FC236}">
                      <a16:creationId xmlns:a16="http://schemas.microsoft.com/office/drawing/2014/main" id="{1E2C142D-4D4E-864D-01E3-55346ECAD729}"/>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2" name="Oval 309">
                  <a:extLst>
                    <a:ext uri="{FF2B5EF4-FFF2-40B4-BE49-F238E27FC236}">
                      <a16:creationId xmlns:a16="http://schemas.microsoft.com/office/drawing/2014/main" id="{3DD0AAA6-3EC2-09F2-33A6-7470B4EDAB96}"/>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3" name="Oval 310">
                  <a:extLst>
                    <a:ext uri="{FF2B5EF4-FFF2-40B4-BE49-F238E27FC236}">
                      <a16:creationId xmlns:a16="http://schemas.microsoft.com/office/drawing/2014/main" id="{A82C7CE5-C2E8-2617-2BA2-988973531897}"/>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34" name="Oval 311">
                  <a:extLst>
                    <a:ext uri="{FF2B5EF4-FFF2-40B4-BE49-F238E27FC236}">
                      <a16:creationId xmlns:a16="http://schemas.microsoft.com/office/drawing/2014/main" id="{306A2EF3-3DA1-4410-6CEF-11A838DF6B10}"/>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103" name="Group 316">
                <a:extLst>
                  <a:ext uri="{FF2B5EF4-FFF2-40B4-BE49-F238E27FC236}">
                    <a16:creationId xmlns:a16="http://schemas.microsoft.com/office/drawing/2014/main" id="{AE073126-BD08-4F08-E7A8-9BD00D3E6C0F}"/>
                  </a:ext>
                </a:extLst>
              </p:cNvPr>
              <p:cNvGrpSpPr/>
              <p:nvPr/>
            </p:nvGrpSpPr>
            <p:grpSpPr>
              <a:xfrm rot="22560000">
                <a:off x="14319577" y="2603773"/>
                <a:ext cx="206156" cy="277373"/>
                <a:chOff x="247890" y="2182922"/>
                <a:chExt cx="1940088" cy="2610300"/>
              </a:xfrm>
            </p:grpSpPr>
            <p:sp>
              <p:nvSpPr>
                <p:cNvPr id="105" name="Freeform 15">
                  <a:extLst>
                    <a:ext uri="{FF2B5EF4-FFF2-40B4-BE49-F238E27FC236}">
                      <a16:creationId xmlns:a16="http://schemas.microsoft.com/office/drawing/2014/main" id="{37A0A03C-C144-2FBF-F5C3-0FAB383B0A8A}"/>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06" name="Freeform 16">
                  <a:extLst>
                    <a:ext uri="{FF2B5EF4-FFF2-40B4-BE49-F238E27FC236}">
                      <a16:creationId xmlns:a16="http://schemas.microsoft.com/office/drawing/2014/main" id="{4F02708A-096D-811A-483E-CBC49B280C23}"/>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107" name="Straight Connector 319">
                  <a:extLst>
                    <a:ext uri="{FF2B5EF4-FFF2-40B4-BE49-F238E27FC236}">
                      <a16:creationId xmlns:a16="http://schemas.microsoft.com/office/drawing/2014/main" id="{7BC91A3D-2785-3516-9E61-7DF3437F0D2D}"/>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108" name="Straight Connector 320">
                  <a:extLst>
                    <a:ext uri="{FF2B5EF4-FFF2-40B4-BE49-F238E27FC236}">
                      <a16:creationId xmlns:a16="http://schemas.microsoft.com/office/drawing/2014/main" id="{183AD0C0-A414-1C6D-8A6C-4450FDB379B3}"/>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109" name="Oval 321">
                  <a:extLst>
                    <a:ext uri="{FF2B5EF4-FFF2-40B4-BE49-F238E27FC236}">
                      <a16:creationId xmlns:a16="http://schemas.microsoft.com/office/drawing/2014/main" id="{3DEB5EEA-6F67-47FE-48E3-1E30EB7EC2A2}"/>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0" name="Oval 322">
                  <a:extLst>
                    <a:ext uri="{FF2B5EF4-FFF2-40B4-BE49-F238E27FC236}">
                      <a16:creationId xmlns:a16="http://schemas.microsoft.com/office/drawing/2014/main" id="{518C6B90-0A34-9224-63D6-DA34D0DC17BB}"/>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1" name="Oval 323">
                  <a:extLst>
                    <a:ext uri="{FF2B5EF4-FFF2-40B4-BE49-F238E27FC236}">
                      <a16:creationId xmlns:a16="http://schemas.microsoft.com/office/drawing/2014/main" id="{A278B54D-62B7-FC15-6232-C7F7C7F3921C}"/>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2" name="Oval 324">
                  <a:extLst>
                    <a:ext uri="{FF2B5EF4-FFF2-40B4-BE49-F238E27FC236}">
                      <a16:creationId xmlns:a16="http://schemas.microsoft.com/office/drawing/2014/main" id="{30D87033-4547-2F81-08C5-1E89E8D7CA83}"/>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113" name="Group 325">
                  <a:extLst>
                    <a:ext uri="{FF2B5EF4-FFF2-40B4-BE49-F238E27FC236}">
                      <a16:creationId xmlns:a16="http://schemas.microsoft.com/office/drawing/2014/main" id="{646D8687-3935-5951-C449-02C09FD9943E}"/>
                    </a:ext>
                  </a:extLst>
                </p:cNvPr>
                <p:cNvGrpSpPr/>
                <p:nvPr/>
              </p:nvGrpSpPr>
              <p:grpSpPr>
                <a:xfrm flipH="1">
                  <a:off x="1282839" y="2185364"/>
                  <a:ext cx="905139" cy="938095"/>
                  <a:chOff x="1661865" y="2161675"/>
                  <a:chExt cx="905139" cy="938095"/>
                </a:xfrm>
              </p:grpSpPr>
              <p:sp>
                <p:nvSpPr>
                  <p:cNvPr id="118" name="Oval 330">
                    <a:extLst>
                      <a:ext uri="{FF2B5EF4-FFF2-40B4-BE49-F238E27FC236}">
                        <a16:creationId xmlns:a16="http://schemas.microsoft.com/office/drawing/2014/main" id="{DA4F318D-30CD-82A4-2C58-B6F121B49EAF}"/>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9" name="Oval 331">
                    <a:extLst>
                      <a:ext uri="{FF2B5EF4-FFF2-40B4-BE49-F238E27FC236}">
                        <a16:creationId xmlns:a16="http://schemas.microsoft.com/office/drawing/2014/main" id="{1D72B4C3-80AC-DFED-9113-83B681A4787B}"/>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0" name="Oval 332">
                    <a:extLst>
                      <a:ext uri="{FF2B5EF4-FFF2-40B4-BE49-F238E27FC236}">
                        <a16:creationId xmlns:a16="http://schemas.microsoft.com/office/drawing/2014/main" id="{1E9567DE-2E2B-78D5-FBF7-DEA8E1AE7D7F}"/>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21" name="Oval 333">
                    <a:extLst>
                      <a:ext uri="{FF2B5EF4-FFF2-40B4-BE49-F238E27FC236}">
                        <a16:creationId xmlns:a16="http://schemas.microsoft.com/office/drawing/2014/main" id="{2A4C93BA-2E2B-A050-C55B-94E558008E26}"/>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14" name="Oval 326">
                  <a:extLst>
                    <a:ext uri="{FF2B5EF4-FFF2-40B4-BE49-F238E27FC236}">
                      <a16:creationId xmlns:a16="http://schemas.microsoft.com/office/drawing/2014/main" id="{666AEC63-BD43-3EA8-162A-1AAD4C0F5888}"/>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5" name="Oval 327">
                  <a:extLst>
                    <a:ext uri="{FF2B5EF4-FFF2-40B4-BE49-F238E27FC236}">
                      <a16:creationId xmlns:a16="http://schemas.microsoft.com/office/drawing/2014/main" id="{9B08C104-93B9-87A8-3F15-B8D425625A64}"/>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6" name="Oval 328">
                  <a:extLst>
                    <a:ext uri="{FF2B5EF4-FFF2-40B4-BE49-F238E27FC236}">
                      <a16:creationId xmlns:a16="http://schemas.microsoft.com/office/drawing/2014/main" id="{5DBAAD27-C874-E64E-69E9-BA4B42336BE3}"/>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17" name="Oval 329">
                  <a:extLst>
                    <a:ext uri="{FF2B5EF4-FFF2-40B4-BE49-F238E27FC236}">
                      <a16:creationId xmlns:a16="http://schemas.microsoft.com/office/drawing/2014/main" id="{3CCDA8A6-5CEE-E931-FE99-40A4F5F45EFA}"/>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104" name="Oval 3">
                <a:extLst>
                  <a:ext uri="{FF2B5EF4-FFF2-40B4-BE49-F238E27FC236}">
                    <a16:creationId xmlns:a16="http://schemas.microsoft.com/office/drawing/2014/main" id="{F97A20FE-8D53-F24C-306A-58A4AA09B2F4}"/>
                  </a:ext>
                </a:extLst>
              </p:cNvPr>
              <p:cNvSpPr/>
              <p:nvPr/>
            </p:nvSpPr>
            <p:spPr>
              <a:xfrm>
                <a:off x="14318457" y="2862263"/>
                <a:ext cx="104775" cy="104775"/>
              </a:xfrm>
              <a:prstGeom prst="ellipse">
                <a:avLst/>
              </a:prstGeom>
              <a:gradFill>
                <a:gsLst>
                  <a:gs pos="0">
                    <a:srgbClr val="002F6C">
                      <a:lumMod val="5000"/>
                      <a:lumOff val="95000"/>
                    </a:srgbClr>
                  </a:gs>
                  <a:gs pos="89000">
                    <a:schemeClr val="tx1"/>
                  </a:gs>
                </a:gsLst>
                <a:path path="circle">
                  <a:fillToRect l="50000" t="50000" r="50000" b="50000"/>
                </a:path>
              </a:gradFill>
              <a:ln w="63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6" name="Group 7">
              <a:extLst>
                <a:ext uri="{FF2B5EF4-FFF2-40B4-BE49-F238E27FC236}">
                  <a16:creationId xmlns:a16="http://schemas.microsoft.com/office/drawing/2014/main" id="{0226B1AF-0BC7-3892-D5C0-FA9B18BC3305}"/>
                </a:ext>
              </a:extLst>
            </p:cNvPr>
            <p:cNvGrpSpPr/>
            <p:nvPr/>
          </p:nvGrpSpPr>
          <p:grpSpPr>
            <a:xfrm rot="16200000">
              <a:off x="8555938" y="2123113"/>
              <a:ext cx="880233" cy="288135"/>
              <a:chOff x="17474947" y="1478293"/>
              <a:chExt cx="629798" cy="206157"/>
            </a:xfrm>
          </p:grpSpPr>
          <p:grpSp>
            <p:nvGrpSpPr>
              <p:cNvPr id="35" name="Group 441">
                <a:extLst>
                  <a:ext uri="{FF2B5EF4-FFF2-40B4-BE49-F238E27FC236}">
                    <a16:creationId xmlns:a16="http://schemas.microsoft.com/office/drawing/2014/main" id="{88C5962D-B44C-673A-FED4-8C0A589D5859}"/>
                  </a:ext>
                </a:extLst>
              </p:cNvPr>
              <p:cNvGrpSpPr/>
              <p:nvPr/>
            </p:nvGrpSpPr>
            <p:grpSpPr>
              <a:xfrm rot="16140000">
                <a:off x="17510556" y="1442684"/>
                <a:ext cx="206156" cy="277373"/>
                <a:chOff x="247890" y="2182922"/>
                <a:chExt cx="1940088" cy="2610300"/>
              </a:xfrm>
            </p:grpSpPr>
            <p:sp>
              <p:nvSpPr>
                <p:cNvPr id="56" name="Freeform 15">
                  <a:extLst>
                    <a:ext uri="{FF2B5EF4-FFF2-40B4-BE49-F238E27FC236}">
                      <a16:creationId xmlns:a16="http://schemas.microsoft.com/office/drawing/2014/main" id="{856C3D83-E1A9-7A5C-D6A0-016840F933D2}"/>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57" name="Freeform 16">
                  <a:extLst>
                    <a:ext uri="{FF2B5EF4-FFF2-40B4-BE49-F238E27FC236}">
                      <a16:creationId xmlns:a16="http://schemas.microsoft.com/office/drawing/2014/main" id="{438FF10D-06DA-D067-0452-2EDE7253E1CD}"/>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58" name="Straight Connector 481">
                  <a:extLst>
                    <a:ext uri="{FF2B5EF4-FFF2-40B4-BE49-F238E27FC236}">
                      <a16:creationId xmlns:a16="http://schemas.microsoft.com/office/drawing/2014/main" id="{E7F22178-51FF-982E-76EE-F0C1FDEB547E}"/>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59" name="Straight Connector 482">
                  <a:extLst>
                    <a:ext uri="{FF2B5EF4-FFF2-40B4-BE49-F238E27FC236}">
                      <a16:creationId xmlns:a16="http://schemas.microsoft.com/office/drawing/2014/main" id="{9BA35E98-BCC1-68C5-F8BE-9CFE9E87EC15}"/>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85" name="Oval 483">
                  <a:extLst>
                    <a:ext uri="{FF2B5EF4-FFF2-40B4-BE49-F238E27FC236}">
                      <a16:creationId xmlns:a16="http://schemas.microsoft.com/office/drawing/2014/main" id="{75DCB563-5A51-D73F-842B-E997BC008975}"/>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86" name="Oval 484">
                  <a:extLst>
                    <a:ext uri="{FF2B5EF4-FFF2-40B4-BE49-F238E27FC236}">
                      <a16:creationId xmlns:a16="http://schemas.microsoft.com/office/drawing/2014/main" id="{3198986C-9855-AFFA-C58D-727C0A0FC709}"/>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87" name="Oval 485">
                  <a:extLst>
                    <a:ext uri="{FF2B5EF4-FFF2-40B4-BE49-F238E27FC236}">
                      <a16:creationId xmlns:a16="http://schemas.microsoft.com/office/drawing/2014/main" id="{DF9173F8-ACFE-942D-6EA8-3EB11AEEE339}"/>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88" name="Oval 486">
                  <a:extLst>
                    <a:ext uri="{FF2B5EF4-FFF2-40B4-BE49-F238E27FC236}">
                      <a16:creationId xmlns:a16="http://schemas.microsoft.com/office/drawing/2014/main" id="{CE1FB5A3-F95B-1B7C-5FE0-C789B2DDE739}"/>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89" name="Group 487">
                  <a:extLst>
                    <a:ext uri="{FF2B5EF4-FFF2-40B4-BE49-F238E27FC236}">
                      <a16:creationId xmlns:a16="http://schemas.microsoft.com/office/drawing/2014/main" id="{F2ECD055-98EE-DA8A-5C90-A6658A82434B}"/>
                    </a:ext>
                  </a:extLst>
                </p:cNvPr>
                <p:cNvGrpSpPr/>
                <p:nvPr/>
              </p:nvGrpSpPr>
              <p:grpSpPr>
                <a:xfrm flipH="1">
                  <a:off x="1282839" y="2185364"/>
                  <a:ext cx="905139" cy="938095"/>
                  <a:chOff x="1661865" y="2161675"/>
                  <a:chExt cx="905139" cy="938095"/>
                </a:xfrm>
              </p:grpSpPr>
              <p:sp>
                <p:nvSpPr>
                  <p:cNvPr id="95" name="Oval 492">
                    <a:extLst>
                      <a:ext uri="{FF2B5EF4-FFF2-40B4-BE49-F238E27FC236}">
                        <a16:creationId xmlns:a16="http://schemas.microsoft.com/office/drawing/2014/main" id="{0604E627-8A0B-B127-E23E-E0540D1311B5}"/>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6" name="Oval 493">
                    <a:extLst>
                      <a:ext uri="{FF2B5EF4-FFF2-40B4-BE49-F238E27FC236}">
                        <a16:creationId xmlns:a16="http://schemas.microsoft.com/office/drawing/2014/main" id="{2EBA6E11-1308-8656-334B-A4A0B73DEF7B}"/>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7" name="Oval 494">
                    <a:extLst>
                      <a:ext uri="{FF2B5EF4-FFF2-40B4-BE49-F238E27FC236}">
                        <a16:creationId xmlns:a16="http://schemas.microsoft.com/office/drawing/2014/main" id="{AC64B046-C9C3-7F63-CA7A-550FBDFDB95C}"/>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8" name="Oval 495">
                    <a:extLst>
                      <a:ext uri="{FF2B5EF4-FFF2-40B4-BE49-F238E27FC236}">
                        <a16:creationId xmlns:a16="http://schemas.microsoft.com/office/drawing/2014/main" id="{7EB99E21-4807-2C3B-0810-D8E9C3CE2692}"/>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91" name="Oval 488">
                  <a:extLst>
                    <a:ext uri="{FF2B5EF4-FFF2-40B4-BE49-F238E27FC236}">
                      <a16:creationId xmlns:a16="http://schemas.microsoft.com/office/drawing/2014/main" id="{5BD8CC29-509F-E306-B998-D17BBF246C80}"/>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2" name="Oval 489">
                  <a:extLst>
                    <a:ext uri="{FF2B5EF4-FFF2-40B4-BE49-F238E27FC236}">
                      <a16:creationId xmlns:a16="http://schemas.microsoft.com/office/drawing/2014/main" id="{A71C907B-D563-6E0F-8C2B-2EA1C113EAFD}"/>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3" name="Oval 490">
                  <a:extLst>
                    <a:ext uri="{FF2B5EF4-FFF2-40B4-BE49-F238E27FC236}">
                      <a16:creationId xmlns:a16="http://schemas.microsoft.com/office/drawing/2014/main" id="{FD9CB66C-C0EE-F449-529C-4DF8D6B98FAE}"/>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94" name="Oval 491">
                  <a:extLst>
                    <a:ext uri="{FF2B5EF4-FFF2-40B4-BE49-F238E27FC236}">
                      <a16:creationId xmlns:a16="http://schemas.microsoft.com/office/drawing/2014/main" id="{489B450B-FE84-19E4-7F88-F0666A80EF29}"/>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grpSp>
            <p:nvGrpSpPr>
              <p:cNvPr id="36" name="Group 530">
                <a:extLst>
                  <a:ext uri="{FF2B5EF4-FFF2-40B4-BE49-F238E27FC236}">
                    <a16:creationId xmlns:a16="http://schemas.microsoft.com/office/drawing/2014/main" id="{0E71ECE8-BE0A-F6E5-D93B-9A393E781BAE}"/>
                  </a:ext>
                </a:extLst>
              </p:cNvPr>
              <p:cNvGrpSpPr/>
              <p:nvPr/>
            </p:nvGrpSpPr>
            <p:grpSpPr>
              <a:xfrm rot="5460000" flipH="1">
                <a:off x="17862981" y="1442685"/>
                <a:ext cx="206156" cy="277373"/>
                <a:chOff x="247890" y="2182922"/>
                <a:chExt cx="1940088" cy="2610300"/>
              </a:xfrm>
            </p:grpSpPr>
            <p:sp>
              <p:nvSpPr>
                <p:cNvPr id="38" name="Freeform 15">
                  <a:extLst>
                    <a:ext uri="{FF2B5EF4-FFF2-40B4-BE49-F238E27FC236}">
                      <a16:creationId xmlns:a16="http://schemas.microsoft.com/office/drawing/2014/main" id="{95F0EB0A-84DD-9A32-5C0C-26930139FDC7}"/>
                    </a:ext>
                  </a:extLst>
                </p:cNvPr>
                <p:cNvSpPr/>
                <p:nvPr/>
              </p:nvSpPr>
              <p:spPr>
                <a:xfrm>
                  <a:off x="1086523"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39" name="Freeform 16">
                  <a:extLst>
                    <a:ext uri="{FF2B5EF4-FFF2-40B4-BE49-F238E27FC236}">
                      <a16:creationId xmlns:a16="http://schemas.microsoft.com/office/drawing/2014/main" id="{FAE26F61-80A1-B02D-1ABA-8E0F80E56D41}"/>
                    </a:ext>
                  </a:extLst>
                </p:cNvPr>
                <p:cNvSpPr/>
                <p:nvPr/>
              </p:nvSpPr>
              <p:spPr>
                <a:xfrm flipH="1">
                  <a:off x="1257811"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40" name="Straight Connector 533">
                  <a:extLst>
                    <a:ext uri="{FF2B5EF4-FFF2-40B4-BE49-F238E27FC236}">
                      <a16:creationId xmlns:a16="http://schemas.microsoft.com/office/drawing/2014/main" id="{2BF566F9-9680-7818-FD1D-D1F4FAA3F141}"/>
                    </a:ext>
                  </a:extLst>
                </p:cNvPr>
                <p:cNvCxnSpPr>
                  <a:cxnSpLocks/>
                </p:cNvCxnSpPr>
                <p:nvPr/>
              </p:nvCxnSpPr>
              <p:spPr>
                <a:xfrm>
                  <a:off x="1156047" y="3246335"/>
                  <a:ext cx="109728" cy="0"/>
                </a:xfrm>
                <a:prstGeom prst="line">
                  <a:avLst/>
                </a:prstGeom>
                <a:noFill/>
                <a:ln w="6350" cap="flat" cmpd="sng" algn="ctr">
                  <a:solidFill>
                    <a:srgbClr val="37302C"/>
                  </a:solidFill>
                  <a:prstDash val="solid"/>
                  <a:miter lim="800000"/>
                </a:ln>
                <a:effectLst/>
              </p:spPr>
            </p:cxnSp>
            <p:cxnSp>
              <p:nvCxnSpPr>
                <p:cNvPr id="41" name="Straight Connector 534">
                  <a:extLst>
                    <a:ext uri="{FF2B5EF4-FFF2-40B4-BE49-F238E27FC236}">
                      <a16:creationId xmlns:a16="http://schemas.microsoft.com/office/drawing/2014/main" id="{8ADDEF1A-9BA6-F898-61A9-298EDE4D8310}"/>
                    </a:ext>
                  </a:extLst>
                </p:cNvPr>
                <p:cNvCxnSpPr>
                  <a:cxnSpLocks/>
                </p:cNvCxnSpPr>
                <p:nvPr/>
              </p:nvCxnSpPr>
              <p:spPr>
                <a:xfrm>
                  <a:off x="1159222" y="3352550"/>
                  <a:ext cx="100584" cy="0"/>
                </a:xfrm>
                <a:prstGeom prst="line">
                  <a:avLst/>
                </a:prstGeom>
                <a:noFill/>
                <a:ln w="6350" cap="flat" cmpd="sng" algn="ctr">
                  <a:solidFill>
                    <a:srgbClr val="37302C"/>
                  </a:solidFill>
                  <a:prstDash val="solid"/>
                  <a:miter lim="800000"/>
                </a:ln>
                <a:effectLst/>
              </p:spPr>
            </p:cxnSp>
            <p:sp>
              <p:nvSpPr>
                <p:cNvPr id="42" name="Oval 535">
                  <a:extLst>
                    <a:ext uri="{FF2B5EF4-FFF2-40B4-BE49-F238E27FC236}">
                      <a16:creationId xmlns:a16="http://schemas.microsoft.com/office/drawing/2014/main" id="{8402E58D-2DFF-AF8C-AAC0-025EDF824672}"/>
                    </a:ext>
                  </a:extLst>
                </p:cNvPr>
                <p:cNvSpPr/>
                <p:nvPr/>
              </p:nvSpPr>
              <p:spPr>
                <a:xfrm rot="2280519">
                  <a:off x="403205"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43" name="Oval 536">
                  <a:extLst>
                    <a:ext uri="{FF2B5EF4-FFF2-40B4-BE49-F238E27FC236}">
                      <a16:creationId xmlns:a16="http://schemas.microsoft.com/office/drawing/2014/main" id="{8262B162-A25C-FAF7-0E04-1065369F7B02}"/>
                    </a:ext>
                  </a:extLst>
                </p:cNvPr>
                <p:cNvSpPr/>
                <p:nvPr/>
              </p:nvSpPr>
              <p:spPr>
                <a:xfrm rot="3757393">
                  <a:off x="74238"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44" name="Oval 537">
                  <a:extLst>
                    <a:ext uri="{FF2B5EF4-FFF2-40B4-BE49-F238E27FC236}">
                      <a16:creationId xmlns:a16="http://schemas.microsoft.com/office/drawing/2014/main" id="{F4BA5970-12B0-8061-EDC0-BE90762A6183}"/>
                    </a:ext>
                  </a:extLst>
                </p:cNvPr>
                <p:cNvSpPr/>
                <p:nvPr/>
              </p:nvSpPr>
              <p:spPr>
                <a:xfrm rot="3922235">
                  <a:off x="664308" y="2623539"/>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45" name="Oval 538">
                  <a:extLst>
                    <a:ext uri="{FF2B5EF4-FFF2-40B4-BE49-F238E27FC236}">
                      <a16:creationId xmlns:a16="http://schemas.microsoft.com/office/drawing/2014/main" id="{ED2C85D7-712B-D241-F976-0290F049A6F7}"/>
                    </a:ext>
                  </a:extLst>
                </p:cNvPr>
                <p:cNvSpPr/>
                <p:nvPr/>
              </p:nvSpPr>
              <p:spPr>
                <a:xfrm rot="2188031">
                  <a:off x="306436" y="218292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46" name="Group 539">
                  <a:extLst>
                    <a:ext uri="{FF2B5EF4-FFF2-40B4-BE49-F238E27FC236}">
                      <a16:creationId xmlns:a16="http://schemas.microsoft.com/office/drawing/2014/main" id="{17CB232B-4AA8-7A5A-B6E8-774034B53C1B}"/>
                    </a:ext>
                  </a:extLst>
                </p:cNvPr>
                <p:cNvGrpSpPr/>
                <p:nvPr/>
              </p:nvGrpSpPr>
              <p:grpSpPr>
                <a:xfrm flipH="1">
                  <a:off x="1282839" y="2185364"/>
                  <a:ext cx="905139" cy="938095"/>
                  <a:chOff x="1661865" y="2161675"/>
                  <a:chExt cx="905139" cy="938095"/>
                </a:xfrm>
              </p:grpSpPr>
              <p:sp>
                <p:nvSpPr>
                  <p:cNvPr id="51" name="Oval 544">
                    <a:extLst>
                      <a:ext uri="{FF2B5EF4-FFF2-40B4-BE49-F238E27FC236}">
                        <a16:creationId xmlns:a16="http://schemas.microsoft.com/office/drawing/2014/main" id="{C5AC635F-5358-0ED7-0112-4FA298A3A33D}"/>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52" name="Oval 545">
                    <a:extLst>
                      <a:ext uri="{FF2B5EF4-FFF2-40B4-BE49-F238E27FC236}">
                        <a16:creationId xmlns:a16="http://schemas.microsoft.com/office/drawing/2014/main" id="{1C9988FA-6269-405F-4052-96B69ACBCBE7}"/>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53" name="Oval 546">
                    <a:extLst>
                      <a:ext uri="{FF2B5EF4-FFF2-40B4-BE49-F238E27FC236}">
                        <a16:creationId xmlns:a16="http://schemas.microsoft.com/office/drawing/2014/main" id="{7099DC59-3C5C-FDDF-CE18-37DE5CF53FC7}"/>
                      </a:ext>
                    </a:extLst>
                  </p:cNvPr>
                  <p:cNvSpPr/>
                  <p:nvPr/>
                </p:nvSpPr>
                <p:spPr>
                  <a:xfrm rot="3922235">
                    <a:off x="2078283" y="2602292"/>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55" name="Oval 547">
                    <a:extLst>
                      <a:ext uri="{FF2B5EF4-FFF2-40B4-BE49-F238E27FC236}">
                        <a16:creationId xmlns:a16="http://schemas.microsoft.com/office/drawing/2014/main" id="{DDCB3811-99D3-287B-981C-ACE779D8C36D}"/>
                      </a:ext>
                    </a:extLst>
                  </p:cNvPr>
                  <p:cNvSpPr/>
                  <p:nvPr/>
                </p:nvSpPr>
                <p:spPr>
                  <a:xfrm rot="2188031">
                    <a:off x="1720411" y="2161675"/>
                    <a:ext cx="662374" cy="31506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47" name="Oval 540">
                  <a:extLst>
                    <a:ext uri="{FF2B5EF4-FFF2-40B4-BE49-F238E27FC236}">
                      <a16:creationId xmlns:a16="http://schemas.microsoft.com/office/drawing/2014/main" id="{56098829-BA72-A8A0-2E97-6FF28A7DD96F}"/>
                    </a:ext>
                  </a:extLst>
                </p:cNvPr>
                <p:cNvSpPr/>
                <p:nvPr/>
              </p:nvSpPr>
              <p:spPr>
                <a:xfrm rot="6864317">
                  <a:off x="1077502" y="4269700"/>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48" name="Oval 541">
                  <a:extLst>
                    <a:ext uri="{FF2B5EF4-FFF2-40B4-BE49-F238E27FC236}">
                      <a16:creationId xmlns:a16="http://schemas.microsoft.com/office/drawing/2014/main" id="{DB4FA379-4175-BD15-8089-14A553643F0E}"/>
                    </a:ext>
                  </a:extLst>
                </p:cNvPr>
                <p:cNvSpPr/>
                <p:nvPr/>
              </p:nvSpPr>
              <p:spPr>
                <a:xfrm rot="4042536">
                  <a:off x="1082661" y="363671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49" name="Oval 542">
                  <a:extLst>
                    <a:ext uri="{FF2B5EF4-FFF2-40B4-BE49-F238E27FC236}">
                      <a16:creationId xmlns:a16="http://schemas.microsoft.com/office/drawing/2014/main" id="{907E4E69-FFA6-95AA-14EA-F6FE3C34764B}"/>
                    </a:ext>
                  </a:extLst>
                </p:cNvPr>
                <p:cNvSpPr/>
                <p:nvPr/>
              </p:nvSpPr>
              <p:spPr>
                <a:xfrm rot="14735683" flipH="1">
                  <a:off x="647378" y="4269699"/>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50" name="Oval 543">
                  <a:extLst>
                    <a:ext uri="{FF2B5EF4-FFF2-40B4-BE49-F238E27FC236}">
                      <a16:creationId xmlns:a16="http://schemas.microsoft.com/office/drawing/2014/main" id="{E47BC5ED-835E-CC7C-A470-77A5089CF67F}"/>
                    </a:ext>
                  </a:extLst>
                </p:cNvPr>
                <p:cNvSpPr/>
                <p:nvPr/>
              </p:nvSpPr>
              <p:spPr>
                <a:xfrm rot="17557464" flipH="1">
                  <a:off x="652537" y="3636718"/>
                  <a:ext cx="691334" cy="355709"/>
                </a:xfrm>
                <a:prstGeom prst="ellipse">
                  <a:avLst/>
                </a:prstGeom>
                <a:gradFill flip="none" rotWithShape="1">
                  <a:gsLst>
                    <a:gs pos="0">
                      <a:srgbClr val="002F6C">
                        <a:lumMod val="5000"/>
                        <a:lumOff val="95000"/>
                      </a:srgbClr>
                    </a:gs>
                    <a:gs pos="89000">
                      <a:srgbClr val="002F6C"/>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37" name="Oval 444">
                <a:extLst>
                  <a:ext uri="{FF2B5EF4-FFF2-40B4-BE49-F238E27FC236}">
                    <a16:creationId xmlns:a16="http://schemas.microsoft.com/office/drawing/2014/main" id="{AEE0B228-01A2-8483-3363-6B77C92BD57F}"/>
                  </a:ext>
                </a:extLst>
              </p:cNvPr>
              <p:cNvSpPr/>
              <p:nvPr/>
            </p:nvSpPr>
            <p:spPr>
              <a:xfrm>
                <a:off x="17745075" y="1539146"/>
                <a:ext cx="85829" cy="85829"/>
              </a:xfrm>
              <a:prstGeom prst="ellipse">
                <a:avLst/>
              </a:prstGeom>
              <a:gradFill>
                <a:gsLst>
                  <a:gs pos="0">
                    <a:srgbClr val="002F6C">
                      <a:lumMod val="5000"/>
                      <a:lumOff val="95000"/>
                    </a:srgbClr>
                  </a:gs>
                  <a:gs pos="89000">
                    <a:schemeClr val="tx1"/>
                  </a:gs>
                </a:gsLst>
                <a:path path="circle">
                  <a:fillToRect l="50000" t="50000" r="50000" b="50000"/>
                </a:path>
              </a:gradFill>
              <a:ln w="63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7" name="Group 548">
              <a:extLst>
                <a:ext uri="{FF2B5EF4-FFF2-40B4-BE49-F238E27FC236}">
                  <a16:creationId xmlns:a16="http://schemas.microsoft.com/office/drawing/2014/main" id="{BC0E5920-A315-007D-B454-9CAA23B099EE}"/>
                </a:ext>
              </a:extLst>
            </p:cNvPr>
            <p:cNvGrpSpPr/>
            <p:nvPr/>
          </p:nvGrpSpPr>
          <p:grpSpPr>
            <a:xfrm>
              <a:off x="9581168" y="1970783"/>
              <a:ext cx="440592" cy="592795"/>
              <a:chOff x="6866796" y="2182922"/>
              <a:chExt cx="1940088" cy="2610300"/>
            </a:xfrm>
          </p:grpSpPr>
          <p:sp>
            <p:nvSpPr>
              <p:cNvPr id="18" name="Freeform 87">
                <a:extLst>
                  <a:ext uri="{FF2B5EF4-FFF2-40B4-BE49-F238E27FC236}">
                    <a16:creationId xmlns:a16="http://schemas.microsoft.com/office/drawing/2014/main" id="{73BD91CA-74BA-2310-A58F-5C7C665FCBE4}"/>
                  </a:ext>
                </a:extLst>
              </p:cNvPr>
              <p:cNvSpPr/>
              <p:nvPr/>
            </p:nvSpPr>
            <p:spPr>
              <a:xfrm>
                <a:off x="7702254"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19" name="Freeform 88">
                <a:extLst>
                  <a:ext uri="{FF2B5EF4-FFF2-40B4-BE49-F238E27FC236}">
                    <a16:creationId xmlns:a16="http://schemas.microsoft.com/office/drawing/2014/main" id="{53518B48-84C8-7A62-7774-1E2B3677BDFD}"/>
                  </a:ext>
                </a:extLst>
              </p:cNvPr>
              <p:cNvSpPr/>
              <p:nvPr/>
            </p:nvSpPr>
            <p:spPr>
              <a:xfrm flipH="1">
                <a:off x="7873542" y="3017994"/>
                <a:ext cx="81687" cy="525898"/>
              </a:xfrm>
              <a:custGeom>
                <a:avLst/>
                <a:gdLst>
                  <a:gd name="connsiteX0" fmla="*/ 0 w 91162"/>
                  <a:gd name="connsiteY0" fmla="*/ 0 h 483258"/>
                  <a:gd name="connsiteX1" fmla="*/ 90018 w 91162"/>
                  <a:gd name="connsiteY1" fmla="*/ 279532 h 483258"/>
                  <a:gd name="connsiteX2" fmla="*/ 42640 w 91162"/>
                  <a:gd name="connsiteY2" fmla="*/ 483258 h 483258"/>
                </a:gdLst>
                <a:ahLst/>
                <a:cxnLst>
                  <a:cxn ang="0">
                    <a:pos x="connsiteX0" y="connsiteY0"/>
                  </a:cxn>
                  <a:cxn ang="0">
                    <a:pos x="connsiteX1" y="connsiteY1"/>
                  </a:cxn>
                  <a:cxn ang="0">
                    <a:pos x="connsiteX2" y="connsiteY2"/>
                  </a:cxn>
                </a:cxnLst>
                <a:rect l="l" t="t" r="r" b="b"/>
                <a:pathLst>
                  <a:path w="91162" h="483258">
                    <a:moveTo>
                      <a:pt x="0" y="0"/>
                    </a:moveTo>
                    <a:cubicBezTo>
                      <a:pt x="41455" y="99494"/>
                      <a:pt x="82911" y="198989"/>
                      <a:pt x="90018" y="279532"/>
                    </a:cubicBezTo>
                    <a:cubicBezTo>
                      <a:pt x="97125" y="360075"/>
                      <a:pt x="69882" y="421666"/>
                      <a:pt x="42640" y="483258"/>
                    </a:cubicBezTo>
                  </a:path>
                </a:pathLst>
              </a:custGeom>
              <a:noFill/>
              <a:ln w="6350" cap="flat" cmpd="sng" algn="ctr">
                <a:solidFill>
                  <a:srgbClr val="37302C"/>
                </a:solid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20" name="Straight Connector 551">
                <a:extLst>
                  <a:ext uri="{FF2B5EF4-FFF2-40B4-BE49-F238E27FC236}">
                    <a16:creationId xmlns:a16="http://schemas.microsoft.com/office/drawing/2014/main" id="{4DF34BF1-9279-6F7F-66AE-B6660589FA3E}"/>
                  </a:ext>
                </a:extLst>
              </p:cNvPr>
              <p:cNvCxnSpPr>
                <a:cxnSpLocks/>
              </p:cNvCxnSpPr>
              <p:nvPr/>
            </p:nvCxnSpPr>
            <p:spPr>
              <a:xfrm>
                <a:off x="7774953" y="3339850"/>
                <a:ext cx="100584" cy="0"/>
              </a:xfrm>
              <a:prstGeom prst="line">
                <a:avLst/>
              </a:prstGeom>
              <a:noFill/>
              <a:ln w="6350" cap="flat" cmpd="sng" algn="ctr">
                <a:solidFill>
                  <a:srgbClr val="37302C"/>
                </a:solidFill>
                <a:prstDash val="solid"/>
                <a:miter lim="800000"/>
              </a:ln>
              <a:effectLst/>
            </p:spPr>
          </p:cxnSp>
          <p:sp>
            <p:nvSpPr>
              <p:cNvPr id="21" name="Oval 552">
                <a:extLst>
                  <a:ext uri="{FF2B5EF4-FFF2-40B4-BE49-F238E27FC236}">
                    <a16:creationId xmlns:a16="http://schemas.microsoft.com/office/drawing/2014/main" id="{9A03F2F4-03FC-18E8-3E32-09FBEBB16456}"/>
                  </a:ext>
                </a:extLst>
              </p:cNvPr>
              <p:cNvSpPr/>
              <p:nvPr/>
            </p:nvSpPr>
            <p:spPr>
              <a:xfrm rot="2280519">
                <a:off x="7022111" y="2805948"/>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2" name="Oval 553">
                <a:extLst>
                  <a:ext uri="{FF2B5EF4-FFF2-40B4-BE49-F238E27FC236}">
                    <a16:creationId xmlns:a16="http://schemas.microsoft.com/office/drawing/2014/main" id="{2CCB3413-5339-DF07-33DB-04A5162B8580}"/>
                  </a:ext>
                </a:extLst>
              </p:cNvPr>
              <p:cNvSpPr/>
              <p:nvPr/>
            </p:nvSpPr>
            <p:spPr>
              <a:xfrm rot="3757393">
                <a:off x="6693144" y="2367914"/>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3" name="Oval 554">
                <a:extLst>
                  <a:ext uri="{FF2B5EF4-FFF2-40B4-BE49-F238E27FC236}">
                    <a16:creationId xmlns:a16="http://schemas.microsoft.com/office/drawing/2014/main" id="{2C9F2D4B-6351-5F07-1C54-3B5157B6D201}"/>
                  </a:ext>
                </a:extLst>
              </p:cNvPr>
              <p:cNvSpPr/>
              <p:nvPr/>
            </p:nvSpPr>
            <p:spPr>
              <a:xfrm rot="3922235">
                <a:off x="7283214" y="2623539"/>
                <a:ext cx="662374" cy="31506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4" name="Oval 555">
                <a:extLst>
                  <a:ext uri="{FF2B5EF4-FFF2-40B4-BE49-F238E27FC236}">
                    <a16:creationId xmlns:a16="http://schemas.microsoft.com/office/drawing/2014/main" id="{E684CE54-91A5-A1C3-B903-371C3773F4C6}"/>
                  </a:ext>
                </a:extLst>
              </p:cNvPr>
              <p:cNvSpPr/>
              <p:nvPr/>
            </p:nvSpPr>
            <p:spPr>
              <a:xfrm rot="2188031">
                <a:off x="6925342" y="2182922"/>
                <a:ext cx="662374" cy="31506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nvGrpSpPr>
              <p:cNvPr id="25" name="Group 556">
                <a:extLst>
                  <a:ext uri="{FF2B5EF4-FFF2-40B4-BE49-F238E27FC236}">
                    <a16:creationId xmlns:a16="http://schemas.microsoft.com/office/drawing/2014/main" id="{A2CA6661-6D13-7604-E955-ED88C632757A}"/>
                  </a:ext>
                </a:extLst>
              </p:cNvPr>
              <p:cNvGrpSpPr/>
              <p:nvPr/>
            </p:nvGrpSpPr>
            <p:grpSpPr>
              <a:xfrm flipH="1">
                <a:off x="7901745" y="2185364"/>
                <a:ext cx="905139" cy="938095"/>
                <a:chOff x="1661865" y="2161675"/>
                <a:chExt cx="905139" cy="938095"/>
              </a:xfrm>
            </p:grpSpPr>
            <p:sp>
              <p:nvSpPr>
                <p:cNvPr id="31" name="Oval 562">
                  <a:extLst>
                    <a:ext uri="{FF2B5EF4-FFF2-40B4-BE49-F238E27FC236}">
                      <a16:creationId xmlns:a16="http://schemas.microsoft.com/office/drawing/2014/main" id="{B7234AF4-3AD2-BC56-43E6-FDFA8898EF44}"/>
                    </a:ext>
                  </a:extLst>
                </p:cNvPr>
                <p:cNvSpPr/>
                <p:nvPr/>
              </p:nvSpPr>
              <p:spPr>
                <a:xfrm rot="2280519">
                  <a:off x="1817180" y="2784701"/>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32" name="Oval 563">
                  <a:extLst>
                    <a:ext uri="{FF2B5EF4-FFF2-40B4-BE49-F238E27FC236}">
                      <a16:creationId xmlns:a16="http://schemas.microsoft.com/office/drawing/2014/main" id="{37ABE119-B985-D28B-5019-69898B265E5A}"/>
                    </a:ext>
                  </a:extLst>
                </p:cNvPr>
                <p:cNvSpPr/>
                <p:nvPr/>
              </p:nvSpPr>
              <p:spPr>
                <a:xfrm rot="3757393">
                  <a:off x="1488213" y="2346667"/>
                  <a:ext cx="662374" cy="315069"/>
                </a:xfrm>
                <a:prstGeom prst="ellipse">
                  <a:avLst/>
                </a:prstGeom>
                <a:gradFill flip="none" rotWithShape="1">
                  <a:gsLst>
                    <a:gs pos="0">
                      <a:srgbClr val="002F6C">
                        <a:lumMod val="5000"/>
                        <a:lumOff val="95000"/>
                      </a:srgbClr>
                    </a:gs>
                    <a:gs pos="100000">
                      <a:srgbClr val="0083D5"/>
                    </a:gs>
                  </a:gsLst>
                  <a:path path="circle">
                    <a:fillToRect l="50000" t="50000" r="50000" b="50000"/>
                  </a:path>
                  <a:tileRect/>
                </a:gradFill>
                <a:ln w="6350" cap="flat" cmpd="sng" algn="ctr">
                  <a:solidFill>
                    <a:srgbClr val="002F6C"/>
                  </a:solidFill>
                  <a:prstDash val="solid"/>
                  <a:miter lim="800000"/>
                </a:ln>
                <a:effectLst/>
              </p:spPr>
              <p:txBody>
                <a:bodyPr lIns="60960" rIns="6096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33" name="Oval 564">
                  <a:extLst>
                    <a:ext uri="{FF2B5EF4-FFF2-40B4-BE49-F238E27FC236}">
                      <a16:creationId xmlns:a16="http://schemas.microsoft.com/office/drawing/2014/main" id="{D3942B9A-CB89-0C9B-B800-FA09DBAB3E44}"/>
                    </a:ext>
                  </a:extLst>
                </p:cNvPr>
                <p:cNvSpPr/>
                <p:nvPr/>
              </p:nvSpPr>
              <p:spPr>
                <a:xfrm rot="3922235">
                  <a:off x="2078283" y="2602292"/>
                  <a:ext cx="662374" cy="31506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34" name="Oval 565">
                  <a:extLst>
                    <a:ext uri="{FF2B5EF4-FFF2-40B4-BE49-F238E27FC236}">
                      <a16:creationId xmlns:a16="http://schemas.microsoft.com/office/drawing/2014/main" id="{84533121-F91E-3D40-C02E-E3947B9BAE73}"/>
                    </a:ext>
                  </a:extLst>
                </p:cNvPr>
                <p:cNvSpPr/>
                <p:nvPr/>
              </p:nvSpPr>
              <p:spPr>
                <a:xfrm rot="2188031">
                  <a:off x="1720411" y="2161675"/>
                  <a:ext cx="662374" cy="31506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grpSp>
          <p:sp>
            <p:nvSpPr>
              <p:cNvPr id="26" name="Oval 557">
                <a:extLst>
                  <a:ext uri="{FF2B5EF4-FFF2-40B4-BE49-F238E27FC236}">
                    <a16:creationId xmlns:a16="http://schemas.microsoft.com/office/drawing/2014/main" id="{472B5CA4-ECCC-926A-B4BE-78B39A84B18F}"/>
                  </a:ext>
                </a:extLst>
              </p:cNvPr>
              <p:cNvSpPr/>
              <p:nvPr/>
            </p:nvSpPr>
            <p:spPr>
              <a:xfrm rot="6864317">
                <a:off x="7696408" y="4269700"/>
                <a:ext cx="691334" cy="35570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7" name="Oval 558">
                <a:extLst>
                  <a:ext uri="{FF2B5EF4-FFF2-40B4-BE49-F238E27FC236}">
                    <a16:creationId xmlns:a16="http://schemas.microsoft.com/office/drawing/2014/main" id="{2892E9BB-6DA5-255F-FC62-31EEB09838EF}"/>
                  </a:ext>
                </a:extLst>
              </p:cNvPr>
              <p:cNvSpPr/>
              <p:nvPr/>
            </p:nvSpPr>
            <p:spPr>
              <a:xfrm rot="4042536">
                <a:off x="7701567" y="3636719"/>
                <a:ext cx="691334" cy="35570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8" name="Oval 559">
                <a:extLst>
                  <a:ext uri="{FF2B5EF4-FFF2-40B4-BE49-F238E27FC236}">
                    <a16:creationId xmlns:a16="http://schemas.microsoft.com/office/drawing/2014/main" id="{B6207324-12E5-CE20-EF8D-175078FD2985}"/>
                  </a:ext>
                </a:extLst>
              </p:cNvPr>
              <p:cNvSpPr/>
              <p:nvPr/>
            </p:nvSpPr>
            <p:spPr>
              <a:xfrm rot="14735683" flipH="1">
                <a:off x="7266284" y="4269699"/>
                <a:ext cx="691334" cy="35570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
            <p:nvSpPr>
              <p:cNvPr id="29" name="Oval 560">
                <a:extLst>
                  <a:ext uri="{FF2B5EF4-FFF2-40B4-BE49-F238E27FC236}">
                    <a16:creationId xmlns:a16="http://schemas.microsoft.com/office/drawing/2014/main" id="{FA803656-5835-CFA7-7C4E-5EED0F5D46CD}"/>
                  </a:ext>
                </a:extLst>
              </p:cNvPr>
              <p:cNvSpPr/>
              <p:nvPr/>
            </p:nvSpPr>
            <p:spPr>
              <a:xfrm rot="17557464" flipH="1">
                <a:off x="7271443" y="3636718"/>
                <a:ext cx="691334" cy="355709"/>
              </a:xfrm>
              <a:prstGeom prst="ellipse">
                <a:avLst/>
              </a:prstGeom>
              <a:gradFill flip="none" rotWithShape="1">
                <a:gsLst>
                  <a:gs pos="0">
                    <a:schemeClr val="accent5">
                      <a:lumMod val="20000"/>
                      <a:lumOff val="80000"/>
                    </a:schemeClr>
                  </a:gs>
                  <a:gs pos="89000">
                    <a:schemeClr val="accent5"/>
                  </a:gs>
                </a:gsLst>
                <a:path path="circle">
                  <a:fillToRect l="50000" t="50000" r="50000" b="50000"/>
                </a:path>
                <a:tileRect/>
              </a:gradFill>
              <a:ln w="6350" cap="flat" cmpd="sng" algn="ctr">
                <a:solidFill>
                  <a:schemeClr val="accent5">
                    <a:lumMod val="50000"/>
                  </a:schemeClr>
                </a:solidFill>
                <a:prstDash val="solid"/>
                <a:miter lim="800000"/>
              </a:ln>
              <a:effectLst/>
            </p:spPr>
            <p:txBody>
              <a:bodyPr lIns="60960" rIns="6096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cxnSp>
            <p:nvCxnSpPr>
              <p:cNvPr id="30" name="Straight Connector 561">
                <a:extLst>
                  <a:ext uri="{FF2B5EF4-FFF2-40B4-BE49-F238E27FC236}">
                    <a16:creationId xmlns:a16="http://schemas.microsoft.com/office/drawing/2014/main" id="{28EBAC5C-A6EE-7352-975A-EBDFE271975A}"/>
                  </a:ext>
                </a:extLst>
              </p:cNvPr>
              <p:cNvCxnSpPr>
                <a:cxnSpLocks/>
              </p:cNvCxnSpPr>
              <p:nvPr/>
            </p:nvCxnSpPr>
            <p:spPr>
              <a:xfrm>
                <a:off x="7771778" y="3240815"/>
                <a:ext cx="109728" cy="0"/>
              </a:xfrm>
              <a:prstGeom prst="line">
                <a:avLst/>
              </a:prstGeom>
              <a:noFill/>
              <a:ln w="6350" cap="flat" cmpd="sng" algn="ctr">
                <a:solidFill>
                  <a:srgbClr val="37302C"/>
                </a:solidFill>
                <a:prstDash val="solid"/>
                <a:miter lim="800000"/>
              </a:ln>
              <a:effectLst/>
            </p:spPr>
          </p:cxnSp>
        </p:grpSp>
      </p:grpSp>
    </p:spTree>
    <p:extLst>
      <p:ext uri="{BB962C8B-B14F-4D97-AF65-F5344CB8AC3E}">
        <p14:creationId xmlns:p14="http://schemas.microsoft.com/office/powerpoint/2010/main" val="35260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5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tângulo: Cantos Arredondados 69">
            <a:extLst>
              <a:ext uri="{FF2B5EF4-FFF2-40B4-BE49-F238E27FC236}">
                <a16:creationId xmlns:a16="http://schemas.microsoft.com/office/drawing/2014/main" id="{EA077416-F3E5-F1E3-0ADE-776F5A41FE2B}"/>
              </a:ext>
            </a:extLst>
          </p:cNvPr>
          <p:cNvSpPr/>
          <p:nvPr/>
        </p:nvSpPr>
        <p:spPr>
          <a:xfrm>
            <a:off x="0" y="3429001"/>
            <a:ext cx="12192000" cy="565787"/>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a:solidFill>
                <a:srgbClr val="FFFFFF"/>
              </a:solidFill>
              <a:latin typeface="Calibri"/>
            </a:endParaRP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9825048" cy="1077218"/>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É preciso inflamar para que aconteça a resposta imune</a:t>
            </a:r>
            <a:r>
              <a:rPr lang="pt-BR" sz="4000" b="1" baseline="30000" dirty="0">
                <a:gradFill>
                  <a:gsLst>
                    <a:gs pos="0">
                      <a:schemeClr val="accent1"/>
                    </a:gs>
                    <a:gs pos="100000">
                      <a:schemeClr val="bg2"/>
                    </a:gs>
                  </a:gsLst>
                  <a:lin ang="2700000" scaled="0"/>
                </a:gradFill>
                <a:latin typeface="Calisto MT"/>
              </a:rPr>
              <a:t>1</a:t>
            </a:r>
            <a:endParaRPr lang="pt-BR" sz="4000" b="1" dirty="0">
              <a:gradFill>
                <a:gsLst>
                  <a:gs pos="0">
                    <a:schemeClr val="accent1"/>
                  </a:gs>
                  <a:gs pos="100000">
                    <a:schemeClr val="bg2"/>
                  </a:gs>
                </a:gsLst>
                <a:lin ang="2700000" scaled="0"/>
              </a:gradFill>
              <a:latin typeface="Calisto MT"/>
            </a:endParaRPr>
          </a:p>
        </p:txBody>
      </p:sp>
      <p:sp>
        <p:nvSpPr>
          <p:cNvPr id="54" name="CaixaDeTexto 53">
            <a:extLst>
              <a:ext uri="{FF2B5EF4-FFF2-40B4-BE49-F238E27FC236}">
                <a16:creationId xmlns:a16="http://schemas.microsoft.com/office/drawing/2014/main" id="{38A535A1-FD34-8A40-7E2B-92EC026BC1F3}"/>
              </a:ext>
            </a:extLst>
          </p:cNvPr>
          <p:cNvSpPr txBox="1"/>
          <p:nvPr/>
        </p:nvSpPr>
        <p:spPr>
          <a:xfrm>
            <a:off x="2202710" y="2505670"/>
            <a:ext cx="8240143" cy="923330"/>
          </a:xfrm>
          <a:prstGeom prst="rect">
            <a:avLst/>
          </a:prstGeom>
          <a:noFill/>
        </p:spPr>
        <p:txBody>
          <a:bodyPr wrap="square" rtlCol="0">
            <a:spAutoFit/>
          </a:bodyPr>
          <a:lstStyle/>
          <a:p>
            <a:pPr algn="ctr">
              <a:spcAft>
                <a:spcPts val="600"/>
              </a:spcAft>
            </a:pPr>
            <a:r>
              <a:rPr lang="pt-BR" sz="5400" b="1" spc="600" dirty="0">
                <a:gradFill>
                  <a:gsLst>
                    <a:gs pos="0">
                      <a:schemeClr val="accent1"/>
                    </a:gs>
                    <a:gs pos="100000">
                      <a:schemeClr val="bg2"/>
                    </a:gs>
                  </a:gsLst>
                  <a:lin ang="2700000" scaled="0"/>
                </a:gradFill>
                <a:latin typeface="Calisto MT"/>
              </a:rPr>
              <a:t>INFLAMAÇÃO</a:t>
            </a:r>
          </a:p>
        </p:txBody>
      </p:sp>
      <p:sp>
        <p:nvSpPr>
          <p:cNvPr id="65" name="CaixaDeTexto 64">
            <a:extLst>
              <a:ext uri="{FF2B5EF4-FFF2-40B4-BE49-F238E27FC236}">
                <a16:creationId xmlns:a16="http://schemas.microsoft.com/office/drawing/2014/main" id="{C29497C5-FF57-6DCB-BC9A-7D4213158ECD}"/>
              </a:ext>
            </a:extLst>
          </p:cNvPr>
          <p:cNvSpPr txBox="1"/>
          <p:nvPr/>
        </p:nvSpPr>
        <p:spPr>
          <a:xfrm>
            <a:off x="856618" y="3548739"/>
            <a:ext cx="1127660" cy="341632"/>
          </a:xfrm>
          <a:prstGeom prst="rect">
            <a:avLst/>
          </a:prstGeom>
          <a:noFill/>
        </p:spPr>
        <p:txBody>
          <a:bodyPr wrap="square" rtlCol="0">
            <a:spAutoFit/>
          </a:bodyPr>
          <a:lstStyle/>
          <a:p>
            <a:pPr algn="ctr">
              <a:lnSpc>
                <a:spcPct val="90000"/>
              </a:lnSpc>
              <a:spcAft>
                <a:spcPts val="600"/>
              </a:spcAft>
            </a:pPr>
            <a:r>
              <a:rPr lang="pt-BR" b="1" dirty="0">
                <a:solidFill>
                  <a:schemeClr val="bg1"/>
                </a:solidFill>
              </a:rPr>
              <a:t>CALOR</a:t>
            </a:r>
          </a:p>
        </p:txBody>
      </p:sp>
      <p:sp>
        <p:nvSpPr>
          <p:cNvPr id="66" name="CaixaDeTexto 65">
            <a:extLst>
              <a:ext uri="{FF2B5EF4-FFF2-40B4-BE49-F238E27FC236}">
                <a16:creationId xmlns:a16="http://schemas.microsoft.com/office/drawing/2014/main" id="{64265D76-5CB1-5890-410C-456AFCC7DAD0}"/>
              </a:ext>
            </a:extLst>
          </p:cNvPr>
          <p:cNvSpPr txBox="1"/>
          <p:nvPr/>
        </p:nvSpPr>
        <p:spPr>
          <a:xfrm>
            <a:off x="3139056" y="3548739"/>
            <a:ext cx="1127660" cy="341632"/>
          </a:xfrm>
          <a:prstGeom prst="rect">
            <a:avLst/>
          </a:prstGeom>
          <a:noFill/>
        </p:spPr>
        <p:txBody>
          <a:bodyPr wrap="square" rtlCol="0">
            <a:spAutoFit/>
          </a:bodyPr>
          <a:lstStyle/>
          <a:p>
            <a:pPr algn="ctr">
              <a:lnSpc>
                <a:spcPct val="90000"/>
              </a:lnSpc>
              <a:spcAft>
                <a:spcPts val="600"/>
              </a:spcAft>
            </a:pPr>
            <a:r>
              <a:rPr lang="pt-BR" b="1" dirty="0">
                <a:solidFill>
                  <a:schemeClr val="bg1"/>
                </a:solidFill>
              </a:rPr>
              <a:t>RUBOR</a:t>
            </a:r>
          </a:p>
        </p:txBody>
      </p:sp>
      <p:sp>
        <p:nvSpPr>
          <p:cNvPr id="67" name="CaixaDeTexto 66">
            <a:extLst>
              <a:ext uri="{FF2B5EF4-FFF2-40B4-BE49-F238E27FC236}">
                <a16:creationId xmlns:a16="http://schemas.microsoft.com/office/drawing/2014/main" id="{52DFEEB3-E04E-5ACE-4CBE-8D12C1250AA1}"/>
              </a:ext>
            </a:extLst>
          </p:cNvPr>
          <p:cNvSpPr txBox="1"/>
          <p:nvPr/>
        </p:nvSpPr>
        <p:spPr>
          <a:xfrm>
            <a:off x="5404440" y="3548739"/>
            <a:ext cx="1127660" cy="341632"/>
          </a:xfrm>
          <a:prstGeom prst="rect">
            <a:avLst/>
          </a:prstGeom>
          <a:noFill/>
        </p:spPr>
        <p:txBody>
          <a:bodyPr wrap="square" rtlCol="0">
            <a:spAutoFit/>
          </a:bodyPr>
          <a:lstStyle/>
          <a:p>
            <a:pPr algn="ctr">
              <a:lnSpc>
                <a:spcPct val="90000"/>
              </a:lnSpc>
              <a:spcAft>
                <a:spcPts val="600"/>
              </a:spcAft>
            </a:pPr>
            <a:r>
              <a:rPr lang="pt-BR" b="1" dirty="0">
                <a:solidFill>
                  <a:schemeClr val="bg1"/>
                </a:solidFill>
              </a:rPr>
              <a:t>INCHAÇO</a:t>
            </a:r>
          </a:p>
        </p:txBody>
      </p:sp>
      <p:sp>
        <p:nvSpPr>
          <p:cNvPr id="68" name="CaixaDeTexto 67">
            <a:extLst>
              <a:ext uri="{FF2B5EF4-FFF2-40B4-BE49-F238E27FC236}">
                <a16:creationId xmlns:a16="http://schemas.microsoft.com/office/drawing/2014/main" id="{660B8809-196C-799C-A041-F8F8863567B9}"/>
              </a:ext>
            </a:extLst>
          </p:cNvPr>
          <p:cNvSpPr txBox="1"/>
          <p:nvPr/>
        </p:nvSpPr>
        <p:spPr>
          <a:xfrm>
            <a:off x="8029634" y="3548739"/>
            <a:ext cx="1127660" cy="341632"/>
          </a:xfrm>
          <a:prstGeom prst="rect">
            <a:avLst/>
          </a:prstGeom>
          <a:noFill/>
        </p:spPr>
        <p:txBody>
          <a:bodyPr wrap="square" rtlCol="0">
            <a:spAutoFit/>
          </a:bodyPr>
          <a:lstStyle/>
          <a:p>
            <a:pPr algn="ctr">
              <a:lnSpc>
                <a:spcPct val="90000"/>
              </a:lnSpc>
              <a:spcAft>
                <a:spcPts val="600"/>
              </a:spcAft>
            </a:pPr>
            <a:r>
              <a:rPr lang="pt-BR" b="1" dirty="0">
                <a:solidFill>
                  <a:schemeClr val="bg1"/>
                </a:solidFill>
              </a:rPr>
              <a:t>DOR</a:t>
            </a:r>
          </a:p>
        </p:txBody>
      </p:sp>
      <p:sp>
        <p:nvSpPr>
          <p:cNvPr id="69" name="CaixaDeTexto 68">
            <a:extLst>
              <a:ext uri="{FF2B5EF4-FFF2-40B4-BE49-F238E27FC236}">
                <a16:creationId xmlns:a16="http://schemas.microsoft.com/office/drawing/2014/main" id="{DB4FD938-4A71-C4A6-915C-37F8F12C726F}"/>
              </a:ext>
            </a:extLst>
          </p:cNvPr>
          <p:cNvSpPr txBox="1"/>
          <p:nvPr/>
        </p:nvSpPr>
        <p:spPr>
          <a:xfrm>
            <a:off x="10442853" y="3429258"/>
            <a:ext cx="1325879" cy="590931"/>
          </a:xfrm>
          <a:prstGeom prst="rect">
            <a:avLst/>
          </a:prstGeom>
          <a:noFill/>
        </p:spPr>
        <p:txBody>
          <a:bodyPr wrap="square" rtlCol="0">
            <a:spAutoFit/>
          </a:bodyPr>
          <a:lstStyle/>
          <a:p>
            <a:pPr algn="ctr">
              <a:lnSpc>
                <a:spcPct val="90000"/>
              </a:lnSpc>
              <a:spcAft>
                <a:spcPts val="600"/>
              </a:spcAft>
            </a:pPr>
            <a:r>
              <a:rPr lang="pt-BR" b="1" dirty="0">
                <a:solidFill>
                  <a:schemeClr val="bg1"/>
                </a:solidFill>
              </a:rPr>
              <a:t>PERDA DA FUNÇÃO</a:t>
            </a:r>
          </a:p>
        </p:txBody>
      </p:sp>
      <p:cxnSp>
        <p:nvCxnSpPr>
          <p:cNvPr id="90" name="Conector reto 89">
            <a:extLst>
              <a:ext uri="{FF2B5EF4-FFF2-40B4-BE49-F238E27FC236}">
                <a16:creationId xmlns:a16="http://schemas.microsoft.com/office/drawing/2014/main" id="{FD747CAE-25EF-A33D-4C0F-223A400F143F}"/>
              </a:ext>
            </a:extLst>
          </p:cNvPr>
          <p:cNvCxnSpPr>
            <a:cxnSpLocks/>
          </p:cNvCxnSpPr>
          <p:nvPr/>
        </p:nvCxnSpPr>
        <p:spPr>
          <a:xfrm>
            <a:off x="2710051" y="3511190"/>
            <a:ext cx="0" cy="4426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Conector reto 288">
            <a:extLst>
              <a:ext uri="{FF2B5EF4-FFF2-40B4-BE49-F238E27FC236}">
                <a16:creationId xmlns:a16="http://schemas.microsoft.com/office/drawing/2014/main" id="{B5BD7CB4-AC70-FE73-21C4-0153927C2147}"/>
              </a:ext>
            </a:extLst>
          </p:cNvPr>
          <p:cNvCxnSpPr>
            <a:cxnSpLocks/>
          </p:cNvCxnSpPr>
          <p:nvPr/>
        </p:nvCxnSpPr>
        <p:spPr>
          <a:xfrm>
            <a:off x="4655471" y="3511190"/>
            <a:ext cx="0" cy="4426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Conector reto 289">
            <a:extLst>
              <a:ext uri="{FF2B5EF4-FFF2-40B4-BE49-F238E27FC236}">
                <a16:creationId xmlns:a16="http://schemas.microsoft.com/office/drawing/2014/main" id="{2AE0527F-0A44-D14F-33DA-981535FF246C}"/>
              </a:ext>
            </a:extLst>
          </p:cNvPr>
          <p:cNvCxnSpPr>
            <a:cxnSpLocks/>
          </p:cNvCxnSpPr>
          <p:nvPr/>
        </p:nvCxnSpPr>
        <p:spPr>
          <a:xfrm>
            <a:off x="7246668" y="3511190"/>
            <a:ext cx="0" cy="4426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Conector reto 290">
            <a:extLst>
              <a:ext uri="{FF2B5EF4-FFF2-40B4-BE49-F238E27FC236}">
                <a16:creationId xmlns:a16="http://schemas.microsoft.com/office/drawing/2014/main" id="{A30D170E-49FB-1DED-B47C-809644D8FCB6}"/>
              </a:ext>
            </a:extLst>
          </p:cNvPr>
          <p:cNvCxnSpPr>
            <a:cxnSpLocks/>
          </p:cNvCxnSpPr>
          <p:nvPr/>
        </p:nvCxnSpPr>
        <p:spPr>
          <a:xfrm>
            <a:off x="9927847" y="3511190"/>
            <a:ext cx="0" cy="4426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3" name="Espaço Reservado para Texto 292">
            <a:extLst>
              <a:ext uri="{FF2B5EF4-FFF2-40B4-BE49-F238E27FC236}">
                <a16:creationId xmlns:a16="http://schemas.microsoft.com/office/drawing/2014/main" id="{297D52BA-FE0B-47A8-51CF-FA65FBD6FA43}"/>
              </a:ext>
            </a:extLst>
          </p:cNvPr>
          <p:cNvSpPr>
            <a:spLocks noGrp="1"/>
          </p:cNvSpPr>
          <p:nvPr>
            <p:ph type="body" sz="quarter" idx="111"/>
          </p:nvPr>
        </p:nvSpPr>
        <p:spPr/>
        <p:txBody>
          <a:bodyPr/>
          <a:lstStyle/>
          <a:p>
            <a:r>
              <a:rPr lang="pt-BR" b="0" i="0" dirty="0">
                <a:solidFill>
                  <a:srgbClr val="1D1D1D"/>
                </a:solidFill>
                <a:effectLst/>
                <a:latin typeface="Arial" panose="020B0604020202020204" pitchFamily="34" charset="0"/>
              </a:rPr>
              <a:t>1. Machado PRL, Araújo MIAS, Carvalho L, Carvalho EM. Mecanismos de resposta imune às infecções. </a:t>
            </a:r>
            <a:r>
              <a:rPr lang="pt-BR" b="0" i="0" dirty="0" err="1">
                <a:solidFill>
                  <a:srgbClr val="1D1D1D"/>
                </a:solidFill>
                <a:effectLst/>
                <a:latin typeface="Arial" panose="020B0604020202020204" pitchFamily="34" charset="0"/>
              </a:rPr>
              <a:t>An</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Bras</a:t>
            </a:r>
            <a:r>
              <a:rPr lang="pt-BR" b="0" i="0" dirty="0">
                <a:solidFill>
                  <a:srgbClr val="1D1D1D"/>
                </a:solidFill>
                <a:effectLst/>
                <a:latin typeface="Arial" panose="020B0604020202020204" pitchFamily="34" charset="0"/>
              </a:rPr>
              <a:t> Dermatol. 2004Nov;79(6):647–62.</a:t>
            </a:r>
            <a:endParaRPr lang="pt-BR" dirty="0"/>
          </a:p>
        </p:txBody>
      </p:sp>
    </p:spTree>
    <p:extLst>
      <p:ext uri="{BB962C8B-B14F-4D97-AF65-F5344CB8AC3E}">
        <p14:creationId xmlns:p14="http://schemas.microsoft.com/office/powerpoint/2010/main" val="290578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0-#ppt_w/2"/>
                                          </p:val>
                                        </p:tav>
                                        <p:tav tm="100000">
                                          <p:val>
                                            <p:strVal val="#ppt_x"/>
                                          </p:val>
                                        </p:tav>
                                      </p:tavLst>
                                    </p:anim>
                                    <p:anim calcmode="lin" valueType="num">
                                      <p:cBhvr additive="base">
                                        <p:cTn id="8" dur="5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500"/>
                                  </p:stCondLst>
                                  <p:childTnLst>
                                    <p:set>
                                      <p:cBhvr>
                                        <p:cTn id="11" dur="1" fill="hold">
                                          <p:stCondLst>
                                            <p:cond delay="0"/>
                                          </p:stCondLst>
                                        </p:cTn>
                                        <p:tgtEl>
                                          <p:spTgt spid="90"/>
                                        </p:tgtEl>
                                        <p:attrNameLst>
                                          <p:attrName>style.visibility</p:attrName>
                                        </p:attrNameLst>
                                      </p:cBhvr>
                                      <p:to>
                                        <p:strVal val="visible"/>
                                      </p:to>
                                    </p:set>
                                    <p:animEffect transition="in" filter="wipe(up)">
                                      <p:cBhvr>
                                        <p:cTn id="12" dur="500"/>
                                        <p:tgtEl>
                                          <p:spTgt spid="90"/>
                                        </p:tgtEl>
                                      </p:cBhvr>
                                    </p:animEffect>
                                  </p:childTnLst>
                                </p:cTn>
                              </p:par>
                              <p:par>
                                <p:cTn id="13" presetID="22" presetClass="entr" presetSubtype="1" fill="hold" nodeType="withEffect">
                                  <p:stCondLst>
                                    <p:cond delay="500"/>
                                  </p:stCondLst>
                                  <p:childTnLst>
                                    <p:set>
                                      <p:cBhvr>
                                        <p:cTn id="14" dur="1" fill="hold">
                                          <p:stCondLst>
                                            <p:cond delay="0"/>
                                          </p:stCondLst>
                                        </p:cTn>
                                        <p:tgtEl>
                                          <p:spTgt spid="289"/>
                                        </p:tgtEl>
                                        <p:attrNameLst>
                                          <p:attrName>style.visibility</p:attrName>
                                        </p:attrNameLst>
                                      </p:cBhvr>
                                      <p:to>
                                        <p:strVal val="visible"/>
                                      </p:to>
                                    </p:set>
                                    <p:animEffect transition="in" filter="wipe(up)">
                                      <p:cBhvr>
                                        <p:cTn id="15" dur="500"/>
                                        <p:tgtEl>
                                          <p:spTgt spid="289"/>
                                        </p:tgtEl>
                                      </p:cBhvr>
                                    </p:animEffect>
                                  </p:childTnLst>
                                </p:cTn>
                              </p:par>
                              <p:par>
                                <p:cTn id="16" presetID="22" presetClass="entr" presetSubtype="1" fill="hold" nodeType="withEffect">
                                  <p:stCondLst>
                                    <p:cond delay="500"/>
                                  </p:stCondLst>
                                  <p:childTnLst>
                                    <p:set>
                                      <p:cBhvr>
                                        <p:cTn id="17" dur="1" fill="hold">
                                          <p:stCondLst>
                                            <p:cond delay="0"/>
                                          </p:stCondLst>
                                        </p:cTn>
                                        <p:tgtEl>
                                          <p:spTgt spid="290"/>
                                        </p:tgtEl>
                                        <p:attrNameLst>
                                          <p:attrName>style.visibility</p:attrName>
                                        </p:attrNameLst>
                                      </p:cBhvr>
                                      <p:to>
                                        <p:strVal val="visible"/>
                                      </p:to>
                                    </p:set>
                                    <p:animEffect transition="in" filter="wipe(up)">
                                      <p:cBhvr>
                                        <p:cTn id="18" dur="500"/>
                                        <p:tgtEl>
                                          <p:spTgt spid="290"/>
                                        </p:tgtEl>
                                      </p:cBhvr>
                                    </p:animEffect>
                                  </p:childTnLst>
                                </p:cTn>
                              </p:par>
                              <p:par>
                                <p:cTn id="19" presetID="22" presetClass="entr" presetSubtype="1" fill="hold" nodeType="withEffect">
                                  <p:stCondLst>
                                    <p:cond delay="500"/>
                                  </p:stCondLst>
                                  <p:childTnLst>
                                    <p:set>
                                      <p:cBhvr>
                                        <p:cTn id="20" dur="1" fill="hold">
                                          <p:stCondLst>
                                            <p:cond delay="0"/>
                                          </p:stCondLst>
                                        </p:cTn>
                                        <p:tgtEl>
                                          <p:spTgt spid="291"/>
                                        </p:tgtEl>
                                        <p:attrNameLst>
                                          <p:attrName>style.visibility</p:attrName>
                                        </p:attrNameLst>
                                      </p:cBhvr>
                                      <p:to>
                                        <p:strVal val="visible"/>
                                      </p:to>
                                    </p:set>
                                    <p:animEffect transition="in" filter="wipe(up)">
                                      <p:cBhvr>
                                        <p:cTn id="21" dur="500"/>
                                        <p:tgtEl>
                                          <p:spTgt spid="2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1472464" cy="1421928"/>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A função imune mantém o equilíbrio entre a proteção contra infecções, minimização aos danos e a </a:t>
            </a:r>
            <a:br>
              <a:rPr lang="pt-BR" sz="3600" b="1" dirty="0">
                <a:gradFill>
                  <a:gsLst>
                    <a:gs pos="0">
                      <a:schemeClr val="accent1"/>
                    </a:gs>
                    <a:gs pos="100000">
                      <a:schemeClr val="bg2"/>
                    </a:gs>
                  </a:gsLst>
                  <a:lin ang="2700000" scaled="0"/>
                </a:gradFill>
                <a:latin typeface="Calisto MT"/>
              </a:rPr>
            </a:br>
            <a:r>
              <a:rPr lang="pt-BR" sz="3600" b="1" dirty="0">
                <a:gradFill>
                  <a:gsLst>
                    <a:gs pos="0">
                      <a:schemeClr val="accent1"/>
                    </a:gs>
                    <a:gs pos="100000">
                      <a:schemeClr val="bg2"/>
                    </a:gs>
                  </a:gsLst>
                  <a:lin ang="2700000" scaled="0"/>
                </a:gradFill>
                <a:latin typeface="Calisto MT"/>
              </a:rPr>
              <a:t>tolerância ao próprio</a:t>
            </a:r>
          </a:p>
        </p:txBody>
      </p:sp>
      <p:sp>
        <p:nvSpPr>
          <p:cNvPr id="293" name="Espaço Reservado para Texto 292">
            <a:extLst>
              <a:ext uri="{FF2B5EF4-FFF2-40B4-BE49-F238E27FC236}">
                <a16:creationId xmlns:a16="http://schemas.microsoft.com/office/drawing/2014/main" id="{297D52BA-FE0B-47A8-51CF-FA65FBD6FA43}"/>
              </a:ext>
            </a:extLst>
          </p:cNvPr>
          <p:cNvSpPr>
            <a:spLocks noGrp="1"/>
          </p:cNvSpPr>
          <p:nvPr>
            <p:ph type="body" sz="quarter" idx="111"/>
          </p:nvPr>
        </p:nvSpPr>
        <p:spPr/>
        <p:txBody>
          <a:bodyPr/>
          <a:lstStyle/>
          <a:p>
            <a:r>
              <a:rPr lang="pt-BR" b="0" i="0" dirty="0">
                <a:solidFill>
                  <a:srgbClr val="1D1D1D"/>
                </a:solidFill>
                <a:effectLst/>
                <a:latin typeface="Arial" panose="020B0604020202020204" pitchFamily="34" charset="0"/>
              </a:rPr>
              <a:t>Liu X, Fang L, </a:t>
            </a:r>
            <a:r>
              <a:rPr lang="pt-BR" b="0" i="0" dirty="0" err="1">
                <a:solidFill>
                  <a:srgbClr val="1D1D1D"/>
                </a:solidFill>
                <a:effectLst/>
                <a:latin typeface="Arial" panose="020B0604020202020204" pitchFamily="34" charset="0"/>
              </a:rPr>
              <a:t>Guo</a:t>
            </a:r>
            <a:r>
              <a:rPr lang="pt-BR" b="0" i="0" dirty="0">
                <a:solidFill>
                  <a:srgbClr val="1D1D1D"/>
                </a:solidFill>
                <a:effectLst/>
                <a:latin typeface="Arial" panose="020B0604020202020204" pitchFamily="34" charset="0"/>
              </a:rPr>
              <a:t> TB et al. </a:t>
            </a:r>
            <a:r>
              <a:rPr lang="pt-BR" b="0" i="0" dirty="0" err="1">
                <a:solidFill>
                  <a:srgbClr val="1D1D1D"/>
                </a:solidFill>
                <a:effectLst/>
                <a:latin typeface="Arial" panose="020B0604020202020204" pitchFamily="34" charset="0"/>
              </a:rPr>
              <a:t>Drug</a:t>
            </a:r>
            <a:r>
              <a:rPr lang="pt-BR" b="0" i="0" dirty="0">
                <a:solidFill>
                  <a:srgbClr val="1D1D1D"/>
                </a:solidFill>
                <a:effectLst/>
                <a:latin typeface="Arial" panose="020B0604020202020204" pitchFamily="34" charset="0"/>
              </a:rPr>
              <a:t> targets in </a:t>
            </a:r>
            <a:r>
              <a:rPr lang="pt-BR" b="0" i="0" dirty="0" err="1">
                <a:solidFill>
                  <a:srgbClr val="1D1D1D"/>
                </a:solidFill>
                <a:effectLst/>
                <a:latin typeface="Arial" panose="020B0604020202020204" pitchFamily="34" charset="0"/>
              </a:rPr>
              <a:t>th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cytokin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universe</a:t>
            </a:r>
            <a:r>
              <a:rPr lang="pt-BR" b="0" i="0" dirty="0">
                <a:solidFill>
                  <a:srgbClr val="1D1D1D"/>
                </a:solidFill>
                <a:effectLst/>
                <a:latin typeface="Arial" panose="020B0604020202020204" pitchFamily="34" charset="0"/>
              </a:rPr>
              <a:t> for </a:t>
            </a:r>
            <a:r>
              <a:rPr lang="pt-BR" b="0" i="0" dirty="0" err="1">
                <a:solidFill>
                  <a:srgbClr val="1D1D1D"/>
                </a:solidFill>
                <a:effectLst/>
                <a:latin typeface="Arial" panose="020B0604020202020204" pitchFamily="34" charset="0"/>
              </a:rPr>
              <a:t>autoimmun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disease</a:t>
            </a:r>
            <a:r>
              <a:rPr lang="pt-BR" b="0" i="0" dirty="0">
                <a:solidFill>
                  <a:srgbClr val="1D1D1D"/>
                </a:solidFill>
                <a:effectLst/>
                <a:latin typeface="Arial" panose="020B0604020202020204" pitchFamily="34" charset="0"/>
              </a:rPr>
              <a:t>. Trends </a:t>
            </a:r>
            <a:r>
              <a:rPr lang="pt-BR" b="0" i="0" dirty="0" err="1">
                <a:solidFill>
                  <a:srgbClr val="1D1D1D"/>
                </a:solidFill>
                <a:effectLst/>
                <a:latin typeface="Arial" panose="020B0604020202020204" pitchFamily="34" charset="0"/>
              </a:rPr>
              <a:t>Immunol</a:t>
            </a:r>
            <a:r>
              <a:rPr lang="pt-BR" b="0" i="0" dirty="0">
                <a:solidFill>
                  <a:srgbClr val="1D1D1D"/>
                </a:solidFill>
                <a:effectLst/>
                <a:latin typeface="Arial" panose="020B0604020202020204" pitchFamily="34" charset="0"/>
              </a:rPr>
              <a:t>. 2013 Mar;34(3):120-8.</a:t>
            </a:r>
            <a:endParaRPr lang="pt-BR" dirty="0"/>
          </a:p>
        </p:txBody>
      </p:sp>
      <p:sp>
        <p:nvSpPr>
          <p:cNvPr id="2" name="Retângulo: Cantos Arredondados 1">
            <a:extLst>
              <a:ext uri="{FF2B5EF4-FFF2-40B4-BE49-F238E27FC236}">
                <a16:creationId xmlns:a16="http://schemas.microsoft.com/office/drawing/2014/main" id="{45285926-2153-9BA1-05B0-480779054856}"/>
              </a:ext>
            </a:extLst>
          </p:cNvPr>
          <p:cNvSpPr/>
          <p:nvPr/>
        </p:nvSpPr>
        <p:spPr>
          <a:xfrm>
            <a:off x="3670065" y="1806964"/>
            <a:ext cx="4851869" cy="4666000"/>
          </a:xfrm>
          <a:prstGeom prst="roundRect">
            <a:avLst>
              <a:gd name="adj" fmla="val 0"/>
            </a:avLst>
          </a:prstGeom>
          <a:solidFill>
            <a:schemeClr val="bg1"/>
          </a:soli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grpSp>
        <p:nvGrpSpPr>
          <p:cNvPr id="4" name="Group 8">
            <a:extLst>
              <a:ext uri="{FF2B5EF4-FFF2-40B4-BE49-F238E27FC236}">
                <a16:creationId xmlns:a16="http://schemas.microsoft.com/office/drawing/2014/main" id="{0BB1DB08-8370-0457-3B3C-101256F6D207}"/>
              </a:ext>
            </a:extLst>
          </p:cNvPr>
          <p:cNvGrpSpPr/>
          <p:nvPr/>
        </p:nvGrpSpPr>
        <p:grpSpPr>
          <a:xfrm>
            <a:off x="3865795" y="2008397"/>
            <a:ext cx="4630739" cy="4430031"/>
            <a:chOff x="3328636" y="1585168"/>
            <a:chExt cx="4593401" cy="4339297"/>
          </a:xfrm>
        </p:grpSpPr>
        <p:pic>
          <p:nvPicPr>
            <p:cNvPr id="5" name="Picture 1">
              <a:extLst>
                <a:ext uri="{FF2B5EF4-FFF2-40B4-BE49-F238E27FC236}">
                  <a16:creationId xmlns:a16="http://schemas.microsoft.com/office/drawing/2014/main" id="{8FC26130-8FC1-3E4F-3160-41E83B34E9F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28636" y="1585168"/>
              <a:ext cx="4582909" cy="4339297"/>
            </a:xfrm>
            <a:prstGeom prst="rect">
              <a:avLst/>
            </a:prstGeom>
          </p:spPr>
        </p:pic>
        <p:sp>
          <p:nvSpPr>
            <p:cNvPr id="7" name="Rectangle 7">
              <a:extLst>
                <a:ext uri="{FF2B5EF4-FFF2-40B4-BE49-F238E27FC236}">
                  <a16:creationId xmlns:a16="http://schemas.microsoft.com/office/drawing/2014/main" id="{199C5077-7921-4F68-7F01-3EF44A48B2BC}"/>
                </a:ext>
              </a:extLst>
            </p:cNvPr>
            <p:cNvSpPr/>
            <p:nvPr/>
          </p:nvSpPr>
          <p:spPr>
            <a:xfrm>
              <a:off x="6416617" y="5335429"/>
              <a:ext cx="1505420" cy="560665"/>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Verdana"/>
                <a:ea typeface="+mn-ea"/>
                <a:cs typeface="+mn-cs"/>
              </a:endParaRPr>
            </a:p>
          </p:txBody>
        </p:sp>
      </p:grpSp>
      <p:sp>
        <p:nvSpPr>
          <p:cNvPr id="8" name="Retângulo: Cantos Arredondados 7">
            <a:extLst>
              <a:ext uri="{FF2B5EF4-FFF2-40B4-BE49-F238E27FC236}">
                <a16:creationId xmlns:a16="http://schemas.microsoft.com/office/drawing/2014/main" id="{AF3B63F0-999C-C05A-48B0-715443324AAD}"/>
              </a:ext>
            </a:extLst>
          </p:cNvPr>
          <p:cNvSpPr/>
          <p:nvPr/>
        </p:nvSpPr>
        <p:spPr>
          <a:xfrm>
            <a:off x="846686" y="3659274"/>
            <a:ext cx="3019109" cy="961379"/>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a:solidFill>
                <a:srgbClr val="FFFFFF"/>
              </a:solidFill>
              <a:latin typeface="Calibri"/>
            </a:endParaRPr>
          </a:p>
        </p:txBody>
      </p:sp>
      <p:sp>
        <p:nvSpPr>
          <p:cNvPr id="9" name="Retângulo: Cantos Arredondados 8">
            <a:extLst>
              <a:ext uri="{FF2B5EF4-FFF2-40B4-BE49-F238E27FC236}">
                <a16:creationId xmlns:a16="http://schemas.microsoft.com/office/drawing/2014/main" id="{09CD0A0F-4507-2B2F-F16A-4F40253631E3}"/>
              </a:ext>
            </a:extLst>
          </p:cNvPr>
          <p:cNvSpPr/>
          <p:nvPr/>
        </p:nvSpPr>
        <p:spPr>
          <a:xfrm>
            <a:off x="8326203" y="3659274"/>
            <a:ext cx="3019109" cy="961379"/>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10" name="CaixaDeTexto 9">
            <a:extLst>
              <a:ext uri="{FF2B5EF4-FFF2-40B4-BE49-F238E27FC236}">
                <a16:creationId xmlns:a16="http://schemas.microsoft.com/office/drawing/2014/main" id="{E5120FED-6A1A-8E3A-105B-E0FD466EC58F}"/>
              </a:ext>
            </a:extLst>
          </p:cNvPr>
          <p:cNvSpPr txBox="1"/>
          <p:nvPr/>
        </p:nvSpPr>
        <p:spPr>
          <a:xfrm>
            <a:off x="574755" y="3909130"/>
            <a:ext cx="3131290" cy="461665"/>
          </a:xfrm>
          <a:prstGeom prst="rect">
            <a:avLst/>
          </a:prstGeom>
          <a:noFill/>
        </p:spPr>
        <p:txBody>
          <a:bodyPr wrap="square" rtlCol="0">
            <a:spAutoFit/>
          </a:bodyPr>
          <a:lstStyle/>
          <a:p>
            <a:pPr algn="r">
              <a:spcAft>
                <a:spcPts val="600"/>
              </a:spcAft>
            </a:pPr>
            <a:r>
              <a:rPr lang="pt-BR" sz="2400" b="1" dirty="0">
                <a:solidFill>
                  <a:schemeClr val="bg1"/>
                </a:solidFill>
                <a:latin typeface="Calisto MT"/>
              </a:rPr>
              <a:t>INFLAMAÇÃO</a:t>
            </a:r>
          </a:p>
        </p:txBody>
      </p:sp>
      <p:sp>
        <p:nvSpPr>
          <p:cNvPr id="11" name="CaixaDeTexto 10">
            <a:extLst>
              <a:ext uri="{FF2B5EF4-FFF2-40B4-BE49-F238E27FC236}">
                <a16:creationId xmlns:a16="http://schemas.microsoft.com/office/drawing/2014/main" id="{463F1DCC-16AE-1FB2-6C34-F965E7D0B1BE}"/>
              </a:ext>
            </a:extLst>
          </p:cNvPr>
          <p:cNvSpPr txBox="1"/>
          <p:nvPr/>
        </p:nvSpPr>
        <p:spPr>
          <a:xfrm>
            <a:off x="8445733" y="3909130"/>
            <a:ext cx="3131290" cy="461665"/>
          </a:xfrm>
          <a:prstGeom prst="rect">
            <a:avLst/>
          </a:prstGeom>
          <a:noFill/>
        </p:spPr>
        <p:txBody>
          <a:bodyPr wrap="square" rtlCol="0">
            <a:spAutoFit/>
          </a:bodyPr>
          <a:lstStyle/>
          <a:p>
            <a:pPr>
              <a:spcAft>
                <a:spcPts val="600"/>
              </a:spcAft>
            </a:pPr>
            <a:r>
              <a:rPr lang="pt-BR" sz="2400" b="1" dirty="0">
                <a:solidFill>
                  <a:schemeClr val="bg1"/>
                </a:solidFill>
                <a:latin typeface="Calisto MT"/>
              </a:rPr>
              <a:t>TOLERÂNCIA</a:t>
            </a:r>
          </a:p>
        </p:txBody>
      </p:sp>
    </p:spTree>
    <p:extLst>
      <p:ext uri="{BB962C8B-B14F-4D97-AF65-F5344CB8AC3E}">
        <p14:creationId xmlns:p14="http://schemas.microsoft.com/office/powerpoint/2010/main" val="323400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750"/>
                            </p:stCondLst>
                            <p:childTnLst>
                              <p:par>
                                <p:cTn id="12" presetID="2" presetClass="entr" presetSubtype="8"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0-#ppt_w/2"/>
                                          </p:val>
                                        </p:tav>
                                        <p:tav tm="100000">
                                          <p:val>
                                            <p:strVal val="#ppt_x"/>
                                          </p:val>
                                        </p:tav>
                                      </p:tavLst>
                                    </p:anim>
                                    <p:anim calcmode="lin" valueType="num">
                                      <p:cBhvr additive="base">
                                        <p:cTn id="15" dur="500" fill="hold"/>
                                        <p:tgtEl>
                                          <p:spTgt spid="8"/>
                                        </p:tgtEl>
                                        <p:attrNameLst>
                                          <p:attrName>ppt_y</p:attrName>
                                        </p:attrNameLst>
                                      </p:cBhvr>
                                      <p:tavLst>
                                        <p:tav tm="0">
                                          <p:val>
                                            <p:strVal val="#ppt_y"/>
                                          </p:val>
                                        </p:tav>
                                        <p:tav tm="100000">
                                          <p:val>
                                            <p:strVal val="#ppt_y"/>
                                          </p:val>
                                        </p:tav>
                                      </p:tavLst>
                                    </p:anim>
                                  </p:childTnLst>
                                </p:cTn>
                              </p:par>
                              <p:par>
                                <p:cTn id="16" presetID="2" presetClass="entr" presetSubtype="2"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1+#ppt_w/2"/>
                                          </p:val>
                                        </p:tav>
                                        <p:tav tm="100000">
                                          <p:val>
                                            <p:strVal val="#ppt_x"/>
                                          </p:val>
                                        </p:tav>
                                      </p:tavLst>
                                    </p:anim>
                                    <p:anim calcmode="lin" valueType="num">
                                      <p:cBhvr additive="base">
                                        <p:cTn id="19" dur="500" fill="hold"/>
                                        <p:tgtEl>
                                          <p:spTgt spid="9"/>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5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9" grpId="0" animBg="1"/>
      <p:bldP spid="10"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118D0565-914E-701B-0402-288FD384941E}"/>
              </a:ext>
            </a:extLst>
          </p:cNvPr>
          <p:cNvPicPr>
            <a:picLocks noChangeAspect="1"/>
          </p:cNvPicPr>
          <p:nvPr/>
        </p:nvPicPr>
        <p:blipFill>
          <a:blip r:embed="rId3">
            <a:alphaModFix/>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7812" b="7812"/>
          <a:stretch/>
        </p:blipFill>
        <p:spPr>
          <a:xfrm>
            <a:off x="0" y="0"/>
            <a:ext cx="12191990" cy="6857999"/>
          </a:xfrm>
          <a:prstGeom prst="rect">
            <a:avLst/>
          </a:prstGeom>
        </p:spPr>
      </p:pic>
      <p:sp>
        <p:nvSpPr>
          <p:cNvPr id="14" name="Retângulo: Único Canto Arredondado 13">
            <a:extLst>
              <a:ext uri="{FF2B5EF4-FFF2-40B4-BE49-F238E27FC236}">
                <a16:creationId xmlns:a16="http://schemas.microsoft.com/office/drawing/2014/main" id="{332A9F67-8B10-E379-1C3F-3B04F2459BB3}"/>
              </a:ext>
            </a:extLst>
          </p:cNvPr>
          <p:cNvSpPr/>
          <p:nvPr/>
        </p:nvSpPr>
        <p:spPr>
          <a:xfrm flipH="1">
            <a:off x="5" y="5056338"/>
            <a:ext cx="12191995" cy="1803237"/>
          </a:xfrm>
          <a:prstGeom prst="round1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 name="Retângulo: Único Canto Arredondado 4">
            <a:extLst>
              <a:ext uri="{FF2B5EF4-FFF2-40B4-BE49-F238E27FC236}">
                <a16:creationId xmlns:a16="http://schemas.microsoft.com/office/drawing/2014/main" id="{4329931E-E0E1-F789-E68B-E7B44BEA0F32}"/>
              </a:ext>
            </a:extLst>
          </p:cNvPr>
          <p:cNvSpPr/>
          <p:nvPr/>
        </p:nvSpPr>
        <p:spPr>
          <a:xfrm flipH="1" flipV="1">
            <a:off x="-5" y="1576"/>
            <a:ext cx="12191995" cy="5054762"/>
          </a:xfrm>
          <a:prstGeom prst="round1Rect">
            <a:avLst>
              <a:gd name="adj" fmla="val 0"/>
            </a:avLst>
          </a:prstGeom>
          <a:gradFill>
            <a:gsLst>
              <a:gs pos="50000">
                <a:srgbClr val="9F002B">
                  <a:alpha val="20000"/>
                </a:srgbClr>
              </a:gs>
              <a:gs pos="0">
                <a:schemeClr val="accent1">
                  <a:alpha val="88000"/>
                </a:schemeClr>
              </a:gs>
              <a:gs pos="100000">
                <a:schemeClr val="bg2">
                  <a:alpha val="67000"/>
                </a:scheme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0" name="Gráfico 9">
            <a:extLst>
              <a:ext uri="{FF2B5EF4-FFF2-40B4-BE49-F238E27FC236}">
                <a16:creationId xmlns:a16="http://schemas.microsoft.com/office/drawing/2014/main" id="{91E0AF04-E378-B55C-8394-704E54BB08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3074860"/>
            <a:ext cx="7649497" cy="3783140"/>
          </a:xfrm>
          <a:prstGeom prst="rect">
            <a:avLst/>
          </a:prstGeom>
        </p:spPr>
      </p:pic>
      <p:sp>
        <p:nvSpPr>
          <p:cNvPr id="4" name="Retângulo: Cantos Arredondados 3">
            <a:extLst>
              <a:ext uri="{FF2B5EF4-FFF2-40B4-BE49-F238E27FC236}">
                <a16:creationId xmlns:a16="http://schemas.microsoft.com/office/drawing/2014/main" id="{F92E7616-8B46-E689-1515-1B162896ACA6}"/>
              </a:ext>
            </a:extLst>
          </p:cNvPr>
          <p:cNvSpPr/>
          <p:nvPr/>
        </p:nvSpPr>
        <p:spPr>
          <a:xfrm>
            <a:off x="1653138" y="3535538"/>
            <a:ext cx="8885725" cy="1803237"/>
          </a:xfrm>
          <a:prstGeom prst="roundRect">
            <a:avLst>
              <a:gd name="adj" fmla="val 0"/>
            </a:avLst>
          </a:prstGeom>
          <a:gradFill flip="none" rotWithShape="1">
            <a:gsLst>
              <a:gs pos="37000">
                <a:schemeClr val="bg1">
                  <a:lumMod val="97000"/>
                </a:schemeClr>
              </a:gs>
              <a:gs pos="0">
                <a:srgbClr val="CD99B9">
                  <a:lumMod val="27000"/>
                  <a:lumOff val="73000"/>
                  <a:alpha val="75000"/>
                </a:srgbClr>
              </a:gs>
              <a:gs pos="99000">
                <a:schemeClr val="bg1">
                  <a:alpha val="76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EF70F015-F5B0-9A68-EF4F-182BB4186B09}"/>
              </a:ext>
            </a:extLst>
          </p:cNvPr>
          <p:cNvSpPr txBox="1"/>
          <p:nvPr/>
        </p:nvSpPr>
        <p:spPr>
          <a:xfrm>
            <a:off x="1728579" y="4380616"/>
            <a:ext cx="8734842" cy="683264"/>
          </a:xfrm>
          <a:prstGeom prst="rect">
            <a:avLst/>
          </a:prstGeom>
          <a:noFill/>
        </p:spPr>
        <p:txBody>
          <a:bodyPr wrap="square" rtlCol="0">
            <a:spAutoFit/>
          </a:bodyPr>
          <a:lstStyle/>
          <a:p>
            <a:pPr lvl="0" algn="ctr">
              <a:lnSpc>
                <a:spcPct val="80000"/>
              </a:lnSpc>
              <a:defRPr/>
            </a:pPr>
            <a:r>
              <a:rPr lang="pt-BR" sz="4800" b="1" dirty="0">
                <a:gradFill>
                  <a:gsLst>
                    <a:gs pos="0">
                      <a:schemeClr val="accent1"/>
                    </a:gs>
                    <a:gs pos="100000">
                      <a:schemeClr val="bg2"/>
                    </a:gs>
                  </a:gsLst>
                  <a:lin ang="2700000" scaled="0"/>
                </a:gradFill>
                <a:latin typeface="Calisto MT"/>
              </a:rPr>
              <a:t>SISTEMA COMPLEMENTO</a:t>
            </a:r>
          </a:p>
        </p:txBody>
      </p:sp>
      <p:sp>
        <p:nvSpPr>
          <p:cNvPr id="3" name="CaixaDeTexto 2">
            <a:extLst>
              <a:ext uri="{FF2B5EF4-FFF2-40B4-BE49-F238E27FC236}">
                <a16:creationId xmlns:a16="http://schemas.microsoft.com/office/drawing/2014/main" id="{9A29E5C1-8BCF-35F6-9D5F-F13FCDCE5B22}"/>
              </a:ext>
            </a:extLst>
          </p:cNvPr>
          <p:cNvSpPr txBox="1"/>
          <p:nvPr/>
        </p:nvSpPr>
        <p:spPr>
          <a:xfrm>
            <a:off x="4421863" y="3677503"/>
            <a:ext cx="3348289" cy="646331"/>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lgn="ctr">
              <a:defRPr/>
            </a:pPr>
            <a:r>
              <a:rPr lang="en-US" sz="3600" spc="300" dirty="0">
                <a:solidFill>
                  <a:srgbClr val="003865"/>
                </a:solidFill>
              </a:rPr>
              <a:t>OVERVIEW DO</a:t>
            </a:r>
          </a:p>
        </p:txBody>
      </p:sp>
      <p:pic>
        <p:nvPicPr>
          <p:cNvPr id="8" name="Gráfico 7">
            <a:extLst>
              <a:ext uri="{FF2B5EF4-FFF2-40B4-BE49-F238E27FC236}">
                <a16:creationId xmlns:a16="http://schemas.microsoft.com/office/drawing/2014/main" id="{0B126FE5-1733-5783-F577-9BC230078D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24866" y="5889523"/>
            <a:ext cx="2342268" cy="568087"/>
          </a:xfrm>
          <a:prstGeom prst="rect">
            <a:avLst/>
          </a:prstGeom>
        </p:spPr>
      </p:pic>
      <p:sp>
        <p:nvSpPr>
          <p:cNvPr id="6" name="CaixaDeTexto 5">
            <a:extLst>
              <a:ext uri="{FF2B5EF4-FFF2-40B4-BE49-F238E27FC236}">
                <a16:creationId xmlns:a16="http://schemas.microsoft.com/office/drawing/2014/main" id="{51ABF611-7550-EE7E-8F42-2B3E6332B0C1}"/>
              </a:ext>
            </a:extLst>
          </p:cNvPr>
          <p:cNvSpPr txBox="1"/>
          <p:nvPr/>
        </p:nvSpPr>
        <p:spPr>
          <a:xfrm>
            <a:off x="28988" y="6202899"/>
            <a:ext cx="3521099" cy="707886"/>
          </a:xfrm>
          <a:prstGeom prst="rect">
            <a:avLst/>
          </a:prstGeom>
          <a:noFill/>
        </p:spPr>
        <p:txBody>
          <a:bodyPr wrap="square">
            <a:spAutoFit/>
          </a:bodyPr>
          <a:lstStyle/>
          <a:p>
            <a:r>
              <a:rPr lang="pt-BR" sz="1000" dirty="0">
                <a:solidFill>
                  <a:schemeClr val="bg1">
                    <a:lumMod val="75000"/>
                  </a:schemeClr>
                </a:solidFill>
                <a:effectLst/>
              </a:rPr>
              <a:t>BR-38321. Material destinado exclusivamente a profissionais de saúde prescritores e dispensadores de medicamentos</a:t>
            </a:r>
          </a:p>
          <a:p>
            <a:r>
              <a:rPr lang="pt-BR" sz="1000" dirty="0">
                <a:solidFill>
                  <a:schemeClr val="bg1">
                    <a:lumMod val="75000"/>
                  </a:schemeClr>
                </a:solidFill>
              </a:rPr>
              <a:t>Março 2025</a:t>
            </a:r>
            <a:endParaRPr lang="pt-BR" sz="1000" dirty="0">
              <a:solidFill>
                <a:schemeClr val="bg1">
                  <a:lumMod val="75000"/>
                </a:schemeClr>
              </a:solidFill>
              <a:effectLst/>
            </a:endParaRPr>
          </a:p>
          <a:p>
            <a:endParaRPr lang="pt-BR" sz="1000" dirty="0">
              <a:solidFill>
                <a:schemeClr val="bg1">
                  <a:lumMod val="75000"/>
                </a:schemeClr>
              </a:solidFill>
            </a:endParaRPr>
          </a:p>
        </p:txBody>
      </p:sp>
      <p:sp>
        <p:nvSpPr>
          <p:cNvPr id="9" name="Retângulo: Cantos Arredondados 8">
            <a:extLst>
              <a:ext uri="{FF2B5EF4-FFF2-40B4-BE49-F238E27FC236}">
                <a16:creationId xmlns:a16="http://schemas.microsoft.com/office/drawing/2014/main" id="{3DF21FED-C51D-9618-E03B-752DA4485BE3}"/>
              </a:ext>
            </a:extLst>
          </p:cNvPr>
          <p:cNvSpPr/>
          <p:nvPr/>
        </p:nvSpPr>
        <p:spPr>
          <a:xfrm>
            <a:off x="1653138" y="5422292"/>
            <a:ext cx="8885725" cy="375829"/>
          </a:xfrm>
          <a:prstGeom prst="roundRect">
            <a:avLst>
              <a:gd name="adj" fmla="val 0"/>
            </a:avLst>
          </a:prstGeom>
          <a:gradFill flip="none" rotWithShape="1">
            <a:gsLst>
              <a:gs pos="37000">
                <a:schemeClr val="bg1">
                  <a:lumMod val="97000"/>
                </a:schemeClr>
              </a:gs>
              <a:gs pos="0">
                <a:srgbClr val="CD99B9">
                  <a:lumMod val="27000"/>
                  <a:lumOff val="73000"/>
                  <a:alpha val="75000"/>
                </a:srgbClr>
              </a:gs>
              <a:gs pos="99000">
                <a:schemeClr val="bg1">
                  <a:alpha val="76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1" name="Rectangle 8">
            <a:extLst>
              <a:ext uri="{FF2B5EF4-FFF2-40B4-BE49-F238E27FC236}">
                <a16:creationId xmlns:a16="http://schemas.microsoft.com/office/drawing/2014/main" id="{E661FA8F-D6B4-7855-F55B-CF7CD2E01886}"/>
              </a:ext>
            </a:extLst>
          </p:cNvPr>
          <p:cNvSpPr/>
          <p:nvPr/>
        </p:nvSpPr>
        <p:spPr>
          <a:xfrm>
            <a:off x="2941429" y="5475078"/>
            <a:ext cx="61150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i="0" u="none" strike="noStrike" kern="1200" cap="none" spc="0" normalizeH="0" baseline="0" noProof="0" dirty="0">
                <a:ln>
                  <a:noFill/>
                </a:ln>
                <a:solidFill>
                  <a:schemeClr val="accent1"/>
                </a:solidFill>
                <a:effectLst/>
                <a:uLnTx/>
                <a:uFillTx/>
                <a:latin typeface="Calisto MT"/>
                <a:ea typeface="+mn-ea"/>
                <a:cs typeface="+mn-cs"/>
              </a:rPr>
              <a:t>Nome do médico</a:t>
            </a:r>
            <a:endParaRPr kumimoji="0" lang="pt-BR" i="0" u="none" strike="noStrike" kern="1200" cap="none" spc="0" normalizeH="0" baseline="0" noProof="0" dirty="0">
              <a:ln>
                <a:noFill/>
              </a:ln>
              <a:solidFill>
                <a:schemeClr val="accent1"/>
              </a:solidFill>
              <a:effectLst/>
              <a:uLnTx/>
              <a:uFillTx/>
              <a:latin typeface="Calisto MT"/>
              <a:ea typeface="+mn-ea"/>
              <a:cs typeface="+mn-cs"/>
            </a:endParaRPr>
          </a:p>
        </p:txBody>
      </p:sp>
    </p:spTree>
    <p:extLst>
      <p:ext uri="{BB962C8B-B14F-4D97-AF65-F5344CB8AC3E}">
        <p14:creationId xmlns:p14="http://schemas.microsoft.com/office/powerpoint/2010/main" val="132543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A50892B4-009C-EF03-8F1A-3198A260AA29}"/>
              </a:ext>
            </a:extLst>
          </p:cNvPr>
          <p:cNvPicPr>
            <a:picLocks noChangeAspect="1"/>
          </p:cNvPicPr>
          <p:nvPr/>
        </p:nvPicPr>
        <p:blipFill>
          <a:blip r:embed="rId3">
            <a:alphaModFix/>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28906" b="16177"/>
          <a:stretch/>
        </p:blipFill>
        <p:spPr>
          <a:xfrm>
            <a:off x="0" y="1714500"/>
            <a:ext cx="12191990" cy="4463645"/>
          </a:xfrm>
          <a:prstGeom prst="rect">
            <a:avLst/>
          </a:prstGeom>
        </p:spPr>
      </p:pic>
      <p:sp>
        <p:nvSpPr>
          <p:cNvPr id="5" name="Retângulo: Cantos Arredondados 4">
            <a:extLst>
              <a:ext uri="{FF2B5EF4-FFF2-40B4-BE49-F238E27FC236}">
                <a16:creationId xmlns:a16="http://schemas.microsoft.com/office/drawing/2014/main" id="{89ED563C-F61C-8541-CC8C-A7A8598E832F}"/>
              </a:ext>
            </a:extLst>
          </p:cNvPr>
          <p:cNvSpPr/>
          <p:nvPr/>
        </p:nvSpPr>
        <p:spPr>
          <a:xfrm>
            <a:off x="356515" y="660014"/>
            <a:ext cx="11427498" cy="2067559"/>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Cantos Arredondados 7">
            <a:extLst>
              <a:ext uri="{FF2B5EF4-FFF2-40B4-BE49-F238E27FC236}">
                <a16:creationId xmlns:a16="http://schemas.microsoft.com/office/drawing/2014/main" id="{E49C2E38-868F-A7DA-F7DC-1DA113A8E414}"/>
              </a:ext>
            </a:extLst>
          </p:cNvPr>
          <p:cNvSpPr/>
          <p:nvPr/>
        </p:nvSpPr>
        <p:spPr>
          <a:xfrm>
            <a:off x="711043" y="2218257"/>
            <a:ext cx="2591111" cy="206756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4" name="Retângulo: Cantos Arredondados 13">
            <a:extLst>
              <a:ext uri="{FF2B5EF4-FFF2-40B4-BE49-F238E27FC236}">
                <a16:creationId xmlns:a16="http://schemas.microsoft.com/office/drawing/2014/main" id="{798E0F90-7367-09B9-0D39-7E832F39A896}"/>
              </a:ext>
            </a:extLst>
          </p:cNvPr>
          <p:cNvSpPr/>
          <p:nvPr/>
        </p:nvSpPr>
        <p:spPr>
          <a:xfrm>
            <a:off x="3462412" y="2218257"/>
            <a:ext cx="2591111" cy="206756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5" name="Retângulo: Cantos Arredondados 14">
            <a:extLst>
              <a:ext uri="{FF2B5EF4-FFF2-40B4-BE49-F238E27FC236}">
                <a16:creationId xmlns:a16="http://schemas.microsoft.com/office/drawing/2014/main" id="{E43F327B-F010-0399-849F-D10465A08102}"/>
              </a:ext>
            </a:extLst>
          </p:cNvPr>
          <p:cNvSpPr/>
          <p:nvPr/>
        </p:nvSpPr>
        <p:spPr>
          <a:xfrm>
            <a:off x="6213781" y="2218257"/>
            <a:ext cx="2591111" cy="206756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6" name="Retângulo: Cantos Arredondados 15">
            <a:extLst>
              <a:ext uri="{FF2B5EF4-FFF2-40B4-BE49-F238E27FC236}">
                <a16:creationId xmlns:a16="http://schemas.microsoft.com/office/drawing/2014/main" id="{1550E0D2-D963-38E2-3F60-16287A02ACDB}"/>
              </a:ext>
            </a:extLst>
          </p:cNvPr>
          <p:cNvSpPr/>
          <p:nvPr/>
        </p:nvSpPr>
        <p:spPr>
          <a:xfrm>
            <a:off x="8965149" y="2218257"/>
            <a:ext cx="2591111" cy="206756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0" name="CaixaDeTexto 19">
            <a:extLst>
              <a:ext uri="{FF2B5EF4-FFF2-40B4-BE49-F238E27FC236}">
                <a16:creationId xmlns:a16="http://schemas.microsoft.com/office/drawing/2014/main" id="{D1360176-75D0-E21D-2C1A-58FE081DE827}"/>
              </a:ext>
            </a:extLst>
          </p:cNvPr>
          <p:cNvSpPr txBox="1"/>
          <p:nvPr/>
        </p:nvSpPr>
        <p:spPr>
          <a:xfrm>
            <a:off x="929089" y="3019703"/>
            <a:ext cx="2155023" cy="747897"/>
          </a:xfrm>
          <a:prstGeom prst="rect">
            <a:avLst/>
          </a:prstGeom>
          <a:noFill/>
        </p:spPr>
        <p:txBody>
          <a:bodyPr wrap="square" lIns="0" tIns="0" rIns="0" bIns="0">
            <a:spAutoFit/>
          </a:bodyPr>
          <a:lstStyle/>
          <a:p>
            <a:pPr algn="ctr">
              <a:lnSpc>
                <a:spcPct val="90000"/>
              </a:lnSpc>
              <a:spcBef>
                <a:spcPts val="1200"/>
              </a:spcBef>
            </a:pPr>
            <a:r>
              <a:rPr lang="pt-BR" dirty="0">
                <a:solidFill>
                  <a:schemeClr val="tx2"/>
                </a:solidFill>
              </a:rPr>
              <a:t>Entender </a:t>
            </a:r>
            <a:r>
              <a:rPr lang="pt-BR" b="1" dirty="0">
                <a:solidFill>
                  <a:schemeClr val="tx2"/>
                </a:solidFill>
              </a:rPr>
              <a:t>o que é </a:t>
            </a:r>
            <a:r>
              <a:rPr lang="pt-BR" dirty="0">
                <a:solidFill>
                  <a:schemeClr val="tx2"/>
                </a:solidFill>
              </a:rPr>
              <a:t>e </a:t>
            </a:r>
            <a:r>
              <a:rPr lang="pt-BR" b="1" dirty="0">
                <a:solidFill>
                  <a:schemeClr val="tx2"/>
                </a:solidFill>
              </a:rPr>
              <a:t>como funciona </a:t>
            </a:r>
            <a:r>
              <a:rPr lang="pt-BR" dirty="0">
                <a:solidFill>
                  <a:schemeClr val="tx2"/>
                </a:solidFill>
              </a:rPr>
              <a:t>o sistema complemento</a:t>
            </a:r>
            <a:endParaRPr kumimoji="0" lang="pt-BR" i="0" u="none" strike="noStrike" kern="1200" cap="none" spc="0" normalizeH="0" baseline="0" noProof="0" dirty="0">
              <a:ln>
                <a:noFill/>
              </a:ln>
              <a:solidFill>
                <a:schemeClr val="tx2"/>
              </a:solidFill>
              <a:effectLst/>
              <a:uLnTx/>
              <a:uFillTx/>
            </a:endParaRPr>
          </a:p>
        </p:txBody>
      </p:sp>
      <p:sp>
        <p:nvSpPr>
          <p:cNvPr id="33" name="Freeform 5">
            <a:extLst>
              <a:ext uri="{FF2B5EF4-FFF2-40B4-BE49-F238E27FC236}">
                <a16:creationId xmlns:a16="http://schemas.microsoft.com/office/drawing/2014/main" id="{C53E3AD0-196C-2007-74D8-022D964DB884}"/>
              </a:ext>
            </a:extLst>
          </p:cNvPr>
          <p:cNvSpPr>
            <a:spLocks/>
          </p:cNvSpPr>
          <p:nvPr/>
        </p:nvSpPr>
        <p:spPr bwMode="auto">
          <a:xfrm>
            <a:off x="1544318" y="1844140"/>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36" name="Freeform 5">
            <a:extLst>
              <a:ext uri="{FF2B5EF4-FFF2-40B4-BE49-F238E27FC236}">
                <a16:creationId xmlns:a16="http://schemas.microsoft.com/office/drawing/2014/main" id="{464B3649-7602-DA47-A45A-C6946C4FA653}"/>
              </a:ext>
            </a:extLst>
          </p:cNvPr>
          <p:cNvSpPr>
            <a:spLocks/>
          </p:cNvSpPr>
          <p:nvPr/>
        </p:nvSpPr>
        <p:spPr bwMode="auto">
          <a:xfrm>
            <a:off x="4270585" y="1844140"/>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Freeform 5">
            <a:extLst>
              <a:ext uri="{FF2B5EF4-FFF2-40B4-BE49-F238E27FC236}">
                <a16:creationId xmlns:a16="http://schemas.microsoft.com/office/drawing/2014/main" id="{F7A65017-C330-6CE5-D7FF-60D034EE9553}"/>
              </a:ext>
            </a:extLst>
          </p:cNvPr>
          <p:cNvSpPr>
            <a:spLocks/>
          </p:cNvSpPr>
          <p:nvPr/>
        </p:nvSpPr>
        <p:spPr bwMode="auto">
          <a:xfrm>
            <a:off x="7050642" y="1844140"/>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42" name="Freeform 5">
            <a:extLst>
              <a:ext uri="{FF2B5EF4-FFF2-40B4-BE49-F238E27FC236}">
                <a16:creationId xmlns:a16="http://schemas.microsoft.com/office/drawing/2014/main" id="{F13A8868-5E2C-A82A-3EE0-315F59B482D7}"/>
              </a:ext>
            </a:extLst>
          </p:cNvPr>
          <p:cNvSpPr>
            <a:spLocks/>
          </p:cNvSpPr>
          <p:nvPr/>
        </p:nvSpPr>
        <p:spPr bwMode="auto">
          <a:xfrm>
            <a:off x="9809182" y="1844140"/>
            <a:ext cx="924562" cy="92456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a:ln>
                <a:noFill/>
              </a:ln>
              <a:solidFill>
                <a:srgbClr val="FFFFFF"/>
              </a:solidFill>
              <a:effectLst/>
              <a:uLnTx/>
              <a:uFillTx/>
              <a:latin typeface="Calibri"/>
              <a:ea typeface="+mn-ea"/>
              <a:cs typeface="+mn-cs"/>
            </a:endParaRPr>
          </a:p>
        </p:txBody>
      </p:sp>
      <p:sp>
        <p:nvSpPr>
          <p:cNvPr id="9" name="CaixaDeTexto 8">
            <a:extLst>
              <a:ext uri="{FF2B5EF4-FFF2-40B4-BE49-F238E27FC236}">
                <a16:creationId xmlns:a16="http://schemas.microsoft.com/office/drawing/2014/main" id="{A6C9871C-4314-20C2-48F4-5B94EC70FF2F}"/>
              </a:ext>
            </a:extLst>
          </p:cNvPr>
          <p:cNvSpPr txBox="1"/>
          <p:nvPr/>
        </p:nvSpPr>
        <p:spPr>
          <a:xfrm>
            <a:off x="3619626" y="3019703"/>
            <a:ext cx="2260474" cy="747897"/>
          </a:xfrm>
          <a:prstGeom prst="rect">
            <a:avLst/>
          </a:prstGeom>
          <a:noFill/>
        </p:spPr>
        <p:txBody>
          <a:bodyPr wrap="square" lIns="0" tIns="0" rIns="0" bIns="0">
            <a:spAutoFit/>
          </a:bodyPr>
          <a:lstStyle/>
          <a:p>
            <a:pPr algn="ctr">
              <a:lnSpc>
                <a:spcPct val="90000"/>
              </a:lnSpc>
              <a:spcBef>
                <a:spcPts val="1200"/>
              </a:spcBef>
            </a:pPr>
            <a:r>
              <a:rPr lang="pt-BR" dirty="0">
                <a:solidFill>
                  <a:schemeClr val="tx2"/>
                </a:solidFill>
              </a:rPr>
              <a:t>Discutir </a:t>
            </a:r>
            <a:r>
              <a:rPr lang="pt-BR" b="1" dirty="0">
                <a:solidFill>
                  <a:schemeClr val="tx2"/>
                </a:solidFill>
              </a:rPr>
              <a:t>como</a:t>
            </a:r>
            <a:r>
              <a:rPr lang="pt-BR" dirty="0">
                <a:solidFill>
                  <a:schemeClr val="tx2"/>
                </a:solidFill>
              </a:rPr>
              <a:t> o sistema do complemento </a:t>
            </a:r>
            <a:r>
              <a:rPr lang="pt-BR" b="1" dirty="0">
                <a:solidFill>
                  <a:schemeClr val="tx2"/>
                </a:solidFill>
              </a:rPr>
              <a:t>é regulado</a:t>
            </a:r>
            <a:endParaRPr kumimoji="0" lang="pt-BR" b="1" i="0" u="none" strike="noStrike" kern="1200" cap="none" spc="0" normalizeH="0" baseline="0" noProof="0" dirty="0">
              <a:ln>
                <a:noFill/>
              </a:ln>
              <a:solidFill>
                <a:schemeClr val="tx2"/>
              </a:solidFill>
              <a:effectLst/>
              <a:uLnTx/>
              <a:uFillTx/>
            </a:endParaRPr>
          </a:p>
        </p:txBody>
      </p:sp>
      <p:sp>
        <p:nvSpPr>
          <p:cNvPr id="10" name="CaixaDeTexto 9">
            <a:extLst>
              <a:ext uri="{FF2B5EF4-FFF2-40B4-BE49-F238E27FC236}">
                <a16:creationId xmlns:a16="http://schemas.microsoft.com/office/drawing/2014/main" id="{C1A91329-C4DA-E405-898C-0DB26F00EF30}"/>
              </a:ext>
            </a:extLst>
          </p:cNvPr>
          <p:cNvSpPr txBox="1"/>
          <p:nvPr/>
        </p:nvSpPr>
        <p:spPr>
          <a:xfrm>
            <a:off x="6316580" y="3019703"/>
            <a:ext cx="2360436" cy="997196"/>
          </a:xfrm>
          <a:prstGeom prst="rect">
            <a:avLst/>
          </a:prstGeom>
          <a:noFill/>
        </p:spPr>
        <p:txBody>
          <a:bodyPr wrap="square" lIns="0" tIns="0" rIns="0" bIns="0">
            <a:spAutoFit/>
          </a:bodyPr>
          <a:lstStyle/>
          <a:p>
            <a:pPr algn="ctr">
              <a:lnSpc>
                <a:spcPct val="90000"/>
              </a:lnSpc>
              <a:spcBef>
                <a:spcPts val="1200"/>
              </a:spcBef>
            </a:pPr>
            <a:r>
              <a:rPr lang="pt-BR" dirty="0">
                <a:solidFill>
                  <a:schemeClr val="tx2"/>
                </a:solidFill>
              </a:rPr>
              <a:t>As </a:t>
            </a:r>
            <a:r>
              <a:rPr lang="pt-BR" b="1" dirty="0">
                <a:solidFill>
                  <a:schemeClr val="tx2"/>
                </a:solidFill>
              </a:rPr>
              <a:t>consequências</a:t>
            </a:r>
            <a:r>
              <a:rPr lang="pt-BR" dirty="0">
                <a:solidFill>
                  <a:schemeClr val="tx2"/>
                </a:solidFill>
              </a:rPr>
              <a:t> da </a:t>
            </a:r>
            <a:r>
              <a:rPr lang="pt-BR" b="1" dirty="0">
                <a:solidFill>
                  <a:schemeClr val="tx2"/>
                </a:solidFill>
              </a:rPr>
              <a:t>ativação crônica e descontrolada </a:t>
            </a:r>
            <a:r>
              <a:rPr lang="pt-BR" dirty="0">
                <a:solidFill>
                  <a:schemeClr val="tx2"/>
                </a:solidFill>
              </a:rPr>
              <a:t>do complemento</a:t>
            </a:r>
            <a:endParaRPr kumimoji="0" lang="pt-BR" i="0" u="none" strike="noStrike" kern="1200" cap="none" spc="0" normalizeH="0" baseline="0" noProof="0" dirty="0">
              <a:ln>
                <a:noFill/>
              </a:ln>
              <a:solidFill>
                <a:schemeClr val="tx2"/>
              </a:solidFill>
              <a:effectLst/>
              <a:uLnTx/>
              <a:uFillTx/>
            </a:endParaRPr>
          </a:p>
        </p:txBody>
      </p:sp>
      <p:sp>
        <p:nvSpPr>
          <p:cNvPr id="32" name="CaixaDeTexto 31">
            <a:extLst>
              <a:ext uri="{FF2B5EF4-FFF2-40B4-BE49-F238E27FC236}">
                <a16:creationId xmlns:a16="http://schemas.microsoft.com/office/drawing/2014/main" id="{3D56570C-F708-D63A-6447-71E1945E2A6A}"/>
              </a:ext>
            </a:extLst>
          </p:cNvPr>
          <p:cNvSpPr txBox="1"/>
          <p:nvPr/>
        </p:nvSpPr>
        <p:spPr>
          <a:xfrm>
            <a:off x="9086342" y="3019703"/>
            <a:ext cx="2284491" cy="747897"/>
          </a:xfrm>
          <a:prstGeom prst="rect">
            <a:avLst/>
          </a:prstGeom>
          <a:noFill/>
        </p:spPr>
        <p:txBody>
          <a:bodyPr wrap="square" lIns="0" tIns="0" rIns="0" bIns="0">
            <a:spAutoFit/>
          </a:bodyPr>
          <a:lstStyle/>
          <a:p>
            <a:pPr algn="ctr">
              <a:lnSpc>
                <a:spcPct val="90000"/>
              </a:lnSpc>
              <a:spcBef>
                <a:spcPts val="1200"/>
              </a:spcBef>
            </a:pPr>
            <a:r>
              <a:rPr lang="pt-BR" dirty="0">
                <a:solidFill>
                  <a:schemeClr val="tx2"/>
                </a:solidFill>
              </a:rPr>
              <a:t>Entender o </a:t>
            </a:r>
            <a:r>
              <a:rPr lang="pt-BR" b="1" dirty="0">
                <a:solidFill>
                  <a:schemeClr val="tx2"/>
                </a:solidFill>
              </a:rPr>
              <a:t>papel</a:t>
            </a:r>
            <a:r>
              <a:rPr lang="pt-BR" dirty="0">
                <a:solidFill>
                  <a:schemeClr val="tx2"/>
                </a:solidFill>
              </a:rPr>
              <a:t> do complemento em </a:t>
            </a:r>
            <a:r>
              <a:rPr lang="pt-BR" b="1" dirty="0">
                <a:solidFill>
                  <a:schemeClr val="tx2"/>
                </a:solidFill>
              </a:rPr>
              <a:t>doenças raras</a:t>
            </a:r>
            <a:endParaRPr kumimoji="0" lang="pt-BR" b="1" i="0" u="none" strike="noStrike" kern="1200" cap="none" spc="0" normalizeH="0" baseline="0" noProof="0" dirty="0">
              <a:ln>
                <a:noFill/>
              </a:ln>
              <a:solidFill>
                <a:schemeClr val="tx2"/>
              </a:solidFill>
              <a:effectLst/>
              <a:uLnTx/>
              <a:uFillTx/>
            </a:endParaRPr>
          </a:p>
        </p:txBody>
      </p:sp>
      <p:grpSp>
        <p:nvGrpSpPr>
          <p:cNvPr id="79" name="Gráfico 58">
            <a:extLst>
              <a:ext uri="{FF2B5EF4-FFF2-40B4-BE49-F238E27FC236}">
                <a16:creationId xmlns:a16="http://schemas.microsoft.com/office/drawing/2014/main" id="{3EC6AC2B-83EE-556E-AA0B-FB1E787250D5}"/>
              </a:ext>
            </a:extLst>
          </p:cNvPr>
          <p:cNvGrpSpPr/>
          <p:nvPr/>
        </p:nvGrpSpPr>
        <p:grpSpPr>
          <a:xfrm>
            <a:off x="1710488" y="1940471"/>
            <a:ext cx="641587" cy="644496"/>
            <a:chOff x="12205335" y="482034"/>
            <a:chExt cx="835364" cy="839152"/>
          </a:xfrm>
          <a:solidFill>
            <a:schemeClr val="bg1"/>
          </a:solidFill>
        </p:grpSpPr>
        <p:sp>
          <p:nvSpPr>
            <p:cNvPr id="80" name="Forma Livre: Forma 79">
              <a:extLst>
                <a:ext uri="{FF2B5EF4-FFF2-40B4-BE49-F238E27FC236}">
                  <a16:creationId xmlns:a16="http://schemas.microsoft.com/office/drawing/2014/main" id="{A49A1607-61A1-0234-5179-E9E43E2B98B5}"/>
                </a:ext>
              </a:extLst>
            </p:cNvPr>
            <p:cNvSpPr/>
            <p:nvPr/>
          </p:nvSpPr>
          <p:spPr>
            <a:xfrm>
              <a:off x="12205335" y="482034"/>
              <a:ext cx="835364" cy="839152"/>
            </a:xfrm>
            <a:custGeom>
              <a:avLst/>
              <a:gdLst>
                <a:gd name="connsiteX0" fmla="*/ 746760 w 835364"/>
                <a:gd name="connsiteY0" fmla="*/ 87630 h 839152"/>
                <a:gd name="connsiteX1" fmla="*/ 535305 w 835364"/>
                <a:gd name="connsiteY1" fmla="*/ 0 h 839152"/>
                <a:gd name="connsiteX2" fmla="*/ 326708 w 835364"/>
                <a:gd name="connsiteY2" fmla="*/ 86678 h 839152"/>
                <a:gd name="connsiteX3" fmla="*/ 240983 w 835364"/>
                <a:gd name="connsiteY3" fmla="*/ 297180 h 839152"/>
                <a:gd name="connsiteX4" fmla="*/ 280988 w 835364"/>
                <a:gd name="connsiteY4" fmla="*/ 443865 h 839152"/>
                <a:gd name="connsiteX5" fmla="*/ 22860 w 835364"/>
                <a:gd name="connsiteY5" fmla="*/ 703898 h 839152"/>
                <a:gd name="connsiteX6" fmla="*/ 22860 w 835364"/>
                <a:gd name="connsiteY6" fmla="*/ 816293 h 839152"/>
                <a:gd name="connsiteX7" fmla="*/ 79058 w 835364"/>
                <a:gd name="connsiteY7" fmla="*/ 839153 h 839152"/>
                <a:gd name="connsiteX8" fmla="*/ 135255 w 835364"/>
                <a:gd name="connsiteY8" fmla="*/ 816293 h 839152"/>
                <a:gd name="connsiteX9" fmla="*/ 393383 w 835364"/>
                <a:gd name="connsiteY9" fmla="*/ 556260 h 839152"/>
                <a:gd name="connsiteX10" fmla="*/ 541020 w 835364"/>
                <a:gd name="connsiteY10" fmla="*/ 595313 h 839152"/>
                <a:gd name="connsiteX11" fmla="*/ 749618 w 835364"/>
                <a:gd name="connsiteY11" fmla="*/ 508635 h 839152"/>
                <a:gd name="connsiteX12" fmla="*/ 835343 w 835364"/>
                <a:gd name="connsiteY12" fmla="*/ 298133 h 839152"/>
                <a:gd name="connsiteX13" fmla="*/ 746760 w 835364"/>
                <a:gd name="connsiteY13" fmla="*/ 87630 h 839152"/>
                <a:gd name="connsiteX14" fmla="*/ 116205 w 835364"/>
                <a:gd name="connsiteY14" fmla="*/ 796290 h 839152"/>
                <a:gd name="connsiteX15" fmla="*/ 41910 w 835364"/>
                <a:gd name="connsiteY15" fmla="*/ 796290 h 839152"/>
                <a:gd name="connsiteX16" fmla="*/ 41910 w 835364"/>
                <a:gd name="connsiteY16" fmla="*/ 721995 h 839152"/>
                <a:gd name="connsiteX17" fmla="*/ 191453 w 835364"/>
                <a:gd name="connsiteY17" fmla="*/ 571500 h 839152"/>
                <a:gd name="connsiteX18" fmla="*/ 265748 w 835364"/>
                <a:gd name="connsiteY18" fmla="*/ 644843 h 839152"/>
                <a:gd name="connsiteX19" fmla="*/ 116205 w 835364"/>
                <a:gd name="connsiteY19" fmla="*/ 796290 h 839152"/>
                <a:gd name="connsiteX20" fmla="*/ 284798 w 835364"/>
                <a:gd name="connsiteY20" fmla="*/ 626745 h 839152"/>
                <a:gd name="connsiteX21" fmla="*/ 210503 w 835364"/>
                <a:gd name="connsiteY21" fmla="*/ 553403 h 839152"/>
                <a:gd name="connsiteX22" fmla="*/ 295275 w 835364"/>
                <a:gd name="connsiteY22" fmla="*/ 467678 h 839152"/>
                <a:gd name="connsiteX23" fmla="*/ 328613 w 835364"/>
                <a:gd name="connsiteY23" fmla="*/ 507683 h 839152"/>
                <a:gd name="connsiteX24" fmla="*/ 368618 w 835364"/>
                <a:gd name="connsiteY24" fmla="*/ 541020 h 839152"/>
                <a:gd name="connsiteX25" fmla="*/ 284798 w 835364"/>
                <a:gd name="connsiteY25" fmla="*/ 626745 h 839152"/>
                <a:gd name="connsiteX26" fmla="*/ 730568 w 835364"/>
                <a:gd name="connsiteY26" fmla="*/ 489585 h 839152"/>
                <a:gd name="connsiteX27" fmla="*/ 541020 w 835364"/>
                <a:gd name="connsiteY27" fmla="*/ 568643 h 839152"/>
                <a:gd name="connsiteX28" fmla="*/ 348615 w 835364"/>
                <a:gd name="connsiteY28" fmla="*/ 489585 h 839152"/>
                <a:gd name="connsiteX29" fmla="*/ 268605 w 835364"/>
                <a:gd name="connsiteY29" fmla="*/ 298133 h 839152"/>
                <a:gd name="connsiteX30" fmla="*/ 346710 w 835364"/>
                <a:gd name="connsiteY30" fmla="*/ 107633 h 839152"/>
                <a:gd name="connsiteX31" fmla="*/ 535305 w 835364"/>
                <a:gd name="connsiteY31" fmla="*/ 27622 h 839152"/>
                <a:gd name="connsiteX32" fmla="*/ 727710 w 835364"/>
                <a:gd name="connsiteY32" fmla="*/ 106680 h 839152"/>
                <a:gd name="connsiteX33" fmla="*/ 807720 w 835364"/>
                <a:gd name="connsiteY33" fmla="*/ 298133 h 839152"/>
                <a:gd name="connsiteX34" fmla="*/ 730568 w 835364"/>
                <a:gd name="connsiteY34" fmla="*/ 489585 h 83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5364" h="839152">
                  <a:moveTo>
                    <a:pt x="746760" y="87630"/>
                  </a:moveTo>
                  <a:cubicBezTo>
                    <a:pt x="689610" y="31433"/>
                    <a:pt x="614363" y="0"/>
                    <a:pt x="535305" y="0"/>
                  </a:cubicBezTo>
                  <a:cubicBezTo>
                    <a:pt x="456248" y="0"/>
                    <a:pt x="381953" y="31433"/>
                    <a:pt x="326708" y="86678"/>
                  </a:cubicBezTo>
                  <a:cubicBezTo>
                    <a:pt x="270510" y="142875"/>
                    <a:pt x="240030" y="217170"/>
                    <a:pt x="240983" y="297180"/>
                  </a:cubicBezTo>
                  <a:cubicBezTo>
                    <a:pt x="240983" y="349568"/>
                    <a:pt x="255270" y="399098"/>
                    <a:pt x="280988" y="443865"/>
                  </a:cubicBezTo>
                  <a:lnTo>
                    <a:pt x="22860" y="703898"/>
                  </a:lnTo>
                  <a:cubicBezTo>
                    <a:pt x="-7620" y="735330"/>
                    <a:pt x="-7620" y="784860"/>
                    <a:pt x="22860" y="816293"/>
                  </a:cubicBezTo>
                  <a:cubicBezTo>
                    <a:pt x="38100" y="831533"/>
                    <a:pt x="59055" y="839153"/>
                    <a:pt x="79058" y="839153"/>
                  </a:cubicBezTo>
                  <a:cubicBezTo>
                    <a:pt x="99060" y="839153"/>
                    <a:pt x="120015" y="831533"/>
                    <a:pt x="135255" y="816293"/>
                  </a:cubicBezTo>
                  <a:lnTo>
                    <a:pt x="393383" y="556260"/>
                  </a:lnTo>
                  <a:cubicBezTo>
                    <a:pt x="438150" y="581978"/>
                    <a:pt x="488633" y="595313"/>
                    <a:pt x="541020" y="595313"/>
                  </a:cubicBezTo>
                  <a:cubicBezTo>
                    <a:pt x="620078" y="595313"/>
                    <a:pt x="694373" y="563880"/>
                    <a:pt x="749618" y="508635"/>
                  </a:cubicBezTo>
                  <a:cubicBezTo>
                    <a:pt x="805815" y="452438"/>
                    <a:pt x="836295" y="378143"/>
                    <a:pt x="835343" y="298133"/>
                  </a:cubicBezTo>
                  <a:cubicBezTo>
                    <a:pt x="835343" y="219075"/>
                    <a:pt x="803910" y="143828"/>
                    <a:pt x="746760" y="87630"/>
                  </a:cubicBezTo>
                  <a:close/>
                  <a:moveTo>
                    <a:pt x="116205" y="796290"/>
                  </a:moveTo>
                  <a:cubicBezTo>
                    <a:pt x="96203" y="816293"/>
                    <a:pt x="62865" y="817245"/>
                    <a:pt x="41910" y="796290"/>
                  </a:cubicBezTo>
                  <a:cubicBezTo>
                    <a:pt x="21908" y="776288"/>
                    <a:pt x="20955" y="742950"/>
                    <a:pt x="41910" y="721995"/>
                  </a:cubicBezTo>
                  <a:lnTo>
                    <a:pt x="191453" y="571500"/>
                  </a:lnTo>
                  <a:lnTo>
                    <a:pt x="265748" y="644843"/>
                  </a:lnTo>
                  <a:lnTo>
                    <a:pt x="116205" y="796290"/>
                  </a:lnTo>
                  <a:close/>
                  <a:moveTo>
                    <a:pt x="284798" y="626745"/>
                  </a:moveTo>
                  <a:lnTo>
                    <a:pt x="210503" y="553403"/>
                  </a:lnTo>
                  <a:lnTo>
                    <a:pt x="295275" y="467678"/>
                  </a:lnTo>
                  <a:cubicBezTo>
                    <a:pt x="305753" y="481965"/>
                    <a:pt x="316230" y="495300"/>
                    <a:pt x="328613" y="507683"/>
                  </a:cubicBezTo>
                  <a:cubicBezTo>
                    <a:pt x="340995" y="520065"/>
                    <a:pt x="355283" y="531495"/>
                    <a:pt x="368618" y="541020"/>
                  </a:cubicBezTo>
                  <a:lnTo>
                    <a:pt x="284798" y="626745"/>
                  </a:lnTo>
                  <a:close/>
                  <a:moveTo>
                    <a:pt x="730568" y="489585"/>
                  </a:moveTo>
                  <a:cubicBezTo>
                    <a:pt x="680085" y="540068"/>
                    <a:pt x="613410" y="568643"/>
                    <a:pt x="541020" y="568643"/>
                  </a:cubicBezTo>
                  <a:cubicBezTo>
                    <a:pt x="468630" y="568643"/>
                    <a:pt x="400050" y="541020"/>
                    <a:pt x="348615" y="489585"/>
                  </a:cubicBezTo>
                  <a:cubicBezTo>
                    <a:pt x="297180" y="438150"/>
                    <a:pt x="268605" y="370523"/>
                    <a:pt x="268605" y="298133"/>
                  </a:cubicBezTo>
                  <a:cubicBezTo>
                    <a:pt x="267653" y="225743"/>
                    <a:pt x="296228" y="158115"/>
                    <a:pt x="346710" y="107633"/>
                  </a:cubicBezTo>
                  <a:cubicBezTo>
                    <a:pt x="396240" y="56198"/>
                    <a:pt x="463868" y="27622"/>
                    <a:pt x="535305" y="27622"/>
                  </a:cubicBezTo>
                  <a:cubicBezTo>
                    <a:pt x="607695" y="27622"/>
                    <a:pt x="676275" y="55245"/>
                    <a:pt x="727710" y="106680"/>
                  </a:cubicBezTo>
                  <a:cubicBezTo>
                    <a:pt x="779145" y="158115"/>
                    <a:pt x="807720" y="225743"/>
                    <a:pt x="807720" y="298133"/>
                  </a:cubicBezTo>
                  <a:cubicBezTo>
                    <a:pt x="808673" y="370523"/>
                    <a:pt x="781050" y="438150"/>
                    <a:pt x="730568" y="489585"/>
                  </a:cubicBezTo>
                  <a:close/>
                </a:path>
              </a:pathLst>
            </a:custGeom>
            <a:grpFill/>
            <a:ln w="9525" cap="flat">
              <a:noFill/>
              <a:prstDash val="solid"/>
              <a:miter/>
            </a:ln>
          </p:spPr>
          <p:txBody>
            <a:bodyPr rtlCol="0" anchor="ctr"/>
            <a:lstStyle/>
            <a:p>
              <a:endParaRPr lang="pt-BR"/>
            </a:p>
          </p:txBody>
        </p:sp>
        <p:sp>
          <p:nvSpPr>
            <p:cNvPr id="81" name="Forma Livre: Forma 80">
              <a:extLst>
                <a:ext uri="{FF2B5EF4-FFF2-40B4-BE49-F238E27FC236}">
                  <a16:creationId xmlns:a16="http://schemas.microsoft.com/office/drawing/2014/main" id="{7782CC53-CCDF-D414-0DD4-244D14EA1614}"/>
                </a:ext>
              </a:extLst>
            </p:cNvPr>
            <p:cNvSpPr/>
            <p:nvPr/>
          </p:nvSpPr>
          <p:spPr>
            <a:xfrm>
              <a:off x="12523584" y="559186"/>
              <a:ext cx="441845" cy="441960"/>
            </a:xfrm>
            <a:custGeom>
              <a:avLst/>
              <a:gdLst>
                <a:gd name="connsiteX0" fmla="*/ 375170 w 441845"/>
                <a:gd name="connsiteY0" fmla="*/ 64770 h 441960"/>
                <a:gd name="connsiteX1" fmla="*/ 218008 w 441845"/>
                <a:gd name="connsiteY1" fmla="*/ 0 h 441960"/>
                <a:gd name="connsiteX2" fmla="*/ 63703 w 441845"/>
                <a:gd name="connsiteY2" fmla="*/ 64770 h 441960"/>
                <a:gd name="connsiteX3" fmla="*/ 65608 w 441845"/>
                <a:gd name="connsiteY3" fmla="*/ 377190 h 441960"/>
                <a:gd name="connsiteX4" fmla="*/ 222770 w 441845"/>
                <a:gd name="connsiteY4" fmla="*/ 441960 h 441960"/>
                <a:gd name="connsiteX5" fmla="*/ 378028 w 441845"/>
                <a:gd name="connsiteY5" fmla="*/ 377190 h 441960"/>
                <a:gd name="connsiteX6" fmla="*/ 441845 w 441845"/>
                <a:gd name="connsiteY6" fmla="*/ 220980 h 441960"/>
                <a:gd name="connsiteX7" fmla="*/ 375170 w 441845"/>
                <a:gd name="connsiteY7" fmla="*/ 64770 h 441960"/>
                <a:gd name="connsiteX8" fmla="*/ 358025 w 441845"/>
                <a:gd name="connsiteY8" fmla="*/ 358140 h 441960"/>
                <a:gd name="connsiteX9" fmla="*/ 222770 w 441845"/>
                <a:gd name="connsiteY9" fmla="*/ 414338 h 441960"/>
                <a:gd name="connsiteX10" fmla="*/ 84658 w 441845"/>
                <a:gd name="connsiteY10" fmla="*/ 357188 h 441960"/>
                <a:gd name="connsiteX11" fmla="*/ 82753 w 441845"/>
                <a:gd name="connsiteY11" fmla="*/ 82868 h 441960"/>
                <a:gd name="connsiteX12" fmla="*/ 218008 w 441845"/>
                <a:gd name="connsiteY12" fmla="*/ 26670 h 441960"/>
                <a:gd name="connsiteX13" fmla="*/ 356120 w 441845"/>
                <a:gd name="connsiteY13" fmla="*/ 83820 h 441960"/>
                <a:gd name="connsiteX14" fmla="*/ 414223 w 441845"/>
                <a:gd name="connsiteY14" fmla="*/ 220980 h 441960"/>
                <a:gd name="connsiteX15" fmla="*/ 358025 w 441845"/>
                <a:gd name="connsiteY15" fmla="*/ 35814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1845" h="441960">
                  <a:moveTo>
                    <a:pt x="375170" y="64770"/>
                  </a:moveTo>
                  <a:cubicBezTo>
                    <a:pt x="333260" y="22860"/>
                    <a:pt x="277063" y="0"/>
                    <a:pt x="218008" y="0"/>
                  </a:cubicBezTo>
                  <a:cubicBezTo>
                    <a:pt x="158953" y="0"/>
                    <a:pt x="104660" y="22860"/>
                    <a:pt x="63703" y="64770"/>
                  </a:cubicBezTo>
                  <a:cubicBezTo>
                    <a:pt x="-22022" y="150495"/>
                    <a:pt x="-21070" y="290513"/>
                    <a:pt x="65608" y="377190"/>
                  </a:cubicBezTo>
                  <a:cubicBezTo>
                    <a:pt x="107518" y="419100"/>
                    <a:pt x="163715" y="441960"/>
                    <a:pt x="222770" y="441960"/>
                  </a:cubicBezTo>
                  <a:cubicBezTo>
                    <a:pt x="281825" y="441960"/>
                    <a:pt x="336118" y="419100"/>
                    <a:pt x="378028" y="377190"/>
                  </a:cubicBezTo>
                  <a:cubicBezTo>
                    <a:pt x="418985" y="335280"/>
                    <a:pt x="441845" y="280035"/>
                    <a:pt x="441845" y="220980"/>
                  </a:cubicBezTo>
                  <a:cubicBezTo>
                    <a:pt x="439940" y="161925"/>
                    <a:pt x="417080" y="106680"/>
                    <a:pt x="375170" y="64770"/>
                  </a:cubicBezTo>
                  <a:close/>
                  <a:moveTo>
                    <a:pt x="358025" y="358140"/>
                  </a:moveTo>
                  <a:cubicBezTo>
                    <a:pt x="321830" y="394335"/>
                    <a:pt x="273253" y="414338"/>
                    <a:pt x="222770" y="414338"/>
                  </a:cubicBezTo>
                  <a:cubicBezTo>
                    <a:pt x="170383" y="414338"/>
                    <a:pt x="121805" y="394335"/>
                    <a:pt x="84658" y="357188"/>
                  </a:cubicBezTo>
                  <a:cubicBezTo>
                    <a:pt x="8458" y="281940"/>
                    <a:pt x="7505" y="159068"/>
                    <a:pt x="82753" y="82868"/>
                  </a:cubicBezTo>
                  <a:cubicBezTo>
                    <a:pt x="118948" y="46672"/>
                    <a:pt x="166573" y="26670"/>
                    <a:pt x="218008" y="26670"/>
                  </a:cubicBezTo>
                  <a:cubicBezTo>
                    <a:pt x="270395" y="26670"/>
                    <a:pt x="318973" y="46672"/>
                    <a:pt x="356120" y="83820"/>
                  </a:cubicBezTo>
                  <a:cubicBezTo>
                    <a:pt x="393268" y="120015"/>
                    <a:pt x="413270" y="169545"/>
                    <a:pt x="414223" y="220980"/>
                  </a:cubicBezTo>
                  <a:cubicBezTo>
                    <a:pt x="414223" y="272415"/>
                    <a:pt x="394220" y="320993"/>
                    <a:pt x="358025" y="358140"/>
                  </a:cubicBezTo>
                  <a:close/>
                </a:path>
              </a:pathLst>
            </a:custGeom>
            <a:grpFill/>
            <a:ln w="9525" cap="flat">
              <a:noFill/>
              <a:prstDash val="solid"/>
              <a:miter/>
            </a:ln>
          </p:spPr>
          <p:txBody>
            <a:bodyPr rtlCol="0" anchor="ctr"/>
            <a:lstStyle/>
            <a:p>
              <a:endParaRPr lang="pt-BR"/>
            </a:p>
          </p:txBody>
        </p:sp>
        <p:sp>
          <p:nvSpPr>
            <p:cNvPr id="82" name="Forma Livre: Forma 81">
              <a:extLst>
                <a:ext uri="{FF2B5EF4-FFF2-40B4-BE49-F238E27FC236}">
                  <a16:creationId xmlns:a16="http://schemas.microsoft.com/office/drawing/2014/main" id="{58C0A0B8-883E-8E3D-EA17-DEE5E3156351}"/>
                </a:ext>
              </a:extLst>
            </p:cNvPr>
            <p:cNvSpPr/>
            <p:nvPr/>
          </p:nvSpPr>
          <p:spPr>
            <a:xfrm>
              <a:off x="12831603" y="663485"/>
              <a:ext cx="70046" cy="232886"/>
            </a:xfrm>
            <a:custGeom>
              <a:avLst/>
              <a:gdLst>
                <a:gd name="connsiteX0" fmla="*/ 23336 w 70046"/>
                <a:gd name="connsiteY0" fmla="*/ 4286 h 232886"/>
                <a:gd name="connsiteX1" fmla="*/ 4286 w 70046"/>
                <a:gd name="connsiteY1" fmla="*/ 4286 h 232886"/>
                <a:gd name="connsiteX2" fmla="*/ 4286 w 70046"/>
                <a:gd name="connsiteY2" fmla="*/ 23336 h 232886"/>
                <a:gd name="connsiteX3" fmla="*/ 43339 w 70046"/>
                <a:gd name="connsiteY3" fmla="*/ 116681 h 232886"/>
                <a:gd name="connsiteX4" fmla="*/ 5239 w 70046"/>
                <a:gd name="connsiteY4" fmla="*/ 210026 h 232886"/>
                <a:gd name="connsiteX5" fmla="*/ 5239 w 70046"/>
                <a:gd name="connsiteY5" fmla="*/ 229076 h 232886"/>
                <a:gd name="connsiteX6" fmla="*/ 14764 w 70046"/>
                <a:gd name="connsiteY6" fmla="*/ 232886 h 232886"/>
                <a:gd name="connsiteX7" fmla="*/ 24289 w 70046"/>
                <a:gd name="connsiteY7" fmla="*/ 229076 h 232886"/>
                <a:gd name="connsiteX8" fmla="*/ 70009 w 70046"/>
                <a:gd name="connsiteY8" fmla="*/ 116681 h 232886"/>
                <a:gd name="connsiteX9" fmla="*/ 23336 w 70046"/>
                <a:gd name="connsiteY9" fmla="*/ 4286 h 23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046" h="232886">
                  <a:moveTo>
                    <a:pt x="23336" y="4286"/>
                  </a:moveTo>
                  <a:cubicBezTo>
                    <a:pt x="17621" y="-1429"/>
                    <a:pt x="9049" y="-1429"/>
                    <a:pt x="4286" y="4286"/>
                  </a:cubicBezTo>
                  <a:cubicBezTo>
                    <a:pt x="-1429" y="10001"/>
                    <a:pt x="-1429" y="18574"/>
                    <a:pt x="4286" y="23336"/>
                  </a:cubicBezTo>
                  <a:cubicBezTo>
                    <a:pt x="29051" y="48101"/>
                    <a:pt x="43339" y="81439"/>
                    <a:pt x="43339" y="116681"/>
                  </a:cubicBezTo>
                  <a:cubicBezTo>
                    <a:pt x="43339" y="151924"/>
                    <a:pt x="30004" y="185261"/>
                    <a:pt x="5239" y="210026"/>
                  </a:cubicBezTo>
                  <a:cubicBezTo>
                    <a:pt x="-476" y="215741"/>
                    <a:pt x="-476" y="224314"/>
                    <a:pt x="5239" y="229076"/>
                  </a:cubicBezTo>
                  <a:cubicBezTo>
                    <a:pt x="8096" y="231934"/>
                    <a:pt x="10954" y="232886"/>
                    <a:pt x="14764" y="232886"/>
                  </a:cubicBezTo>
                  <a:cubicBezTo>
                    <a:pt x="18574" y="232886"/>
                    <a:pt x="21431" y="231934"/>
                    <a:pt x="24289" y="229076"/>
                  </a:cubicBezTo>
                  <a:cubicBezTo>
                    <a:pt x="53816" y="199549"/>
                    <a:pt x="70009" y="159544"/>
                    <a:pt x="70009" y="116681"/>
                  </a:cubicBezTo>
                  <a:cubicBezTo>
                    <a:pt x="70961" y="73819"/>
                    <a:pt x="53816" y="33814"/>
                    <a:pt x="23336" y="4286"/>
                  </a:cubicBezTo>
                  <a:close/>
                </a:path>
              </a:pathLst>
            </a:custGeom>
            <a:grpFill/>
            <a:ln w="9525" cap="flat">
              <a:noFill/>
              <a:prstDash val="solid"/>
              <a:miter/>
            </a:ln>
          </p:spPr>
          <p:txBody>
            <a:bodyPr rtlCol="0" anchor="ctr"/>
            <a:lstStyle/>
            <a:p>
              <a:endParaRPr lang="pt-BR"/>
            </a:p>
          </p:txBody>
        </p:sp>
      </p:grpSp>
      <p:sp>
        <p:nvSpPr>
          <p:cNvPr id="86" name="Forma Livre: Forma 85">
            <a:extLst>
              <a:ext uri="{FF2B5EF4-FFF2-40B4-BE49-F238E27FC236}">
                <a16:creationId xmlns:a16="http://schemas.microsoft.com/office/drawing/2014/main" id="{D5F4F89F-8A2B-BBAD-6E52-9A453E4C7E04}"/>
              </a:ext>
            </a:extLst>
          </p:cNvPr>
          <p:cNvSpPr/>
          <p:nvPr/>
        </p:nvSpPr>
        <p:spPr>
          <a:xfrm>
            <a:off x="9964399" y="1999726"/>
            <a:ext cx="603177" cy="634020"/>
          </a:xfrm>
          <a:custGeom>
            <a:avLst/>
            <a:gdLst>
              <a:gd name="connsiteX0" fmla="*/ 769286 w 849540"/>
              <a:gd name="connsiteY0" fmla="*/ 216145 h 892981"/>
              <a:gd name="connsiteX1" fmla="*/ 594559 w 849540"/>
              <a:gd name="connsiteY1" fmla="*/ 216145 h 892981"/>
              <a:gd name="connsiteX2" fmla="*/ 514303 w 849540"/>
              <a:gd name="connsiteY2" fmla="*/ 296401 h 892981"/>
              <a:gd name="connsiteX3" fmla="*/ 514303 w 849540"/>
              <a:gd name="connsiteY3" fmla="*/ 320213 h 892981"/>
              <a:gd name="connsiteX4" fmla="*/ 492165 w 849540"/>
              <a:gd name="connsiteY4" fmla="*/ 339486 h 892981"/>
              <a:gd name="connsiteX5" fmla="*/ 368674 w 849540"/>
              <a:gd name="connsiteY5" fmla="*/ 553427 h 892981"/>
              <a:gd name="connsiteX6" fmla="*/ 368674 w 849540"/>
              <a:gd name="connsiteY6" fmla="*/ 598150 h 892981"/>
              <a:gd name="connsiteX7" fmla="*/ 407406 w 849540"/>
              <a:gd name="connsiteY7" fmla="*/ 620512 h 892981"/>
              <a:gd name="connsiteX8" fmla="*/ 582990 w 849540"/>
              <a:gd name="connsiteY8" fmla="*/ 620512 h 892981"/>
              <a:gd name="connsiteX9" fmla="*/ 582990 w 849540"/>
              <a:gd name="connsiteY9" fmla="*/ 837691 h 892981"/>
              <a:gd name="connsiteX10" fmla="*/ 638280 w 849540"/>
              <a:gd name="connsiteY10" fmla="*/ 892981 h 892981"/>
              <a:gd name="connsiteX11" fmla="*/ 681960 w 849540"/>
              <a:gd name="connsiteY11" fmla="*/ 871550 h 892981"/>
              <a:gd name="connsiteX12" fmla="*/ 725604 w 849540"/>
              <a:gd name="connsiteY12" fmla="*/ 892981 h 892981"/>
              <a:gd name="connsiteX13" fmla="*/ 780894 w 849540"/>
              <a:gd name="connsiteY13" fmla="*/ 837691 h 892981"/>
              <a:gd name="connsiteX14" fmla="*/ 780894 w 849540"/>
              <a:gd name="connsiteY14" fmla="*/ 524928 h 892981"/>
              <a:gd name="connsiteX15" fmla="*/ 849541 w 849540"/>
              <a:gd name="connsiteY15" fmla="*/ 445529 h 892981"/>
              <a:gd name="connsiteX16" fmla="*/ 849541 w 849540"/>
              <a:gd name="connsiteY16" fmla="*/ 296367 h 892981"/>
              <a:gd name="connsiteX17" fmla="*/ 769285 w 849540"/>
              <a:gd name="connsiteY17" fmla="*/ 216149 h 892981"/>
              <a:gd name="connsiteX18" fmla="*/ 388771 w 849540"/>
              <a:gd name="connsiteY18" fmla="*/ 586582 h 892981"/>
              <a:gd name="connsiteX19" fmla="*/ 388771 w 849540"/>
              <a:gd name="connsiteY19" fmla="*/ 565076 h 892981"/>
              <a:gd name="connsiteX20" fmla="*/ 512301 w 849540"/>
              <a:gd name="connsiteY20" fmla="*/ 351097 h 892981"/>
              <a:gd name="connsiteX21" fmla="*/ 530942 w 849540"/>
              <a:gd name="connsiteY21" fmla="*/ 340344 h 892981"/>
              <a:gd name="connsiteX22" fmla="*/ 549582 w 849540"/>
              <a:gd name="connsiteY22" fmla="*/ 351097 h 892981"/>
              <a:gd name="connsiteX23" fmla="*/ 673112 w 849540"/>
              <a:gd name="connsiteY23" fmla="*/ 565038 h 892981"/>
              <a:gd name="connsiteX24" fmla="*/ 673112 w 849540"/>
              <a:gd name="connsiteY24" fmla="*/ 586544 h 892981"/>
              <a:gd name="connsiteX25" fmla="*/ 654471 w 849540"/>
              <a:gd name="connsiteY25" fmla="*/ 597297 h 892981"/>
              <a:gd name="connsiteX26" fmla="*/ 407412 w 849540"/>
              <a:gd name="connsiteY26" fmla="*/ 597334 h 892981"/>
              <a:gd name="connsiteX27" fmla="*/ 388771 w 849540"/>
              <a:gd name="connsiteY27" fmla="*/ 586581 h 892981"/>
              <a:gd name="connsiteX28" fmla="*/ 826331 w 849540"/>
              <a:gd name="connsiteY28" fmla="*/ 445526 h 892981"/>
              <a:gd name="connsiteX29" fmla="*/ 780901 w 849540"/>
              <a:gd name="connsiteY29" fmla="*/ 501374 h 892981"/>
              <a:gd name="connsiteX30" fmla="*/ 780901 w 849540"/>
              <a:gd name="connsiteY30" fmla="*/ 340859 h 892981"/>
              <a:gd name="connsiteX31" fmla="*/ 769292 w 849540"/>
              <a:gd name="connsiteY31" fmla="*/ 329250 h 892981"/>
              <a:gd name="connsiteX32" fmla="*/ 757683 w 849540"/>
              <a:gd name="connsiteY32" fmla="*/ 340859 h 892981"/>
              <a:gd name="connsiteX33" fmla="*/ 757683 w 849540"/>
              <a:gd name="connsiteY33" fmla="*/ 837683 h 892981"/>
              <a:gd name="connsiteX34" fmla="*/ 725611 w 849540"/>
              <a:gd name="connsiteY34" fmla="*/ 869755 h 892981"/>
              <a:gd name="connsiteX35" fmla="*/ 693538 w 849540"/>
              <a:gd name="connsiteY35" fmla="*/ 837683 h 892981"/>
              <a:gd name="connsiteX36" fmla="*/ 693538 w 849540"/>
              <a:gd name="connsiteY36" fmla="*/ 659575 h 892981"/>
              <a:gd name="connsiteX37" fmla="*/ 681929 w 849540"/>
              <a:gd name="connsiteY37" fmla="*/ 647966 h 892981"/>
              <a:gd name="connsiteX38" fmla="*/ 670320 w 849540"/>
              <a:gd name="connsiteY38" fmla="*/ 659575 h 892981"/>
              <a:gd name="connsiteX39" fmla="*/ 670320 w 849540"/>
              <a:gd name="connsiteY39" fmla="*/ 837683 h 892981"/>
              <a:gd name="connsiteX40" fmla="*/ 638247 w 849540"/>
              <a:gd name="connsiteY40" fmla="*/ 869755 h 892981"/>
              <a:gd name="connsiteX41" fmla="*/ 606175 w 849540"/>
              <a:gd name="connsiteY41" fmla="*/ 837683 h 892981"/>
              <a:gd name="connsiteX42" fmla="*/ 606175 w 849540"/>
              <a:gd name="connsiteY42" fmla="*/ 620503 h 892981"/>
              <a:gd name="connsiteX43" fmla="*/ 654469 w 849540"/>
              <a:gd name="connsiteY43" fmla="*/ 620503 h 892981"/>
              <a:gd name="connsiteX44" fmla="*/ 693202 w 849540"/>
              <a:gd name="connsiteY44" fmla="*/ 598141 h 892981"/>
              <a:gd name="connsiteX45" fmla="*/ 693202 w 849540"/>
              <a:gd name="connsiteY45" fmla="*/ 553419 h 892981"/>
              <a:gd name="connsiteX46" fmla="*/ 569634 w 849540"/>
              <a:gd name="connsiteY46" fmla="*/ 339478 h 892981"/>
              <a:gd name="connsiteX47" fmla="*/ 537524 w 849540"/>
              <a:gd name="connsiteY47" fmla="*/ 317600 h 892981"/>
              <a:gd name="connsiteX48" fmla="*/ 537524 w 849540"/>
              <a:gd name="connsiteY48" fmla="*/ 296354 h 892981"/>
              <a:gd name="connsiteX49" fmla="*/ 594563 w 849540"/>
              <a:gd name="connsiteY49" fmla="*/ 239316 h 892981"/>
              <a:gd name="connsiteX50" fmla="*/ 769290 w 849540"/>
              <a:gd name="connsiteY50" fmla="*/ 239316 h 892981"/>
              <a:gd name="connsiteX51" fmla="*/ 826328 w 849540"/>
              <a:gd name="connsiteY51" fmla="*/ 296354 h 892981"/>
              <a:gd name="connsiteX52" fmla="*/ 681932 w 849540"/>
              <a:gd name="connsiteY52" fmla="*/ 197543 h 892981"/>
              <a:gd name="connsiteX53" fmla="*/ 780678 w 849540"/>
              <a:gd name="connsiteY53" fmla="*/ 98797 h 892981"/>
              <a:gd name="connsiteX54" fmla="*/ 681932 w 849540"/>
              <a:gd name="connsiteY54" fmla="*/ 13 h 892981"/>
              <a:gd name="connsiteX55" fmla="*/ 583186 w 849540"/>
              <a:gd name="connsiteY55" fmla="*/ 98759 h 892981"/>
              <a:gd name="connsiteX56" fmla="*/ 681932 w 849540"/>
              <a:gd name="connsiteY56" fmla="*/ 197543 h 892981"/>
              <a:gd name="connsiteX57" fmla="*/ 681932 w 849540"/>
              <a:gd name="connsiteY57" fmla="*/ 23188 h 892981"/>
              <a:gd name="connsiteX58" fmla="*/ 757499 w 849540"/>
              <a:gd name="connsiteY58" fmla="*/ 98755 h 892981"/>
              <a:gd name="connsiteX59" fmla="*/ 681932 w 849540"/>
              <a:gd name="connsiteY59" fmla="*/ 174323 h 892981"/>
              <a:gd name="connsiteX60" fmla="*/ 606364 w 849540"/>
              <a:gd name="connsiteY60" fmla="*/ 98755 h 892981"/>
              <a:gd name="connsiteX61" fmla="*/ 681932 w 849540"/>
              <a:gd name="connsiteY61" fmla="*/ 23188 h 892981"/>
              <a:gd name="connsiteX62" fmla="*/ 207615 w 849540"/>
              <a:gd name="connsiteY62" fmla="*/ 389900 h 892981"/>
              <a:gd name="connsiteX63" fmla="*/ 169701 w 849540"/>
              <a:gd name="connsiteY63" fmla="*/ 351986 h 892981"/>
              <a:gd name="connsiteX64" fmla="*/ 131787 w 849540"/>
              <a:gd name="connsiteY64" fmla="*/ 389900 h 892981"/>
              <a:gd name="connsiteX65" fmla="*/ 169701 w 849540"/>
              <a:gd name="connsiteY65" fmla="*/ 427814 h 892981"/>
              <a:gd name="connsiteX66" fmla="*/ 207615 w 849540"/>
              <a:gd name="connsiteY66" fmla="*/ 389900 h 892981"/>
              <a:gd name="connsiteX67" fmla="*/ 154968 w 849540"/>
              <a:gd name="connsiteY67" fmla="*/ 389900 h 892981"/>
              <a:gd name="connsiteX68" fmla="*/ 169702 w 849540"/>
              <a:gd name="connsiteY68" fmla="*/ 375166 h 892981"/>
              <a:gd name="connsiteX69" fmla="*/ 184436 w 849540"/>
              <a:gd name="connsiteY69" fmla="*/ 389900 h 892981"/>
              <a:gd name="connsiteX70" fmla="*/ 169702 w 849540"/>
              <a:gd name="connsiteY70" fmla="*/ 404634 h 892981"/>
              <a:gd name="connsiteX71" fmla="*/ 154968 w 849540"/>
              <a:gd name="connsiteY71" fmla="*/ 389900 h 892981"/>
              <a:gd name="connsiteX72" fmla="*/ 181273 w 849540"/>
              <a:gd name="connsiteY72" fmla="*/ 499695 h 892981"/>
              <a:gd name="connsiteX73" fmla="*/ 181273 w 849540"/>
              <a:gd name="connsiteY73" fmla="*/ 471566 h 892981"/>
              <a:gd name="connsiteX74" fmla="*/ 219187 w 849540"/>
              <a:gd name="connsiteY74" fmla="*/ 455828 h 892981"/>
              <a:gd name="connsiteX75" fmla="*/ 254534 w 849540"/>
              <a:gd name="connsiteY75" fmla="*/ 491175 h 892981"/>
              <a:gd name="connsiteX76" fmla="*/ 261677 w 849540"/>
              <a:gd name="connsiteY76" fmla="*/ 546279 h 892981"/>
              <a:gd name="connsiteX77" fmla="*/ 293862 w 849540"/>
              <a:gd name="connsiteY77" fmla="*/ 559598 h 892981"/>
              <a:gd name="connsiteX78" fmla="*/ 326046 w 849540"/>
              <a:gd name="connsiteY78" fmla="*/ 546279 h 892981"/>
              <a:gd name="connsiteX79" fmla="*/ 339365 w 849540"/>
              <a:gd name="connsiteY79" fmla="*/ 514095 h 892981"/>
              <a:gd name="connsiteX80" fmla="*/ 326046 w 849540"/>
              <a:gd name="connsiteY80" fmla="*/ 481911 h 892981"/>
              <a:gd name="connsiteX81" fmla="*/ 293862 w 849540"/>
              <a:gd name="connsiteY81" fmla="*/ 468591 h 892981"/>
              <a:gd name="connsiteX82" fmla="*/ 270904 w 849540"/>
              <a:gd name="connsiteY82" fmla="*/ 474767 h 892981"/>
              <a:gd name="connsiteX83" fmla="*/ 235558 w 849540"/>
              <a:gd name="connsiteY83" fmla="*/ 439421 h 892981"/>
              <a:gd name="connsiteX84" fmla="*/ 251296 w 849540"/>
              <a:gd name="connsiteY84" fmla="*/ 401507 h 892981"/>
              <a:gd name="connsiteX85" fmla="*/ 279424 w 849540"/>
              <a:gd name="connsiteY85" fmla="*/ 401507 h 892981"/>
              <a:gd name="connsiteX86" fmla="*/ 291034 w 849540"/>
              <a:gd name="connsiteY86" fmla="*/ 389898 h 892981"/>
              <a:gd name="connsiteX87" fmla="*/ 279424 w 849540"/>
              <a:gd name="connsiteY87" fmla="*/ 378289 h 892981"/>
              <a:gd name="connsiteX88" fmla="*/ 251296 w 849540"/>
              <a:gd name="connsiteY88" fmla="*/ 378289 h 892981"/>
              <a:gd name="connsiteX89" fmla="*/ 235558 w 849540"/>
              <a:gd name="connsiteY89" fmla="*/ 340374 h 892981"/>
              <a:gd name="connsiteX90" fmla="*/ 270904 w 849540"/>
              <a:gd name="connsiteY90" fmla="*/ 305028 h 892981"/>
              <a:gd name="connsiteX91" fmla="*/ 326008 w 849540"/>
              <a:gd name="connsiteY91" fmla="*/ 297884 h 892981"/>
              <a:gd name="connsiteX92" fmla="*/ 339328 w 849540"/>
              <a:gd name="connsiteY92" fmla="*/ 265700 h 892981"/>
              <a:gd name="connsiteX93" fmla="*/ 326008 w 849540"/>
              <a:gd name="connsiteY93" fmla="*/ 233516 h 892981"/>
              <a:gd name="connsiteX94" fmla="*/ 293824 w 849540"/>
              <a:gd name="connsiteY94" fmla="*/ 220196 h 892981"/>
              <a:gd name="connsiteX95" fmla="*/ 261640 w 849540"/>
              <a:gd name="connsiteY95" fmla="*/ 233516 h 892981"/>
              <a:gd name="connsiteX96" fmla="*/ 254497 w 849540"/>
              <a:gd name="connsiteY96" fmla="*/ 288620 h 892981"/>
              <a:gd name="connsiteX97" fmla="*/ 219150 w 849540"/>
              <a:gd name="connsiteY97" fmla="*/ 323967 h 892981"/>
              <a:gd name="connsiteX98" fmla="*/ 181236 w 849540"/>
              <a:gd name="connsiteY98" fmla="*/ 308228 h 892981"/>
              <a:gd name="connsiteX99" fmla="*/ 181236 w 849540"/>
              <a:gd name="connsiteY99" fmla="*/ 280100 h 892981"/>
              <a:gd name="connsiteX100" fmla="*/ 169627 w 849540"/>
              <a:gd name="connsiteY100" fmla="*/ 268491 h 892981"/>
              <a:gd name="connsiteX101" fmla="*/ 158018 w 849540"/>
              <a:gd name="connsiteY101" fmla="*/ 280100 h 892981"/>
              <a:gd name="connsiteX102" fmla="*/ 158018 w 849540"/>
              <a:gd name="connsiteY102" fmla="*/ 308228 h 892981"/>
              <a:gd name="connsiteX103" fmla="*/ 120104 w 849540"/>
              <a:gd name="connsiteY103" fmla="*/ 323967 h 892981"/>
              <a:gd name="connsiteX104" fmla="*/ 84757 w 849540"/>
              <a:gd name="connsiteY104" fmla="*/ 288620 h 892981"/>
              <a:gd name="connsiteX105" fmla="*/ 77614 w 849540"/>
              <a:gd name="connsiteY105" fmla="*/ 233516 h 892981"/>
              <a:gd name="connsiteX106" fmla="*/ 45504 w 849540"/>
              <a:gd name="connsiteY106" fmla="*/ 220196 h 892981"/>
              <a:gd name="connsiteX107" fmla="*/ 13320 w 849540"/>
              <a:gd name="connsiteY107" fmla="*/ 233516 h 892981"/>
              <a:gd name="connsiteX108" fmla="*/ 13320 w 849540"/>
              <a:gd name="connsiteY108" fmla="*/ 297884 h 892981"/>
              <a:gd name="connsiteX109" fmla="*/ 68424 w 849540"/>
              <a:gd name="connsiteY109" fmla="*/ 305028 h 892981"/>
              <a:gd name="connsiteX110" fmla="*/ 103770 w 849540"/>
              <a:gd name="connsiteY110" fmla="*/ 340374 h 892981"/>
              <a:gd name="connsiteX111" fmla="*/ 88032 w 849540"/>
              <a:gd name="connsiteY111" fmla="*/ 378289 h 892981"/>
              <a:gd name="connsiteX112" fmla="*/ 59904 w 849540"/>
              <a:gd name="connsiteY112" fmla="*/ 378289 h 892981"/>
              <a:gd name="connsiteX113" fmla="*/ 48295 w 849540"/>
              <a:gd name="connsiteY113" fmla="*/ 389898 h 892981"/>
              <a:gd name="connsiteX114" fmla="*/ 59904 w 849540"/>
              <a:gd name="connsiteY114" fmla="*/ 401507 h 892981"/>
              <a:gd name="connsiteX115" fmla="*/ 88032 w 849540"/>
              <a:gd name="connsiteY115" fmla="*/ 401507 h 892981"/>
              <a:gd name="connsiteX116" fmla="*/ 103770 w 849540"/>
              <a:gd name="connsiteY116" fmla="*/ 439421 h 892981"/>
              <a:gd name="connsiteX117" fmla="*/ 68424 w 849540"/>
              <a:gd name="connsiteY117" fmla="*/ 474767 h 892981"/>
              <a:gd name="connsiteX118" fmla="*/ 13320 w 849540"/>
              <a:gd name="connsiteY118" fmla="*/ 481911 h 892981"/>
              <a:gd name="connsiteX119" fmla="*/ 0 w 849540"/>
              <a:gd name="connsiteY119" fmla="*/ 514095 h 892981"/>
              <a:gd name="connsiteX120" fmla="*/ 13320 w 849540"/>
              <a:gd name="connsiteY120" fmla="*/ 546279 h 892981"/>
              <a:gd name="connsiteX121" fmla="*/ 45504 w 849540"/>
              <a:gd name="connsiteY121" fmla="*/ 559599 h 892981"/>
              <a:gd name="connsiteX122" fmla="*/ 77688 w 849540"/>
              <a:gd name="connsiteY122" fmla="*/ 546279 h 892981"/>
              <a:gd name="connsiteX123" fmla="*/ 84832 w 849540"/>
              <a:gd name="connsiteY123" fmla="*/ 491175 h 892981"/>
              <a:gd name="connsiteX124" fmla="*/ 120178 w 849540"/>
              <a:gd name="connsiteY124" fmla="*/ 455829 h 892981"/>
              <a:gd name="connsiteX125" fmla="*/ 158092 w 849540"/>
              <a:gd name="connsiteY125" fmla="*/ 471567 h 892981"/>
              <a:gd name="connsiteX126" fmla="*/ 158092 w 849540"/>
              <a:gd name="connsiteY126" fmla="*/ 499695 h 892981"/>
              <a:gd name="connsiteX127" fmla="*/ 169701 w 849540"/>
              <a:gd name="connsiteY127" fmla="*/ 511304 h 892981"/>
              <a:gd name="connsiteX128" fmla="*/ 181272 w 849540"/>
              <a:gd name="connsiteY128" fmla="*/ 499695 h 892981"/>
              <a:gd name="connsiteX129" fmla="*/ 278047 w 849540"/>
              <a:gd name="connsiteY129" fmla="*/ 498393 h 892981"/>
              <a:gd name="connsiteX130" fmla="*/ 278196 w 849540"/>
              <a:gd name="connsiteY130" fmla="*/ 498244 h 892981"/>
              <a:gd name="connsiteX131" fmla="*/ 293897 w 849540"/>
              <a:gd name="connsiteY131" fmla="*/ 491770 h 892981"/>
              <a:gd name="connsiteX132" fmla="*/ 309672 w 849540"/>
              <a:gd name="connsiteY132" fmla="*/ 498318 h 892981"/>
              <a:gd name="connsiteX133" fmla="*/ 316221 w 849540"/>
              <a:gd name="connsiteY133" fmla="*/ 514093 h 892981"/>
              <a:gd name="connsiteX134" fmla="*/ 309672 w 849540"/>
              <a:gd name="connsiteY134" fmla="*/ 529869 h 892981"/>
              <a:gd name="connsiteX135" fmla="*/ 293897 w 849540"/>
              <a:gd name="connsiteY135" fmla="*/ 536417 h 892981"/>
              <a:gd name="connsiteX136" fmla="*/ 278122 w 849540"/>
              <a:gd name="connsiteY136" fmla="*/ 529869 h 892981"/>
              <a:gd name="connsiteX137" fmla="*/ 278047 w 849540"/>
              <a:gd name="connsiteY137" fmla="*/ 498391 h 892981"/>
              <a:gd name="connsiteX138" fmla="*/ 278084 w 849540"/>
              <a:gd name="connsiteY138" fmla="*/ 249923 h 892981"/>
              <a:gd name="connsiteX139" fmla="*/ 293860 w 849540"/>
              <a:gd name="connsiteY139" fmla="*/ 243375 h 892981"/>
              <a:gd name="connsiteX140" fmla="*/ 309635 w 849540"/>
              <a:gd name="connsiteY140" fmla="*/ 249923 h 892981"/>
              <a:gd name="connsiteX141" fmla="*/ 316183 w 849540"/>
              <a:gd name="connsiteY141" fmla="*/ 265699 h 892981"/>
              <a:gd name="connsiteX142" fmla="*/ 309635 w 849540"/>
              <a:gd name="connsiteY142" fmla="*/ 281474 h 892981"/>
              <a:gd name="connsiteX143" fmla="*/ 278121 w 849540"/>
              <a:gd name="connsiteY143" fmla="*/ 281548 h 892981"/>
              <a:gd name="connsiteX144" fmla="*/ 277972 w 849540"/>
              <a:gd name="connsiteY144" fmla="*/ 281400 h 892981"/>
              <a:gd name="connsiteX145" fmla="*/ 278083 w 849540"/>
              <a:gd name="connsiteY145" fmla="*/ 249922 h 892981"/>
              <a:gd name="connsiteX146" fmla="*/ 61276 w 849540"/>
              <a:gd name="connsiteY146" fmla="*/ 281512 h 892981"/>
              <a:gd name="connsiteX147" fmla="*/ 29688 w 849540"/>
              <a:gd name="connsiteY147" fmla="*/ 281512 h 892981"/>
              <a:gd name="connsiteX148" fmla="*/ 29688 w 849540"/>
              <a:gd name="connsiteY148" fmla="*/ 249923 h 892981"/>
              <a:gd name="connsiteX149" fmla="*/ 45463 w 849540"/>
              <a:gd name="connsiteY149" fmla="*/ 243375 h 892981"/>
              <a:gd name="connsiteX150" fmla="*/ 61238 w 849540"/>
              <a:gd name="connsiteY150" fmla="*/ 249923 h 892981"/>
              <a:gd name="connsiteX151" fmla="*/ 61275 w 849540"/>
              <a:gd name="connsiteY151" fmla="*/ 281512 h 892981"/>
              <a:gd name="connsiteX152" fmla="*/ 61276 w 849540"/>
              <a:gd name="connsiteY152" fmla="*/ 529905 h 892981"/>
              <a:gd name="connsiteX153" fmla="*/ 45501 w 849540"/>
              <a:gd name="connsiteY153" fmla="*/ 536453 h 892981"/>
              <a:gd name="connsiteX154" fmla="*/ 29726 w 849540"/>
              <a:gd name="connsiteY154" fmla="*/ 529905 h 892981"/>
              <a:gd name="connsiteX155" fmla="*/ 23177 w 849540"/>
              <a:gd name="connsiteY155" fmla="*/ 514130 h 892981"/>
              <a:gd name="connsiteX156" fmla="*/ 29726 w 849540"/>
              <a:gd name="connsiteY156" fmla="*/ 498354 h 892981"/>
              <a:gd name="connsiteX157" fmla="*/ 45501 w 849540"/>
              <a:gd name="connsiteY157" fmla="*/ 491843 h 892981"/>
              <a:gd name="connsiteX158" fmla="*/ 61314 w 849540"/>
              <a:gd name="connsiteY158" fmla="*/ 498354 h 892981"/>
              <a:gd name="connsiteX159" fmla="*/ 61277 w 849540"/>
              <a:gd name="connsiteY159" fmla="*/ 529906 h 892981"/>
              <a:gd name="connsiteX160" fmla="*/ 110389 w 849540"/>
              <a:gd name="connsiteY160" fmla="*/ 389935 h 892981"/>
              <a:gd name="connsiteX161" fmla="*/ 110389 w 849540"/>
              <a:gd name="connsiteY161" fmla="*/ 389898 h 892981"/>
              <a:gd name="connsiteX162" fmla="*/ 110389 w 849540"/>
              <a:gd name="connsiteY162" fmla="*/ 389861 h 892981"/>
              <a:gd name="connsiteX163" fmla="*/ 169697 w 849540"/>
              <a:gd name="connsiteY163" fmla="*/ 330590 h 892981"/>
              <a:gd name="connsiteX164" fmla="*/ 229006 w 849540"/>
              <a:gd name="connsiteY164" fmla="*/ 389861 h 892981"/>
              <a:gd name="connsiteX165" fmla="*/ 229006 w 849540"/>
              <a:gd name="connsiteY165" fmla="*/ 389898 h 892981"/>
              <a:gd name="connsiteX166" fmla="*/ 229006 w 849540"/>
              <a:gd name="connsiteY166" fmla="*/ 389935 h 892981"/>
              <a:gd name="connsiteX167" fmla="*/ 169697 w 849540"/>
              <a:gd name="connsiteY167" fmla="*/ 449206 h 892981"/>
              <a:gd name="connsiteX168" fmla="*/ 110389 w 849540"/>
              <a:gd name="connsiteY168" fmla="*/ 389935 h 892981"/>
              <a:gd name="connsiteX169" fmla="*/ 369688 w 849540"/>
              <a:gd name="connsiteY169" fmla="*/ 729559 h 892981"/>
              <a:gd name="connsiteX170" fmla="*/ 358079 w 849540"/>
              <a:gd name="connsiteY170" fmla="*/ 741168 h 892981"/>
              <a:gd name="connsiteX171" fmla="*/ 358079 w 849540"/>
              <a:gd name="connsiteY171" fmla="*/ 744442 h 892981"/>
              <a:gd name="connsiteX172" fmla="*/ 336351 w 849540"/>
              <a:gd name="connsiteY172" fmla="*/ 744442 h 892981"/>
              <a:gd name="connsiteX173" fmla="*/ 325709 w 849540"/>
              <a:gd name="connsiteY173" fmla="*/ 718843 h 892981"/>
              <a:gd name="connsiteX174" fmla="*/ 341076 w 849540"/>
              <a:gd name="connsiteY174" fmla="*/ 703477 h 892981"/>
              <a:gd name="connsiteX175" fmla="*/ 343383 w 849540"/>
              <a:gd name="connsiteY175" fmla="*/ 705784 h 892981"/>
              <a:gd name="connsiteX176" fmla="*/ 351568 w 849540"/>
              <a:gd name="connsiteY176" fmla="*/ 709169 h 892981"/>
              <a:gd name="connsiteX177" fmla="*/ 359791 w 849540"/>
              <a:gd name="connsiteY177" fmla="*/ 705784 h 892981"/>
              <a:gd name="connsiteX178" fmla="*/ 359791 w 849540"/>
              <a:gd name="connsiteY178" fmla="*/ 689375 h 892981"/>
              <a:gd name="connsiteX179" fmla="*/ 338770 w 849540"/>
              <a:gd name="connsiteY179" fmla="*/ 668353 h 892981"/>
              <a:gd name="connsiteX180" fmla="*/ 322361 w 849540"/>
              <a:gd name="connsiteY180" fmla="*/ 668353 h 892981"/>
              <a:gd name="connsiteX181" fmla="*/ 322361 w 849540"/>
              <a:gd name="connsiteY181" fmla="*/ 684762 h 892981"/>
              <a:gd name="connsiteX182" fmla="*/ 324668 w 849540"/>
              <a:gd name="connsiteY182" fmla="*/ 687069 h 892981"/>
              <a:gd name="connsiteX183" fmla="*/ 309301 w 849540"/>
              <a:gd name="connsiteY183" fmla="*/ 702435 h 892981"/>
              <a:gd name="connsiteX184" fmla="*/ 283703 w 849540"/>
              <a:gd name="connsiteY184" fmla="*/ 691794 h 892981"/>
              <a:gd name="connsiteX185" fmla="*/ 283703 w 849540"/>
              <a:gd name="connsiteY185" fmla="*/ 670066 h 892981"/>
              <a:gd name="connsiteX186" fmla="*/ 286977 w 849540"/>
              <a:gd name="connsiteY186" fmla="*/ 670066 h 892981"/>
              <a:gd name="connsiteX187" fmla="*/ 298586 w 849540"/>
              <a:gd name="connsiteY187" fmla="*/ 658457 h 892981"/>
              <a:gd name="connsiteX188" fmla="*/ 286977 w 849540"/>
              <a:gd name="connsiteY188" fmla="*/ 646848 h 892981"/>
              <a:gd name="connsiteX189" fmla="*/ 257248 w 849540"/>
              <a:gd name="connsiteY189" fmla="*/ 646848 h 892981"/>
              <a:gd name="connsiteX190" fmla="*/ 245639 w 849540"/>
              <a:gd name="connsiteY190" fmla="*/ 658457 h 892981"/>
              <a:gd name="connsiteX191" fmla="*/ 257248 w 849540"/>
              <a:gd name="connsiteY191" fmla="*/ 670066 h 892981"/>
              <a:gd name="connsiteX192" fmla="*/ 260523 w 849540"/>
              <a:gd name="connsiteY192" fmla="*/ 670066 h 892981"/>
              <a:gd name="connsiteX193" fmla="*/ 260523 w 849540"/>
              <a:gd name="connsiteY193" fmla="*/ 691794 h 892981"/>
              <a:gd name="connsiteX194" fmla="*/ 234924 w 849540"/>
              <a:gd name="connsiteY194" fmla="*/ 702435 h 892981"/>
              <a:gd name="connsiteX195" fmla="*/ 219557 w 849540"/>
              <a:gd name="connsiteY195" fmla="*/ 687069 h 892981"/>
              <a:gd name="connsiteX196" fmla="*/ 221864 w 849540"/>
              <a:gd name="connsiteY196" fmla="*/ 684762 h 892981"/>
              <a:gd name="connsiteX197" fmla="*/ 221864 w 849540"/>
              <a:gd name="connsiteY197" fmla="*/ 668353 h 892981"/>
              <a:gd name="connsiteX198" fmla="*/ 205456 w 849540"/>
              <a:gd name="connsiteY198" fmla="*/ 668353 h 892981"/>
              <a:gd name="connsiteX199" fmla="*/ 184434 w 849540"/>
              <a:gd name="connsiteY199" fmla="*/ 689375 h 892981"/>
              <a:gd name="connsiteX200" fmla="*/ 184434 w 849540"/>
              <a:gd name="connsiteY200" fmla="*/ 705784 h 892981"/>
              <a:gd name="connsiteX201" fmla="*/ 192657 w 849540"/>
              <a:gd name="connsiteY201" fmla="*/ 709169 h 892981"/>
              <a:gd name="connsiteX202" fmla="*/ 200842 w 849540"/>
              <a:gd name="connsiteY202" fmla="*/ 705784 h 892981"/>
              <a:gd name="connsiteX203" fmla="*/ 203149 w 849540"/>
              <a:gd name="connsiteY203" fmla="*/ 703477 h 892981"/>
              <a:gd name="connsiteX204" fmla="*/ 218516 w 849540"/>
              <a:gd name="connsiteY204" fmla="*/ 718843 h 892981"/>
              <a:gd name="connsiteX205" fmla="*/ 207874 w 849540"/>
              <a:gd name="connsiteY205" fmla="*/ 744442 h 892981"/>
              <a:gd name="connsiteX206" fmla="*/ 186146 w 849540"/>
              <a:gd name="connsiteY206" fmla="*/ 744442 h 892981"/>
              <a:gd name="connsiteX207" fmla="*/ 186183 w 849540"/>
              <a:gd name="connsiteY207" fmla="*/ 741168 h 892981"/>
              <a:gd name="connsiteX208" fmla="*/ 174574 w 849540"/>
              <a:gd name="connsiteY208" fmla="*/ 729559 h 892981"/>
              <a:gd name="connsiteX209" fmla="*/ 162965 w 849540"/>
              <a:gd name="connsiteY209" fmla="*/ 741168 h 892981"/>
              <a:gd name="connsiteX210" fmla="*/ 162965 w 849540"/>
              <a:gd name="connsiteY210" fmla="*/ 770896 h 892981"/>
              <a:gd name="connsiteX211" fmla="*/ 174574 w 849540"/>
              <a:gd name="connsiteY211" fmla="*/ 782505 h 892981"/>
              <a:gd name="connsiteX212" fmla="*/ 186183 w 849540"/>
              <a:gd name="connsiteY212" fmla="*/ 770896 h 892981"/>
              <a:gd name="connsiteX213" fmla="*/ 186183 w 849540"/>
              <a:gd name="connsiteY213" fmla="*/ 767622 h 892981"/>
              <a:gd name="connsiteX214" fmla="*/ 207912 w 849540"/>
              <a:gd name="connsiteY214" fmla="*/ 767622 h 892981"/>
              <a:gd name="connsiteX215" fmla="*/ 218553 w 849540"/>
              <a:gd name="connsiteY215" fmla="*/ 793220 h 892981"/>
              <a:gd name="connsiteX216" fmla="*/ 203186 w 849540"/>
              <a:gd name="connsiteY216" fmla="*/ 808624 h 892981"/>
              <a:gd name="connsiteX217" fmla="*/ 200879 w 849540"/>
              <a:gd name="connsiteY217" fmla="*/ 806317 h 892981"/>
              <a:gd name="connsiteX218" fmla="*/ 184471 w 849540"/>
              <a:gd name="connsiteY218" fmla="*/ 806317 h 892981"/>
              <a:gd name="connsiteX219" fmla="*/ 184471 w 849540"/>
              <a:gd name="connsiteY219" fmla="*/ 822726 h 892981"/>
              <a:gd name="connsiteX220" fmla="*/ 205492 w 849540"/>
              <a:gd name="connsiteY220" fmla="*/ 843748 h 892981"/>
              <a:gd name="connsiteX221" fmla="*/ 213678 w 849540"/>
              <a:gd name="connsiteY221" fmla="*/ 847134 h 892981"/>
              <a:gd name="connsiteX222" fmla="*/ 221901 w 849540"/>
              <a:gd name="connsiteY222" fmla="*/ 843748 h 892981"/>
              <a:gd name="connsiteX223" fmla="*/ 221901 w 849540"/>
              <a:gd name="connsiteY223" fmla="*/ 827339 h 892981"/>
              <a:gd name="connsiteX224" fmla="*/ 219594 w 849540"/>
              <a:gd name="connsiteY224" fmla="*/ 825032 h 892981"/>
              <a:gd name="connsiteX225" fmla="*/ 234961 w 849540"/>
              <a:gd name="connsiteY225" fmla="*/ 809665 h 892981"/>
              <a:gd name="connsiteX226" fmla="*/ 260559 w 849540"/>
              <a:gd name="connsiteY226" fmla="*/ 820307 h 892981"/>
              <a:gd name="connsiteX227" fmla="*/ 260559 w 849540"/>
              <a:gd name="connsiteY227" fmla="*/ 842035 h 892981"/>
              <a:gd name="connsiteX228" fmla="*/ 257285 w 849540"/>
              <a:gd name="connsiteY228" fmla="*/ 842035 h 892981"/>
              <a:gd name="connsiteX229" fmla="*/ 245676 w 849540"/>
              <a:gd name="connsiteY229" fmla="*/ 853644 h 892981"/>
              <a:gd name="connsiteX230" fmla="*/ 257285 w 849540"/>
              <a:gd name="connsiteY230" fmla="*/ 865253 h 892981"/>
              <a:gd name="connsiteX231" fmla="*/ 287013 w 849540"/>
              <a:gd name="connsiteY231" fmla="*/ 865253 h 892981"/>
              <a:gd name="connsiteX232" fmla="*/ 298622 w 849540"/>
              <a:gd name="connsiteY232" fmla="*/ 853644 h 892981"/>
              <a:gd name="connsiteX233" fmla="*/ 287013 w 849540"/>
              <a:gd name="connsiteY233" fmla="*/ 842035 h 892981"/>
              <a:gd name="connsiteX234" fmla="*/ 283739 w 849540"/>
              <a:gd name="connsiteY234" fmla="*/ 842035 h 892981"/>
              <a:gd name="connsiteX235" fmla="*/ 283739 w 849540"/>
              <a:gd name="connsiteY235" fmla="*/ 820307 h 892981"/>
              <a:gd name="connsiteX236" fmla="*/ 309337 w 849540"/>
              <a:gd name="connsiteY236" fmla="*/ 809665 h 892981"/>
              <a:gd name="connsiteX237" fmla="*/ 324704 w 849540"/>
              <a:gd name="connsiteY237" fmla="*/ 825032 h 892981"/>
              <a:gd name="connsiteX238" fmla="*/ 322397 w 849540"/>
              <a:gd name="connsiteY238" fmla="*/ 827339 h 892981"/>
              <a:gd name="connsiteX239" fmla="*/ 322397 w 849540"/>
              <a:gd name="connsiteY239" fmla="*/ 843748 h 892981"/>
              <a:gd name="connsiteX240" fmla="*/ 330620 w 849540"/>
              <a:gd name="connsiteY240" fmla="*/ 847134 h 892981"/>
              <a:gd name="connsiteX241" fmla="*/ 338806 w 849540"/>
              <a:gd name="connsiteY241" fmla="*/ 843748 h 892981"/>
              <a:gd name="connsiteX242" fmla="*/ 359827 w 849540"/>
              <a:gd name="connsiteY242" fmla="*/ 822726 h 892981"/>
              <a:gd name="connsiteX243" fmla="*/ 359827 w 849540"/>
              <a:gd name="connsiteY243" fmla="*/ 806317 h 892981"/>
              <a:gd name="connsiteX244" fmla="*/ 343418 w 849540"/>
              <a:gd name="connsiteY244" fmla="*/ 806317 h 892981"/>
              <a:gd name="connsiteX245" fmla="*/ 341112 w 849540"/>
              <a:gd name="connsiteY245" fmla="*/ 808624 h 892981"/>
              <a:gd name="connsiteX246" fmla="*/ 325745 w 849540"/>
              <a:gd name="connsiteY246" fmla="*/ 793257 h 892981"/>
              <a:gd name="connsiteX247" fmla="*/ 336386 w 849540"/>
              <a:gd name="connsiteY247" fmla="*/ 767659 h 892981"/>
              <a:gd name="connsiteX248" fmla="*/ 358115 w 849540"/>
              <a:gd name="connsiteY248" fmla="*/ 767659 h 892981"/>
              <a:gd name="connsiteX249" fmla="*/ 358115 w 849540"/>
              <a:gd name="connsiteY249" fmla="*/ 770933 h 892981"/>
              <a:gd name="connsiteX250" fmla="*/ 369724 w 849540"/>
              <a:gd name="connsiteY250" fmla="*/ 782542 h 892981"/>
              <a:gd name="connsiteX251" fmla="*/ 381333 w 849540"/>
              <a:gd name="connsiteY251" fmla="*/ 770933 h 892981"/>
              <a:gd name="connsiteX252" fmla="*/ 381296 w 849540"/>
              <a:gd name="connsiteY252" fmla="*/ 741168 h 892981"/>
              <a:gd name="connsiteX253" fmla="*/ 369687 w 849540"/>
              <a:gd name="connsiteY253" fmla="*/ 729559 h 892981"/>
              <a:gd name="connsiteX254" fmla="*/ 272133 w 849540"/>
              <a:gd name="connsiteY254" fmla="*/ 798131 h 892981"/>
              <a:gd name="connsiteX255" fmla="*/ 230052 w 849540"/>
              <a:gd name="connsiteY255" fmla="*/ 756049 h 892981"/>
              <a:gd name="connsiteX256" fmla="*/ 272133 w 849540"/>
              <a:gd name="connsiteY256" fmla="*/ 713968 h 892981"/>
              <a:gd name="connsiteX257" fmla="*/ 314215 w 849540"/>
              <a:gd name="connsiteY257" fmla="*/ 756049 h 892981"/>
              <a:gd name="connsiteX258" fmla="*/ 272133 w 849540"/>
              <a:gd name="connsiteY258" fmla="*/ 798131 h 892981"/>
              <a:gd name="connsiteX259" fmla="*/ 306289 w 849540"/>
              <a:gd name="connsiteY259" fmla="*/ 135620 h 892981"/>
              <a:gd name="connsiteX260" fmla="*/ 317898 w 849540"/>
              <a:gd name="connsiteY260" fmla="*/ 124010 h 892981"/>
              <a:gd name="connsiteX261" fmla="*/ 317898 w 849540"/>
              <a:gd name="connsiteY261" fmla="*/ 120736 h 892981"/>
              <a:gd name="connsiteX262" fmla="*/ 339626 w 849540"/>
              <a:gd name="connsiteY262" fmla="*/ 120736 h 892981"/>
              <a:gd name="connsiteX263" fmla="*/ 350268 w 849540"/>
              <a:gd name="connsiteY263" fmla="*/ 146335 h 892981"/>
              <a:gd name="connsiteX264" fmla="*/ 334901 w 849540"/>
              <a:gd name="connsiteY264" fmla="*/ 161701 h 892981"/>
              <a:gd name="connsiteX265" fmla="*/ 332594 w 849540"/>
              <a:gd name="connsiteY265" fmla="*/ 159395 h 892981"/>
              <a:gd name="connsiteX266" fmla="*/ 316185 w 849540"/>
              <a:gd name="connsiteY266" fmla="*/ 159395 h 892981"/>
              <a:gd name="connsiteX267" fmla="*/ 316185 w 849540"/>
              <a:gd name="connsiteY267" fmla="*/ 175803 h 892981"/>
              <a:gd name="connsiteX268" fmla="*/ 337207 w 849540"/>
              <a:gd name="connsiteY268" fmla="*/ 196825 h 892981"/>
              <a:gd name="connsiteX269" fmla="*/ 345393 w 849540"/>
              <a:gd name="connsiteY269" fmla="*/ 200211 h 892981"/>
              <a:gd name="connsiteX270" fmla="*/ 353578 w 849540"/>
              <a:gd name="connsiteY270" fmla="*/ 196825 h 892981"/>
              <a:gd name="connsiteX271" fmla="*/ 353578 w 849540"/>
              <a:gd name="connsiteY271" fmla="*/ 180416 h 892981"/>
              <a:gd name="connsiteX272" fmla="*/ 351271 w 849540"/>
              <a:gd name="connsiteY272" fmla="*/ 178109 h 892981"/>
              <a:gd name="connsiteX273" fmla="*/ 366638 w 849540"/>
              <a:gd name="connsiteY273" fmla="*/ 162743 h 892981"/>
              <a:gd name="connsiteX274" fmla="*/ 392237 w 849540"/>
              <a:gd name="connsiteY274" fmla="*/ 173384 h 892981"/>
              <a:gd name="connsiteX275" fmla="*/ 392237 w 849540"/>
              <a:gd name="connsiteY275" fmla="*/ 195112 h 892981"/>
              <a:gd name="connsiteX276" fmla="*/ 388962 w 849540"/>
              <a:gd name="connsiteY276" fmla="*/ 195112 h 892981"/>
              <a:gd name="connsiteX277" fmla="*/ 377353 w 849540"/>
              <a:gd name="connsiteY277" fmla="*/ 206721 h 892981"/>
              <a:gd name="connsiteX278" fmla="*/ 388962 w 849540"/>
              <a:gd name="connsiteY278" fmla="*/ 218331 h 892981"/>
              <a:gd name="connsiteX279" fmla="*/ 418691 w 849540"/>
              <a:gd name="connsiteY279" fmla="*/ 218331 h 892981"/>
              <a:gd name="connsiteX280" fmla="*/ 430300 w 849540"/>
              <a:gd name="connsiteY280" fmla="*/ 206721 h 892981"/>
              <a:gd name="connsiteX281" fmla="*/ 418691 w 849540"/>
              <a:gd name="connsiteY281" fmla="*/ 195112 h 892981"/>
              <a:gd name="connsiteX282" fmla="*/ 415417 w 849540"/>
              <a:gd name="connsiteY282" fmla="*/ 195112 h 892981"/>
              <a:gd name="connsiteX283" fmla="*/ 415417 w 849540"/>
              <a:gd name="connsiteY283" fmla="*/ 173384 h 892981"/>
              <a:gd name="connsiteX284" fmla="*/ 441015 w 849540"/>
              <a:gd name="connsiteY284" fmla="*/ 162743 h 892981"/>
              <a:gd name="connsiteX285" fmla="*/ 456382 w 849540"/>
              <a:gd name="connsiteY285" fmla="*/ 178109 h 892981"/>
              <a:gd name="connsiteX286" fmla="*/ 454075 w 849540"/>
              <a:gd name="connsiteY286" fmla="*/ 180416 h 892981"/>
              <a:gd name="connsiteX287" fmla="*/ 454075 w 849540"/>
              <a:gd name="connsiteY287" fmla="*/ 196825 h 892981"/>
              <a:gd name="connsiteX288" fmla="*/ 462260 w 849540"/>
              <a:gd name="connsiteY288" fmla="*/ 200211 h 892981"/>
              <a:gd name="connsiteX289" fmla="*/ 470446 w 849540"/>
              <a:gd name="connsiteY289" fmla="*/ 196825 h 892981"/>
              <a:gd name="connsiteX290" fmla="*/ 491468 w 849540"/>
              <a:gd name="connsiteY290" fmla="*/ 175803 h 892981"/>
              <a:gd name="connsiteX291" fmla="*/ 491468 w 849540"/>
              <a:gd name="connsiteY291" fmla="*/ 159395 h 892981"/>
              <a:gd name="connsiteX292" fmla="*/ 475059 w 849540"/>
              <a:gd name="connsiteY292" fmla="*/ 159395 h 892981"/>
              <a:gd name="connsiteX293" fmla="*/ 472752 w 849540"/>
              <a:gd name="connsiteY293" fmla="*/ 161701 h 892981"/>
              <a:gd name="connsiteX294" fmla="*/ 457385 w 849540"/>
              <a:gd name="connsiteY294" fmla="*/ 146335 h 892981"/>
              <a:gd name="connsiteX295" fmla="*/ 468027 w 849540"/>
              <a:gd name="connsiteY295" fmla="*/ 120736 h 892981"/>
              <a:gd name="connsiteX296" fmla="*/ 489755 w 849540"/>
              <a:gd name="connsiteY296" fmla="*/ 120736 h 892981"/>
              <a:gd name="connsiteX297" fmla="*/ 489755 w 849540"/>
              <a:gd name="connsiteY297" fmla="*/ 124010 h 892981"/>
              <a:gd name="connsiteX298" fmla="*/ 501364 w 849540"/>
              <a:gd name="connsiteY298" fmla="*/ 135620 h 892981"/>
              <a:gd name="connsiteX299" fmla="*/ 512973 w 849540"/>
              <a:gd name="connsiteY299" fmla="*/ 124010 h 892981"/>
              <a:gd name="connsiteX300" fmla="*/ 512973 w 849540"/>
              <a:gd name="connsiteY300" fmla="*/ 94282 h 892981"/>
              <a:gd name="connsiteX301" fmla="*/ 501364 w 849540"/>
              <a:gd name="connsiteY301" fmla="*/ 82673 h 892981"/>
              <a:gd name="connsiteX302" fmla="*/ 489755 w 849540"/>
              <a:gd name="connsiteY302" fmla="*/ 94282 h 892981"/>
              <a:gd name="connsiteX303" fmla="*/ 489755 w 849540"/>
              <a:gd name="connsiteY303" fmla="*/ 97556 h 892981"/>
              <a:gd name="connsiteX304" fmla="*/ 468027 w 849540"/>
              <a:gd name="connsiteY304" fmla="*/ 97556 h 892981"/>
              <a:gd name="connsiteX305" fmla="*/ 457385 w 849540"/>
              <a:gd name="connsiteY305" fmla="*/ 71958 h 892981"/>
              <a:gd name="connsiteX306" fmla="*/ 472752 w 849540"/>
              <a:gd name="connsiteY306" fmla="*/ 56591 h 892981"/>
              <a:gd name="connsiteX307" fmla="*/ 475059 w 849540"/>
              <a:gd name="connsiteY307" fmla="*/ 58898 h 892981"/>
              <a:gd name="connsiteX308" fmla="*/ 483245 w 849540"/>
              <a:gd name="connsiteY308" fmla="*/ 62284 h 892981"/>
              <a:gd name="connsiteX309" fmla="*/ 491430 w 849540"/>
              <a:gd name="connsiteY309" fmla="*/ 58898 h 892981"/>
              <a:gd name="connsiteX310" fmla="*/ 491430 w 849540"/>
              <a:gd name="connsiteY310" fmla="*/ 42489 h 892981"/>
              <a:gd name="connsiteX311" fmla="*/ 470408 w 849540"/>
              <a:gd name="connsiteY311" fmla="*/ 21468 h 892981"/>
              <a:gd name="connsiteX312" fmla="*/ 454000 w 849540"/>
              <a:gd name="connsiteY312" fmla="*/ 21468 h 892981"/>
              <a:gd name="connsiteX313" fmla="*/ 454000 w 849540"/>
              <a:gd name="connsiteY313" fmla="*/ 37876 h 892981"/>
              <a:gd name="connsiteX314" fmla="*/ 456307 w 849540"/>
              <a:gd name="connsiteY314" fmla="*/ 40183 h 892981"/>
              <a:gd name="connsiteX315" fmla="*/ 440940 w 849540"/>
              <a:gd name="connsiteY315" fmla="*/ 55550 h 892981"/>
              <a:gd name="connsiteX316" fmla="*/ 415341 w 849540"/>
              <a:gd name="connsiteY316" fmla="*/ 44908 h 892981"/>
              <a:gd name="connsiteX317" fmla="*/ 415341 w 849540"/>
              <a:gd name="connsiteY317" fmla="*/ 23180 h 892981"/>
              <a:gd name="connsiteX318" fmla="*/ 418616 w 849540"/>
              <a:gd name="connsiteY318" fmla="*/ 23180 h 892981"/>
              <a:gd name="connsiteX319" fmla="*/ 430225 w 849540"/>
              <a:gd name="connsiteY319" fmla="*/ 11571 h 892981"/>
              <a:gd name="connsiteX320" fmla="*/ 418728 w 849540"/>
              <a:gd name="connsiteY320" fmla="*/ 0 h 892981"/>
              <a:gd name="connsiteX321" fmla="*/ 389000 w 849540"/>
              <a:gd name="connsiteY321" fmla="*/ 0 h 892981"/>
              <a:gd name="connsiteX322" fmla="*/ 377391 w 849540"/>
              <a:gd name="connsiteY322" fmla="*/ 11609 h 892981"/>
              <a:gd name="connsiteX323" fmla="*/ 389000 w 849540"/>
              <a:gd name="connsiteY323" fmla="*/ 23218 h 892981"/>
              <a:gd name="connsiteX324" fmla="*/ 392274 w 849540"/>
              <a:gd name="connsiteY324" fmla="*/ 23218 h 892981"/>
              <a:gd name="connsiteX325" fmla="*/ 392274 w 849540"/>
              <a:gd name="connsiteY325" fmla="*/ 44947 h 892981"/>
              <a:gd name="connsiteX326" fmla="*/ 366675 w 849540"/>
              <a:gd name="connsiteY326" fmla="*/ 55588 h 892981"/>
              <a:gd name="connsiteX327" fmla="*/ 351309 w 849540"/>
              <a:gd name="connsiteY327" fmla="*/ 40221 h 892981"/>
              <a:gd name="connsiteX328" fmla="*/ 353616 w 849540"/>
              <a:gd name="connsiteY328" fmla="*/ 37914 h 892981"/>
              <a:gd name="connsiteX329" fmla="*/ 353616 w 849540"/>
              <a:gd name="connsiteY329" fmla="*/ 21506 h 892981"/>
              <a:gd name="connsiteX330" fmla="*/ 337207 w 849540"/>
              <a:gd name="connsiteY330" fmla="*/ 21506 h 892981"/>
              <a:gd name="connsiteX331" fmla="*/ 316185 w 849540"/>
              <a:gd name="connsiteY331" fmla="*/ 42527 h 892981"/>
              <a:gd name="connsiteX332" fmla="*/ 316185 w 849540"/>
              <a:gd name="connsiteY332" fmla="*/ 58936 h 892981"/>
              <a:gd name="connsiteX333" fmla="*/ 324371 w 849540"/>
              <a:gd name="connsiteY333" fmla="*/ 62322 h 892981"/>
              <a:gd name="connsiteX334" fmla="*/ 332556 w 849540"/>
              <a:gd name="connsiteY334" fmla="*/ 58936 h 892981"/>
              <a:gd name="connsiteX335" fmla="*/ 334863 w 849540"/>
              <a:gd name="connsiteY335" fmla="*/ 56629 h 892981"/>
              <a:gd name="connsiteX336" fmla="*/ 350230 w 849540"/>
              <a:gd name="connsiteY336" fmla="*/ 71996 h 892981"/>
              <a:gd name="connsiteX337" fmla="*/ 339589 w 849540"/>
              <a:gd name="connsiteY337" fmla="*/ 97594 h 892981"/>
              <a:gd name="connsiteX338" fmla="*/ 317860 w 849540"/>
              <a:gd name="connsiteY338" fmla="*/ 97594 h 892981"/>
              <a:gd name="connsiteX339" fmla="*/ 317860 w 849540"/>
              <a:gd name="connsiteY339" fmla="*/ 94320 h 892981"/>
              <a:gd name="connsiteX340" fmla="*/ 306251 w 849540"/>
              <a:gd name="connsiteY340" fmla="*/ 82711 h 892981"/>
              <a:gd name="connsiteX341" fmla="*/ 294642 w 849540"/>
              <a:gd name="connsiteY341" fmla="*/ 94320 h 892981"/>
              <a:gd name="connsiteX342" fmla="*/ 294642 w 849540"/>
              <a:gd name="connsiteY342" fmla="*/ 124049 h 892981"/>
              <a:gd name="connsiteX343" fmla="*/ 306288 w 849540"/>
              <a:gd name="connsiteY343" fmla="*/ 135620 h 892981"/>
              <a:gd name="connsiteX344" fmla="*/ 403844 w 849540"/>
              <a:gd name="connsiteY344" fmla="*/ 67047 h 892981"/>
              <a:gd name="connsiteX345" fmla="*/ 445925 w 849540"/>
              <a:gd name="connsiteY345" fmla="*/ 109129 h 892981"/>
              <a:gd name="connsiteX346" fmla="*/ 403844 w 849540"/>
              <a:gd name="connsiteY346" fmla="*/ 151210 h 892981"/>
              <a:gd name="connsiteX347" fmla="*/ 361762 w 849540"/>
              <a:gd name="connsiteY347" fmla="*/ 109129 h 892981"/>
              <a:gd name="connsiteX348" fmla="*/ 403844 w 849540"/>
              <a:gd name="connsiteY348" fmla="*/ 67047 h 892981"/>
              <a:gd name="connsiteX349" fmla="*/ 513829 w 849540"/>
              <a:gd name="connsiteY349" fmla="*/ 525885 h 892981"/>
              <a:gd name="connsiteX350" fmla="*/ 548022 w 849540"/>
              <a:gd name="connsiteY350" fmla="*/ 525885 h 892981"/>
              <a:gd name="connsiteX351" fmla="*/ 559631 w 849540"/>
              <a:gd name="connsiteY351" fmla="*/ 514276 h 892981"/>
              <a:gd name="connsiteX352" fmla="*/ 559631 w 849540"/>
              <a:gd name="connsiteY352" fmla="*/ 390337 h 892981"/>
              <a:gd name="connsiteX353" fmla="*/ 548022 w 849540"/>
              <a:gd name="connsiteY353" fmla="*/ 378728 h 892981"/>
              <a:gd name="connsiteX354" fmla="*/ 513829 w 849540"/>
              <a:gd name="connsiteY354" fmla="*/ 378728 h 892981"/>
              <a:gd name="connsiteX355" fmla="*/ 502220 w 849540"/>
              <a:gd name="connsiteY355" fmla="*/ 390337 h 892981"/>
              <a:gd name="connsiteX356" fmla="*/ 502220 w 849540"/>
              <a:gd name="connsiteY356" fmla="*/ 514276 h 892981"/>
              <a:gd name="connsiteX357" fmla="*/ 513829 w 849540"/>
              <a:gd name="connsiteY357" fmla="*/ 525885 h 892981"/>
              <a:gd name="connsiteX358" fmla="*/ 525438 w 849540"/>
              <a:gd name="connsiteY358" fmla="*/ 401946 h 892981"/>
              <a:gd name="connsiteX359" fmla="*/ 536451 w 849540"/>
              <a:gd name="connsiteY359" fmla="*/ 401946 h 892981"/>
              <a:gd name="connsiteX360" fmla="*/ 536451 w 849540"/>
              <a:gd name="connsiteY360" fmla="*/ 502702 h 892981"/>
              <a:gd name="connsiteX361" fmla="*/ 525438 w 849540"/>
              <a:gd name="connsiteY361" fmla="*/ 502702 h 892981"/>
              <a:gd name="connsiteX362" fmla="*/ 530945 w 849540"/>
              <a:gd name="connsiteY362" fmla="*/ 527333 h 892981"/>
              <a:gd name="connsiteX363" fmla="*/ 501552 w 849540"/>
              <a:gd name="connsiteY363" fmla="*/ 556726 h 892981"/>
              <a:gd name="connsiteX364" fmla="*/ 530945 w 849540"/>
              <a:gd name="connsiteY364" fmla="*/ 586120 h 892981"/>
              <a:gd name="connsiteX365" fmla="*/ 560338 w 849540"/>
              <a:gd name="connsiteY365" fmla="*/ 556726 h 892981"/>
              <a:gd name="connsiteX366" fmla="*/ 530945 w 849540"/>
              <a:gd name="connsiteY366" fmla="*/ 527333 h 892981"/>
              <a:gd name="connsiteX367" fmla="*/ 530945 w 849540"/>
              <a:gd name="connsiteY367" fmla="*/ 562941 h 892981"/>
              <a:gd name="connsiteX368" fmla="*/ 524731 w 849540"/>
              <a:gd name="connsiteY368" fmla="*/ 556727 h 892981"/>
              <a:gd name="connsiteX369" fmla="*/ 530945 w 849540"/>
              <a:gd name="connsiteY369" fmla="*/ 550513 h 892981"/>
              <a:gd name="connsiteX370" fmla="*/ 537158 w 849540"/>
              <a:gd name="connsiteY370" fmla="*/ 556727 h 892981"/>
              <a:gd name="connsiteX371" fmla="*/ 530945 w 849540"/>
              <a:gd name="connsiteY371" fmla="*/ 562941 h 892981"/>
              <a:gd name="connsiteX372" fmla="*/ 479488 w 849540"/>
              <a:gd name="connsiteY372" fmla="*/ 791283 h 892981"/>
              <a:gd name="connsiteX373" fmla="*/ 474130 w 849540"/>
              <a:gd name="connsiteY373" fmla="*/ 806799 h 892981"/>
              <a:gd name="connsiteX374" fmla="*/ 469070 w 849540"/>
              <a:gd name="connsiteY374" fmla="*/ 807952 h 892981"/>
              <a:gd name="connsiteX375" fmla="*/ 458614 w 849540"/>
              <a:gd name="connsiteY375" fmla="*/ 801441 h 892981"/>
              <a:gd name="connsiteX376" fmla="*/ 428142 w 849540"/>
              <a:gd name="connsiteY376" fmla="*/ 790911 h 892981"/>
              <a:gd name="connsiteX377" fmla="*/ 412627 w 849540"/>
              <a:gd name="connsiteY377" fmla="*/ 785553 h 892981"/>
              <a:gd name="connsiteX378" fmla="*/ 417984 w 849540"/>
              <a:gd name="connsiteY378" fmla="*/ 770038 h 892981"/>
              <a:gd name="connsiteX379" fmla="*/ 479487 w 849540"/>
              <a:gd name="connsiteY379" fmla="*/ 791283 h 892981"/>
              <a:gd name="connsiteX380" fmla="*/ 417278 w 849540"/>
              <a:gd name="connsiteY380" fmla="*/ 700015 h 892981"/>
              <a:gd name="connsiteX381" fmla="*/ 463303 w 849540"/>
              <a:gd name="connsiteY381" fmla="*/ 653990 h 892981"/>
              <a:gd name="connsiteX382" fmla="*/ 474912 w 849540"/>
              <a:gd name="connsiteY382" fmla="*/ 665599 h 892981"/>
              <a:gd name="connsiteX383" fmla="*/ 463303 w 849540"/>
              <a:gd name="connsiteY383" fmla="*/ 677208 h 892981"/>
              <a:gd name="connsiteX384" fmla="*/ 440495 w 849540"/>
              <a:gd name="connsiteY384" fmla="*/ 700016 h 892981"/>
              <a:gd name="connsiteX385" fmla="*/ 428886 w 849540"/>
              <a:gd name="connsiteY385" fmla="*/ 711625 h 892981"/>
              <a:gd name="connsiteX386" fmla="*/ 417277 w 849540"/>
              <a:gd name="connsiteY386" fmla="*/ 700016 h 892981"/>
              <a:gd name="connsiteX387" fmla="*/ 390341 w 849540"/>
              <a:gd name="connsiteY387" fmla="*/ 436144 h 892981"/>
              <a:gd name="connsiteX388" fmla="*/ 384983 w 849540"/>
              <a:gd name="connsiteY388" fmla="*/ 451659 h 892981"/>
              <a:gd name="connsiteX389" fmla="*/ 379923 w 849540"/>
              <a:gd name="connsiteY389" fmla="*/ 452812 h 892981"/>
              <a:gd name="connsiteX390" fmla="*/ 369467 w 849540"/>
              <a:gd name="connsiteY390" fmla="*/ 446301 h 892981"/>
              <a:gd name="connsiteX391" fmla="*/ 356407 w 849540"/>
              <a:gd name="connsiteY391" fmla="*/ 434730 h 892981"/>
              <a:gd name="connsiteX392" fmla="*/ 338995 w 849540"/>
              <a:gd name="connsiteY392" fmla="*/ 435772 h 892981"/>
              <a:gd name="connsiteX393" fmla="*/ 323479 w 849540"/>
              <a:gd name="connsiteY393" fmla="*/ 430414 h 892981"/>
              <a:gd name="connsiteX394" fmla="*/ 328837 w 849540"/>
              <a:gd name="connsiteY394" fmla="*/ 414899 h 892981"/>
              <a:gd name="connsiteX395" fmla="*/ 363998 w 849540"/>
              <a:gd name="connsiteY395" fmla="*/ 412778 h 892981"/>
              <a:gd name="connsiteX396" fmla="*/ 390340 w 849540"/>
              <a:gd name="connsiteY396" fmla="*/ 436144 h 892981"/>
              <a:gd name="connsiteX397" fmla="*/ 391829 w 849540"/>
              <a:gd name="connsiteY397" fmla="*/ 348335 h 892981"/>
              <a:gd name="connsiteX398" fmla="*/ 380220 w 849540"/>
              <a:gd name="connsiteY398" fmla="*/ 336726 h 892981"/>
              <a:gd name="connsiteX399" fmla="*/ 426245 w 849540"/>
              <a:gd name="connsiteY399" fmla="*/ 290701 h 892981"/>
              <a:gd name="connsiteX400" fmla="*/ 437854 w 849540"/>
              <a:gd name="connsiteY400" fmla="*/ 302310 h 892981"/>
              <a:gd name="connsiteX401" fmla="*/ 426245 w 849540"/>
              <a:gd name="connsiteY401" fmla="*/ 313919 h 892981"/>
              <a:gd name="connsiteX402" fmla="*/ 403437 w 849540"/>
              <a:gd name="connsiteY402" fmla="*/ 336727 h 892981"/>
              <a:gd name="connsiteX403" fmla="*/ 391828 w 849540"/>
              <a:gd name="connsiteY403" fmla="*/ 348336 h 892981"/>
              <a:gd name="connsiteX404" fmla="*/ 159771 w 849540"/>
              <a:gd name="connsiteY404" fmla="*/ 143138 h 892981"/>
              <a:gd name="connsiteX405" fmla="*/ 221274 w 849540"/>
              <a:gd name="connsiteY405" fmla="*/ 164383 h 892981"/>
              <a:gd name="connsiteX406" fmla="*/ 215916 w 849540"/>
              <a:gd name="connsiteY406" fmla="*/ 179898 h 892981"/>
              <a:gd name="connsiteX407" fmla="*/ 210856 w 849540"/>
              <a:gd name="connsiteY407" fmla="*/ 181052 h 892981"/>
              <a:gd name="connsiteX408" fmla="*/ 200401 w 849540"/>
              <a:gd name="connsiteY408" fmla="*/ 174541 h 892981"/>
              <a:gd name="connsiteX409" fmla="*/ 169928 w 849540"/>
              <a:gd name="connsiteY409" fmla="*/ 164011 h 892981"/>
              <a:gd name="connsiteX410" fmla="*/ 154413 w 849540"/>
              <a:gd name="connsiteY410" fmla="*/ 158653 h 892981"/>
              <a:gd name="connsiteX411" fmla="*/ 159771 w 849540"/>
              <a:gd name="connsiteY411" fmla="*/ 143138 h 892981"/>
              <a:gd name="connsiteX412" fmla="*/ 210075 w 849540"/>
              <a:gd name="connsiteY412" fmla="*/ 539987 h 892981"/>
              <a:gd name="connsiteX413" fmla="*/ 221684 w 849540"/>
              <a:gd name="connsiteY413" fmla="*/ 551596 h 892981"/>
              <a:gd name="connsiteX414" fmla="*/ 210075 w 849540"/>
              <a:gd name="connsiteY414" fmla="*/ 563205 h 892981"/>
              <a:gd name="connsiteX415" fmla="*/ 187267 w 849540"/>
              <a:gd name="connsiteY415" fmla="*/ 586013 h 892981"/>
              <a:gd name="connsiteX416" fmla="*/ 175658 w 849540"/>
              <a:gd name="connsiteY416" fmla="*/ 597622 h 892981"/>
              <a:gd name="connsiteX417" fmla="*/ 164049 w 849540"/>
              <a:gd name="connsiteY417" fmla="*/ 586013 h 892981"/>
              <a:gd name="connsiteX418" fmla="*/ 210074 w 849540"/>
              <a:gd name="connsiteY418" fmla="*/ 539988 h 892981"/>
              <a:gd name="connsiteX419" fmla="*/ 68543 w 849540"/>
              <a:gd name="connsiteY419" fmla="*/ 630102 h 892981"/>
              <a:gd name="connsiteX420" fmla="*/ 53027 w 849540"/>
              <a:gd name="connsiteY420" fmla="*/ 624744 h 892981"/>
              <a:gd name="connsiteX421" fmla="*/ 58385 w 849540"/>
              <a:gd name="connsiteY421" fmla="*/ 609229 h 892981"/>
              <a:gd name="connsiteX422" fmla="*/ 119888 w 849540"/>
              <a:gd name="connsiteY422" fmla="*/ 630475 h 892981"/>
              <a:gd name="connsiteX423" fmla="*/ 114530 w 849540"/>
              <a:gd name="connsiteY423" fmla="*/ 645990 h 892981"/>
              <a:gd name="connsiteX424" fmla="*/ 109470 w 849540"/>
              <a:gd name="connsiteY424" fmla="*/ 647143 h 892981"/>
              <a:gd name="connsiteX425" fmla="*/ 99015 w 849540"/>
              <a:gd name="connsiteY425" fmla="*/ 640632 h 892981"/>
              <a:gd name="connsiteX426" fmla="*/ 68542 w 849540"/>
              <a:gd name="connsiteY426" fmla="*/ 630102 h 892981"/>
              <a:gd name="connsiteX427" fmla="*/ 552565 w 849540"/>
              <a:gd name="connsiteY427" fmla="*/ 811973 h 892981"/>
              <a:gd name="connsiteX428" fmla="*/ 540956 w 849540"/>
              <a:gd name="connsiteY428" fmla="*/ 823582 h 892981"/>
              <a:gd name="connsiteX429" fmla="*/ 518148 w 849540"/>
              <a:gd name="connsiteY429" fmla="*/ 846389 h 892981"/>
              <a:gd name="connsiteX430" fmla="*/ 506539 w 849540"/>
              <a:gd name="connsiteY430" fmla="*/ 857998 h 892981"/>
              <a:gd name="connsiteX431" fmla="*/ 494930 w 849540"/>
              <a:gd name="connsiteY431" fmla="*/ 846389 h 892981"/>
              <a:gd name="connsiteX432" fmla="*/ 540955 w 849540"/>
              <a:gd name="connsiteY432" fmla="*/ 800365 h 892981"/>
              <a:gd name="connsiteX433" fmla="*/ 552564 w 849540"/>
              <a:gd name="connsiteY433" fmla="*/ 811974 h 892981"/>
              <a:gd name="connsiteX434" fmla="*/ 127702 w 849540"/>
              <a:gd name="connsiteY434" fmla="*/ 705074 h 892981"/>
              <a:gd name="connsiteX435" fmla="*/ 116093 w 849540"/>
              <a:gd name="connsiteY435" fmla="*/ 716683 h 892981"/>
              <a:gd name="connsiteX436" fmla="*/ 93286 w 849540"/>
              <a:gd name="connsiteY436" fmla="*/ 739490 h 892981"/>
              <a:gd name="connsiteX437" fmla="*/ 81677 w 849540"/>
              <a:gd name="connsiteY437" fmla="*/ 751099 h 892981"/>
              <a:gd name="connsiteX438" fmla="*/ 70068 w 849540"/>
              <a:gd name="connsiteY438" fmla="*/ 739490 h 892981"/>
              <a:gd name="connsiteX439" fmla="*/ 116092 w 849540"/>
              <a:gd name="connsiteY439" fmla="*/ 693465 h 892981"/>
              <a:gd name="connsiteX440" fmla="*/ 127702 w 849540"/>
              <a:gd name="connsiteY440" fmla="*/ 705075 h 892981"/>
              <a:gd name="connsiteX441" fmla="*/ 109620 w 849540"/>
              <a:gd name="connsiteY441" fmla="*/ 99007 h 892981"/>
              <a:gd name="connsiteX442" fmla="*/ 155645 w 849540"/>
              <a:gd name="connsiteY442" fmla="*/ 52983 h 892981"/>
              <a:gd name="connsiteX443" fmla="*/ 167254 w 849540"/>
              <a:gd name="connsiteY443" fmla="*/ 64592 h 892981"/>
              <a:gd name="connsiteX444" fmla="*/ 155645 w 849540"/>
              <a:gd name="connsiteY444" fmla="*/ 76201 h 892981"/>
              <a:gd name="connsiteX445" fmla="*/ 132837 w 849540"/>
              <a:gd name="connsiteY445" fmla="*/ 99008 h 892981"/>
              <a:gd name="connsiteX446" fmla="*/ 121228 w 849540"/>
              <a:gd name="connsiteY446" fmla="*/ 110617 h 892981"/>
              <a:gd name="connsiteX447" fmla="*/ 109619 w 849540"/>
              <a:gd name="connsiteY447" fmla="*/ 99008 h 89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849540" h="892981">
                <a:moveTo>
                  <a:pt x="769286" y="216145"/>
                </a:moveTo>
                <a:lnTo>
                  <a:pt x="594559" y="216145"/>
                </a:lnTo>
                <a:cubicBezTo>
                  <a:pt x="550320" y="216145"/>
                  <a:pt x="514303" y="252124"/>
                  <a:pt x="514303" y="296401"/>
                </a:cubicBezTo>
                <a:lnTo>
                  <a:pt x="514303" y="320213"/>
                </a:lnTo>
                <a:cubicBezTo>
                  <a:pt x="505150" y="323785"/>
                  <a:pt x="497449" y="330408"/>
                  <a:pt x="492165" y="339486"/>
                </a:cubicBezTo>
                <a:lnTo>
                  <a:pt x="368674" y="553427"/>
                </a:lnTo>
                <a:cubicBezTo>
                  <a:pt x="360451" y="567640"/>
                  <a:pt x="360451" y="583937"/>
                  <a:pt x="368674" y="598150"/>
                </a:cubicBezTo>
                <a:cubicBezTo>
                  <a:pt x="376896" y="612363"/>
                  <a:pt x="390998" y="620512"/>
                  <a:pt x="407406" y="620512"/>
                </a:cubicBezTo>
                <a:lnTo>
                  <a:pt x="582990" y="620512"/>
                </a:lnTo>
                <a:lnTo>
                  <a:pt x="582990" y="837691"/>
                </a:lnTo>
                <a:cubicBezTo>
                  <a:pt x="582990" y="868164"/>
                  <a:pt x="607770" y="892981"/>
                  <a:pt x="638280" y="892981"/>
                </a:cubicBezTo>
                <a:cubicBezTo>
                  <a:pt x="656028" y="892981"/>
                  <a:pt x="671840" y="884572"/>
                  <a:pt x="681960" y="871550"/>
                </a:cubicBezTo>
                <a:cubicBezTo>
                  <a:pt x="692044" y="884572"/>
                  <a:pt x="707894" y="892981"/>
                  <a:pt x="725604" y="892981"/>
                </a:cubicBezTo>
                <a:cubicBezTo>
                  <a:pt x="756076" y="892981"/>
                  <a:pt x="780894" y="868201"/>
                  <a:pt x="780894" y="837691"/>
                </a:cubicBezTo>
                <a:lnTo>
                  <a:pt x="780894" y="524928"/>
                </a:lnTo>
                <a:cubicBezTo>
                  <a:pt x="819663" y="519310"/>
                  <a:pt x="849541" y="485824"/>
                  <a:pt x="849541" y="445529"/>
                </a:cubicBezTo>
                <a:lnTo>
                  <a:pt x="849541" y="296367"/>
                </a:lnTo>
                <a:cubicBezTo>
                  <a:pt x="849541" y="252129"/>
                  <a:pt x="813525" y="216149"/>
                  <a:pt x="769285" y="216149"/>
                </a:cubicBezTo>
                <a:close/>
                <a:moveTo>
                  <a:pt x="388771" y="586582"/>
                </a:moveTo>
                <a:cubicBezTo>
                  <a:pt x="384753" y="579661"/>
                  <a:pt x="384753" y="571997"/>
                  <a:pt x="388771" y="565076"/>
                </a:cubicBezTo>
                <a:lnTo>
                  <a:pt x="512301" y="351097"/>
                </a:lnTo>
                <a:cubicBezTo>
                  <a:pt x="516320" y="344177"/>
                  <a:pt x="522943" y="340344"/>
                  <a:pt x="530942" y="340344"/>
                </a:cubicBezTo>
                <a:cubicBezTo>
                  <a:pt x="538941" y="340344"/>
                  <a:pt x="545564" y="344177"/>
                  <a:pt x="549582" y="351097"/>
                </a:cubicBezTo>
                <a:lnTo>
                  <a:pt x="673112" y="565038"/>
                </a:lnTo>
                <a:cubicBezTo>
                  <a:pt x="677130" y="571959"/>
                  <a:pt x="677130" y="579623"/>
                  <a:pt x="673112" y="586544"/>
                </a:cubicBezTo>
                <a:cubicBezTo>
                  <a:pt x="669093" y="593465"/>
                  <a:pt x="662470" y="597297"/>
                  <a:pt x="654471" y="597297"/>
                </a:cubicBezTo>
                <a:lnTo>
                  <a:pt x="407412" y="597334"/>
                </a:lnTo>
                <a:cubicBezTo>
                  <a:pt x="399375" y="597334"/>
                  <a:pt x="392789" y="593501"/>
                  <a:pt x="388771" y="586581"/>
                </a:cubicBezTo>
                <a:close/>
                <a:moveTo>
                  <a:pt x="826331" y="445526"/>
                </a:moveTo>
                <a:cubicBezTo>
                  <a:pt x="826331" y="473022"/>
                  <a:pt x="806797" y="496016"/>
                  <a:pt x="780901" y="501374"/>
                </a:cubicBezTo>
                <a:lnTo>
                  <a:pt x="780901" y="340859"/>
                </a:lnTo>
                <a:cubicBezTo>
                  <a:pt x="780901" y="334459"/>
                  <a:pt x="775730" y="329250"/>
                  <a:pt x="769292" y="329250"/>
                </a:cubicBezTo>
                <a:cubicBezTo>
                  <a:pt x="762893" y="329250"/>
                  <a:pt x="757683" y="334421"/>
                  <a:pt x="757683" y="340859"/>
                </a:cubicBezTo>
                <a:lnTo>
                  <a:pt x="757683" y="837683"/>
                </a:lnTo>
                <a:cubicBezTo>
                  <a:pt x="757683" y="855356"/>
                  <a:pt x="743284" y="869755"/>
                  <a:pt x="725611" y="869755"/>
                </a:cubicBezTo>
                <a:cubicBezTo>
                  <a:pt x="707937" y="869755"/>
                  <a:pt x="693538" y="855356"/>
                  <a:pt x="693538" y="837683"/>
                </a:cubicBezTo>
                <a:lnTo>
                  <a:pt x="693538" y="659575"/>
                </a:lnTo>
                <a:cubicBezTo>
                  <a:pt x="693538" y="653175"/>
                  <a:pt x="688366" y="647966"/>
                  <a:pt x="681929" y="647966"/>
                </a:cubicBezTo>
                <a:cubicBezTo>
                  <a:pt x="675529" y="647966"/>
                  <a:pt x="670320" y="653138"/>
                  <a:pt x="670320" y="659575"/>
                </a:cubicBezTo>
                <a:lnTo>
                  <a:pt x="670320" y="837683"/>
                </a:lnTo>
                <a:cubicBezTo>
                  <a:pt x="670320" y="855356"/>
                  <a:pt x="655921" y="869755"/>
                  <a:pt x="638247" y="869755"/>
                </a:cubicBezTo>
                <a:cubicBezTo>
                  <a:pt x="620574" y="869755"/>
                  <a:pt x="606175" y="855356"/>
                  <a:pt x="606175" y="837683"/>
                </a:cubicBezTo>
                <a:lnTo>
                  <a:pt x="606175" y="620503"/>
                </a:lnTo>
                <a:lnTo>
                  <a:pt x="654469" y="620503"/>
                </a:lnTo>
                <a:cubicBezTo>
                  <a:pt x="670878" y="620503"/>
                  <a:pt x="684979" y="612355"/>
                  <a:pt x="693202" y="598141"/>
                </a:cubicBezTo>
                <a:cubicBezTo>
                  <a:pt x="701425" y="583928"/>
                  <a:pt x="701425" y="567632"/>
                  <a:pt x="693202" y="553419"/>
                </a:cubicBezTo>
                <a:lnTo>
                  <a:pt x="569634" y="339478"/>
                </a:lnTo>
                <a:cubicBezTo>
                  <a:pt x="562565" y="327199"/>
                  <a:pt x="551068" y="319497"/>
                  <a:pt x="537524" y="317600"/>
                </a:cubicBezTo>
                <a:lnTo>
                  <a:pt x="537524" y="296354"/>
                </a:lnTo>
                <a:cubicBezTo>
                  <a:pt x="537524" y="264914"/>
                  <a:pt x="563123" y="239316"/>
                  <a:pt x="594563" y="239316"/>
                </a:cubicBezTo>
                <a:lnTo>
                  <a:pt x="769290" y="239316"/>
                </a:lnTo>
                <a:cubicBezTo>
                  <a:pt x="800730" y="239316"/>
                  <a:pt x="826328" y="264914"/>
                  <a:pt x="826328" y="296354"/>
                </a:cubicBezTo>
                <a:close/>
                <a:moveTo>
                  <a:pt x="681932" y="197543"/>
                </a:moveTo>
                <a:cubicBezTo>
                  <a:pt x="736365" y="197543"/>
                  <a:pt x="780678" y="153230"/>
                  <a:pt x="780678" y="98797"/>
                </a:cubicBezTo>
                <a:cubicBezTo>
                  <a:pt x="780678" y="44325"/>
                  <a:pt x="736402" y="13"/>
                  <a:pt x="681932" y="13"/>
                </a:cubicBezTo>
                <a:cubicBezTo>
                  <a:pt x="627498" y="13"/>
                  <a:pt x="583186" y="44326"/>
                  <a:pt x="583186" y="98759"/>
                </a:cubicBezTo>
                <a:cubicBezTo>
                  <a:pt x="583186" y="153230"/>
                  <a:pt x="627499" y="197543"/>
                  <a:pt x="681932" y="197543"/>
                </a:cubicBezTo>
                <a:close/>
                <a:moveTo>
                  <a:pt x="681932" y="23188"/>
                </a:moveTo>
                <a:cubicBezTo>
                  <a:pt x="723604" y="23188"/>
                  <a:pt x="757499" y="57083"/>
                  <a:pt x="757499" y="98755"/>
                </a:cubicBezTo>
                <a:cubicBezTo>
                  <a:pt x="757499" y="140427"/>
                  <a:pt x="723604" y="174323"/>
                  <a:pt x="681932" y="174323"/>
                </a:cubicBezTo>
                <a:cubicBezTo>
                  <a:pt x="640260" y="174323"/>
                  <a:pt x="606364" y="140427"/>
                  <a:pt x="606364" y="98755"/>
                </a:cubicBezTo>
                <a:cubicBezTo>
                  <a:pt x="606402" y="57083"/>
                  <a:pt x="640297" y="23188"/>
                  <a:pt x="681932" y="23188"/>
                </a:cubicBezTo>
                <a:close/>
                <a:moveTo>
                  <a:pt x="207615" y="389900"/>
                </a:moveTo>
                <a:cubicBezTo>
                  <a:pt x="207615" y="368990"/>
                  <a:pt x="190611" y="351986"/>
                  <a:pt x="169701" y="351986"/>
                </a:cubicBezTo>
                <a:cubicBezTo>
                  <a:pt x="148791" y="351986"/>
                  <a:pt x="131787" y="368990"/>
                  <a:pt x="131787" y="389900"/>
                </a:cubicBezTo>
                <a:cubicBezTo>
                  <a:pt x="131787" y="410810"/>
                  <a:pt x="148791" y="427814"/>
                  <a:pt x="169701" y="427814"/>
                </a:cubicBezTo>
                <a:cubicBezTo>
                  <a:pt x="190611" y="427852"/>
                  <a:pt x="207615" y="410848"/>
                  <a:pt x="207615" y="389900"/>
                </a:cubicBezTo>
                <a:close/>
                <a:moveTo>
                  <a:pt x="154968" y="389900"/>
                </a:moveTo>
                <a:cubicBezTo>
                  <a:pt x="154968" y="381789"/>
                  <a:pt x="161591" y="375166"/>
                  <a:pt x="169702" y="375166"/>
                </a:cubicBezTo>
                <a:cubicBezTo>
                  <a:pt x="177813" y="375166"/>
                  <a:pt x="184436" y="381789"/>
                  <a:pt x="184436" y="389900"/>
                </a:cubicBezTo>
                <a:cubicBezTo>
                  <a:pt x="184436" y="398011"/>
                  <a:pt x="177814" y="404634"/>
                  <a:pt x="169702" y="404634"/>
                </a:cubicBezTo>
                <a:cubicBezTo>
                  <a:pt x="161554" y="404634"/>
                  <a:pt x="154968" y="398049"/>
                  <a:pt x="154968" y="389900"/>
                </a:cubicBezTo>
                <a:close/>
                <a:moveTo>
                  <a:pt x="181273" y="499695"/>
                </a:moveTo>
                <a:lnTo>
                  <a:pt x="181273" y="471566"/>
                </a:lnTo>
                <a:cubicBezTo>
                  <a:pt x="195375" y="469557"/>
                  <a:pt x="208322" y="464013"/>
                  <a:pt x="219187" y="455828"/>
                </a:cubicBezTo>
                <a:lnTo>
                  <a:pt x="254534" y="491175"/>
                </a:lnTo>
                <a:cubicBezTo>
                  <a:pt x="244376" y="508587"/>
                  <a:pt x="246795" y="531396"/>
                  <a:pt x="261677" y="546279"/>
                </a:cubicBezTo>
                <a:cubicBezTo>
                  <a:pt x="270272" y="554873"/>
                  <a:pt x="281695" y="559598"/>
                  <a:pt x="293862" y="559598"/>
                </a:cubicBezTo>
                <a:cubicBezTo>
                  <a:pt x="306028" y="559598"/>
                  <a:pt x="317451" y="554873"/>
                  <a:pt x="326046" y="546279"/>
                </a:cubicBezTo>
                <a:cubicBezTo>
                  <a:pt x="334640" y="537684"/>
                  <a:pt x="339365" y="526261"/>
                  <a:pt x="339365" y="514095"/>
                </a:cubicBezTo>
                <a:cubicBezTo>
                  <a:pt x="339365" y="501928"/>
                  <a:pt x="334640" y="490505"/>
                  <a:pt x="326046" y="481911"/>
                </a:cubicBezTo>
                <a:cubicBezTo>
                  <a:pt x="317451" y="473316"/>
                  <a:pt x="306028" y="468591"/>
                  <a:pt x="293862" y="468591"/>
                </a:cubicBezTo>
                <a:cubicBezTo>
                  <a:pt x="285676" y="468591"/>
                  <a:pt x="277825" y="470749"/>
                  <a:pt x="270904" y="474767"/>
                </a:cubicBezTo>
                <a:lnTo>
                  <a:pt x="235558" y="439421"/>
                </a:lnTo>
                <a:cubicBezTo>
                  <a:pt x="243744" y="428557"/>
                  <a:pt x="249287" y="415571"/>
                  <a:pt x="251296" y="401507"/>
                </a:cubicBezTo>
                <a:lnTo>
                  <a:pt x="279424" y="401507"/>
                </a:lnTo>
                <a:cubicBezTo>
                  <a:pt x="285824" y="401507"/>
                  <a:pt x="291034" y="396335"/>
                  <a:pt x="291034" y="389898"/>
                </a:cubicBezTo>
                <a:cubicBezTo>
                  <a:pt x="291034" y="383498"/>
                  <a:pt x="285862" y="378289"/>
                  <a:pt x="279424" y="378289"/>
                </a:cubicBezTo>
                <a:lnTo>
                  <a:pt x="251296" y="378289"/>
                </a:lnTo>
                <a:cubicBezTo>
                  <a:pt x="249287" y="364187"/>
                  <a:pt x="243743" y="351239"/>
                  <a:pt x="235558" y="340374"/>
                </a:cubicBezTo>
                <a:lnTo>
                  <a:pt x="270904" y="305028"/>
                </a:lnTo>
                <a:cubicBezTo>
                  <a:pt x="288317" y="315185"/>
                  <a:pt x="311126" y="312767"/>
                  <a:pt x="326008" y="297884"/>
                </a:cubicBezTo>
                <a:cubicBezTo>
                  <a:pt x="334603" y="289289"/>
                  <a:pt x="339328" y="277866"/>
                  <a:pt x="339328" y="265700"/>
                </a:cubicBezTo>
                <a:cubicBezTo>
                  <a:pt x="339328" y="253534"/>
                  <a:pt x="334603" y="242111"/>
                  <a:pt x="326008" y="233516"/>
                </a:cubicBezTo>
                <a:cubicBezTo>
                  <a:pt x="317414" y="224921"/>
                  <a:pt x="305991" y="220196"/>
                  <a:pt x="293824" y="220196"/>
                </a:cubicBezTo>
                <a:cubicBezTo>
                  <a:pt x="281658" y="220196"/>
                  <a:pt x="270235" y="224922"/>
                  <a:pt x="261640" y="233516"/>
                </a:cubicBezTo>
                <a:cubicBezTo>
                  <a:pt x="246720" y="248436"/>
                  <a:pt x="244339" y="271207"/>
                  <a:pt x="254497" y="288620"/>
                </a:cubicBezTo>
                <a:lnTo>
                  <a:pt x="219150" y="323967"/>
                </a:lnTo>
                <a:cubicBezTo>
                  <a:pt x="208286" y="315781"/>
                  <a:pt x="195301" y="310237"/>
                  <a:pt x="181236" y="308228"/>
                </a:cubicBezTo>
                <a:lnTo>
                  <a:pt x="181236" y="280100"/>
                </a:lnTo>
                <a:cubicBezTo>
                  <a:pt x="181236" y="273700"/>
                  <a:pt x="176064" y="268491"/>
                  <a:pt x="169627" y="268491"/>
                </a:cubicBezTo>
                <a:cubicBezTo>
                  <a:pt x="163227" y="268491"/>
                  <a:pt x="158018" y="273663"/>
                  <a:pt x="158018" y="280100"/>
                </a:cubicBezTo>
                <a:lnTo>
                  <a:pt x="158018" y="308228"/>
                </a:lnTo>
                <a:cubicBezTo>
                  <a:pt x="143916" y="310238"/>
                  <a:pt x="130969" y="315781"/>
                  <a:pt x="120104" y="323967"/>
                </a:cubicBezTo>
                <a:lnTo>
                  <a:pt x="84757" y="288620"/>
                </a:lnTo>
                <a:cubicBezTo>
                  <a:pt x="94915" y="271208"/>
                  <a:pt x="92496" y="248399"/>
                  <a:pt x="77614" y="233516"/>
                </a:cubicBezTo>
                <a:cubicBezTo>
                  <a:pt x="69093" y="224921"/>
                  <a:pt x="57633" y="220196"/>
                  <a:pt x="45504" y="220196"/>
                </a:cubicBezTo>
                <a:cubicBezTo>
                  <a:pt x="33337" y="220196"/>
                  <a:pt x="21914" y="224922"/>
                  <a:pt x="13320" y="233516"/>
                </a:cubicBezTo>
                <a:cubicBezTo>
                  <a:pt x="-4428" y="251264"/>
                  <a:pt x="-4428" y="280136"/>
                  <a:pt x="13320" y="297884"/>
                </a:cubicBezTo>
                <a:cubicBezTo>
                  <a:pt x="28240" y="312804"/>
                  <a:pt x="51010" y="315185"/>
                  <a:pt x="68424" y="305028"/>
                </a:cubicBezTo>
                <a:lnTo>
                  <a:pt x="103770" y="340374"/>
                </a:lnTo>
                <a:cubicBezTo>
                  <a:pt x="95585" y="351238"/>
                  <a:pt x="90041" y="364224"/>
                  <a:pt x="88032" y="378289"/>
                </a:cubicBezTo>
                <a:lnTo>
                  <a:pt x="59904" y="378289"/>
                </a:lnTo>
                <a:cubicBezTo>
                  <a:pt x="53504" y="378289"/>
                  <a:pt x="48295" y="383460"/>
                  <a:pt x="48295" y="389898"/>
                </a:cubicBezTo>
                <a:cubicBezTo>
                  <a:pt x="48295" y="396297"/>
                  <a:pt x="53466" y="401507"/>
                  <a:pt x="59904" y="401507"/>
                </a:cubicBezTo>
                <a:lnTo>
                  <a:pt x="88032" y="401507"/>
                </a:lnTo>
                <a:cubicBezTo>
                  <a:pt x="90041" y="415608"/>
                  <a:pt x="95585" y="428556"/>
                  <a:pt x="103770" y="439421"/>
                </a:cubicBezTo>
                <a:lnTo>
                  <a:pt x="68424" y="474767"/>
                </a:lnTo>
                <a:cubicBezTo>
                  <a:pt x="51011" y="464610"/>
                  <a:pt x="28203" y="467028"/>
                  <a:pt x="13320" y="481911"/>
                </a:cubicBezTo>
                <a:cubicBezTo>
                  <a:pt x="4725" y="490506"/>
                  <a:pt x="0" y="501929"/>
                  <a:pt x="0" y="514095"/>
                </a:cubicBezTo>
                <a:cubicBezTo>
                  <a:pt x="0" y="526261"/>
                  <a:pt x="4725" y="537685"/>
                  <a:pt x="13320" y="546279"/>
                </a:cubicBezTo>
                <a:cubicBezTo>
                  <a:pt x="21915" y="554874"/>
                  <a:pt x="33337" y="559599"/>
                  <a:pt x="45504" y="559599"/>
                </a:cubicBezTo>
                <a:cubicBezTo>
                  <a:pt x="57670" y="559599"/>
                  <a:pt x="69093" y="554874"/>
                  <a:pt x="77688" y="546279"/>
                </a:cubicBezTo>
                <a:cubicBezTo>
                  <a:pt x="92608" y="531359"/>
                  <a:pt x="94989" y="508589"/>
                  <a:pt x="84832" y="491175"/>
                </a:cubicBezTo>
                <a:lnTo>
                  <a:pt x="120178" y="455829"/>
                </a:lnTo>
                <a:cubicBezTo>
                  <a:pt x="131042" y="464014"/>
                  <a:pt x="144028" y="469558"/>
                  <a:pt x="158092" y="471567"/>
                </a:cubicBezTo>
                <a:lnTo>
                  <a:pt x="158092" y="499695"/>
                </a:lnTo>
                <a:cubicBezTo>
                  <a:pt x="158092" y="506095"/>
                  <a:pt x="163264" y="511304"/>
                  <a:pt x="169701" y="511304"/>
                </a:cubicBezTo>
                <a:cubicBezTo>
                  <a:pt x="176101" y="511304"/>
                  <a:pt x="181272" y="506095"/>
                  <a:pt x="181272" y="499695"/>
                </a:cubicBezTo>
                <a:close/>
                <a:moveTo>
                  <a:pt x="278047" y="498393"/>
                </a:moveTo>
                <a:cubicBezTo>
                  <a:pt x="278084" y="498355"/>
                  <a:pt x="278122" y="498318"/>
                  <a:pt x="278196" y="498244"/>
                </a:cubicBezTo>
                <a:cubicBezTo>
                  <a:pt x="282400" y="494076"/>
                  <a:pt x="287981" y="491770"/>
                  <a:pt x="293897" y="491770"/>
                </a:cubicBezTo>
                <a:cubicBezTo>
                  <a:pt x="299850" y="491770"/>
                  <a:pt x="305468" y="494076"/>
                  <a:pt x="309672" y="498318"/>
                </a:cubicBezTo>
                <a:cubicBezTo>
                  <a:pt x="313877" y="502522"/>
                  <a:pt x="316221" y="508140"/>
                  <a:pt x="316221" y="514093"/>
                </a:cubicBezTo>
                <a:cubicBezTo>
                  <a:pt x="316221" y="520046"/>
                  <a:pt x="313914" y="525664"/>
                  <a:pt x="309672" y="529869"/>
                </a:cubicBezTo>
                <a:cubicBezTo>
                  <a:pt x="305468" y="534073"/>
                  <a:pt x="299850" y="536417"/>
                  <a:pt x="293897" y="536417"/>
                </a:cubicBezTo>
                <a:cubicBezTo>
                  <a:pt x="287944" y="536417"/>
                  <a:pt x="282326" y="534110"/>
                  <a:pt x="278122" y="529869"/>
                </a:cubicBezTo>
                <a:cubicBezTo>
                  <a:pt x="269452" y="521237"/>
                  <a:pt x="269415" y="507098"/>
                  <a:pt x="278047" y="498391"/>
                </a:cubicBezTo>
                <a:close/>
                <a:moveTo>
                  <a:pt x="278084" y="249923"/>
                </a:moveTo>
                <a:cubicBezTo>
                  <a:pt x="282289" y="245719"/>
                  <a:pt x="287907" y="243375"/>
                  <a:pt x="293860" y="243375"/>
                </a:cubicBezTo>
                <a:cubicBezTo>
                  <a:pt x="299813" y="243375"/>
                  <a:pt x="305431" y="245682"/>
                  <a:pt x="309635" y="249923"/>
                </a:cubicBezTo>
                <a:cubicBezTo>
                  <a:pt x="313839" y="254128"/>
                  <a:pt x="316183" y="259746"/>
                  <a:pt x="316183" y="265699"/>
                </a:cubicBezTo>
                <a:cubicBezTo>
                  <a:pt x="316183" y="271652"/>
                  <a:pt x="313877" y="277270"/>
                  <a:pt x="309635" y="281474"/>
                </a:cubicBezTo>
                <a:cubicBezTo>
                  <a:pt x="300966" y="290143"/>
                  <a:pt x="286827" y="290180"/>
                  <a:pt x="278121" y="281548"/>
                </a:cubicBezTo>
                <a:cubicBezTo>
                  <a:pt x="278083" y="281511"/>
                  <a:pt x="278046" y="281474"/>
                  <a:pt x="277972" y="281400"/>
                </a:cubicBezTo>
                <a:cubicBezTo>
                  <a:pt x="269414" y="272730"/>
                  <a:pt x="269414" y="258592"/>
                  <a:pt x="278083" y="249922"/>
                </a:cubicBezTo>
                <a:close/>
                <a:moveTo>
                  <a:pt x="61276" y="281512"/>
                </a:moveTo>
                <a:cubicBezTo>
                  <a:pt x="52570" y="290218"/>
                  <a:pt x="38394" y="290218"/>
                  <a:pt x="29688" y="281512"/>
                </a:cubicBezTo>
                <a:cubicBezTo>
                  <a:pt x="20981" y="272806"/>
                  <a:pt x="20981" y="258630"/>
                  <a:pt x="29688" y="249923"/>
                </a:cubicBezTo>
                <a:cubicBezTo>
                  <a:pt x="33892" y="245719"/>
                  <a:pt x="39510" y="243375"/>
                  <a:pt x="45463" y="243375"/>
                </a:cubicBezTo>
                <a:cubicBezTo>
                  <a:pt x="51416" y="243375"/>
                  <a:pt x="57034" y="245682"/>
                  <a:pt x="61238" y="249923"/>
                </a:cubicBezTo>
                <a:cubicBezTo>
                  <a:pt x="69945" y="258593"/>
                  <a:pt x="69982" y="272731"/>
                  <a:pt x="61275" y="281512"/>
                </a:cubicBezTo>
                <a:close/>
                <a:moveTo>
                  <a:pt x="61276" y="529905"/>
                </a:moveTo>
                <a:cubicBezTo>
                  <a:pt x="57072" y="534109"/>
                  <a:pt x="51454" y="536453"/>
                  <a:pt x="45501" y="536453"/>
                </a:cubicBezTo>
                <a:cubicBezTo>
                  <a:pt x="39548" y="536453"/>
                  <a:pt x="33930" y="534147"/>
                  <a:pt x="29726" y="529905"/>
                </a:cubicBezTo>
                <a:cubicBezTo>
                  <a:pt x="25521" y="525701"/>
                  <a:pt x="23177" y="520083"/>
                  <a:pt x="23177" y="514130"/>
                </a:cubicBezTo>
                <a:cubicBezTo>
                  <a:pt x="23177" y="508177"/>
                  <a:pt x="25484" y="502559"/>
                  <a:pt x="29726" y="498354"/>
                </a:cubicBezTo>
                <a:cubicBezTo>
                  <a:pt x="34079" y="494001"/>
                  <a:pt x="39772" y="491843"/>
                  <a:pt x="45501" y="491843"/>
                </a:cubicBezTo>
                <a:cubicBezTo>
                  <a:pt x="51194" y="491843"/>
                  <a:pt x="56923" y="494001"/>
                  <a:pt x="61314" y="498354"/>
                </a:cubicBezTo>
                <a:cubicBezTo>
                  <a:pt x="69984" y="507024"/>
                  <a:pt x="69984" y="521199"/>
                  <a:pt x="61277" y="529906"/>
                </a:cubicBezTo>
                <a:close/>
                <a:moveTo>
                  <a:pt x="110389" y="389935"/>
                </a:moveTo>
                <a:lnTo>
                  <a:pt x="110389" y="389898"/>
                </a:lnTo>
                <a:lnTo>
                  <a:pt x="110389" y="389861"/>
                </a:lnTo>
                <a:cubicBezTo>
                  <a:pt x="110389" y="357193"/>
                  <a:pt x="136992" y="330590"/>
                  <a:pt x="169697" y="330590"/>
                </a:cubicBezTo>
                <a:cubicBezTo>
                  <a:pt x="202365" y="330590"/>
                  <a:pt x="228969" y="357156"/>
                  <a:pt x="229006" y="389861"/>
                </a:cubicBezTo>
                <a:lnTo>
                  <a:pt x="229006" y="389898"/>
                </a:lnTo>
                <a:lnTo>
                  <a:pt x="229006" y="389935"/>
                </a:lnTo>
                <a:cubicBezTo>
                  <a:pt x="229006" y="422603"/>
                  <a:pt x="202403" y="449206"/>
                  <a:pt x="169697" y="449206"/>
                </a:cubicBezTo>
                <a:cubicBezTo>
                  <a:pt x="136992" y="449206"/>
                  <a:pt x="110389" y="422603"/>
                  <a:pt x="110389" y="389935"/>
                </a:cubicBezTo>
                <a:close/>
                <a:moveTo>
                  <a:pt x="369688" y="729559"/>
                </a:moveTo>
                <a:cubicBezTo>
                  <a:pt x="363289" y="729559"/>
                  <a:pt x="358079" y="734730"/>
                  <a:pt x="358079" y="741168"/>
                </a:cubicBezTo>
                <a:lnTo>
                  <a:pt x="358079" y="744442"/>
                </a:lnTo>
                <a:lnTo>
                  <a:pt x="336351" y="744442"/>
                </a:lnTo>
                <a:cubicBezTo>
                  <a:pt x="334676" y="735066"/>
                  <a:pt x="330956" y="726360"/>
                  <a:pt x="325709" y="718843"/>
                </a:cubicBezTo>
                <a:lnTo>
                  <a:pt x="341076" y="703477"/>
                </a:lnTo>
                <a:lnTo>
                  <a:pt x="343383" y="705784"/>
                </a:lnTo>
                <a:cubicBezTo>
                  <a:pt x="345653" y="708053"/>
                  <a:pt x="348629" y="709169"/>
                  <a:pt x="351568" y="709169"/>
                </a:cubicBezTo>
                <a:cubicBezTo>
                  <a:pt x="354545" y="709169"/>
                  <a:pt x="357484" y="708053"/>
                  <a:pt x="359791" y="705784"/>
                </a:cubicBezTo>
                <a:cubicBezTo>
                  <a:pt x="364330" y="701244"/>
                  <a:pt x="364330" y="693914"/>
                  <a:pt x="359791" y="689375"/>
                </a:cubicBezTo>
                <a:lnTo>
                  <a:pt x="338770" y="668353"/>
                </a:lnTo>
                <a:cubicBezTo>
                  <a:pt x="334230" y="663814"/>
                  <a:pt x="326900" y="663814"/>
                  <a:pt x="322361" y="668353"/>
                </a:cubicBezTo>
                <a:cubicBezTo>
                  <a:pt x="317822" y="672892"/>
                  <a:pt x="317822" y="680222"/>
                  <a:pt x="322361" y="684762"/>
                </a:cubicBezTo>
                <a:lnTo>
                  <a:pt x="324668" y="687069"/>
                </a:lnTo>
                <a:lnTo>
                  <a:pt x="309301" y="702435"/>
                </a:lnTo>
                <a:cubicBezTo>
                  <a:pt x="301748" y="697189"/>
                  <a:pt x="293079" y="693506"/>
                  <a:pt x="283703" y="691794"/>
                </a:cubicBezTo>
                <a:lnTo>
                  <a:pt x="283703" y="670066"/>
                </a:lnTo>
                <a:lnTo>
                  <a:pt x="286977" y="670066"/>
                </a:lnTo>
                <a:cubicBezTo>
                  <a:pt x="293376" y="670066"/>
                  <a:pt x="298586" y="664894"/>
                  <a:pt x="298586" y="658457"/>
                </a:cubicBezTo>
                <a:cubicBezTo>
                  <a:pt x="298586" y="652057"/>
                  <a:pt x="293414" y="646848"/>
                  <a:pt x="286977" y="646848"/>
                </a:cubicBezTo>
                <a:lnTo>
                  <a:pt x="257248" y="646848"/>
                </a:lnTo>
                <a:cubicBezTo>
                  <a:pt x="250849" y="646848"/>
                  <a:pt x="245639" y="652019"/>
                  <a:pt x="245639" y="658457"/>
                </a:cubicBezTo>
                <a:cubicBezTo>
                  <a:pt x="245639" y="664856"/>
                  <a:pt x="250811" y="670066"/>
                  <a:pt x="257248" y="670066"/>
                </a:cubicBezTo>
                <a:lnTo>
                  <a:pt x="260523" y="670066"/>
                </a:lnTo>
                <a:lnTo>
                  <a:pt x="260523" y="691794"/>
                </a:lnTo>
                <a:cubicBezTo>
                  <a:pt x="251146" y="693468"/>
                  <a:pt x="242440" y="697189"/>
                  <a:pt x="234924" y="702435"/>
                </a:cubicBezTo>
                <a:lnTo>
                  <a:pt x="219557" y="687069"/>
                </a:lnTo>
                <a:lnTo>
                  <a:pt x="221864" y="684762"/>
                </a:lnTo>
                <a:cubicBezTo>
                  <a:pt x="226404" y="680223"/>
                  <a:pt x="226404" y="672893"/>
                  <a:pt x="221864" y="668353"/>
                </a:cubicBezTo>
                <a:cubicBezTo>
                  <a:pt x="217325" y="663814"/>
                  <a:pt x="209995" y="663814"/>
                  <a:pt x="205456" y="668353"/>
                </a:cubicBezTo>
                <a:lnTo>
                  <a:pt x="184434" y="689375"/>
                </a:lnTo>
                <a:cubicBezTo>
                  <a:pt x="179895" y="693914"/>
                  <a:pt x="179895" y="701244"/>
                  <a:pt x="184434" y="705784"/>
                </a:cubicBezTo>
                <a:cubicBezTo>
                  <a:pt x="186703" y="708053"/>
                  <a:pt x="189680" y="709169"/>
                  <a:pt x="192657" y="709169"/>
                </a:cubicBezTo>
                <a:cubicBezTo>
                  <a:pt x="195633" y="709169"/>
                  <a:pt x="198573" y="708053"/>
                  <a:pt x="200842" y="705784"/>
                </a:cubicBezTo>
                <a:lnTo>
                  <a:pt x="203149" y="703477"/>
                </a:lnTo>
                <a:lnTo>
                  <a:pt x="218516" y="718843"/>
                </a:lnTo>
                <a:cubicBezTo>
                  <a:pt x="213270" y="726396"/>
                  <a:pt x="209586" y="735065"/>
                  <a:pt x="207874" y="744442"/>
                </a:cubicBezTo>
                <a:lnTo>
                  <a:pt x="186146" y="744442"/>
                </a:lnTo>
                <a:lnTo>
                  <a:pt x="186183" y="741168"/>
                </a:lnTo>
                <a:cubicBezTo>
                  <a:pt x="186183" y="734768"/>
                  <a:pt x="181011" y="729559"/>
                  <a:pt x="174574" y="729559"/>
                </a:cubicBezTo>
                <a:cubicBezTo>
                  <a:pt x="168174" y="729559"/>
                  <a:pt x="162965" y="734730"/>
                  <a:pt x="162965" y="741168"/>
                </a:cubicBezTo>
                <a:lnTo>
                  <a:pt x="162965" y="770896"/>
                </a:lnTo>
                <a:cubicBezTo>
                  <a:pt x="162965" y="777296"/>
                  <a:pt x="168137" y="782505"/>
                  <a:pt x="174574" y="782505"/>
                </a:cubicBezTo>
                <a:cubicBezTo>
                  <a:pt x="180974" y="782505"/>
                  <a:pt x="186183" y="777333"/>
                  <a:pt x="186183" y="770896"/>
                </a:cubicBezTo>
                <a:lnTo>
                  <a:pt x="186183" y="767622"/>
                </a:lnTo>
                <a:lnTo>
                  <a:pt x="207912" y="767622"/>
                </a:lnTo>
                <a:cubicBezTo>
                  <a:pt x="209586" y="776998"/>
                  <a:pt x="213307" y="785704"/>
                  <a:pt x="218553" y="793220"/>
                </a:cubicBezTo>
                <a:lnTo>
                  <a:pt x="203186" y="808624"/>
                </a:lnTo>
                <a:lnTo>
                  <a:pt x="200879" y="806317"/>
                </a:lnTo>
                <a:cubicBezTo>
                  <a:pt x="196340" y="801778"/>
                  <a:pt x="189010" y="801778"/>
                  <a:pt x="184471" y="806317"/>
                </a:cubicBezTo>
                <a:cubicBezTo>
                  <a:pt x="179931" y="810857"/>
                  <a:pt x="179931" y="818186"/>
                  <a:pt x="184471" y="822726"/>
                </a:cubicBezTo>
                <a:lnTo>
                  <a:pt x="205492" y="843748"/>
                </a:lnTo>
                <a:cubicBezTo>
                  <a:pt x="207762" y="846017"/>
                  <a:pt x="210739" y="847134"/>
                  <a:pt x="213678" y="847134"/>
                </a:cubicBezTo>
                <a:cubicBezTo>
                  <a:pt x="216655" y="847134"/>
                  <a:pt x="219594" y="846017"/>
                  <a:pt x="221901" y="843748"/>
                </a:cubicBezTo>
                <a:cubicBezTo>
                  <a:pt x="226440" y="839208"/>
                  <a:pt x="226440" y="831879"/>
                  <a:pt x="221901" y="827339"/>
                </a:cubicBezTo>
                <a:lnTo>
                  <a:pt x="219594" y="825032"/>
                </a:lnTo>
                <a:lnTo>
                  <a:pt x="234961" y="809665"/>
                </a:lnTo>
                <a:cubicBezTo>
                  <a:pt x="242514" y="814912"/>
                  <a:pt x="251183" y="818595"/>
                  <a:pt x="260559" y="820307"/>
                </a:cubicBezTo>
                <a:lnTo>
                  <a:pt x="260559" y="842035"/>
                </a:lnTo>
                <a:lnTo>
                  <a:pt x="257285" y="842035"/>
                </a:lnTo>
                <a:cubicBezTo>
                  <a:pt x="250885" y="842035"/>
                  <a:pt x="245676" y="847207"/>
                  <a:pt x="245676" y="853644"/>
                </a:cubicBezTo>
                <a:cubicBezTo>
                  <a:pt x="245676" y="860044"/>
                  <a:pt x="250847" y="865253"/>
                  <a:pt x="257285" y="865253"/>
                </a:cubicBezTo>
                <a:lnTo>
                  <a:pt x="287013" y="865253"/>
                </a:lnTo>
                <a:cubicBezTo>
                  <a:pt x="293413" y="865253"/>
                  <a:pt x="298622" y="860082"/>
                  <a:pt x="298622" y="853644"/>
                </a:cubicBezTo>
                <a:cubicBezTo>
                  <a:pt x="298622" y="847245"/>
                  <a:pt x="293451" y="842035"/>
                  <a:pt x="287013" y="842035"/>
                </a:cubicBezTo>
                <a:lnTo>
                  <a:pt x="283739" y="842035"/>
                </a:lnTo>
                <a:lnTo>
                  <a:pt x="283739" y="820307"/>
                </a:lnTo>
                <a:cubicBezTo>
                  <a:pt x="293115" y="818632"/>
                  <a:pt x="301821" y="814912"/>
                  <a:pt x="309337" y="809665"/>
                </a:cubicBezTo>
                <a:lnTo>
                  <a:pt x="324704" y="825032"/>
                </a:lnTo>
                <a:lnTo>
                  <a:pt x="322397" y="827339"/>
                </a:lnTo>
                <a:cubicBezTo>
                  <a:pt x="317858" y="831878"/>
                  <a:pt x="317858" y="839208"/>
                  <a:pt x="322397" y="843748"/>
                </a:cubicBezTo>
                <a:cubicBezTo>
                  <a:pt x="324667" y="846017"/>
                  <a:pt x="327643" y="847134"/>
                  <a:pt x="330620" y="847134"/>
                </a:cubicBezTo>
                <a:cubicBezTo>
                  <a:pt x="333597" y="847134"/>
                  <a:pt x="336536" y="846017"/>
                  <a:pt x="338806" y="843748"/>
                </a:cubicBezTo>
                <a:lnTo>
                  <a:pt x="359827" y="822726"/>
                </a:lnTo>
                <a:cubicBezTo>
                  <a:pt x="364366" y="818187"/>
                  <a:pt x="364366" y="810857"/>
                  <a:pt x="359827" y="806317"/>
                </a:cubicBezTo>
                <a:cubicBezTo>
                  <a:pt x="355288" y="801778"/>
                  <a:pt x="347958" y="801778"/>
                  <a:pt x="343418" y="806317"/>
                </a:cubicBezTo>
                <a:lnTo>
                  <a:pt x="341112" y="808624"/>
                </a:lnTo>
                <a:lnTo>
                  <a:pt x="325745" y="793257"/>
                </a:lnTo>
                <a:cubicBezTo>
                  <a:pt x="330991" y="785704"/>
                  <a:pt x="334675" y="777035"/>
                  <a:pt x="336386" y="767659"/>
                </a:cubicBezTo>
                <a:lnTo>
                  <a:pt x="358115" y="767659"/>
                </a:lnTo>
                <a:lnTo>
                  <a:pt x="358115" y="770933"/>
                </a:lnTo>
                <a:cubicBezTo>
                  <a:pt x="358115" y="777333"/>
                  <a:pt x="363286" y="782542"/>
                  <a:pt x="369724" y="782542"/>
                </a:cubicBezTo>
                <a:cubicBezTo>
                  <a:pt x="376123" y="782542"/>
                  <a:pt x="381333" y="777371"/>
                  <a:pt x="381333" y="770933"/>
                </a:cubicBezTo>
                <a:lnTo>
                  <a:pt x="381296" y="741168"/>
                </a:lnTo>
                <a:cubicBezTo>
                  <a:pt x="381296" y="734768"/>
                  <a:pt x="376087" y="729559"/>
                  <a:pt x="369687" y="729559"/>
                </a:cubicBezTo>
                <a:close/>
                <a:moveTo>
                  <a:pt x="272133" y="798131"/>
                </a:moveTo>
                <a:cubicBezTo>
                  <a:pt x="248916" y="798131"/>
                  <a:pt x="230052" y="779267"/>
                  <a:pt x="230052" y="756049"/>
                </a:cubicBezTo>
                <a:cubicBezTo>
                  <a:pt x="230052" y="732832"/>
                  <a:pt x="248916" y="713968"/>
                  <a:pt x="272133" y="713968"/>
                </a:cubicBezTo>
                <a:cubicBezTo>
                  <a:pt x="295350" y="713968"/>
                  <a:pt x="314215" y="732832"/>
                  <a:pt x="314215" y="756049"/>
                </a:cubicBezTo>
                <a:cubicBezTo>
                  <a:pt x="314215" y="779267"/>
                  <a:pt x="295350" y="798131"/>
                  <a:pt x="272133" y="798131"/>
                </a:cubicBezTo>
                <a:close/>
                <a:moveTo>
                  <a:pt x="306289" y="135620"/>
                </a:moveTo>
                <a:cubicBezTo>
                  <a:pt x="312688" y="135620"/>
                  <a:pt x="317898" y="130448"/>
                  <a:pt x="317898" y="124010"/>
                </a:cubicBezTo>
                <a:lnTo>
                  <a:pt x="317898" y="120736"/>
                </a:lnTo>
                <a:lnTo>
                  <a:pt x="339626" y="120736"/>
                </a:lnTo>
                <a:cubicBezTo>
                  <a:pt x="341301" y="130112"/>
                  <a:pt x="345021" y="138818"/>
                  <a:pt x="350268" y="146335"/>
                </a:cubicBezTo>
                <a:lnTo>
                  <a:pt x="334901" y="161701"/>
                </a:lnTo>
                <a:lnTo>
                  <a:pt x="332594" y="159395"/>
                </a:lnTo>
                <a:cubicBezTo>
                  <a:pt x="328055" y="154855"/>
                  <a:pt x="320725" y="154855"/>
                  <a:pt x="316185" y="159395"/>
                </a:cubicBezTo>
                <a:cubicBezTo>
                  <a:pt x="311646" y="163934"/>
                  <a:pt x="311646" y="171264"/>
                  <a:pt x="316185" y="175803"/>
                </a:cubicBezTo>
                <a:lnTo>
                  <a:pt x="337207" y="196825"/>
                </a:lnTo>
                <a:cubicBezTo>
                  <a:pt x="339477" y="199095"/>
                  <a:pt x="342453" y="200211"/>
                  <a:pt x="345393" y="200211"/>
                </a:cubicBezTo>
                <a:cubicBezTo>
                  <a:pt x="348369" y="200211"/>
                  <a:pt x="351309" y="199095"/>
                  <a:pt x="353578" y="196825"/>
                </a:cubicBezTo>
                <a:cubicBezTo>
                  <a:pt x="358118" y="192286"/>
                  <a:pt x="358118" y="184956"/>
                  <a:pt x="353578" y="180416"/>
                </a:cubicBezTo>
                <a:lnTo>
                  <a:pt x="351271" y="178109"/>
                </a:lnTo>
                <a:lnTo>
                  <a:pt x="366638" y="162743"/>
                </a:lnTo>
                <a:cubicBezTo>
                  <a:pt x="374191" y="167989"/>
                  <a:pt x="382860" y="171672"/>
                  <a:pt x="392237" y="173384"/>
                </a:cubicBezTo>
                <a:lnTo>
                  <a:pt x="392237" y="195112"/>
                </a:lnTo>
                <a:lnTo>
                  <a:pt x="388962" y="195112"/>
                </a:lnTo>
                <a:cubicBezTo>
                  <a:pt x="382563" y="195112"/>
                  <a:pt x="377353" y="200284"/>
                  <a:pt x="377353" y="206721"/>
                </a:cubicBezTo>
                <a:cubicBezTo>
                  <a:pt x="377353" y="213121"/>
                  <a:pt x="382525" y="218331"/>
                  <a:pt x="388962" y="218331"/>
                </a:cubicBezTo>
                <a:lnTo>
                  <a:pt x="418691" y="218331"/>
                </a:lnTo>
                <a:cubicBezTo>
                  <a:pt x="425090" y="218331"/>
                  <a:pt x="430300" y="213159"/>
                  <a:pt x="430300" y="206721"/>
                </a:cubicBezTo>
                <a:cubicBezTo>
                  <a:pt x="430300" y="200322"/>
                  <a:pt x="425128" y="195112"/>
                  <a:pt x="418691" y="195112"/>
                </a:cubicBezTo>
                <a:lnTo>
                  <a:pt x="415417" y="195112"/>
                </a:lnTo>
                <a:lnTo>
                  <a:pt x="415417" y="173384"/>
                </a:lnTo>
                <a:cubicBezTo>
                  <a:pt x="424793" y="171710"/>
                  <a:pt x="433499" y="167989"/>
                  <a:pt x="441015" y="162743"/>
                </a:cubicBezTo>
                <a:lnTo>
                  <a:pt x="456382" y="178109"/>
                </a:lnTo>
                <a:lnTo>
                  <a:pt x="454075" y="180416"/>
                </a:lnTo>
                <a:cubicBezTo>
                  <a:pt x="449536" y="184955"/>
                  <a:pt x="449536" y="192285"/>
                  <a:pt x="454075" y="196825"/>
                </a:cubicBezTo>
                <a:cubicBezTo>
                  <a:pt x="456344" y="199095"/>
                  <a:pt x="459321" y="200211"/>
                  <a:pt x="462260" y="200211"/>
                </a:cubicBezTo>
                <a:cubicBezTo>
                  <a:pt x="465237" y="200211"/>
                  <a:pt x="468176" y="199095"/>
                  <a:pt x="470446" y="196825"/>
                </a:cubicBezTo>
                <a:lnTo>
                  <a:pt x="491468" y="175803"/>
                </a:lnTo>
                <a:cubicBezTo>
                  <a:pt x="496007" y="171264"/>
                  <a:pt x="496007" y="163934"/>
                  <a:pt x="491468" y="159395"/>
                </a:cubicBezTo>
                <a:cubicBezTo>
                  <a:pt x="486928" y="154855"/>
                  <a:pt x="479599" y="154855"/>
                  <a:pt x="475059" y="159395"/>
                </a:cubicBezTo>
                <a:lnTo>
                  <a:pt x="472752" y="161701"/>
                </a:lnTo>
                <a:lnTo>
                  <a:pt x="457385" y="146335"/>
                </a:lnTo>
                <a:cubicBezTo>
                  <a:pt x="462632" y="138782"/>
                  <a:pt x="466315" y="130113"/>
                  <a:pt x="468027" y="120736"/>
                </a:cubicBezTo>
                <a:lnTo>
                  <a:pt x="489755" y="120736"/>
                </a:lnTo>
                <a:lnTo>
                  <a:pt x="489755" y="124010"/>
                </a:lnTo>
                <a:cubicBezTo>
                  <a:pt x="489755" y="130410"/>
                  <a:pt x="494927" y="135620"/>
                  <a:pt x="501364" y="135620"/>
                </a:cubicBezTo>
                <a:cubicBezTo>
                  <a:pt x="507764" y="135620"/>
                  <a:pt x="512973" y="130448"/>
                  <a:pt x="512973" y="124010"/>
                </a:cubicBezTo>
                <a:lnTo>
                  <a:pt x="512973" y="94282"/>
                </a:lnTo>
                <a:cubicBezTo>
                  <a:pt x="512973" y="87882"/>
                  <a:pt x="507802" y="82673"/>
                  <a:pt x="501364" y="82673"/>
                </a:cubicBezTo>
                <a:cubicBezTo>
                  <a:pt x="494965" y="82673"/>
                  <a:pt x="489755" y="87845"/>
                  <a:pt x="489755" y="94282"/>
                </a:cubicBezTo>
                <a:lnTo>
                  <a:pt x="489755" y="97556"/>
                </a:lnTo>
                <a:lnTo>
                  <a:pt x="468027" y="97556"/>
                </a:lnTo>
                <a:cubicBezTo>
                  <a:pt x="466352" y="88180"/>
                  <a:pt x="462632" y="79474"/>
                  <a:pt x="457385" y="71958"/>
                </a:cubicBezTo>
                <a:lnTo>
                  <a:pt x="472752" y="56591"/>
                </a:lnTo>
                <a:lnTo>
                  <a:pt x="475059" y="58898"/>
                </a:lnTo>
                <a:cubicBezTo>
                  <a:pt x="477329" y="61168"/>
                  <a:pt x="480305" y="62284"/>
                  <a:pt x="483245" y="62284"/>
                </a:cubicBezTo>
                <a:cubicBezTo>
                  <a:pt x="486221" y="62284"/>
                  <a:pt x="489160" y="61168"/>
                  <a:pt x="491430" y="58898"/>
                </a:cubicBezTo>
                <a:cubicBezTo>
                  <a:pt x="495969" y="54359"/>
                  <a:pt x="495969" y="47029"/>
                  <a:pt x="491430" y="42489"/>
                </a:cubicBezTo>
                <a:lnTo>
                  <a:pt x="470408" y="21468"/>
                </a:lnTo>
                <a:cubicBezTo>
                  <a:pt x="465869" y="16928"/>
                  <a:pt x="458539" y="16928"/>
                  <a:pt x="454000" y="21468"/>
                </a:cubicBezTo>
                <a:cubicBezTo>
                  <a:pt x="449461" y="26007"/>
                  <a:pt x="449461" y="33337"/>
                  <a:pt x="454000" y="37876"/>
                </a:cubicBezTo>
                <a:lnTo>
                  <a:pt x="456307" y="40183"/>
                </a:lnTo>
                <a:lnTo>
                  <a:pt x="440940" y="55550"/>
                </a:lnTo>
                <a:cubicBezTo>
                  <a:pt x="433387" y="50304"/>
                  <a:pt x="424718" y="46620"/>
                  <a:pt x="415341" y="44908"/>
                </a:cubicBezTo>
                <a:lnTo>
                  <a:pt x="415341" y="23180"/>
                </a:lnTo>
                <a:lnTo>
                  <a:pt x="418616" y="23180"/>
                </a:lnTo>
                <a:cubicBezTo>
                  <a:pt x="425015" y="23180"/>
                  <a:pt x="430225" y="18008"/>
                  <a:pt x="430225" y="11571"/>
                </a:cubicBezTo>
                <a:cubicBezTo>
                  <a:pt x="430299" y="5209"/>
                  <a:pt x="425127" y="0"/>
                  <a:pt x="418728" y="0"/>
                </a:cubicBezTo>
                <a:lnTo>
                  <a:pt x="389000" y="0"/>
                </a:lnTo>
                <a:cubicBezTo>
                  <a:pt x="382600" y="0"/>
                  <a:pt x="377391" y="5172"/>
                  <a:pt x="377391" y="11609"/>
                </a:cubicBezTo>
                <a:cubicBezTo>
                  <a:pt x="377391" y="18009"/>
                  <a:pt x="382562" y="23218"/>
                  <a:pt x="389000" y="23218"/>
                </a:cubicBezTo>
                <a:lnTo>
                  <a:pt x="392274" y="23218"/>
                </a:lnTo>
                <a:lnTo>
                  <a:pt x="392274" y="44947"/>
                </a:lnTo>
                <a:cubicBezTo>
                  <a:pt x="382898" y="46621"/>
                  <a:pt x="374192" y="50342"/>
                  <a:pt x="366675" y="55588"/>
                </a:cubicBezTo>
                <a:lnTo>
                  <a:pt x="351309" y="40221"/>
                </a:lnTo>
                <a:lnTo>
                  <a:pt x="353616" y="37914"/>
                </a:lnTo>
                <a:cubicBezTo>
                  <a:pt x="358155" y="33375"/>
                  <a:pt x="358155" y="26045"/>
                  <a:pt x="353616" y="21506"/>
                </a:cubicBezTo>
                <a:cubicBezTo>
                  <a:pt x="349076" y="16966"/>
                  <a:pt x="341746" y="16966"/>
                  <a:pt x="337207" y="21506"/>
                </a:cubicBezTo>
                <a:lnTo>
                  <a:pt x="316185" y="42527"/>
                </a:lnTo>
                <a:cubicBezTo>
                  <a:pt x="311646" y="47067"/>
                  <a:pt x="311646" y="54396"/>
                  <a:pt x="316185" y="58936"/>
                </a:cubicBezTo>
                <a:cubicBezTo>
                  <a:pt x="318455" y="61206"/>
                  <a:pt x="321431" y="62322"/>
                  <a:pt x="324371" y="62322"/>
                </a:cubicBezTo>
                <a:cubicBezTo>
                  <a:pt x="327347" y="62322"/>
                  <a:pt x="330287" y="61206"/>
                  <a:pt x="332556" y="58936"/>
                </a:cubicBezTo>
                <a:lnTo>
                  <a:pt x="334863" y="56629"/>
                </a:lnTo>
                <a:lnTo>
                  <a:pt x="350230" y="71996"/>
                </a:lnTo>
                <a:cubicBezTo>
                  <a:pt x="344984" y="79549"/>
                  <a:pt x="341300" y="88218"/>
                  <a:pt x="339589" y="97594"/>
                </a:cubicBezTo>
                <a:lnTo>
                  <a:pt x="317860" y="97594"/>
                </a:lnTo>
                <a:lnTo>
                  <a:pt x="317860" y="94320"/>
                </a:lnTo>
                <a:cubicBezTo>
                  <a:pt x="317860" y="87920"/>
                  <a:pt x="312688" y="82711"/>
                  <a:pt x="306251" y="82711"/>
                </a:cubicBezTo>
                <a:cubicBezTo>
                  <a:pt x="299851" y="82711"/>
                  <a:pt x="294642" y="87883"/>
                  <a:pt x="294642" y="94320"/>
                </a:cubicBezTo>
                <a:lnTo>
                  <a:pt x="294642" y="124049"/>
                </a:lnTo>
                <a:cubicBezTo>
                  <a:pt x="294679" y="130448"/>
                  <a:pt x="299851" y="135620"/>
                  <a:pt x="306288" y="135620"/>
                </a:cubicBezTo>
                <a:close/>
                <a:moveTo>
                  <a:pt x="403844" y="67047"/>
                </a:moveTo>
                <a:cubicBezTo>
                  <a:pt x="427061" y="67047"/>
                  <a:pt x="445925" y="85911"/>
                  <a:pt x="445925" y="109129"/>
                </a:cubicBezTo>
                <a:cubicBezTo>
                  <a:pt x="445925" y="132346"/>
                  <a:pt x="427061" y="151210"/>
                  <a:pt x="403844" y="151210"/>
                </a:cubicBezTo>
                <a:cubicBezTo>
                  <a:pt x="380627" y="151210"/>
                  <a:pt x="361762" y="132346"/>
                  <a:pt x="361762" y="109129"/>
                </a:cubicBezTo>
                <a:cubicBezTo>
                  <a:pt x="361725" y="85949"/>
                  <a:pt x="380627" y="67047"/>
                  <a:pt x="403844" y="67047"/>
                </a:cubicBezTo>
                <a:close/>
                <a:moveTo>
                  <a:pt x="513829" y="525885"/>
                </a:moveTo>
                <a:lnTo>
                  <a:pt x="548022" y="525885"/>
                </a:lnTo>
                <a:cubicBezTo>
                  <a:pt x="554422" y="525885"/>
                  <a:pt x="559631" y="520714"/>
                  <a:pt x="559631" y="514276"/>
                </a:cubicBezTo>
                <a:lnTo>
                  <a:pt x="559631" y="390337"/>
                </a:lnTo>
                <a:cubicBezTo>
                  <a:pt x="559631" y="383937"/>
                  <a:pt x="554459" y="378728"/>
                  <a:pt x="548022" y="378728"/>
                </a:cubicBezTo>
                <a:lnTo>
                  <a:pt x="513829" y="378728"/>
                </a:lnTo>
                <a:cubicBezTo>
                  <a:pt x="507429" y="378728"/>
                  <a:pt x="502220" y="383900"/>
                  <a:pt x="502220" y="390337"/>
                </a:cubicBezTo>
                <a:lnTo>
                  <a:pt x="502220" y="514276"/>
                </a:lnTo>
                <a:cubicBezTo>
                  <a:pt x="502257" y="520676"/>
                  <a:pt x="507429" y="525885"/>
                  <a:pt x="513829" y="525885"/>
                </a:cubicBezTo>
                <a:close/>
                <a:moveTo>
                  <a:pt x="525438" y="401946"/>
                </a:moveTo>
                <a:lnTo>
                  <a:pt x="536451" y="401946"/>
                </a:lnTo>
                <a:lnTo>
                  <a:pt x="536451" y="502702"/>
                </a:lnTo>
                <a:lnTo>
                  <a:pt x="525438" y="502702"/>
                </a:lnTo>
                <a:close/>
                <a:moveTo>
                  <a:pt x="530945" y="527333"/>
                </a:moveTo>
                <a:cubicBezTo>
                  <a:pt x="514723" y="527333"/>
                  <a:pt x="501552" y="540504"/>
                  <a:pt x="501552" y="556726"/>
                </a:cubicBezTo>
                <a:cubicBezTo>
                  <a:pt x="501552" y="572949"/>
                  <a:pt x="514723" y="586120"/>
                  <a:pt x="530945" y="586120"/>
                </a:cubicBezTo>
                <a:cubicBezTo>
                  <a:pt x="547167" y="586120"/>
                  <a:pt x="560338" y="572949"/>
                  <a:pt x="560338" y="556726"/>
                </a:cubicBezTo>
                <a:cubicBezTo>
                  <a:pt x="560338" y="540504"/>
                  <a:pt x="547167" y="527333"/>
                  <a:pt x="530945" y="527333"/>
                </a:cubicBezTo>
                <a:close/>
                <a:moveTo>
                  <a:pt x="530945" y="562941"/>
                </a:moveTo>
                <a:cubicBezTo>
                  <a:pt x="527522" y="562941"/>
                  <a:pt x="524731" y="560150"/>
                  <a:pt x="524731" y="556727"/>
                </a:cubicBezTo>
                <a:cubicBezTo>
                  <a:pt x="524731" y="553304"/>
                  <a:pt x="527522" y="550513"/>
                  <a:pt x="530945" y="550513"/>
                </a:cubicBezTo>
                <a:cubicBezTo>
                  <a:pt x="534368" y="550513"/>
                  <a:pt x="537158" y="553304"/>
                  <a:pt x="537158" y="556727"/>
                </a:cubicBezTo>
                <a:cubicBezTo>
                  <a:pt x="537158" y="560150"/>
                  <a:pt x="534368" y="562941"/>
                  <a:pt x="530945" y="562941"/>
                </a:cubicBezTo>
                <a:close/>
                <a:moveTo>
                  <a:pt x="479488" y="791283"/>
                </a:moveTo>
                <a:cubicBezTo>
                  <a:pt x="482278" y="797051"/>
                  <a:pt x="479897" y="803971"/>
                  <a:pt x="474130" y="806799"/>
                </a:cubicBezTo>
                <a:cubicBezTo>
                  <a:pt x="472493" y="807580"/>
                  <a:pt x="470781" y="807952"/>
                  <a:pt x="469070" y="807952"/>
                </a:cubicBezTo>
                <a:cubicBezTo>
                  <a:pt x="464791" y="807952"/>
                  <a:pt x="460661" y="805534"/>
                  <a:pt x="458614" y="801441"/>
                </a:cubicBezTo>
                <a:cubicBezTo>
                  <a:pt x="453108" y="790130"/>
                  <a:pt x="439453" y="785405"/>
                  <a:pt x="428142" y="790911"/>
                </a:cubicBezTo>
                <a:cubicBezTo>
                  <a:pt x="422375" y="793702"/>
                  <a:pt x="415455" y="791320"/>
                  <a:pt x="412627" y="785553"/>
                </a:cubicBezTo>
                <a:cubicBezTo>
                  <a:pt x="409836" y="779786"/>
                  <a:pt x="412217" y="772866"/>
                  <a:pt x="417984" y="770038"/>
                </a:cubicBezTo>
                <a:cubicBezTo>
                  <a:pt x="440792" y="758950"/>
                  <a:pt x="468363" y="768475"/>
                  <a:pt x="479487" y="791283"/>
                </a:cubicBezTo>
                <a:close/>
                <a:moveTo>
                  <a:pt x="417278" y="700015"/>
                </a:moveTo>
                <a:cubicBezTo>
                  <a:pt x="417278" y="674639"/>
                  <a:pt x="437928" y="653990"/>
                  <a:pt x="463303" y="653990"/>
                </a:cubicBezTo>
                <a:cubicBezTo>
                  <a:pt x="469703" y="653990"/>
                  <a:pt x="474912" y="659162"/>
                  <a:pt x="474912" y="665599"/>
                </a:cubicBezTo>
                <a:cubicBezTo>
                  <a:pt x="474912" y="671999"/>
                  <a:pt x="469740" y="677208"/>
                  <a:pt x="463303" y="677208"/>
                </a:cubicBezTo>
                <a:cubicBezTo>
                  <a:pt x="450727" y="677208"/>
                  <a:pt x="440495" y="687440"/>
                  <a:pt x="440495" y="700016"/>
                </a:cubicBezTo>
                <a:cubicBezTo>
                  <a:pt x="440495" y="706415"/>
                  <a:pt x="435324" y="711625"/>
                  <a:pt x="428886" y="711625"/>
                </a:cubicBezTo>
                <a:cubicBezTo>
                  <a:pt x="422450" y="711625"/>
                  <a:pt x="417277" y="706453"/>
                  <a:pt x="417277" y="700016"/>
                </a:cubicBezTo>
                <a:close/>
                <a:moveTo>
                  <a:pt x="390341" y="436144"/>
                </a:moveTo>
                <a:cubicBezTo>
                  <a:pt x="393131" y="441911"/>
                  <a:pt x="390750" y="448831"/>
                  <a:pt x="384983" y="451659"/>
                </a:cubicBezTo>
                <a:cubicBezTo>
                  <a:pt x="383346" y="452440"/>
                  <a:pt x="381634" y="452812"/>
                  <a:pt x="379923" y="452812"/>
                </a:cubicBezTo>
                <a:cubicBezTo>
                  <a:pt x="375644" y="452812"/>
                  <a:pt x="371477" y="450394"/>
                  <a:pt x="369467" y="446301"/>
                </a:cubicBezTo>
                <a:cubicBezTo>
                  <a:pt x="366788" y="440832"/>
                  <a:pt x="362174" y="436702"/>
                  <a:pt x="356407" y="434730"/>
                </a:cubicBezTo>
                <a:cubicBezTo>
                  <a:pt x="350640" y="432721"/>
                  <a:pt x="344464" y="433130"/>
                  <a:pt x="338995" y="435772"/>
                </a:cubicBezTo>
                <a:cubicBezTo>
                  <a:pt x="333228" y="438563"/>
                  <a:pt x="326307" y="436181"/>
                  <a:pt x="323479" y="430414"/>
                </a:cubicBezTo>
                <a:cubicBezTo>
                  <a:pt x="320689" y="424647"/>
                  <a:pt x="323070" y="417727"/>
                  <a:pt x="328837" y="414899"/>
                </a:cubicBezTo>
                <a:cubicBezTo>
                  <a:pt x="339888" y="409504"/>
                  <a:pt x="352352" y="408760"/>
                  <a:pt x="363998" y="412778"/>
                </a:cubicBezTo>
                <a:cubicBezTo>
                  <a:pt x="375607" y="416834"/>
                  <a:pt x="384982" y="425131"/>
                  <a:pt x="390340" y="436144"/>
                </a:cubicBezTo>
                <a:close/>
                <a:moveTo>
                  <a:pt x="391829" y="348335"/>
                </a:moveTo>
                <a:cubicBezTo>
                  <a:pt x="385429" y="348335"/>
                  <a:pt x="380220" y="343163"/>
                  <a:pt x="380220" y="336726"/>
                </a:cubicBezTo>
                <a:cubicBezTo>
                  <a:pt x="380220" y="311350"/>
                  <a:pt x="400870" y="290701"/>
                  <a:pt x="426245" y="290701"/>
                </a:cubicBezTo>
                <a:cubicBezTo>
                  <a:pt x="432644" y="290701"/>
                  <a:pt x="437854" y="295873"/>
                  <a:pt x="437854" y="302310"/>
                </a:cubicBezTo>
                <a:cubicBezTo>
                  <a:pt x="437854" y="308710"/>
                  <a:pt x="432682" y="313919"/>
                  <a:pt x="426245" y="313919"/>
                </a:cubicBezTo>
                <a:cubicBezTo>
                  <a:pt x="413669" y="313919"/>
                  <a:pt x="403437" y="324151"/>
                  <a:pt x="403437" y="336727"/>
                </a:cubicBezTo>
                <a:cubicBezTo>
                  <a:pt x="403400" y="343126"/>
                  <a:pt x="398228" y="348336"/>
                  <a:pt x="391828" y="348336"/>
                </a:cubicBezTo>
                <a:close/>
                <a:moveTo>
                  <a:pt x="159771" y="143138"/>
                </a:moveTo>
                <a:cubicBezTo>
                  <a:pt x="182579" y="132050"/>
                  <a:pt x="210150" y="141575"/>
                  <a:pt x="221274" y="164383"/>
                </a:cubicBezTo>
                <a:cubicBezTo>
                  <a:pt x="224065" y="170150"/>
                  <a:pt x="221683" y="177070"/>
                  <a:pt x="215916" y="179898"/>
                </a:cubicBezTo>
                <a:cubicBezTo>
                  <a:pt x="214279" y="180680"/>
                  <a:pt x="212568" y="181052"/>
                  <a:pt x="210856" y="181052"/>
                </a:cubicBezTo>
                <a:cubicBezTo>
                  <a:pt x="206577" y="181052"/>
                  <a:pt x="202410" y="178633"/>
                  <a:pt x="200401" y="174541"/>
                </a:cubicBezTo>
                <a:cubicBezTo>
                  <a:pt x="194894" y="163230"/>
                  <a:pt x="181239" y="158504"/>
                  <a:pt x="169928" y="164011"/>
                </a:cubicBezTo>
                <a:cubicBezTo>
                  <a:pt x="164161" y="166801"/>
                  <a:pt x="157241" y="164420"/>
                  <a:pt x="154413" y="158653"/>
                </a:cubicBezTo>
                <a:cubicBezTo>
                  <a:pt x="151622" y="152886"/>
                  <a:pt x="154041" y="145966"/>
                  <a:pt x="159771" y="143138"/>
                </a:cubicBezTo>
                <a:close/>
                <a:moveTo>
                  <a:pt x="210075" y="539987"/>
                </a:moveTo>
                <a:cubicBezTo>
                  <a:pt x="216474" y="539987"/>
                  <a:pt x="221684" y="545159"/>
                  <a:pt x="221684" y="551596"/>
                </a:cubicBezTo>
                <a:cubicBezTo>
                  <a:pt x="221684" y="557996"/>
                  <a:pt x="216512" y="563205"/>
                  <a:pt x="210075" y="563205"/>
                </a:cubicBezTo>
                <a:cubicBezTo>
                  <a:pt x="197499" y="563205"/>
                  <a:pt x="187267" y="573437"/>
                  <a:pt x="187267" y="586013"/>
                </a:cubicBezTo>
                <a:cubicBezTo>
                  <a:pt x="187267" y="592413"/>
                  <a:pt x="182095" y="597622"/>
                  <a:pt x="175658" y="597622"/>
                </a:cubicBezTo>
                <a:cubicBezTo>
                  <a:pt x="169258" y="597622"/>
                  <a:pt x="164049" y="592450"/>
                  <a:pt x="164049" y="586013"/>
                </a:cubicBezTo>
                <a:cubicBezTo>
                  <a:pt x="164086" y="560637"/>
                  <a:pt x="184699" y="539988"/>
                  <a:pt x="210074" y="539988"/>
                </a:cubicBezTo>
                <a:close/>
                <a:moveTo>
                  <a:pt x="68543" y="630102"/>
                </a:moveTo>
                <a:cubicBezTo>
                  <a:pt x="62776" y="632893"/>
                  <a:pt x="55855" y="630512"/>
                  <a:pt x="53027" y="624744"/>
                </a:cubicBezTo>
                <a:cubicBezTo>
                  <a:pt x="50237" y="618977"/>
                  <a:pt x="52618" y="612057"/>
                  <a:pt x="58385" y="609229"/>
                </a:cubicBezTo>
                <a:cubicBezTo>
                  <a:pt x="81193" y="598141"/>
                  <a:pt x="108764" y="607667"/>
                  <a:pt x="119888" y="630475"/>
                </a:cubicBezTo>
                <a:cubicBezTo>
                  <a:pt x="122679" y="636242"/>
                  <a:pt x="120297" y="643162"/>
                  <a:pt x="114530" y="645990"/>
                </a:cubicBezTo>
                <a:cubicBezTo>
                  <a:pt x="112893" y="646771"/>
                  <a:pt x="111182" y="647143"/>
                  <a:pt x="109470" y="647143"/>
                </a:cubicBezTo>
                <a:cubicBezTo>
                  <a:pt x="105191" y="647143"/>
                  <a:pt x="101061" y="644725"/>
                  <a:pt x="99015" y="640632"/>
                </a:cubicBezTo>
                <a:cubicBezTo>
                  <a:pt x="93508" y="629321"/>
                  <a:pt x="79853" y="624596"/>
                  <a:pt x="68542" y="630102"/>
                </a:cubicBezTo>
                <a:close/>
                <a:moveTo>
                  <a:pt x="552565" y="811973"/>
                </a:moveTo>
                <a:cubicBezTo>
                  <a:pt x="552565" y="818372"/>
                  <a:pt x="547393" y="823582"/>
                  <a:pt x="540956" y="823582"/>
                </a:cubicBezTo>
                <a:cubicBezTo>
                  <a:pt x="528380" y="823582"/>
                  <a:pt x="518148" y="833813"/>
                  <a:pt x="518148" y="846389"/>
                </a:cubicBezTo>
                <a:cubicBezTo>
                  <a:pt x="518148" y="852789"/>
                  <a:pt x="512977" y="857998"/>
                  <a:pt x="506539" y="857998"/>
                </a:cubicBezTo>
                <a:cubicBezTo>
                  <a:pt x="500140" y="857998"/>
                  <a:pt x="494930" y="852827"/>
                  <a:pt x="494930" y="846389"/>
                </a:cubicBezTo>
                <a:cubicBezTo>
                  <a:pt x="494930" y="821014"/>
                  <a:pt x="515581" y="800365"/>
                  <a:pt x="540955" y="800365"/>
                </a:cubicBezTo>
                <a:cubicBezTo>
                  <a:pt x="547392" y="800365"/>
                  <a:pt x="552564" y="805574"/>
                  <a:pt x="552564" y="811974"/>
                </a:cubicBezTo>
                <a:close/>
                <a:moveTo>
                  <a:pt x="127702" y="705074"/>
                </a:moveTo>
                <a:cubicBezTo>
                  <a:pt x="127702" y="711473"/>
                  <a:pt x="122531" y="716683"/>
                  <a:pt x="116093" y="716683"/>
                </a:cubicBezTo>
                <a:cubicBezTo>
                  <a:pt x="103518" y="716683"/>
                  <a:pt x="93286" y="726914"/>
                  <a:pt x="93286" y="739490"/>
                </a:cubicBezTo>
                <a:cubicBezTo>
                  <a:pt x="93286" y="745890"/>
                  <a:pt x="88114" y="751099"/>
                  <a:pt x="81677" y="751099"/>
                </a:cubicBezTo>
                <a:cubicBezTo>
                  <a:pt x="75277" y="751099"/>
                  <a:pt x="70068" y="745928"/>
                  <a:pt x="70068" y="739490"/>
                </a:cubicBezTo>
                <a:cubicBezTo>
                  <a:pt x="70068" y="714115"/>
                  <a:pt x="90718" y="693465"/>
                  <a:pt x="116092" y="693465"/>
                </a:cubicBezTo>
                <a:cubicBezTo>
                  <a:pt x="122529" y="693503"/>
                  <a:pt x="127702" y="698674"/>
                  <a:pt x="127702" y="705075"/>
                </a:cubicBezTo>
                <a:close/>
                <a:moveTo>
                  <a:pt x="109620" y="99007"/>
                </a:moveTo>
                <a:cubicBezTo>
                  <a:pt x="109620" y="73632"/>
                  <a:pt x="130270" y="52983"/>
                  <a:pt x="155645" y="52983"/>
                </a:cubicBezTo>
                <a:cubicBezTo>
                  <a:pt x="162045" y="52983"/>
                  <a:pt x="167254" y="58154"/>
                  <a:pt x="167254" y="64592"/>
                </a:cubicBezTo>
                <a:cubicBezTo>
                  <a:pt x="167254" y="70991"/>
                  <a:pt x="162082" y="76201"/>
                  <a:pt x="155645" y="76201"/>
                </a:cubicBezTo>
                <a:cubicBezTo>
                  <a:pt x="143069" y="76201"/>
                  <a:pt x="132837" y="86432"/>
                  <a:pt x="132837" y="99008"/>
                </a:cubicBezTo>
                <a:cubicBezTo>
                  <a:pt x="132837" y="105408"/>
                  <a:pt x="127666" y="110617"/>
                  <a:pt x="121228" y="110617"/>
                </a:cubicBezTo>
                <a:cubicBezTo>
                  <a:pt x="114829" y="110617"/>
                  <a:pt x="109619" y="105446"/>
                  <a:pt x="109619" y="99008"/>
                </a:cubicBezTo>
                <a:close/>
              </a:path>
            </a:pathLst>
          </a:custGeom>
          <a:solidFill>
            <a:schemeClr val="bg1"/>
          </a:solidFill>
          <a:ln w="9525" cap="flat">
            <a:noFill/>
            <a:prstDash val="solid"/>
            <a:miter/>
          </a:ln>
        </p:spPr>
        <p:txBody>
          <a:bodyPr rtlCol="0" anchor="ctr"/>
          <a:lstStyle/>
          <a:p>
            <a:endParaRPr lang="pt-BR"/>
          </a:p>
        </p:txBody>
      </p:sp>
      <p:sp>
        <p:nvSpPr>
          <p:cNvPr id="3" name="CaixaDeTexto 2">
            <a:extLst>
              <a:ext uri="{FF2B5EF4-FFF2-40B4-BE49-F238E27FC236}">
                <a16:creationId xmlns:a16="http://schemas.microsoft.com/office/drawing/2014/main" id="{2B00929B-D197-395B-232A-123D0217CD48}"/>
              </a:ext>
            </a:extLst>
          </p:cNvPr>
          <p:cNvSpPr txBox="1"/>
          <p:nvPr/>
        </p:nvSpPr>
        <p:spPr>
          <a:xfrm>
            <a:off x="1040971" y="1122125"/>
            <a:ext cx="10351411" cy="634020"/>
          </a:xfrm>
          <a:prstGeom prst="rect">
            <a:avLst/>
          </a:prstGeom>
          <a:noFill/>
        </p:spPr>
        <p:txBody>
          <a:bodyPr wrap="square" rtlCol="0">
            <a:spAutoFit/>
          </a:bodyPr>
          <a:lstStyle/>
          <a:p>
            <a:pPr lvl="0" algn="ctr">
              <a:lnSpc>
                <a:spcPct val="80000"/>
              </a:lnSpc>
              <a:defRPr/>
            </a:pPr>
            <a:r>
              <a:rPr lang="pt-BR" sz="4400" b="1" dirty="0">
                <a:solidFill>
                  <a:schemeClr val="bg1"/>
                </a:solidFill>
                <a:latin typeface="Calisto MT"/>
              </a:rPr>
              <a:t>Objetivos</a:t>
            </a:r>
            <a:endParaRPr lang="pt-BR" sz="4400" b="1" baseline="30000" dirty="0">
              <a:solidFill>
                <a:schemeClr val="bg1"/>
              </a:solidFill>
              <a:latin typeface="Calisto MT"/>
            </a:endParaRPr>
          </a:p>
        </p:txBody>
      </p:sp>
      <p:grpSp>
        <p:nvGrpSpPr>
          <p:cNvPr id="12" name="Gráfico 6">
            <a:extLst>
              <a:ext uri="{FF2B5EF4-FFF2-40B4-BE49-F238E27FC236}">
                <a16:creationId xmlns:a16="http://schemas.microsoft.com/office/drawing/2014/main" id="{9D2514F5-DDA9-D73B-CA5C-DDD202692168}"/>
              </a:ext>
            </a:extLst>
          </p:cNvPr>
          <p:cNvGrpSpPr/>
          <p:nvPr/>
        </p:nvGrpSpPr>
        <p:grpSpPr>
          <a:xfrm>
            <a:off x="7214061" y="2007144"/>
            <a:ext cx="590550" cy="590550"/>
            <a:chOff x="-2085975" y="2880562"/>
            <a:chExt cx="590550" cy="590550"/>
          </a:xfrm>
          <a:solidFill>
            <a:schemeClr val="bg1"/>
          </a:solidFill>
        </p:grpSpPr>
        <p:sp>
          <p:nvSpPr>
            <p:cNvPr id="13" name="Forma Livre: Forma 12">
              <a:extLst>
                <a:ext uri="{FF2B5EF4-FFF2-40B4-BE49-F238E27FC236}">
                  <a16:creationId xmlns:a16="http://schemas.microsoft.com/office/drawing/2014/main" id="{18A0D71F-58B8-B484-E317-C741487DF10B}"/>
                </a:ext>
              </a:extLst>
            </p:cNvPr>
            <p:cNvSpPr/>
            <p:nvPr/>
          </p:nvSpPr>
          <p:spPr>
            <a:xfrm>
              <a:off x="-1895475" y="2880562"/>
              <a:ext cx="209550" cy="209550"/>
            </a:xfrm>
            <a:custGeom>
              <a:avLst/>
              <a:gdLst>
                <a:gd name="connsiteX0" fmla="*/ 19050 w 209550"/>
                <a:gd name="connsiteY0" fmla="*/ 114300 h 209550"/>
                <a:gd name="connsiteX1" fmla="*/ 38862 w 209550"/>
                <a:gd name="connsiteY1" fmla="*/ 114300 h 209550"/>
                <a:gd name="connsiteX2" fmla="*/ 51454 w 209550"/>
                <a:gd name="connsiteY2" fmla="*/ 144628 h 209550"/>
                <a:gd name="connsiteX3" fmla="*/ 38100 w 209550"/>
                <a:gd name="connsiteY3" fmla="*/ 157982 h 209550"/>
                <a:gd name="connsiteX4" fmla="*/ 25784 w 209550"/>
                <a:gd name="connsiteY4" fmla="*/ 145666 h 209550"/>
                <a:gd name="connsiteX5" fmla="*/ 12316 w 209550"/>
                <a:gd name="connsiteY5" fmla="*/ 159134 h 209550"/>
                <a:gd name="connsiteX6" fmla="*/ 50416 w 209550"/>
                <a:gd name="connsiteY6" fmla="*/ 197234 h 209550"/>
                <a:gd name="connsiteX7" fmla="*/ 63884 w 209550"/>
                <a:gd name="connsiteY7" fmla="*/ 183766 h 209550"/>
                <a:gd name="connsiteX8" fmla="*/ 51568 w 209550"/>
                <a:gd name="connsiteY8" fmla="*/ 171450 h 209550"/>
                <a:gd name="connsiteX9" fmla="*/ 64922 w 209550"/>
                <a:gd name="connsiteY9" fmla="*/ 158096 h 209550"/>
                <a:gd name="connsiteX10" fmla="*/ 95250 w 209550"/>
                <a:gd name="connsiteY10" fmla="*/ 170688 h 209550"/>
                <a:gd name="connsiteX11" fmla="*/ 95250 w 209550"/>
                <a:gd name="connsiteY11" fmla="*/ 190500 h 209550"/>
                <a:gd name="connsiteX12" fmla="*/ 76200 w 209550"/>
                <a:gd name="connsiteY12" fmla="*/ 190500 h 209550"/>
                <a:gd name="connsiteX13" fmla="*/ 76200 w 209550"/>
                <a:gd name="connsiteY13" fmla="*/ 209550 h 209550"/>
                <a:gd name="connsiteX14" fmla="*/ 133350 w 209550"/>
                <a:gd name="connsiteY14" fmla="*/ 209550 h 209550"/>
                <a:gd name="connsiteX15" fmla="*/ 133350 w 209550"/>
                <a:gd name="connsiteY15" fmla="*/ 190500 h 209550"/>
                <a:gd name="connsiteX16" fmla="*/ 114300 w 209550"/>
                <a:gd name="connsiteY16" fmla="*/ 190500 h 209550"/>
                <a:gd name="connsiteX17" fmla="*/ 114300 w 209550"/>
                <a:gd name="connsiteY17" fmla="*/ 170688 h 209550"/>
                <a:gd name="connsiteX18" fmla="*/ 144628 w 209550"/>
                <a:gd name="connsiteY18" fmla="*/ 158096 h 209550"/>
                <a:gd name="connsiteX19" fmla="*/ 157982 w 209550"/>
                <a:gd name="connsiteY19" fmla="*/ 171450 h 209550"/>
                <a:gd name="connsiteX20" fmla="*/ 145666 w 209550"/>
                <a:gd name="connsiteY20" fmla="*/ 183766 h 209550"/>
                <a:gd name="connsiteX21" fmla="*/ 159134 w 209550"/>
                <a:gd name="connsiteY21" fmla="*/ 197234 h 209550"/>
                <a:gd name="connsiteX22" fmla="*/ 197234 w 209550"/>
                <a:gd name="connsiteY22" fmla="*/ 159134 h 209550"/>
                <a:gd name="connsiteX23" fmla="*/ 183766 w 209550"/>
                <a:gd name="connsiteY23" fmla="*/ 145666 h 209550"/>
                <a:gd name="connsiteX24" fmla="*/ 171450 w 209550"/>
                <a:gd name="connsiteY24" fmla="*/ 157982 h 209550"/>
                <a:gd name="connsiteX25" fmla="*/ 158096 w 209550"/>
                <a:gd name="connsiteY25" fmla="*/ 144628 h 209550"/>
                <a:gd name="connsiteX26" fmla="*/ 170688 w 209550"/>
                <a:gd name="connsiteY26" fmla="*/ 114300 h 209550"/>
                <a:gd name="connsiteX27" fmla="*/ 190500 w 209550"/>
                <a:gd name="connsiteY27" fmla="*/ 114300 h 209550"/>
                <a:gd name="connsiteX28" fmla="*/ 190500 w 209550"/>
                <a:gd name="connsiteY28" fmla="*/ 133350 h 209550"/>
                <a:gd name="connsiteX29" fmla="*/ 209550 w 209550"/>
                <a:gd name="connsiteY29" fmla="*/ 133350 h 209550"/>
                <a:gd name="connsiteX30" fmla="*/ 209550 w 209550"/>
                <a:gd name="connsiteY30" fmla="*/ 76200 h 209550"/>
                <a:gd name="connsiteX31" fmla="*/ 190500 w 209550"/>
                <a:gd name="connsiteY31" fmla="*/ 76200 h 209550"/>
                <a:gd name="connsiteX32" fmla="*/ 190500 w 209550"/>
                <a:gd name="connsiteY32" fmla="*/ 95250 h 209550"/>
                <a:gd name="connsiteX33" fmla="*/ 170688 w 209550"/>
                <a:gd name="connsiteY33" fmla="*/ 95250 h 209550"/>
                <a:gd name="connsiteX34" fmla="*/ 158096 w 209550"/>
                <a:gd name="connsiteY34" fmla="*/ 64922 h 209550"/>
                <a:gd name="connsiteX35" fmla="*/ 171450 w 209550"/>
                <a:gd name="connsiteY35" fmla="*/ 51568 h 209550"/>
                <a:gd name="connsiteX36" fmla="*/ 183766 w 209550"/>
                <a:gd name="connsiteY36" fmla="*/ 63884 h 209550"/>
                <a:gd name="connsiteX37" fmla="*/ 197234 w 209550"/>
                <a:gd name="connsiteY37" fmla="*/ 50416 h 209550"/>
                <a:gd name="connsiteX38" fmla="*/ 159134 w 209550"/>
                <a:gd name="connsiteY38" fmla="*/ 12316 h 209550"/>
                <a:gd name="connsiteX39" fmla="*/ 145666 w 209550"/>
                <a:gd name="connsiteY39" fmla="*/ 25784 h 209550"/>
                <a:gd name="connsiteX40" fmla="*/ 157982 w 209550"/>
                <a:gd name="connsiteY40" fmla="*/ 38100 h 209550"/>
                <a:gd name="connsiteX41" fmla="*/ 144628 w 209550"/>
                <a:gd name="connsiteY41" fmla="*/ 51454 h 209550"/>
                <a:gd name="connsiteX42" fmla="*/ 114300 w 209550"/>
                <a:gd name="connsiteY42" fmla="*/ 38862 h 209550"/>
                <a:gd name="connsiteX43" fmla="*/ 114300 w 209550"/>
                <a:gd name="connsiteY43" fmla="*/ 19050 h 209550"/>
                <a:gd name="connsiteX44" fmla="*/ 133350 w 209550"/>
                <a:gd name="connsiteY44" fmla="*/ 19050 h 209550"/>
                <a:gd name="connsiteX45" fmla="*/ 133350 w 209550"/>
                <a:gd name="connsiteY45" fmla="*/ 0 h 209550"/>
                <a:gd name="connsiteX46" fmla="*/ 76200 w 209550"/>
                <a:gd name="connsiteY46" fmla="*/ 0 h 209550"/>
                <a:gd name="connsiteX47" fmla="*/ 76200 w 209550"/>
                <a:gd name="connsiteY47" fmla="*/ 19050 h 209550"/>
                <a:gd name="connsiteX48" fmla="*/ 95250 w 209550"/>
                <a:gd name="connsiteY48" fmla="*/ 19050 h 209550"/>
                <a:gd name="connsiteX49" fmla="*/ 95250 w 209550"/>
                <a:gd name="connsiteY49" fmla="*/ 38862 h 209550"/>
                <a:gd name="connsiteX50" fmla="*/ 64922 w 209550"/>
                <a:gd name="connsiteY50" fmla="*/ 51454 h 209550"/>
                <a:gd name="connsiteX51" fmla="*/ 51568 w 209550"/>
                <a:gd name="connsiteY51" fmla="*/ 38100 h 209550"/>
                <a:gd name="connsiteX52" fmla="*/ 63884 w 209550"/>
                <a:gd name="connsiteY52" fmla="*/ 25784 h 209550"/>
                <a:gd name="connsiteX53" fmla="*/ 50416 w 209550"/>
                <a:gd name="connsiteY53" fmla="*/ 12316 h 209550"/>
                <a:gd name="connsiteX54" fmla="*/ 12316 w 209550"/>
                <a:gd name="connsiteY54" fmla="*/ 50416 h 209550"/>
                <a:gd name="connsiteX55" fmla="*/ 25784 w 209550"/>
                <a:gd name="connsiteY55" fmla="*/ 63884 h 209550"/>
                <a:gd name="connsiteX56" fmla="*/ 38100 w 209550"/>
                <a:gd name="connsiteY56" fmla="*/ 51568 h 209550"/>
                <a:gd name="connsiteX57" fmla="*/ 51454 w 209550"/>
                <a:gd name="connsiteY57" fmla="*/ 64922 h 209550"/>
                <a:gd name="connsiteX58" fmla="*/ 38862 w 209550"/>
                <a:gd name="connsiteY58" fmla="*/ 95250 h 209550"/>
                <a:gd name="connsiteX59" fmla="*/ 19050 w 209550"/>
                <a:gd name="connsiteY59" fmla="*/ 95250 h 209550"/>
                <a:gd name="connsiteX60" fmla="*/ 19050 w 209550"/>
                <a:gd name="connsiteY60" fmla="*/ 76200 h 209550"/>
                <a:gd name="connsiteX61" fmla="*/ 0 w 209550"/>
                <a:gd name="connsiteY61" fmla="*/ 76200 h 209550"/>
                <a:gd name="connsiteX62" fmla="*/ 0 w 209550"/>
                <a:gd name="connsiteY62" fmla="*/ 133350 h 209550"/>
                <a:gd name="connsiteX63" fmla="*/ 19050 w 209550"/>
                <a:gd name="connsiteY63" fmla="*/ 133350 h 209550"/>
                <a:gd name="connsiteX64" fmla="*/ 19050 w 209550"/>
                <a:gd name="connsiteY64" fmla="*/ 114300 h 209550"/>
                <a:gd name="connsiteX65" fmla="*/ 91659 w 209550"/>
                <a:gd name="connsiteY65" fmla="*/ 150333 h 209550"/>
                <a:gd name="connsiteX66" fmla="*/ 76238 w 209550"/>
                <a:gd name="connsiteY66" fmla="*/ 142665 h 209550"/>
                <a:gd name="connsiteX67" fmla="*/ 85725 w 209550"/>
                <a:gd name="connsiteY67" fmla="*/ 133350 h 209550"/>
                <a:gd name="connsiteX68" fmla="*/ 95250 w 209550"/>
                <a:gd name="connsiteY68" fmla="*/ 142875 h 209550"/>
                <a:gd name="connsiteX69" fmla="*/ 91659 w 209550"/>
                <a:gd name="connsiteY69" fmla="*/ 150333 h 209550"/>
                <a:gd name="connsiteX70" fmla="*/ 142875 w 209550"/>
                <a:gd name="connsiteY70" fmla="*/ 114300 h 209550"/>
                <a:gd name="connsiteX71" fmla="*/ 133350 w 209550"/>
                <a:gd name="connsiteY71" fmla="*/ 104775 h 209550"/>
                <a:gd name="connsiteX72" fmla="*/ 142875 w 209550"/>
                <a:gd name="connsiteY72" fmla="*/ 95250 h 209550"/>
                <a:gd name="connsiteX73" fmla="*/ 152400 w 209550"/>
                <a:gd name="connsiteY73" fmla="*/ 104775 h 209550"/>
                <a:gd name="connsiteX74" fmla="*/ 142875 w 209550"/>
                <a:gd name="connsiteY74" fmla="*/ 114300 h 209550"/>
                <a:gd name="connsiteX75" fmla="*/ 142646 w 209550"/>
                <a:gd name="connsiteY75" fmla="*/ 76219 h 209550"/>
                <a:gd name="connsiteX76" fmla="*/ 114300 w 209550"/>
                <a:gd name="connsiteY76" fmla="*/ 104775 h 209550"/>
                <a:gd name="connsiteX77" fmla="*/ 142646 w 209550"/>
                <a:gd name="connsiteY77" fmla="*/ 133331 h 209550"/>
                <a:gd name="connsiteX78" fmla="*/ 112957 w 209550"/>
                <a:gd name="connsiteY78" fmla="*/ 151581 h 209550"/>
                <a:gd name="connsiteX79" fmla="*/ 114300 w 209550"/>
                <a:gd name="connsiteY79" fmla="*/ 142875 h 209550"/>
                <a:gd name="connsiteX80" fmla="*/ 85725 w 209550"/>
                <a:gd name="connsiteY80" fmla="*/ 114300 h 209550"/>
                <a:gd name="connsiteX81" fmla="*/ 62532 w 209550"/>
                <a:gd name="connsiteY81" fmla="*/ 126302 h 209550"/>
                <a:gd name="connsiteX82" fmla="*/ 57150 w 209550"/>
                <a:gd name="connsiteY82" fmla="*/ 104775 h 209550"/>
                <a:gd name="connsiteX83" fmla="*/ 62532 w 209550"/>
                <a:gd name="connsiteY83" fmla="*/ 83249 h 209550"/>
                <a:gd name="connsiteX84" fmla="*/ 85725 w 209550"/>
                <a:gd name="connsiteY84" fmla="*/ 95250 h 209550"/>
                <a:gd name="connsiteX85" fmla="*/ 114300 w 209550"/>
                <a:gd name="connsiteY85" fmla="*/ 66675 h 209550"/>
                <a:gd name="connsiteX86" fmla="*/ 112957 w 209550"/>
                <a:gd name="connsiteY86" fmla="*/ 57979 h 209550"/>
                <a:gd name="connsiteX87" fmla="*/ 142646 w 209550"/>
                <a:gd name="connsiteY87" fmla="*/ 76219 h 209550"/>
                <a:gd name="connsiteX88" fmla="*/ 95250 w 209550"/>
                <a:gd name="connsiteY88" fmla="*/ 66675 h 209550"/>
                <a:gd name="connsiteX89" fmla="*/ 85725 w 209550"/>
                <a:gd name="connsiteY89" fmla="*/ 76200 h 209550"/>
                <a:gd name="connsiteX90" fmla="*/ 76238 w 209550"/>
                <a:gd name="connsiteY90" fmla="*/ 66885 h 209550"/>
                <a:gd name="connsiteX91" fmla="*/ 91659 w 209550"/>
                <a:gd name="connsiteY91" fmla="*/ 59217 h 209550"/>
                <a:gd name="connsiteX92" fmla="*/ 95250 w 209550"/>
                <a:gd name="connsiteY92" fmla="*/ 6667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9550" h="209550">
                  <a:moveTo>
                    <a:pt x="19050" y="114300"/>
                  </a:moveTo>
                  <a:lnTo>
                    <a:pt x="38862" y="114300"/>
                  </a:lnTo>
                  <a:cubicBezTo>
                    <a:pt x="40481" y="125568"/>
                    <a:pt x="44920" y="135912"/>
                    <a:pt x="51454" y="144628"/>
                  </a:cubicBezTo>
                  <a:lnTo>
                    <a:pt x="38100" y="157982"/>
                  </a:lnTo>
                  <a:lnTo>
                    <a:pt x="25784" y="145666"/>
                  </a:lnTo>
                  <a:lnTo>
                    <a:pt x="12316" y="159134"/>
                  </a:lnTo>
                  <a:lnTo>
                    <a:pt x="50416" y="197234"/>
                  </a:lnTo>
                  <a:lnTo>
                    <a:pt x="63884" y="183766"/>
                  </a:lnTo>
                  <a:lnTo>
                    <a:pt x="51568" y="171450"/>
                  </a:lnTo>
                  <a:lnTo>
                    <a:pt x="64922" y="158096"/>
                  </a:lnTo>
                  <a:cubicBezTo>
                    <a:pt x="73638" y="164630"/>
                    <a:pt x="83982" y="169059"/>
                    <a:pt x="95250" y="170688"/>
                  </a:cubicBezTo>
                  <a:lnTo>
                    <a:pt x="95250" y="190500"/>
                  </a:lnTo>
                  <a:lnTo>
                    <a:pt x="76200" y="190500"/>
                  </a:lnTo>
                  <a:lnTo>
                    <a:pt x="76200" y="209550"/>
                  </a:lnTo>
                  <a:lnTo>
                    <a:pt x="133350" y="209550"/>
                  </a:lnTo>
                  <a:lnTo>
                    <a:pt x="133350" y="190500"/>
                  </a:lnTo>
                  <a:lnTo>
                    <a:pt x="114300" y="190500"/>
                  </a:lnTo>
                  <a:lnTo>
                    <a:pt x="114300" y="170688"/>
                  </a:lnTo>
                  <a:cubicBezTo>
                    <a:pt x="125568" y="169069"/>
                    <a:pt x="135912" y="164630"/>
                    <a:pt x="144628" y="158096"/>
                  </a:cubicBezTo>
                  <a:lnTo>
                    <a:pt x="157982" y="171450"/>
                  </a:lnTo>
                  <a:lnTo>
                    <a:pt x="145666" y="183766"/>
                  </a:lnTo>
                  <a:lnTo>
                    <a:pt x="159134" y="197234"/>
                  </a:lnTo>
                  <a:lnTo>
                    <a:pt x="197234" y="159134"/>
                  </a:lnTo>
                  <a:lnTo>
                    <a:pt x="183766" y="145666"/>
                  </a:lnTo>
                  <a:lnTo>
                    <a:pt x="171450" y="157982"/>
                  </a:lnTo>
                  <a:lnTo>
                    <a:pt x="158096" y="144628"/>
                  </a:lnTo>
                  <a:cubicBezTo>
                    <a:pt x="164630" y="135912"/>
                    <a:pt x="169059" y="125568"/>
                    <a:pt x="170688" y="114300"/>
                  </a:cubicBezTo>
                  <a:lnTo>
                    <a:pt x="190500" y="114300"/>
                  </a:lnTo>
                  <a:lnTo>
                    <a:pt x="190500" y="133350"/>
                  </a:lnTo>
                  <a:lnTo>
                    <a:pt x="209550" y="133350"/>
                  </a:lnTo>
                  <a:lnTo>
                    <a:pt x="209550" y="76200"/>
                  </a:lnTo>
                  <a:lnTo>
                    <a:pt x="190500" y="76200"/>
                  </a:lnTo>
                  <a:lnTo>
                    <a:pt x="190500" y="95250"/>
                  </a:lnTo>
                  <a:lnTo>
                    <a:pt x="170688" y="95250"/>
                  </a:lnTo>
                  <a:cubicBezTo>
                    <a:pt x="169069" y="83982"/>
                    <a:pt x="164630" y="73638"/>
                    <a:pt x="158096" y="64922"/>
                  </a:cubicBezTo>
                  <a:lnTo>
                    <a:pt x="171450" y="51568"/>
                  </a:lnTo>
                  <a:lnTo>
                    <a:pt x="183766" y="63884"/>
                  </a:lnTo>
                  <a:lnTo>
                    <a:pt x="197234" y="50416"/>
                  </a:lnTo>
                  <a:lnTo>
                    <a:pt x="159134" y="12316"/>
                  </a:lnTo>
                  <a:lnTo>
                    <a:pt x="145666" y="25784"/>
                  </a:lnTo>
                  <a:lnTo>
                    <a:pt x="157982" y="38100"/>
                  </a:lnTo>
                  <a:lnTo>
                    <a:pt x="144628" y="51454"/>
                  </a:lnTo>
                  <a:cubicBezTo>
                    <a:pt x="135912" y="44920"/>
                    <a:pt x="125568" y="40481"/>
                    <a:pt x="114300" y="38862"/>
                  </a:cubicBezTo>
                  <a:lnTo>
                    <a:pt x="114300" y="19050"/>
                  </a:lnTo>
                  <a:lnTo>
                    <a:pt x="133350" y="19050"/>
                  </a:lnTo>
                  <a:lnTo>
                    <a:pt x="133350" y="0"/>
                  </a:lnTo>
                  <a:lnTo>
                    <a:pt x="76200" y="0"/>
                  </a:lnTo>
                  <a:lnTo>
                    <a:pt x="76200" y="19050"/>
                  </a:lnTo>
                  <a:lnTo>
                    <a:pt x="95250" y="19050"/>
                  </a:lnTo>
                  <a:lnTo>
                    <a:pt x="95250" y="38862"/>
                  </a:lnTo>
                  <a:cubicBezTo>
                    <a:pt x="83982" y="40481"/>
                    <a:pt x="73638" y="44920"/>
                    <a:pt x="64922" y="51454"/>
                  </a:cubicBezTo>
                  <a:lnTo>
                    <a:pt x="51568" y="38100"/>
                  </a:lnTo>
                  <a:lnTo>
                    <a:pt x="63884" y="25784"/>
                  </a:lnTo>
                  <a:lnTo>
                    <a:pt x="50416" y="12316"/>
                  </a:lnTo>
                  <a:lnTo>
                    <a:pt x="12316" y="50416"/>
                  </a:lnTo>
                  <a:lnTo>
                    <a:pt x="25784" y="63884"/>
                  </a:lnTo>
                  <a:lnTo>
                    <a:pt x="38100" y="51568"/>
                  </a:lnTo>
                  <a:lnTo>
                    <a:pt x="51454" y="64922"/>
                  </a:lnTo>
                  <a:cubicBezTo>
                    <a:pt x="44920" y="73638"/>
                    <a:pt x="40481" y="83982"/>
                    <a:pt x="38862" y="95250"/>
                  </a:cubicBezTo>
                  <a:lnTo>
                    <a:pt x="19050" y="95250"/>
                  </a:lnTo>
                  <a:lnTo>
                    <a:pt x="19050" y="76200"/>
                  </a:lnTo>
                  <a:lnTo>
                    <a:pt x="0" y="76200"/>
                  </a:lnTo>
                  <a:lnTo>
                    <a:pt x="0" y="133350"/>
                  </a:lnTo>
                  <a:lnTo>
                    <a:pt x="19050" y="133350"/>
                  </a:lnTo>
                  <a:lnTo>
                    <a:pt x="19050" y="114300"/>
                  </a:lnTo>
                  <a:close/>
                  <a:moveTo>
                    <a:pt x="91659" y="150333"/>
                  </a:moveTo>
                  <a:cubicBezTo>
                    <a:pt x="86011" y="148704"/>
                    <a:pt x="80820" y="146123"/>
                    <a:pt x="76238" y="142665"/>
                  </a:cubicBezTo>
                  <a:cubicBezTo>
                    <a:pt x="76362" y="137522"/>
                    <a:pt x="80543" y="133350"/>
                    <a:pt x="85725" y="133350"/>
                  </a:cubicBezTo>
                  <a:cubicBezTo>
                    <a:pt x="90973" y="133350"/>
                    <a:pt x="95250" y="137627"/>
                    <a:pt x="95250" y="142875"/>
                  </a:cubicBezTo>
                  <a:cubicBezTo>
                    <a:pt x="95250" y="145856"/>
                    <a:pt x="93897" y="148561"/>
                    <a:pt x="91659" y="150333"/>
                  </a:cubicBezTo>
                  <a:close/>
                  <a:moveTo>
                    <a:pt x="142875" y="114300"/>
                  </a:moveTo>
                  <a:cubicBezTo>
                    <a:pt x="137627" y="114300"/>
                    <a:pt x="133350" y="110023"/>
                    <a:pt x="133350" y="104775"/>
                  </a:cubicBezTo>
                  <a:cubicBezTo>
                    <a:pt x="133350" y="99527"/>
                    <a:pt x="137627" y="95250"/>
                    <a:pt x="142875" y="95250"/>
                  </a:cubicBezTo>
                  <a:cubicBezTo>
                    <a:pt x="148123" y="95250"/>
                    <a:pt x="152400" y="99527"/>
                    <a:pt x="152400" y="104775"/>
                  </a:cubicBezTo>
                  <a:cubicBezTo>
                    <a:pt x="152400" y="110023"/>
                    <a:pt x="148123" y="114300"/>
                    <a:pt x="142875" y="114300"/>
                  </a:cubicBezTo>
                  <a:close/>
                  <a:moveTo>
                    <a:pt x="142646" y="76219"/>
                  </a:moveTo>
                  <a:cubicBezTo>
                    <a:pt x="126997" y="76343"/>
                    <a:pt x="114300" y="89097"/>
                    <a:pt x="114300" y="104775"/>
                  </a:cubicBezTo>
                  <a:cubicBezTo>
                    <a:pt x="114300" y="120453"/>
                    <a:pt x="126997" y="133207"/>
                    <a:pt x="142646" y="133331"/>
                  </a:cubicBezTo>
                  <a:cubicBezTo>
                    <a:pt x="135522" y="142761"/>
                    <a:pt x="125063" y="149457"/>
                    <a:pt x="112957" y="151581"/>
                  </a:cubicBezTo>
                  <a:cubicBezTo>
                    <a:pt x="113833" y="148819"/>
                    <a:pt x="114300" y="145894"/>
                    <a:pt x="114300" y="142875"/>
                  </a:cubicBezTo>
                  <a:cubicBezTo>
                    <a:pt x="114300" y="127121"/>
                    <a:pt x="101479" y="114300"/>
                    <a:pt x="85725" y="114300"/>
                  </a:cubicBezTo>
                  <a:cubicBezTo>
                    <a:pt x="76162" y="114300"/>
                    <a:pt x="67723" y="119063"/>
                    <a:pt x="62532" y="126302"/>
                  </a:cubicBezTo>
                  <a:cubicBezTo>
                    <a:pt x="59207" y="119805"/>
                    <a:pt x="57150" y="112566"/>
                    <a:pt x="57150" y="104775"/>
                  </a:cubicBezTo>
                  <a:cubicBezTo>
                    <a:pt x="57150" y="96984"/>
                    <a:pt x="59207" y="89745"/>
                    <a:pt x="62532" y="83249"/>
                  </a:cubicBezTo>
                  <a:cubicBezTo>
                    <a:pt x="67723" y="90488"/>
                    <a:pt x="76162" y="95250"/>
                    <a:pt x="85725" y="95250"/>
                  </a:cubicBezTo>
                  <a:cubicBezTo>
                    <a:pt x="101479" y="95250"/>
                    <a:pt x="114300" y="82429"/>
                    <a:pt x="114300" y="66675"/>
                  </a:cubicBezTo>
                  <a:cubicBezTo>
                    <a:pt x="114300" y="63656"/>
                    <a:pt x="113833" y="60731"/>
                    <a:pt x="112957" y="57979"/>
                  </a:cubicBezTo>
                  <a:cubicBezTo>
                    <a:pt x="125063" y="60093"/>
                    <a:pt x="135522" y="66789"/>
                    <a:pt x="142646" y="76219"/>
                  </a:cubicBezTo>
                  <a:close/>
                  <a:moveTo>
                    <a:pt x="95250" y="66675"/>
                  </a:moveTo>
                  <a:cubicBezTo>
                    <a:pt x="95250" y="71923"/>
                    <a:pt x="90973" y="76200"/>
                    <a:pt x="85725" y="76200"/>
                  </a:cubicBezTo>
                  <a:cubicBezTo>
                    <a:pt x="80543" y="76200"/>
                    <a:pt x="76362" y="72028"/>
                    <a:pt x="76238" y="66885"/>
                  </a:cubicBezTo>
                  <a:cubicBezTo>
                    <a:pt x="80820" y="63427"/>
                    <a:pt x="86011" y="60846"/>
                    <a:pt x="91659" y="59217"/>
                  </a:cubicBezTo>
                  <a:cubicBezTo>
                    <a:pt x="93897" y="60989"/>
                    <a:pt x="95250" y="63694"/>
                    <a:pt x="95250" y="66675"/>
                  </a:cubicBezTo>
                  <a:close/>
                </a:path>
              </a:pathLst>
            </a:custGeom>
            <a:grpFill/>
            <a:ln w="9525" cap="flat">
              <a:noFill/>
              <a:prstDash val="solid"/>
              <a:miter/>
            </a:ln>
          </p:spPr>
          <p:txBody>
            <a:bodyPr rtlCol="0" anchor="ctr"/>
            <a:lstStyle/>
            <a:p>
              <a:endParaRPr lang="pt-BR"/>
            </a:p>
          </p:txBody>
        </p:sp>
        <p:sp>
          <p:nvSpPr>
            <p:cNvPr id="17" name="Forma Livre: Forma 16">
              <a:extLst>
                <a:ext uri="{FF2B5EF4-FFF2-40B4-BE49-F238E27FC236}">
                  <a16:creationId xmlns:a16="http://schemas.microsoft.com/office/drawing/2014/main" id="{EBB01818-391A-E12E-9EAD-22C9A1275D2F}"/>
                </a:ext>
              </a:extLst>
            </p:cNvPr>
            <p:cNvSpPr/>
            <p:nvPr/>
          </p:nvSpPr>
          <p:spPr>
            <a:xfrm>
              <a:off x="-2085975" y="2918662"/>
              <a:ext cx="285750" cy="552450"/>
            </a:xfrm>
            <a:custGeom>
              <a:avLst/>
              <a:gdLst>
                <a:gd name="connsiteX0" fmla="*/ 260737 w 285750"/>
                <a:gd name="connsiteY0" fmla="*/ 250107 h 552450"/>
                <a:gd name="connsiteX1" fmla="*/ 266700 w 285750"/>
                <a:gd name="connsiteY1" fmla="*/ 230229 h 552450"/>
                <a:gd name="connsiteX2" fmla="*/ 256013 w 285750"/>
                <a:gd name="connsiteY2" fmla="*/ 204445 h 552450"/>
                <a:gd name="connsiteX3" fmla="*/ 62255 w 285750"/>
                <a:gd name="connsiteY3" fmla="*/ 10687 h 552450"/>
                <a:gd name="connsiteX4" fmla="*/ 36471 w 285750"/>
                <a:gd name="connsiteY4" fmla="*/ 0 h 552450"/>
                <a:gd name="connsiteX5" fmla="*/ 0 w 285750"/>
                <a:gd name="connsiteY5" fmla="*/ 36471 h 552450"/>
                <a:gd name="connsiteX6" fmla="*/ 10687 w 285750"/>
                <a:gd name="connsiteY6" fmla="*/ 62255 h 552450"/>
                <a:gd name="connsiteX7" fmla="*/ 204454 w 285750"/>
                <a:gd name="connsiteY7" fmla="*/ 256022 h 552450"/>
                <a:gd name="connsiteX8" fmla="*/ 216456 w 285750"/>
                <a:gd name="connsiteY8" fmla="*/ 264004 h 552450"/>
                <a:gd name="connsiteX9" fmla="*/ 209550 w 285750"/>
                <a:gd name="connsiteY9" fmla="*/ 285750 h 552450"/>
                <a:gd name="connsiteX10" fmla="*/ 209550 w 285750"/>
                <a:gd name="connsiteY10" fmla="*/ 514350 h 552450"/>
                <a:gd name="connsiteX11" fmla="*/ 247650 w 285750"/>
                <a:gd name="connsiteY11" fmla="*/ 552450 h 552450"/>
                <a:gd name="connsiteX12" fmla="*/ 285750 w 285750"/>
                <a:gd name="connsiteY12" fmla="*/ 514350 h 552450"/>
                <a:gd name="connsiteX13" fmla="*/ 285750 w 285750"/>
                <a:gd name="connsiteY13" fmla="*/ 285750 h 552450"/>
                <a:gd name="connsiteX14" fmla="*/ 260737 w 285750"/>
                <a:gd name="connsiteY14" fmla="*/ 250107 h 552450"/>
                <a:gd name="connsiteX15" fmla="*/ 266700 w 285750"/>
                <a:gd name="connsiteY15" fmla="*/ 285750 h 552450"/>
                <a:gd name="connsiteX16" fmla="*/ 266700 w 285750"/>
                <a:gd name="connsiteY16" fmla="*/ 342900 h 552450"/>
                <a:gd name="connsiteX17" fmla="*/ 228600 w 285750"/>
                <a:gd name="connsiteY17" fmla="*/ 342900 h 552450"/>
                <a:gd name="connsiteX18" fmla="*/ 228600 w 285750"/>
                <a:gd name="connsiteY18" fmla="*/ 285750 h 552450"/>
                <a:gd name="connsiteX19" fmla="*/ 247650 w 285750"/>
                <a:gd name="connsiteY19" fmla="*/ 266700 h 552450"/>
                <a:gd name="connsiteX20" fmla="*/ 266700 w 285750"/>
                <a:gd name="connsiteY20" fmla="*/ 285750 h 552450"/>
                <a:gd name="connsiteX21" fmla="*/ 228600 w 285750"/>
                <a:gd name="connsiteY21" fmla="*/ 361950 h 552450"/>
                <a:gd name="connsiteX22" fmla="*/ 266700 w 285750"/>
                <a:gd name="connsiteY22" fmla="*/ 361950 h 552450"/>
                <a:gd name="connsiteX23" fmla="*/ 266700 w 285750"/>
                <a:gd name="connsiteY23" fmla="*/ 438150 h 552450"/>
                <a:gd name="connsiteX24" fmla="*/ 228600 w 285750"/>
                <a:gd name="connsiteY24" fmla="*/ 438150 h 552450"/>
                <a:gd name="connsiteX25" fmla="*/ 228600 w 285750"/>
                <a:gd name="connsiteY25" fmla="*/ 361950 h 552450"/>
                <a:gd name="connsiteX26" fmla="*/ 181794 w 285750"/>
                <a:gd name="connsiteY26" fmla="*/ 157163 h 552450"/>
                <a:gd name="connsiteX27" fmla="*/ 157163 w 285750"/>
                <a:gd name="connsiteY27" fmla="*/ 181794 h 552450"/>
                <a:gd name="connsiteX28" fmla="*/ 84906 w 285750"/>
                <a:gd name="connsiteY28" fmla="*/ 109538 h 552450"/>
                <a:gd name="connsiteX29" fmla="*/ 109538 w 285750"/>
                <a:gd name="connsiteY29" fmla="*/ 84906 h 552450"/>
                <a:gd name="connsiteX30" fmla="*/ 181794 w 285750"/>
                <a:gd name="connsiteY30" fmla="*/ 157163 h 552450"/>
                <a:gd name="connsiteX31" fmla="*/ 19050 w 285750"/>
                <a:gd name="connsiteY31" fmla="*/ 36471 h 552450"/>
                <a:gd name="connsiteX32" fmla="*/ 36471 w 285750"/>
                <a:gd name="connsiteY32" fmla="*/ 19050 h 552450"/>
                <a:gd name="connsiteX33" fmla="*/ 48787 w 285750"/>
                <a:gd name="connsiteY33" fmla="*/ 24155 h 552450"/>
                <a:gd name="connsiteX34" fmla="*/ 96069 w 285750"/>
                <a:gd name="connsiteY34" fmla="*/ 71438 h 552450"/>
                <a:gd name="connsiteX35" fmla="*/ 71438 w 285750"/>
                <a:gd name="connsiteY35" fmla="*/ 96069 h 552450"/>
                <a:gd name="connsiteX36" fmla="*/ 24155 w 285750"/>
                <a:gd name="connsiteY36" fmla="*/ 48787 h 552450"/>
                <a:gd name="connsiteX37" fmla="*/ 19050 w 285750"/>
                <a:gd name="connsiteY37" fmla="*/ 36471 h 552450"/>
                <a:gd name="connsiteX38" fmla="*/ 170631 w 285750"/>
                <a:gd name="connsiteY38" fmla="*/ 195263 h 552450"/>
                <a:gd name="connsiteX39" fmla="*/ 195263 w 285750"/>
                <a:gd name="connsiteY39" fmla="*/ 170631 h 552450"/>
                <a:gd name="connsiteX40" fmla="*/ 242545 w 285750"/>
                <a:gd name="connsiteY40" fmla="*/ 217913 h 552450"/>
                <a:gd name="connsiteX41" fmla="*/ 247650 w 285750"/>
                <a:gd name="connsiteY41" fmla="*/ 230229 h 552450"/>
                <a:gd name="connsiteX42" fmla="*/ 230229 w 285750"/>
                <a:gd name="connsiteY42" fmla="*/ 247650 h 552450"/>
                <a:gd name="connsiteX43" fmla="*/ 217913 w 285750"/>
                <a:gd name="connsiteY43" fmla="*/ 242545 h 552450"/>
                <a:gd name="connsiteX44" fmla="*/ 170631 w 285750"/>
                <a:gd name="connsiteY44" fmla="*/ 195263 h 552450"/>
                <a:gd name="connsiteX45" fmla="*/ 247650 w 285750"/>
                <a:gd name="connsiteY45" fmla="*/ 533400 h 552450"/>
                <a:gd name="connsiteX46" fmla="*/ 228600 w 285750"/>
                <a:gd name="connsiteY46" fmla="*/ 514350 h 552450"/>
                <a:gd name="connsiteX47" fmla="*/ 228600 w 285750"/>
                <a:gd name="connsiteY47" fmla="*/ 457200 h 552450"/>
                <a:gd name="connsiteX48" fmla="*/ 266700 w 285750"/>
                <a:gd name="connsiteY48" fmla="*/ 457200 h 552450"/>
                <a:gd name="connsiteX49" fmla="*/ 266700 w 285750"/>
                <a:gd name="connsiteY49" fmla="*/ 514350 h 552450"/>
                <a:gd name="connsiteX50" fmla="*/ 247650 w 285750"/>
                <a:gd name="connsiteY50" fmla="*/ 5334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60737" y="250107"/>
                  </a:moveTo>
                  <a:cubicBezTo>
                    <a:pt x="264481" y="244383"/>
                    <a:pt x="266700" y="237573"/>
                    <a:pt x="266700" y="230229"/>
                  </a:cubicBezTo>
                  <a:cubicBezTo>
                    <a:pt x="266700" y="220494"/>
                    <a:pt x="262909" y="211331"/>
                    <a:pt x="256013" y="204445"/>
                  </a:cubicBezTo>
                  <a:lnTo>
                    <a:pt x="62255" y="10687"/>
                  </a:lnTo>
                  <a:cubicBezTo>
                    <a:pt x="55369" y="3791"/>
                    <a:pt x="46206" y="0"/>
                    <a:pt x="36471" y="0"/>
                  </a:cubicBezTo>
                  <a:cubicBezTo>
                    <a:pt x="16354" y="0"/>
                    <a:pt x="0" y="16354"/>
                    <a:pt x="0" y="36471"/>
                  </a:cubicBezTo>
                  <a:cubicBezTo>
                    <a:pt x="0" y="46206"/>
                    <a:pt x="3791" y="55369"/>
                    <a:pt x="10687" y="62255"/>
                  </a:cubicBezTo>
                  <a:lnTo>
                    <a:pt x="204454" y="256022"/>
                  </a:lnTo>
                  <a:cubicBezTo>
                    <a:pt x="207940" y="259509"/>
                    <a:pt x="212027" y="262195"/>
                    <a:pt x="216456" y="264004"/>
                  </a:cubicBezTo>
                  <a:cubicBezTo>
                    <a:pt x="212131" y="270177"/>
                    <a:pt x="209550" y="277654"/>
                    <a:pt x="209550" y="285750"/>
                  </a:cubicBezTo>
                  <a:lnTo>
                    <a:pt x="209550" y="514350"/>
                  </a:lnTo>
                  <a:cubicBezTo>
                    <a:pt x="209550" y="535362"/>
                    <a:pt x="226638" y="552450"/>
                    <a:pt x="247650" y="552450"/>
                  </a:cubicBezTo>
                  <a:cubicBezTo>
                    <a:pt x="268662" y="552450"/>
                    <a:pt x="285750" y="535362"/>
                    <a:pt x="285750" y="514350"/>
                  </a:cubicBezTo>
                  <a:lnTo>
                    <a:pt x="285750" y="285750"/>
                  </a:lnTo>
                  <a:cubicBezTo>
                    <a:pt x="285750" y="269357"/>
                    <a:pt x="275292" y="255480"/>
                    <a:pt x="260737" y="250107"/>
                  </a:cubicBezTo>
                  <a:close/>
                  <a:moveTo>
                    <a:pt x="266700" y="285750"/>
                  </a:moveTo>
                  <a:lnTo>
                    <a:pt x="266700" y="342900"/>
                  </a:lnTo>
                  <a:lnTo>
                    <a:pt x="228600" y="342900"/>
                  </a:lnTo>
                  <a:lnTo>
                    <a:pt x="228600" y="285750"/>
                  </a:lnTo>
                  <a:cubicBezTo>
                    <a:pt x="228600" y="275244"/>
                    <a:pt x="237144" y="266700"/>
                    <a:pt x="247650" y="266700"/>
                  </a:cubicBezTo>
                  <a:cubicBezTo>
                    <a:pt x="258156" y="266700"/>
                    <a:pt x="266700" y="275244"/>
                    <a:pt x="266700" y="285750"/>
                  </a:cubicBezTo>
                  <a:close/>
                  <a:moveTo>
                    <a:pt x="228600" y="361950"/>
                  </a:moveTo>
                  <a:lnTo>
                    <a:pt x="266700" y="361950"/>
                  </a:lnTo>
                  <a:lnTo>
                    <a:pt x="266700" y="438150"/>
                  </a:lnTo>
                  <a:lnTo>
                    <a:pt x="228600" y="438150"/>
                  </a:lnTo>
                  <a:lnTo>
                    <a:pt x="228600" y="361950"/>
                  </a:lnTo>
                  <a:close/>
                  <a:moveTo>
                    <a:pt x="181794" y="157163"/>
                  </a:moveTo>
                  <a:lnTo>
                    <a:pt x="157163" y="181794"/>
                  </a:lnTo>
                  <a:lnTo>
                    <a:pt x="84906" y="109538"/>
                  </a:lnTo>
                  <a:lnTo>
                    <a:pt x="109538" y="84906"/>
                  </a:lnTo>
                  <a:lnTo>
                    <a:pt x="181794" y="157163"/>
                  </a:lnTo>
                  <a:close/>
                  <a:moveTo>
                    <a:pt x="19050" y="36471"/>
                  </a:moveTo>
                  <a:cubicBezTo>
                    <a:pt x="19050" y="26861"/>
                    <a:pt x="26861" y="19050"/>
                    <a:pt x="36471" y="19050"/>
                  </a:cubicBezTo>
                  <a:cubicBezTo>
                    <a:pt x="41119" y="19050"/>
                    <a:pt x="45491" y="20860"/>
                    <a:pt x="48787" y="24155"/>
                  </a:cubicBezTo>
                  <a:lnTo>
                    <a:pt x="96069" y="71438"/>
                  </a:lnTo>
                  <a:lnTo>
                    <a:pt x="71438" y="96069"/>
                  </a:lnTo>
                  <a:lnTo>
                    <a:pt x="24155" y="48787"/>
                  </a:lnTo>
                  <a:cubicBezTo>
                    <a:pt x="20860" y="45491"/>
                    <a:pt x="19050" y="41119"/>
                    <a:pt x="19050" y="36471"/>
                  </a:cubicBezTo>
                  <a:close/>
                  <a:moveTo>
                    <a:pt x="170631" y="195263"/>
                  </a:moveTo>
                  <a:lnTo>
                    <a:pt x="195263" y="170631"/>
                  </a:lnTo>
                  <a:lnTo>
                    <a:pt x="242545" y="217913"/>
                  </a:lnTo>
                  <a:cubicBezTo>
                    <a:pt x="245840" y="221209"/>
                    <a:pt x="247650" y="225581"/>
                    <a:pt x="247650" y="230229"/>
                  </a:cubicBezTo>
                  <a:cubicBezTo>
                    <a:pt x="247650" y="239840"/>
                    <a:pt x="239840" y="247650"/>
                    <a:pt x="230229" y="247650"/>
                  </a:cubicBezTo>
                  <a:cubicBezTo>
                    <a:pt x="225581" y="247650"/>
                    <a:pt x="221209" y="245840"/>
                    <a:pt x="217913" y="242545"/>
                  </a:cubicBezTo>
                  <a:lnTo>
                    <a:pt x="170631" y="195263"/>
                  </a:lnTo>
                  <a:close/>
                  <a:moveTo>
                    <a:pt x="247650" y="533400"/>
                  </a:moveTo>
                  <a:cubicBezTo>
                    <a:pt x="237144" y="533400"/>
                    <a:pt x="228600" y="524856"/>
                    <a:pt x="228600" y="514350"/>
                  </a:cubicBezTo>
                  <a:lnTo>
                    <a:pt x="228600" y="457200"/>
                  </a:lnTo>
                  <a:lnTo>
                    <a:pt x="266700" y="457200"/>
                  </a:lnTo>
                  <a:lnTo>
                    <a:pt x="266700" y="514350"/>
                  </a:lnTo>
                  <a:cubicBezTo>
                    <a:pt x="266700" y="524856"/>
                    <a:pt x="258156" y="533400"/>
                    <a:pt x="247650" y="533400"/>
                  </a:cubicBezTo>
                  <a:close/>
                </a:path>
              </a:pathLst>
            </a:custGeom>
            <a:grpFill/>
            <a:ln w="9525" cap="flat">
              <a:noFill/>
              <a:prstDash val="solid"/>
              <a:miter/>
            </a:ln>
          </p:spPr>
          <p:txBody>
            <a:bodyPr rtlCol="0" anchor="ctr"/>
            <a:lstStyle/>
            <a:p>
              <a:endParaRPr lang="pt-BR"/>
            </a:p>
          </p:txBody>
        </p:sp>
        <p:sp>
          <p:nvSpPr>
            <p:cNvPr id="18" name="Forma Livre: Forma 17">
              <a:extLst>
                <a:ext uri="{FF2B5EF4-FFF2-40B4-BE49-F238E27FC236}">
                  <a16:creationId xmlns:a16="http://schemas.microsoft.com/office/drawing/2014/main" id="{13498008-9BBA-A103-9493-344518391DBF}"/>
                </a:ext>
              </a:extLst>
            </p:cNvPr>
            <p:cNvSpPr/>
            <p:nvPr/>
          </p:nvSpPr>
          <p:spPr>
            <a:xfrm>
              <a:off x="-2028825" y="3099637"/>
              <a:ext cx="114300" cy="114300"/>
            </a:xfrm>
            <a:custGeom>
              <a:avLst/>
              <a:gdLst>
                <a:gd name="connsiteX0" fmla="*/ 50749 w 114300"/>
                <a:gd name="connsiteY0" fmla="*/ 8706 h 114300"/>
                <a:gd name="connsiteX1" fmla="*/ 29728 w 114300"/>
                <a:gd name="connsiteY1" fmla="*/ 0 h 114300"/>
                <a:gd name="connsiteX2" fmla="*/ 0 w 114300"/>
                <a:gd name="connsiteY2" fmla="*/ 29728 h 114300"/>
                <a:gd name="connsiteX3" fmla="*/ 8706 w 114300"/>
                <a:gd name="connsiteY3" fmla="*/ 50749 h 114300"/>
                <a:gd name="connsiteX4" fmla="*/ 63551 w 114300"/>
                <a:gd name="connsiteY4" fmla="*/ 105594 h 114300"/>
                <a:gd name="connsiteX5" fmla="*/ 84572 w 114300"/>
                <a:gd name="connsiteY5" fmla="*/ 114300 h 114300"/>
                <a:gd name="connsiteX6" fmla="*/ 114300 w 114300"/>
                <a:gd name="connsiteY6" fmla="*/ 84572 h 114300"/>
                <a:gd name="connsiteX7" fmla="*/ 105594 w 114300"/>
                <a:gd name="connsiteY7" fmla="*/ 63551 h 114300"/>
                <a:gd name="connsiteX8" fmla="*/ 50749 w 114300"/>
                <a:gd name="connsiteY8" fmla="*/ 8706 h 114300"/>
                <a:gd name="connsiteX9" fmla="*/ 19050 w 114300"/>
                <a:gd name="connsiteY9" fmla="*/ 29728 h 114300"/>
                <a:gd name="connsiteX10" fmla="*/ 29728 w 114300"/>
                <a:gd name="connsiteY10" fmla="*/ 19050 h 114300"/>
                <a:gd name="connsiteX11" fmla="*/ 37281 w 114300"/>
                <a:gd name="connsiteY11" fmla="*/ 22174 h 114300"/>
                <a:gd name="connsiteX12" fmla="*/ 57969 w 114300"/>
                <a:gd name="connsiteY12" fmla="*/ 42863 h 114300"/>
                <a:gd name="connsiteX13" fmla="*/ 42863 w 114300"/>
                <a:gd name="connsiteY13" fmla="*/ 57969 h 114300"/>
                <a:gd name="connsiteX14" fmla="*/ 22174 w 114300"/>
                <a:gd name="connsiteY14" fmla="*/ 37281 h 114300"/>
                <a:gd name="connsiteX15" fmla="*/ 19050 w 114300"/>
                <a:gd name="connsiteY15" fmla="*/ 29728 h 114300"/>
                <a:gd name="connsiteX16" fmla="*/ 84572 w 114300"/>
                <a:gd name="connsiteY16" fmla="*/ 95250 h 114300"/>
                <a:gd name="connsiteX17" fmla="*/ 77019 w 114300"/>
                <a:gd name="connsiteY17" fmla="*/ 92126 h 114300"/>
                <a:gd name="connsiteX18" fmla="*/ 56331 w 114300"/>
                <a:gd name="connsiteY18" fmla="*/ 71438 h 114300"/>
                <a:gd name="connsiteX19" fmla="*/ 71438 w 114300"/>
                <a:gd name="connsiteY19" fmla="*/ 56331 h 114300"/>
                <a:gd name="connsiteX20" fmla="*/ 92126 w 114300"/>
                <a:gd name="connsiteY20" fmla="*/ 77019 h 114300"/>
                <a:gd name="connsiteX21" fmla="*/ 95250 w 114300"/>
                <a:gd name="connsiteY21" fmla="*/ 84572 h 114300"/>
                <a:gd name="connsiteX22" fmla="*/ 84572 w 114300"/>
                <a:gd name="connsiteY22"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50749" y="8706"/>
                  </a:moveTo>
                  <a:cubicBezTo>
                    <a:pt x="45139" y="3096"/>
                    <a:pt x="37671" y="0"/>
                    <a:pt x="29728" y="0"/>
                  </a:cubicBezTo>
                  <a:cubicBezTo>
                    <a:pt x="13335" y="0"/>
                    <a:pt x="0" y="13335"/>
                    <a:pt x="0" y="29728"/>
                  </a:cubicBezTo>
                  <a:cubicBezTo>
                    <a:pt x="0" y="37671"/>
                    <a:pt x="3096" y="45139"/>
                    <a:pt x="8706" y="50749"/>
                  </a:cubicBezTo>
                  <a:lnTo>
                    <a:pt x="63551" y="105594"/>
                  </a:lnTo>
                  <a:cubicBezTo>
                    <a:pt x="69161" y="111204"/>
                    <a:pt x="76629" y="114300"/>
                    <a:pt x="84572" y="114300"/>
                  </a:cubicBezTo>
                  <a:cubicBezTo>
                    <a:pt x="100965" y="114300"/>
                    <a:pt x="114300" y="100965"/>
                    <a:pt x="114300" y="84572"/>
                  </a:cubicBezTo>
                  <a:cubicBezTo>
                    <a:pt x="114300" y="76629"/>
                    <a:pt x="111204" y="69161"/>
                    <a:pt x="105594" y="63551"/>
                  </a:cubicBezTo>
                  <a:lnTo>
                    <a:pt x="50749" y="8706"/>
                  </a:lnTo>
                  <a:close/>
                  <a:moveTo>
                    <a:pt x="19050" y="29728"/>
                  </a:moveTo>
                  <a:cubicBezTo>
                    <a:pt x="19050" y="23841"/>
                    <a:pt x="23841" y="19050"/>
                    <a:pt x="29728" y="19050"/>
                  </a:cubicBezTo>
                  <a:cubicBezTo>
                    <a:pt x="32585" y="19050"/>
                    <a:pt x="35262" y="20164"/>
                    <a:pt x="37281" y="22174"/>
                  </a:cubicBezTo>
                  <a:lnTo>
                    <a:pt x="57969" y="42863"/>
                  </a:lnTo>
                  <a:lnTo>
                    <a:pt x="42863" y="57969"/>
                  </a:lnTo>
                  <a:lnTo>
                    <a:pt x="22174" y="37281"/>
                  </a:lnTo>
                  <a:cubicBezTo>
                    <a:pt x="20164" y="35262"/>
                    <a:pt x="19050" y="32585"/>
                    <a:pt x="19050" y="29728"/>
                  </a:cubicBezTo>
                  <a:close/>
                  <a:moveTo>
                    <a:pt x="84572" y="95250"/>
                  </a:moveTo>
                  <a:cubicBezTo>
                    <a:pt x="81715" y="95250"/>
                    <a:pt x="79038" y="94136"/>
                    <a:pt x="77019" y="92126"/>
                  </a:cubicBezTo>
                  <a:lnTo>
                    <a:pt x="56331" y="71438"/>
                  </a:lnTo>
                  <a:lnTo>
                    <a:pt x="71438" y="56331"/>
                  </a:lnTo>
                  <a:lnTo>
                    <a:pt x="92126" y="77019"/>
                  </a:lnTo>
                  <a:cubicBezTo>
                    <a:pt x="94136" y="79038"/>
                    <a:pt x="95250" y="81715"/>
                    <a:pt x="95250" y="84572"/>
                  </a:cubicBezTo>
                  <a:cubicBezTo>
                    <a:pt x="95250" y="90459"/>
                    <a:pt x="90459" y="95250"/>
                    <a:pt x="84572" y="95250"/>
                  </a:cubicBezTo>
                  <a:close/>
                </a:path>
              </a:pathLst>
            </a:custGeom>
            <a:grpFill/>
            <a:ln w="9525" cap="flat">
              <a:noFill/>
              <a:prstDash val="solid"/>
              <a:miter/>
            </a:ln>
          </p:spPr>
          <p:txBody>
            <a:bodyPr rtlCol="0" anchor="ctr"/>
            <a:lstStyle/>
            <a:p>
              <a:endParaRPr lang="pt-BR"/>
            </a:p>
          </p:txBody>
        </p:sp>
        <p:sp>
          <p:nvSpPr>
            <p:cNvPr id="19" name="Forma Livre: Forma 18">
              <a:extLst>
                <a:ext uri="{FF2B5EF4-FFF2-40B4-BE49-F238E27FC236}">
                  <a16:creationId xmlns:a16="http://schemas.microsoft.com/office/drawing/2014/main" id="{525DFCCF-CDC0-76CC-2C30-098D02B94002}"/>
                </a:ext>
              </a:extLst>
            </p:cNvPr>
            <p:cNvSpPr/>
            <p:nvPr/>
          </p:nvSpPr>
          <p:spPr>
            <a:xfrm>
              <a:off x="-1781175" y="2918662"/>
              <a:ext cx="285750" cy="552450"/>
            </a:xfrm>
            <a:custGeom>
              <a:avLst/>
              <a:gdLst>
                <a:gd name="connsiteX0" fmla="*/ 249279 w 285750"/>
                <a:gd name="connsiteY0" fmla="*/ 0 h 552450"/>
                <a:gd name="connsiteX1" fmla="*/ 223495 w 285750"/>
                <a:gd name="connsiteY1" fmla="*/ 10687 h 552450"/>
                <a:gd name="connsiteX2" fmla="*/ 29737 w 285750"/>
                <a:gd name="connsiteY2" fmla="*/ 204445 h 552450"/>
                <a:gd name="connsiteX3" fmla="*/ 19050 w 285750"/>
                <a:gd name="connsiteY3" fmla="*/ 230229 h 552450"/>
                <a:gd name="connsiteX4" fmla="*/ 25013 w 285750"/>
                <a:gd name="connsiteY4" fmla="*/ 250107 h 552450"/>
                <a:gd name="connsiteX5" fmla="*/ 0 w 285750"/>
                <a:gd name="connsiteY5" fmla="*/ 285750 h 552450"/>
                <a:gd name="connsiteX6" fmla="*/ 0 w 285750"/>
                <a:gd name="connsiteY6" fmla="*/ 514350 h 552450"/>
                <a:gd name="connsiteX7" fmla="*/ 38100 w 285750"/>
                <a:gd name="connsiteY7" fmla="*/ 552450 h 552450"/>
                <a:gd name="connsiteX8" fmla="*/ 76200 w 285750"/>
                <a:gd name="connsiteY8" fmla="*/ 514350 h 552450"/>
                <a:gd name="connsiteX9" fmla="*/ 76200 w 285750"/>
                <a:gd name="connsiteY9" fmla="*/ 285750 h 552450"/>
                <a:gd name="connsiteX10" fmla="*/ 69294 w 285750"/>
                <a:gd name="connsiteY10" fmla="*/ 263995 h 552450"/>
                <a:gd name="connsiteX11" fmla="*/ 81296 w 285750"/>
                <a:gd name="connsiteY11" fmla="*/ 256013 h 552450"/>
                <a:gd name="connsiteX12" fmla="*/ 275063 w 285750"/>
                <a:gd name="connsiteY12" fmla="*/ 62246 h 552450"/>
                <a:gd name="connsiteX13" fmla="*/ 285750 w 285750"/>
                <a:gd name="connsiteY13" fmla="*/ 36471 h 552450"/>
                <a:gd name="connsiteX14" fmla="*/ 249279 w 285750"/>
                <a:gd name="connsiteY14" fmla="*/ 0 h 552450"/>
                <a:gd name="connsiteX15" fmla="*/ 176213 w 285750"/>
                <a:gd name="connsiteY15" fmla="*/ 84906 h 552450"/>
                <a:gd name="connsiteX16" fmla="*/ 200844 w 285750"/>
                <a:gd name="connsiteY16" fmla="*/ 109538 h 552450"/>
                <a:gd name="connsiteX17" fmla="*/ 128588 w 285750"/>
                <a:gd name="connsiteY17" fmla="*/ 181794 h 552450"/>
                <a:gd name="connsiteX18" fmla="*/ 103956 w 285750"/>
                <a:gd name="connsiteY18" fmla="*/ 157163 h 552450"/>
                <a:gd name="connsiteX19" fmla="*/ 176213 w 285750"/>
                <a:gd name="connsiteY19" fmla="*/ 84906 h 552450"/>
                <a:gd name="connsiteX20" fmla="*/ 38100 w 285750"/>
                <a:gd name="connsiteY20" fmla="*/ 266700 h 552450"/>
                <a:gd name="connsiteX21" fmla="*/ 57150 w 285750"/>
                <a:gd name="connsiteY21" fmla="*/ 285750 h 552450"/>
                <a:gd name="connsiteX22" fmla="*/ 57150 w 285750"/>
                <a:gd name="connsiteY22" fmla="*/ 342900 h 552450"/>
                <a:gd name="connsiteX23" fmla="*/ 19050 w 285750"/>
                <a:gd name="connsiteY23" fmla="*/ 342900 h 552450"/>
                <a:gd name="connsiteX24" fmla="*/ 19050 w 285750"/>
                <a:gd name="connsiteY24" fmla="*/ 285750 h 552450"/>
                <a:gd name="connsiteX25" fmla="*/ 38100 w 285750"/>
                <a:gd name="connsiteY25" fmla="*/ 266700 h 552450"/>
                <a:gd name="connsiteX26" fmla="*/ 57150 w 285750"/>
                <a:gd name="connsiteY26" fmla="*/ 361950 h 552450"/>
                <a:gd name="connsiteX27" fmla="*/ 57150 w 285750"/>
                <a:gd name="connsiteY27" fmla="*/ 438150 h 552450"/>
                <a:gd name="connsiteX28" fmla="*/ 19050 w 285750"/>
                <a:gd name="connsiteY28" fmla="*/ 438150 h 552450"/>
                <a:gd name="connsiteX29" fmla="*/ 19050 w 285750"/>
                <a:gd name="connsiteY29" fmla="*/ 361950 h 552450"/>
                <a:gd name="connsiteX30" fmla="*/ 57150 w 285750"/>
                <a:gd name="connsiteY30" fmla="*/ 361950 h 552450"/>
                <a:gd name="connsiteX31" fmla="*/ 38100 w 285750"/>
                <a:gd name="connsiteY31" fmla="*/ 533400 h 552450"/>
                <a:gd name="connsiteX32" fmla="*/ 19050 w 285750"/>
                <a:gd name="connsiteY32" fmla="*/ 514350 h 552450"/>
                <a:gd name="connsiteX33" fmla="*/ 19050 w 285750"/>
                <a:gd name="connsiteY33" fmla="*/ 457200 h 552450"/>
                <a:gd name="connsiteX34" fmla="*/ 57150 w 285750"/>
                <a:gd name="connsiteY34" fmla="*/ 457200 h 552450"/>
                <a:gd name="connsiteX35" fmla="*/ 57150 w 285750"/>
                <a:gd name="connsiteY35" fmla="*/ 514350 h 552450"/>
                <a:gd name="connsiteX36" fmla="*/ 38100 w 285750"/>
                <a:gd name="connsiteY36" fmla="*/ 533400 h 552450"/>
                <a:gd name="connsiteX37" fmla="*/ 67837 w 285750"/>
                <a:gd name="connsiteY37" fmla="*/ 242545 h 552450"/>
                <a:gd name="connsiteX38" fmla="*/ 55521 w 285750"/>
                <a:gd name="connsiteY38" fmla="*/ 247650 h 552450"/>
                <a:gd name="connsiteX39" fmla="*/ 38100 w 285750"/>
                <a:gd name="connsiteY39" fmla="*/ 230229 h 552450"/>
                <a:gd name="connsiteX40" fmla="*/ 43205 w 285750"/>
                <a:gd name="connsiteY40" fmla="*/ 217913 h 552450"/>
                <a:gd name="connsiteX41" fmla="*/ 90488 w 285750"/>
                <a:gd name="connsiteY41" fmla="*/ 170631 h 552450"/>
                <a:gd name="connsiteX42" fmla="*/ 115119 w 285750"/>
                <a:gd name="connsiteY42" fmla="*/ 195263 h 552450"/>
                <a:gd name="connsiteX43" fmla="*/ 67837 w 285750"/>
                <a:gd name="connsiteY43" fmla="*/ 242545 h 552450"/>
                <a:gd name="connsiteX44" fmla="*/ 261595 w 285750"/>
                <a:gd name="connsiteY44" fmla="*/ 48787 h 552450"/>
                <a:gd name="connsiteX45" fmla="*/ 214313 w 285750"/>
                <a:gd name="connsiteY45" fmla="*/ 96069 h 552450"/>
                <a:gd name="connsiteX46" fmla="*/ 189681 w 285750"/>
                <a:gd name="connsiteY46" fmla="*/ 71438 h 552450"/>
                <a:gd name="connsiteX47" fmla="*/ 236963 w 285750"/>
                <a:gd name="connsiteY47" fmla="*/ 24155 h 552450"/>
                <a:gd name="connsiteX48" fmla="*/ 249279 w 285750"/>
                <a:gd name="connsiteY48" fmla="*/ 19050 h 552450"/>
                <a:gd name="connsiteX49" fmla="*/ 266700 w 285750"/>
                <a:gd name="connsiteY49" fmla="*/ 36471 h 552450"/>
                <a:gd name="connsiteX50" fmla="*/ 261595 w 285750"/>
                <a:gd name="connsiteY50" fmla="*/ 48787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49279" y="0"/>
                  </a:moveTo>
                  <a:cubicBezTo>
                    <a:pt x="239544" y="0"/>
                    <a:pt x="230381" y="3791"/>
                    <a:pt x="223495" y="10687"/>
                  </a:cubicBezTo>
                  <a:lnTo>
                    <a:pt x="29737" y="204445"/>
                  </a:lnTo>
                  <a:cubicBezTo>
                    <a:pt x="22841" y="211341"/>
                    <a:pt x="19050" y="220494"/>
                    <a:pt x="19050" y="230229"/>
                  </a:cubicBezTo>
                  <a:cubicBezTo>
                    <a:pt x="19050" y="237573"/>
                    <a:pt x="21269" y="244383"/>
                    <a:pt x="25013" y="250107"/>
                  </a:cubicBezTo>
                  <a:cubicBezTo>
                    <a:pt x="10458" y="255480"/>
                    <a:pt x="0" y="269357"/>
                    <a:pt x="0" y="285750"/>
                  </a:cubicBezTo>
                  <a:lnTo>
                    <a:pt x="0" y="514350"/>
                  </a:lnTo>
                  <a:cubicBezTo>
                    <a:pt x="0" y="535362"/>
                    <a:pt x="17088" y="552450"/>
                    <a:pt x="38100" y="552450"/>
                  </a:cubicBezTo>
                  <a:cubicBezTo>
                    <a:pt x="59112" y="552450"/>
                    <a:pt x="76200" y="535362"/>
                    <a:pt x="76200" y="514350"/>
                  </a:cubicBezTo>
                  <a:lnTo>
                    <a:pt x="76200" y="285750"/>
                  </a:lnTo>
                  <a:cubicBezTo>
                    <a:pt x="76200" y="277654"/>
                    <a:pt x="73619" y="270177"/>
                    <a:pt x="69294" y="263995"/>
                  </a:cubicBezTo>
                  <a:cubicBezTo>
                    <a:pt x="73733" y="262185"/>
                    <a:pt x="77810" y="259509"/>
                    <a:pt x="81296" y="256013"/>
                  </a:cubicBezTo>
                  <a:lnTo>
                    <a:pt x="275063" y="62246"/>
                  </a:lnTo>
                  <a:cubicBezTo>
                    <a:pt x="281959" y="55369"/>
                    <a:pt x="285750" y="46206"/>
                    <a:pt x="285750" y="36471"/>
                  </a:cubicBezTo>
                  <a:cubicBezTo>
                    <a:pt x="285750" y="16354"/>
                    <a:pt x="269396" y="0"/>
                    <a:pt x="249279" y="0"/>
                  </a:cubicBezTo>
                  <a:close/>
                  <a:moveTo>
                    <a:pt x="176213" y="84906"/>
                  </a:moveTo>
                  <a:lnTo>
                    <a:pt x="200844" y="109538"/>
                  </a:lnTo>
                  <a:lnTo>
                    <a:pt x="128588" y="181794"/>
                  </a:lnTo>
                  <a:lnTo>
                    <a:pt x="103956" y="157163"/>
                  </a:lnTo>
                  <a:lnTo>
                    <a:pt x="176213" y="84906"/>
                  </a:lnTo>
                  <a:close/>
                  <a:moveTo>
                    <a:pt x="38100" y="266700"/>
                  </a:moveTo>
                  <a:cubicBezTo>
                    <a:pt x="48606" y="266700"/>
                    <a:pt x="57150" y="275244"/>
                    <a:pt x="57150" y="285750"/>
                  </a:cubicBezTo>
                  <a:lnTo>
                    <a:pt x="57150" y="342900"/>
                  </a:lnTo>
                  <a:lnTo>
                    <a:pt x="19050" y="342900"/>
                  </a:lnTo>
                  <a:lnTo>
                    <a:pt x="19050" y="285750"/>
                  </a:lnTo>
                  <a:cubicBezTo>
                    <a:pt x="19050" y="275244"/>
                    <a:pt x="27594" y="266700"/>
                    <a:pt x="38100" y="266700"/>
                  </a:cubicBezTo>
                  <a:close/>
                  <a:moveTo>
                    <a:pt x="57150" y="361950"/>
                  </a:moveTo>
                  <a:lnTo>
                    <a:pt x="57150" y="438150"/>
                  </a:lnTo>
                  <a:lnTo>
                    <a:pt x="19050" y="438150"/>
                  </a:lnTo>
                  <a:lnTo>
                    <a:pt x="19050" y="361950"/>
                  </a:lnTo>
                  <a:lnTo>
                    <a:pt x="57150" y="361950"/>
                  </a:lnTo>
                  <a:close/>
                  <a:moveTo>
                    <a:pt x="38100" y="533400"/>
                  </a:moveTo>
                  <a:cubicBezTo>
                    <a:pt x="27594" y="533400"/>
                    <a:pt x="19050" y="524856"/>
                    <a:pt x="19050" y="514350"/>
                  </a:cubicBezTo>
                  <a:lnTo>
                    <a:pt x="19050" y="457200"/>
                  </a:lnTo>
                  <a:lnTo>
                    <a:pt x="57150" y="457200"/>
                  </a:lnTo>
                  <a:lnTo>
                    <a:pt x="57150" y="514350"/>
                  </a:lnTo>
                  <a:cubicBezTo>
                    <a:pt x="57150" y="524856"/>
                    <a:pt x="48606" y="533400"/>
                    <a:pt x="38100" y="533400"/>
                  </a:cubicBezTo>
                  <a:close/>
                  <a:moveTo>
                    <a:pt x="67837" y="242545"/>
                  </a:moveTo>
                  <a:cubicBezTo>
                    <a:pt x="64541" y="245840"/>
                    <a:pt x="60169" y="247650"/>
                    <a:pt x="55521" y="247650"/>
                  </a:cubicBezTo>
                  <a:cubicBezTo>
                    <a:pt x="45910" y="247650"/>
                    <a:pt x="38100" y="239840"/>
                    <a:pt x="38100" y="230229"/>
                  </a:cubicBezTo>
                  <a:cubicBezTo>
                    <a:pt x="38100" y="225581"/>
                    <a:pt x="39910" y="221209"/>
                    <a:pt x="43205" y="217913"/>
                  </a:cubicBezTo>
                  <a:lnTo>
                    <a:pt x="90488" y="170631"/>
                  </a:lnTo>
                  <a:lnTo>
                    <a:pt x="115119" y="195263"/>
                  </a:lnTo>
                  <a:lnTo>
                    <a:pt x="67837" y="242545"/>
                  </a:lnTo>
                  <a:close/>
                  <a:moveTo>
                    <a:pt x="261595" y="48787"/>
                  </a:moveTo>
                  <a:lnTo>
                    <a:pt x="214313" y="96069"/>
                  </a:lnTo>
                  <a:lnTo>
                    <a:pt x="189681" y="71438"/>
                  </a:lnTo>
                  <a:lnTo>
                    <a:pt x="236963" y="24155"/>
                  </a:lnTo>
                  <a:cubicBezTo>
                    <a:pt x="240259" y="20860"/>
                    <a:pt x="244631" y="19050"/>
                    <a:pt x="249279" y="19050"/>
                  </a:cubicBezTo>
                  <a:cubicBezTo>
                    <a:pt x="258890" y="19050"/>
                    <a:pt x="266700" y="26861"/>
                    <a:pt x="266700" y="36471"/>
                  </a:cubicBezTo>
                  <a:cubicBezTo>
                    <a:pt x="266700" y="41119"/>
                    <a:pt x="264890" y="45491"/>
                    <a:pt x="261595" y="48787"/>
                  </a:cubicBezTo>
                  <a:close/>
                </a:path>
              </a:pathLst>
            </a:custGeom>
            <a:grpFill/>
            <a:ln w="9525" cap="flat">
              <a:noFill/>
              <a:prstDash val="solid"/>
              <a:miter/>
            </a:ln>
          </p:spPr>
          <p:txBody>
            <a:bodyPr rtlCol="0" anchor="ctr"/>
            <a:lstStyle/>
            <a:p>
              <a:endParaRPr lang="pt-BR"/>
            </a:p>
          </p:txBody>
        </p:sp>
        <p:sp>
          <p:nvSpPr>
            <p:cNvPr id="21" name="Forma Livre: Forma 20">
              <a:extLst>
                <a:ext uri="{FF2B5EF4-FFF2-40B4-BE49-F238E27FC236}">
                  <a16:creationId xmlns:a16="http://schemas.microsoft.com/office/drawing/2014/main" id="{7E5CCF0B-728D-E1F9-F47E-F8D5A4B0AFDE}"/>
                </a:ext>
              </a:extLst>
            </p:cNvPr>
            <p:cNvSpPr/>
            <p:nvPr/>
          </p:nvSpPr>
          <p:spPr>
            <a:xfrm>
              <a:off x="-1666875" y="3099637"/>
              <a:ext cx="114300" cy="114300"/>
            </a:xfrm>
            <a:custGeom>
              <a:avLst/>
              <a:gdLst>
                <a:gd name="connsiteX0" fmla="*/ 84572 w 114300"/>
                <a:gd name="connsiteY0" fmla="*/ 0 h 114300"/>
                <a:gd name="connsiteX1" fmla="*/ 63551 w 114300"/>
                <a:gd name="connsiteY1" fmla="*/ 8706 h 114300"/>
                <a:gd name="connsiteX2" fmla="*/ 8706 w 114300"/>
                <a:gd name="connsiteY2" fmla="*/ 63551 h 114300"/>
                <a:gd name="connsiteX3" fmla="*/ 0 w 114300"/>
                <a:gd name="connsiteY3" fmla="*/ 84572 h 114300"/>
                <a:gd name="connsiteX4" fmla="*/ 29728 w 114300"/>
                <a:gd name="connsiteY4" fmla="*/ 114300 h 114300"/>
                <a:gd name="connsiteX5" fmla="*/ 50749 w 114300"/>
                <a:gd name="connsiteY5" fmla="*/ 105594 h 114300"/>
                <a:gd name="connsiteX6" fmla="*/ 105594 w 114300"/>
                <a:gd name="connsiteY6" fmla="*/ 50749 h 114300"/>
                <a:gd name="connsiteX7" fmla="*/ 114300 w 114300"/>
                <a:gd name="connsiteY7" fmla="*/ 29728 h 114300"/>
                <a:gd name="connsiteX8" fmla="*/ 84572 w 114300"/>
                <a:gd name="connsiteY8" fmla="*/ 0 h 114300"/>
                <a:gd name="connsiteX9" fmla="*/ 37281 w 114300"/>
                <a:gd name="connsiteY9" fmla="*/ 92126 h 114300"/>
                <a:gd name="connsiteX10" fmla="*/ 29728 w 114300"/>
                <a:gd name="connsiteY10" fmla="*/ 95250 h 114300"/>
                <a:gd name="connsiteX11" fmla="*/ 19050 w 114300"/>
                <a:gd name="connsiteY11" fmla="*/ 84572 h 114300"/>
                <a:gd name="connsiteX12" fmla="*/ 22174 w 114300"/>
                <a:gd name="connsiteY12" fmla="*/ 77019 h 114300"/>
                <a:gd name="connsiteX13" fmla="*/ 42863 w 114300"/>
                <a:gd name="connsiteY13" fmla="*/ 56331 h 114300"/>
                <a:gd name="connsiteX14" fmla="*/ 57969 w 114300"/>
                <a:gd name="connsiteY14" fmla="*/ 71438 h 114300"/>
                <a:gd name="connsiteX15" fmla="*/ 37281 w 114300"/>
                <a:gd name="connsiteY15" fmla="*/ 92126 h 114300"/>
                <a:gd name="connsiteX16" fmla="*/ 92126 w 114300"/>
                <a:gd name="connsiteY16" fmla="*/ 37281 h 114300"/>
                <a:gd name="connsiteX17" fmla="*/ 71438 w 114300"/>
                <a:gd name="connsiteY17" fmla="*/ 57969 h 114300"/>
                <a:gd name="connsiteX18" fmla="*/ 56331 w 114300"/>
                <a:gd name="connsiteY18" fmla="*/ 42863 h 114300"/>
                <a:gd name="connsiteX19" fmla="*/ 77019 w 114300"/>
                <a:gd name="connsiteY19" fmla="*/ 22174 h 114300"/>
                <a:gd name="connsiteX20" fmla="*/ 84572 w 114300"/>
                <a:gd name="connsiteY20" fmla="*/ 19050 h 114300"/>
                <a:gd name="connsiteX21" fmla="*/ 95250 w 114300"/>
                <a:gd name="connsiteY21" fmla="*/ 29728 h 114300"/>
                <a:gd name="connsiteX22" fmla="*/ 92126 w 114300"/>
                <a:gd name="connsiteY22" fmla="*/ 3728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84572" y="0"/>
                  </a:moveTo>
                  <a:cubicBezTo>
                    <a:pt x="76629" y="0"/>
                    <a:pt x="69161" y="3096"/>
                    <a:pt x="63551" y="8706"/>
                  </a:cubicBezTo>
                  <a:lnTo>
                    <a:pt x="8706" y="63551"/>
                  </a:lnTo>
                  <a:cubicBezTo>
                    <a:pt x="3096" y="69161"/>
                    <a:pt x="0" y="76629"/>
                    <a:pt x="0" y="84572"/>
                  </a:cubicBezTo>
                  <a:cubicBezTo>
                    <a:pt x="0" y="100965"/>
                    <a:pt x="13335" y="114300"/>
                    <a:pt x="29728" y="114300"/>
                  </a:cubicBezTo>
                  <a:cubicBezTo>
                    <a:pt x="37671" y="114300"/>
                    <a:pt x="45139" y="111204"/>
                    <a:pt x="50749" y="105594"/>
                  </a:cubicBezTo>
                  <a:lnTo>
                    <a:pt x="105594" y="50749"/>
                  </a:lnTo>
                  <a:cubicBezTo>
                    <a:pt x="111204" y="45139"/>
                    <a:pt x="114300" y="37671"/>
                    <a:pt x="114300" y="29728"/>
                  </a:cubicBezTo>
                  <a:cubicBezTo>
                    <a:pt x="114300" y="13335"/>
                    <a:pt x="100965" y="0"/>
                    <a:pt x="84572" y="0"/>
                  </a:cubicBezTo>
                  <a:close/>
                  <a:moveTo>
                    <a:pt x="37281" y="92126"/>
                  </a:moveTo>
                  <a:cubicBezTo>
                    <a:pt x="35262" y="94136"/>
                    <a:pt x="32585" y="95250"/>
                    <a:pt x="29728" y="95250"/>
                  </a:cubicBezTo>
                  <a:cubicBezTo>
                    <a:pt x="23841" y="95250"/>
                    <a:pt x="19050" y="90459"/>
                    <a:pt x="19050" y="84572"/>
                  </a:cubicBezTo>
                  <a:cubicBezTo>
                    <a:pt x="19050" y="81715"/>
                    <a:pt x="20164" y="79038"/>
                    <a:pt x="22174" y="77019"/>
                  </a:cubicBezTo>
                  <a:lnTo>
                    <a:pt x="42863" y="56331"/>
                  </a:lnTo>
                  <a:lnTo>
                    <a:pt x="57969" y="71438"/>
                  </a:lnTo>
                  <a:lnTo>
                    <a:pt x="37281" y="92126"/>
                  </a:lnTo>
                  <a:close/>
                  <a:moveTo>
                    <a:pt x="92126" y="37281"/>
                  </a:moveTo>
                  <a:lnTo>
                    <a:pt x="71438" y="57969"/>
                  </a:lnTo>
                  <a:lnTo>
                    <a:pt x="56331" y="42863"/>
                  </a:lnTo>
                  <a:lnTo>
                    <a:pt x="77019" y="22174"/>
                  </a:lnTo>
                  <a:cubicBezTo>
                    <a:pt x="79038" y="20164"/>
                    <a:pt x="81715" y="19050"/>
                    <a:pt x="84572" y="19050"/>
                  </a:cubicBezTo>
                  <a:cubicBezTo>
                    <a:pt x="90459" y="19050"/>
                    <a:pt x="95250" y="23841"/>
                    <a:pt x="95250" y="29728"/>
                  </a:cubicBezTo>
                  <a:cubicBezTo>
                    <a:pt x="95250" y="32585"/>
                    <a:pt x="94136" y="35262"/>
                    <a:pt x="92126" y="37281"/>
                  </a:cubicBezTo>
                  <a:close/>
                </a:path>
              </a:pathLst>
            </a:custGeom>
            <a:grpFill/>
            <a:ln w="9525" cap="flat">
              <a:noFill/>
              <a:prstDash val="solid"/>
              <a:miter/>
            </a:ln>
          </p:spPr>
          <p:txBody>
            <a:bodyPr rtlCol="0" anchor="ctr"/>
            <a:lstStyle/>
            <a:p>
              <a:endParaRPr lang="pt-BR"/>
            </a:p>
          </p:txBody>
        </p:sp>
      </p:grpSp>
      <p:grpSp>
        <p:nvGrpSpPr>
          <p:cNvPr id="27" name="Gráfico 24">
            <a:extLst>
              <a:ext uri="{FF2B5EF4-FFF2-40B4-BE49-F238E27FC236}">
                <a16:creationId xmlns:a16="http://schemas.microsoft.com/office/drawing/2014/main" id="{75423D59-8A7B-1B01-B532-45DA5521FC0C}"/>
              </a:ext>
            </a:extLst>
          </p:cNvPr>
          <p:cNvGrpSpPr/>
          <p:nvPr/>
        </p:nvGrpSpPr>
        <p:grpSpPr>
          <a:xfrm>
            <a:off x="4408646" y="1964617"/>
            <a:ext cx="590550" cy="590550"/>
            <a:chOff x="-1864391" y="2397229"/>
            <a:chExt cx="590550" cy="590550"/>
          </a:xfrm>
          <a:solidFill>
            <a:schemeClr val="bg1"/>
          </a:solidFill>
        </p:grpSpPr>
        <p:sp>
          <p:nvSpPr>
            <p:cNvPr id="28" name="Forma Livre: Forma 27">
              <a:extLst>
                <a:ext uri="{FF2B5EF4-FFF2-40B4-BE49-F238E27FC236}">
                  <a16:creationId xmlns:a16="http://schemas.microsoft.com/office/drawing/2014/main" id="{7CDA2D42-801F-85E5-2B4D-B85A62FAF8EC}"/>
                </a:ext>
              </a:extLst>
            </p:cNvPr>
            <p:cNvSpPr/>
            <p:nvPr/>
          </p:nvSpPr>
          <p:spPr>
            <a:xfrm>
              <a:off x="-1864391" y="2397229"/>
              <a:ext cx="590550" cy="590550"/>
            </a:xfrm>
            <a:custGeom>
              <a:avLst/>
              <a:gdLst>
                <a:gd name="connsiteX0" fmla="*/ 590550 w 590550"/>
                <a:gd name="connsiteY0" fmla="*/ 66675 h 590550"/>
                <a:gd name="connsiteX1" fmla="*/ 542925 w 590550"/>
                <a:gd name="connsiteY1" fmla="*/ 19050 h 590550"/>
                <a:gd name="connsiteX2" fmla="*/ 521046 w 590550"/>
                <a:gd name="connsiteY2" fmla="*/ 24632 h 590550"/>
                <a:gd name="connsiteX3" fmla="*/ 438150 w 590550"/>
                <a:gd name="connsiteY3" fmla="*/ 0 h 590550"/>
                <a:gd name="connsiteX4" fmla="*/ 382238 w 590550"/>
                <a:gd name="connsiteY4" fmla="*/ 10792 h 590550"/>
                <a:gd name="connsiteX5" fmla="*/ 352425 w 590550"/>
                <a:gd name="connsiteY5" fmla="*/ 0 h 590550"/>
                <a:gd name="connsiteX6" fmla="*/ 304800 w 590550"/>
                <a:gd name="connsiteY6" fmla="*/ 47625 h 590550"/>
                <a:gd name="connsiteX7" fmla="*/ 310382 w 590550"/>
                <a:gd name="connsiteY7" fmla="*/ 69513 h 590550"/>
                <a:gd name="connsiteX8" fmla="*/ 290636 w 590550"/>
                <a:gd name="connsiteY8" fmla="*/ 114300 h 590550"/>
                <a:gd name="connsiteX9" fmla="*/ 28575 w 590550"/>
                <a:gd name="connsiteY9" fmla="*/ 114300 h 590550"/>
                <a:gd name="connsiteX10" fmla="*/ 0 w 590550"/>
                <a:gd name="connsiteY10" fmla="*/ 142875 h 590550"/>
                <a:gd name="connsiteX11" fmla="*/ 0 w 590550"/>
                <a:gd name="connsiteY11" fmla="*/ 161925 h 590550"/>
                <a:gd name="connsiteX12" fmla="*/ 28575 w 590550"/>
                <a:gd name="connsiteY12" fmla="*/ 190500 h 590550"/>
                <a:gd name="connsiteX13" fmla="*/ 285750 w 590550"/>
                <a:gd name="connsiteY13" fmla="*/ 190500 h 590550"/>
                <a:gd name="connsiteX14" fmla="*/ 285750 w 590550"/>
                <a:gd name="connsiteY14" fmla="*/ 219075 h 590550"/>
                <a:gd name="connsiteX15" fmla="*/ 288322 w 590550"/>
                <a:gd name="connsiteY15" fmla="*/ 251212 h 590550"/>
                <a:gd name="connsiteX16" fmla="*/ 266700 w 590550"/>
                <a:gd name="connsiteY16" fmla="*/ 247650 h 590550"/>
                <a:gd name="connsiteX17" fmla="*/ 215532 w 590550"/>
                <a:gd name="connsiteY17" fmla="*/ 271653 h 590550"/>
                <a:gd name="connsiteX18" fmla="*/ 170793 w 590550"/>
                <a:gd name="connsiteY18" fmla="*/ 244126 h 590550"/>
                <a:gd name="connsiteX19" fmla="*/ 171450 w 590550"/>
                <a:gd name="connsiteY19" fmla="*/ 238125 h 590550"/>
                <a:gd name="connsiteX20" fmla="*/ 142875 w 590550"/>
                <a:gd name="connsiteY20" fmla="*/ 209550 h 590550"/>
                <a:gd name="connsiteX21" fmla="*/ 114300 w 590550"/>
                <a:gd name="connsiteY21" fmla="*/ 238125 h 590550"/>
                <a:gd name="connsiteX22" fmla="*/ 142875 w 590550"/>
                <a:gd name="connsiteY22" fmla="*/ 266700 h 590550"/>
                <a:gd name="connsiteX23" fmla="*/ 160706 w 590550"/>
                <a:gd name="connsiteY23" fmla="*/ 260280 h 590550"/>
                <a:gd name="connsiteX24" fmla="*/ 205530 w 590550"/>
                <a:gd name="connsiteY24" fmla="*/ 287865 h 590550"/>
                <a:gd name="connsiteX25" fmla="*/ 200092 w 590550"/>
                <a:gd name="connsiteY25" fmla="*/ 313058 h 590550"/>
                <a:gd name="connsiteX26" fmla="*/ 73447 w 590550"/>
                <a:gd name="connsiteY26" fmla="*/ 328879 h 590550"/>
                <a:gd name="connsiteX27" fmla="*/ 38100 w 590550"/>
                <a:gd name="connsiteY27" fmla="*/ 304800 h 590550"/>
                <a:gd name="connsiteX28" fmla="*/ 0 w 590550"/>
                <a:gd name="connsiteY28" fmla="*/ 342900 h 590550"/>
                <a:gd name="connsiteX29" fmla="*/ 38100 w 590550"/>
                <a:gd name="connsiteY29" fmla="*/ 381000 h 590550"/>
                <a:gd name="connsiteX30" fmla="*/ 75705 w 590550"/>
                <a:gd name="connsiteY30" fmla="*/ 347796 h 590550"/>
                <a:gd name="connsiteX31" fmla="*/ 202463 w 590550"/>
                <a:gd name="connsiteY31" fmla="*/ 331946 h 590550"/>
                <a:gd name="connsiteX32" fmla="*/ 243573 w 590550"/>
                <a:gd name="connsiteY32" fmla="*/ 376771 h 590550"/>
                <a:gd name="connsiteX33" fmla="*/ 234420 w 590550"/>
                <a:gd name="connsiteY33" fmla="*/ 419462 h 590550"/>
                <a:gd name="connsiteX34" fmla="*/ 209550 w 590550"/>
                <a:gd name="connsiteY34" fmla="*/ 447675 h 590550"/>
                <a:gd name="connsiteX35" fmla="*/ 238125 w 590550"/>
                <a:gd name="connsiteY35" fmla="*/ 476250 h 590550"/>
                <a:gd name="connsiteX36" fmla="*/ 266700 w 590550"/>
                <a:gd name="connsiteY36" fmla="*/ 447675 h 590550"/>
                <a:gd name="connsiteX37" fmla="*/ 253060 w 590550"/>
                <a:gd name="connsiteY37" fmla="*/ 423424 h 590550"/>
                <a:gd name="connsiteX38" fmla="*/ 262204 w 590550"/>
                <a:gd name="connsiteY38" fmla="*/ 380771 h 590550"/>
                <a:gd name="connsiteX39" fmla="*/ 266700 w 590550"/>
                <a:gd name="connsiteY39" fmla="*/ 381000 h 590550"/>
                <a:gd name="connsiteX40" fmla="*/ 327870 w 590550"/>
                <a:gd name="connsiteY40" fmla="*/ 340643 h 590550"/>
                <a:gd name="connsiteX41" fmla="*/ 390344 w 590550"/>
                <a:gd name="connsiteY41" fmla="*/ 400031 h 590550"/>
                <a:gd name="connsiteX42" fmla="*/ 285750 w 590550"/>
                <a:gd name="connsiteY42" fmla="*/ 581025 h 590550"/>
                <a:gd name="connsiteX43" fmla="*/ 285750 w 590550"/>
                <a:gd name="connsiteY43" fmla="*/ 590550 h 590550"/>
                <a:gd name="connsiteX44" fmla="*/ 590550 w 590550"/>
                <a:gd name="connsiteY44" fmla="*/ 590550 h 590550"/>
                <a:gd name="connsiteX45" fmla="*/ 590550 w 590550"/>
                <a:gd name="connsiteY45" fmla="*/ 581025 h 590550"/>
                <a:gd name="connsiteX46" fmla="*/ 485946 w 590550"/>
                <a:gd name="connsiteY46" fmla="*/ 400069 h 590550"/>
                <a:gd name="connsiteX47" fmla="*/ 590550 w 590550"/>
                <a:gd name="connsiteY47" fmla="*/ 219075 h 590550"/>
                <a:gd name="connsiteX48" fmla="*/ 590550 w 590550"/>
                <a:gd name="connsiteY48" fmla="*/ 152400 h 590550"/>
                <a:gd name="connsiteX49" fmla="*/ 579758 w 590550"/>
                <a:gd name="connsiteY49" fmla="*/ 96488 h 590550"/>
                <a:gd name="connsiteX50" fmla="*/ 590550 w 590550"/>
                <a:gd name="connsiteY50" fmla="*/ 66675 h 590550"/>
                <a:gd name="connsiteX51" fmla="*/ 142875 w 590550"/>
                <a:gd name="connsiteY51" fmla="*/ 247650 h 590550"/>
                <a:gd name="connsiteX52" fmla="*/ 133350 w 590550"/>
                <a:gd name="connsiteY52" fmla="*/ 238125 h 590550"/>
                <a:gd name="connsiteX53" fmla="*/ 142875 w 590550"/>
                <a:gd name="connsiteY53" fmla="*/ 228600 h 590550"/>
                <a:gd name="connsiteX54" fmla="*/ 152400 w 590550"/>
                <a:gd name="connsiteY54" fmla="*/ 238125 h 590550"/>
                <a:gd name="connsiteX55" fmla="*/ 142875 w 590550"/>
                <a:gd name="connsiteY55" fmla="*/ 247650 h 590550"/>
                <a:gd name="connsiteX56" fmla="*/ 38100 w 590550"/>
                <a:gd name="connsiteY56" fmla="*/ 361950 h 590550"/>
                <a:gd name="connsiteX57" fmla="*/ 19050 w 590550"/>
                <a:gd name="connsiteY57" fmla="*/ 342900 h 590550"/>
                <a:gd name="connsiteX58" fmla="*/ 38100 w 590550"/>
                <a:gd name="connsiteY58" fmla="*/ 323850 h 590550"/>
                <a:gd name="connsiteX59" fmla="*/ 57150 w 590550"/>
                <a:gd name="connsiteY59" fmla="*/ 342900 h 590550"/>
                <a:gd name="connsiteX60" fmla="*/ 38100 w 590550"/>
                <a:gd name="connsiteY60" fmla="*/ 361950 h 590550"/>
                <a:gd name="connsiteX61" fmla="*/ 238125 w 590550"/>
                <a:gd name="connsiteY61" fmla="*/ 457200 h 590550"/>
                <a:gd name="connsiteX62" fmla="*/ 228600 w 590550"/>
                <a:gd name="connsiteY62" fmla="*/ 447675 h 590550"/>
                <a:gd name="connsiteX63" fmla="*/ 238125 w 590550"/>
                <a:gd name="connsiteY63" fmla="*/ 438150 h 590550"/>
                <a:gd name="connsiteX64" fmla="*/ 247650 w 590550"/>
                <a:gd name="connsiteY64" fmla="*/ 447675 h 590550"/>
                <a:gd name="connsiteX65" fmla="*/ 238125 w 590550"/>
                <a:gd name="connsiteY65" fmla="*/ 457200 h 590550"/>
                <a:gd name="connsiteX66" fmla="*/ 571500 w 590550"/>
                <a:gd name="connsiteY66" fmla="*/ 66675 h 590550"/>
                <a:gd name="connsiteX67" fmla="*/ 542925 w 590550"/>
                <a:gd name="connsiteY67" fmla="*/ 95250 h 590550"/>
                <a:gd name="connsiteX68" fmla="*/ 514350 w 590550"/>
                <a:gd name="connsiteY68" fmla="*/ 66675 h 590550"/>
                <a:gd name="connsiteX69" fmla="*/ 542925 w 590550"/>
                <a:gd name="connsiteY69" fmla="*/ 38100 h 590550"/>
                <a:gd name="connsiteX70" fmla="*/ 571500 w 590550"/>
                <a:gd name="connsiteY70" fmla="*/ 66675 h 590550"/>
                <a:gd name="connsiteX71" fmla="*/ 533400 w 590550"/>
                <a:gd name="connsiteY71" fmla="*/ 152400 h 590550"/>
                <a:gd name="connsiteX72" fmla="*/ 513055 w 590550"/>
                <a:gd name="connsiteY72" fmla="*/ 211036 h 590550"/>
                <a:gd name="connsiteX73" fmla="*/ 485775 w 590550"/>
                <a:gd name="connsiteY73" fmla="*/ 190500 h 590550"/>
                <a:gd name="connsiteX74" fmla="*/ 477945 w 590550"/>
                <a:gd name="connsiteY74" fmla="*/ 191729 h 590550"/>
                <a:gd name="connsiteX75" fmla="*/ 467230 w 590550"/>
                <a:gd name="connsiteY75" fmla="*/ 176727 h 590550"/>
                <a:gd name="connsiteX76" fmla="*/ 476250 w 590550"/>
                <a:gd name="connsiteY76" fmla="*/ 152400 h 590550"/>
                <a:gd name="connsiteX77" fmla="*/ 472650 w 590550"/>
                <a:gd name="connsiteY77" fmla="*/ 136474 h 590550"/>
                <a:gd name="connsiteX78" fmla="*/ 513036 w 590550"/>
                <a:gd name="connsiteY78" fmla="*/ 103442 h 590550"/>
                <a:gd name="connsiteX79" fmla="*/ 523284 w 590550"/>
                <a:gd name="connsiteY79" fmla="*/ 109938 h 590550"/>
                <a:gd name="connsiteX80" fmla="*/ 533400 w 590550"/>
                <a:gd name="connsiteY80" fmla="*/ 152400 h 590550"/>
                <a:gd name="connsiteX81" fmla="*/ 410347 w 590550"/>
                <a:gd name="connsiteY81" fmla="*/ 342900 h 590550"/>
                <a:gd name="connsiteX82" fmla="*/ 465953 w 590550"/>
                <a:gd name="connsiteY82" fmla="*/ 342900 h 590550"/>
                <a:gd name="connsiteX83" fmla="*/ 438140 w 590550"/>
                <a:gd name="connsiteY83" fmla="*/ 364569 h 590550"/>
                <a:gd name="connsiteX84" fmla="*/ 410347 w 590550"/>
                <a:gd name="connsiteY84" fmla="*/ 342900 h 590550"/>
                <a:gd name="connsiteX85" fmla="*/ 486994 w 590550"/>
                <a:gd name="connsiteY85" fmla="*/ 323850 h 590550"/>
                <a:gd name="connsiteX86" fmla="*/ 389392 w 590550"/>
                <a:gd name="connsiteY86" fmla="*/ 323850 h 590550"/>
                <a:gd name="connsiteX87" fmla="*/ 357473 w 590550"/>
                <a:gd name="connsiteY87" fmla="*/ 281454 h 590550"/>
                <a:gd name="connsiteX88" fmla="*/ 438150 w 590550"/>
                <a:gd name="connsiteY88" fmla="*/ 304800 h 590550"/>
                <a:gd name="connsiteX89" fmla="*/ 518817 w 590550"/>
                <a:gd name="connsiteY89" fmla="*/ 281454 h 590550"/>
                <a:gd name="connsiteX90" fmla="*/ 486994 w 590550"/>
                <a:gd name="connsiteY90" fmla="*/ 323850 h 590550"/>
                <a:gd name="connsiteX91" fmla="*/ 342900 w 590550"/>
                <a:gd name="connsiteY91" fmla="*/ 152400 h 590550"/>
                <a:gd name="connsiteX92" fmla="*/ 363036 w 590550"/>
                <a:gd name="connsiteY92" fmla="*/ 93964 h 590550"/>
                <a:gd name="connsiteX93" fmla="*/ 374456 w 590550"/>
                <a:gd name="connsiteY93" fmla="*/ 89592 h 590550"/>
                <a:gd name="connsiteX94" fmla="*/ 407499 w 590550"/>
                <a:gd name="connsiteY94" fmla="*/ 129978 h 590550"/>
                <a:gd name="connsiteX95" fmla="*/ 400050 w 590550"/>
                <a:gd name="connsiteY95" fmla="*/ 152400 h 590550"/>
                <a:gd name="connsiteX96" fmla="*/ 405451 w 590550"/>
                <a:gd name="connsiteY96" fmla="*/ 171631 h 590550"/>
                <a:gd name="connsiteX97" fmla="*/ 381181 w 590550"/>
                <a:gd name="connsiteY97" fmla="*/ 195901 h 590550"/>
                <a:gd name="connsiteX98" fmla="*/ 361950 w 590550"/>
                <a:gd name="connsiteY98" fmla="*/ 190500 h 590550"/>
                <a:gd name="connsiteX99" fmla="*/ 351730 w 590550"/>
                <a:gd name="connsiteY99" fmla="*/ 192072 h 590550"/>
                <a:gd name="connsiteX100" fmla="*/ 342900 w 590550"/>
                <a:gd name="connsiteY100" fmla="*/ 152400 h 590550"/>
                <a:gd name="connsiteX101" fmla="*/ 438150 w 590550"/>
                <a:gd name="connsiteY101" fmla="*/ 57150 h 590550"/>
                <a:gd name="connsiteX102" fmla="*/ 496586 w 590550"/>
                <a:gd name="connsiteY102" fmla="*/ 77286 h 590550"/>
                <a:gd name="connsiteX103" fmla="*/ 500958 w 590550"/>
                <a:gd name="connsiteY103" fmla="*/ 88706 h 590550"/>
                <a:gd name="connsiteX104" fmla="*/ 460572 w 590550"/>
                <a:gd name="connsiteY104" fmla="*/ 121749 h 590550"/>
                <a:gd name="connsiteX105" fmla="*/ 438150 w 590550"/>
                <a:gd name="connsiteY105" fmla="*/ 114300 h 590550"/>
                <a:gd name="connsiteX106" fmla="*/ 422224 w 590550"/>
                <a:gd name="connsiteY106" fmla="*/ 117900 h 590550"/>
                <a:gd name="connsiteX107" fmla="*/ 389192 w 590550"/>
                <a:gd name="connsiteY107" fmla="*/ 77514 h 590550"/>
                <a:gd name="connsiteX108" fmla="*/ 395688 w 590550"/>
                <a:gd name="connsiteY108" fmla="*/ 67266 h 590550"/>
                <a:gd name="connsiteX109" fmla="*/ 438150 w 590550"/>
                <a:gd name="connsiteY109" fmla="*/ 57150 h 590550"/>
                <a:gd name="connsiteX110" fmla="*/ 485775 w 590550"/>
                <a:gd name="connsiteY110" fmla="*/ 228600 h 590550"/>
                <a:gd name="connsiteX111" fmla="*/ 476250 w 590550"/>
                <a:gd name="connsiteY111" fmla="*/ 219075 h 590550"/>
                <a:gd name="connsiteX112" fmla="*/ 485775 w 590550"/>
                <a:gd name="connsiteY112" fmla="*/ 209550 h 590550"/>
                <a:gd name="connsiteX113" fmla="*/ 495300 w 590550"/>
                <a:gd name="connsiteY113" fmla="*/ 219075 h 590550"/>
                <a:gd name="connsiteX114" fmla="*/ 485775 w 590550"/>
                <a:gd name="connsiteY114" fmla="*/ 228600 h 590550"/>
                <a:gd name="connsiteX115" fmla="*/ 419100 w 590550"/>
                <a:gd name="connsiteY115" fmla="*/ 152400 h 590550"/>
                <a:gd name="connsiteX116" fmla="*/ 438150 w 590550"/>
                <a:gd name="connsiteY116" fmla="*/ 133350 h 590550"/>
                <a:gd name="connsiteX117" fmla="*/ 457200 w 590550"/>
                <a:gd name="connsiteY117" fmla="*/ 152400 h 590550"/>
                <a:gd name="connsiteX118" fmla="*/ 438150 w 590550"/>
                <a:gd name="connsiteY118" fmla="*/ 171450 h 590550"/>
                <a:gd name="connsiteX119" fmla="*/ 419100 w 590550"/>
                <a:gd name="connsiteY119" fmla="*/ 152400 h 590550"/>
                <a:gd name="connsiteX120" fmla="*/ 342900 w 590550"/>
                <a:gd name="connsiteY120" fmla="*/ 228600 h 590550"/>
                <a:gd name="connsiteX121" fmla="*/ 361950 w 590550"/>
                <a:gd name="connsiteY121" fmla="*/ 209550 h 590550"/>
                <a:gd name="connsiteX122" fmla="*/ 381000 w 590550"/>
                <a:gd name="connsiteY122" fmla="*/ 228600 h 590550"/>
                <a:gd name="connsiteX123" fmla="*/ 361950 w 590550"/>
                <a:gd name="connsiteY123" fmla="*/ 247650 h 590550"/>
                <a:gd name="connsiteX124" fmla="*/ 342900 w 590550"/>
                <a:gd name="connsiteY124" fmla="*/ 228600 h 590550"/>
                <a:gd name="connsiteX125" fmla="*/ 394649 w 590550"/>
                <a:gd name="connsiteY125" fmla="*/ 209369 h 590550"/>
                <a:gd name="connsiteX126" fmla="*/ 418919 w 590550"/>
                <a:gd name="connsiteY126" fmla="*/ 185099 h 590550"/>
                <a:gd name="connsiteX127" fmla="*/ 438150 w 590550"/>
                <a:gd name="connsiteY127" fmla="*/ 190500 h 590550"/>
                <a:gd name="connsiteX128" fmla="*/ 451780 w 590550"/>
                <a:gd name="connsiteY128" fmla="*/ 187871 h 590550"/>
                <a:gd name="connsiteX129" fmla="*/ 462401 w 590550"/>
                <a:gd name="connsiteY129" fmla="*/ 202730 h 590550"/>
                <a:gd name="connsiteX130" fmla="*/ 457200 w 590550"/>
                <a:gd name="connsiteY130" fmla="*/ 219075 h 590550"/>
                <a:gd name="connsiteX131" fmla="*/ 469278 w 590550"/>
                <a:gd name="connsiteY131" fmla="*/ 242326 h 590550"/>
                <a:gd name="connsiteX132" fmla="*/ 438150 w 590550"/>
                <a:gd name="connsiteY132" fmla="*/ 247650 h 590550"/>
                <a:gd name="connsiteX133" fmla="*/ 398478 w 590550"/>
                <a:gd name="connsiteY133" fmla="*/ 238820 h 590550"/>
                <a:gd name="connsiteX134" fmla="*/ 400050 w 590550"/>
                <a:gd name="connsiteY134" fmla="*/ 228600 h 590550"/>
                <a:gd name="connsiteX135" fmla="*/ 394649 w 590550"/>
                <a:gd name="connsiteY135" fmla="*/ 209369 h 590550"/>
                <a:gd name="connsiteX136" fmla="*/ 505644 w 590550"/>
                <a:gd name="connsiteY136" fmla="*/ 37405 h 590550"/>
                <a:gd name="connsiteX137" fmla="*/ 497062 w 590550"/>
                <a:gd name="connsiteY137" fmla="*/ 54550 h 590550"/>
                <a:gd name="connsiteX138" fmla="*/ 438150 w 590550"/>
                <a:gd name="connsiteY138" fmla="*/ 38100 h 590550"/>
                <a:gd name="connsiteX139" fmla="*/ 399774 w 590550"/>
                <a:gd name="connsiteY139" fmla="*/ 44882 h 590550"/>
                <a:gd name="connsiteX140" fmla="*/ 394811 w 590550"/>
                <a:gd name="connsiteY140" fmla="*/ 26356 h 590550"/>
                <a:gd name="connsiteX141" fmla="*/ 438150 w 590550"/>
                <a:gd name="connsiteY141" fmla="*/ 19050 h 590550"/>
                <a:gd name="connsiteX142" fmla="*/ 505644 w 590550"/>
                <a:gd name="connsiteY142" fmla="*/ 37405 h 590550"/>
                <a:gd name="connsiteX143" fmla="*/ 352425 w 590550"/>
                <a:gd name="connsiteY143" fmla="*/ 19050 h 590550"/>
                <a:gd name="connsiteX144" fmla="*/ 381000 w 590550"/>
                <a:gd name="connsiteY144" fmla="*/ 47625 h 590550"/>
                <a:gd name="connsiteX145" fmla="*/ 352425 w 590550"/>
                <a:gd name="connsiteY145" fmla="*/ 76200 h 590550"/>
                <a:gd name="connsiteX146" fmla="*/ 323850 w 590550"/>
                <a:gd name="connsiteY146" fmla="*/ 47625 h 590550"/>
                <a:gd name="connsiteX147" fmla="*/ 352425 w 590550"/>
                <a:gd name="connsiteY147" fmla="*/ 19050 h 590550"/>
                <a:gd name="connsiteX148" fmla="*/ 323155 w 590550"/>
                <a:gd name="connsiteY148" fmla="*/ 84906 h 590550"/>
                <a:gd name="connsiteX149" fmla="*/ 340290 w 590550"/>
                <a:gd name="connsiteY149" fmla="*/ 93488 h 590550"/>
                <a:gd name="connsiteX150" fmla="*/ 323850 w 590550"/>
                <a:gd name="connsiteY150" fmla="*/ 152400 h 590550"/>
                <a:gd name="connsiteX151" fmla="*/ 335194 w 590550"/>
                <a:gd name="connsiteY151" fmla="*/ 201530 h 590550"/>
                <a:gd name="connsiteX152" fmla="*/ 324536 w 590550"/>
                <a:gd name="connsiteY152" fmla="*/ 221847 h 590550"/>
                <a:gd name="connsiteX153" fmla="*/ 304800 w 590550"/>
                <a:gd name="connsiteY153" fmla="*/ 152400 h 590550"/>
                <a:gd name="connsiteX154" fmla="*/ 323155 w 590550"/>
                <a:gd name="connsiteY154" fmla="*/ 84906 h 590550"/>
                <a:gd name="connsiteX155" fmla="*/ 19050 w 590550"/>
                <a:gd name="connsiteY155" fmla="*/ 161925 h 590550"/>
                <a:gd name="connsiteX156" fmla="*/ 19050 w 590550"/>
                <a:gd name="connsiteY156" fmla="*/ 142875 h 590550"/>
                <a:gd name="connsiteX157" fmla="*/ 28575 w 590550"/>
                <a:gd name="connsiteY157" fmla="*/ 133350 h 590550"/>
                <a:gd name="connsiteX158" fmla="*/ 287036 w 590550"/>
                <a:gd name="connsiteY158" fmla="*/ 133350 h 590550"/>
                <a:gd name="connsiteX159" fmla="*/ 285750 w 590550"/>
                <a:gd name="connsiteY159" fmla="*/ 152400 h 590550"/>
                <a:gd name="connsiteX160" fmla="*/ 287074 w 590550"/>
                <a:gd name="connsiteY160" fmla="*/ 171450 h 590550"/>
                <a:gd name="connsiteX161" fmla="*/ 28575 w 590550"/>
                <a:gd name="connsiteY161" fmla="*/ 171450 h 590550"/>
                <a:gd name="connsiteX162" fmla="*/ 19050 w 590550"/>
                <a:gd name="connsiteY162" fmla="*/ 161925 h 590550"/>
                <a:gd name="connsiteX163" fmla="*/ 266700 w 590550"/>
                <a:gd name="connsiteY163" fmla="*/ 361950 h 590550"/>
                <a:gd name="connsiteX164" fmla="*/ 219075 w 590550"/>
                <a:gd name="connsiteY164" fmla="*/ 314325 h 590550"/>
                <a:gd name="connsiteX165" fmla="*/ 266700 w 590550"/>
                <a:gd name="connsiteY165" fmla="*/ 266700 h 590550"/>
                <a:gd name="connsiteX166" fmla="*/ 293551 w 590550"/>
                <a:gd name="connsiteY166" fmla="*/ 275158 h 590550"/>
                <a:gd name="connsiteX167" fmla="*/ 313744 w 590550"/>
                <a:gd name="connsiteY167" fmla="*/ 320421 h 590550"/>
                <a:gd name="connsiteX168" fmla="*/ 266700 w 590550"/>
                <a:gd name="connsiteY168" fmla="*/ 361950 h 590550"/>
                <a:gd name="connsiteX169" fmla="*/ 406117 w 590550"/>
                <a:gd name="connsiteY169" fmla="*/ 411966 h 590550"/>
                <a:gd name="connsiteX170" fmla="*/ 421291 w 590550"/>
                <a:gd name="connsiteY170" fmla="*/ 423129 h 590550"/>
                <a:gd name="connsiteX171" fmla="*/ 422110 w 590550"/>
                <a:gd name="connsiteY171" fmla="*/ 423729 h 590550"/>
                <a:gd name="connsiteX172" fmla="*/ 324231 w 590550"/>
                <a:gd name="connsiteY172" fmla="*/ 571500 h 590550"/>
                <a:gd name="connsiteX173" fmla="*/ 305038 w 590550"/>
                <a:gd name="connsiteY173" fmla="*/ 571500 h 590550"/>
                <a:gd name="connsiteX174" fmla="*/ 406117 w 590550"/>
                <a:gd name="connsiteY174" fmla="*/ 411966 h 590550"/>
                <a:gd name="connsiteX175" fmla="*/ 345700 w 590550"/>
                <a:gd name="connsiteY175" fmla="*/ 552450 h 590550"/>
                <a:gd name="connsiteX176" fmla="*/ 530638 w 590550"/>
                <a:gd name="connsiteY176" fmla="*/ 552450 h 590550"/>
                <a:gd name="connsiteX177" fmla="*/ 532990 w 590550"/>
                <a:gd name="connsiteY177" fmla="*/ 571500 h 590550"/>
                <a:gd name="connsiteX178" fmla="*/ 343281 w 590550"/>
                <a:gd name="connsiteY178" fmla="*/ 571500 h 590550"/>
                <a:gd name="connsiteX179" fmla="*/ 345700 w 590550"/>
                <a:gd name="connsiteY179" fmla="*/ 552450 h 590550"/>
                <a:gd name="connsiteX180" fmla="*/ 350901 w 590550"/>
                <a:gd name="connsiteY180" fmla="*/ 533400 h 590550"/>
                <a:gd name="connsiteX181" fmla="*/ 359607 w 590550"/>
                <a:gd name="connsiteY181" fmla="*/ 514350 h 590550"/>
                <a:gd name="connsiteX182" fmla="*/ 516607 w 590550"/>
                <a:gd name="connsiteY182" fmla="*/ 514350 h 590550"/>
                <a:gd name="connsiteX183" fmla="*/ 525323 w 590550"/>
                <a:gd name="connsiteY183" fmla="*/ 533400 h 590550"/>
                <a:gd name="connsiteX184" fmla="*/ 350901 w 590550"/>
                <a:gd name="connsiteY184" fmla="*/ 533400 h 590550"/>
                <a:gd name="connsiteX185" fmla="*/ 372304 w 590550"/>
                <a:gd name="connsiteY185" fmla="*/ 495300 h 590550"/>
                <a:gd name="connsiteX186" fmla="*/ 389334 w 590550"/>
                <a:gd name="connsiteY186" fmla="*/ 476250 h 590550"/>
                <a:gd name="connsiteX187" fmla="*/ 487070 w 590550"/>
                <a:gd name="connsiteY187" fmla="*/ 476250 h 590550"/>
                <a:gd name="connsiteX188" fmla="*/ 503996 w 590550"/>
                <a:gd name="connsiteY188" fmla="*/ 495300 h 590550"/>
                <a:gd name="connsiteX189" fmla="*/ 372304 w 590550"/>
                <a:gd name="connsiteY189" fmla="*/ 495300 h 590550"/>
                <a:gd name="connsiteX190" fmla="*/ 410404 w 590550"/>
                <a:gd name="connsiteY190" fmla="*/ 457200 h 590550"/>
                <a:gd name="connsiteX191" fmla="*/ 438160 w 590550"/>
                <a:gd name="connsiteY191" fmla="*/ 435540 h 590550"/>
                <a:gd name="connsiteX192" fmla="*/ 466011 w 590550"/>
                <a:gd name="connsiteY192" fmla="*/ 457200 h 590550"/>
                <a:gd name="connsiteX193" fmla="*/ 410404 w 590550"/>
                <a:gd name="connsiteY193" fmla="*/ 457200 h 590550"/>
                <a:gd name="connsiteX194" fmla="*/ 571271 w 590550"/>
                <a:gd name="connsiteY194" fmla="*/ 571500 h 590550"/>
                <a:gd name="connsiteX195" fmla="*/ 552031 w 590550"/>
                <a:gd name="connsiteY195" fmla="*/ 571500 h 590550"/>
                <a:gd name="connsiteX196" fmla="*/ 432521 w 590550"/>
                <a:gd name="connsiteY196" fmla="*/ 407737 h 590550"/>
                <a:gd name="connsiteX197" fmla="*/ 305152 w 590550"/>
                <a:gd name="connsiteY197" fmla="*/ 226571 h 590550"/>
                <a:gd name="connsiteX198" fmla="*/ 328498 w 590550"/>
                <a:gd name="connsiteY198" fmla="*/ 257966 h 590550"/>
                <a:gd name="connsiteX199" fmla="*/ 443808 w 590550"/>
                <a:gd name="connsiteY199" fmla="*/ 392373 h 590550"/>
                <a:gd name="connsiteX200" fmla="*/ 571271 w 590550"/>
                <a:gd name="connsiteY200" fmla="*/ 571500 h 590550"/>
                <a:gd name="connsiteX201" fmla="*/ 470183 w 590550"/>
                <a:gd name="connsiteY201" fmla="*/ 388134 h 590550"/>
                <a:gd name="connsiteX202" fmla="*/ 455009 w 590550"/>
                <a:gd name="connsiteY202" fmla="*/ 376971 h 590550"/>
                <a:gd name="connsiteX203" fmla="*/ 454181 w 590550"/>
                <a:gd name="connsiteY203" fmla="*/ 376371 h 590550"/>
                <a:gd name="connsiteX204" fmla="*/ 547821 w 590550"/>
                <a:gd name="connsiteY204" fmla="*/ 257956 h 590550"/>
                <a:gd name="connsiteX205" fmla="*/ 571195 w 590550"/>
                <a:gd name="connsiteY205" fmla="*/ 226514 h 590550"/>
                <a:gd name="connsiteX206" fmla="*/ 470183 w 590550"/>
                <a:gd name="connsiteY206" fmla="*/ 388134 h 590550"/>
                <a:gd name="connsiteX207" fmla="*/ 438150 w 590550"/>
                <a:gd name="connsiteY207" fmla="*/ 285750 h 590550"/>
                <a:gd name="connsiteX208" fmla="*/ 368694 w 590550"/>
                <a:gd name="connsiteY208" fmla="*/ 266014 h 590550"/>
                <a:gd name="connsiteX209" fmla="*/ 389011 w 590550"/>
                <a:gd name="connsiteY209" fmla="*/ 255356 h 590550"/>
                <a:gd name="connsiteX210" fmla="*/ 438150 w 590550"/>
                <a:gd name="connsiteY210" fmla="*/ 266700 h 590550"/>
                <a:gd name="connsiteX211" fmla="*/ 552450 w 590550"/>
                <a:gd name="connsiteY211" fmla="*/ 152400 h 590550"/>
                <a:gd name="connsiteX212" fmla="*/ 545668 w 590550"/>
                <a:gd name="connsiteY212" fmla="*/ 114024 h 590550"/>
                <a:gd name="connsiteX213" fmla="*/ 564194 w 590550"/>
                <a:gd name="connsiteY213" fmla="*/ 109061 h 590550"/>
                <a:gd name="connsiteX214" fmla="*/ 571500 w 590550"/>
                <a:gd name="connsiteY214" fmla="*/ 152400 h 590550"/>
                <a:gd name="connsiteX215" fmla="*/ 438150 w 590550"/>
                <a:gd name="connsiteY215" fmla="*/ 2857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590550" h="590550">
                  <a:moveTo>
                    <a:pt x="590550" y="66675"/>
                  </a:moveTo>
                  <a:cubicBezTo>
                    <a:pt x="590550" y="40415"/>
                    <a:pt x="569185" y="19050"/>
                    <a:pt x="542925" y="19050"/>
                  </a:cubicBezTo>
                  <a:cubicBezTo>
                    <a:pt x="534991" y="19050"/>
                    <a:pt x="527628" y="21184"/>
                    <a:pt x="521046" y="24632"/>
                  </a:cubicBezTo>
                  <a:cubicBezTo>
                    <a:pt x="496348" y="8563"/>
                    <a:pt x="467858" y="0"/>
                    <a:pt x="438150" y="0"/>
                  </a:cubicBezTo>
                  <a:cubicBezTo>
                    <a:pt x="418776" y="0"/>
                    <a:pt x="400040" y="3753"/>
                    <a:pt x="382238" y="10792"/>
                  </a:cubicBezTo>
                  <a:cubicBezTo>
                    <a:pt x="374056" y="4153"/>
                    <a:pt x="363769" y="0"/>
                    <a:pt x="352425" y="0"/>
                  </a:cubicBezTo>
                  <a:cubicBezTo>
                    <a:pt x="326165" y="0"/>
                    <a:pt x="304800" y="21365"/>
                    <a:pt x="304800" y="47625"/>
                  </a:cubicBezTo>
                  <a:cubicBezTo>
                    <a:pt x="304800" y="55559"/>
                    <a:pt x="306934" y="62932"/>
                    <a:pt x="310382" y="69513"/>
                  </a:cubicBezTo>
                  <a:cubicBezTo>
                    <a:pt x="301352" y="83391"/>
                    <a:pt x="294704" y="98469"/>
                    <a:pt x="290636" y="114300"/>
                  </a:cubicBezTo>
                  <a:lnTo>
                    <a:pt x="28575" y="114300"/>
                  </a:lnTo>
                  <a:cubicBezTo>
                    <a:pt x="12821" y="114300"/>
                    <a:pt x="0" y="127121"/>
                    <a:pt x="0" y="142875"/>
                  </a:cubicBezTo>
                  <a:lnTo>
                    <a:pt x="0" y="161925"/>
                  </a:lnTo>
                  <a:cubicBezTo>
                    <a:pt x="0" y="177679"/>
                    <a:pt x="12821" y="190500"/>
                    <a:pt x="28575" y="190500"/>
                  </a:cubicBezTo>
                  <a:lnTo>
                    <a:pt x="285750" y="190500"/>
                  </a:lnTo>
                  <a:lnTo>
                    <a:pt x="285750" y="219075"/>
                  </a:lnTo>
                  <a:cubicBezTo>
                    <a:pt x="285750" y="230419"/>
                    <a:pt x="286741" y="241040"/>
                    <a:pt x="288322" y="251212"/>
                  </a:cubicBezTo>
                  <a:cubicBezTo>
                    <a:pt x="281445" y="248860"/>
                    <a:pt x="274177" y="247650"/>
                    <a:pt x="266700" y="247650"/>
                  </a:cubicBezTo>
                  <a:cubicBezTo>
                    <a:pt x="246155" y="247650"/>
                    <a:pt x="227771" y="256994"/>
                    <a:pt x="215532" y="271653"/>
                  </a:cubicBezTo>
                  <a:lnTo>
                    <a:pt x="170793" y="244126"/>
                  </a:lnTo>
                  <a:cubicBezTo>
                    <a:pt x="171212" y="242183"/>
                    <a:pt x="171450" y="240182"/>
                    <a:pt x="171450" y="238125"/>
                  </a:cubicBezTo>
                  <a:cubicBezTo>
                    <a:pt x="171450" y="222371"/>
                    <a:pt x="158629" y="209550"/>
                    <a:pt x="142875" y="209550"/>
                  </a:cubicBezTo>
                  <a:cubicBezTo>
                    <a:pt x="127121" y="209550"/>
                    <a:pt x="114300" y="222371"/>
                    <a:pt x="114300" y="238125"/>
                  </a:cubicBezTo>
                  <a:cubicBezTo>
                    <a:pt x="114300" y="253879"/>
                    <a:pt x="127121" y="266700"/>
                    <a:pt x="142875" y="266700"/>
                  </a:cubicBezTo>
                  <a:cubicBezTo>
                    <a:pt x="149647" y="266700"/>
                    <a:pt x="155800" y="264233"/>
                    <a:pt x="160706" y="260280"/>
                  </a:cubicBezTo>
                  <a:lnTo>
                    <a:pt x="205530" y="287865"/>
                  </a:lnTo>
                  <a:cubicBezTo>
                    <a:pt x="202168" y="295618"/>
                    <a:pt x="200263" y="304124"/>
                    <a:pt x="200092" y="313058"/>
                  </a:cubicBezTo>
                  <a:lnTo>
                    <a:pt x="73447" y="328879"/>
                  </a:lnTo>
                  <a:cubicBezTo>
                    <a:pt x="67847" y="314801"/>
                    <a:pt x="54150" y="304800"/>
                    <a:pt x="38100" y="304800"/>
                  </a:cubicBezTo>
                  <a:cubicBezTo>
                    <a:pt x="17088" y="304800"/>
                    <a:pt x="0" y="321888"/>
                    <a:pt x="0" y="342900"/>
                  </a:cubicBezTo>
                  <a:cubicBezTo>
                    <a:pt x="0" y="363912"/>
                    <a:pt x="17088" y="381000"/>
                    <a:pt x="38100" y="381000"/>
                  </a:cubicBezTo>
                  <a:cubicBezTo>
                    <a:pt x="57426" y="381000"/>
                    <a:pt x="73266" y="366484"/>
                    <a:pt x="75705" y="347796"/>
                  </a:cubicBezTo>
                  <a:lnTo>
                    <a:pt x="202463" y="331946"/>
                  </a:lnTo>
                  <a:cubicBezTo>
                    <a:pt x="208159" y="352673"/>
                    <a:pt x="223609" y="369351"/>
                    <a:pt x="243573" y="376771"/>
                  </a:cubicBezTo>
                  <a:lnTo>
                    <a:pt x="234420" y="419462"/>
                  </a:lnTo>
                  <a:cubicBezTo>
                    <a:pt x="220428" y="421310"/>
                    <a:pt x="209550" y="433187"/>
                    <a:pt x="209550" y="447675"/>
                  </a:cubicBezTo>
                  <a:cubicBezTo>
                    <a:pt x="209550" y="463429"/>
                    <a:pt x="222371" y="476250"/>
                    <a:pt x="238125" y="476250"/>
                  </a:cubicBezTo>
                  <a:cubicBezTo>
                    <a:pt x="253879" y="476250"/>
                    <a:pt x="266700" y="463429"/>
                    <a:pt x="266700" y="447675"/>
                  </a:cubicBezTo>
                  <a:cubicBezTo>
                    <a:pt x="266700" y="437407"/>
                    <a:pt x="261214" y="428463"/>
                    <a:pt x="253060" y="423424"/>
                  </a:cubicBezTo>
                  <a:lnTo>
                    <a:pt x="262204" y="380771"/>
                  </a:lnTo>
                  <a:cubicBezTo>
                    <a:pt x="263700" y="380876"/>
                    <a:pt x="265186" y="381000"/>
                    <a:pt x="266700" y="381000"/>
                  </a:cubicBezTo>
                  <a:cubicBezTo>
                    <a:pt x="293903" y="381000"/>
                    <a:pt x="317583" y="364417"/>
                    <a:pt x="327870" y="340643"/>
                  </a:cubicBezTo>
                  <a:cubicBezTo>
                    <a:pt x="345834" y="363445"/>
                    <a:pt x="367789" y="382591"/>
                    <a:pt x="390344" y="400031"/>
                  </a:cubicBezTo>
                  <a:cubicBezTo>
                    <a:pt x="338033" y="440465"/>
                    <a:pt x="285750" y="492042"/>
                    <a:pt x="285750" y="581025"/>
                  </a:cubicBezTo>
                  <a:lnTo>
                    <a:pt x="285750" y="590550"/>
                  </a:lnTo>
                  <a:lnTo>
                    <a:pt x="590550" y="590550"/>
                  </a:lnTo>
                  <a:lnTo>
                    <a:pt x="590550" y="581025"/>
                  </a:lnTo>
                  <a:cubicBezTo>
                    <a:pt x="590550" y="492909"/>
                    <a:pt x="539820" y="441722"/>
                    <a:pt x="485946" y="400069"/>
                  </a:cubicBezTo>
                  <a:cubicBezTo>
                    <a:pt x="538277" y="359635"/>
                    <a:pt x="590550" y="308058"/>
                    <a:pt x="590550" y="219075"/>
                  </a:cubicBezTo>
                  <a:lnTo>
                    <a:pt x="590550" y="152400"/>
                  </a:lnTo>
                  <a:cubicBezTo>
                    <a:pt x="590550" y="133026"/>
                    <a:pt x="586797" y="114290"/>
                    <a:pt x="579758" y="96488"/>
                  </a:cubicBezTo>
                  <a:cubicBezTo>
                    <a:pt x="586397" y="88306"/>
                    <a:pt x="590550" y="78019"/>
                    <a:pt x="590550" y="66675"/>
                  </a:cubicBezTo>
                  <a:close/>
                  <a:moveTo>
                    <a:pt x="142875" y="247650"/>
                  </a:moveTo>
                  <a:cubicBezTo>
                    <a:pt x="137627" y="247650"/>
                    <a:pt x="133350" y="243373"/>
                    <a:pt x="133350" y="238125"/>
                  </a:cubicBezTo>
                  <a:cubicBezTo>
                    <a:pt x="133350" y="232877"/>
                    <a:pt x="137627" y="228600"/>
                    <a:pt x="142875" y="228600"/>
                  </a:cubicBezTo>
                  <a:cubicBezTo>
                    <a:pt x="148123" y="228600"/>
                    <a:pt x="152400" y="232877"/>
                    <a:pt x="152400" y="238125"/>
                  </a:cubicBezTo>
                  <a:cubicBezTo>
                    <a:pt x="152400" y="243373"/>
                    <a:pt x="148123" y="247650"/>
                    <a:pt x="142875" y="247650"/>
                  </a:cubicBezTo>
                  <a:close/>
                  <a:moveTo>
                    <a:pt x="38100" y="361950"/>
                  </a:moveTo>
                  <a:cubicBezTo>
                    <a:pt x="27594" y="361950"/>
                    <a:pt x="19050" y="353406"/>
                    <a:pt x="19050" y="342900"/>
                  </a:cubicBezTo>
                  <a:cubicBezTo>
                    <a:pt x="19050" y="332394"/>
                    <a:pt x="27594" y="323850"/>
                    <a:pt x="38100" y="323850"/>
                  </a:cubicBezTo>
                  <a:cubicBezTo>
                    <a:pt x="48606" y="323850"/>
                    <a:pt x="57150" y="332394"/>
                    <a:pt x="57150" y="342900"/>
                  </a:cubicBezTo>
                  <a:cubicBezTo>
                    <a:pt x="57150" y="353406"/>
                    <a:pt x="48606" y="361950"/>
                    <a:pt x="38100" y="361950"/>
                  </a:cubicBezTo>
                  <a:close/>
                  <a:moveTo>
                    <a:pt x="238125" y="457200"/>
                  </a:moveTo>
                  <a:cubicBezTo>
                    <a:pt x="232877" y="457200"/>
                    <a:pt x="228600" y="452933"/>
                    <a:pt x="228600" y="447675"/>
                  </a:cubicBezTo>
                  <a:cubicBezTo>
                    <a:pt x="228600" y="442417"/>
                    <a:pt x="232877" y="438150"/>
                    <a:pt x="238125" y="438150"/>
                  </a:cubicBezTo>
                  <a:cubicBezTo>
                    <a:pt x="243373" y="438150"/>
                    <a:pt x="247650" y="442417"/>
                    <a:pt x="247650" y="447675"/>
                  </a:cubicBezTo>
                  <a:cubicBezTo>
                    <a:pt x="247650" y="452933"/>
                    <a:pt x="243373" y="457200"/>
                    <a:pt x="238125" y="457200"/>
                  </a:cubicBezTo>
                  <a:close/>
                  <a:moveTo>
                    <a:pt x="571500" y="66675"/>
                  </a:moveTo>
                  <a:cubicBezTo>
                    <a:pt x="571500" y="82429"/>
                    <a:pt x="558679" y="95250"/>
                    <a:pt x="542925" y="95250"/>
                  </a:cubicBezTo>
                  <a:cubicBezTo>
                    <a:pt x="527171" y="95250"/>
                    <a:pt x="514350" y="82429"/>
                    <a:pt x="514350" y="66675"/>
                  </a:cubicBezTo>
                  <a:cubicBezTo>
                    <a:pt x="514350" y="50921"/>
                    <a:pt x="527171" y="38100"/>
                    <a:pt x="542925" y="38100"/>
                  </a:cubicBezTo>
                  <a:cubicBezTo>
                    <a:pt x="558679" y="38100"/>
                    <a:pt x="571500" y="50921"/>
                    <a:pt x="571500" y="66675"/>
                  </a:cubicBezTo>
                  <a:close/>
                  <a:moveTo>
                    <a:pt x="533400" y="152400"/>
                  </a:moveTo>
                  <a:cubicBezTo>
                    <a:pt x="533400" y="174517"/>
                    <a:pt x="525751" y="194853"/>
                    <a:pt x="513055" y="211036"/>
                  </a:cubicBezTo>
                  <a:cubicBezTo>
                    <a:pt x="509559" y="199206"/>
                    <a:pt x="498720" y="190500"/>
                    <a:pt x="485775" y="190500"/>
                  </a:cubicBezTo>
                  <a:cubicBezTo>
                    <a:pt x="483041" y="190500"/>
                    <a:pt x="480451" y="191005"/>
                    <a:pt x="477945" y="191729"/>
                  </a:cubicBezTo>
                  <a:lnTo>
                    <a:pt x="467230" y="176727"/>
                  </a:lnTo>
                  <a:cubicBezTo>
                    <a:pt x="472773" y="170107"/>
                    <a:pt x="476250" y="161687"/>
                    <a:pt x="476250" y="152400"/>
                  </a:cubicBezTo>
                  <a:cubicBezTo>
                    <a:pt x="476250" y="146695"/>
                    <a:pt x="474907" y="141341"/>
                    <a:pt x="472650" y="136474"/>
                  </a:cubicBezTo>
                  <a:lnTo>
                    <a:pt x="513036" y="103442"/>
                  </a:lnTo>
                  <a:cubicBezTo>
                    <a:pt x="516179" y="106004"/>
                    <a:pt x="519560" y="108242"/>
                    <a:pt x="523284" y="109938"/>
                  </a:cubicBezTo>
                  <a:cubicBezTo>
                    <a:pt x="529828" y="123063"/>
                    <a:pt x="533400" y="137636"/>
                    <a:pt x="533400" y="152400"/>
                  </a:cubicBezTo>
                  <a:close/>
                  <a:moveTo>
                    <a:pt x="410347" y="342900"/>
                  </a:moveTo>
                  <a:lnTo>
                    <a:pt x="465953" y="342900"/>
                  </a:lnTo>
                  <a:cubicBezTo>
                    <a:pt x="457171" y="350206"/>
                    <a:pt x="447827" y="357369"/>
                    <a:pt x="438140" y="364569"/>
                  </a:cubicBezTo>
                  <a:cubicBezTo>
                    <a:pt x="428549" y="357435"/>
                    <a:pt x="419195" y="350272"/>
                    <a:pt x="410347" y="342900"/>
                  </a:cubicBezTo>
                  <a:close/>
                  <a:moveTo>
                    <a:pt x="486994" y="323850"/>
                  </a:moveTo>
                  <a:lnTo>
                    <a:pt x="389392" y="323850"/>
                  </a:lnTo>
                  <a:cubicBezTo>
                    <a:pt x="376523" y="310972"/>
                    <a:pt x="365522" y="297113"/>
                    <a:pt x="357473" y="281454"/>
                  </a:cubicBezTo>
                  <a:cubicBezTo>
                    <a:pt x="380905" y="296161"/>
                    <a:pt x="408508" y="304800"/>
                    <a:pt x="438150" y="304800"/>
                  </a:cubicBezTo>
                  <a:cubicBezTo>
                    <a:pt x="467792" y="304800"/>
                    <a:pt x="495395" y="296161"/>
                    <a:pt x="518817" y="281454"/>
                  </a:cubicBezTo>
                  <a:cubicBezTo>
                    <a:pt x="510826" y="297066"/>
                    <a:pt x="499939" y="310915"/>
                    <a:pt x="486994" y="323850"/>
                  </a:cubicBezTo>
                  <a:close/>
                  <a:moveTo>
                    <a:pt x="342900" y="152400"/>
                  </a:moveTo>
                  <a:cubicBezTo>
                    <a:pt x="342900" y="131216"/>
                    <a:pt x="350072" y="110614"/>
                    <a:pt x="363036" y="93964"/>
                  </a:cubicBezTo>
                  <a:cubicBezTo>
                    <a:pt x="367084" y="93031"/>
                    <a:pt x="370865" y="91488"/>
                    <a:pt x="374456" y="89592"/>
                  </a:cubicBezTo>
                  <a:lnTo>
                    <a:pt x="407499" y="129978"/>
                  </a:lnTo>
                  <a:cubicBezTo>
                    <a:pt x="402869" y="136293"/>
                    <a:pt x="400050" y="143999"/>
                    <a:pt x="400050" y="152400"/>
                  </a:cubicBezTo>
                  <a:cubicBezTo>
                    <a:pt x="400050" y="159449"/>
                    <a:pt x="402098" y="165964"/>
                    <a:pt x="405451" y="171631"/>
                  </a:cubicBezTo>
                  <a:lnTo>
                    <a:pt x="381181" y="195901"/>
                  </a:lnTo>
                  <a:cubicBezTo>
                    <a:pt x="375514" y="192548"/>
                    <a:pt x="368999" y="190500"/>
                    <a:pt x="361950" y="190500"/>
                  </a:cubicBezTo>
                  <a:cubicBezTo>
                    <a:pt x="358388" y="190500"/>
                    <a:pt x="354997" y="191148"/>
                    <a:pt x="351730" y="192072"/>
                  </a:cubicBezTo>
                  <a:cubicBezTo>
                    <a:pt x="346034" y="179670"/>
                    <a:pt x="342900" y="166164"/>
                    <a:pt x="342900" y="152400"/>
                  </a:cubicBezTo>
                  <a:close/>
                  <a:moveTo>
                    <a:pt x="438150" y="57150"/>
                  </a:moveTo>
                  <a:cubicBezTo>
                    <a:pt x="459343" y="57150"/>
                    <a:pt x="479936" y="64332"/>
                    <a:pt x="496586" y="77286"/>
                  </a:cubicBezTo>
                  <a:cubicBezTo>
                    <a:pt x="497519" y="81334"/>
                    <a:pt x="499062" y="85115"/>
                    <a:pt x="500958" y="88706"/>
                  </a:cubicBezTo>
                  <a:lnTo>
                    <a:pt x="460572" y="121749"/>
                  </a:lnTo>
                  <a:cubicBezTo>
                    <a:pt x="454257" y="117119"/>
                    <a:pt x="446551" y="114300"/>
                    <a:pt x="438150" y="114300"/>
                  </a:cubicBezTo>
                  <a:cubicBezTo>
                    <a:pt x="432445" y="114300"/>
                    <a:pt x="427091" y="115643"/>
                    <a:pt x="422224" y="117900"/>
                  </a:cubicBezTo>
                  <a:lnTo>
                    <a:pt x="389192" y="77514"/>
                  </a:lnTo>
                  <a:cubicBezTo>
                    <a:pt x="391744" y="74371"/>
                    <a:pt x="393992" y="70990"/>
                    <a:pt x="395688" y="67266"/>
                  </a:cubicBezTo>
                  <a:cubicBezTo>
                    <a:pt x="408813" y="60722"/>
                    <a:pt x="423386" y="57150"/>
                    <a:pt x="438150" y="57150"/>
                  </a:cubicBezTo>
                  <a:close/>
                  <a:moveTo>
                    <a:pt x="485775" y="228600"/>
                  </a:moveTo>
                  <a:cubicBezTo>
                    <a:pt x="480527" y="228600"/>
                    <a:pt x="476250" y="224323"/>
                    <a:pt x="476250" y="219075"/>
                  </a:cubicBezTo>
                  <a:cubicBezTo>
                    <a:pt x="476250" y="213827"/>
                    <a:pt x="480527" y="209550"/>
                    <a:pt x="485775" y="209550"/>
                  </a:cubicBezTo>
                  <a:cubicBezTo>
                    <a:pt x="491023" y="209550"/>
                    <a:pt x="495300" y="213827"/>
                    <a:pt x="495300" y="219075"/>
                  </a:cubicBezTo>
                  <a:cubicBezTo>
                    <a:pt x="495300" y="224323"/>
                    <a:pt x="491023" y="228600"/>
                    <a:pt x="485775" y="228600"/>
                  </a:cubicBezTo>
                  <a:close/>
                  <a:moveTo>
                    <a:pt x="419100" y="152400"/>
                  </a:moveTo>
                  <a:cubicBezTo>
                    <a:pt x="419100" y="141894"/>
                    <a:pt x="427644" y="133350"/>
                    <a:pt x="438150" y="133350"/>
                  </a:cubicBezTo>
                  <a:cubicBezTo>
                    <a:pt x="448656" y="133350"/>
                    <a:pt x="457200" y="141894"/>
                    <a:pt x="457200" y="152400"/>
                  </a:cubicBezTo>
                  <a:cubicBezTo>
                    <a:pt x="457200" y="162906"/>
                    <a:pt x="448656" y="171450"/>
                    <a:pt x="438150" y="171450"/>
                  </a:cubicBezTo>
                  <a:cubicBezTo>
                    <a:pt x="427644" y="171450"/>
                    <a:pt x="419100" y="162906"/>
                    <a:pt x="419100" y="152400"/>
                  </a:cubicBezTo>
                  <a:close/>
                  <a:moveTo>
                    <a:pt x="342900" y="228600"/>
                  </a:moveTo>
                  <a:cubicBezTo>
                    <a:pt x="342900" y="218094"/>
                    <a:pt x="351444" y="209550"/>
                    <a:pt x="361950" y="209550"/>
                  </a:cubicBezTo>
                  <a:cubicBezTo>
                    <a:pt x="372456" y="209550"/>
                    <a:pt x="381000" y="218094"/>
                    <a:pt x="381000" y="228600"/>
                  </a:cubicBezTo>
                  <a:cubicBezTo>
                    <a:pt x="381000" y="239106"/>
                    <a:pt x="372456" y="247650"/>
                    <a:pt x="361950" y="247650"/>
                  </a:cubicBezTo>
                  <a:cubicBezTo>
                    <a:pt x="351444" y="247650"/>
                    <a:pt x="342900" y="239106"/>
                    <a:pt x="342900" y="228600"/>
                  </a:cubicBezTo>
                  <a:close/>
                  <a:moveTo>
                    <a:pt x="394649" y="209369"/>
                  </a:moveTo>
                  <a:lnTo>
                    <a:pt x="418919" y="185099"/>
                  </a:lnTo>
                  <a:cubicBezTo>
                    <a:pt x="424586" y="188452"/>
                    <a:pt x="431101" y="190500"/>
                    <a:pt x="438150" y="190500"/>
                  </a:cubicBezTo>
                  <a:cubicBezTo>
                    <a:pt x="442970" y="190500"/>
                    <a:pt x="447532" y="189509"/>
                    <a:pt x="451780" y="187871"/>
                  </a:cubicBezTo>
                  <a:lnTo>
                    <a:pt x="462401" y="202730"/>
                  </a:lnTo>
                  <a:cubicBezTo>
                    <a:pt x="459143" y="207369"/>
                    <a:pt x="457200" y="212989"/>
                    <a:pt x="457200" y="219075"/>
                  </a:cubicBezTo>
                  <a:cubicBezTo>
                    <a:pt x="457200" y="228676"/>
                    <a:pt x="461991" y="237134"/>
                    <a:pt x="469278" y="242326"/>
                  </a:cubicBezTo>
                  <a:cubicBezTo>
                    <a:pt x="459505" y="245716"/>
                    <a:pt x="449056" y="247650"/>
                    <a:pt x="438150" y="247650"/>
                  </a:cubicBezTo>
                  <a:cubicBezTo>
                    <a:pt x="424386" y="247650"/>
                    <a:pt x="410880" y="244516"/>
                    <a:pt x="398478" y="238820"/>
                  </a:cubicBezTo>
                  <a:cubicBezTo>
                    <a:pt x="399402" y="235553"/>
                    <a:pt x="400050" y="232162"/>
                    <a:pt x="400050" y="228600"/>
                  </a:cubicBezTo>
                  <a:cubicBezTo>
                    <a:pt x="400050" y="221552"/>
                    <a:pt x="398002" y="215036"/>
                    <a:pt x="394649" y="209369"/>
                  </a:cubicBezTo>
                  <a:close/>
                  <a:moveTo>
                    <a:pt x="505644" y="37405"/>
                  </a:moveTo>
                  <a:cubicBezTo>
                    <a:pt x="501691" y="42424"/>
                    <a:pt x="498748" y="48197"/>
                    <a:pt x="497062" y="54550"/>
                  </a:cubicBezTo>
                  <a:cubicBezTo>
                    <a:pt x="479365" y="43901"/>
                    <a:pt x="459000" y="38100"/>
                    <a:pt x="438150" y="38100"/>
                  </a:cubicBezTo>
                  <a:cubicBezTo>
                    <a:pt x="425034" y="38100"/>
                    <a:pt x="412051" y="40519"/>
                    <a:pt x="399774" y="44882"/>
                  </a:cubicBezTo>
                  <a:cubicBezTo>
                    <a:pt x="399383" y="38243"/>
                    <a:pt x="397659" y="32004"/>
                    <a:pt x="394811" y="26356"/>
                  </a:cubicBezTo>
                  <a:cubicBezTo>
                    <a:pt x="408699" y="21574"/>
                    <a:pt x="423215" y="19050"/>
                    <a:pt x="438150" y="19050"/>
                  </a:cubicBezTo>
                  <a:cubicBezTo>
                    <a:pt x="462144" y="19050"/>
                    <a:pt x="485242" y="25384"/>
                    <a:pt x="505644" y="37405"/>
                  </a:cubicBezTo>
                  <a:close/>
                  <a:moveTo>
                    <a:pt x="352425" y="19050"/>
                  </a:moveTo>
                  <a:cubicBezTo>
                    <a:pt x="368179" y="19050"/>
                    <a:pt x="381000" y="31871"/>
                    <a:pt x="381000" y="47625"/>
                  </a:cubicBezTo>
                  <a:cubicBezTo>
                    <a:pt x="381000" y="63379"/>
                    <a:pt x="368179" y="76200"/>
                    <a:pt x="352425" y="76200"/>
                  </a:cubicBezTo>
                  <a:cubicBezTo>
                    <a:pt x="336671" y="76200"/>
                    <a:pt x="323850" y="63379"/>
                    <a:pt x="323850" y="47625"/>
                  </a:cubicBezTo>
                  <a:cubicBezTo>
                    <a:pt x="323850" y="31871"/>
                    <a:pt x="336671" y="19050"/>
                    <a:pt x="352425" y="19050"/>
                  </a:cubicBezTo>
                  <a:close/>
                  <a:moveTo>
                    <a:pt x="323155" y="84906"/>
                  </a:moveTo>
                  <a:cubicBezTo>
                    <a:pt x="328174" y="88859"/>
                    <a:pt x="333947" y="91802"/>
                    <a:pt x="340290" y="93488"/>
                  </a:cubicBezTo>
                  <a:cubicBezTo>
                    <a:pt x="329651" y="111185"/>
                    <a:pt x="323850" y="131550"/>
                    <a:pt x="323850" y="152400"/>
                  </a:cubicBezTo>
                  <a:cubicBezTo>
                    <a:pt x="323850" y="169478"/>
                    <a:pt x="327889" y="186233"/>
                    <a:pt x="335194" y="201530"/>
                  </a:cubicBezTo>
                  <a:cubicBezTo>
                    <a:pt x="329727" y="206931"/>
                    <a:pt x="325955" y="213979"/>
                    <a:pt x="324536" y="221847"/>
                  </a:cubicBezTo>
                  <a:cubicBezTo>
                    <a:pt x="312106" y="201597"/>
                    <a:pt x="304800" y="177860"/>
                    <a:pt x="304800" y="152400"/>
                  </a:cubicBezTo>
                  <a:cubicBezTo>
                    <a:pt x="304800" y="128416"/>
                    <a:pt x="311134" y="105308"/>
                    <a:pt x="323155" y="84906"/>
                  </a:cubicBezTo>
                  <a:close/>
                  <a:moveTo>
                    <a:pt x="19050" y="161925"/>
                  </a:moveTo>
                  <a:lnTo>
                    <a:pt x="19050" y="142875"/>
                  </a:lnTo>
                  <a:cubicBezTo>
                    <a:pt x="19050" y="137627"/>
                    <a:pt x="23327" y="133350"/>
                    <a:pt x="28575" y="133350"/>
                  </a:cubicBezTo>
                  <a:lnTo>
                    <a:pt x="287036" y="133350"/>
                  </a:lnTo>
                  <a:cubicBezTo>
                    <a:pt x="286255" y="139637"/>
                    <a:pt x="285750" y="145980"/>
                    <a:pt x="285750" y="152400"/>
                  </a:cubicBezTo>
                  <a:cubicBezTo>
                    <a:pt x="285750" y="158867"/>
                    <a:pt x="286283" y="165192"/>
                    <a:pt x="287074" y="171450"/>
                  </a:cubicBezTo>
                  <a:lnTo>
                    <a:pt x="28575" y="171450"/>
                  </a:lnTo>
                  <a:cubicBezTo>
                    <a:pt x="23327" y="171450"/>
                    <a:pt x="19050" y="167173"/>
                    <a:pt x="19050" y="161925"/>
                  </a:cubicBezTo>
                  <a:close/>
                  <a:moveTo>
                    <a:pt x="266700" y="361950"/>
                  </a:moveTo>
                  <a:cubicBezTo>
                    <a:pt x="240440" y="361950"/>
                    <a:pt x="219075" y="340585"/>
                    <a:pt x="219075" y="314325"/>
                  </a:cubicBezTo>
                  <a:cubicBezTo>
                    <a:pt x="219075" y="288065"/>
                    <a:pt x="240440" y="266700"/>
                    <a:pt x="266700" y="266700"/>
                  </a:cubicBezTo>
                  <a:cubicBezTo>
                    <a:pt x="276435" y="266700"/>
                    <a:pt x="285617" y="269700"/>
                    <a:pt x="293551" y="275158"/>
                  </a:cubicBezTo>
                  <a:cubicBezTo>
                    <a:pt x="298390" y="291741"/>
                    <a:pt x="305314" y="306715"/>
                    <a:pt x="313744" y="320421"/>
                  </a:cubicBezTo>
                  <a:cubicBezTo>
                    <a:pt x="310706" y="343900"/>
                    <a:pt x="290674" y="361950"/>
                    <a:pt x="266700" y="361950"/>
                  </a:cubicBezTo>
                  <a:close/>
                  <a:moveTo>
                    <a:pt x="406117" y="411966"/>
                  </a:moveTo>
                  <a:cubicBezTo>
                    <a:pt x="411204" y="415728"/>
                    <a:pt x="416271" y="419462"/>
                    <a:pt x="421291" y="423129"/>
                  </a:cubicBezTo>
                  <a:cubicBezTo>
                    <a:pt x="421567" y="423329"/>
                    <a:pt x="421834" y="423529"/>
                    <a:pt x="422110" y="423729"/>
                  </a:cubicBezTo>
                  <a:cubicBezTo>
                    <a:pt x="369846" y="463096"/>
                    <a:pt x="327841" y="503406"/>
                    <a:pt x="324231" y="571500"/>
                  </a:cubicBezTo>
                  <a:lnTo>
                    <a:pt x="305038" y="571500"/>
                  </a:lnTo>
                  <a:cubicBezTo>
                    <a:pt x="308800" y="494538"/>
                    <a:pt x="358026" y="448637"/>
                    <a:pt x="406117" y="411966"/>
                  </a:cubicBezTo>
                  <a:close/>
                  <a:moveTo>
                    <a:pt x="345700" y="552450"/>
                  </a:moveTo>
                  <a:lnTo>
                    <a:pt x="530638" y="552450"/>
                  </a:lnTo>
                  <a:cubicBezTo>
                    <a:pt x="531838" y="558508"/>
                    <a:pt x="532590" y="564880"/>
                    <a:pt x="532990" y="571500"/>
                  </a:cubicBezTo>
                  <a:lnTo>
                    <a:pt x="343281" y="571500"/>
                  </a:lnTo>
                  <a:cubicBezTo>
                    <a:pt x="343681" y="564861"/>
                    <a:pt x="344500" y="558527"/>
                    <a:pt x="345700" y="552450"/>
                  </a:cubicBezTo>
                  <a:close/>
                  <a:moveTo>
                    <a:pt x="350901" y="533400"/>
                  </a:moveTo>
                  <a:cubicBezTo>
                    <a:pt x="353311" y="526752"/>
                    <a:pt x="356225" y="520417"/>
                    <a:pt x="359607" y="514350"/>
                  </a:cubicBezTo>
                  <a:lnTo>
                    <a:pt x="516607" y="514350"/>
                  </a:lnTo>
                  <a:cubicBezTo>
                    <a:pt x="519970" y="520408"/>
                    <a:pt x="522903" y="526733"/>
                    <a:pt x="525323" y="533400"/>
                  </a:cubicBezTo>
                  <a:lnTo>
                    <a:pt x="350901" y="533400"/>
                  </a:lnTo>
                  <a:close/>
                  <a:moveTo>
                    <a:pt x="372304" y="495300"/>
                  </a:moveTo>
                  <a:cubicBezTo>
                    <a:pt x="377428" y="488709"/>
                    <a:pt x="383162" y="482403"/>
                    <a:pt x="389334" y="476250"/>
                  </a:cubicBezTo>
                  <a:lnTo>
                    <a:pt x="487070" y="476250"/>
                  </a:lnTo>
                  <a:cubicBezTo>
                    <a:pt x="493195" y="482356"/>
                    <a:pt x="498862" y="488680"/>
                    <a:pt x="503996" y="495300"/>
                  </a:cubicBezTo>
                  <a:lnTo>
                    <a:pt x="372304" y="495300"/>
                  </a:lnTo>
                  <a:close/>
                  <a:moveTo>
                    <a:pt x="410404" y="457200"/>
                  </a:moveTo>
                  <a:cubicBezTo>
                    <a:pt x="419119" y="449951"/>
                    <a:pt x="428415" y="442779"/>
                    <a:pt x="438160" y="435540"/>
                  </a:cubicBezTo>
                  <a:cubicBezTo>
                    <a:pt x="447856" y="442741"/>
                    <a:pt x="457210" y="449904"/>
                    <a:pt x="466011" y="457200"/>
                  </a:cubicBezTo>
                  <a:lnTo>
                    <a:pt x="410404" y="457200"/>
                  </a:lnTo>
                  <a:close/>
                  <a:moveTo>
                    <a:pt x="571271" y="571500"/>
                  </a:moveTo>
                  <a:lnTo>
                    <a:pt x="552031" y="571500"/>
                  </a:lnTo>
                  <a:cubicBezTo>
                    <a:pt x="547640" y="492081"/>
                    <a:pt x="489242" y="449180"/>
                    <a:pt x="432521" y="407737"/>
                  </a:cubicBezTo>
                  <a:cubicBezTo>
                    <a:pt x="374275" y="365160"/>
                    <a:pt x="308658" y="316935"/>
                    <a:pt x="305152" y="226571"/>
                  </a:cubicBezTo>
                  <a:cubicBezTo>
                    <a:pt x="311572" y="238039"/>
                    <a:pt x="319449" y="248564"/>
                    <a:pt x="328498" y="257966"/>
                  </a:cubicBezTo>
                  <a:cubicBezTo>
                    <a:pt x="343529" y="319011"/>
                    <a:pt x="392211" y="354673"/>
                    <a:pt x="443808" y="392373"/>
                  </a:cubicBezTo>
                  <a:cubicBezTo>
                    <a:pt x="501625" y="434645"/>
                    <a:pt x="566919" y="482365"/>
                    <a:pt x="571271" y="571500"/>
                  </a:cubicBezTo>
                  <a:close/>
                  <a:moveTo>
                    <a:pt x="470183" y="388134"/>
                  </a:moveTo>
                  <a:cubicBezTo>
                    <a:pt x="465096" y="384372"/>
                    <a:pt x="460029" y="380638"/>
                    <a:pt x="455009" y="376971"/>
                  </a:cubicBezTo>
                  <a:cubicBezTo>
                    <a:pt x="454733" y="376771"/>
                    <a:pt x="454457" y="376571"/>
                    <a:pt x="454181" y="376371"/>
                  </a:cubicBezTo>
                  <a:cubicBezTo>
                    <a:pt x="497053" y="344081"/>
                    <a:pt x="535076" y="309601"/>
                    <a:pt x="547821" y="257956"/>
                  </a:cubicBezTo>
                  <a:cubicBezTo>
                    <a:pt x="556889" y="248536"/>
                    <a:pt x="564775" y="238001"/>
                    <a:pt x="571195" y="226514"/>
                  </a:cubicBezTo>
                  <a:cubicBezTo>
                    <a:pt x="568185" y="304676"/>
                    <a:pt x="518684" y="351139"/>
                    <a:pt x="470183" y="388134"/>
                  </a:cubicBezTo>
                  <a:close/>
                  <a:moveTo>
                    <a:pt x="438150" y="285750"/>
                  </a:moveTo>
                  <a:cubicBezTo>
                    <a:pt x="412690" y="285750"/>
                    <a:pt x="388953" y="278444"/>
                    <a:pt x="368694" y="266014"/>
                  </a:cubicBezTo>
                  <a:cubicBezTo>
                    <a:pt x="376561" y="264595"/>
                    <a:pt x="383610" y="260823"/>
                    <a:pt x="389011" y="255356"/>
                  </a:cubicBezTo>
                  <a:cubicBezTo>
                    <a:pt x="404317" y="262661"/>
                    <a:pt x="421072" y="266700"/>
                    <a:pt x="438150" y="266700"/>
                  </a:cubicBezTo>
                  <a:cubicBezTo>
                    <a:pt x="501177" y="266700"/>
                    <a:pt x="552450" y="215427"/>
                    <a:pt x="552450" y="152400"/>
                  </a:cubicBezTo>
                  <a:cubicBezTo>
                    <a:pt x="552450" y="139284"/>
                    <a:pt x="550031" y="126302"/>
                    <a:pt x="545668" y="114024"/>
                  </a:cubicBezTo>
                  <a:cubicBezTo>
                    <a:pt x="552317" y="113633"/>
                    <a:pt x="558546" y="111909"/>
                    <a:pt x="564194" y="109061"/>
                  </a:cubicBezTo>
                  <a:cubicBezTo>
                    <a:pt x="568976" y="122949"/>
                    <a:pt x="571500" y="137465"/>
                    <a:pt x="571500" y="152400"/>
                  </a:cubicBezTo>
                  <a:cubicBezTo>
                    <a:pt x="571500" y="225933"/>
                    <a:pt x="511683" y="285750"/>
                    <a:pt x="438150" y="285750"/>
                  </a:cubicBezTo>
                  <a:close/>
                </a:path>
              </a:pathLst>
            </a:custGeom>
            <a:grpFill/>
            <a:ln w="9525" cap="flat">
              <a:noFill/>
              <a:prstDash val="solid"/>
              <a:miter/>
            </a:ln>
          </p:spPr>
          <p:txBody>
            <a:bodyPr rtlCol="0" anchor="ctr"/>
            <a:lstStyle/>
            <a:p>
              <a:endParaRPr lang="pt-BR"/>
            </a:p>
          </p:txBody>
        </p:sp>
        <p:sp>
          <p:nvSpPr>
            <p:cNvPr id="29" name="Forma Livre: Forma 28">
              <a:extLst>
                <a:ext uri="{FF2B5EF4-FFF2-40B4-BE49-F238E27FC236}">
                  <a16:creationId xmlns:a16="http://schemas.microsoft.com/office/drawing/2014/main" id="{2E28CE6A-DCE7-1786-973E-F6172ABD9BDD}"/>
                </a:ext>
              </a:extLst>
            </p:cNvPr>
            <p:cNvSpPr/>
            <p:nvPr/>
          </p:nvSpPr>
          <p:spPr>
            <a:xfrm>
              <a:off x="-1864391" y="2778229"/>
              <a:ext cx="228600" cy="209550"/>
            </a:xfrm>
            <a:custGeom>
              <a:avLst/>
              <a:gdLst>
                <a:gd name="connsiteX0" fmla="*/ 200025 w 228600"/>
                <a:gd name="connsiteY0" fmla="*/ 152400 h 209550"/>
                <a:gd name="connsiteX1" fmla="*/ 181213 w 228600"/>
                <a:gd name="connsiteY1" fmla="*/ 159629 h 209550"/>
                <a:gd name="connsiteX2" fmla="*/ 151047 w 228600"/>
                <a:gd name="connsiteY2" fmla="*/ 142865 h 209550"/>
                <a:gd name="connsiteX3" fmla="*/ 152400 w 228600"/>
                <a:gd name="connsiteY3" fmla="*/ 133350 h 209550"/>
                <a:gd name="connsiteX4" fmla="*/ 133150 w 228600"/>
                <a:gd name="connsiteY4" fmla="*/ 100441 h 209550"/>
                <a:gd name="connsiteX5" fmla="*/ 145018 w 228600"/>
                <a:gd name="connsiteY5" fmla="*/ 56931 h 209550"/>
                <a:gd name="connsiteX6" fmla="*/ 171450 w 228600"/>
                <a:gd name="connsiteY6" fmla="*/ 28575 h 209550"/>
                <a:gd name="connsiteX7" fmla="*/ 142875 w 228600"/>
                <a:gd name="connsiteY7" fmla="*/ 0 h 209550"/>
                <a:gd name="connsiteX8" fmla="*/ 114300 w 228600"/>
                <a:gd name="connsiteY8" fmla="*/ 28575 h 209550"/>
                <a:gd name="connsiteX9" fmla="*/ 126606 w 228600"/>
                <a:gd name="connsiteY9" fmla="*/ 52016 h 209550"/>
                <a:gd name="connsiteX10" fmla="*/ 114805 w 228600"/>
                <a:gd name="connsiteY10" fmla="*/ 95298 h 209550"/>
                <a:gd name="connsiteX11" fmla="*/ 114300 w 228600"/>
                <a:gd name="connsiteY11" fmla="*/ 95250 h 209550"/>
                <a:gd name="connsiteX12" fmla="*/ 86763 w 228600"/>
                <a:gd name="connsiteY12" fmla="*/ 107156 h 209550"/>
                <a:gd name="connsiteX13" fmla="*/ 56674 w 228600"/>
                <a:gd name="connsiteY13" fmla="*/ 90440 h 209550"/>
                <a:gd name="connsiteX14" fmla="*/ 57150 w 228600"/>
                <a:gd name="connsiteY14" fmla="*/ 85725 h 209550"/>
                <a:gd name="connsiteX15" fmla="*/ 28575 w 228600"/>
                <a:gd name="connsiteY15" fmla="*/ 57150 h 209550"/>
                <a:gd name="connsiteX16" fmla="*/ 0 w 228600"/>
                <a:gd name="connsiteY16" fmla="*/ 85725 h 209550"/>
                <a:gd name="connsiteX17" fmla="*/ 28575 w 228600"/>
                <a:gd name="connsiteY17" fmla="*/ 114300 h 209550"/>
                <a:gd name="connsiteX18" fmla="*/ 47377 w 228600"/>
                <a:gd name="connsiteY18" fmla="*/ 107071 h 209550"/>
                <a:gd name="connsiteX19" fmla="*/ 77553 w 228600"/>
                <a:gd name="connsiteY19" fmla="*/ 123835 h 209550"/>
                <a:gd name="connsiteX20" fmla="*/ 76200 w 228600"/>
                <a:gd name="connsiteY20" fmla="*/ 133350 h 209550"/>
                <a:gd name="connsiteX21" fmla="*/ 114300 w 228600"/>
                <a:gd name="connsiteY21" fmla="*/ 171450 h 209550"/>
                <a:gd name="connsiteX22" fmla="*/ 141837 w 228600"/>
                <a:gd name="connsiteY22" fmla="*/ 159544 h 209550"/>
                <a:gd name="connsiteX23" fmla="*/ 171926 w 228600"/>
                <a:gd name="connsiteY23" fmla="*/ 176260 h 209550"/>
                <a:gd name="connsiteX24" fmla="*/ 171450 w 228600"/>
                <a:gd name="connsiteY24" fmla="*/ 180975 h 209550"/>
                <a:gd name="connsiteX25" fmla="*/ 200025 w 228600"/>
                <a:gd name="connsiteY25" fmla="*/ 209550 h 209550"/>
                <a:gd name="connsiteX26" fmla="*/ 228600 w 228600"/>
                <a:gd name="connsiteY26" fmla="*/ 180975 h 209550"/>
                <a:gd name="connsiteX27" fmla="*/ 200025 w 228600"/>
                <a:gd name="connsiteY27" fmla="*/ 152400 h 209550"/>
                <a:gd name="connsiteX28" fmla="*/ 142875 w 228600"/>
                <a:gd name="connsiteY28" fmla="*/ 19050 h 209550"/>
                <a:gd name="connsiteX29" fmla="*/ 152400 w 228600"/>
                <a:gd name="connsiteY29" fmla="*/ 28575 h 209550"/>
                <a:gd name="connsiteX30" fmla="*/ 142875 w 228600"/>
                <a:gd name="connsiteY30" fmla="*/ 38100 h 209550"/>
                <a:gd name="connsiteX31" fmla="*/ 133350 w 228600"/>
                <a:gd name="connsiteY31" fmla="*/ 28575 h 209550"/>
                <a:gd name="connsiteX32" fmla="*/ 142875 w 228600"/>
                <a:gd name="connsiteY32" fmla="*/ 19050 h 209550"/>
                <a:gd name="connsiteX33" fmla="*/ 28575 w 228600"/>
                <a:gd name="connsiteY33" fmla="*/ 95250 h 209550"/>
                <a:gd name="connsiteX34" fmla="*/ 19050 w 228600"/>
                <a:gd name="connsiteY34" fmla="*/ 85725 h 209550"/>
                <a:gd name="connsiteX35" fmla="*/ 28575 w 228600"/>
                <a:gd name="connsiteY35" fmla="*/ 76200 h 209550"/>
                <a:gd name="connsiteX36" fmla="*/ 38100 w 228600"/>
                <a:gd name="connsiteY36" fmla="*/ 85725 h 209550"/>
                <a:gd name="connsiteX37" fmla="*/ 28575 w 228600"/>
                <a:gd name="connsiteY37" fmla="*/ 95250 h 209550"/>
                <a:gd name="connsiteX38" fmla="*/ 114300 w 228600"/>
                <a:gd name="connsiteY38" fmla="*/ 152400 h 209550"/>
                <a:gd name="connsiteX39" fmla="*/ 95250 w 228600"/>
                <a:gd name="connsiteY39" fmla="*/ 133350 h 209550"/>
                <a:gd name="connsiteX40" fmla="*/ 114300 w 228600"/>
                <a:gd name="connsiteY40" fmla="*/ 114300 h 209550"/>
                <a:gd name="connsiteX41" fmla="*/ 133350 w 228600"/>
                <a:gd name="connsiteY41" fmla="*/ 133350 h 209550"/>
                <a:gd name="connsiteX42" fmla="*/ 114300 w 228600"/>
                <a:gd name="connsiteY42" fmla="*/ 152400 h 209550"/>
                <a:gd name="connsiteX43" fmla="*/ 200025 w 228600"/>
                <a:gd name="connsiteY43" fmla="*/ 190500 h 209550"/>
                <a:gd name="connsiteX44" fmla="*/ 190500 w 228600"/>
                <a:gd name="connsiteY44" fmla="*/ 180975 h 209550"/>
                <a:gd name="connsiteX45" fmla="*/ 200025 w 228600"/>
                <a:gd name="connsiteY45" fmla="*/ 171450 h 209550"/>
                <a:gd name="connsiteX46" fmla="*/ 209550 w 228600"/>
                <a:gd name="connsiteY46" fmla="*/ 180975 h 209550"/>
                <a:gd name="connsiteX47" fmla="*/ 200025 w 228600"/>
                <a:gd name="connsiteY47" fmla="*/ 19050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8600" h="209550">
                  <a:moveTo>
                    <a:pt x="200025" y="152400"/>
                  </a:moveTo>
                  <a:cubicBezTo>
                    <a:pt x="192796" y="152400"/>
                    <a:pt x="186252" y="155191"/>
                    <a:pt x="181213" y="159629"/>
                  </a:cubicBezTo>
                  <a:lnTo>
                    <a:pt x="151047" y="142865"/>
                  </a:lnTo>
                  <a:cubicBezTo>
                    <a:pt x="151848" y="139808"/>
                    <a:pt x="152400" y="136655"/>
                    <a:pt x="152400" y="133350"/>
                  </a:cubicBezTo>
                  <a:cubicBezTo>
                    <a:pt x="152400" y="119224"/>
                    <a:pt x="144590" y="107023"/>
                    <a:pt x="133150" y="100441"/>
                  </a:cubicBezTo>
                  <a:lnTo>
                    <a:pt x="145018" y="56931"/>
                  </a:lnTo>
                  <a:cubicBezTo>
                    <a:pt x="159763" y="55817"/>
                    <a:pt x="171450" y="43596"/>
                    <a:pt x="171450" y="28575"/>
                  </a:cubicBezTo>
                  <a:cubicBezTo>
                    <a:pt x="171450" y="12821"/>
                    <a:pt x="158629" y="0"/>
                    <a:pt x="142875" y="0"/>
                  </a:cubicBezTo>
                  <a:cubicBezTo>
                    <a:pt x="127121" y="0"/>
                    <a:pt x="114300" y="12821"/>
                    <a:pt x="114300" y="28575"/>
                  </a:cubicBezTo>
                  <a:cubicBezTo>
                    <a:pt x="114300" y="38281"/>
                    <a:pt x="119186" y="46853"/>
                    <a:pt x="126606" y="52016"/>
                  </a:cubicBezTo>
                  <a:lnTo>
                    <a:pt x="114805" y="95298"/>
                  </a:lnTo>
                  <a:cubicBezTo>
                    <a:pt x="114633" y="95298"/>
                    <a:pt x="114471" y="95250"/>
                    <a:pt x="114300" y="95250"/>
                  </a:cubicBezTo>
                  <a:cubicBezTo>
                    <a:pt x="103451" y="95250"/>
                    <a:pt x="93707" y="99860"/>
                    <a:pt x="86763" y="107156"/>
                  </a:cubicBezTo>
                  <a:lnTo>
                    <a:pt x="56674" y="90440"/>
                  </a:lnTo>
                  <a:cubicBezTo>
                    <a:pt x="56931" y="88897"/>
                    <a:pt x="57150" y="87344"/>
                    <a:pt x="57150" y="85725"/>
                  </a:cubicBezTo>
                  <a:cubicBezTo>
                    <a:pt x="57150" y="69971"/>
                    <a:pt x="44329" y="57150"/>
                    <a:pt x="28575" y="57150"/>
                  </a:cubicBezTo>
                  <a:cubicBezTo>
                    <a:pt x="12821" y="57150"/>
                    <a:pt x="0" y="69971"/>
                    <a:pt x="0" y="85725"/>
                  </a:cubicBezTo>
                  <a:cubicBezTo>
                    <a:pt x="0" y="101479"/>
                    <a:pt x="12821" y="114300"/>
                    <a:pt x="28575" y="114300"/>
                  </a:cubicBezTo>
                  <a:cubicBezTo>
                    <a:pt x="35804" y="114300"/>
                    <a:pt x="42339" y="111509"/>
                    <a:pt x="47377" y="107071"/>
                  </a:cubicBezTo>
                  <a:lnTo>
                    <a:pt x="77553" y="123835"/>
                  </a:lnTo>
                  <a:cubicBezTo>
                    <a:pt x="76752" y="126892"/>
                    <a:pt x="76200" y="130045"/>
                    <a:pt x="76200" y="133350"/>
                  </a:cubicBezTo>
                  <a:cubicBezTo>
                    <a:pt x="76200" y="154362"/>
                    <a:pt x="93288" y="171450"/>
                    <a:pt x="114300" y="171450"/>
                  </a:cubicBezTo>
                  <a:cubicBezTo>
                    <a:pt x="125149" y="171450"/>
                    <a:pt x="134893" y="166840"/>
                    <a:pt x="141837" y="159544"/>
                  </a:cubicBezTo>
                  <a:lnTo>
                    <a:pt x="171926" y="176260"/>
                  </a:lnTo>
                  <a:cubicBezTo>
                    <a:pt x="171669" y="177803"/>
                    <a:pt x="171450" y="179365"/>
                    <a:pt x="171450" y="180975"/>
                  </a:cubicBezTo>
                  <a:cubicBezTo>
                    <a:pt x="171450" y="196729"/>
                    <a:pt x="184271" y="209550"/>
                    <a:pt x="200025" y="209550"/>
                  </a:cubicBezTo>
                  <a:cubicBezTo>
                    <a:pt x="215779" y="209550"/>
                    <a:pt x="228600" y="196729"/>
                    <a:pt x="228600" y="180975"/>
                  </a:cubicBezTo>
                  <a:cubicBezTo>
                    <a:pt x="228600" y="165221"/>
                    <a:pt x="215779" y="152400"/>
                    <a:pt x="200025" y="152400"/>
                  </a:cubicBezTo>
                  <a:close/>
                  <a:moveTo>
                    <a:pt x="142875" y="19050"/>
                  </a:moveTo>
                  <a:cubicBezTo>
                    <a:pt x="148123" y="19050"/>
                    <a:pt x="152400" y="23317"/>
                    <a:pt x="152400" y="28575"/>
                  </a:cubicBezTo>
                  <a:cubicBezTo>
                    <a:pt x="152400" y="33833"/>
                    <a:pt x="148123" y="38100"/>
                    <a:pt x="142875" y="38100"/>
                  </a:cubicBezTo>
                  <a:cubicBezTo>
                    <a:pt x="137627" y="38100"/>
                    <a:pt x="133350" y="33833"/>
                    <a:pt x="133350" y="28575"/>
                  </a:cubicBezTo>
                  <a:cubicBezTo>
                    <a:pt x="133350" y="23317"/>
                    <a:pt x="137627" y="19050"/>
                    <a:pt x="142875" y="19050"/>
                  </a:cubicBezTo>
                  <a:close/>
                  <a:moveTo>
                    <a:pt x="28575" y="95250"/>
                  </a:moveTo>
                  <a:cubicBezTo>
                    <a:pt x="23327" y="95250"/>
                    <a:pt x="19050" y="90983"/>
                    <a:pt x="19050" y="85725"/>
                  </a:cubicBezTo>
                  <a:cubicBezTo>
                    <a:pt x="19050" y="80467"/>
                    <a:pt x="23327" y="76200"/>
                    <a:pt x="28575" y="76200"/>
                  </a:cubicBezTo>
                  <a:cubicBezTo>
                    <a:pt x="33823" y="76200"/>
                    <a:pt x="38100" y="80467"/>
                    <a:pt x="38100" y="85725"/>
                  </a:cubicBezTo>
                  <a:cubicBezTo>
                    <a:pt x="38100" y="90983"/>
                    <a:pt x="33823" y="95250"/>
                    <a:pt x="28575" y="95250"/>
                  </a:cubicBezTo>
                  <a:close/>
                  <a:moveTo>
                    <a:pt x="114300" y="152400"/>
                  </a:moveTo>
                  <a:cubicBezTo>
                    <a:pt x="103794" y="152400"/>
                    <a:pt x="95250" y="143856"/>
                    <a:pt x="95250" y="133350"/>
                  </a:cubicBezTo>
                  <a:cubicBezTo>
                    <a:pt x="95250" y="122844"/>
                    <a:pt x="103794" y="114300"/>
                    <a:pt x="114300" y="114300"/>
                  </a:cubicBezTo>
                  <a:cubicBezTo>
                    <a:pt x="124806" y="114300"/>
                    <a:pt x="133350" y="122844"/>
                    <a:pt x="133350" y="133350"/>
                  </a:cubicBezTo>
                  <a:cubicBezTo>
                    <a:pt x="133350" y="143856"/>
                    <a:pt x="124806" y="152400"/>
                    <a:pt x="114300" y="152400"/>
                  </a:cubicBezTo>
                  <a:close/>
                  <a:moveTo>
                    <a:pt x="200025" y="190500"/>
                  </a:moveTo>
                  <a:cubicBezTo>
                    <a:pt x="194777" y="190500"/>
                    <a:pt x="190500" y="186233"/>
                    <a:pt x="190500" y="180975"/>
                  </a:cubicBezTo>
                  <a:cubicBezTo>
                    <a:pt x="190500" y="175717"/>
                    <a:pt x="194777" y="171450"/>
                    <a:pt x="200025" y="171450"/>
                  </a:cubicBezTo>
                  <a:cubicBezTo>
                    <a:pt x="205273" y="171450"/>
                    <a:pt x="209550" y="175717"/>
                    <a:pt x="209550" y="180975"/>
                  </a:cubicBezTo>
                  <a:cubicBezTo>
                    <a:pt x="209550" y="186233"/>
                    <a:pt x="205273" y="190500"/>
                    <a:pt x="200025" y="190500"/>
                  </a:cubicBezTo>
                  <a:close/>
                </a:path>
              </a:pathLst>
            </a:custGeom>
            <a:grpFill/>
            <a:ln w="9525" cap="flat">
              <a:noFill/>
              <a:prstDash val="solid"/>
              <a:miter/>
            </a:ln>
          </p:spPr>
          <p:txBody>
            <a:bodyPr rtlCol="0" anchor="ctr"/>
            <a:lstStyle/>
            <a:p>
              <a:endParaRPr lang="pt-BR"/>
            </a:p>
          </p:txBody>
        </p:sp>
      </p:grpSp>
      <p:sp>
        <p:nvSpPr>
          <p:cNvPr id="35" name="Espaço Reservado para Texto 34">
            <a:extLst>
              <a:ext uri="{FF2B5EF4-FFF2-40B4-BE49-F238E27FC236}">
                <a16:creationId xmlns:a16="http://schemas.microsoft.com/office/drawing/2014/main" id="{0A3DAFFA-6A68-D051-475B-8FE82BD0A573}"/>
              </a:ext>
            </a:extLst>
          </p:cNvPr>
          <p:cNvSpPr>
            <a:spLocks noGrp="1"/>
          </p:cNvSpPr>
          <p:nvPr>
            <p:ph type="body" sz="quarter" idx="111"/>
          </p:nvPr>
        </p:nvSpPr>
        <p:spPr/>
        <p:txBody>
          <a:bodyPr/>
          <a:lstStyle/>
          <a:p>
            <a:endParaRPr lang="pt-BR"/>
          </a:p>
        </p:txBody>
      </p:sp>
    </p:spTree>
    <p:extLst>
      <p:ext uri="{BB962C8B-B14F-4D97-AF65-F5344CB8AC3E}">
        <p14:creationId xmlns:p14="http://schemas.microsoft.com/office/powerpoint/2010/main" val="352299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33"/>
                                        </p:tgtEl>
                                        <p:attrNameLst>
                                          <p:attrName>style.visibility</p:attrName>
                                        </p:attrNameLst>
                                      </p:cBhvr>
                                      <p:to>
                                        <p:strVal val="visible"/>
                                      </p:to>
                                    </p:set>
                                    <p:anim calcmode="lin" valueType="num">
                                      <p:cBhvr>
                                        <p:cTn id="23" dur="500" fill="hold"/>
                                        <p:tgtEl>
                                          <p:spTgt spid="33"/>
                                        </p:tgtEl>
                                        <p:attrNameLst>
                                          <p:attrName>ppt_w</p:attrName>
                                        </p:attrNameLst>
                                      </p:cBhvr>
                                      <p:tavLst>
                                        <p:tav tm="0">
                                          <p:val>
                                            <p:fltVal val="0"/>
                                          </p:val>
                                        </p:tav>
                                        <p:tav tm="100000">
                                          <p:val>
                                            <p:strVal val="#ppt_w"/>
                                          </p:val>
                                        </p:tav>
                                      </p:tavLst>
                                    </p:anim>
                                    <p:anim calcmode="lin" valueType="num">
                                      <p:cBhvr>
                                        <p:cTn id="24" dur="500" fill="hold"/>
                                        <p:tgtEl>
                                          <p:spTgt spid="33"/>
                                        </p:tgtEl>
                                        <p:attrNameLst>
                                          <p:attrName>ppt_h</p:attrName>
                                        </p:attrNameLst>
                                      </p:cBhvr>
                                      <p:tavLst>
                                        <p:tav tm="0">
                                          <p:val>
                                            <p:fltVal val="0"/>
                                          </p:val>
                                        </p:tav>
                                        <p:tav tm="100000">
                                          <p:val>
                                            <p:strVal val="#ppt_h"/>
                                          </p:val>
                                        </p:tav>
                                      </p:tavLst>
                                    </p:anim>
                                    <p:animEffect transition="in" filter="fade">
                                      <p:cBhvr>
                                        <p:cTn id="25" dur="500"/>
                                        <p:tgtEl>
                                          <p:spTgt spid="33"/>
                                        </p:tgtEl>
                                      </p:cBhvr>
                                    </p:animEffect>
                                  </p:childTnLst>
                                </p:cTn>
                              </p:par>
                              <p:par>
                                <p:cTn id="26" presetID="53" presetClass="entr" presetSubtype="16" fill="hold" grpId="0" nodeType="withEffect">
                                  <p:stCondLst>
                                    <p:cond delay="500"/>
                                  </p:stCondLst>
                                  <p:childTnLst>
                                    <p:set>
                                      <p:cBhvr>
                                        <p:cTn id="27" dur="1" fill="hold">
                                          <p:stCondLst>
                                            <p:cond delay="0"/>
                                          </p:stCondLst>
                                        </p:cTn>
                                        <p:tgtEl>
                                          <p:spTgt spid="36"/>
                                        </p:tgtEl>
                                        <p:attrNameLst>
                                          <p:attrName>style.visibility</p:attrName>
                                        </p:attrNameLst>
                                      </p:cBhvr>
                                      <p:to>
                                        <p:strVal val="visible"/>
                                      </p:to>
                                    </p:set>
                                    <p:anim calcmode="lin" valueType="num">
                                      <p:cBhvr>
                                        <p:cTn id="28" dur="500" fill="hold"/>
                                        <p:tgtEl>
                                          <p:spTgt spid="36"/>
                                        </p:tgtEl>
                                        <p:attrNameLst>
                                          <p:attrName>ppt_w</p:attrName>
                                        </p:attrNameLst>
                                      </p:cBhvr>
                                      <p:tavLst>
                                        <p:tav tm="0">
                                          <p:val>
                                            <p:fltVal val="0"/>
                                          </p:val>
                                        </p:tav>
                                        <p:tav tm="100000">
                                          <p:val>
                                            <p:strVal val="#ppt_w"/>
                                          </p:val>
                                        </p:tav>
                                      </p:tavLst>
                                    </p:anim>
                                    <p:anim calcmode="lin" valueType="num">
                                      <p:cBhvr>
                                        <p:cTn id="29" dur="500" fill="hold"/>
                                        <p:tgtEl>
                                          <p:spTgt spid="36"/>
                                        </p:tgtEl>
                                        <p:attrNameLst>
                                          <p:attrName>ppt_h</p:attrName>
                                        </p:attrNameLst>
                                      </p:cBhvr>
                                      <p:tavLst>
                                        <p:tav tm="0">
                                          <p:val>
                                            <p:fltVal val="0"/>
                                          </p:val>
                                        </p:tav>
                                        <p:tav tm="100000">
                                          <p:val>
                                            <p:strVal val="#ppt_h"/>
                                          </p:val>
                                        </p:tav>
                                      </p:tavLst>
                                    </p:anim>
                                    <p:animEffect transition="in" filter="fade">
                                      <p:cBhvr>
                                        <p:cTn id="30" dur="500"/>
                                        <p:tgtEl>
                                          <p:spTgt spid="36"/>
                                        </p:tgtEl>
                                      </p:cBhvr>
                                    </p:animEffect>
                                  </p:childTnLst>
                                </p:cTn>
                              </p:par>
                              <p:par>
                                <p:cTn id="31" presetID="53" presetClass="entr" presetSubtype="16" fill="hold" grpId="0" nodeType="withEffect">
                                  <p:stCondLst>
                                    <p:cond delay="500"/>
                                  </p:stCondLst>
                                  <p:childTnLst>
                                    <p:set>
                                      <p:cBhvr>
                                        <p:cTn id="32" dur="1" fill="hold">
                                          <p:stCondLst>
                                            <p:cond delay="0"/>
                                          </p:stCondLst>
                                        </p:cTn>
                                        <p:tgtEl>
                                          <p:spTgt spid="39"/>
                                        </p:tgtEl>
                                        <p:attrNameLst>
                                          <p:attrName>style.visibility</p:attrName>
                                        </p:attrNameLst>
                                      </p:cBhvr>
                                      <p:to>
                                        <p:strVal val="visible"/>
                                      </p:to>
                                    </p:set>
                                    <p:anim calcmode="lin" valueType="num">
                                      <p:cBhvr>
                                        <p:cTn id="33" dur="500" fill="hold"/>
                                        <p:tgtEl>
                                          <p:spTgt spid="39"/>
                                        </p:tgtEl>
                                        <p:attrNameLst>
                                          <p:attrName>ppt_w</p:attrName>
                                        </p:attrNameLst>
                                      </p:cBhvr>
                                      <p:tavLst>
                                        <p:tav tm="0">
                                          <p:val>
                                            <p:fltVal val="0"/>
                                          </p:val>
                                        </p:tav>
                                        <p:tav tm="100000">
                                          <p:val>
                                            <p:strVal val="#ppt_w"/>
                                          </p:val>
                                        </p:tav>
                                      </p:tavLst>
                                    </p:anim>
                                    <p:anim calcmode="lin" valueType="num">
                                      <p:cBhvr>
                                        <p:cTn id="34" dur="500" fill="hold"/>
                                        <p:tgtEl>
                                          <p:spTgt spid="39"/>
                                        </p:tgtEl>
                                        <p:attrNameLst>
                                          <p:attrName>ppt_h</p:attrName>
                                        </p:attrNameLst>
                                      </p:cBhvr>
                                      <p:tavLst>
                                        <p:tav tm="0">
                                          <p:val>
                                            <p:fltVal val="0"/>
                                          </p:val>
                                        </p:tav>
                                        <p:tav tm="100000">
                                          <p:val>
                                            <p:strVal val="#ppt_h"/>
                                          </p:val>
                                        </p:tav>
                                      </p:tavLst>
                                    </p:anim>
                                    <p:animEffect transition="in" filter="fade">
                                      <p:cBhvr>
                                        <p:cTn id="35" dur="500"/>
                                        <p:tgtEl>
                                          <p:spTgt spid="39"/>
                                        </p:tgtEl>
                                      </p:cBhvr>
                                    </p:animEffect>
                                  </p:childTnLst>
                                </p:cTn>
                              </p:par>
                              <p:par>
                                <p:cTn id="36" presetID="53" presetClass="entr" presetSubtype="16" fill="hold" grpId="0" nodeType="withEffect">
                                  <p:stCondLst>
                                    <p:cond delay="500"/>
                                  </p:stCondLst>
                                  <p:childTnLst>
                                    <p:set>
                                      <p:cBhvr>
                                        <p:cTn id="37" dur="1" fill="hold">
                                          <p:stCondLst>
                                            <p:cond delay="0"/>
                                          </p:stCondLst>
                                        </p:cTn>
                                        <p:tgtEl>
                                          <p:spTgt spid="42"/>
                                        </p:tgtEl>
                                        <p:attrNameLst>
                                          <p:attrName>style.visibility</p:attrName>
                                        </p:attrNameLst>
                                      </p:cBhvr>
                                      <p:to>
                                        <p:strVal val="visible"/>
                                      </p:to>
                                    </p:set>
                                    <p:anim calcmode="lin" valueType="num">
                                      <p:cBhvr>
                                        <p:cTn id="38" dur="500" fill="hold"/>
                                        <p:tgtEl>
                                          <p:spTgt spid="42"/>
                                        </p:tgtEl>
                                        <p:attrNameLst>
                                          <p:attrName>ppt_w</p:attrName>
                                        </p:attrNameLst>
                                      </p:cBhvr>
                                      <p:tavLst>
                                        <p:tav tm="0">
                                          <p:val>
                                            <p:fltVal val="0"/>
                                          </p:val>
                                        </p:tav>
                                        <p:tav tm="100000">
                                          <p:val>
                                            <p:strVal val="#ppt_w"/>
                                          </p:val>
                                        </p:tav>
                                      </p:tavLst>
                                    </p:anim>
                                    <p:anim calcmode="lin" valueType="num">
                                      <p:cBhvr>
                                        <p:cTn id="39" dur="500" fill="hold"/>
                                        <p:tgtEl>
                                          <p:spTgt spid="42"/>
                                        </p:tgtEl>
                                        <p:attrNameLst>
                                          <p:attrName>ppt_h</p:attrName>
                                        </p:attrNameLst>
                                      </p:cBhvr>
                                      <p:tavLst>
                                        <p:tav tm="0">
                                          <p:val>
                                            <p:fltVal val="0"/>
                                          </p:val>
                                        </p:tav>
                                        <p:tav tm="100000">
                                          <p:val>
                                            <p:strVal val="#ppt_h"/>
                                          </p:val>
                                        </p:tav>
                                      </p:tavLst>
                                    </p:anim>
                                    <p:animEffect transition="in" filter="fade">
                                      <p:cBhvr>
                                        <p:cTn id="40" dur="500"/>
                                        <p:tgtEl>
                                          <p:spTgt spid="42"/>
                                        </p:tgtEl>
                                      </p:cBhvr>
                                    </p:animEffect>
                                  </p:childTnLst>
                                </p:cTn>
                              </p:par>
                              <p:par>
                                <p:cTn id="41" presetID="53" presetClass="entr" presetSubtype="16" fill="hold" nodeType="withEffect">
                                  <p:stCondLst>
                                    <p:cond delay="500"/>
                                  </p:stCondLst>
                                  <p:childTnLst>
                                    <p:set>
                                      <p:cBhvr>
                                        <p:cTn id="42" dur="1" fill="hold">
                                          <p:stCondLst>
                                            <p:cond delay="0"/>
                                          </p:stCondLst>
                                        </p:cTn>
                                        <p:tgtEl>
                                          <p:spTgt spid="79"/>
                                        </p:tgtEl>
                                        <p:attrNameLst>
                                          <p:attrName>style.visibility</p:attrName>
                                        </p:attrNameLst>
                                      </p:cBhvr>
                                      <p:to>
                                        <p:strVal val="visible"/>
                                      </p:to>
                                    </p:set>
                                    <p:anim calcmode="lin" valueType="num">
                                      <p:cBhvr>
                                        <p:cTn id="43" dur="500" fill="hold"/>
                                        <p:tgtEl>
                                          <p:spTgt spid="79"/>
                                        </p:tgtEl>
                                        <p:attrNameLst>
                                          <p:attrName>ppt_w</p:attrName>
                                        </p:attrNameLst>
                                      </p:cBhvr>
                                      <p:tavLst>
                                        <p:tav tm="0">
                                          <p:val>
                                            <p:fltVal val="0"/>
                                          </p:val>
                                        </p:tav>
                                        <p:tav tm="100000">
                                          <p:val>
                                            <p:strVal val="#ppt_w"/>
                                          </p:val>
                                        </p:tav>
                                      </p:tavLst>
                                    </p:anim>
                                    <p:anim calcmode="lin" valueType="num">
                                      <p:cBhvr>
                                        <p:cTn id="44" dur="500" fill="hold"/>
                                        <p:tgtEl>
                                          <p:spTgt spid="79"/>
                                        </p:tgtEl>
                                        <p:attrNameLst>
                                          <p:attrName>ppt_h</p:attrName>
                                        </p:attrNameLst>
                                      </p:cBhvr>
                                      <p:tavLst>
                                        <p:tav tm="0">
                                          <p:val>
                                            <p:fltVal val="0"/>
                                          </p:val>
                                        </p:tav>
                                        <p:tav tm="100000">
                                          <p:val>
                                            <p:strVal val="#ppt_h"/>
                                          </p:val>
                                        </p:tav>
                                      </p:tavLst>
                                    </p:anim>
                                    <p:animEffect transition="in" filter="fade">
                                      <p:cBhvr>
                                        <p:cTn id="45" dur="500"/>
                                        <p:tgtEl>
                                          <p:spTgt spid="79"/>
                                        </p:tgtEl>
                                      </p:cBhvr>
                                    </p:animEffect>
                                  </p:childTnLst>
                                </p:cTn>
                              </p:par>
                              <p:par>
                                <p:cTn id="46" presetID="53" presetClass="entr" presetSubtype="16" fill="hold" nodeType="withEffect">
                                  <p:stCondLst>
                                    <p:cond delay="500"/>
                                  </p:stCondLst>
                                  <p:childTnLst>
                                    <p:set>
                                      <p:cBhvr>
                                        <p:cTn id="47" dur="1" fill="hold">
                                          <p:stCondLst>
                                            <p:cond delay="0"/>
                                          </p:stCondLst>
                                        </p:cTn>
                                        <p:tgtEl>
                                          <p:spTgt spid="12"/>
                                        </p:tgtEl>
                                        <p:attrNameLst>
                                          <p:attrName>style.visibility</p:attrName>
                                        </p:attrNameLst>
                                      </p:cBhvr>
                                      <p:to>
                                        <p:strVal val="visible"/>
                                      </p:to>
                                    </p:set>
                                    <p:anim calcmode="lin" valueType="num">
                                      <p:cBhvr>
                                        <p:cTn id="48" dur="500" fill="hold"/>
                                        <p:tgtEl>
                                          <p:spTgt spid="12"/>
                                        </p:tgtEl>
                                        <p:attrNameLst>
                                          <p:attrName>ppt_w</p:attrName>
                                        </p:attrNameLst>
                                      </p:cBhvr>
                                      <p:tavLst>
                                        <p:tav tm="0">
                                          <p:val>
                                            <p:fltVal val="0"/>
                                          </p:val>
                                        </p:tav>
                                        <p:tav tm="100000">
                                          <p:val>
                                            <p:strVal val="#ppt_w"/>
                                          </p:val>
                                        </p:tav>
                                      </p:tavLst>
                                    </p:anim>
                                    <p:anim calcmode="lin" valueType="num">
                                      <p:cBhvr>
                                        <p:cTn id="49" dur="500" fill="hold"/>
                                        <p:tgtEl>
                                          <p:spTgt spid="12"/>
                                        </p:tgtEl>
                                        <p:attrNameLst>
                                          <p:attrName>ppt_h</p:attrName>
                                        </p:attrNameLst>
                                      </p:cBhvr>
                                      <p:tavLst>
                                        <p:tav tm="0">
                                          <p:val>
                                            <p:fltVal val="0"/>
                                          </p:val>
                                        </p:tav>
                                        <p:tav tm="100000">
                                          <p:val>
                                            <p:strVal val="#ppt_h"/>
                                          </p:val>
                                        </p:tav>
                                      </p:tavLst>
                                    </p:anim>
                                    <p:animEffect transition="in" filter="fade">
                                      <p:cBhvr>
                                        <p:cTn id="50" dur="500"/>
                                        <p:tgtEl>
                                          <p:spTgt spid="12"/>
                                        </p:tgtEl>
                                      </p:cBhvr>
                                    </p:animEffect>
                                  </p:childTnLst>
                                </p:cTn>
                              </p:par>
                              <p:par>
                                <p:cTn id="51" presetID="53" presetClass="entr" presetSubtype="16" fill="hold" grpId="0" nodeType="withEffect">
                                  <p:stCondLst>
                                    <p:cond delay="500"/>
                                  </p:stCondLst>
                                  <p:childTnLst>
                                    <p:set>
                                      <p:cBhvr>
                                        <p:cTn id="52" dur="1" fill="hold">
                                          <p:stCondLst>
                                            <p:cond delay="0"/>
                                          </p:stCondLst>
                                        </p:cTn>
                                        <p:tgtEl>
                                          <p:spTgt spid="86"/>
                                        </p:tgtEl>
                                        <p:attrNameLst>
                                          <p:attrName>style.visibility</p:attrName>
                                        </p:attrNameLst>
                                      </p:cBhvr>
                                      <p:to>
                                        <p:strVal val="visible"/>
                                      </p:to>
                                    </p:set>
                                    <p:anim calcmode="lin" valueType="num">
                                      <p:cBhvr>
                                        <p:cTn id="53" dur="500" fill="hold"/>
                                        <p:tgtEl>
                                          <p:spTgt spid="86"/>
                                        </p:tgtEl>
                                        <p:attrNameLst>
                                          <p:attrName>ppt_w</p:attrName>
                                        </p:attrNameLst>
                                      </p:cBhvr>
                                      <p:tavLst>
                                        <p:tav tm="0">
                                          <p:val>
                                            <p:fltVal val="0"/>
                                          </p:val>
                                        </p:tav>
                                        <p:tav tm="100000">
                                          <p:val>
                                            <p:strVal val="#ppt_w"/>
                                          </p:val>
                                        </p:tav>
                                      </p:tavLst>
                                    </p:anim>
                                    <p:anim calcmode="lin" valueType="num">
                                      <p:cBhvr>
                                        <p:cTn id="54" dur="500" fill="hold"/>
                                        <p:tgtEl>
                                          <p:spTgt spid="86"/>
                                        </p:tgtEl>
                                        <p:attrNameLst>
                                          <p:attrName>ppt_h</p:attrName>
                                        </p:attrNameLst>
                                      </p:cBhvr>
                                      <p:tavLst>
                                        <p:tav tm="0">
                                          <p:val>
                                            <p:fltVal val="0"/>
                                          </p:val>
                                        </p:tav>
                                        <p:tav tm="100000">
                                          <p:val>
                                            <p:strVal val="#ppt_h"/>
                                          </p:val>
                                        </p:tav>
                                      </p:tavLst>
                                    </p:anim>
                                    <p:animEffect transition="in" filter="fade">
                                      <p:cBhvr>
                                        <p:cTn id="55" dur="500"/>
                                        <p:tgtEl>
                                          <p:spTgt spid="86"/>
                                        </p:tgtEl>
                                      </p:cBhvr>
                                    </p:animEffect>
                                  </p:childTnLst>
                                </p:cTn>
                              </p:par>
                              <p:par>
                                <p:cTn id="56" presetID="53" presetClass="entr" presetSubtype="16" fill="hold" nodeType="withEffect">
                                  <p:stCondLst>
                                    <p:cond delay="500"/>
                                  </p:stCondLst>
                                  <p:childTnLst>
                                    <p:set>
                                      <p:cBhvr>
                                        <p:cTn id="57" dur="1" fill="hold">
                                          <p:stCondLst>
                                            <p:cond delay="0"/>
                                          </p:stCondLst>
                                        </p:cTn>
                                        <p:tgtEl>
                                          <p:spTgt spid="27"/>
                                        </p:tgtEl>
                                        <p:attrNameLst>
                                          <p:attrName>style.visibility</p:attrName>
                                        </p:attrNameLst>
                                      </p:cBhvr>
                                      <p:to>
                                        <p:strVal val="visible"/>
                                      </p:to>
                                    </p:set>
                                    <p:anim calcmode="lin" valueType="num">
                                      <p:cBhvr>
                                        <p:cTn id="58" dur="500" fill="hold"/>
                                        <p:tgtEl>
                                          <p:spTgt spid="27"/>
                                        </p:tgtEl>
                                        <p:attrNameLst>
                                          <p:attrName>ppt_w</p:attrName>
                                        </p:attrNameLst>
                                      </p:cBhvr>
                                      <p:tavLst>
                                        <p:tav tm="0">
                                          <p:val>
                                            <p:fltVal val="0"/>
                                          </p:val>
                                        </p:tav>
                                        <p:tav tm="100000">
                                          <p:val>
                                            <p:strVal val="#ppt_w"/>
                                          </p:val>
                                        </p:tav>
                                      </p:tavLst>
                                    </p:anim>
                                    <p:anim calcmode="lin" valueType="num">
                                      <p:cBhvr>
                                        <p:cTn id="59" dur="500" fill="hold"/>
                                        <p:tgtEl>
                                          <p:spTgt spid="27"/>
                                        </p:tgtEl>
                                        <p:attrNameLst>
                                          <p:attrName>ppt_h</p:attrName>
                                        </p:attrNameLst>
                                      </p:cBhvr>
                                      <p:tavLst>
                                        <p:tav tm="0">
                                          <p:val>
                                            <p:fltVal val="0"/>
                                          </p:val>
                                        </p:tav>
                                        <p:tav tm="100000">
                                          <p:val>
                                            <p:strVal val="#ppt_h"/>
                                          </p:val>
                                        </p:tav>
                                      </p:tavLst>
                                    </p:anim>
                                    <p:animEffect transition="in" filter="fade">
                                      <p:cBhvr>
                                        <p:cTn id="60" dur="500"/>
                                        <p:tgtEl>
                                          <p:spTgt spid="27"/>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125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10"/>
                                        </p:tgtEl>
                                        <p:attrNameLst>
                                          <p:attrName>style.visibility</p:attrName>
                                        </p:attrNameLst>
                                      </p:cBhvr>
                                      <p:to>
                                        <p:strVal val="visible"/>
                                      </p:to>
                                    </p:set>
                                    <p:animEffect transition="in" filter="fade">
                                      <p:cBhvr>
                                        <p:cTn id="69" dur="500"/>
                                        <p:tgtEl>
                                          <p:spTgt spid="10"/>
                                        </p:tgtEl>
                                      </p:cBhvr>
                                    </p:animEffect>
                                  </p:childTnLst>
                                </p:cTn>
                              </p:par>
                              <p:par>
                                <p:cTn id="70" presetID="10" presetClass="entr" presetSubtype="0" fill="hold" grpId="0" nodeType="withEffect">
                                  <p:stCondLst>
                                    <p:cond delay="125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4" grpId="0" animBg="1"/>
      <p:bldP spid="15" grpId="0" animBg="1"/>
      <p:bldP spid="16" grpId="0" animBg="1"/>
      <p:bldP spid="20" grpId="0"/>
      <p:bldP spid="33" grpId="0" animBg="1"/>
      <p:bldP spid="36" grpId="0" animBg="1"/>
      <p:bldP spid="39" grpId="0" animBg="1"/>
      <p:bldP spid="42" grpId="0" animBg="1"/>
      <p:bldP spid="9" grpId="0"/>
      <p:bldP spid="10" grpId="0"/>
      <p:bldP spid="32" grpId="0"/>
      <p:bldP spid="8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mesa, decorado, feito, segurando&#10;&#10;Descrição gerada automaticamente">
            <a:extLst>
              <a:ext uri="{FF2B5EF4-FFF2-40B4-BE49-F238E27FC236}">
                <a16:creationId xmlns:a16="http://schemas.microsoft.com/office/drawing/2014/main" id="{481A736A-3F01-877E-1D87-A2D046EC151D}"/>
              </a:ext>
            </a:extLst>
          </p:cNvPr>
          <p:cNvPicPr>
            <a:picLocks noChangeAspect="1"/>
          </p:cNvPicPr>
          <p:nvPr/>
        </p:nvPicPr>
        <p:blipFill>
          <a:blip r:embed="rId3">
            <a:extLst>
              <a:ext uri="{28A0092B-C50C-407E-A947-70E740481C1C}">
                <a14:useLocalDpi xmlns:a14="http://schemas.microsoft.com/office/drawing/2010/main" val="0"/>
              </a:ext>
            </a:extLst>
          </a:blip>
          <a:srcRect t="12846" b="10007"/>
          <a:stretch/>
        </p:blipFill>
        <p:spPr>
          <a:xfrm>
            <a:off x="20" y="774700"/>
            <a:ext cx="12191980" cy="5384800"/>
          </a:xfrm>
          <a:prstGeom prst="rect">
            <a:avLst/>
          </a:prstGeom>
        </p:spPr>
      </p:pic>
      <p:sp>
        <p:nvSpPr>
          <p:cNvPr id="4" name="Retângulo: Cantos Arredondados 3">
            <a:extLst>
              <a:ext uri="{FF2B5EF4-FFF2-40B4-BE49-F238E27FC236}">
                <a16:creationId xmlns:a16="http://schemas.microsoft.com/office/drawing/2014/main" id="{85E91E38-5573-9A4A-31AD-30E2FC9C01B9}"/>
              </a:ext>
            </a:extLst>
          </p:cNvPr>
          <p:cNvSpPr/>
          <p:nvPr/>
        </p:nvSpPr>
        <p:spPr>
          <a:xfrm>
            <a:off x="271931" y="467666"/>
            <a:ext cx="5532752" cy="711523"/>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a:solidFill>
                <a:srgbClr val="FFFFFF"/>
              </a:solidFill>
              <a:latin typeface="Calibri"/>
            </a:endParaRPr>
          </a:p>
        </p:txBody>
      </p:sp>
      <p:sp>
        <p:nvSpPr>
          <p:cNvPr id="7" name="Retângulo: Cantos Arredondados 6">
            <a:extLst>
              <a:ext uri="{FF2B5EF4-FFF2-40B4-BE49-F238E27FC236}">
                <a16:creationId xmlns:a16="http://schemas.microsoft.com/office/drawing/2014/main" id="{6A7225D2-4493-23A2-D454-6A46816681BD}"/>
              </a:ext>
            </a:extLst>
          </p:cNvPr>
          <p:cNvSpPr/>
          <p:nvPr/>
        </p:nvSpPr>
        <p:spPr>
          <a:xfrm>
            <a:off x="6387317" y="467666"/>
            <a:ext cx="5532752" cy="711523"/>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11" name="CaixaDeTexto 10">
            <a:extLst>
              <a:ext uri="{FF2B5EF4-FFF2-40B4-BE49-F238E27FC236}">
                <a16:creationId xmlns:a16="http://schemas.microsoft.com/office/drawing/2014/main" id="{BE6B494D-891B-D521-4A7D-CE8F5E748FAA}"/>
              </a:ext>
            </a:extLst>
          </p:cNvPr>
          <p:cNvSpPr txBox="1"/>
          <p:nvPr/>
        </p:nvSpPr>
        <p:spPr>
          <a:xfrm>
            <a:off x="647700" y="581967"/>
            <a:ext cx="5067300" cy="461665"/>
          </a:xfrm>
          <a:prstGeom prst="rect">
            <a:avLst/>
          </a:prstGeom>
          <a:noFill/>
        </p:spPr>
        <p:txBody>
          <a:bodyPr wrap="square" rtlCol="0">
            <a:spAutoFit/>
          </a:bodyPr>
          <a:lstStyle/>
          <a:p>
            <a:pPr algn="ctr">
              <a:spcAft>
                <a:spcPts val="600"/>
              </a:spcAft>
            </a:pPr>
            <a:r>
              <a:rPr lang="pt-BR" sz="2400" b="1" dirty="0">
                <a:solidFill>
                  <a:schemeClr val="bg1"/>
                </a:solidFill>
                <a:latin typeface="Calisto MT"/>
              </a:rPr>
              <a:t>BASIC IMMUNOLOGY</a:t>
            </a:r>
          </a:p>
        </p:txBody>
      </p:sp>
      <p:sp>
        <p:nvSpPr>
          <p:cNvPr id="22" name="CaixaDeTexto 21">
            <a:extLst>
              <a:ext uri="{FF2B5EF4-FFF2-40B4-BE49-F238E27FC236}">
                <a16:creationId xmlns:a16="http://schemas.microsoft.com/office/drawing/2014/main" id="{CDCBA83A-0927-D704-F294-C4086D6A20B6}"/>
              </a:ext>
            </a:extLst>
          </p:cNvPr>
          <p:cNvSpPr txBox="1"/>
          <p:nvPr/>
        </p:nvSpPr>
        <p:spPr>
          <a:xfrm>
            <a:off x="7045477" y="592594"/>
            <a:ext cx="4592933" cy="461665"/>
          </a:xfrm>
          <a:prstGeom prst="rect">
            <a:avLst/>
          </a:prstGeom>
          <a:noFill/>
        </p:spPr>
        <p:txBody>
          <a:bodyPr wrap="square" rtlCol="0">
            <a:spAutoFit/>
          </a:bodyPr>
          <a:lstStyle/>
          <a:p>
            <a:pPr algn="ctr">
              <a:spcAft>
                <a:spcPts val="600"/>
              </a:spcAft>
            </a:pPr>
            <a:r>
              <a:rPr lang="pt-BR" sz="2400" b="1" dirty="0">
                <a:solidFill>
                  <a:schemeClr val="bg1"/>
                </a:solidFill>
                <a:latin typeface="Calisto MT"/>
              </a:rPr>
              <a:t>APPLLIED IMMUNOLOGY</a:t>
            </a:r>
          </a:p>
        </p:txBody>
      </p:sp>
      <p:pic>
        <p:nvPicPr>
          <p:cNvPr id="23" name="Imagem 22">
            <a:extLst>
              <a:ext uri="{FF2B5EF4-FFF2-40B4-BE49-F238E27FC236}">
                <a16:creationId xmlns:a16="http://schemas.microsoft.com/office/drawing/2014/main" id="{63B6B82C-FB58-F02B-B338-55837645838D}"/>
              </a:ext>
            </a:extLst>
          </p:cNvPr>
          <p:cNvPicPr>
            <a:picLocks noChangeAspect="1"/>
          </p:cNvPicPr>
          <p:nvPr/>
        </p:nvPicPr>
        <p:blipFill rotWithShape="1">
          <a:blip r:embed="rId4"/>
          <a:srcRect l="70889" t="49856" r="5736" b="18687"/>
          <a:stretch/>
        </p:blipFill>
        <p:spPr>
          <a:xfrm>
            <a:off x="10164205" y="1304117"/>
            <a:ext cx="2027775" cy="1616883"/>
          </a:xfrm>
          <a:prstGeom prst="rect">
            <a:avLst/>
          </a:prstGeom>
          <a:ln w="19050">
            <a:solidFill>
              <a:schemeClr val="bg1"/>
            </a:solidFill>
          </a:ln>
        </p:spPr>
      </p:pic>
    </p:spTree>
    <p:extLst>
      <p:ext uri="{BB962C8B-B14F-4D97-AF65-F5344CB8AC3E}">
        <p14:creationId xmlns:p14="http://schemas.microsoft.com/office/powerpoint/2010/main" val="329840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75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11" grpId="0"/>
      <p:bldP spid="2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91FE33A9-3A9F-B116-3DC8-64A887FCD6B4}"/>
              </a:ext>
            </a:extLst>
          </p:cNvPr>
          <p:cNvSpPr txBox="1"/>
          <p:nvPr/>
        </p:nvSpPr>
        <p:spPr>
          <a:xfrm>
            <a:off x="296269" y="2353536"/>
            <a:ext cx="3729632" cy="1938992"/>
          </a:xfrm>
          <a:prstGeom prst="rect">
            <a:avLst/>
          </a:prstGeom>
          <a:noFill/>
        </p:spPr>
        <p:txBody>
          <a:bodyPr wrap="square" rtlCol="0">
            <a:spAutoFit/>
          </a:bodyPr>
          <a:lstStyle/>
          <a:p>
            <a:pPr lvl="0" algn="r">
              <a:defRPr/>
            </a:pPr>
            <a:r>
              <a:rPr lang="pt-BR" sz="4000" b="1" dirty="0">
                <a:gradFill>
                  <a:gsLst>
                    <a:gs pos="0">
                      <a:schemeClr val="accent1"/>
                    </a:gs>
                    <a:gs pos="100000">
                      <a:schemeClr val="bg2"/>
                    </a:gs>
                  </a:gsLst>
                  <a:lin ang="2700000" scaled="0"/>
                </a:gradFill>
                <a:latin typeface="Calisto MT"/>
              </a:rPr>
              <a:t>O sistema complemento é “só” isso ... </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p:txBody>
          <a:bodyPr/>
          <a:lstStyle/>
          <a:p>
            <a:r>
              <a:rPr lang="da-DK" dirty="0"/>
              <a:t>Charles A Warwick et al. J Biol Chem. 2021 Sep;297(3):101085. doi: 10.1016/j.jbc.2021.101085. Epub 2021 Aug 17.</a:t>
            </a:r>
          </a:p>
        </p:txBody>
      </p:sp>
      <p:pic>
        <p:nvPicPr>
          <p:cNvPr id="1026" name="Picture 2">
            <a:extLst>
              <a:ext uri="{FF2B5EF4-FFF2-40B4-BE49-F238E27FC236}">
                <a16:creationId xmlns:a16="http://schemas.microsoft.com/office/drawing/2014/main" id="{E5645840-3678-86DE-E5BF-20E63A709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2669" y="629478"/>
            <a:ext cx="7162800" cy="518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20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tângulo: Cantos Arredondados 26">
            <a:extLst>
              <a:ext uri="{FF2B5EF4-FFF2-40B4-BE49-F238E27FC236}">
                <a16:creationId xmlns:a16="http://schemas.microsoft.com/office/drawing/2014/main" id="{E5BD4EC4-D53D-502F-D2C0-32C9C19E79B9}"/>
              </a:ext>
            </a:extLst>
          </p:cNvPr>
          <p:cNvSpPr/>
          <p:nvPr/>
        </p:nvSpPr>
        <p:spPr>
          <a:xfrm flipH="1">
            <a:off x="3593050" y="1167788"/>
            <a:ext cx="7881629" cy="492103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31" name="Retângulo: Cantos Arredondados 30">
            <a:extLst>
              <a:ext uri="{FF2B5EF4-FFF2-40B4-BE49-F238E27FC236}">
                <a16:creationId xmlns:a16="http://schemas.microsoft.com/office/drawing/2014/main" id="{16368224-1691-26D8-41DB-9DEE5A6AA03E}"/>
              </a:ext>
            </a:extLst>
          </p:cNvPr>
          <p:cNvSpPr/>
          <p:nvPr/>
        </p:nvSpPr>
        <p:spPr>
          <a:xfrm>
            <a:off x="3313727" y="2286556"/>
            <a:ext cx="3500281" cy="1168167"/>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Retângulo: Cantos Arredondados 31">
            <a:extLst>
              <a:ext uri="{FF2B5EF4-FFF2-40B4-BE49-F238E27FC236}">
                <a16:creationId xmlns:a16="http://schemas.microsoft.com/office/drawing/2014/main" id="{05A13284-287A-76EA-C71E-43B3279731CA}"/>
              </a:ext>
            </a:extLst>
          </p:cNvPr>
          <p:cNvSpPr/>
          <p:nvPr/>
        </p:nvSpPr>
        <p:spPr>
          <a:xfrm>
            <a:off x="8253720" y="2286556"/>
            <a:ext cx="3500281" cy="1168167"/>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11672426" cy="486287"/>
          </a:xfrm>
          <a:prstGeom prst="rect">
            <a:avLst/>
          </a:prstGeom>
          <a:noFill/>
        </p:spPr>
        <p:txBody>
          <a:bodyPr wrap="none" rtlCol="0">
            <a:spAutoFit/>
          </a:bodyPr>
          <a:lstStyle/>
          <a:p>
            <a:pPr lvl="0">
              <a:lnSpc>
                <a:spcPct val="80000"/>
              </a:lnSpc>
              <a:defRPr/>
            </a:pPr>
            <a:r>
              <a:rPr lang="pt-BR" sz="3200" b="1" dirty="0">
                <a:gradFill>
                  <a:gsLst>
                    <a:gs pos="0">
                      <a:schemeClr val="accent1"/>
                    </a:gs>
                    <a:gs pos="100000">
                      <a:schemeClr val="bg2"/>
                    </a:gs>
                  </a:gsLst>
                  <a:lin ang="2700000" scaled="0"/>
                </a:gradFill>
                <a:latin typeface="Calisto MT"/>
              </a:rPr>
              <a:t>Complemento é a ponte entre a imunidade inata e adaptativa</a:t>
            </a:r>
            <a:r>
              <a:rPr lang="pt-BR" sz="3200" b="1" baseline="30000" dirty="0">
                <a:gradFill>
                  <a:gsLst>
                    <a:gs pos="0">
                      <a:schemeClr val="accent1"/>
                    </a:gs>
                    <a:gs pos="100000">
                      <a:schemeClr val="bg2"/>
                    </a:gs>
                  </a:gsLst>
                  <a:lin ang="2700000" scaled="0"/>
                </a:gradFill>
                <a:latin typeface="Calisto MT"/>
              </a:rPr>
              <a:t>1-2</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p:txBody>
          <a:bodyPr/>
          <a:lstStyle/>
          <a:p>
            <a:endParaRPr lang="pt-BR" dirty="0"/>
          </a:p>
          <a:p>
            <a:endParaRPr lang="pt-BR" dirty="0"/>
          </a:p>
          <a:p>
            <a:endParaRPr lang="pt-BR" dirty="0"/>
          </a:p>
          <a:p>
            <a:endParaRPr lang="pt-BR" dirty="0"/>
          </a:p>
          <a:p>
            <a:endParaRPr lang="pt-BR" dirty="0"/>
          </a:p>
          <a:p>
            <a:endParaRPr lang="pt-BR" dirty="0"/>
          </a:p>
          <a:p>
            <a:r>
              <a:rPr lang="pt-BR" dirty="0"/>
              <a:t>1. </a:t>
            </a:r>
            <a:r>
              <a:rPr lang="pt-BR" dirty="0" err="1"/>
              <a:t>Walport</a:t>
            </a:r>
            <a:r>
              <a:rPr lang="pt-BR" dirty="0"/>
              <a:t> MJ. N </a:t>
            </a:r>
            <a:r>
              <a:rPr lang="pt-BR" dirty="0" err="1"/>
              <a:t>Engl</a:t>
            </a:r>
            <a:r>
              <a:rPr lang="pt-BR" dirty="0"/>
              <a:t> J Med. 2001;344:1058-1066  2. </a:t>
            </a:r>
            <a:r>
              <a:rPr lang="pt-BR" dirty="0" err="1"/>
              <a:t>Merle</a:t>
            </a:r>
            <a:r>
              <a:rPr lang="pt-BR" dirty="0"/>
              <a:t> NS, et al. Front </a:t>
            </a:r>
            <a:r>
              <a:rPr lang="pt-BR" dirty="0" err="1"/>
              <a:t>Immunol</a:t>
            </a:r>
            <a:r>
              <a:rPr lang="pt-BR" dirty="0"/>
              <a:t>. 2015;6:257. </a:t>
            </a:r>
          </a:p>
        </p:txBody>
      </p:sp>
      <p:sp>
        <p:nvSpPr>
          <p:cNvPr id="28" name="Retângulo: Cantos Arredondados 27">
            <a:extLst>
              <a:ext uri="{FF2B5EF4-FFF2-40B4-BE49-F238E27FC236}">
                <a16:creationId xmlns:a16="http://schemas.microsoft.com/office/drawing/2014/main" id="{6F2DA976-07D5-5011-ED72-5A4072364AF4}"/>
              </a:ext>
            </a:extLst>
          </p:cNvPr>
          <p:cNvSpPr/>
          <p:nvPr/>
        </p:nvSpPr>
        <p:spPr>
          <a:xfrm>
            <a:off x="3313727" y="1350312"/>
            <a:ext cx="3500281" cy="527855"/>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Freeform 5">
            <a:extLst>
              <a:ext uri="{FF2B5EF4-FFF2-40B4-BE49-F238E27FC236}">
                <a16:creationId xmlns:a16="http://schemas.microsoft.com/office/drawing/2014/main" id="{A73C0AB9-177C-DC88-6926-D6FCF41B329B}"/>
              </a:ext>
            </a:extLst>
          </p:cNvPr>
          <p:cNvSpPr>
            <a:spLocks/>
          </p:cNvSpPr>
          <p:nvPr/>
        </p:nvSpPr>
        <p:spPr bwMode="auto">
          <a:xfrm>
            <a:off x="296269" y="2385041"/>
            <a:ext cx="672681" cy="672684"/>
          </a:xfrm>
          <a:prstGeom prst="ellipse">
            <a:avLst/>
          </a:prstGeom>
          <a:solidFill>
            <a:schemeClr val="tx2"/>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ru-U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5" name="Agrupar 104">
            <a:extLst>
              <a:ext uri="{FF2B5EF4-FFF2-40B4-BE49-F238E27FC236}">
                <a16:creationId xmlns:a16="http://schemas.microsoft.com/office/drawing/2014/main" id="{6BC1BD08-1120-45A4-0CD9-A93D9D922F54}"/>
              </a:ext>
            </a:extLst>
          </p:cNvPr>
          <p:cNvGrpSpPr/>
          <p:nvPr/>
        </p:nvGrpSpPr>
        <p:grpSpPr>
          <a:xfrm>
            <a:off x="358339" y="2438461"/>
            <a:ext cx="551717" cy="551718"/>
            <a:chOff x="8118514" y="-791343"/>
            <a:chExt cx="820340" cy="820341"/>
          </a:xfrm>
          <a:solidFill>
            <a:schemeClr val="bg1"/>
          </a:solidFill>
        </p:grpSpPr>
        <p:sp>
          <p:nvSpPr>
            <p:cNvPr id="44" name="Forma Livre: Forma 43">
              <a:extLst>
                <a:ext uri="{FF2B5EF4-FFF2-40B4-BE49-F238E27FC236}">
                  <a16:creationId xmlns:a16="http://schemas.microsoft.com/office/drawing/2014/main" id="{EE56803A-A470-02F1-479E-9EA5DE2C3B26}"/>
                </a:ext>
              </a:extLst>
            </p:cNvPr>
            <p:cNvSpPr/>
            <p:nvPr/>
          </p:nvSpPr>
          <p:spPr>
            <a:xfrm>
              <a:off x="8118514" y="-791343"/>
              <a:ext cx="820340" cy="820341"/>
            </a:xfrm>
            <a:custGeom>
              <a:avLst/>
              <a:gdLst>
                <a:gd name="connsiteX0" fmla="*/ 410170 w 820340"/>
                <a:gd name="connsiteY0" fmla="*/ 820341 h 820341"/>
                <a:gd name="connsiteX1" fmla="*/ 820341 w 820340"/>
                <a:gd name="connsiteY1" fmla="*/ 410171 h 820341"/>
                <a:gd name="connsiteX2" fmla="*/ 410170 w 820340"/>
                <a:gd name="connsiteY2" fmla="*/ 0 h 820341"/>
                <a:gd name="connsiteX3" fmla="*/ 0 w 820340"/>
                <a:gd name="connsiteY3" fmla="*/ 410171 h 820341"/>
                <a:gd name="connsiteX4" fmla="*/ 410170 w 820340"/>
                <a:gd name="connsiteY4" fmla="*/ 820341 h 820341"/>
                <a:gd name="connsiteX5" fmla="*/ 410170 w 820340"/>
                <a:gd name="connsiteY5" fmla="*/ 27345 h 820341"/>
                <a:gd name="connsiteX6" fmla="*/ 792996 w 820340"/>
                <a:gd name="connsiteY6" fmla="*/ 410171 h 820341"/>
                <a:gd name="connsiteX7" fmla="*/ 410170 w 820340"/>
                <a:gd name="connsiteY7" fmla="*/ 792996 h 820341"/>
                <a:gd name="connsiteX8" fmla="*/ 27345 w 820340"/>
                <a:gd name="connsiteY8" fmla="*/ 410171 h 820341"/>
                <a:gd name="connsiteX9" fmla="*/ 410170 w 820340"/>
                <a:gd name="connsiteY9" fmla="*/ 27345 h 8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0340" h="820341">
                  <a:moveTo>
                    <a:pt x="410170" y="820341"/>
                  </a:moveTo>
                  <a:cubicBezTo>
                    <a:pt x="636311" y="820341"/>
                    <a:pt x="820341" y="636311"/>
                    <a:pt x="820341" y="410171"/>
                  </a:cubicBezTo>
                  <a:cubicBezTo>
                    <a:pt x="820341" y="184030"/>
                    <a:pt x="636311" y="0"/>
                    <a:pt x="410170" y="0"/>
                  </a:cubicBezTo>
                  <a:cubicBezTo>
                    <a:pt x="184030" y="0"/>
                    <a:pt x="0" y="184030"/>
                    <a:pt x="0" y="410171"/>
                  </a:cubicBezTo>
                  <a:cubicBezTo>
                    <a:pt x="0" y="636311"/>
                    <a:pt x="184030" y="820341"/>
                    <a:pt x="410170" y="820341"/>
                  </a:cubicBezTo>
                  <a:close/>
                  <a:moveTo>
                    <a:pt x="410170" y="27345"/>
                  </a:moveTo>
                  <a:cubicBezTo>
                    <a:pt x="621271" y="27345"/>
                    <a:pt x="792996" y="199069"/>
                    <a:pt x="792996" y="410171"/>
                  </a:cubicBezTo>
                  <a:cubicBezTo>
                    <a:pt x="792996" y="621272"/>
                    <a:pt x="621271" y="792996"/>
                    <a:pt x="410170" y="792996"/>
                  </a:cubicBezTo>
                  <a:cubicBezTo>
                    <a:pt x="199069" y="792996"/>
                    <a:pt x="27345" y="621272"/>
                    <a:pt x="27345" y="410171"/>
                  </a:cubicBezTo>
                  <a:cubicBezTo>
                    <a:pt x="27345" y="199069"/>
                    <a:pt x="199069" y="27345"/>
                    <a:pt x="410170" y="27345"/>
                  </a:cubicBezTo>
                  <a:close/>
                </a:path>
              </a:pathLst>
            </a:custGeom>
            <a:grpFill/>
            <a:ln w="13543" cap="flat">
              <a:noFill/>
              <a:prstDash val="solid"/>
              <a:miter/>
            </a:ln>
          </p:spPr>
          <p:txBody>
            <a:bodyPr rtlCol="0" anchor="ctr"/>
            <a:lstStyle/>
            <a:p>
              <a:endParaRPr lang="pt-BR"/>
            </a:p>
          </p:txBody>
        </p:sp>
        <p:sp>
          <p:nvSpPr>
            <p:cNvPr id="45" name="Forma Livre: Forma 44">
              <a:extLst>
                <a:ext uri="{FF2B5EF4-FFF2-40B4-BE49-F238E27FC236}">
                  <a16:creationId xmlns:a16="http://schemas.microsoft.com/office/drawing/2014/main" id="{B658CFB9-F0C3-D61E-CC89-EE7E0D76B4CB}"/>
                </a:ext>
              </a:extLst>
            </p:cNvPr>
            <p:cNvSpPr/>
            <p:nvPr/>
          </p:nvSpPr>
          <p:spPr>
            <a:xfrm>
              <a:off x="8679080" y="-654619"/>
              <a:ext cx="82034" cy="82034"/>
            </a:xfrm>
            <a:custGeom>
              <a:avLst/>
              <a:gdLst>
                <a:gd name="connsiteX0" fmla="*/ 41017 w 82034"/>
                <a:gd name="connsiteY0" fmla="*/ 82034 h 82034"/>
                <a:gd name="connsiteX1" fmla="*/ 82034 w 82034"/>
                <a:gd name="connsiteY1" fmla="*/ 41017 h 82034"/>
                <a:gd name="connsiteX2" fmla="*/ 41017 w 82034"/>
                <a:gd name="connsiteY2" fmla="*/ 0 h 82034"/>
                <a:gd name="connsiteX3" fmla="*/ 0 w 82034"/>
                <a:gd name="connsiteY3" fmla="*/ 41017 h 82034"/>
                <a:gd name="connsiteX4" fmla="*/ 41017 w 82034"/>
                <a:gd name="connsiteY4" fmla="*/ 82034 h 82034"/>
                <a:gd name="connsiteX5" fmla="*/ 41017 w 82034"/>
                <a:gd name="connsiteY5" fmla="*/ 27345 h 82034"/>
                <a:gd name="connsiteX6" fmla="*/ 54689 w 82034"/>
                <a:gd name="connsiteY6" fmla="*/ 41017 h 82034"/>
                <a:gd name="connsiteX7" fmla="*/ 41017 w 82034"/>
                <a:gd name="connsiteY7" fmla="*/ 54689 h 82034"/>
                <a:gd name="connsiteX8" fmla="*/ 27345 w 82034"/>
                <a:gd name="connsiteY8" fmla="*/ 41017 h 82034"/>
                <a:gd name="connsiteX9" fmla="*/ 41017 w 82034"/>
                <a:gd name="connsiteY9" fmla="*/ 27345 h 82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034" h="82034">
                  <a:moveTo>
                    <a:pt x="41017" y="82034"/>
                  </a:moveTo>
                  <a:cubicBezTo>
                    <a:pt x="63576" y="82034"/>
                    <a:pt x="82034" y="63576"/>
                    <a:pt x="82034" y="41017"/>
                  </a:cubicBezTo>
                  <a:cubicBezTo>
                    <a:pt x="82034" y="18458"/>
                    <a:pt x="63576" y="0"/>
                    <a:pt x="41017" y="0"/>
                  </a:cubicBezTo>
                  <a:cubicBezTo>
                    <a:pt x="18458" y="0"/>
                    <a:pt x="0" y="18458"/>
                    <a:pt x="0" y="41017"/>
                  </a:cubicBezTo>
                  <a:cubicBezTo>
                    <a:pt x="0" y="63576"/>
                    <a:pt x="18458" y="82034"/>
                    <a:pt x="41017" y="82034"/>
                  </a:cubicBezTo>
                  <a:close/>
                  <a:moveTo>
                    <a:pt x="41017" y="27345"/>
                  </a:moveTo>
                  <a:cubicBezTo>
                    <a:pt x="48537" y="27345"/>
                    <a:pt x="54689" y="33497"/>
                    <a:pt x="54689" y="41017"/>
                  </a:cubicBezTo>
                  <a:cubicBezTo>
                    <a:pt x="54689" y="48537"/>
                    <a:pt x="48537" y="54689"/>
                    <a:pt x="41017" y="54689"/>
                  </a:cubicBezTo>
                  <a:cubicBezTo>
                    <a:pt x="33497" y="54689"/>
                    <a:pt x="27345" y="48537"/>
                    <a:pt x="27345" y="41017"/>
                  </a:cubicBezTo>
                  <a:cubicBezTo>
                    <a:pt x="27345" y="33497"/>
                    <a:pt x="33497" y="27345"/>
                    <a:pt x="41017" y="27345"/>
                  </a:cubicBezTo>
                  <a:close/>
                </a:path>
              </a:pathLst>
            </a:custGeom>
            <a:grpFill/>
            <a:ln w="13543" cap="flat">
              <a:noFill/>
              <a:prstDash val="solid"/>
              <a:miter/>
            </a:ln>
          </p:spPr>
          <p:txBody>
            <a:bodyPr rtlCol="0" anchor="ctr"/>
            <a:lstStyle/>
            <a:p>
              <a:endParaRPr lang="pt-BR"/>
            </a:p>
          </p:txBody>
        </p:sp>
        <p:sp>
          <p:nvSpPr>
            <p:cNvPr id="48" name="Forma Livre: Forma 47">
              <a:extLst>
                <a:ext uri="{FF2B5EF4-FFF2-40B4-BE49-F238E27FC236}">
                  <a16:creationId xmlns:a16="http://schemas.microsoft.com/office/drawing/2014/main" id="{1C526495-FC75-08DB-9083-E62A8D40E8E2}"/>
                </a:ext>
              </a:extLst>
            </p:cNvPr>
            <p:cNvSpPr/>
            <p:nvPr/>
          </p:nvSpPr>
          <p:spPr>
            <a:xfrm>
              <a:off x="8569702" y="-148742"/>
              <a:ext cx="82034" cy="82034"/>
            </a:xfrm>
            <a:custGeom>
              <a:avLst/>
              <a:gdLst>
                <a:gd name="connsiteX0" fmla="*/ 41017 w 82034"/>
                <a:gd name="connsiteY0" fmla="*/ 0 h 82034"/>
                <a:gd name="connsiteX1" fmla="*/ 0 w 82034"/>
                <a:gd name="connsiteY1" fmla="*/ 41017 h 82034"/>
                <a:gd name="connsiteX2" fmla="*/ 41017 w 82034"/>
                <a:gd name="connsiteY2" fmla="*/ 82034 h 82034"/>
                <a:gd name="connsiteX3" fmla="*/ 82034 w 82034"/>
                <a:gd name="connsiteY3" fmla="*/ 41017 h 82034"/>
                <a:gd name="connsiteX4" fmla="*/ 41017 w 82034"/>
                <a:gd name="connsiteY4" fmla="*/ 0 h 82034"/>
                <a:gd name="connsiteX5" fmla="*/ 41017 w 82034"/>
                <a:gd name="connsiteY5" fmla="*/ 54689 h 82034"/>
                <a:gd name="connsiteX6" fmla="*/ 27345 w 82034"/>
                <a:gd name="connsiteY6" fmla="*/ 41017 h 82034"/>
                <a:gd name="connsiteX7" fmla="*/ 41017 w 82034"/>
                <a:gd name="connsiteY7" fmla="*/ 27345 h 82034"/>
                <a:gd name="connsiteX8" fmla="*/ 54689 w 82034"/>
                <a:gd name="connsiteY8" fmla="*/ 41017 h 82034"/>
                <a:gd name="connsiteX9" fmla="*/ 41017 w 82034"/>
                <a:gd name="connsiteY9" fmla="*/ 54689 h 82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034" h="82034">
                  <a:moveTo>
                    <a:pt x="41017" y="0"/>
                  </a:moveTo>
                  <a:cubicBezTo>
                    <a:pt x="18458" y="0"/>
                    <a:pt x="0" y="18458"/>
                    <a:pt x="0" y="41017"/>
                  </a:cubicBezTo>
                  <a:cubicBezTo>
                    <a:pt x="0" y="63576"/>
                    <a:pt x="18458" y="82034"/>
                    <a:pt x="41017" y="82034"/>
                  </a:cubicBezTo>
                  <a:cubicBezTo>
                    <a:pt x="63576" y="82034"/>
                    <a:pt x="82034" y="63576"/>
                    <a:pt x="82034" y="41017"/>
                  </a:cubicBezTo>
                  <a:cubicBezTo>
                    <a:pt x="82034" y="18458"/>
                    <a:pt x="63576" y="0"/>
                    <a:pt x="41017" y="0"/>
                  </a:cubicBezTo>
                  <a:close/>
                  <a:moveTo>
                    <a:pt x="41017" y="54689"/>
                  </a:moveTo>
                  <a:cubicBezTo>
                    <a:pt x="33497" y="54689"/>
                    <a:pt x="27345" y="48537"/>
                    <a:pt x="27345" y="41017"/>
                  </a:cubicBezTo>
                  <a:cubicBezTo>
                    <a:pt x="27345" y="33497"/>
                    <a:pt x="33497" y="27345"/>
                    <a:pt x="41017" y="27345"/>
                  </a:cubicBezTo>
                  <a:cubicBezTo>
                    <a:pt x="48537" y="27345"/>
                    <a:pt x="54689" y="33497"/>
                    <a:pt x="54689" y="41017"/>
                  </a:cubicBezTo>
                  <a:cubicBezTo>
                    <a:pt x="54689" y="48537"/>
                    <a:pt x="48537" y="54689"/>
                    <a:pt x="41017" y="54689"/>
                  </a:cubicBezTo>
                  <a:close/>
                </a:path>
              </a:pathLst>
            </a:custGeom>
            <a:grpFill/>
            <a:ln w="13543" cap="flat">
              <a:noFill/>
              <a:prstDash val="solid"/>
              <a:miter/>
            </a:ln>
          </p:spPr>
          <p:txBody>
            <a:bodyPr rtlCol="0" anchor="ctr"/>
            <a:lstStyle/>
            <a:p>
              <a:endParaRPr lang="pt-BR"/>
            </a:p>
          </p:txBody>
        </p:sp>
        <p:sp>
          <p:nvSpPr>
            <p:cNvPr id="49" name="Forma Livre: Forma 48">
              <a:extLst>
                <a:ext uri="{FF2B5EF4-FFF2-40B4-BE49-F238E27FC236}">
                  <a16:creationId xmlns:a16="http://schemas.microsoft.com/office/drawing/2014/main" id="{E85DB4A9-3A6C-0647-B4E5-605E56D2D07B}"/>
                </a:ext>
              </a:extLst>
            </p:cNvPr>
            <p:cNvSpPr/>
            <p:nvPr/>
          </p:nvSpPr>
          <p:spPr>
            <a:xfrm>
              <a:off x="8634064" y="-699636"/>
              <a:ext cx="35342" cy="35343"/>
            </a:xfrm>
            <a:custGeom>
              <a:avLst/>
              <a:gdLst>
                <a:gd name="connsiteX0" fmla="*/ 12066 w 35342"/>
                <a:gd name="connsiteY0" fmla="*/ 31344 h 35343"/>
                <a:gd name="connsiteX1" fmla="*/ 31344 w 35342"/>
                <a:gd name="connsiteY1" fmla="*/ 31344 h 35343"/>
                <a:gd name="connsiteX2" fmla="*/ 31344 w 35342"/>
                <a:gd name="connsiteY2" fmla="*/ 12066 h 35343"/>
                <a:gd name="connsiteX3" fmla="*/ 23277 w 35342"/>
                <a:gd name="connsiteY3" fmla="*/ 3999 h 35343"/>
                <a:gd name="connsiteX4" fmla="*/ 3999 w 35342"/>
                <a:gd name="connsiteY4" fmla="*/ 3999 h 35343"/>
                <a:gd name="connsiteX5" fmla="*/ 3999 w 35342"/>
                <a:gd name="connsiteY5" fmla="*/ 23277 h 35343"/>
                <a:gd name="connsiteX6" fmla="*/ 12066 w 35342"/>
                <a:gd name="connsiteY6" fmla="*/ 31344 h 3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42" h="35343">
                  <a:moveTo>
                    <a:pt x="12066" y="31344"/>
                  </a:moveTo>
                  <a:cubicBezTo>
                    <a:pt x="17398" y="36676"/>
                    <a:pt x="26012" y="36676"/>
                    <a:pt x="31344" y="31344"/>
                  </a:cubicBezTo>
                  <a:cubicBezTo>
                    <a:pt x="36676" y="26012"/>
                    <a:pt x="36676" y="17398"/>
                    <a:pt x="31344" y="12066"/>
                  </a:cubicBezTo>
                  <a:lnTo>
                    <a:pt x="23277" y="3999"/>
                  </a:lnTo>
                  <a:cubicBezTo>
                    <a:pt x="17945" y="-1333"/>
                    <a:pt x="9331" y="-1333"/>
                    <a:pt x="3999" y="3999"/>
                  </a:cubicBezTo>
                  <a:cubicBezTo>
                    <a:pt x="-1333" y="9331"/>
                    <a:pt x="-1333" y="17945"/>
                    <a:pt x="3999" y="23277"/>
                  </a:cubicBezTo>
                  <a:lnTo>
                    <a:pt x="12066" y="31344"/>
                  </a:lnTo>
                  <a:close/>
                </a:path>
              </a:pathLst>
            </a:custGeom>
            <a:grpFill/>
            <a:ln w="13543" cap="flat">
              <a:noFill/>
              <a:prstDash val="solid"/>
              <a:miter/>
            </a:ln>
          </p:spPr>
          <p:txBody>
            <a:bodyPr rtlCol="0" anchor="ctr"/>
            <a:lstStyle/>
            <a:p>
              <a:endParaRPr lang="pt-BR"/>
            </a:p>
          </p:txBody>
        </p:sp>
        <p:sp>
          <p:nvSpPr>
            <p:cNvPr id="59" name="Forma Livre: Forma 58">
              <a:extLst>
                <a:ext uri="{FF2B5EF4-FFF2-40B4-BE49-F238E27FC236}">
                  <a16:creationId xmlns:a16="http://schemas.microsoft.com/office/drawing/2014/main" id="{36F806D4-4C91-61EC-7870-5FE0EF00BB52}"/>
                </a:ext>
              </a:extLst>
            </p:cNvPr>
            <p:cNvSpPr/>
            <p:nvPr/>
          </p:nvSpPr>
          <p:spPr>
            <a:xfrm>
              <a:off x="8750635" y="-538268"/>
              <a:ext cx="106223" cy="314464"/>
            </a:xfrm>
            <a:custGeom>
              <a:avLst/>
              <a:gdLst>
                <a:gd name="connsiteX0" fmla="*/ 3780 w 106223"/>
                <a:gd name="connsiteY0" fmla="*/ 55783 h 314464"/>
                <a:gd name="connsiteX1" fmla="*/ 3780 w 106223"/>
                <a:gd name="connsiteY1" fmla="*/ 258544 h 314464"/>
                <a:gd name="connsiteX2" fmla="*/ 6104 w 106223"/>
                <a:gd name="connsiteY2" fmla="*/ 296280 h 314464"/>
                <a:gd name="connsiteX3" fmla="*/ 39191 w 106223"/>
                <a:gd name="connsiteY3" fmla="*/ 314464 h 314464"/>
                <a:gd name="connsiteX4" fmla="*/ 72142 w 106223"/>
                <a:gd name="connsiteY4" fmla="*/ 293545 h 314464"/>
                <a:gd name="connsiteX5" fmla="*/ 78841 w 106223"/>
                <a:gd name="connsiteY5" fmla="*/ 279326 h 314464"/>
                <a:gd name="connsiteX6" fmla="*/ 80072 w 106223"/>
                <a:gd name="connsiteY6" fmla="*/ 37736 h 314464"/>
                <a:gd name="connsiteX7" fmla="*/ 39191 w 106223"/>
                <a:gd name="connsiteY7" fmla="*/ 0 h 314464"/>
                <a:gd name="connsiteX8" fmla="*/ 6104 w 106223"/>
                <a:gd name="connsiteY8" fmla="*/ 18184 h 314464"/>
                <a:gd name="connsiteX9" fmla="*/ 3780 w 106223"/>
                <a:gd name="connsiteY9" fmla="*/ 55920 h 314464"/>
                <a:gd name="connsiteX10" fmla="*/ 28527 w 106223"/>
                <a:gd name="connsiteY10" fmla="*/ 44162 h 314464"/>
                <a:gd name="connsiteX11" fmla="*/ 29211 w 106223"/>
                <a:gd name="connsiteY11" fmla="*/ 32814 h 314464"/>
                <a:gd name="connsiteX12" fmla="*/ 39191 w 106223"/>
                <a:gd name="connsiteY12" fmla="*/ 27345 h 314464"/>
                <a:gd name="connsiteX13" fmla="*/ 52864 w 106223"/>
                <a:gd name="connsiteY13" fmla="*/ 41017 h 314464"/>
                <a:gd name="connsiteX14" fmla="*/ 54231 w 106223"/>
                <a:gd name="connsiteY14" fmla="*/ 46896 h 314464"/>
                <a:gd name="connsiteX15" fmla="*/ 54231 w 106223"/>
                <a:gd name="connsiteY15" fmla="*/ 267705 h 314464"/>
                <a:gd name="connsiteX16" fmla="*/ 47531 w 106223"/>
                <a:gd name="connsiteY16" fmla="*/ 281924 h 314464"/>
                <a:gd name="connsiteX17" fmla="*/ 39328 w 106223"/>
                <a:gd name="connsiteY17" fmla="*/ 287119 h 314464"/>
                <a:gd name="connsiteX18" fmla="*/ 29347 w 106223"/>
                <a:gd name="connsiteY18" fmla="*/ 281650 h 314464"/>
                <a:gd name="connsiteX19" fmla="*/ 28664 w 106223"/>
                <a:gd name="connsiteY19" fmla="*/ 270302 h 314464"/>
                <a:gd name="connsiteX20" fmla="*/ 28664 w 106223"/>
                <a:gd name="connsiteY20" fmla="*/ 44298 h 31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6223" h="314464">
                  <a:moveTo>
                    <a:pt x="3780" y="55783"/>
                  </a:moveTo>
                  <a:cubicBezTo>
                    <a:pt x="34133" y="120180"/>
                    <a:pt x="34133" y="194147"/>
                    <a:pt x="3780" y="258544"/>
                  </a:cubicBezTo>
                  <a:cubicBezTo>
                    <a:pt x="-1962" y="270713"/>
                    <a:pt x="-1142" y="284795"/>
                    <a:pt x="6104" y="296280"/>
                  </a:cubicBezTo>
                  <a:cubicBezTo>
                    <a:pt x="13351" y="307628"/>
                    <a:pt x="25656" y="314464"/>
                    <a:pt x="39191" y="314464"/>
                  </a:cubicBezTo>
                  <a:cubicBezTo>
                    <a:pt x="52727" y="314464"/>
                    <a:pt x="66263" y="306261"/>
                    <a:pt x="72142" y="293545"/>
                  </a:cubicBezTo>
                  <a:lnTo>
                    <a:pt x="78841" y="279326"/>
                  </a:lnTo>
                  <a:cubicBezTo>
                    <a:pt x="114936" y="202624"/>
                    <a:pt x="115346" y="114711"/>
                    <a:pt x="80072" y="37736"/>
                  </a:cubicBezTo>
                  <a:cubicBezTo>
                    <a:pt x="78431" y="16680"/>
                    <a:pt x="60657" y="0"/>
                    <a:pt x="39191" y="0"/>
                  </a:cubicBezTo>
                  <a:cubicBezTo>
                    <a:pt x="25656" y="0"/>
                    <a:pt x="13351" y="6836"/>
                    <a:pt x="6104" y="18184"/>
                  </a:cubicBezTo>
                  <a:cubicBezTo>
                    <a:pt x="-1142" y="29532"/>
                    <a:pt x="-1962" y="43615"/>
                    <a:pt x="3780" y="55920"/>
                  </a:cubicBezTo>
                  <a:close/>
                  <a:moveTo>
                    <a:pt x="28527" y="44162"/>
                  </a:moveTo>
                  <a:cubicBezTo>
                    <a:pt x="26066" y="38829"/>
                    <a:pt x="28253" y="34454"/>
                    <a:pt x="29211" y="32814"/>
                  </a:cubicBezTo>
                  <a:cubicBezTo>
                    <a:pt x="30304" y="31173"/>
                    <a:pt x="33312" y="27345"/>
                    <a:pt x="39191" y="27345"/>
                  </a:cubicBezTo>
                  <a:cubicBezTo>
                    <a:pt x="46711" y="27345"/>
                    <a:pt x="52864" y="33497"/>
                    <a:pt x="52864" y="41017"/>
                  </a:cubicBezTo>
                  <a:cubicBezTo>
                    <a:pt x="52864" y="43068"/>
                    <a:pt x="53274" y="44982"/>
                    <a:pt x="54231" y="46896"/>
                  </a:cubicBezTo>
                  <a:cubicBezTo>
                    <a:pt x="87181" y="117035"/>
                    <a:pt x="87181" y="197565"/>
                    <a:pt x="54231" y="267705"/>
                  </a:cubicBezTo>
                  <a:lnTo>
                    <a:pt x="47531" y="281924"/>
                  </a:lnTo>
                  <a:cubicBezTo>
                    <a:pt x="46027" y="285069"/>
                    <a:pt x="42746" y="287119"/>
                    <a:pt x="39328" y="287119"/>
                  </a:cubicBezTo>
                  <a:cubicBezTo>
                    <a:pt x="33449" y="287119"/>
                    <a:pt x="30441" y="283291"/>
                    <a:pt x="29347" y="281650"/>
                  </a:cubicBezTo>
                  <a:cubicBezTo>
                    <a:pt x="28253" y="280010"/>
                    <a:pt x="26066" y="275635"/>
                    <a:pt x="28664" y="270302"/>
                  </a:cubicBezTo>
                  <a:cubicBezTo>
                    <a:pt x="62434" y="198523"/>
                    <a:pt x="62434" y="116078"/>
                    <a:pt x="28664" y="44298"/>
                  </a:cubicBezTo>
                  <a:close/>
                </a:path>
              </a:pathLst>
            </a:custGeom>
            <a:grpFill/>
            <a:ln w="13543" cap="flat">
              <a:noFill/>
              <a:prstDash val="solid"/>
              <a:miter/>
            </a:ln>
          </p:spPr>
          <p:txBody>
            <a:bodyPr rtlCol="0" anchor="ctr"/>
            <a:lstStyle/>
            <a:p>
              <a:endParaRPr lang="pt-BR"/>
            </a:p>
          </p:txBody>
        </p:sp>
        <p:sp>
          <p:nvSpPr>
            <p:cNvPr id="60" name="Forma Livre: Forma 59">
              <a:extLst>
                <a:ext uri="{FF2B5EF4-FFF2-40B4-BE49-F238E27FC236}">
                  <a16:creationId xmlns:a16="http://schemas.microsoft.com/office/drawing/2014/main" id="{AB5C5F4D-2B1B-09A6-E075-236AF3A30284}"/>
                </a:ext>
              </a:extLst>
            </p:cNvPr>
            <p:cNvSpPr/>
            <p:nvPr/>
          </p:nvSpPr>
          <p:spPr>
            <a:xfrm>
              <a:off x="8200462" y="-326296"/>
              <a:ext cx="292343" cy="273806"/>
            </a:xfrm>
            <a:custGeom>
              <a:avLst/>
              <a:gdLst>
                <a:gd name="connsiteX0" fmla="*/ 170307 w 292343"/>
                <a:gd name="connsiteY0" fmla="*/ 241267 h 273806"/>
                <a:gd name="connsiteX1" fmla="*/ 237575 w 292343"/>
                <a:gd name="connsiteY1" fmla="*/ 273807 h 273806"/>
                <a:gd name="connsiteX2" fmla="*/ 278318 w 292343"/>
                <a:gd name="connsiteY2" fmla="*/ 255759 h 273806"/>
                <a:gd name="connsiteX3" fmla="*/ 274217 w 292343"/>
                <a:gd name="connsiteY3" fmla="*/ 178510 h 273806"/>
                <a:gd name="connsiteX4" fmla="*/ 248239 w 292343"/>
                <a:gd name="connsiteY4" fmla="*/ 162924 h 273806"/>
                <a:gd name="connsiteX5" fmla="*/ 138997 w 292343"/>
                <a:gd name="connsiteY5" fmla="*/ 70499 h 273806"/>
                <a:gd name="connsiteX6" fmla="*/ 91281 w 292343"/>
                <a:gd name="connsiteY6" fmla="*/ 14032 h 273806"/>
                <a:gd name="connsiteX7" fmla="*/ 51768 w 292343"/>
                <a:gd name="connsiteY7" fmla="*/ 86 h 273806"/>
                <a:gd name="connsiteX8" fmla="*/ 14032 w 292343"/>
                <a:gd name="connsiteY8" fmla="*/ 18134 h 273806"/>
                <a:gd name="connsiteX9" fmla="*/ 86 w 292343"/>
                <a:gd name="connsiteY9" fmla="*/ 57647 h 273806"/>
                <a:gd name="connsiteX10" fmla="*/ 17313 w 292343"/>
                <a:gd name="connsiteY10" fmla="*/ 94699 h 273806"/>
                <a:gd name="connsiteX11" fmla="*/ 57647 w 292343"/>
                <a:gd name="connsiteY11" fmla="*/ 143646 h 273806"/>
                <a:gd name="connsiteX12" fmla="*/ 170170 w 292343"/>
                <a:gd name="connsiteY12" fmla="*/ 241403 h 273806"/>
                <a:gd name="connsiteX13" fmla="*/ 254529 w 292343"/>
                <a:gd name="connsiteY13" fmla="*/ 201070 h 273806"/>
                <a:gd name="connsiteX14" fmla="*/ 255075 w 292343"/>
                <a:gd name="connsiteY14" fmla="*/ 198746 h 273806"/>
                <a:gd name="connsiteX15" fmla="*/ 256853 w 292343"/>
                <a:gd name="connsiteY15" fmla="*/ 199703 h 273806"/>
                <a:gd name="connsiteX16" fmla="*/ 264920 w 292343"/>
                <a:gd name="connsiteY16" fmla="*/ 217750 h 273806"/>
                <a:gd name="connsiteX17" fmla="*/ 257947 w 292343"/>
                <a:gd name="connsiteY17" fmla="*/ 237438 h 273806"/>
                <a:gd name="connsiteX18" fmla="*/ 240993 w 292343"/>
                <a:gd name="connsiteY18" fmla="*/ 246189 h 273806"/>
                <a:gd name="connsiteX19" fmla="*/ 254529 w 292343"/>
                <a:gd name="connsiteY19" fmla="*/ 201070 h 273806"/>
                <a:gd name="connsiteX20" fmla="*/ 200386 w 292343"/>
                <a:gd name="connsiteY20" fmla="*/ 164291 h 273806"/>
                <a:gd name="connsiteX21" fmla="*/ 217887 w 292343"/>
                <a:gd name="connsiteY21" fmla="*/ 175913 h 273806"/>
                <a:gd name="connsiteX22" fmla="*/ 191226 w 292343"/>
                <a:gd name="connsiteY22" fmla="*/ 189038 h 273806"/>
                <a:gd name="connsiteX23" fmla="*/ 200386 w 292343"/>
                <a:gd name="connsiteY23" fmla="*/ 164291 h 273806"/>
                <a:gd name="connsiteX24" fmla="*/ 192456 w 292343"/>
                <a:gd name="connsiteY24" fmla="*/ 219117 h 273806"/>
                <a:gd name="connsiteX25" fmla="*/ 225543 w 292343"/>
                <a:gd name="connsiteY25" fmla="*/ 202711 h 273806"/>
                <a:gd name="connsiteX26" fmla="*/ 215289 w 292343"/>
                <a:gd name="connsiteY26" fmla="*/ 236891 h 273806"/>
                <a:gd name="connsiteX27" fmla="*/ 188491 w 292343"/>
                <a:gd name="connsiteY27" fmla="*/ 220485 h 273806"/>
                <a:gd name="connsiteX28" fmla="*/ 192456 w 292343"/>
                <a:gd name="connsiteY28" fmla="*/ 219117 h 273806"/>
                <a:gd name="connsiteX29" fmla="*/ 148841 w 292343"/>
                <a:gd name="connsiteY29" fmla="*/ 120950 h 273806"/>
                <a:gd name="connsiteX30" fmla="*/ 161693 w 292343"/>
                <a:gd name="connsiteY30" fmla="*/ 132845 h 273806"/>
                <a:gd name="connsiteX31" fmla="*/ 140501 w 292343"/>
                <a:gd name="connsiteY31" fmla="*/ 143373 h 273806"/>
                <a:gd name="connsiteX32" fmla="*/ 148841 w 292343"/>
                <a:gd name="connsiteY32" fmla="*/ 120950 h 273806"/>
                <a:gd name="connsiteX33" fmla="*/ 141595 w 292343"/>
                <a:gd name="connsiteY33" fmla="*/ 173315 h 273806"/>
                <a:gd name="connsiteX34" fmla="*/ 173862 w 292343"/>
                <a:gd name="connsiteY34" fmla="*/ 157318 h 273806"/>
                <a:gd name="connsiteX35" fmla="*/ 161420 w 292343"/>
                <a:gd name="connsiteY35" fmla="*/ 191089 h 273806"/>
                <a:gd name="connsiteX36" fmla="*/ 159643 w 292343"/>
                <a:gd name="connsiteY36" fmla="*/ 201343 h 273806"/>
                <a:gd name="connsiteX37" fmla="*/ 127786 w 292343"/>
                <a:gd name="connsiteY37" fmla="*/ 176460 h 273806"/>
                <a:gd name="connsiteX38" fmla="*/ 141595 w 292343"/>
                <a:gd name="connsiteY38" fmla="*/ 173315 h 273806"/>
                <a:gd name="connsiteX39" fmla="*/ 100715 w 292343"/>
                <a:gd name="connsiteY39" fmla="*/ 67628 h 273806"/>
                <a:gd name="connsiteX40" fmla="*/ 115344 w 292343"/>
                <a:gd name="connsiteY40" fmla="*/ 84992 h 273806"/>
                <a:gd name="connsiteX41" fmla="*/ 89640 w 292343"/>
                <a:gd name="connsiteY41" fmla="*/ 97707 h 273806"/>
                <a:gd name="connsiteX42" fmla="*/ 100851 w 292343"/>
                <a:gd name="connsiteY42" fmla="*/ 67628 h 273806"/>
                <a:gd name="connsiteX43" fmla="*/ 90734 w 292343"/>
                <a:gd name="connsiteY43" fmla="*/ 127649 h 273806"/>
                <a:gd name="connsiteX44" fmla="*/ 123001 w 292343"/>
                <a:gd name="connsiteY44" fmla="*/ 111653 h 273806"/>
                <a:gd name="connsiteX45" fmla="*/ 110559 w 292343"/>
                <a:gd name="connsiteY45" fmla="*/ 145287 h 273806"/>
                <a:gd name="connsiteX46" fmla="*/ 108918 w 292343"/>
                <a:gd name="connsiteY46" fmla="*/ 158549 h 273806"/>
                <a:gd name="connsiteX47" fmla="*/ 82531 w 292343"/>
                <a:gd name="connsiteY47" fmla="*/ 130247 h 273806"/>
                <a:gd name="connsiteX48" fmla="*/ 90734 w 292343"/>
                <a:gd name="connsiteY48" fmla="*/ 127649 h 273806"/>
                <a:gd name="connsiteX49" fmla="*/ 34404 w 292343"/>
                <a:gd name="connsiteY49" fmla="*/ 36455 h 273806"/>
                <a:gd name="connsiteX50" fmla="*/ 54776 w 292343"/>
                <a:gd name="connsiteY50" fmla="*/ 27431 h 273806"/>
                <a:gd name="connsiteX51" fmla="*/ 72413 w 292343"/>
                <a:gd name="connsiteY51" fmla="*/ 33857 h 273806"/>
                <a:gd name="connsiteX52" fmla="*/ 73370 w 292343"/>
                <a:gd name="connsiteY52" fmla="*/ 35088 h 273806"/>
                <a:gd name="connsiteX53" fmla="*/ 71866 w 292343"/>
                <a:gd name="connsiteY53" fmla="*/ 35634 h 273806"/>
                <a:gd name="connsiteX54" fmla="*/ 27568 w 292343"/>
                <a:gd name="connsiteY54" fmla="*/ 54366 h 273806"/>
                <a:gd name="connsiteX55" fmla="*/ 34404 w 292343"/>
                <a:gd name="connsiteY55" fmla="*/ 36591 h 273806"/>
                <a:gd name="connsiteX56" fmla="*/ 72686 w 292343"/>
                <a:gd name="connsiteY56" fmla="*/ 64893 h 273806"/>
                <a:gd name="connsiteX57" fmla="*/ 59698 w 292343"/>
                <a:gd name="connsiteY57" fmla="*/ 99758 h 273806"/>
                <a:gd name="connsiteX58" fmla="*/ 59151 w 292343"/>
                <a:gd name="connsiteY58" fmla="*/ 102219 h 273806"/>
                <a:gd name="connsiteX59" fmla="*/ 39736 w 292343"/>
                <a:gd name="connsiteY59" fmla="*/ 78702 h 273806"/>
                <a:gd name="connsiteX60" fmla="*/ 72686 w 292343"/>
                <a:gd name="connsiteY60" fmla="*/ 64893 h 2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92343" h="273806">
                  <a:moveTo>
                    <a:pt x="170307" y="241267"/>
                  </a:moveTo>
                  <a:cubicBezTo>
                    <a:pt x="170307" y="241267"/>
                    <a:pt x="224996" y="273807"/>
                    <a:pt x="237575" y="273807"/>
                  </a:cubicBezTo>
                  <a:cubicBezTo>
                    <a:pt x="252614" y="273807"/>
                    <a:pt x="267517" y="267654"/>
                    <a:pt x="278318" y="255759"/>
                  </a:cubicBezTo>
                  <a:cubicBezTo>
                    <a:pt x="298554" y="233337"/>
                    <a:pt x="296639" y="198746"/>
                    <a:pt x="274217" y="178510"/>
                  </a:cubicBezTo>
                  <a:cubicBezTo>
                    <a:pt x="273533" y="177964"/>
                    <a:pt x="248239" y="162924"/>
                    <a:pt x="248239" y="162924"/>
                  </a:cubicBezTo>
                  <a:cubicBezTo>
                    <a:pt x="206675" y="138450"/>
                    <a:pt x="170034" y="107278"/>
                    <a:pt x="138997" y="70499"/>
                  </a:cubicBezTo>
                  <a:cubicBezTo>
                    <a:pt x="138997" y="70499"/>
                    <a:pt x="91691" y="14442"/>
                    <a:pt x="91281" y="14032"/>
                  </a:cubicBezTo>
                  <a:cubicBezTo>
                    <a:pt x="80480" y="4325"/>
                    <a:pt x="66397" y="-734"/>
                    <a:pt x="51768" y="86"/>
                  </a:cubicBezTo>
                  <a:cubicBezTo>
                    <a:pt x="37138" y="907"/>
                    <a:pt x="23739" y="7196"/>
                    <a:pt x="14032" y="18134"/>
                  </a:cubicBezTo>
                  <a:cubicBezTo>
                    <a:pt x="4325" y="29072"/>
                    <a:pt x="-734" y="43017"/>
                    <a:pt x="86" y="57647"/>
                  </a:cubicBezTo>
                  <a:cubicBezTo>
                    <a:pt x="907" y="71866"/>
                    <a:pt x="6922" y="84992"/>
                    <a:pt x="17313" y="94699"/>
                  </a:cubicBezTo>
                  <a:lnTo>
                    <a:pt x="57647" y="143646"/>
                  </a:lnTo>
                  <a:cubicBezTo>
                    <a:pt x="89640" y="182339"/>
                    <a:pt x="127513" y="215289"/>
                    <a:pt x="170170" y="241403"/>
                  </a:cubicBezTo>
                  <a:close/>
                  <a:moveTo>
                    <a:pt x="254529" y="201070"/>
                  </a:moveTo>
                  <a:cubicBezTo>
                    <a:pt x="254802" y="200249"/>
                    <a:pt x="254939" y="199566"/>
                    <a:pt x="255075" y="198746"/>
                  </a:cubicBezTo>
                  <a:lnTo>
                    <a:pt x="256853" y="199703"/>
                  </a:lnTo>
                  <a:cubicBezTo>
                    <a:pt x="261775" y="204488"/>
                    <a:pt x="264646" y="210914"/>
                    <a:pt x="264920" y="217750"/>
                  </a:cubicBezTo>
                  <a:cubicBezTo>
                    <a:pt x="265330" y="224996"/>
                    <a:pt x="262869" y="232106"/>
                    <a:pt x="257947" y="237438"/>
                  </a:cubicBezTo>
                  <a:cubicBezTo>
                    <a:pt x="253435" y="242360"/>
                    <a:pt x="247556" y="245368"/>
                    <a:pt x="240993" y="246189"/>
                  </a:cubicBezTo>
                  <a:lnTo>
                    <a:pt x="254529" y="201070"/>
                  </a:lnTo>
                  <a:close/>
                  <a:moveTo>
                    <a:pt x="200386" y="164291"/>
                  </a:moveTo>
                  <a:cubicBezTo>
                    <a:pt x="205992" y="168393"/>
                    <a:pt x="212008" y="172084"/>
                    <a:pt x="217887" y="175913"/>
                  </a:cubicBezTo>
                  <a:lnTo>
                    <a:pt x="191226" y="189038"/>
                  </a:lnTo>
                  <a:lnTo>
                    <a:pt x="200386" y="164291"/>
                  </a:lnTo>
                  <a:close/>
                  <a:moveTo>
                    <a:pt x="192456" y="219117"/>
                  </a:moveTo>
                  <a:lnTo>
                    <a:pt x="225543" y="202711"/>
                  </a:lnTo>
                  <a:lnTo>
                    <a:pt x="215289" y="236891"/>
                  </a:lnTo>
                  <a:lnTo>
                    <a:pt x="188491" y="220485"/>
                  </a:lnTo>
                  <a:cubicBezTo>
                    <a:pt x="189858" y="220074"/>
                    <a:pt x="191089" y="219801"/>
                    <a:pt x="192456" y="219117"/>
                  </a:cubicBezTo>
                  <a:close/>
                  <a:moveTo>
                    <a:pt x="148841" y="120950"/>
                  </a:moveTo>
                  <a:cubicBezTo>
                    <a:pt x="153080" y="125052"/>
                    <a:pt x="157455" y="128880"/>
                    <a:pt x="161693" y="132845"/>
                  </a:cubicBezTo>
                  <a:lnTo>
                    <a:pt x="140501" y="143373"/>
                  </a:lnTo>
                  <a:lnTo>
                    <a:pt x="148841" y="120950"/>
                  </a:lnTo>
                  <a:close/>
                  <a:moveTo>
                    <a:pt x="141595" y="173315"/>
                  </a:moveTo>
                  <a:lnTo>
                    <a:pt x="173862" y="157318"/>
                  </a:lnTo>
                  <a:lnTo>
                    <a:pt x="161420" y="191089"/>
                  </a:lnTo>
                  <a:cubicBezTo>
                    <a:pt x="160053" y="194644"/>
                    <a:pt x="159643" y="198062"/>
                    <a:pt x="159643" y="201343"/>
                  </a:cubicBezTo>
                  <a:cubicBezTo>
                    <a:pt x="148705" y="193550"/>
                    <a:pt x="138040" y="185347"/>
                    <a:pt x="127786" y="176460"/>
                  </a:cubicBezTo>
                  <a:cubicBezTo>
                    <a:pt x="132161" y="176733"/>
                    <a:pt x="136946" y="175639"/>
                    <a:pt x="141595" y="173315"/>
                  </a:cubicBezTo>
                  <a:close/>
                  <a:moveTo>
                    <a:pt x="100715" y="67628"/>
                  </a:moveTo>
                  <a:lnTo>
                    <a:pt x="115344" y="84992"/>
                  </a:lnTo>
                  <a:lnTo>
                    <a:pt x="89640" y="97707"/>
                  </a:lnTo>
                  <a:lnTo>
                    <a:pt x="100851" y="67628"/>
                  </a:lnTo>
                  <a:close/>
                  <a:moveTo>
                    <a:pt x="90734" y="127649"/>
                  </a:moveTo>
                  <a:lnTo>
                    <a:pt x="123001" y="111653"/>
                  </a:lnTo>
                  <a:lnTo>
                    <a:pt x="110559" y="145287"/>
                  </a:lnTo>
                  <a:cubicBezTo>
                    <a:pt x="108781" y="149935"/>
                    <a:pt x="108371" y="154447"/>
                    <a:pt x="108918" y="158549"/>
                  </a:cubicBezTo>
                  <a:cubicBezTo>
                    <a:pt x="99758" y="149525"/>
                    <a:pt x="90871" y="140091"/>
                    <a:pt x="82531" y="130247"/>
                  </a:cubicBezTo>
                  <a:cubicBezTo>
                    <a:pt x="85265" y="129700"/>
                    <a:pt x="87999" y="129017"/>
                    <a:pt x="90734" y="127649"/>
                  </a:cubicBezTo>
                  <a:close/>
                  <a:moveTo>
                    <a:pt x="34404" y="36455"/>
                  </a:moveTo>
                  <a:cubicBezTo>
                    <a:pt x="39736" y="30439"/>
                    <a:pt x="47256" y="27431"/>
                    <a:pt x="54776" y="27431"/>
                  </a:cubicBezTo>
                  <a:cubicBezTo>
                    <a:pt x="61065" y="27431"/>
                    <a:pt x="67354" y="29619"/>
                    <a:pt x="72413" y="33857"/>
                  </a:cubicBezTo>
                  <a:lnTo>
                    <a:pt x="73370" y="35088"/>
                  </a:lnTo>
                  <a:cubicBezTo>
                    <a:pt x="73370" y="35088"/>
                    <a:pt x="72276" y="35361"/>
                    <a:pt x="71866" y="35634"/>
                  </a:cubicBezTo>
                  <a:lnTo>
                    <a:pt x="27568" y="54366"/>
                  </a:lnTo>
                  <a:cubicBezTo>
                    <a:pt x="27568" y="47803"/>
                    <a:pt x="30029" y="41513"/>
                    <a:pt x="34404" y="36591"/>
                  </a:cubicBezTo>
                  <a:close/>
                  <a:moveTo>
                    <a:pt x="72686" y="64893"/>
                  </a:moveTo>
                  <a:lnTo>
                    <a:pt x="59698" y="99758"/>
                  </a:lnTo>
                  <a:cubicBezTo>
                    <a:pt x="59424" y="100578"/>
                    <a:pt x="59288" y="101398"/>
                    <a:pt x="59151" y="102219"/>
                  </a:cubicBezTo>
                  <a:lnTo>
                    <a:pt x="39736" y="78702"/>
                  </a:lnTo>
                  <a:lnTo>
                    <a:pt x="72686" y="64893"/>
                  </a:lnTo>
                  <a:close/>
                </a:path>
              </a:pathLst>
            </a:custGeom>
            <a:grpFill/>
            <a:ln w="13543" cap="flat">
              <a:noFill/>
              <a:prstDash val="solid"/>
              <a:miter/>
            </a:ln>
          </p:spPr>
          <p:txBody>
            <a:bodyPr rtlCol="0" anchor="ctr"/>
            <a:lstStyle/>
            <a:p>
              <a:endParaRPr lang="pt-BR"/>
            </a:p>
          </p:txBody>
        </p:sp>
        <p:sp>
          <p:nvSpPr>
            <p:cNvPr id="62" name="Forma Livre: Forma 61">
              <a:extLst>
                <a:ext uri="{FF2B5EF4-FFF2-40B4-BE49-F238E27FC236}">
                  <a16:creationId xmlns:a16="http://schemas.microsoft.com/office/drawing/2014/main" id="{2C05D88F-2118-0F58-1E30-13773B39FD89}"/>
                </a:ext>
              </a:extLst>
            </p:cNvPr>
            <p:cNvSpPr/>
            <p:nvPr/>
          </p:nvSpPr>
          <p:spPr>
            <a:xfrm>
              <a:off x="8676981" y="-177913"/>
              <a:ext cx="49741" cy="49680"/>
            </a:xfrm>
            <a:custGeom>
              <a:avLst/>
              <a:gdLst>
                <a:gd name="connsiteX0" fmla="*/ 21378 w 49741"/>
                <a:gd name="connsiteY0" fmla="*/ 47218 h 49680"/>
                <a:gd name="connsiteX1" fmla="*/ 47355 w 49741"/>
                <a:gd name="connsiteY1" fmla="*/ 21241 h 49680"/>
                <a:gd name="connsiteX2" fmla="*/ 42023 w 49741"/>
                <a:gd name="connsiteY2" fmla="*/ 1416 h 49680"/>
                <a:gd name="connsiteX3" fmla="*/ 24659 w 49741"/>
                <a:gd name="connsiteY3" fmla="*/ 5928 h 49680"/>
                <a:gd name="connsiteX4" fmla="*/ 5928 w 49741"/>
                <a:gd name="connsiteY4" fmla="*/ 24659 h 49680"/>
                <a:gd name="connsiteX5" fmla="*/ 1416 w 49741"/>
                <a:gd name="connsiteY5" fmla="*/ 42023 h 49680"/>
                <a:gd name="connsiteX6" fmla="*/ 21241 w 49741"/>
                <a:gd name="connsiteY6" fmla="*/ 47355 h 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41" h="49680">
                  <a:moveTo>
                    <a:pt x="21378" y="47218"/>
                  </a:moveTo>
                  <a:cubicBezTo>
                    <a:pt x="31495" y="40109"/>
                    <a:pt x="40245" y="31358"/>
                    <a:pt x="47355" y="21241"/>
                  </a:cubicBezTo>
                  <a:cubicBezTo>
                    <a:pt x="52140" y="14541"/>
                    <a:pt x="49406" y="5107"/>
                    <a:pt x="42023" y="1416"/>
                  </a:cubicBezTo>
                  <a:cubicBezTo>
                    <a:pt x="35870" y="-1592"/>
                    <a:pt x="28624" y="322"/>
                    <a:pt x="24659" y="5928"/>
                  </a:cubicBezTo>
                  <a:cubicBezTo>
                    <a:pt x="19600" y="13174"/>
                    <a:pt x="13174" y="19463"/>
                    <a:pt x="5928" y="24659"/>
                  </a:cubicBezTo>
                  <a:cubicBezTo>
                    <a:pt x="322" y="28624"/>
                    <a:pt x="-1592" y="35870"/>
                    <a:pt x="1416" y="42023"/>
                  </a:cubicBezTo>
                  <a:cubicBezTo>
                    <a:pt x="5107" y="49406"/>
                    <a:pt x="14541" y="52004"/>
                    <a:pt x="21241" y="47355"/>
                  </a:cubicBezTo>
                  <a:close/>
                </a:path>
              </a:pathLst>
            </a:custGeom>
            <a:grpFill/>
            <a:ln w="13543"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1A910C98-D574-3431-1F13-FCD0BD2EC4AE}"/>
                </a:ext>
              </a:extLst>
            </p:cNvPr>
            <p:cNvSpPr/>
            <p:nvPr/>
          </p:nvSpPr>
          <p:spPr>
            <a:xfrm>
              <a:off x="8200813" y="-709053"/>
              <a:ext cx="300526" cy="314208"/>
            </a:xfrm>
            <a:custGeom>
              <a:avLst/>
              <a:gdLst>
                <a:gd name="connsiteX0" fmla="*/ 13818 w 300526"/>
                <a:gd name="connsiteY0" fmla="*/ 314209 h 314208"/>
                <a:gd name="connsiteX1" fmla="*/ 27353 w 300526"/>
                <a:gd name="connsiteY1" fmla="*/ 300810 h 314208"/>
                <a:gd name="connsiteX2" fmla="*/ 287265 w 300526"/>
                <a:gd name="connsiteY2" fmla="*/ 27363 h 314208"/>
                <a:gd name="connsiteX3" fmla="*/ 300527 w 300526"/>
                <a:gd name="connsiteY3" fmla="*/ 13691 h 314208"/>
                <a:gd name="connsiteX4" fmla="*/ 286444 w 300526"/>
                <a:gd name="connsiteY4" fmla="*/ 18 h 314208"/>
                <a:gd name="connsiteX5" fmla="*/ 9 w 300526"/>
                <a:gd name="connsiteY5" fmla="*/ 300126 h 314208"/>
                <a:gd name="connsiteX6" fmla="*/ 13681 w 300526"/>
                <a:gd name="connsiteY6" fmla="*/ 314209 h 31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526" h="314208">
                  <a:moveTo>
                    <a:pt x="13818" y="314209"/>
                  </a:moveTo>
                  <a:cubicBezTo>
                    <a:pt x="21201" y="314209"/>
                    <a:pt x="27080" y="308330"/>
                    <a:pt x="27353" y="300810"/>
                  </a:cubicBezTo>
                  <a:cubicBezTo>
                    <a:pt x="33369" y="148500"/>
                    <a:pt x="142201" y="33926"/>
                    <a:pt x="287265" y="27363"/>
                  </a:cubicBezTo>
                  <a:cubicBezTo>
                    <a:pt x="294648" y="27090"/>
                    <a:pt x="300527" y="21210"/>
                    <a:pt x="300527" y="13691"/>
                  </a:cubicBezTo>
                  <a:cubicBezTo>
                    <a:pt x="300527" y="6171"/>
                    <a:pt x="294101" y="-392"/>
                    <a:pt x="286444" y="18"/>
                  </a:cubicBezTo>
                  <a:cubicBezTo>
                    <a:pt x="128939" y="7265"/>
                    <a:pt x="6571" y="135375"/>
                    <a:pt x="9" y="300126"/>
                  </a:cubicBezTo>
                  <a:cubicBezTo>
                    <a:pt x="-265" y="307783"/>
                    <a:pt x="6024" y="314209"/>
                    <a:pt x="13681" y="314209"/>
                  </a:cubicBezTo>
                  <a:close/>
                </a:path>
              </a:pathLst>
            </a:custGeom>
            <a:grpFill/>
            <a:ln w="13543"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430AD4AF-0AA5-94A1-C742-4874C189F4C6}"/>
                </a:ext>
              </a:extLst>
            </p:cNvPr>
            <p:cNvSpPr/>
            <p:nvPr/>
          </p:nvSpPr>
          <p:spPr>
            <a:xfrm>
              <a:off x="8432978" y="-463206"/>
              <a:ext cx="109378" cy="109378"/>
            </a:xfrm>
            <a:custGeom>
              <a:avLst/>
              <a:gdLst>
                <a:gd name="connsiteX0" fmla="*/ 0 w 109378"/>
                <a:gd name="connsiteY0" fmla="*/ 54689 h 109378"/>
                <a:gd name="connsiteX1" fmla="*/ 54689 w 109378"/>
                <a:gd name="connsiteY1" fmla="*/ 109379 h 109378"/>
                <a:gd name="connsiteX2" fmla="*/ 109379 w 109378"/>
                <a:gd name="connsiteY2" fmla="*/ 54689 h 109378"/>
                <a:gd name="connsiteX3" fmla="*/ 54689 w 109378"/>
                <a:gd name="connsiteY3" fmla="*/ 0 h 109378"/>
                <a:gd name="connsiteX4" fmla="*/ 0 w 109378"/>
                <a:gd name="connsiteY4" fmla="*/ 54689 h 109378"/>
                <a:gd name="connsiteX5" fmla="*/ 54689 w 109378"/>
                <a:gd name="connsiteY5" fmla="*/ 27345 h 109378"/>
                <a:gd name="connsiteX6" fmla="*/ 82034 w 109378"/>
                <a:gd name="connsiteY6" fmla="*/ 54689 h 109378"/>
                <a:gd name="connsiteX7" fmla="*/ 54689 w 109378"/>
                <a:gd name="connsiteY7" fmla="*/ 82034 h 109378"/>
                <a:gd name="connsiteX8" fmla="*/ 27345 w 109378"/>
                <a:gd name="connsiteY8" fmla="*/ 54689 h 109378"/>
                <a:gd name="connsiteX9" fmla="*/ 54689 w 109378"/>
                <a:gd name="connsiteY9" fmla="*/ 27345 h 10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78" h="109378">
                  <a:moveTo>
                    <a:pt x="0" y="54689"/>
                  </a:moveTo>
                  <a:cubicBezTo>
                    <a:pt x="0" y="84905"/>
                    <a:pt x="24474" y="109379"/>
                    <a:pt x="54689" y="109379"/>
                  </a:cubicBezTo>
                  <a:cubicBezTo>
                    <a:pt x="84905" y="109379"/>
                    <a:pt x="109379" y="84905"/>
                    <a:pt x="109379" y="54689"/>
                  </a:cubicBezTo>
                  <a:cubicBezTo>
                    <a:pt x="109379" y="24474"/>
                    <a:pt x="84905" y="0"/>
                    <a:pt x="54689" y="0"/>
                  </a:cubicBezTo>
                  <a:cubicBezTo>
                    <a:pt x="24474" y="0"/>
                    <a:pt x="0" y="24474"/>
                    <a:pt x="0" y="54689"/>
                  </a:cubicBezTo>
                  <a:close/>
                  <a:moveTo>
                    <a:pt x="54689" y="27345"/>
                  </a:moveTo>
                  <a:cubicBezTo>
                    <a:pt x="69729" y="27345"/>
                    <a:pt x="82034" y="39650"/>
                    <a:pt x="82034" y="54689"/>
                  </a:cubicBezTo>
                  <a:cubicBezTo>
                    <a:pt x="82034" y="69729"/>
                    <a:pt x="69729" y="82034"/>
                    <a:pt x="54689" y="82034"/>
                  </a:cubicBezTo>
                  <a:cubicBezTo>
                    <a:pt x="39650" y="82034"/>
                    <a:pt x="27345" y="69729"/>
                    <a:pt x="27345" y="54689"/>
                  </a:cubicBezTo>
                  <a:cubicBezTo>
                    <a:pt x="27345" y="39650"/>
                    <a:pt x="39650" y="27345"/>
                    <a:pt x="54689" y="27345"/>
                  </a:cubicBezTo>
                  <a:close/>
                </a:path>
              </a:pathLst>
            </a:custGeom>
            <a:grpFill/>
            <a:ln w="13543" cap="flat">
              <a:noFill/>
              <a:prstDash val="solid"/>
              <a:miter/>
            </a:ln>
          </p:spPr>
          <p:txBody>
            <a:bodyPr rtlCol="0" anchor="ctr"/>
            <a:lstStyle/>
            <a:p>
              <a:endParaRPr lang="pt-BR"/>
            </a:p>
          </p:txBody>
        </p:sp>
        <p:sp>
          <p:nvSpPr>
            <p:cNvPr id="70" name="Forma Livre: Forma 69">
              <a:extLst>
                <a:ext uri="{FF2B5EF4-FFF2-40B4-BE49-F238E27FC236}">
                  <a16:creationId xmlns:a16="http://schemas.microsoft.com/office/drawing/2014/main" id="{DDF4AC8B-FC15-A880-4D4A-853B7E0C57DE}"/>
                </a:ext>
              </a:extLst>
            </p:cNvPr>
            <p:cNvSpPr/>
            <p:nvPr/>
          </p:nvSpPr>
          <p:spPr>
            <a:xfrm>
              <a:off x="8337272" y="-572448"/>
              <a:ext cx="312728" cy="326634"/>
            </a:xfrm>
            <a:custGeom>
              <a:avLst/>
              <a:gdLst>
                <a:gd name="connsiteX0" fmla="*/ 0 w 312728"/>
                <a:gd name="connsiteY0" fmla="*/ 136587 h 326634"/>
                <a:gd name="connsiteX1" fmla="*/ 136723 w 312728"/>
                <a:gd name="connsiteY1" fmla="*/ 273310 h 326634"/>
                <a:gd name="connsiteX2" fmla="*/ 215339 w 312728"/>
                <a:gd name="connsiteY2" fmla="*/ 248290 h 326634"/>
                <a:gd name="connsiteX3" fmla="*/ 239813 w 312728"/>
                <a:gd name="connsiteY3" fmla="*/ 272763 h 326634"/>
                <a:gd name="connsiteX4" fmla="*/ 187858 w 312728"/>
                <a:gd name="connsiteY4" fmla="*/ 299561 h 326634"/>
                <a:gd name="connsiteX5" fmla="*/ 177740 w 312728"/>
                <a:gd name="connsiteY5" fmla="*/ 311866 h 326634"/>
                <a:gd name="connsiteX6" fmla="*/ 177740 w 312728"/>
                <a:gd name="connsiteY6" fmla="*/ 314054 h 326634"/>
                <a:gd name="connsiteX7" fmla="*/ 193190 w 312728"/>
                <a:gd name="connsiteY7" fmla="*/ 326359 h 326634"/>
                <a:gd name="connsiteX8" fmla="*/ 312276 w 312728"/>
                <a:gd name="connsiteY8" fmla="*/ 221082 h 326634"/>
                <a:gd name="connsiteX9" fmla="*/ 300108 w 312728"/>
                <a:gd name="connsiteY9" fmla="*/ 205085 h 326634"/>
                <a:gd name="connsiteX10" fmla="*/ 298057 w 312728"/>
                <a:gd name="connsiteY10" fmla="*/ 205085 h 326634"/>
                <a:gd name="connsiteX11" fmla="*/ 285752 w 312728"/>
                <a:gd name="connsiteY11" fmla="*/ 215066 h 326634"/>
                <a:gd name="connsiteX12" fmla="*/ 260321 w 312728"/>
                <a:gd name="connsiteY12" fmla="*/ 254579 h 326634"/>
                <a:gd name="connsiteX13" fmla="*/ 236121 w 312728"/>
                <a:gd name="connsiteY13" fmla="*/ 230379 h 326634"/>
                <a:gd name="connsiteX14" fmla="*/ 273584 w 312728"/>
                <a:gd name="connsiteY14" fmla="*/ 136724 h 326634"/>
                <a:gd name="connsiteX15" fmla="*/ 136860 w 312728"/>
                <a:gd name="connsiteY15" fmla="*/ 0 h 326634"/>
                <a:gd name="connsiteX16" fmla="*/ 137 w 312728"/>
                <a:gd name="connsiteY16" fmla="*/ 136724 h 326634"/>
                <a:gd name="connsiteX17" fmla="*/ 246102 w 312728"/>
                <a:gd name="connsiteY17" fmla="*/ 136587 h 326634"/>
                <a:gd name="connsiteX18" fmla="*/ 136723 w 312728"/>
                <a:gd name="connsiteY18" fmla="*/ 245966 h 326634"/>
                <a:gd name="connsiteX19" fmla="*/ 27345 w 312728"/>
                <a:gd name="connsiteY19" fmla="*/ 136587 h 326634"/>
                <a:gd name="connsiteX20" fmla="*/ 136723 w 312728"/>
                <a:gd name="connsiteY20" fmla="*/ 27208 h 326634"/>
                <a:gd name="connsiteX21" fmla="*/ 246102 w 312728"/>
                <a:gd name="connsiteY21" fmla="*/ 136587 h 32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2728" h="326634">
                  <a:moveTo>
                    <a:pt x="0" y="136587"/>
                  </a:moveTo>
                  <a:cubicBezTo>
                    <a:pt x="0" y="211921"/>
                    <a:pt x="61389" y="273310"/>
                    <a:pt x="136723" y="273310"/>
                  </a:cubicBezTo>
                  <a:cubicBezTo>
                    <a:pt x="165982" y="273310"/>
                    <a:pt x="193053" y="264013"/>
                    <a:pt x="215339" y="248290"/>
                  </a:cubicBezTo>
                  <a:lnTo>
                    <a:pt x="239813" y="272763"/>
                  </a:lnTo>
                  <a:cubicBezTo>
                    <a:pt x="222586" y="286026"/>
                    <a:pt x="203581" y="296280"/>
                    <a:pt x="187858" y="299561"/>
                  </a:cubicBezTo>
                  <a:cubicBezTo>
                    <a:pt x="181979" y="300792"/>
                    <a:pt x="177740" y="305850"/>
                    <a:pt x="177740" y="311866"/>
                  </a:cubicBezTo>
                  <a:lnTo>
                    <a:pt x="177740" y="314054"/>
                  </a:lnTo>
                  <a:cubicBezTo>
                    <a:pt x="177740" y="322121"/>
                    <a:pt x="185260" y="328000"/>
                    <a:pt x="193190" y="326359"/>
                  </a:cubicBezTo>
                  <a:cubicBezTo>
                    <a:pt x="239403" y="316515"/>
                    <a:pt x="299835" y="266748"/>
                    <a:pt x="312276" y="221082"/>
                  </a:cubicBezTo>
                  <a:cubicBezTo>
                    <a:pt x="314464" y="213015"/>
                    <a:pt x="308448" y="205085"/>
                    <a:pt x="300108" y="205085"/>
                  </a:cubicBezTo>
                  <a:lnTo>
                    <a:pt x="298057" y="205085"/>
                  </a:lnTo>
                  <a:cubicBezTo>
                    <a:pt x="292178" y="205085"/>
                    <a:pt x="287393" y="209324"/>
                    <a:pt x="285752" y="215066"/>
                  </a:cubicBezTo>
                  <a:cubicBezTo>
                    <a:pt x="282334" y="227781"/>
                    <a:pt x="272763" y="241727"/>
                    <a:pt x="260321" y="254579"/>
                  </a:cubicBezTo>
                  <a:lnTo>
                    <a:pt x="236121" y="230379"/>
                  </a:lnTo>
                  <a:cubicBezTo>
                    <a:pt x="259228" y="205906"/>
                    <a:pt x="273584" y="172955"/>
                    <a:pt x="273584" y="136724"/>
                  </a:cubicBezTo>
                  <a:cubicBezTo>
                    <a:pt x="273584" y="61389"/>
                    <a:pt x="212195" y="0"/>
                    <a:pt x="136860" y="0"/>
                  </a:cubicBezTo>
                  <a:cubicBezTo>
                    <a:pt x="61526" y="0"/>
                    <a:pt x="137" y="61389"/>
                    <a:pt x="137" y="136724"/>
                  </a:cubicBezTo>
                  <a:close/>
                  <a:moveTo>
                    <a:pt x="246102" y="136587"/>
                  </a:moveTo>
                  <a:cubicBezTo>
                    <a:pt x="246102" y="196882"/>
                    <a:pt x="197018" y="245966"/>
                    <a:pt x="136723" y="245966"/>
                  </a:cubicBezTo>
                  <a:cubicBezTo>
                    <a:pt x="76428" y="245966"/>
                    <a:pt x="27345" y="196882"/>
                    <a:pt x="27345" y="136587"/>
                  </a:cubicBezTo>
                  <a:cubicBezTo>
                    <a:pt x="27345" y="76292"/>
                    <a:pt x="76428" y="27208"/>
                    <a:pt x="136723" y="27208"/>
                  </a:cubicBezTo>
                  <a:cubicBezTo>
                    <a:pt x="197018" y="27208"/>
                    <a:pt x="246102" y="76292"/>
                    <a:pt x="246102" y="136587"/>
                  </a:cubicBezTo>
                  <a:close/>
                </a:path>
              </a:pathLst>
            </a:custGeom>
            <a:grpFill/>
            <a:ln w="13543" cap="flat">
              <a:noFill/>
              <a:prstDash val="solid"/>
              <a:miter/>
            </a:ln>
          </p:spPr>
          <p:txBody>
            <a:bodyPr rtlCol="0" anchor="ctr"/>
            <a:lstStyle/>
            <a:p>
              <a:endParaRPr lang="pt-BR"/>
            </a:p>
          </p:txBody>
        </p:sp>
        <p:sp>
          <p:nvSpPr>
            <p:cNvPr id="71" name="Forma Livre: Forma 70">
              <a:extLst>
                <a:ext uri="{FF2B5EF4-FFF2-40B4-BE49-F238E27FC236}">
                  <a16:creationId xmlns:a16="http://schemas.microsoft.com/office/drawing/2014/main" id="{787BF1C2-2600-F0F0-079F-761F1482CC38}"/>
                </a:ext>
              </a:extLst>
            </p:cNvPr>
            <p:cNvSpPr/>
            <p:nvPr/>
          </p:nvSpPr>
          <p:spPr>
            <a:xfrm>
              <a:off x="8283332" y="-612989"/>
              <a:ext cx="149646" cy="149646"/>
            </a:xfrm>
            <a:custGeom>
              <a:avLst/>
              <a:gdLst>
                <a:gd name="connsiteX0" fmla="*/ 137614 w 149646"/>
                <a:gd name="connsiteY0" fmla="*/ 27279 h 149646"/>
                <a:gd name="connsiteX1" fmla="*/ 149646 w 149646"/>
                <a:gd name="connsiteY1" fmla="*/ 13743 h 149646"/>
                <a:gd name="connsiteX2" fmla="*/ 134607 w 149646"/>
                <a:gd name="connsiteY2" fmla="*/ 71 h 149646"/>
                <a:gd name="connsiteX3" fmla="*/ 71 w 149646"/>
                <a:gd name="connsiteY3" fmla="*/ 134607 h 149646"/>
                <a:gd name="connsiteX4" fmla="*/ 13743 w 149646"/>
                <a:gd name="connsiteY4" fmla="*/ 149646 h 149646"/>
                <a:gd name="connsiteX5" fmla="*/ 27279 w 149646"/>
                <a:gd name="connsiteY5" fmla="*/ 137751 h 149646"/>
                <a:gd name="connsiteX6" fmla="*/ 67749 w 149646"/>
                <a:gd name="connsiteY6" fmla="*/ 58041 h 149646"/>
                <a:gd name="connsiteX7" fmla="*/ 137888 w 149646"/>
                <a:gd name="connsiteY7" fmla="*/ 27142 h 149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646" h="149646">
                  <a:moveTo>
                    <a:pt x="137614" y="27279"/>
                  </a:moveTo>
                  <a:cubicBezTo>
                    <a:pt x="144451" y="26595"/>
                    <a:pt x="149646" y="20716"/>
                    <a:pt x="149646" y="13743"/>
                  </a:cubicBezTo>
                  <a:cubicBezTo>
                    <a:pt x="149646" y="5676"/>
                    <a:pt x="142673" y="-750"/>
                    <a:pt x="134607" y="71"/>
                  </a:cubicBezTo>
                  <a:cubicBezTo>
                    <a:pt x="63647" y="7180"/>
                    <a:pt x="7180" y="63784"/>
                    <a:pt x="71" y="134607"/>
                  </a:cubicBezTo>
                  <a:cubicBezTo>
                    <a:pt x="-750" y="142673"/>
                    <a:pt x="5676" y="149646"/>
                    <a:pt x="13743" y="149646"/>
                  </a:cubicBezTo>
                  <a:cubicBezTo>
                    <a:pt x="20579" y="149646"/>
                    <a:pt x="26595" y="144587"/>
                    <a:pt x="27279" y="137751"/>
                  </a:cubicBezTo>
                  <a:cubicBezTo>
                    <a:pt x="30287" y="106168"/>
                    <a:pt x="45326" y="78003"/>
                    <a:pt x="67749" y="58041"/>
                  </a:cubicBezTo>
                  <a:cubicBezTo>
                    <a:pt x="86753" y="41088"/>
                    <a:pt x="111090" y="29740"/>
                    <a:pt x="137888" y="27142"/>
                  </a:cubicBezTo>
                  <a:close/>
                </a:path>
              </a:pathLst>
            </a:custGeom>
            <a:grpFill/>
            <a:ln w="13543" cap="flat">
              <a:noFill/>
              <a:prstDash val="solid"/>
              <a:miter/>
            </a:ln>
          </p:spPr>
          <p:txBody>
            <a:bodyPr rtlCol="0" anchor="ctr"/>
            <a:lstStyle/>
            <a:p>
              <a:endParaRPr lang="pt-BR"/>
            </a:p>
          </p:txBody>
        </p:sp>
      </p:grpSp>
      <p:sp>
        <p:nvSpPr>
          <p:cNvPr id="11" name="CaixaDeTexto 10">
            <a:extLst>
              <a:ext uri="{FF2B5EF4-FFF2-40B4-BE49-F238E27FC236}">
                <a16:creationId xmlns:a16="http://schemas.microsoft.com/office/drawing/2014/main" id="{86B6279F-3EE3-72F1-05C3-92B2A3B99EC7}"/>
              </a:ext>
            </a:extLst>
          </p:cNvPr>
          <p:cNvSpPr txBox="1"/>
          <p:nvPr/>
        </p:nvSpPr>
        <p:spPr>
          <a:xfrm>
            <a:off x="951808" y="2406618"/>
            <a:ext cx="2361920" cy="2308324"/>
          </a:xfrm>
          <a:prstGeom prst="rect">
            <a:avLst/>
          </a:prstGeom>
          <a:noFill/>
        </p:spPr>
        <p:txBody>
          <a:bodyPr wrap="square">
            <a:spAutoFit/>
          </a:bodyPr>
          <a:lstStyle/>
          <a:p>
            <a:pPr marL="0" marR="0" lvl="0" indent="0" defTabSz="914400" rtl="0" eaLnBrk="1" fontAlgn="base" latinLnBrk="0" hangingPunct="1">
              <a:lnSpc>
                <a:spcPct val="100000"/>
              </a:lnSpc>
              <a:spcBef>
                <a:spcPts val="300"/>
              </a:spcBef>
              <a:spcAft>
                <a:spcPts val="300"/>
              </a:spcAft>
              <a:buClrTx/>
              <a:buSzTx/>
              <a:buFont typeface="Wingdings" pitchFamily="2" charset="2"/>
              <a:buNone/>
              <a:tabLst/>
              <a:defRPr/>
            </a:pP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O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sistema</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complemento</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é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composto</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por</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mais</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de 40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proteínas</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no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soro</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e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na</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superfície</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celular</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b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b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que </a:t>
            </a:r>
            <a:r>
              <a:rPr kumimoji="0" lang="en-US"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desempenham</a:t>
            </a:r>
            <a:r>
              <a:rPr kumimoji="0" lang="en-US"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um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papel</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na</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imunidade</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inata</a:t>
            </a:r>
            <a:r>
              <a:rPr kumimoji="0" lang="en-US" b="1"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rPr>
              <a:t> e </a:t>
            </a:r>
            <a:r>
              <a:rPr kumimoji="0" lang="en-US" b="1" i="0" u="none" strike="noStrike" kern="1200" cap="none" spc="0" normalizeH="0" baseline="0" noProof="0" dirty="0" err="1">
                <a:ln>
                  <a:noFill/>
                </a:ln>
                <a:solidFill>
                  <a:schemeClr val="tx2"/>
                </a:solidFill>
                <a:effectLst/>
                <a:uLnTx/>
                <a:uFillTx/>
                <a:latin typeface="+mn-lt"/>
                <a:ea typeface="ヒラギノ角ゴ Pro W3" panose="020B0300000000000000" pitchFamily="34" charset="-128"/>
                <a:cs typeface="Arial"/>
              </a:rPr>
              <a:t>adaptativa</a:t>
            </a:r>
            <a:r>
              <a:rPr kumimoji="0" lang="de-DE" i="0" u="none" strike="noStrike" kern="1200" cap="none" spc="0" normalizeH="0" baseline="30000" noProof="0" dirty="0">
                <a:ln>
                  <a:noFill/>
                </a:ln>
                <a:solidFill>
                  <a:schemeClr val="tx2"/>
                </a:solidFill>
                <a:effectLst/>
                <a:uLnTx/>
                <a:uFillTx/>
                <a:latin typeface="+mn-lt"/>
                <a:ea typeface="ヒラギノ角ゴ Pro W3" panose="020B0300000000000000" pitchFamily="34" charset="-128"/>
                <a:cs typeface="Arial"/>
              </a:rPr>
              <a:t>2</a:t>
            </a:r>
            <a:endParaRPr kumimoji="0" lang="de-DE" i="0" u="none" strike="noStrike" kern="1200" cap="none" spc="0" normalizeH="0" baseline="0" noProof="0" dirty="0">
              <a:ln>
                <a:noFill/>
              </a:ln>
              <a:solidFill>
                <a:schemeClr val="tx2"/>
              </a:solidFill>
              <a:effectLst/>
              <a:uLnTx/>
              <a:uFillTx/>
              <a:latin typeface="+mn-lt"/>
              <a:ea typeface="ヒラギノ角ゴ Pro W3" panose="020B0300000000000000" pitchFamily="34" charset="-128"/>
              <a:cs typeface="Arial"/>
            </a:endParaRPr>
          </a:p>
        </p:txBody>
      </p:sp>
      <p:sp>
        <p:nvSpPr>
          <p:cNvPr id="13" name="Retângulo: Cantos Arredondados 12">
            <a:extLst>
              <a:ext uri="{FF2B5EF4-FFF2-40B4-BE49-F238E27FC236}">
                <a16:creationId xmlns:a16="http://schemas.microsoft.com/office/drawing/2014/main" id="{DE6E0D46-DBC9-EBC9-F13C-FBB3F369429E}"/>
              </a:ext>
            </a:extLst>
          </p:cNvPr>
          <p:cNvSpPr/>
          <p:nvPr/>
        </p:nvSpPr>
        <p:spPr>
          <a:xfrm>
            <a:off x="8253720" y="1350312"/>
            <a:ext cx="3500281" cy="527855"/>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15" name="Rechteck 47">
            <a:extLst>
              <a:ext uri="{FF2B5EF4-FFF2-40B4-BE49-F238E27FC236}">
                <a16:creationId xmlns:a16="http://schemas.microsoft.com/office/drawing/2014/main" id="{9B7672C9-6D07-86C0-25A7-FDFD5A458BC0}"/>
              </a:ext>
            </a:extLst>
          </p:cNvPr>
          <p:cNvSpPr/>
          <p:nvPr/>
        </p:nvSpPr>
        <p:spPr>
          <a:xfrm>
            <a:off x="8253719" y="1302754"/>
            <a:ext cx="3500282" cy="575413"/>
          </a:xfrm>
          <a:prstGeom prst="roundRect">
            <a:avLst/>
          </a:prstGeom>
          <a:noFill/>
          <a:ln w="22225">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istema imune adaptativo</a:t>
            </a:r>
            <a:r>
              <a:rPr kumimoji="0" lang="de-DE" sz="1800" b="1" i="0" u="none" strike="noStrike" kern="1200" cap="none" spc="0" normalizeH="0" baseline="30000" noProof="0" dirty="0">
                <a:ln>
                  <a:noFill/>
                </a:ln>
                <a:solidFill>
                  <a:prstClr val="white"/>
                </a:solidFill>
                <a:effectLst/>
                <a:uLnTx/>
                <a:uFillTx/>
                <a:latin typeface="+mj-lt"/>
                <a:ea typeface="+mn-ea"/>
                <a:cs typeface="Arial" panose="020B0604020202020204" pitchFamily="34" charset="0"/>
              </a:rPr>
              <a:t>1</a:t>
            </a:r>
            <a:r>
              <a:rPr kumimoji="0" lang="de-DE" sz="1800" b="1"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t>
            </a:r>
          </a:p>
        </p:txBody>
      </p:sp>
      <p:sp>
        <p:nvSpPr>
          <p:cNvPr id="16" name="Textfeld 28">
            <a:extLst>
              <a:ext uri="{FF2B5EF4-FFF2-40B4-BE49-F238E27FC236}">
                <a16:creationId xmlns:a16="http://schemas.microsoft.com/office/drawing/2014/main" id="{2DB57174-4E14-432B-1B8E-7F609805550A}"/>
              </a:ext>
            </a:extLst>
          </p:cNvPr>
          <p:cNvSpPr txBox="1"/>
          <p:nvPr/>
        </p:nvSpPr>
        <p:spPr>
          <a:xfrm>
            <a:off x="4052671" y="1405795"/>
            <a:ext cx="2900998" cy="369330"/>
          </a:xfrm>
          <a:prstGeom prst="rect">
            <a:avLst/>
          </a:prstGeom>
          <a:noFill/>
          <a:ln>
            <a:noFill/>
          </a:ln>
        </p:spPr>
        <p:txBody>
          <a:bodyPr wrap="square" lIns="91439" tIns="45719" rIns="91439" bIns="45719" rtlCol="0">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mj-lt"/>
                <a:ea typeface="ヒラギノ角ゴ Pro W3" panose="020B0300000000000000" pitchFamily="34" charset="-128"/>
                <a:cs typeface="Arial" panose="020B0604020202020204" pitchFamily="34" charset="0"/>
              </a:rPr>
              <a:t>Sistema imune inato</a:t>
            </a:r>
            <a:r>
              <a:rPr kumimoji="0" lang="de-DE" sz="1800" b="1" i="0" u="none" strike="noStrike" kern="1200" cap="none" spc="0" normalizeH="0" baseline="30000" noProof="0" dirty="0">
                <a:ln>
                  <a:noFill/>
                </a:ln>
                <a:solidFill>
                  <a:prstClr val="white"/>
                </a:solidFill>
                <a:effectLst/>
                <a:uLnTx/>
                <a:uFillTx/>
                <a:latin typeface="+mj-lt"/>
                <a:ea typeface="ヒラギノ角ゴ Pro W3" panose="020B0300000000000000" pitchFamily="34" charset="-128"/>
                <a:cs typeface="Arial" panose="020B0604020202020204" pitchFamily="34" charset="0"/>
              </a:rPr>
              <a:t>1,2</a:t>
            </a:r>
          </a:p>
        </p:txBody>
      </p:sp>
      <p:sp>
        <p:nvSpPr>
          <p:cNvPr id="19" name="Line 21">
            <a:extLst>
              <a:ext uri="{FF2B5EF4-FFF2-40B4-BE49-F238E27FC236}">
                <a16:creationId xmlns:a16="http://schemas.microsoft.com/office/drawing/2014/main" id="{87F287D8-A711-9691-E162-41ECA004FF34}"/>
              </a:ext>
            </a:extLst>
          </p:cNvPr>
          <p:cNvSpPr>
            <a:spLocks noChangeShapeType="1"/>
          </p:cNvSpPr>
          <p:nvPr/>
        </p:nvSpPr>
        <p:spPr bwMode="auto">
          <a:xfrm>
            <a:off x="6858076" y="1612494"/>
            <a:ext cx="1349491" cy="0"/>
          </a:xfrm>
          <a:prstGeom prst="line">
            <a:avLst/>
          </a:prstGeom>
          <a:noFill/>
          <a:ln w="19050">
            <a:solidFill>
              <a:schemeClr val="tx1"/>
            </a:solidFill>
            <a:prstDash val="sysDot"/>
            <a:round/>
            <a:headEnd type="arrow" w="med" len="med"/>
            <a:tailEnd type="arrow" w="med" len="med"/>
          </a:ln>
          <a:extLst>
            <a:ext uri="{909E8E84-426E-40DD-AFC4-6F175D3DCCD1}">
              <a14:hiddenFill xmlns:a14="http://schemas.microsoft.com/office/drawing/2010/main">
                <a:noFill/>
              </a14:hiddenFill>
            </a:ext>
          </a:extLst>
        </p:spPr>
        <p:txBody>
          <a:bodyPr lIns="91439" tIns="45719" rIns="91439" bIns="45719"/>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ヒラギノ角ゴ Pro W3" panose="020B0300000000000000" pitchFamily="34" charset="-128"/>
              <a:cs typeface="+mn-cs"/>
            </a:endParaRPr>
          </a:p>
        </p:txBody>
      </p:sp>
      <p:sp>
        <p:nvSpPr>
          <p:cNvPr id="21" name="TextBox 40">
            <a:extLst>
              <a:ext uri="{FF2B5EF4-FFF2-40B4-BE49-F238E27FC236}">
                <a16:creationId xmlns:a16="http://schemas.microsoft.com/office/drawing/2014/main" id="{43ACD6FE-4214-A5F3-F62A-D845D7547C80}"/>
              </a:ext>
            </a:extLst>
          </p:cNvPr>
          <p:cNvSpPr txBox="1"/>
          <p:nvPr/>
        </p:nvSpPr>
        <p:spPr>
          <a:xfrm>
            <a:off x="7090864" y="1636625"/>
            <a:ext cx="871649" cy="30777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ea typeface="ヒラギノ角ゴ Pro W3" panose="020B0300000000000000" pitchFamily="34" charset="-128"/>
                <a:cs typeface="+mn-cs"/>
              </a:rPr>
              <a:t>Cross-</a:t>
            </a:r>
            <a:r>
              <a:rPr kumimoji="0" lang="en-US" sz="1400" b="1" i="0" u="none" strike="noStrike" kern="1200" cap="none" spc="0" normalizeH="0" baseline="0" noProof="0" dirty="0" err="1">
                <a:ln>
                  <a:noFill/>
                </a:ln>
                <a:solidFill>
                  <a:schemeClr val="tx2"/>
                </a:solidFill>
                <a:effectLst/>
                <a:uLnTx/>
                <a:uFillTx/>
                <a:ea typeface="ヒラギノ角ゴ Pro W3" panose="020B0300000000000000" pitchFamily="34" charset="-128"/>
                <a:cs typeface="+mn-cs"/>
              </a:rPr>
              <a:t>tak</a:t>
            </a:r>
            <a:endParaRPr kumimoji="0" lang="en-US" sz="1400" b="1" i="0" u="none" strike="noStrike" kern="1200" cap="none" spc="0" normalizeH="0" baseline="0" noProof="0" dirty="0">
              <a:ln>
                <a:noFill/>
              </a:ln>
              <a:solidFill>
                <a:schemeClr val="tx2"/>
              </a:solidFill>
              <a:effectLst/>
              <a:uLnTx/>
              <a:uFillTx/>
              <a:ea typeface="ヒラギノ角ゴ Pro W3" panose="020B0300000000000000" pitchFamily="34" charset="-128"/>
              <a:cs typeface="+mn-cs"/>
            </a:endParaRPr>
          </a:p>
        </p:txBody>
      </p:sp>
      <p:sp>
        <p:nvSpPr>
          <p:cNvPr id="23" name="Rechteck 52">
            <a:extLst>
              <a:ext uri="{FF2B5EF4-FFF2-40B4-BE49-F238E27FC236}">
                <a16:creationId xmlns:a16="http://schemas.microsoft.com/office/drawing/2014/main" id="{D4FA7D94-EC69-6DF3-0985-CA55901197FD}"/>
              </a:ext>
            </a:extLst>
          </p:cNvPr>
          <p:cNvSpPr/>
          <p:nvPr/>
        </p:nvSpPr>
        <p:spPr>
          <a:xfrm>
            <a:off x="3874497" y="2429077"/>
            <a:ext cx="2795606" cy="55334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pt-BR" altLang="en-US" i="0" u="none" strike="noStrike" kern="1200" cap="none" spc="0" normalizeH="0" baseline="0" noProof="0" dirty="0">
                <a:ln>
                  <a:noFill/>
                </a:ln>
                <a:solidFill>
                  <a:schemeClr val="bg1"/>
                </a:solidFill>
                <a:effectLst/>
                <a:uLnTx/>
                <a:uFillTx/>
                <a:ea typeface="+mn-ea"/>
                <a:cs typeface="+mn-cs"/>
              </a:rPr>
              <a:t>Principais funções do sistema complemento na </a:t>
            </a:r>
            <a:r>
              <a:rPr kumimoji="0" lang="pt-BR" altLang="en-US" b="1" i="0" u="none" strike="noStrike" kern="1200" cap="none" spc="0" normalizeH="0" baseline="0" noProof="0" dirty="0">
                <a:ln>
                  <a:noFill/>
                </a:ln>
                <a:solidFill>
                  <a:schemeClr val="bg1"/>
                </a:solidFill>
                <a:effectLst/>
                <a:uLnTx/>
                <a:uFillTx/>
                <a:ea typeface="+mn-ea"/>
                <a:cs typeface="+mn-cs"/>
              </a:rPr>
              <a:t>resposta imune INATA</a:t>
            </a:r>
            <a:endParaRPr kumimoji="0" lang="de-DE" b="1"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24" name="TextBox 36">
            <a:extLst>
              <a:ext uri="{FF2B5EF4-FFF2-40B4-BE49-F238E27FC236}">
                <a16:creationId xmlns:a16="http://schemas.microsoft.com/office/drawing/2014/main" id="{673429EA-3A41-E8E0-904E-6F154B82F081}"/>
              </a:ext>
            </a:extLst>
          </p:cNvPr>
          <p:cNvSpPr txBox="1"/>
          <p:nvPr/>
        </p:nvSpPr>
        <p:spPr>
          <a:xfrm>
            <a:off x="3761810" y="3500342"/>
            <a:ext cx="3337571" cy="196977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bg2"/>
                </a:solidFill>
                <a:effectLst/>
                <a:uLnTx/>
                <a:uFillTx/>
                <a:ea typeface="Trade Gothic LT Std" charset="0"/>
                <a:cs typeface="Trade Gothic LT Std" charset="0"/>
              </a:rPr>
              <a:t>Defesa</a:t>
            </a:r>
            <a:r>
              <a:rPr kumimoji="0" lang="en-US" sz="1600" b="1" i="0" u="none" strike="noStrike" kern="1200" cap="none" spc="0" normalizeH="0" baseline="0" noProof="0" dirty="0">
                <a:ln>
                  <a:noFill/>
                </a:ln>
                <a:solidFill>
                  <a:schemeClr val="bg2"/>
                </a:solidFill>
                <a:effectLst/>
                <a:uLnTx/>
                <a:uFillTx/>
                <a:ea typeface="Trade Gothic LT Std" charset="0"/>
                <a:cs typeface="Trade Gothic LT Std" charset="0"/>
              </a:rPr>
              <a:t> do </a:t>
            </a:r>
            <a:r>
              <a:rPr kumimoji="0" lang="en-US" sz="1600" b="1" i="0" u="none" strike="noStrike" kern="1200" cap="none" spc="0" normalizeH="0" baseline="0" noProof="0" dirty="0" err="1">
                <a:ln>
                  <a:noFill/>
                </a:ln>
                <a:solidFill>
                  <a:schemeClr val="bg2"/>
                </a:solidFill>
                <a:effectLst/>
                <a:uLnTx/>
                <a:uFillTx/>
                <a:ea typeface="Trade Gothic LT Std" charset="0"/>
                <a:cs typeface="Trade Gothic LT Std" charset="0"/>
              </a:rPr>
              <a:t>hospedeiro</a:t>
            </a:r>
            <a:r>
              <a:rPr kumimoji="0" lang="en-US" sz="1600" b="1" i="0" u="none" strike="noStrike" kern="1200" cap="none" spc="0" normalizeH="0" baseline="0" noProof="0" dirty="0">
                <a:ln>
                  <a:noFill/>
                </a:ln>
                <a:solidFill>
                  <a:schemeClr val="bg2"/>
                </a:solidFill>
                <a:effectLst/>
                <a:uLnTx/>
                <a:uFillTx/>
                <a:ea typeface="Trade Gothic LT Std" charset="0"/>
                <a:cs typeface="Trade Gothic LT Std" charset="0"/>
              </a:rPr>
              <a:t> contra </a:t>
            </a:r>
            <a:r>
              <a:rPr kumimoji="0" lang="en-US" sz="1600" b="1" i="0" u="none" strike="noStrike" kern="1200" cap="none" spc="0" normalizeH="0" baseline="0" noProof="0" dirty="0" err="1">
                <a:ln>
                  <a:noFill/>
                </a:ln>
                <a:solidFill>
                  <a:schemeClr val="bg2"/>
                </a:solidFill>
                <a:effectLst/>
                <a:uLnTx/>
                <a:uFillTx/>
                <a:ea typeface="Trade Gothic LT Std" charset="0"/>
                <a:cs typeface="Trade Gothic LT Std" charset="0"/>
              </a:rPr>
              <a:t>infecções</a:t>
            </a:r>
            <a:r>
              <a:rPr kumimoji="0" lang="en-US" sz="1600" b="1" i="0" u="none" strike="noStrike" kern="1200" cap="none" spc="0" normalizeH="0" baseline="0" noProof="0" dirty="0">
                <a:ln>
                  <a:noFill/>
                </a:ln>
                <a:solidFill>
                  <a:schemeClr val="bg2"/>
                </a:solidFill>
                <a:effectLst/>
                <a:uLnTx/>
                <a:uFillTx/>
                <a:ea typeface="Trade Gothic LT Std" charset="0"/>
                <a:cs typeface="Trade Gothic LT Std" charset="0"/>
              </a:rPr>
              <a:t>:</a:t>
            </a:r>
          </a:p>
          <a:p>
            <a:pPr marL="429679" marR="0" lvl="1"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Opsonização</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a:p>
            <a:pPr marL="429679" marR="0" lvl="1"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Inflamação</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a:p>
            <a:pPr marL="720725" marR="0" lvl="2" indent="-285750" algn="l" defTabSz="121917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dirty="0" err="1">
                <a:solidFill>
                  <a:srgbClr val="001E60"/>
                </a:solidFill>
                <a:ea typeface="ヒラギノ角ゴ Pro W3" panose="020B0300000000000000" pitchFamily="34" charset="-128"/>
                <a:cs typeface="Arial" panose="020B0604020202020204" pitchFamily="34" charset="0"/>
              </a:rPr>
              <a:t>Quimiotaxia</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a:p>
            <a:pPr marL="720725" marR="0" lvl="2" indent="-285750" algn="l" defTabSz="121917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Ativação</a:t>
            </a:r>
            <a:r>
              <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 de </a:t>
            </a: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leucócitos</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a:p>
            <a:pPr marL="429679" marR="0" lvl="1"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Lise cellular e </a:t>
            </a: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bacteriana</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p:txBody>
      </p:sp>
      <p:sp>
        <p:nvSpPr>
          <p:cNvPr id="25" name="Rechteck 52">
            <a:extLst>
              <a:ext uri="{FF2B5EF4-FFF2-40B4-BE49-F238E27FC236}">
                <a16:creationId xmlns:a16="http://schemas.microsoft.com/office/drawing/2014/main" id="{484495E3-DF2A-6C15-ED78-85A6E4A70508}"/>
              </a:ext>
            </a:extLst>
          </p:cNvPr>
          <p:cNvSpPr/>
          <p:nvPr/>
        </p:nvSpPr>
        <p:spPr>
          <a:xfrm>
            <a:off x="8422461" y="2429077"/>
            <a:ext cx="2986473" cy="55334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altLang="en-US" i="0" u="none" strike="noStrike" kern="1200" cap="none" spc="0" normalizeH="0" baseline="0" noProof="0" dirty="0">
                <a:ln>
                  <a:noFill/>
                </a:ln>
                <a:solidFill>
                  <a:schemeClr val="bg1"/>
                </a:solidFill>
                <a:effectLst/>
                <a:uLnTx/>
                <a:uFillTx/>
                <a:ea typeface="+mn-ea"/>
                <a:cs typeface="+mn-cs"/>
              </a:rPr>
              <a:t>Principais funções do </a:t>
            </a:r>
            <a:br>
              <a:rPr kumimoji="0" lang="pt-BR" altLang="en-US" i="0" u="none" strike="noStrike" kern="1200" cap="none" spc="0" normalizeH="0" baseline="0" noProof="0" dirty="0">
                <a:ln>
                  <a:noFill/>
                </a:ln>
                <a:solidFill>
                  <a:schemeClr val="bg1"/>
                </a:solidFill>
                <a:effectLst/>
                <a:uLnTx/>
                <a:uFillTx/>
                <a:ea typeface="+mn-ea"/>
                <a:cs typeface="+mn-cs"/>
              </a:rPr>
            </a:br>
            <a:r>
              <a:rPr kumimoji="0" lang="pt-BR" altLang="en-US" i="0" u="none" strike="noStrike" kern="1200" cap="none" spc="0" normalizeH="0" baseline="0" noProof="0" dirty="0">
                <a:ln>
                  <a:noFill/>
                </a:ln>
                <a:solidFill>
                  <a:schemeClr val="bg1"/>
                </a:solidFill>
                <a:effectLst/>
                <a:uLnTx/>
                <a:uFillTx/>
                <a:ea typeface="+mn-ea"/>
                <a:cs typeface="+mn-cs"/>
              </a:rPr>
              <a:t>sistema complemento na </a:t>
            </a:r>
            <a:r>
              <a:rPr kumimoji="0" lang="pt-BR" altLang="en-US" b="1" i="0" u="none" strike="noStrike" kern="1200" cap="none" spc="0" normalizeH="0" baseline="0" noProof="0" dirty="0">
                <a:ln>
                  <a:noFill/>
                </a:ln>
                <a:solidFill>
                  <a:schemeClr val="bg1"/>
                </a:solidFill>
                <a:effectLst/>
                <a:uLnTx/>
                <a:uFillTx/>
                <a:ea typeface="+mn-ea"/>
                <a:cs typeface="+mn-cs"/>
              </a:rPr>
              <a:t>resposta imune ADAPTATIVA</a:t>
            </a:r>
            <a:endParaRPr kumimoji="0" lang="de-DE" b="1" i="0" u="none" strike="noStrike" kern="1200" cap="none" spc="0" normalizeH="0" baseline="0" noProof="0" dirty="0">
              <a:ln>
                <a:noFill/>
              </a:ln>
              <a:solidFill>
                <a:schemeClr val="bg1"/>
              </a:solidFill>
              <a:effectLst/>
              <a:uLnTx/>
              <a:uFillTx/>
              <a:ea typeface="+mn-ea"/>
              <a:cs typeface="Arial" panose="020B0604020202020204" pitchFamily="34" charset="0"/>
            </a:endParaRPr>
          </a:p>
          <a:p>
            <a:pPr marL="128582" marR="0" lvl="0" indent="-128582" algn="ctr" defTabSz="914354" rtl="0" eaLnBrk="1" fontAlgn="base" latinLnBrk="0" hangingPunct="1">
              <a:lnSpc>
                <a:spcPct val="100000"/>
              </a:lnSpc>
              <a:spcBef>
                <a:spcPct val="0"/>
              </a:spcBef>
              <a:spcAft>
                <a:spcPct val="0"/>
              </a:spcAft>
              <a:buClr>
                <a:srgbClr val="8C9CA6"/>
              </a:buClr>
              <a:buSzTx/>
              <a:buFont typeface="Arial" panose="020B0604020202020204" pitchFamily="34" charset="0"/>
              <a:buChar char="•"/>
              <a:tabLst>
                <a:tab pos="0" algn="l"/>
                <a:tab pos="240453" algn="l"/>
                <a:tab pos="481097" algn="l"/>
                <a:tab pos="721743" algn="l"/>
                <a:tab pos="962387" algn="l"/>
                <a:tab pos="1203033" algn="l"/>
                <a:tab pos="1443677" algn="l"/>
                <a:tab pos="1684321" algn="l"/>
                <a:tab pos="1924967" algn="l"/>
                <a:tab pos="2165611" algn="l"/>
                <a:tab pos="2406256" algn="l"/>
                <a:tab pos="2646900" algn="l"/>
                <a:tab pos="2887545" algn="l"/>
                <a:tab pos="3128190" algn="l"/>
                <a:tab pos="3368834" algn="l"/>
                <a:tab pos="3609480" algn="l"/>
                <a:tab pos="3850124" algn="l"/>
                <a:tab pos="4090768" algn="l"/>
                <a:tab pos="4331414" algn="l"/>
                <a:tab pos="4572058" algn="l"/>
                <a:tab pos="4812704" algn="l"/>
              </a:tabLst>
              <a:defRPr/>
            </a:pPr>
            <a:endParaRPr kumimoji="0" lang="de-DE"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26" name="TextBox 38">
            <a:extLst>
              <a:ext uri="{FF2B5EF4-FFF2-40B4-BE49-F238E27FC236}">
                <a16:creationId xmlns:a16="http://schemas.microsoft.com/office/drawing/2014/main" id="{CAF15F5B-47E5-D23F-F304-4A0346450B13}"/>
              </a:ext>
            </a:extLst>
          </p:cNvPr>
          <p:cNvSpPr txBox="1"/>
          <p:nvPr/>
        </p:nvSpPr>
        <p:spPr>
          <a:xfrm>
            <a:off x="8356717" y="3555052"/>
            <a:ext cx="3067586" cy="1815882"/>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Trade Gothic LT Std" charset="0"/>
                <a:cs typeface="Trade Gothic LT Std" charset="0"/>
              </a:rPr>
              <a:t>Interface entre a </a:t>
            </a:r>
            <a:r>
              <a:rPr kumimoji="0" lang="en-US" sz="1600" b="1" i="0" u="none" strike="noStrike" kern="1200" cap="none" spc="0" normalizeH="0" baseline="0" noProof="0" dirty="0" err="1">
                <a:ln>
                  <a:noFill/>
                </a:ln>
                <a:solidFill>
                  <a:schemeClr val="tx2"/>
                </a:solidFill>
                <a:effectLst/>
                <a:uLnTx/>
                <a:uFillTx/>
                <a:ea typeface="Trade Gothic LT Std" charset="0"/>
                <a:cs typeface="Trade Gothic LT Std" charset="0"/>
              </a:rPr>
              <a:t>imunidade</a:t>
            </a:r>
            <a:r>
              <a:rPr kumimoji="0" lang="en-US" sz="1600" b="1" i="0" u="none" strike="noStrike" kern="1200" cap="none" spc="0" normalizeH="0" baseline="0" noProof="0" dirty="0">
                <a:ln>
                  <a:noFill/>
                </a:ln>
                <a:solidFill>
                  <a:schemeClr val="tx2"/>
                </a:solidFill>
                <a:effectLst/>
                <a:uLnTx/>
                <a:uFillTx/>
                <a:ea typeface="Trade Gothic LT Std" charset="0"/>
                <a:cs typeface="Trade Gothic LT Std" charset="0"/>
              </a:rPr>
              <a:t> </a:t>
            </a:r>
            <a:r>
              <a:rPr kumimoji="0" lang="en-US" sz="1600" b="1" i="0" u="none" strike="noStrike" kern="1200" cap="none" spc="0" normalizeH="0" baseline="0" noProof="0" dirty="0" err="1">
                <a:ln>
                  <a:noFill/>
                </a:ln>
                <a:solidFill>
                  <a:schemeClr val="tx2"/>
                </a:solidFill>
                <a:effectLst/>
                <a:uLnTx/>
                <a:uFillTx/>
                <a:ea typeface="Trade Gothic LT Std" charset="0"/>
                <a:cs typeface="Trade Gothic LT Std" charset="0"/>
              </a:rPr>
              <a:t>inata</a:t>
            </a:r>
            <a:r>
              <a:rPr kumimoji="0" lang="en-US" sz="1600" b="1" i="0" u="none" strike="noStrike" kern="1200" cap="none" spc="0" normalizeH="0" baseline="0" noProof="0" dirty="0">
                <a:ln>
                  <a:noFill/>
                </a:ln>
                <a:solidFill>
                  <a:schemeClr val="tx2"/>
                </a:solidFill>
                <a:effectLst/>
                <a:uLnTx/>
                <a:uFillTx/>
                <a:ea typeface="Trade Gothic LT Std" charset="0"/>
                <a:cs typeface="Trade Gothic LT Std" charset="0"/>
              </a:rPr>
              <a:t> e </a:t>
            </a:r>
            <a:r>
              <a:rPr kumimoji="0" lang="en-US" sz="1600" b="1" i="0" u="none" strike="noStrike" kern="1200" cap="none" spc="0" normalizeH="0" baseline="0" noProof="0" dirty="0" err="1">
                <a:ln>
                  <a:noFill/>
                </a:ln>
                <a:solidFill>
                  <a:schemeClr val="tx2"/>
                </a:solidFill>
                <a:effectLst/>
                <a:uLnTx/>
                <a:uFillTx/>
                <a:ea typeface="Trade Gothic LT Std" charset="0"/>
                <a:cs typeface="Trade Gothic LT Std" charset="0"/>
              </a:rPr>
              <a:t>adaptativa</a:t>
            </a:r>
            <a:r>
              <a:rPr kumimoji="0" lang="en-US" sz="1600" b="1" i="0" u="none" strike="noStrike" kern="1200" cap="none" spc="0" normalizeH="0" baseline="0" noProof="0" dirty="0">
                <a:ln>
                  <a:noFill/>
                </a:ln>
                <a:solidFill>
                  <a:schemeClr val="tx2"/>
                </a:solidFill>
                <a:effectLst/>
                <a:uLnTx/>
                <a:uFillTx/>
                <a:ea typeface="Trade Gothic LT Std" charset="0"/>
                <a:cs typeface="Trade Gothic LT Std" charset="0"/>
              </a:rPr>
              <a:t>:</a:t>
            </a:r>
          </a:p>
          <a:p>
            <a:pPr marL="376757" marR="0" lvl="1" indent="-232828"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Aumento</a:t>
            </a:r>
            <a:r>
              <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 da </a:t>
            </a: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resposta</a:t>
            </a:r>
            <a:r>
              <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 humoral (</a:t>
            </a:r>
            <a:r>
              <a:rPr kumimoji="0" lang="en-US" sz="1400" b="0" i="0" u="none" strike="noStrike" kern="1200" cap="none" spc="0" normalizeH="0" baseline="0" noProof="0" dirty="0" err="1">
                <a:ln>
                  <a:noFill/>
                </a:ln>
                <a:solidFill>
                  <a:srgbClr val="001E60"/>
                </a:solidFill>
                <a:effectLst/>
                <a:uLnTx/>
                <a:uFillTx/>
                <a:ea typeface="ヒラギノ角ゴ Pro W3" panose="020B0300000000000000" pitchFamily="34" charset="-128"/>
                <a:cs typeface="Arial" panose="020B0604020202020204" pitchFamily="34" charset="0"/>
              </a:rPr>
              <a:t>anticorpos</a:t>
            </a:r>
            <a:r>
              <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a:t>
            </a:r>
          </a:p>
          <a:p>
            <a:pPr marL="376757" marR="0" lvl="1" indent="-232828"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pt-BR"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rPr>
              <a:t>Intensificação das respostas das células T e B e da memória imunológica</a:t>
            </a:r>
            <a:endParaRPr kumimoji="0" lang="en-US" sz="1400" b="0" i="0" u="none" strike="noStrike" kern="1200" cap="none" spc="0" normalizeH="0" baseline="0" noProof="0" dirty="0">
              <a:ln>
                <a:noFill/>
              </a:ln>
              <a:solidFill>
                <a:srgbClr val="001E60"/>
              </a:solidFill>
              <a:effectLst/>
              <a:uLnTx/>
              <a:uFillTx/>
              <a:ea typeface="ヒラギノ角ゴ Pro W3" panose="020B0300000000000000" pitchFamily="34" charset="-128"/>
              <a:cs typeface="Arial" panose="020B0604020202020204" pitchFamily="34" charset="0"/>
            </a:endParaRPr>
          </a:p>
        </p:txBody>
      </p:sp>
      <p:sp>
        <p:nvSpPr>
          <p:cNvPr id="29" name="CaixaDeTexto 28">
            <a:extLst>
              <a:ext uri="{FF2B5EF4-FFF2-40B4-BE49-F238E27FC236}">
                <a16:creationId xmlns:a16="http://schemas.microsoft.com/office/drawing/2014/main" id="{037C7898-4218-9B1F-77ED-B509A6F6A5DD}"/>
              </a:ext>
            </a:extLst>
          </p:cNvPr>
          <p:cNvSpPr txBox="1"/>
          <p:nvPr/>
        </p:nvSpPr>
        <p:spPr>
          <a:xfrm>
            <a:off x="3874497" y="5531275"/>
            <a:ext cx="7534437" cy="480131"/>
          </a:xfrm>
          <a:prstGeom prst="rect">
            <a:avLst/>
          </a:prstGeom>
          <a:noFill/>
          <a:ln>
            <a:solidFill>
              <a:schemeClr val="bg1">
                <a:lumMod val="65000"/>
              </a:schemeClr>
            </a:solidFill>
          </a:ln>
        </p:spPr>
        <p:txBody>
          <a:bodyPr wrap="square">
            <a:spAutoFit/>
          </a:bodyPr>
          <a:lstStyle/>
          <a:p>
            <a:pPr algn="ctr">
              <a:lnSpc>
                <a:spcPct val="90000"/>
              </a:lnSpc>
            </a:pPr>
            <a:r>
              <a:rPr lang="en-US" sz="1400" b="1" i="0" dirty="0" err="1">
                <a:ln>
                  <a:noFill/>
                </a:ln>
                <a:latin typeface="+mn-lt"/>
                <a:ea typeface="Trade Gothic LT Std" charset="0"/>
                <a:cs typeface="Trade Gothic LT Std" charset="0"/>
              </a:rPr>
              <a:t>Descarte</a:t>
            </a:r>
            <a:r>
              <a:rPr lang="en-US" sz="1400" b="1" i="0" dirty="0">
                <a:ln>
                  <a:noFill/>
                </a:ln>
                <a:latin typeface="+mn-lt"/>
                <a:ea typeface="Trade Gothic LT Std" charset="0"/>
                <a:cs typeface="Trade Gothic LT Std" charset="0"/>
              </a:rPr>
              <a:t> de </a:t>
            </a:r>
            <a:r>
              <a:rPr lang="en-US" sz="1400" b="1" i="0" dirty="0" err="1">
                <a:ln>
                  <a:noFill/>
                </a:ln>
                <a:latin typeface="+mn-lt"/>
                <a:ea typeface="Trade Gothic LT Std" charset="0"/>
                <a:cs typeface="Trade Gothic LT Std" charset="0"/>
              </a:rPr>
              <a:t>resíduos</a:t>
            </a:r>
            <a:r>
              <a:rPr lang="en-US" sz="1400" b="1" dirty="0">
                <a:ea typeface="Trade Gothic LT Std" charset="0"/>
                <a:cs typeface="Trade Gothic LT Std" charset="0"/>
              </a:rPr>
              <a:t>:</a:t>
            </a:r>
          </a:p>
          <a:p>
            <a:pPr algn="ctr">
              <a:lnSpc>
                <a:spcPct val="90000"/>
              </a:lnSpc>
            </a:pPr>
            <a:r>
              <a:rPr lang="en-US" sz="1400" b="0" i="0" dirty="0" err="1">
                <a:ln>
                  <a:noFill/>
                </a:ln>
                <a:solidFill>
                  <a:schemeClr val="bg1">
                    <a:lumMod val="10000"/>
                  </a:schemeClr>
                </a:solidFill>
                <a:latin typeface="+mn-lt"/>
                <a:ea typeface="Trade Gothic LT Std" charset="0"/>
                <a:cs typeface="Trade Gothic LT Std" charset="0"/>
              </a:rPr>
              <a:t>Depuração</a:t>
            </a:r>
            <a:r>
              <a:rPr lang="en-US" sz="1400" b="0" i="0" dirty="0">
                <a:ln>
                  <a:noFill/>
                </a:ln>
                <a:solidFill>
                  <a:schemeClr val="bg1">
                    <a:lumMod val="10000"/>
                  </a:schemeClr>
                </a:solidFill>
                <a:latin typeface="+mn-lt"/>
                <a:ea typeface="Trade Gothic LT Std" charset="0"/>
                <a:cs typeface="Trade Gothic LT Std" charset="0"/>
              </a:rPr>
              <a:t> de </a:t>
            </a:r>
            <a:r>
              <a:rPr lang="en-US" sz="1400" b="0" i="0" dirty="0" err="1">
                <a:ln>
                  <a:noFill/>
                </a:ln>
                <a:solidFill>
                  <a:schemeClr val="bg1">
                    <a:lumMod val="10000"/>
                  </a:schemeClr>
                </a:solidFill>
                <a:latin typeface="+mn-lt"/>
                <a:ea typeface="Trade Gothic LT Std" charset="0"/>
                <a:cs typeface="Trade Gothic LT Std" charset="0"/>
              </a:rPr>
              <a:t>complexos</a:t>
            </a:r>
            <a:r>
              <a:rPr lang="en-US" sz="1400" b="0" i="0" dirty="0">
                <a:ln>
                  <a:noFill/>
                </a:ln>
                <a:solidFill>
                  <a:schemeClr val="bg1">
                    <a:lumMod val="10000"/>
                  </a:schemeClr>
                </a:solidFill>
                <a:latin typeface="+mn-lt"/>
                <a:ea typeface="Trade Gothic LT Std" charset="0"/>
                <a:cs typeface="Trade Gothic LT Std" charset="0"/>
              </a:rPr>
              <a:t> </a:t>
            </a:r>
            <a:r>
              <a:rPr lang="en-US" sz="1400" b="0" i="0" dirty="0" err="1">
                <a:ln>
                  <a:noFill/>
                </a:ln>
                <a:solidFill>
                  <a:schemeClr val="bg1">
                    <a:lumMod val="10000"/>
                  </a:schemeClr>
                </a:solidFill>
                <a:latin typeface="+mn-lt"/>
                <a:ea typeface="Trade Gothic LT Std" charset="0"/>
                <a:cs typeface="Trade Gothic LT Std" charset="0"/>
              </a:rPr>
              <a:t>imunológicos</a:t>
            </a:r>
            <a:r>
              <a:rPr lang="en-US" sz="1400" b="0" i="0" dirty="0">
                <a:ln>
                  <a:noFill/>
                </a:ln>
                <a:solidFill>
                  <a:schemeClr val="bg1">
                    <a:lumMod val="10000"/>
                  </a:schemeClr>
                </a:solidFill>
                <a:latin typeface="+mn-lt"/>
                <a:ea typeface="Trade Gothic LT Std" charset="0"/>
                <a:cs typeface="Trade Gothic LT Std" charset="0"/>
              </a:rPr>
              <a:t> (</a:t>
            </a:r>
            <a:r>
              <a:rPr lang="en-US" sz="1400" b="0" i="0" dirty="0" err="1">
                <a:ln>
                  <a:noFill/>
                </a:ln>
                <a:solidFill>
                  <a:schemeClr val="bg1">
                    <a:lumMod val="10000"/>
                  </a:schemeClr>
                </a:solidFill>
                <a:latin typeface="+mn-lt"/>
                <a:ea typeface="Trade Gothic LT Std" charset="0"/>
                <a:cs typeface="Trade Gothic LT Std" charset="0"/>
              </a:rPr>
              <a:t>anticorpo</a:t>
            </a:r>
            <a:r>
              <a:rPr lang="en-US" sz="1400" b="0" i="0" dirty="0">
                <a:ln>
                  <a:noFill/>
                </a:ln>
                <a:solidFill>
                  <a:schemeClr val="bg1">
                    <a:lumMod val="10000"/>
                  </a:schemeClr>
                </a:solidFill>
                <a:latin typeface="+mn-lt"/>
                <a:ea typeface="Trade Gothic LT Std" charset="0"/>
                <a:cs typeface="Trade Gothic LT Std" charset="0"/>
              </a:rPr>
              <a:t> + </a:t>
            </a:r>
            <a:r>
              <a:rPr lang="en-US" sz="1400" b="0" i="0" dirty="0" err="1">
                <a:ln>
                  <a:noFill/>
                </a:ln>
                <a:solidFill>
                  <a:schemeClr val="bg1">
                    <a:lumMod val="10000"/>
                  </a:schemeClr>
                </a:solidFill>
                <a:latin typeface="+mn-lt"/>
                <a:ea typeface="Trade Gothic LT Std" charset="0"/>
                <a:cs typeface="Trade Gothic LT Std" charset="0"/>
              </a:rPr>
              <a:t>antígeno</a:t>
            </a:r>
            <a:r>
              <a:rPr lang="en-US" sz="1400" b="0" i="0" dirty="0">
                <a:ln>
                  <a:noFill/>
                </a:ln>
                <a:solidFill>
                  <a:schemeClr val="bg1">
                    <a:lumMod val="10000"/>
                  </a:schemeClr>
                </a:solidFill>
                <a:latin typeface="+mn-lt"/>
                <a:ea typeface="Trade Gothic LT Std" charset="0"/>
                <a:cs typeface="Trade Gothic LT Std" charset="0"/>
              </a:rPr>
              <a:t>) e de </a:t>
            </a:r>
            <a:r>
              <a:rPr lang="en-US" sz="1400" b="0" i="0" dirty="0" err="1">
                <a:ln>
                  <a:noFill/>
                </a:ln>
                <a:solidFill>
                  <a:schemeClr val="bg1">
                    <a:lumMod val="10000"/>
                  </a:schemeClr>
                </a:solidFill>
                <a:latin typeface="+mn-lt"/>
                <a:ea typeface="Trade Gothic LT Std" charset="0"/>
                <a:cs typeface="Trade Gothic LT Std" charset="0"/>
              </a:rPr>
              <a:t>células</a:t>
            </a:r>
            <a:r>
              <a:rPr lang="en-US" sz="1400" b="0" i="0" dirty="0">
                <a:ln>
                  <a:noFill/>
                </a:ln>
                <a:solidFill>
                  <a:schemeClr val="bg1">
                    <a:lumMod val="10000"/>
                  </a:schemeClr>
                </a:solidFill>
                <a:latin typeface="+mn-lt"/>
                <a:ea typeface="Trade Gothic LT Std" charset="0"/>
                <a:cs typeface="Trade Gothic LT Std" charset="0"/>
              </a:rPr>
              <a:t> </a:t>
            </a:r>
            <a:r>
              <a:rPr lang="en-US" sz="1400" b="0" i="0" dirty="0" err="1">
                <a:ln>
                  <a:noFill/>
                </a:ln>
                <a:solidFill>
                  <a:schemeClr val="bg1">
                    <a:lumMod val="10000"/>
                  </a:schemeClr>
                </a:solidFill>
                <a:latin typeface="+mn-lt"/>
                <a:ea typeface="Trade Gothic LT Std" charset="0"/>
                <a:cs typeface="Trade Gothic LT Std" charset="0"/>
              </a:rPr>
              <a:t>apoptóticas</a:t>
            </a:r>
            <a:r>
              <a:rPr lang="en-US" sz="1400" b="0" i="0" dirty="0">
                <a:ln>
                  <a:noFill/>
                </a:ln>
                <a:solidFill>
                  <a:schemeClr val="bg1">
                    <a:lumMod val="10000"/>
                  </a:schemeClr>
                </a:solidFill>
                <a:latin typeface="+mn-lt"/>
                <a:ea typeface="Trade Gothic LT Std" charset="0"/>
                <a:cs typeface="Trade Gothic LT Std" charset="0"/>
              </a:rPr>
              <a:t> (</a:t>
            </a:r>
            <a:r>
              <a:rPr lang="en-US" sz="1400" b="0" i="0" dirty="0" err="1">
                <a:ln>
                  <a:noFill/>
                </a:ln>
                <a:solidFill>
                  <a:schemeClr val="bg1">
                    <a:lumMod val="10000"/>
                  </a:schemeClr>
                </a:solidFill>
                <a:latin typeface="+mn-lt"/>
                <a:ea typeface="Trade Gothic LT Std" charset="0"/>
                <a:cs typeface="Trade Gothic LT Std" charset="0"/>
              </a:rPr>
              <a:t>mortas</a:t>
            </a:r>
            <a:r>
              <a:rPr lang="en-US" sz="1400" b="0" i="0" dirty="0">
                <a:ln>
                  <a:noFill/>
                </a:ln>
                <a:solidFill>
                  <a:schemeClr val="bg1">
                    <a:lumMod val="10000"/>
                  </a:schemeClr>
                </a:solidFill>
                <a:latin typeface="+mn-lt"/>
                <a:ea typeface="Trade Gothic LT Std" charset="0"/>
                <a:cs typeface="Trade Gothic LT Std" charset="0"/>
              </a:rPr>
              <a:t>)</a:t>
            </a:r>
            <a:endParaRPr lang="en-US" sz="1400" b="1" i="0" dirty="0">
              <a:ln>
                <a:noFill/>
              </a:ln>
              <a:latin typeface="+mn-lt"/>
              <a:ea typeface="Trade Gothic LT Std" charset="0"/>
              <a:cs typeface="Trade Gothic LT Std" charset="0"/>
            </a:endParaRPr>
          </a:p>
        </p:txBody>
      </p:sp>
      <p:sp>
        <p:nvSpPr>
          <p:cNvPr id="30" name="Elipse 29">
            <a:extLst>
              <a:ext uri="{FF2B5EF4-FFF2-40B4-BE49-F238E27FC236}">
                <a16:creationId xmlns:a16="http://schemas.microsoft.com/office/drawing/2014/main" id="{5A34537F-E2E6-E1A7-9FE7-5D00BC61FD8A}"/>
              </a:ext>
            </a:extLst>
          </p:cNvPr>
          <p:cNvSpPr/>
          <p:nvPr/>
        </p:nvSpPr>
        <p:spPr>
          <a:xfrm>
            <a:off x="6726895" y="2071590"/>
            <a:ext cx="1629822" cy="162982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37" name="Forma Livre: Forma 36">
            <a:extLst>
              <a:ext uri="{FF2B5EF4-FFF2-40B4-BE49-F238E27FC236}">
                <a16:creationId xmlns:a16="http://schemas.microsoft.com/office/drawing/2014/main" id="{277F2240-533C-BE4E-A9CE-02AB81EDA97F}"/>
              </a:ext>
            </a:extLst>
          </p:cNvPr>
          <p:cNvSpPr/>
          <p:nvPr/>
        </p:nvSpPr>
        <p:spPr>
          <a:xfrm>
            <a:off x="7055112" y="2397139"/>
            <a:ext cx="973387" cy="591660"/>
          </a:xfrm>
          <a:custGeom>
            <a:avLst/>
            <a:gdLst>
              <a:gd name="connsiteX0" fmla="*/ 788801 w 803715"/>
              <a:gd name="connsiteY0" fmla="*/ 417425 h 488527"/>
              <a:gd name="connsiteX1" fmla="*/ 657347 w 803715"/>
              <a:gd name="connsiteY1" fmla="*/ 417425 h 488527"/>
              <a:gd name="connsiteX2" fmla="*/ 657347 w 803715"/>
              <a:gd name="connsiteY2" fmla="*/ 374785 h 488527"/>
              <a:gd name="connsiteX3" fmla="*/ 763160 w 803715"/>
              <a:gd name="connsiteY3" fmla="*/ 374785 h 488527"/>
              <a:gd name="connsiteX4" fmla="*/ 803716 w 803715"/>
              <a:gd name="connsiteY4" fmla="*/ 334230 h 488527"/>
              <a:gd name="connsiteX5" fmla="*/ 763160 w 803715"/>
              <a:gd name="connsiteY5" fmla="*/ 293674 h 488527"/>
              <a:gd name="connsiteX6" fmla="*/ 736408 w 803715"/>
              <a:gd name="connsiteY6" fmla="*/ 293674 h 488527"/>
              <a:gd name="connsiteX7" fmla="*/ 736408 w 803715"/>
              <a:gd name="connsiteY7" fmla="*/ 223502 h 488527"/>
              <a:gd name="connsiteX8" fmla="*/ 786042 w 803715"/>
              <a:gd name="connsiteY8" fmla="*/ 239017 h 488527"/>
              <a:gd name="connsiteX9" fmla="*/ 788795 w 803715"/>
              <a:gd name="connsiteY9" fmla="*/ 239278 h 488527"/>
              <a:gd name="connsiteX10" fmla="*/ 803380 w 803715"/>
              <a:gd name="connsiteY10" fmla="*/ 227111 h 488527"/>
              <a:gd name="connsiteX11" fmla="*/ 791474 w 803715"/>
              <a:gd name="connsiteY11" fmla="*/ 209736 h 488527"/>
              <a:gd name="connsiteX12" fmla="*/ 629806 w 803715"/>
              <a:gd name="connsiteY12" fmla="*/ 14883 h 488527"/>
              <a:gd name="connsiteX13" fmla="*/ 614923 w 803715"/>
              <a:gd name="connsiteY13" fmla="*/ 0 h 488527"/>
              <a:gd name="connsiteX14" fmla="*/ 600040 w 803715"/>
              <a:gd name="connsiteY14" fmla="*/ 14883 h 488527"/>
              <a:gd name="connsiteX15" fmla="*/ 401806 w 803715"/>
              <a:gd name="connsiteY15" fmla="*/ 213089 h 488527"/>
              <a:gd name="connsiteX16" fmla="*/ 203600 w 803715"/>
              <a:gd name="connsiteY16" fmla="*/ 14883 h 488527"/>
              <a:gd name="connsiteX17" fmla="*/ 188717 w 803715"/>
              <a:gd name="connsiteY17" fmla="*/ 0 h 488527"/>
              <a:gd name="connsiteX18" fmla="*/ 173834 w 803715"/>
              <a:gd name="connsiteY18" fmla="*/ 14883 h 488527"/>
              <a:gd name="connsiteX19" fmla="*/ 12167 w 803715"/>
              <a:gd name="connsiteY19" fmla="*/ 209736 h 488527"/>
              <a:gd name="connsiteX20" fmla="*/ 260 w 803715"/>
              <a:gd name="connsiteY20" fmla="*/ 227074 h 488527"/>
              <a:gd name="connsiteX21" fmla="*/ 14883 w 803715"/>
              <a:gd name="connsiteY21" fmla="*/ 239240 h 488527"/>
              <a:gd name="connsiteX22" fmla="*/ 17599 w 803715"/>
              <a:gd name="connsiteY22" fmla="*/ 238980 h 488527"/>
              <a:gd name="connsiteX23" fmla="*/ 67270 w 803715"/>
              <a:gd name="connsiteY23" fmla="*/ 223465 h 488527"/>
              <a:gd name="connsiteX24" fmla="*/ 67270 w 803715"/>
              <a:gd name="connsiteY24" fmla="*/ 293637 h 488527"/>
              <a:gd name="connsiteX25" fmla="*/ 40556 w 803715"/>
              <a:gd name="connsiteY25" fmla="*/ 293637 h 488527"/>
              <a:gd name="connsiteX26" fmla="*/ 0 w 803715"/>
              <a:gd name="connsiteY26" fmla="*/ 334193 h 488527"/>
              <a:gd name="connsiteX27" fmla="*/ 40556 w 803715"/>
              <a:gd name="connsiteY27" fmla="*/ 374748 h 488527"/>
              <a:gd name="connsiteX28" fmla="*/ 146264 w 803715"/>
              <a:gd name="connsiteY28" fmla="*/ 374748 h 488527"/>
              <a:gd name="connsiteX29" fmla="*/ 146264 w 803715"/>
              <a:gd name="connsiteY29" fmla="*/ 417388 h 488527"/>
              <a:gd name="connsiteX30" fmla="*/ 14924 w 803715"/>
              <a:gd name="connsiteY30" fmla="*/ 417425 h 488527"/>
              <a:gd name="connsiteX31" fmla="*/ 41 w 803715"/>
              <a:gd name="connsiteY31" fmla="*/ 432308 h 488527"/>
              <a:gd name="connsiteX32" fmla="*/ 14924 w 803715"/>
              <a:gd name="connsiteY32" fmla="*/ 447191 h 488527"/>
              <a:gd name="connsiteX33" fmla="*/ 146340 w 803715"/>
              <a:gd name="connsiteY33" fmla="*/ 447191 h 488527"/>
              <a:gd name="connsiteX34" fmla="*/ 146340 w 803715"/>
              <a:gd name="connsiteY34" fmla="*/ 473645 h 488527"/>
              <a:gd name="connsiteX35" fmla="*/ 161223 w 803715"/>
              <a:gd name="connsiteY35" fmla="*/ 488527 h 488527"/>
              <a:gd name="connsiteX36" fmla="*/ 216252 w 803715"/>
              <a:gd name="connsiteY36" fmla="*/ 488527 h 488527"/>
              <a:gd name="connsiteX37" fmla="*/ 231135 w 803715"/>
              <a:gd name="connsiteY37" fmla="*/ 473645 h 488527"/>
              <a:gd name="connsiteX38" fmla="*/ 231135 w 803715"/>
              <a:gd name="connsiteY38" fmla="*/ 447191 h 488527"/>
              <a:gd name="connsiteX39" fmla="*/ 572587 w 803715"/>
              <a:gd name="connsiteY39" fmla="*/ 447191 h 488527"/>
              <a:gd name="connsiteX40" fmla="*/ 572587 w 803715"/>
              <a:gd name="connsiteY40" fmla="*/ 473645 h 488527"/>
              <a:gd name="connsiteX41" fmla="*/ 587470 w 803715"/>
              <a:gd name="connsiteY41" fmla="*/ 488527 h 488527"/>
              <a:gd name="connsiteX42" fmla="*/ 642461 w 803715"/>
              <a:gd name="connsiteY42" fmla="*/ 488527 h 488527"/>
              <a:gd name="connsiteX43" fmla="*/ 657344 w 803715"/>
              <a:gd name="connsiteY43" fmla="*/ 473645 h 488527"/>
              <a:gd name="connsiteX44" fmla="*/ 657344 w 803715"/>
              <a:gd name="connsiteY44" fmla="*/ 447191 h 488527"/>
              <a:gd name="connsiteX45" fmla="*/ 788799 w 803715"/>
              <a:gd name="connsiteY45" fmla="*/ 447191 h 488527"/>
              <a:gd name="connsiteX46" fmla="*/ 803681 w 803715"/>
              <a:gd name="connsiteY46" fmla="*/ 432308 h 488527"/>
              <a:gd name="connsiteX47" fmla="*/ 788799 w 803715"/>
              <a:gd name="connsiteY47" fmla="*/ 417425 h 488527"/>
              <a:gd name="connsiteX48" fmla="*/ 706648 w 803715"/>
              <a:gd name="connsiteY48" fmla="*/ 207723 h 488527"/>
              <a:gd name="connsiteX49" fmla="*/ 706648 w 803715"/>
              <a:gd name="connsiteY49" fmla="*/ 293671 h 488527"/>
              <a:gd name="connsiteX50" fmla="*/ 657349 w 803715"/>
              <a:gd name="connsiteY50" fmla="*/ 293671 h 488527"/>
              <a:gd name="connsiteX51" fmla="*/ 657349 w 803715"/>
              <a:gd name="connsiteY51" fmla="*/ 268779 h 488527"/>
              <a:gd name="connsiteX52" fmla="*/ 629890 w 803715"/>
              <a:gd name="connsiteY52" fmla="*/ 239199 h 488527"/>
              <a:gd name="connsiteX53" fmla="*/ 629890 w 803715"/>
              <a:gd name="connsiteY53" fmla="*/ 127433 h 488527"/>
              <a:gd name="connsiteX54" fmla="*/ 706648 w 803715"/>
              <a:gd name="connsiteY54" fmla="*/ 207688 h 488527"/>
              <a:gd name="connsiteX55" fmla="*/ 602464 w 803715"/>
              <a:gd name="connsiteY55" fmla="*/ 293671 h 488527"/>
              <a:gd name="connsiteX56" fmla="*/ 602650 w 803715"/>
              <a:gd name="connsiteY56" fmla="*/ 268445 h 488527"/>
              <a:gd name="connsiteX57" fmla="*/ 627579 w 803715"/>
              <a:gd name="connsiteY57" fmla="*/ 268779 h 488527"/>
              <a:gd name="connsiteX58" fmla="*/ 627579 w 803715"/>
              <a:gd name="connsiteY58" fmla="*/ 293671 h 488527"/>
              <a:gd name="connsiteX59" fmla="*/ 600120 w 803715"/>
              <a:gd name="connsiteY59" fmla="*/ 127097 h 488527"/>
              <a:gd name="connsiteX60" fmla="*/ 600120 w 803715"/>
              <a:gd name="connsiteY60" fmla="*/ 239207 h 488527"/>
              <a:gd name="connsiteX61" fmla="*/ 572587 w 803715"/>
              <a:gd name="connsiteY61" fmla="*/ 268787 h 488527"/>
              <a:gd name="connsiteX62" fmla="*/ 572587 w 803715"/>
              <a:gd name="connsiteY62" fmla="*/ 293678 h 488527"/>
              <a:gd name="connsiteX63" fmla="*/ 516181 w 803715"/>
              <a:gd name="connsiteY63" fmla="*/ 293678 h 488527"/>
              <a:gd name="connsiteX64" fmla="*/ 516181 w 803715"/>
              <a:gd name="connsiteY64" fmla="*/ 211822 h 488527"/>
              <a:gd name="connsiteX65" fmla="*/ 600083 w 803715"/>
              <a:gd name="connsiteY65" fmla="*/ 127102 h 488527"/>
              <a:gd name="connsiteX66" fmla="*/ 416763 w 803715"/>
              <a:gd name="connsiteY66" fmla="*/ 293671 h 488527"/>
              <a:gd name="connsiteX67" fmla="*/ 416763 w 803715"/>
              <a:gd name="connsiteY67" fmla="*/ 242101 h 488527"/>
              <a:gd name="connsiteX68" fmla="*/ 486415 w 803715"/>
              <a:gd name="connsiteY68" fmla="*/ 226437 h 488527"/>
              <a:gd name="connsiteX69" fmla="*/ 486415 w 803715"/>
              <a:gd name="connsiteY69" fmla="*/ 293671 h 488527"/>
              <a:gd name="connsiteX70" fmla="*/ 416726 w 803715"/>
              <a:gd name="connsiteY70" fmla="*/ 293671 h 488527"/>
              <a:gd name="connsiteX71" fmla="*/ 317380 w 803715"/>
              <a:gd name="connsiteY71" fmla="*/ 293671 h 488527"/>
              <a:gd name="connsiteX72" fmla="*/ 317380 w 803715"/>
              <a:gd name="connsiteY72" fmla="*/ 226437 h 488527"/>
              <a:gd name="connsiteX73" fmla="*/ 387031 w 803715"/>
              <a:gd name="connsiteY73" fmla="*/ 242101 h 488527"/>
              <a:gd name="connsiteX74" fmla="*/ 387031 w 803715"/>
              <a:gd name="connsiteY74" fmla="*/ 293671 h 488527"/>
              <a:gd name="connsiteX75" fmla="*/ 287614 w 803715"/>
              <a:gd name="connsiteY75" fmla="*/ 211815 h 488527"/>
              <a:gd name="connsiteX76" fmla="*/ 287614 w 803715"/>
              <a:gd name="connsiteY76" fmla="*/ 293671 h 488527"/>
              <a:gd name="connsiteX77" fmla="*/ 231171 w 803715"/>
              <a:gd name="connsiteY77" fmla="*/ 293671 h 488527"/>
              <a:gd name="connsiteX78" fmla="*/ 231171 w 803715"/>
              <a:gd name="connsiteY78" fmla="*/ 268779 h 488527"/>
              <a:gd name="connsiteX79" fmla="*/ 203712 w 803715"/>
              <a:gd name="connsiteY79" fmla="*/ 239199 h 488527"/>
              <a:gd name="connsiteX80" fmla="*/ 203712 w 803715"/>
              <a:gd name="connsiteY80" fmla="*/ 127061 h 488527"/>
              <a:gd name="connsiteX81" fmla="*/ 287614 w 803715"/>
              <a:gd name="connsiteY81" fmla="*/ 211781 h 488527"/>
              <a:gd name="connsiteX82" fmla="*/ 176257 w 803715"/>
              <a:gd name="connsiteY82" fmla="*/ 293671 h 488527"/>
              <a:gd name="connsiteX83" fmla="*/ 176480 w 803715"/>
              <a:gd name="connsiteY83" fmla="*/ 268445 h 488527"/>
              <a:gd name="connsiteX84" fmla="*/ 201409 w 803715"/>
              <a:gd name="connsiteY84" fmla="*/ 268779 h 488527"/>
              <a:gd name="connsiteX85" fmla="*/ 201409 w 803715"/>
              <a:gd name="connsiteY85" fmla="*/ 293671 h 488527"/>
              <a:gd name="connsiteX86" fmla="*/ 97118 w 803715"/>
              <a:gd name="connsiteY86" fmla="*/ 207723 h 488527"/>
              <a:gd name="connsiteX87" fmla="*/ 173913 w 803715"/>
              <a:gd name="connsiteY87" fmla="*/ 127467 h 488527"/>
              <a:gd name="connsiteX88" fmla="*/ 173913 w 803715"/>
              <a:gd name="connsiteY88" fmla="*/ 239195 h 488527"/>
              <a:gd name="connsiteX89" fmla="*/ 146343 w 803715"/>
              <a:gd name="connsiteY89" fmla="*/ 268775 h 488527"/>
              <a:gd name="connsiteX90" fmla="*/ 146343 w 803715"/>
              <a:gd name="connsiteY90" fmla="*/ 293667 h 488527"/>
              <a:gd name="connsiteX91" fmla="*/ 97118 w 803715"/>
              <a:gd name="connsiteY91" fmla="*/ 293667 h 488527"/>
              <a:gd name="connsiteX92" fmla="*/ 29847 w 803715"/>
              <a:gd name="connsiteY92" fmla="*/ 334186 h 488527"/>
              <a:gd name="connsiteX93" fmla="*/ 40637 w 803715"/>
              <a:gd name="connsiteY93" fmla="*/ 323396 h 488527"/>
              <a:gd name="connsiteX94" fmla="*/ 161110 w 803715"/>
              <a:gd name="connsiteY94" fmla="*/ 323396 h 488527"/>
              <a:gd name="connsiteX95" fmla="*/ 161258 w 803715"/>
              <a:gd name="connsiteY95" fmla="*/ 323433 h 488527"/>
              <a:gd name="connsiteX96" fmla="*/ 161407 w 803715"/>
              <a:gd name="connsiteY96" fmla="*/ 323396 h 488527"/>
              <a:gd name="connsiteX97" fmla="*/ 216139 w 803715"/>
              <a:gd name="connsiteY97" fmla="*/ 323396 h 488527"/>
              <a:gd name="connsiteX98" fmla="*/ 216288 w 803715"/>
              <a:gd name="connsiteY98" fmla="*/ 323433 h 488527"/>
              <a:gd name="connsiteX99" fmla="*/ 216436 w 803715"/>
              <a:gd name="connsiteY99" fmla="*/ 323396 h 488527"/>
              <a:gd name="connsiteX100" fmla="*/ 587350 w 803715"/>
              <a:gd name="connsiteY100" fmla="*/ 323396 h 488527"/>
              <a:gd name="connsiteX101" fmla="*/ 587498 w 803715"/>
              <a:gd name="connsiteY101" fmla="*/ 323433 h 488527"/>
              <a:gd name="connsiteX102" fmla="*/ 587647 w 803715"/>
              <a:gd name="connsiteY102" fmla="*/ 323396 h 488527"/>
              <a:gd name="connsiteX103" fmla="*/ 642342 w 803715"/>
              <a:gd name="connsiteY103" fmla="*/ 323396 h 488527"/>
              <a:gd name="connsiteX104" fmla="*/ 642490 w 803715"/>
              <a:gd name="connsiteY104" fmla="*/ 323433 h 488527"/>
              <a:gd name="connsiteX105" fmla="*/ 642639 w 803715"/>
              <a:gd name="connsiteY105" fmla="*/ 323396 h 488527"/>
              <a:gd name="connsiteX106" fmla="*/ 763188 w 803715"/>
              <a:gd name="connsiteY106" fmla="*/ 323396 h 488527"/>
              <a:gd name="connsiteX107" fmla="*/ 773978 w 803715"/>
              <a:gd name="connsiteY107" fmla="*/ 334186 h 488527"/>
              <a:gd name="connsiteX108" fmla="*/ 763188 w 803715"/>
              <a:gd name="connsiteY108" fmla="*/ 344976 h 488527"/>
              <a:gd name="connsiteX109" fmla="*/ 40631 w 803715"/>
              <a:gd name="connsiteY109" fmla="*/ 345013 h 488527"/>
              <a:gd name="connsiteX110" fmla="*/ 29841 w 803715"/>
              <a:gd name="connsiteY110" fmla="*/ 334223 h 488527"/>
              <a:gd name="connsiteX111" fmla="*/ 201374 w 803715"/>
              <a:gd name="connsiteY111" fmla="*/ 458716 h 488527"/>
              <a:gd name="connsiteX112" fmla="*/ 176111 w 803715"/>
              <a:gd name="connsiteY112" fmla="*/ 458716 h 488527"/>
              <a:gd name="connsiteX113" fmla="*/ 176111 w 803715"/>
              <a:gd name="connsiteY113" fmla="*/ 374740 h 488527"/>
              <a:gd name="connsiteX114" fmla="*/ 201374 w 803715"/>
              <a:gd name="connsiteY114" fmla="*/ 374740 h 488527"/>
              <a:gd name="connsiteX115" fmla="*/ 231139 w 803715"/>
              <a:gd name="connsiteY115" fmla="*/ 417379 h 488527"/>
              <a:gd name="connsiteX116" fmla="*/ 231139 w 803715"/>
              <a:gd name="connsiteY116" fmla="*/ 374740 h 488527"/>
              <a:gd name="connsiteX117" fmla="*/ 572591 w 803715"/>
              <a:gd name="connsiteY117" fmla="*/ 374740 h 488527"/>
              <a:gd name="connsiteX118" fmla="*/ 572591 w 803715"/>
              <a:gd name="connsiteY118" fmla="*/ 417379 h 488527"/>
              <a:gd name="connsiteX119" fmla="*/ 627579 w 803715"/>
              <a:gd name="connsiteY119" fmla="*/ 458716 h 488527"/>
              <a:gd name="connsiteX120" fmla="*/ 602353 w 803715"/>
              <a:gd name="connsiteY120" fmla="*/ 458716 h 488527"/>
              <a:gd name="connsiteX121" fmla="*/ 602353 w 803715"/>
              <a:gd name="connsiteY121" fmla="*/ 374740 h 488527"/>
              <a:gd name="connsiteX122" fmla="*/ 627579 w 803715"/>
              <a:gd name="connsiteY122" fmla="*/ 374740 h 48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803715" h="488527">
                <a:moveTo>
                  <a:pt x="788801" y="417425"/>
                </a:moveTo>
                <a:lnTo>
                  <a:pt x="657347" y="417425"/>
                </a:lnTo>
                <a:lnTo>
                  <a:pt x="657347" y="374785"/>
                </a:lnTo>
                <a:lnTo>
                  <a:pt x="763160" y="374785"/>
                </a:lnTo>
                <a:cubicBezTo>
                  <a:pt x="785522" y="374785"/>
                  <a:pt x="803716" y="356591"/>
                  <a:pt x="803716" y="334230"/>
                </a:cubicBezTo>
                <a:cubicBezTo>
                  <a:pt x="803716" y="311868"/>
                  <a:pt x="785521" y="293674"/>
                  <a:pt x="763160" y="293674"/>
                </a:cubicBezTo>
                <a:lnTo>
                  <a:pt x="736408" y="293674"/>
                </a:lnTo>
                <a:lnTo>
                  <a:pt x="736408" y="223502"/>
                </a:lnTo>
                <a:cubicBezTo>
                  <a:pt x="752072" y="230385"/>
                  <a:pt x="768629" y="235743"/>
                  <a:pt x="786042" y="239017"/>
                </a:cubicBezTo>
                <a:cubicBezTo>
                  <a:pt x="786972" y="239166"/>
                  <a:pt x="787865" y="239278"/>
                  <a:pt x="788795" y="239278"/>
                </a:cubicBezTo>
                <a:cubicBezTo>
                  <a:pt x="795790" y="239278"/>
                  <a:pt x="802041" y="234292"/>
                  <a:pt x="803380" y="227111"/>
                </a:cubicBezTo>
                <a:cubicBezTo>
                  <a:pt x="804905" y="219037"/>
                  <a:pt x="799585" y="211261"/>
                  <a:pt x="791474" y="209736"/>
                </a:cubicBezTo>
                <a:cubicBezTo>
                  <a:pt x="697824" y="192286"/>
                  <a:pt x="629806" y="110352"/>
                  <a:pt x="629806" y="14883"/>
                </a:cubicBezTo>
                <a:cubicBezTo>
                  <a:pt x="629806" y="6660"/>
                  <a:pt x="623146" y="0"/>
                  <a:pt x="614923" y="0"/>
                </a:cubicBezTo>
                <a:cubicBezTo>
                  <a:pt x="606700" y="0"/>
                  <a:pt x="600040" y="6660"/>
                  <a:pt x="600040" y="14883"/>
                </a:cubicBezTo>
                <a:cubicBezTo>
                  <a:pt x="600040" y="124201"/>
                  <a:pt x="511116" y="213089"/>
                  <a:pt x="401806" y="213089"/>
                </a:cubicBezTo>
                <a:cubicBezTo>
                  <a:pt x="292487" y="213089"/>
                  <a:pt x="203600" y="124164"/>
                  <a:pt x="203600" y="14883"/>
                </a:cubicBezTo>
                <a:cubicBezTo>
                  <a:pt x="203600" y="6660"/>
                  <a:pt x="196940" y="0"/>
                  <a:pt x="188717" y="0"/>
                </a:cubicBezTo>
                <a:cubicBezTo>
                  <a:pt x="180495" y="0"/>
                  <a:pt x="173834" y="6660"/>
                  <a:pt x="173834" y="14883"/>
                </a:cubicBezTo>
                <a:cubicBezTo>
                  <a:pt x="173834" y="110352"/>
                  <a:pt x="105857" y="192286"/>
                  <a:pt x="12167" y="209736"/>
                </a:cubicBezTo>
                <a:cubicBezTo>
                  <a:pt x="4093" y="211261"/>
                  <a:pt x="-1265" y="219000"/>
                  <a:pt x="260" y="227074"/>
                </a:cubicBezTo>
                <a:cubicBezTo>
                  <a:pt x="1600" y="234255"/>
                  <a:pt x="7851" y="239240"/>
                  <a:pt x="14883" y="239240"/>
                </a:cubicBezTo>
                <a:cubicBezTo>
                  <a:pt x="15776" y="239240"/>
                  <a:pt x="16706" y="239166"/>
                  <a:pt x="17599" y="238980"/>
                </a:cubicBezTo>
                <a:cubicBezTo>
                  <a:pt x="35049" y="235743"/>
                  <a:pt x="51606" y="230348"/>
                  <a:pt x="67270" y="223465"/>
                </a:cubicBezTo>
                <a:lnTo>
                  <a:pt x="67270" y="293637"/>
                </a:lnTo>
                <a:lnTo>
                  <a:pt x="40556" y="293637"/>
                </a:lnTo>
                <a:cubicBezTo>
                  <a:pt x="18194" y="293637"/>
                  <a:pt x="0" y="311832"/>
                  <a:pt x="0" y="334193"/>
                </a:cubicBezTo>
                <a:cubicBezTo>
                  <a:pt x="0" y="356554"/>
                  <a:pt x="18195" y="374748"/>
                  <a:pt x="40556" y="374748"/>
                </a:cubicBezTo>
                <a:lnTo>
                  <a:pt x="146264" y="374748"/>
                </a:lnTo>
                <a:lnTo>
                  <a:pt x="146264" y="417388"/>
                </a:lnTo>
                <a:lnTo>
                  <a:pt x="14924" y="417425"/>
                </a:lnTo>
                <a:cubicBezTo>
                  <a:pt x="6701" y="417425"/>
                  <a:pt x="41" y="424085"/>
                  <a:pt x="41" y="432308"/>
                </a:cubicBezTo>
                <a:cubicBezTo>
                  <a:pt x="41" y="440531"/>
                  <a:pt x="6701" y="447191"/>
                  <a:pt x="14924" y="447191"/>
                </a:cubicBezTo>
                <a:lnTo>
                  <a:pt x="146340" y="447191"/>
                </a:lnTo>
                <a:lnTo>
                  <a:pt x="146340" y="473645"/>
                </a:lnTo>
                <a:cubicBezTo>
                  <a:pt x="146340" y="481867"/>
                  <a:pt x="153000" y="488527"/>
                  <a:pt x="161223" y="488527"/>
                </a:cubicBezTo>
                <a:lnTo>
                  <a:pt x="216252" y="488527"/>
                </a:lnTo>
                <a:cubicBezTo>
                  <a:pt x="224475" y="488527"/>
                  <a:pt x="231135" y="481867"/>
                  <a:pt x="231135" y="473645"/>
                </a:cubicBezTo>
                <a:lnTo>
                  <a:pt x="231135" y="447191"/>
                </a:lnTo>
                <a:lnTo>
                  <a:pt x="572587" y="447191"/>
                </a:lnTo>
                <a:lnTo>
                  <a:pt x="572587" y="473645"/>
                </a:lnTo>
                <a:cubicBezTo>
                  <a:pt x="572587" y="481867"/>
                  <a:pt x="579247" y="488527"/>
                  <a:pt x="587470" y="488527"/>
                </a:cubicBezTo>
                <a:lnTo>
                  <a:pt x="642461" y="488527"/>
                </a:lnTo>
                <a:cubicBezTo>
                  <a:pt x="650684" y="488527"/>
                  <a:pt x="657344" y="481867"/>
                  <a:pt x="657344" y="473645"/>
                </a:cubicBezTo>
                <a:lnTo>
                  <a:pt x="657344" y="447191"/>
                </a:lnTo>
                <a:lnTo>
                  <a:pt x="788799" y="447191"/>
                </a:lnTo>
                <a:cubicBezTo>
                  <a:pt x="797021" y="447191"/>
                  <a:pt x="803681" y="440531"/>
                  <a:pt x="803681" y="432308"/>
                </a:cubicBezTo>
                <a:cubicBezTo>
                  <a:pt x="803681" y="424085"/>
                  <a:pt x="797021" y="417425"/>
                  <a:pt x="788799" y="417425"/>
                </a:cubicBezTo>
                <a:close/>
                <a:moveTo>
                  <a:pt x="706648" y="207723"/>
                </a:moveTo>
                <a:lnTo>
                  <a:pt x="706648" y="293671"/>
                </a:lnTo>
                <a:lnTo>
                  <a:pt x="657349" y="293671"/>
                </a:lnTo>
                <a:lnTo>
                  <a:pt x="657349" y="268779"/>
                </a:lnTo>
                <a:cubicBezTo>
                  <a:pt x="657349" y="253115"/>
                  <a:pt x="645182" y="240613"/>
                  <a:pt x="629890" y="239199"/>
                </a:cubicBezTo>
                <a:lnTo>
                  <a:pt x="629890" y="127433"/>
                </a:lnTo>
                <a:cubicBezTo>
                  <a:pt x="648382" y="159989"/>
                  <a:pt x="674761" y="187596"/>
                  <a:pt x="706648" y="207688"/>
                </a:cubicBezTo>
                <a:close/>
                <a:moveTo>
                  <a:pt x="602464" y="293671"/>
                </a:moveTo>
                <a:lnTo>
                  <a:pt x="602650" y="268445"/>
                </a:lnTo>
                <a:lnTo>
                  <a:pt x="627579" y="268779"/>
                </a:lnTo>
                <a:lnTo>
                  <a:pt x="627579" y="293671"/>
                </a:lnTo>
                <a:close/>
                <a:moveTo>
                  <a:pt x="600120" y="127097"/>
                </a:moveTo>
                <a:lnTo>
                  <a:pt x="600120" y="239207"/>
                </a:lnTo>
                <a:cubicBezTo>
                  <a:pt x="584790" y="240583"/>
                  <a:pt x="572587" y="253085"/>
                  <a:pt x="572587" y="268787"/>
                </a:cubicBezTo>
                <a:lnTo>
                  <a:pt x="572587" y="293678"/>
                </a:lnTo>
                <a:lnTo>
                  <a:pt x="516181" y="293678"/>
                </a:lnTo>
                <a:lnTo>
                  <a:pt x="516181" y="211822"/>
                </a:lnTo>
                <a:cubicBezTo>
                  <a:pt x="551081" y="191470"/>
                  <a:pt x="580139" y="162226"/>
                  <a:pt x="600083" y="127102"/>
                </a:cubicBezTo>
                <a:close/>
                <a:moveTo>
                  <a:pt x="416763" y="293671"/>
                </a:moveTo>
                <a:lnTo>
                  <a:pt x="416763" y="242101"/>
                </a:lnTo>
                <a:cubicBezTo>
                  <a:pt x="441246" y="240501"/>
                  <a:pt x="464648" y="235144"/>
                  <a:pt x="486415" y="226437"/>
                </a:cubicBezTo>
                <a:lnTo>
                  <a:pt x="486415" y="293671"/>
                </a:lnTo>
                <a:lnTo>
                  <a:pt x="416726" y="293671"/>
                </a:lnTo>
                <a:close/>
                <a:moveTo>
                  <a:pt x="317380" y="293671"/>
                </a:moveTo>
                <a:lnTo>
                  <a:pt x="317380" y="226437"/>
                </a:lnTo>
                <a:cubicBezTo>
                  <a:pt x="339146" y="235181"/>
                  <a:pt x="362549" y="240539"/>
                  <a:pt x="387031" y="242101"/>
                </a:cubicBezTo>
                <a:lnTo>
                  <a:pt x="387031" y="293671"/>
                </a:lnTo>
                <a:close/>
                <a:moveTo>
                  <a:pt x="287614" y="211815"/>
                </a:moveTo>
                <a:lnTo>
                  <a:pt x="287614" y="293671"/>
                </a:lnTo>
                <a:lnTo>
                  <a:pt x="231171" y="293671"/>
                </a:lnTo>
                <a:lnTo>
                  <a:pt x="231171" y="268779"/>
                </a:lnTo>
                <a:cubicBezTo>
                  <a:pt x="231171" y="253115"/>
                  <a:pt x="219004" y="240613"/>
                  <a:pt x="203712" y="239199"/>
                </a:cubicBezTo>
                <a:lnTo>
                  <a:pt x="203712" y="127061"/>
                </a:lnTo>
                <a:cubicBezTo>
                  <a:pt x="223693" y="162222"/>
                  <a:pt x="252713" y="191466"/>
                  <a:pt x="287614" y="211781"/>
                </a:cubicBezTo>
                <a:close/>
                <a:moveTo>
                  <a:pt x="176257" y="293671"/>
                </a:moveTo>
                <a:lnTo>
                  <a:pt x="176480" y="268445"/>
                </a:lnTo>
                <a:lnTo>
                  <a:pt x="201409" y="268779"/>
                </a:lnTo>
                <a:lnTo>
                  <a:pt x="201409" y="293671"/>
                </a:lnTo>
                <a:close/>
                <a:moveTo>
                  <a:pt x="97118" y="207723"/>
                </a:moveTo>
                <a:cubicBezTo>
                  <a:pt x="129005" y="187631"/>
                  <a:pt x="155384" y="160023"/>
                  <a:pt x="173913" y="127467"/>
                </a:cubicBezTo>
                <a:lnTo>
                  <a:pt x="173913" y="239195"/>
                </a:lnTo>
                <a:cubicBezTo>
                  <a:pt x="158546" y="240572"/>
                  <a:pt x="146343" y="253073"/>
                  <a:pt x="146343" y="268775"/>
                </a:cubicBezTo>
                <a:lnTo>
                  <a:pt x="146343" y="293667"/>
                </a:lnTo>
                <a:lnTo>
                  <a:pt x="97118" y="293667"/>
                </a:lnTo>
                <a:close/>
                <a:moveTo>
                  <a:pt x="29847" y="334186"/>
                </a:moveTo>
                <a:cubicBezTo>
                  <a:pt x="29847" y="328233"/>
                  <a:pt x="34684" y="323396"/>
                  <a:pt x="40637" y="323396"/>
                </a:cubicBezTo>
                <a:lnTo>
                  <a:pt x="161110" y="323396"/>
                </a:lnTo>
                <a:cubicBezTo>
                  <a:pt x="161147" y="323396"/>
                  <a:pt x="161184" y="323433"/>
                  <a:pt x="161258" y="323433"/>
                </a:cubicBezTo>
                <a:cubicBezTo>
                  <a:pt x="161296" y="323433"/>
                  <a:pt x="161333" y="323396"/>
                  <a:pt x="161407" y="323396"/>
                </a:cubicBezTo>
                <a:lnTo>
                  <a:pt x="216139" y="323396"/>
                </a:lnTo>
                <a:cubicBezTo>
                  <a:pt x="216176" y="323396"/>
                  <a:pt x="216213" y="323433"/>
                  <a:pt x="216288" y="323433"/>
                </a:cubicBezTo>
                <a:cubicBezTo>
                  <a:pt x="216325" y="323433"/>
                  <a:pt x="216362" y="323396"/>
                  <a:pt x="216436" y="323396"/>
                </a:cubicBezTo>
                <a:lnTo>
                  <a:pt x="587350" y="323396"/>
                </a:lnTo>
                <a:cubicBezTo>
                  <a:pt x="587387" y="323396"/>
                  <a:pt x="587424" y="323433"/>
                  <a:pt x="587498" y="323433"/>
                </a:cubicBezTo>
                <a:cubicBezTo>
                  <a:pt x="587536" y="323433"/>
                  <a:pt x="587573" y="323396"/>
                  <a:pt x="587647" y="323396"/>
                </a:cubicBezTo>
                <a:lnTo>
                  <a:pt x="642342" y="323396"/>
                </a:lnTo>
                <a:cubicBezTo>
                  <a:pt x="642379" y="323396"/>
                  <a:pt x="642416" y="323433"/>
                  <a:pt x="642490" y="323433"/>
                </a:cubicBezTo>
                <a:cubicBezTo>
                  <a:pt x="642528" y="323433"/>
                  <a:pt x="642565" y="323396"/>
                  <a:pt x="642639" y="323396"/>
                </a:cubicBezTo>
                <a:lnTo>
                  <a:pt x="763188" y="323396"/>
                </a:lnTo>
                <a:cubicBezTo>
                  <a:pt x="769141" y="323396"/>
                  <a:pt x="773978" y="328233"/>
                  <a:pt x="773978" y="334186"/>
                </a:cubicBezTo>
                <a:cubicBezTo>
                  <a:pt x="773978" y="340139"/>
                  <a:pt x="769141" y="344976"/>
                  <a:pt x="763188" y="344976"/>
                </a:cubicBezTo>
                <a:lnTo>
                  <a:pt x="40631" y="345013"/>
                </a:lnTo>
                <a:cubicBezTo>
                  <a:pt x="34678" y="345013"/>
                  <a:pt x="29841" y="340176"/>
                  <a:pt x="29841" y="334223"/>
                </a:cubicBezTo>
                <a:close/>
                <a:moveTo>
                  <a:pt x="201374" y="458716"/>
                </a:moveTo>
                <a:lnTo>
                  <a:pt x="176111" y="458716"/>
                </a:lnTo>
                <a:lnTo>
                  <a:pt x="176111" y="374740"/>
                </a:lnTo>
                <a:lnTo>
                  <a:pt x="201374" y="374740"/>
                </a:lnTo>
                <a:close/>
                <a:moveTo>
                  <a:pt x="231139" y="417379"/>
                </a:moveTo>
                <a:lnTo>
                  <a:pt x="231139" y="374740"/>
                </a:lnTo>
                <a:lnTo>
                  <a:pt x="572591" y="374740"/>
                </a:lnTo>
                <a:lnTo>
                  <a:pt x="572591" y="417379"/>
                </a:lnTo>
                <a:close/>
                <a:moveTo>
                  <a:pt x="627579" y="458716"/>
                </a:moveTo>
                <a:lnTo>
                  <a:pt x="602353" y="458716"/>
                </a:lnTo>
                <a:lnTo>
                  <a:pt x="602353" y="374740"/>
                </a:lnTo>
                <a:lnTo>
                  <a:pt x="627579" y="374740"/>
                </a:lnTo>
                <a:close/>
              </a:path>
            </a:pathLst>
          </a:custGeom>
          <a:solidFill>
            <a:schemeClr val="accent1"/>
          </a:solidFill>
          <a:ln w="9525" cap="flat">
            <a:noFill/>
            <a:prstDash val="solid"/>
            <a:miter/>
          </a:ln>
        </p:spPr>
        <p:txBody>
          <a:bodyPr rtlCol="0" anchor="ctr"/>
          <a:lstStyle/>
          <a:p>
            <a:endParaRPr lang="pt-BR"/>
          </a:p>
        </p:txBody>
      </p:sp>
      <p:sp>
        <p:nvSpPr>
          <p:cNvPr id="40" name="TextBox 40">
            <a:extLst>
              <a:ext uri="{FF2B5EF4-FFF2-40B4-BE49-F238E27FC236}">
                <a16:creationId xmlns:a16="http://schemas.microsoft.com/office/drawing/2014/main" id="{96242B15-3323-44BB-CDE0-D83FCC3A4135}"/>
              </a:ext>
            </a:extLst>
          </p:cNvPr>
          <p:cNvSpPr txBox="1"/>
          <p:nvPr/>
        </p:nvSpPr>
        <p:spPr>
          <a:xfrm>
            <a:off x="6870800" y="3025159"/>
            <a:ext cx="1385572" cy="30777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ヒラギノ角ゴ Pro W3" panose="020B0300000000000000" pitchFamily="34" charset="-128"/>
                <a:cs typeface="+mn-cs"/>
              </a:rPr>
              <a:t>COMPLEMENTO</a:t>
            </a:r>
          </a:p>
        </p:txBody>
      </p:sp>
    </p:spTree>
    <p:extLst>
      <p:ext uri="{BB962C8B-B14F-4D97-AF65-F5344CB8AC3E}">
        <p14:creationId xmlns:p14="http://schemas.microsoft.com/office/powerpoint/2010/main" val="350284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125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125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grpId="0" nodeType="withEffect">
                                  <p:stCondLst>
                                    <p:cond delay="125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par>
                          <p:cTn id="48" fill="hold">
                            <p:stCondLst>
                              <p:cond delay="2250"/>
                            </p:stCondLst>
                            <p:childTnLst>
                              <p:par>
                                <p:cTn id="49" presetID="16" presetClass="entr" presetSubtype="37" fill="hold" grpId="0" nodeType="afterEffect">
                                  <p:stCondLst>
                                    <p:cond delay="500"/>
                                  </p:stCondLst>
                                  <p:childTnLst>
                                    <p:set>
                                      <p:cBhvr>
                                        <p:cTn id="50" dur="1" fill="hold">
                                          <p:stCondLst>
                                            <p:cond delay="0"/>
                                          </p:stCondLst>
                                        </p:cTn>
                                        <p:tgtEl>
                                          <p:spTgt spid="19"/>
                                        </p:tgtEl>
                                        <p:attrNameLst>
                                          <p:attrName>style.visibility</p:attrName>
                                        </p:attrNameLst>
                                      </p:cBhvr>
                                      <p:to>
                                        <p:strVal val="visible"/>
                                      </p:to>
                                    </p:set>
                                    <p:animEffect transition="in" filter="barn(outVertical)">
                                      <p:cBhvr>
                                        <p:cTn id="51" dur="500"/>
                                        <p:tgtEl>
                                          <p:spTgt spid="19"/>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53" presetClass="entr" presetSubtype="16" fill="hold" grpId="0" nodeType="withEffect">
                                  <p:stCondLst>
                                    <p:cond delay="1250"/>
                                  </p:stCondLst>
                                  <p:childTnLst>
                                    <p:set>
                                      <p:cBhvr>
                                        <p:cTn id="56" dur="1" fill="hold">
                                          <p:stCondLst>
                                            <p:cond delay="0"/>
                                          </p:stCondLst>
                                        </p:cTn>
                                        <p:tgtEl>
                                          <p:spTgt spid="40"/>
                                        </p:tgtEl>
                                        <p:attrNameLst>
                                          <p:attrName>style.visibility</p:attrName>
                                        </p:attrNameLst>
                                      </p:cBhvr>
                                      <p:to>
                                        <p:strVal val="visible"/>
                                      </p:to>
                                    </p:set>
                                    <p:anim calcmode="lin" valueType="num">
                                      <p:cBhvr>
                                        <p:cTn id="57" dur="500" fill="hold"/>
                                        <p:tgtEl>
                                          <p:spTgt spid="40"/>
                                        </p:tgtEl>
                                        <p:attrNameLst>
                                          <p:attrName>ppt_w</p:attrName>
                                        </p:attrNameLst>
                                      </p:cBhvr>
                                      <p:tavLst>
                                        <p:tav tm="0">
                                          <p:val>
                                            <p:fltVal val="0"/>
                                          </p:val>
                                        </p:tav>
                                        <p:tav tm="100000">
                                          <p:val>
                                            <p:strVal val="#ppt_w"/>
                                          </p:val>
                                        </p:tav>
                                      </p:tavLst>
                                    </p:anim>
                                    <p:anim calcmode="lin" valueType="num">
                                      <p:cBhvr>
                                        <p:cTn id="58" dur="500" fill="hold"/>
                                        <p:tgtEl>
                                          <p:spTgt spid="40"/>
                                        </p:tgtEl>
                                        <p:attrNameLst>
                                          <p:attrName>ppt_h</p:attrName>
                                        </p:attrNameLst>
                                      </p:cBhvr>
                                      <p:tavLst>
                                        <p:tav tm="0">
                                          <p:val>
                                            <p:fltVal val="0"/>
                                          </p:val>
                                        </p:tav>
                                        <p:tav tm="100000">
                                          <p:val>
                                            <p:strVal val="#ppt_h"/>
                                          </p:val>
                                        </p:tav>
                                      </p:tavLst>
                                    </p:anim>
                                    <p:animEffect transition="in" filter="fade">
                                      <p:cBhvr>
                                        <p:cTn id="59" dur="500"/>
                                        <p:tgtEl>
                                          <p:spTgt spid="40"/>
                                        </p:tgtEl>
                                      </p:cBhvr>
                                    </p:animEffect>
                                  </p:childTnLst>
                                </p:cTn>
                              </p:par>
                              <p:par>
                                <p:cTn id="60" presetID="53" presetClass="entr" presetSubtype="16" fill="hold" grpId="0" nodeType="withEffect">
                                  <p:stCondLst>
                                    <p:cond delay="1250"/>
                                  </p:stCondLst>
                                  <p:childTnLst>
                                    <p:set>
                                      <p:cBhvr>
                                        <p:cTn id="61" dur="1" fill="hold">
                                          <p:stCondLst>
                                            <p:cond delay="0"/>
                                          </p:stCondLst>
                                        </p:cTn>
                                        <p:tgtEl>
                                          <p:spTgt spid="30"/>
                                        </p:tgtEl>
                                        <p:attrNameLst>
                                          <p:attrName>style.visibility</p:attrName>
                                        </p:attrNameLst>
                                      </p:cBhvr>
                                      <p:to>
                                        <p:strVal val="visible"/>
                                      </p:to>
                                    </p:set>
                                    <p:anim calcmode="lin" valueType="num">
                                      <p:cBhvr>
                                        <p:cTn id="62" dur="500" fill="hold"/>
                                        <p:tgtEl>
                                          <p:spTgt spid="30"/>
                                        </p:tgtEl>
                                        <p:attrNameLst>
                                          <p:attrName>ppt_w</p:attrName>
                                        </p:attrNameLst>
                                      </p:cBhvr>
                                      <p:tavLst>
                                        <p:tav tm="0">
                                          <p:val>
                                            <p:fltVal val="0"/>
                                          </p:val>
                                        </p:tav>
                                        <p:tav tm="100000">
                                          <p:val>
                                            <p:strVal val="#ppt_w"/>
                                          </p:val>
                                        </p:tav>
                                      </p:tavLst>
                                    </p:anim>
                                    <p:anim calcmode="lin" valueType="num">
                                      <p:cBhvr>
                                        <p:cTn id="63" dur="500" fill="hold"/>
                                        <p:tgtEl>
                                          <p:spTgt spid="30"/>
                                        </p:tgtEl>
                                        <p:attrNameLst>
                                          <p:attrName>ppt_h</p:attrName>
                                        </p:attrNameLst>
                                      </p:cBhvr>
                                      <p:tavLst>
                                        <p:tav tm="0">
                                          <p:val>
                                            <p:fltVal val="0"/>
                                          </p:val>
                                        </p:tav>
                                        <p:tav tm="100000">
                                          <p:val>
                                            <p:strVal val="#ppt_h"/>
                                          </p:val>
                                        </p:tav>
                                      </p:tavLst>
                                    </p:anim>
                                    <p:animEffect transition="in" filter="fade">
                                      <p:cBhvr>
                                        <p:cTn id="64" dur="500"/>
                                        <p:tgtEl>
                                          <p:spTgt spid="30"/>
                                        </p:tgtEl>
                                      </p:cBhvr>
                                    </p:animEffect>
                                  </p:childTnLst>
                                </p:cTn>
                              </p:par>
                              <p:par>
                                <p:cTn id="65" presetID="53" presetClass="entr" presetSubtype="16" fill="hold" grpId="0" nodeType="withEffect">
                                  <p:stCondLst>
                                    <p:cond delay="1250"/>
                                  </p:stCondLst>
                                  <p:childTnLst>
                                    <p:set>
                                      <p:cBhvr>
                                        <p:cTn id="66" dur="1" fill="hold">
                                          <p:stCondLst>
                                            <p:cond delay="0"/>
                                          </p:stCondLst>
                                        </p:cTn>
                                        <p:tgtEl>
                                          <p:spTgt spid="37"/>
                                        </p:tgtEl>
                                        <p:attrNameLst>
                                          <p:attrName>style.visibility</p:attrName>
                                        </p:attrNameLst>
                                      </p:cBhvr>
                                      <p:to>
                                        <p:strVal val="visible"/>
                                      </p:to>
                                    </p:set>
                                    <p:anim calcmode="lin" valueType="num">
                                      <p:cBhvr>
                                        <p:cTn id="67" dur="500" fill="hold"/>
                                        <p:tgtEl>
                                          <p:spTgt spid="37"/>
                                        </p:tgtEl>
                                        <p:attrNameLst>
                                          <p:attrName>ppt_w</p:attrName>
                                        </p:attrNameLst>
                                      </p:cBhvr>
                                      <p:tavLst>
                                        <p:tav tm="0">
                                          <p:val>
                                            <p:fltVal val="0"/>
                                          </p:val>
                                        </p:tav>
                                        <p:tav tm="100000">
                                          <p:val>
                                            <p:strVal val="#ppt_w"/>
                                          </p:val>
                                        </p:tav>
                                      </p:tavLst>
                                    </p:anim>
                                    <p:anim calcmode="lin" valueType="num">
                                      <p:cBhvr>
                                        <p:cTn id="68" dur="500" fill="hold"/>
                                        <p:tgtEl>
                                          <p:spTgt spid="37"/>
                                        </p:tgtEl>
                                        <p:attrNameLst>
                                          <p:attrName>ppt_h</p:attrName>
                                        </p:attrNameLst>
                                      </p:cBhvr>
                                      <p:tavLst>
                                        <p:tav tm="0">
                                          <p:val>
                                            <p:fltVal val="0"/>
                                          </p:val>
                                        </p:tav>
                                        <p:tav tm="100000">
                                          <p:val>
                                            <p:strVal val="#ppt_h"/>
                                          </p:val>
                                        </p:tav>
                                      </p:tavLst>
                                    </p:anim>
                                    <p:animEffect transition="in" filter="fade">
                                      <p:cBhvr>
                                        <p:cTn id="69" dur="500"/>
                                        <p:tgtEl>
                                          <p:spTgt spid="37"/>
                                        </p:tgtEl>
                                      </p:cBhvr>
                                    </p:animEffect>
                                  </p:childTnLst>
                                </p:cTn>
                              </p:par>
                            </p:childTnLst>
                          </p:cTn>
                        </p:par>
                        <p:par>
                          <p:cTn id="70" fill="hold">
                            <p:stCondLst>
                              <p:cond delay="4000"/>
                            </p:stCondLst>
                            <p:childTnLst>
                              <p:par>
                                <p:cTn id="71" presetID="10" presetClass="entr" presetSubtype="0" fill="hold" grpId="0" nodeType="after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fade">
                                      <p:cBhvr>
                                        <p:cTn id="7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1" grpId="0" animBg="1"/>
      <p:bldP spid="32" grpId="0" animBg="1"/>
      <p:bldP spid="28" grpId="0" animBg="1"/>
      <p:bldP spid="14" grpId="0" animBg="1"/>
      <p:bldP spid="11" grpId="0"/>
      <p:bldP spid="13" grpId="0" animBg="1"/>
      <p:bldP spid="15" grpId="0"/>
      <p:bldP spid="16" grpId="0"/>
      <p:bldP spid="19" grpId="0" animBg="1"/>
      <p:bldP spid="21" grpId="0"/>
      <p:bldP spid="23" grpId="0"/>
      <p:bldP spid="24" grpId="0"/>
      <p:bldP spid="25" grpId="0"/>
      <p:bldP spid="26" grpId="0"/>
      <p:bldP spid="29" grpId="0" animBg="1"/>
      <p:bldP spid="30" grpId="0" animBg="1"/>
      <p:bldP spid="37" grpId="0" animBg="1"/>
      <p:bldP spid="40"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tângulo: Cantos Arredondados 15">
            <a:extLst>
              <a:ext uri="{FF2B5EF4-FFF2-40B4-BE49-F238E27FC236}">
                <a16:creationId xmlns:a16="http://schemas.microsoft.com/office/drawing/2014/main" id="{1550E0D2-D963-38E2-3F60-16287A02ACDB}"/>
              </a:ext>
            </a:extLst>
          </p:cNvPr>
          <p:cNvSpPr/>
          <p:nvPr/>
        </p:nvSpPr>
        <p:spPr>
          <a:xfrm>
            <a:off x="3356386" y="433565"/>
            <a:ext cx="8205859" cy="5767210"/>
          </a:xfrm>
          <a:prstGeom prst="roundRect">
            <a:avLst>
              <a:gd name="adj" fmla="val 0"/>
            </a:avLst>
          </a:prstGeom>
          <a:solidFill>
            <a:schemeClr val="bg1"/>
          </a:soli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55" name="Retângulo 54">
            <a:extLst>
              <a:ext uri="{FF2B5EF4-FFF2-40B4-BE49-F238E27FC236}">
                <a16:creationId xmlns:a16="http://schemas.microsoft.com/office/drawing/2014/main" id="{7E50D0C3-5709-0802-1495-8168DBE74EAE}"/>
              </a:ext>
            </a:extLst>
          </p:cNvPr>
          <p:cNvSpPr/>
          <p:nvPr/>
        </p:nvSpPr>
        <p:spPr>
          <a:xfrm>
            <a:off x="3696029" y="2713135"/>
            <a:ext cx="1759846" cy="634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56" name="Retângulo 55">
            <a:extLst>
              <a:ext uri="{FF2B5EF4-FFF2-40B4-BE49-F238E27FC236}">
                <a16:creationId xmlns:a16="http://schemas.microsoft.com/office/drawing/2014/main" id="{F5FD5BF5-8354-4F5A-0125-FCAA597CB6BE}"/>
              </a:ext>
            </a:extLst>
          </p:cNvPr>
          <p:cNvSpPr/>
          <p:nvPr/>
        </p:nvSpPr>
        <p:spPr>
          <a:xfrm>
            <a:off x="3696029" y="3584751"/>
            <a:ext cx="1759846" cy="6340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9000172" cy="565786"/>
          </a:xfrm>
        </p:spPr>
        <p:txBody>
          <a:bodyPr/>
          <a:lstStyle/>
          <a:p>
            <a:r>
              <a:rPr lang="pt-BR" dirty="0"/>
              <a:t>Abbas, A. K.; </a:t>
            </a:r>
            <a:r>
              <a:rPr lang="pt-BR" dirty="0" err="1"/>
              <a:t>Lichtman</a:t>
            </a:r>
            <a:r>
              <a:rPr lang="pt-BR" dirty="0"/>
              <a:t>, A. H.; </a:t>
            </a:r>
            <a:r>
              <a:rPr lang="pt-BR" dirty="0" err="1"/>
              <a:t>Pillai</a:t>
            </a:r>
            <a:r>
              <a:rPr lang="pt-BR" dirty="0"/>
              <a:t>, S. </a:t>
            </a:r>
            <a:r>
              <a:rPr lang="pt-BR" dirty="0" err="1"/>
              <a:t>Cellular</a:t>
            </a:r>
            <a:r>
              <a:rPr lang="pt-BR" dirty="0"/>
              <a:t> </a:t>
            </a:r>
            <a:r>
              <a:rPr lang="pt-BR" dirty="0" err="1"/>
              <a:t>and</a:t>
            </a:r>
            <a:r>
              <a:rPr lang="pt-BR" dirty="0"/>
              <a:t> Molecular </a:t>
            </a:r>
            <a:r>
              <a:rPr lang="pt-BR" dirty="0" err="1"/>
              <a:t>Immunology</a:t>
            </a:r>
            <a:r>
              <a:rPr lang="pt-BR" dirty="0"/>
              <a:t>. 9th </a:t>
            </a:r>
            <a:r>
              <a:rPr lang="pt-BR" dirty="0" err="1"/>
              <a:t>edition</a:t>
            </a:r>
            <a:r>
              <a:rPr lang="pt-BR" dirty="0"/>
              <a:t>. Philadelphia, PA: Elsevier USA, 2018.</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009204"/>
            <a:ext cx="3052915"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Onde está?</a:t>
            </a:r>
            <a:endParaRPr lang="pt-BR" sz="4400" b="1" baseline="30000" dirty="0">
              <a:gradFill>
                <a:gsLst>
                  <a:gs pos="0">
                    <a:schemeClr val="accent1"/>
                  </a:gs>
                  <a:gs pos="100000">
                    <a:schemeClr val="bg2"/>
                  </a:gs>
                </a:gsLst>
                <a:lin ang="2700000" scaled="0"/>
              </a:gradFill>
              <a:latin typeface="Calisto MT"/>
            </a:endParaRPr>
          </a:p>
        </p:txBody>
      </p:sp>
      <p:pic>
        <p:nvPicPr>
          <p:cNvPr id="7" name="Imagem 6" descr="Uma imagem contendo Diagrama&#10;&#10;Descrição gerada automaticamente">
            <a:extLst>
              <a:ext uri="{FF2B5EF4-FFF2-40B4-BE49-F238E27FC236}">
                <a16:creationId xmlns:a16="http://schemas.microsoft.com/office/drawing/2014/main" id="{85822C2D-77F3-6322-A95C-F8F043EF9C92}"/>
              </a:ext>
            </a:extLst>
          </p:cNvPr>
          <p:cNvPicPr>
            <a:picLocks noChangeAspect="1"/>
          </p:cNvPicPr>
          <p:nvPr/>
        </p:nvPicPr>
        <p:blipFill>
          <a:blip r:embed="rId3">
            <a:extLst>
              <a:ext uri="{28A0092B-C50C-407E-A947-70E740481C1C}">
                <a14:useLocalDpi xmlns:a14="http://schemas.microsoft.com/office/drawing/2010/main" val="0"/>
              </a:ext>
            </a:extLst>
          </a:blip>
          <a:srcRect l="21799" r="21069"/>
          <a:stretch/>
        </p:blipFill>
        <p:spPr>
          <a:xfrm>
            <a:off x="6577936" y="600075"/>
            <a:ext cx="3087445" cy="5600700"/>
          </a:xfrm>
          <a:prstGeom prst="rect">
            <a:avLst/>
          </a:prstGeom>
        </p:spPr>
      </p:pic>
      <p:sp>
        <p:nvSpPr>
          <p:cNvPr id="11" name="Retângulo 10">
            <a:extLst>
              <a:ext uri="{FF2B5EF4-FFF2-40B4-BE49-F238E27FC236}">
                <a16:creationId xmlns:a16="http://schemas.microsoft.com/office/drawing/2014/main" id="{4F9161D8-C000-E4BC-570D-644C573B998E}"/>
              </a:ext>
            </a:extLst>
          </p:cNvPr>
          <p:cNvSpPr/>
          <p:nvPr/>
        </p:nvSpPr>
        <p:spPr>
          <a:xfrm>
            <a:off x="5838373" y="2127076"/>
            <a:ext cx="886347" cy="2503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lnSpc>
                <a:spcPct val="90000"/>
              </a:lnSpc>
              <a:spcAft>
                <a:spcPts val="600"/>
              </a:spcAft>
            </a:pPr>
            <a:endParaRPr lang="pt-BR" dirty="0" err="1"/>
          </a:p>
        </p:txBody>
      </p:sp>
      <p:sp>
        <p:nvSpPr>
          <p:cNvPr id="12" name="Retângulo 11">
            <a:extLst>
              <a:ext uri="{FF2B5EF4-FFF2-40B4-BE49-F238E27FC236}">
                <a16:creationId xmlns:a16="http://schemas.microsoft.com/office/drawing/2014/main" id="{83C7EBE4-6957-B750-8231-238593310CC7}"/>
              </a:ext>
            </a:extLst>
          </p:cNvPr>
          <p:cNvSpPr/>
          <p:nvPr/>
        </p:nvSpPr>
        <p:spPr>
          <a:xfrm>
            <a:off x="9552230" y="2700463"/>
            <a:ext cx="533581" cy="2503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lnSpc>
                <a:spcPct val="90000"/>
              </a:lnSpc>
              <a:spcAft>
                <a:spcPts val="600"/>
              </a:spcAft>
            </a:pPr>
            <a:endParaRPr lang="pt-BR" dirty="0" err="1"/>
          </a:p>
        </p:txBody>
      </p:sp>
      <p:sp>
        <p:nvSpPr>
          <p:cNvPr id="13" name="Retângulo 12">
            <a:extLst>
              <a:ext uri="{FF2B5EF4-FFF2-40B4-BE49-F238E27FC236}">
                <a16:creationId xmlns:a16="http://schemas.microsoft.com/office/drawing/2014/main" id="{F2500974-D426-39B2-AEC9-041700483F5B}"/>
              </a:ext>
            </a:extLst>
          </p:cNvPr>
          <p:cNvSpPr/>
          <p:nvPr/>
        </p:nvSpPr>
        <p:spPr>
          <a:xfrm>
            <a:off x="9552230" y="1919785"/>
            <a:ext cx="534849" cy="250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lnSpc>
                <a:spcPct val="90000"/>
              </a:lnSpc>
              <a:spcAft>
                <a:spcPts val="600"/>
              </a:spcAft>
            </a:pPr>
            <a:endParaRPr lang="pt-BR" dirty="0" err="1"/>
          </a:p>
        </p:txBody>
      </p:sp>
      <p:sp>
        <p:nvSpPr>
          <p:cNvPr id="17" name="Retângulo 16">
            <a:extLst>
              <a:ext uri="{FF2B5EF4-FFF2-40B4-BE49-F238E27FC236}">
                <a16:creationId xmlns:a16="http://schemas.microsoft.com/office/drawing/2014/main" id="{E12026A5-172B-B825-F6B2-DF7DB662B05D}"/>
              </a:ext>
            </a:extLst>
          </p:cNvPr>
          <p:cNvSpPr/>
          <p:nvPr/>
        </p:nvSpPr>
        <p:spPr>
          <a:xfrm>
            <a:off x="9552229" y="4338429"/>
            <a:ext cx="1190477" cy="250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lnSpc>
                <a:spcPct val="90000"/>
              </a:lnSpc>
              <a:spcAft>
                <a:spcPts val="600"/>
              </a:spcAft>
            </a:pPr>
            <a:endParaRPr lang="pt-BR" dirty="0" err="1"/>
          </a:p>
        </p:txBody>
      </p:sp>
      <p:sp>
        <p:nvSpPr>
          <p:cNvPr id="18" name="CaixaDeTexto 17">
            <a:extLst>
              <a:ext uri="{FF2B5EF4-FFF2-40B4-BE49-F238E27FC236}">
                <a16:creationId xmlns:a16="http://schemas.microsoft.com/office/drawing/2014/main" id="{2773F268-480A-02D4-FA67-724514EF7792}"/>
              </a:ext>
            </a:extLst>
          </p:cNvPr>
          <p:cNvSpPr txBox="1"/>
          <p:nvPr/>
        </p:nvSpPr>
        <p:spPr>
          <a:xfrm>
            <a:off x="3770881" y="2775581"/>
            <a:ext cx="1745319" cy="5355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pt-BR" sz="1600" b="1" i="0" u="none" strike="noStrike" kern="1200" cap="none" spc="0" normalizeH="0" baseline="0" noProof="0" dirty="0">
                <a:ln>
                  <a:noFill/>
                </a:ln>
                <a:solidFill>
                  <a:schemeClr val="bg1"/>
                </a:solidFill>
                <a:effectLst/>
                <a:uLnTx/>
                <a:uFillTx/>
                <a:latin typeface="Calibri"/>
                <a:ea typeface="+mn-ea"/>
                <a:cs typeface="+mn-cs"/>
              </a:rPr>
              <a:t>Órgãos </a:t>
            </a:r>
            <a:r>
              <a:rPr kumimoji="0" lang="pt-BR" sz="1600" b="1" i="0" u="none" strike="noStrike" kern="1200" cap="none" spc="0" normalizeH="0" baseline="0" noProof="0" dirty="0" err="1">
                <a:ln>
                  <a:noFill/>
                </a:ln>
                <a:solidFill>
                  <a:schemeClr val="bg1"/>
                </a:solidFill>
                <a:effectLst/>
                <a:uLnTx/>
                <a:uFillTx/>
                <a:latin typeface="Calibri"/>
                <a:ea typeface="+mn-ea"/>
                <a:cs typeface="+mn-cs"/>
              </a:rPr>
              <a:t>linfóides</a:t>
            </a:r>
            <a:r>
              <a:rPr kumimoji="0" lang="pt-BR" sz="1600" b="1" i="0" u="none" strike="noStrike" kern="1200" cap="none" spc="0" normalizeH="0" baseline="0" noProof="0" dirty="0">
                <a:ln>
                  <a:noFill/>
                </a:ln>
                <a:solidFill>
                  <a:schemeClr val="bg1"/>
                </a:solidFill>
                <a:effectLst/>
                <a:uLnTx/>
                <a:uFillTx/>
                <a:latin typeface="Calibri"/>
                <a:ea typeface="+mn-ea"/>
                <a:cs typeface="+mn-cs"/>
              </a:rPr>
              <a:t> PRIMÁRIOS</a:t>
            </a:r>
          </a:p>
        </p:txBody>
      </p:sp>
      <p:sp>
        <p:nvSpPr>
          <p:cNvPr id="19" name="CaixaDeTexto 18">
            <a:extLst>
              <a:ext uri="{FF2B5EF4-FFF2-40B4-BE49-F238E27FC236}">
                <a16:creationId xmlns:a16="http://schemas.microsoft.com/office/drawing/2014/main" id="{5CDB3BD0-7A7A-0216-6609-B4F7ED49A41F}"/>
              </a:ext>
            </a:extLst>
          </p:cNvPr>
          <p:cNvSpPr txBox="1"/>
          <p:nvPr/>
        </p:nvSpPr>
        <p:spPr>
          <a:xfrm>
            <a:off x="5793334" y="1168238"/>
            <a:ext cx="902811" cy="286232"/>
          </a:xfrm>
          <a:prstGeom prst="rect">
            <a:avLst/>
          </a:prstGeom>
          <a:noFill/>
        </p:spPr>
        <p:txBody>
          <a:bodyPr wrap="none" rtlCol="0">
            <a:spAutoFit/>
          </a:bodyPr>
          <a:lstStyle/>
          <a:p>
            <a:pPr algn="r">
              <a:lnSpc>
                <a:spcPct val="90000"/>
              </a:lnSpc>
              <a:spcAft>
                <a:spcPts val="600"/>
              </a:spcAft>
            </a:pPr>
            <a:r>
              <a:rPr lang="pt-BR" sz="1400" b="1" dirty="0"/>
              <a:t>Adenoide</a:t>
            </a:r>
          </a:p>
        </p:txBody>
      </p:sp>
      <p:sp>
        <p:nvSpPr>
          <p:cNvPr id="21" name="CaixaDeTexto 20">
            <a:extLst>
              <a:ext uri="{FF2B5EF4-FFF2-40B4-BE49-F238E27FC236}">
                <a16:creationId xmlns:a16="http://schemas.microsoft.com/office/drawing/2014/main" id="{37DE50F6-91F8-A54C-3079-1CDE02309BBD}"/>
              </a:ext>
            </a:extLst>
          </p:cNvPr>
          <p:cNvSpPr txBox="1"/>
          <p:nvPr/>
        </p:nvSpPr>
        <p:spPr>
          <a:xfrm>
            <a:off x="5859428" y="1366597"/>
            <a:ext cx="884793" cy="286232"/>
          </a:xfrm>
          <a:prstGeom prst="rect">
            <a:avLst/>
          </a:prstGeom>
          <a:noFill/>
        </p:spPr>
        <p:txBody>
          <a:bodyPr wrap="none" rtlCol="0">
            <a:spAutoFit/>
          </a:bodyPr>
          <a:lstStyle/>
          <a:p>
            <a:pPr algn="r">
              <a:lnSpc>
                <a:spcPct val="90000"/>
              </a:lnSpc>
              <a:spcAft>
                <a:spcPts val="600"/>
              </a:spcAft>
            </a:pPr>
            <a:r>
              <a:rPr lang="pt-BR" sz="1400" b="1" dirty="0"/>
              <a:t>Amígdala</a:t>
            </a:r>
          </a:p>
        </p:txBody>
      </p:sp>
      <p:sp>
        <p:nvSpPr>
          <p:cNvPr id="22" name="CaixaDeTexto 21">
            <a:extLst>
              <a:ext uri="{FF2B5EF4-FFF2-40B4-BE49-F238E27FC236}">
                <a16:creationId xmlns:a16="http://schemas.microsoft.com/office/drawing/2014/main" id="{781F7D83-71B6-DAE5-49D0-35B3A09E1B11}"/>
              </a:ext>
            </a:extLst>
          </p:cNvPr>
          <p:cNvSpPr txBox="1"/>
          <p:nvPr/>
        </p:nvSpPr>
        <p:spPr>
          <a:xfrm>
            <a:off x="5498944" y="1762306"/>
            <a:ext cx="1245277" cy="286232"/>
          </a:xfrm>
          <a:prstGeom prst="rect">
            <a:avLst/>
          </a:prstGeom>
          <a:noFill/>
        </p:spPr>
        <p:txBody>
          <a:bodyPr wrap="none" rtlCol="0">
            <a:spAutoFit/>
          </a:bodyPr>
          <a:lstStyle/>
          <a:p>
            <a:pPr algn="r">
              <a:lnSpc>
                <a:spcPct val="90000"/>
              </a:lnSpc>
              <a:spcAft>
                <a:spcPts val="600"/>
              </a:spcAft>
            </a:pPr>
            <a:r>
              <a:rPr lang="pt-BR" sz="1400" b="1" dirty="0"/>
              <a:t>Veia Subclávia</a:t>
            </a:r>
          </a:p>
        </p:txBody>
      </p:sp>
      <p:sp>
        <p:nvSpPr>
          <p:cNvPr id="23" name="CaixaDeTexto 22">
            <a:extLst>
              <a:ext uri="{FF2B5EF4-FFF2-40B4-BE49-F238E27FC236}">
                <a16:creationId xmlns:a16="http://schemas.microsoft.com/office/drawing/2014/main" id="{05DEB435-D917-17F9-6999-6395139755DB}"/>
              </a:ext>
            </a:extLst>
          </p:cNvPr>
          <p:cNvSpPr txBox="1"/>
          <p:nvPr/>
        </p:nvSpPr>
        <p:spPr>
          <a:xfrm>
            <a:off x="5809798" y="2119725"/>
            <a:ext cx="934423" cy="286232"/>
          </a:xfrm>
          <a:prstGeom prst="rect">
            <a:avLst/>
          </a:prstGeom>
          <a:noFill/>
        </p:spPr>
        <p:txBody>
          <a:bodyPr wrap="none" rtlCol="0">
            <a:spAutoFit/>
          </a:bodyPr>
          <a:lstStyle/>
          <a:p>
            <a:pPr algn="r">
              <a:lnSpc>
                <a:spcPct val="90000"/>
              </a:lnSpc>
              <a:spcAft>
                <a:spcPts val="600"/>
              </a:spcAft>
            </a:pPr>
            <a:r>
              <a:rPr lang="pt-BR" sz="1400" b="1" dirty="0">
                <a:solidFill>
                  <a:schemeClr val="bg1"/>
                </a:solidFill>
              </a:rPr>
              <a:t>Linfonodo</a:t>
            </a:r>
          </a:p>
        </p:txBody>
      </p:sp>
      <p:sp>
        <p:nvSpPr>
          <p:cNvPr id="24" name="CaixaDeTexto 23">
            <a:extLst>
              <a:ext uri="{FF2B5EF4-FFF2-40B4-BE49-F238E27FC236}">
                <a16:creationId xmlns:a16="http://schemas.microsoft.com/office/drawing/2014/main" id="{BA3C0908-F26A-1D23-5A73-D1A31348B89C}"/>
              </a:ext>
            </a:extLst>
          </p:cNvPr>
          <p:cNvSpPr txBox="1"/>
          <p:nvPr/>
        </p:nvSpPr>
        <p:spPr>
          <a:xfrm>
            <a:off x="5862248" y="3186202"/>
            <a:ext cx="881973" cy="286232"/>
          </a:xfrm>
          <a:prstGeom prst="rect">
            <a:avLst/>
          </a:prstGeom>
          <a:noFill/>
        </p:spPr>
        <p:txBody>
          <a:bodyPr wrap="none" rtlCol="0">
            <a:spAutoFit/>
          </a:bodyPr>
          <a:lstStyle/>
          <a:p>
            <a:pPr algn="r">
              <a:lnSpc>
                <a:spcPct val="90000"/>
              </a:lnSpc>
              <a:spcAft>
                <a:spcPts val="600"/>
              </a:spcAft>
            </a:pPr>
            <a:r>
              <a:rPr lang="pt-BR" sz="1400" b="1" dirty="0"/>
              <a:t>Apêndice</a:t>
            </a:r>
          </a:p>
        </p:txBody>
      </p:sp>
      <p:sp>
        <p:nvSpPr>
          <p:cNvPr id="25" name="CaixaDeTexto 24">
            <a:extLst>
              <a:ext uri="{FF2B5EF4-FFF2-40B4-BE49-F238E27FC236}">
                <a16:creationId xmlns:a16="http://schemas.microsoft.com/office/drawing/2014/main" id="{F06F0B17-495A-FCA0-FA05-882894FE6026}"/>
              </a:ext>
            </a:extLst>
          </p:cNvPr>
          <p:cNvSpPr txBox="1"/>
          <p:nvPr/>
        </p:nvSpPr>
        <p:spPr>
          <a:xfrm>
            <a:off x="5854233" y="4320466"/>
            <a:ext cx="889988" cy="286232"/>
          </a:xfrm>
          <a:prstGeom prst="rect">
            <a:avLst/>
          </a:prstGeom>
          <a:noFill/>
        </p:spPr>
        <p:txBody>
          <a:bodyPr wrap="none" rtlCol="0">
            <a:spAutoFit/>
          </a:bodyPr>
          <a:lstStyle/>
          <a:p>
            <a:pPr algn="r">
              <a:lnSpc>
                <a:spcPct val="90000"/>
              </a:lnSpc>
              <a:spcAft>
                <a:spcPts val="600"/>
              </a:spcAft>
            </a:pPr>
            <a:r>
              <a:rPr lang="pt-BR" sz="1400" b="1" dirty="0"/>
              <a:t>Linfáticos</a:t>
            </a:r>
          </a:p>
        </p:txBody>
      </p:sp>
      <p:sp>
        <p:nvSpPr>
          <p:cNvPr id="26" name="CaixaDeTexto 25">
            <a:extLst>
              <a:ext uri="{FF2B5EF4-FFF2-40B4-BE49-F238E27FC236}">
                <a16:creationId xmlns:a16="http://schemas.microsoft.com/office/drawing/2014/main" id="{7F3D75F0-BC96-5F70-E64D-382180681EFD}"/>
              </a:ext>
            </a:extLst>
          </p:cNvPr>
          <p:cNvSpPr txBox="1"/>
          <p:nvPr/>
        </p:nvSpPr>
        <p:spPr>
          <a:xfrm>
            <a:off x="9527310" y="2693431"/>
            <a:ext cx="544444" cy="286232"/>
          </a:xfrm>
          <a:prstGeom prst="rect">
            <a:avLst/>
          </a:prstGeom>
          <a:noFill/>
        </p:spPr>
        <p:txBody>
          <a:bodyPr wrap="none" rtlCol="0">
            <a:spAutoFit/>
          </a:bodyPr>
          <a:lstStyle/>
          <a:p>
            <a:pPr>
              <a:lnSpc>
                <a:spcPct val="90000"/>
              </a:lnSpc>
              <a:spcAft>
                <a:spcPts val="600"/>
              </a:spcAft>
            </a:pPr>
            <a:r>
              <a:rPr lang="pt-BR" sz="1400" b="1" dirty="0">
                <a:solidFill>
                  <a:schemeClr val="bg1"/>
                </a:solidFill>
              </a:rPr>
              <a:t>Baço</a:t>
            </a:r>
          </a:p>
        </p:txBody>
      </p:sp>
      <p:sp>
        <p:nvSpPr>
          <p:cNvPr id="27" name="CaixaDeTexto 26">
            <a:extLst>
              <a:ext uri="{FF2B5EF4-FFF2-40B4-BE49-F238E27FC236}">
                <a16:creationId xmlns:a16="http://schemas.microsoft.com/office/drawing/2014/main" id="{3C17179C-7943-F960-7180-47473A090C31}"/>
              </a:ext>
            </a:extLst>
          </p:cNvPr>
          <p:cNvSpPr txBox="1"/>
          <p:nvPr/>
        </p:nvSpPr>
        <p:spPr>
          <a:xfrm>
            <a:off x="9527310" y="1923215"/>
            <a:ext cx="559769" cy="286232"/>
          </a:xfrm>
          <a:prstGeom prst="rect">
            <a:avLst/>
          </a:prstGeom>
          <a:noFill/>
        </p:spPr>
        <p:txBody>
          <a:bodyPr wrap="none" rtlCol="0">
            <a:spAutoFit/>
          </a:bodyPr>
          <a:lstStyle/>
          <a:p>
            <a:pPr>
              <a:lnSpc>
                <a:spcPct val="90000"/>
              </a:lnSpc>
              <a:spcAft>
                <a:spcPts val="600"/>
              </a:spcAft>
            </a:pPr>
            <a:r>
              <a:rPr lang="pt-BR" sz="1400" b="1" dirty="0">
                <a:solidFill>
                  <a:schemeClr val="bg1"/>
                </a:solidFill>
              </a:rPr>
              <a:t>Timo</a:t>
            </a:r>
          </a:p>
        </p:txBody>
      </p:sp>
      <p:sp>
        <p:nvSpPr>
          <p:cNvPr id="28" name="CaixaDeTexto 27">
            <a:extLst>
              <a:ext uri="{FF2B5EF4-FFF2-40B4-BE49-F238E27FC236}">
                <a16:creationId xmlns:a16="http://schemas.microsoft.com/office/drawing/2014/main" id="{17F95B4A-7CBB-1C0D-EA9C-5334EBC74162}"/>
              </a:ext>
            </a:extLst>
          </p:cNvPr>
          <p:cNvSpPr txBox="1"/>
          <p:nvPr/>
        </p:nvSpPr>
        <p:spPr>
          <a:xfrm>
            <a:off x="9508229" y="1658964"/>
            <a:ext cx="1245277" cy="286232"/>
          </a:xfrm>
          <a:prstGeom prst="rect">
            <a:avLst/>
          </a:prstGeom>
          <a:noFill/>
        </p:spPr>
        <p:txBody>
          <a:bodyPr wrap="none" rtlCol="0">
            <a:spAutoFit/>
          </a:bodyPr>
          <a:lstStyle/>
          <a:p>
            <a:pPr>
              <a:lnSpc>
                <a:spcPct val="90000"/>
              </a:lnSpc>
              <a:spcAft>
                <a:spcPts val="600"/>
              </a:spcAft>
            </a:pPr>
            <a:r>
              <a:rPr lang="pt-BR" sz="1400" b="1" dirty="0"/>
              <a:t>Veia Subclávia</a:t>
            </a:r>
          </a:p>
        </p:txBody>
      </p:sp>
      <p:sp>
        <p:nvSpPr>
          <p:cNvPr id="29" name="CaixaDeTexto 28">
            <a:extLst>
              <a:ext uri="{FF2B5EF4-FFF2-40B4-BE49-F238E27FC236}">
                <a16:creationId xmlns:a16="http://schemas.microsoft.com/office/drawing/2014/main" id="{7E69EBA6-8A77-F3DC-280F-2EEBB47516C0}"/>
              </a:ext>
            </a:extLst>
          </p:cNvPr>
          <p:cNvSpPr txBox="1"/>
          <p:nvPr/>
        </p:nvSpPr>
        <p:spPr>
          <a:xfrm>
            <a:off x="9508229" y="2394985"/>
            <a:ext cx="1267911" cy="286232"/>
          </a:xfrm>
          <a:prstGeom prst="rect">
            <a:avLst/>
          </a:prstGeom>
          <a:noFill/>
        </p:spPr>
        <p:txBody>
          <a:bodyPr wrap="none" rtlCol="0">
            <a:spAutoFit/>
          </a:bodyPr>
          <a:lstStyle/>
          <a:p>
            <a:pPr>
              <a:lnSpc>
                <a:spcPct val="90000"/>
              </a:lnSpc>
              <a:spcAft>
                <a:spcPts val="600"/>
              </a:spcAft>
            </a:pPr>
            <a:r>
              <a:rPr lang="pt-BR" sz="1400" b="1" dirty="0"/>
              <a:t>Ducto toráxico</a:t>
            </a:r>
          </a:p>
        </p:txBody>
      </p:sp>
      <p:sp>
        <p:nvSpPr>
          <p:cNvPr id="30" name="CaixaDeTexto 29">
            <a:extLst>
              <a:ext uri="{FF2B5EF4-FFF2-40B4-BE49-F238E27FC236}">
                <a16:creationId xmlns:a16="http://schemas.microsoft.com/office/drawing/2014/main" id="{6A7821F0-9B4F-D86D-A31B-6856B3630BE1}"/>
              </a:ext>
            </a:extLst>
          </p:cNvPr>
          <p:cNvSpPr txBox="1"/>
          <p:nvPr/>
        </p:nvSpPr>
        <p:spPr>
          <a:xfrm>
            <a:off x="9508229" y="2935486"/>
            <a:ext cx="1332865" cy="286232"/>
          </a:xfrm>
          <a:prstGeom prst="rect">
            <a:avLst/>
          </a:prstGeom>
          <a:noFill/>
        </p:spPr>
        <p:txBody>
          <a:bodyPr wrap="none" rtlCol="0">
            <a:spAutoFit/>
          </a:bodyPr>
          <a:lstStyle/>
          <a:p>
            <a:pPr>
              <a:lnSpc>
                <a:spcPct val="90000"/>
              </a:lnSpc>
              <a:spcAft>
                <a:spcPts val="600"/>
              </a:spcAft>
            </a:pPr>
            <a:r>
              <a:rPr lang="pt-BR" sz="1400" b="1" dirty="0"/>
              <a:t>Placas de </a:t>
            </a:r>
            <a:r>
              <a:rPr lang="pt-BR" sz="1400" b="1" dirty="0" err="1"/>
              <a:t>Peyer</a:t>
            </a:r>
            <a:endParaRPr lang="pt-BR" sz="1400" b="1" dirty="0"/>
          </a:p>
        </p:txBody>
      </p:sp>
      <p:sp>
        <p:nvSpPr>
          <p:cNvPr id="31" name="CaixaDeTexto 30">
            <a:extLst>
              <a:ext uri="{FF2B5EF4-FFF2-40B4-BE49-F238E27FC236}">
                <a16:creationId xmlns:a16="http://schemas.microsoft.com/office/drawing/2014/main" id="{51F8E5B7-1972-F077-CEA8-C93A83CD2A9D}"/>
              </a:ext>
            </a:extLst>
          </p:cNvPr>
          <p:cNvSpPr txBox="1"/>
          <p:nvPr/>
        </p:nvSpPr>
        <p:spPr>
          <a:xfrm>
            <a:off x="9527310" y="4332875"/>
            <a:ext cx="1215397" cy="286232"/>
          </a:xfrm>
          <a:prstGeom prst="rect">
            <a:avLst/>
          </a:prstGeom>
          <a:noFill/>
        </p:spPr>
        <p:txBody>
          <a:bodyPr wrap="none" rtlCol="0">
            <a:spAutoFit/>
          </a:bodyPr>
          <a:lstStyle/>
          <a:p>
            <a:pPr>
              <a:lnSpc>
                <a:spcPct val="90000"/>
              </a:lnSpc>
              <a:spcAft>
                <a:spcPts val="600"/>
              </a:spcAft>
            </a:pPr>
            <a:r>
              <a:rPr lang="pt-BR" sz="1400" b="1" dirty="0">
                <a:solidFill>
                  <a:schemeClr val="bg1"/>
                </a:solidFill>
              </a:rPr>
              <a:t>Medula óssea</a:t>
            </a:r>
          </a:p>
        </p:txBody>
      </p:sp>
      <p:cxnSp>
        <p:nvCxnSpPr>
          <p:cNvPr id="34" name="Conector reto 33">
            <a:extLst>
              <a:ext uri="{FF2B5EF4-FFF2-40B4-BE49-F238E27FC236}">
                <a16:creationId xmlns:a16="http://schemas.microsoft.com/office/drawing/2014/main" id="{18E8AE4A-8405-04F2-84F1-E159E59C5594}"/>
              </a:ext>
            </a:extLst>
          </p:cNvPr>
          <p:cNvCxnSpPr>
            <a:cxnSpLocks/>
          </p:cNvCxnSpPr>
          <p:nvPr/>
        </p:nvCxnSpPr>
        <p:spPr>
          <a:xfrm>
            <a:off x="6696145" y="1311354"/>
            <a:ext cx="131464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Conector reto 34">
            <a:extLst>
              <a:ext uri="{FF2B5EF4-FFF2-40B4-BE49-F238E27FC236}">
                <a16:creationId xmlns:a16="http://schemas.microsoft.com/office/drawing/2014/main" id="{66880E00-5230-16D0-8123-D2CFE2F82981}"/>
              </a:ext>
            </a:extLst>
          </p:cNvPr>
          <p:cNvCxnSpPr>
            <a:cxnSpLocks/>
          </p:cNvCxnSpPr>
          <p:nvPr/>
        </p:nvCxnSpPr>
        <p:spPr>
          <a:xfrm>
            <a:off x="6686135" y="1509713"/>
            <a:ext cx="13246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to 42">
            <a:extLst>
              <a:ext uri="{FF2B5EF4-FFF2-40B4-BE49-F238E27FC236}">
                <a16:creationId xmlns:a16="http://schemas.microsoft.com/office/drawing/2014/main" id="{924A789B-F458-70EA-6559-F3223D106798}"/>
              </a:ext>
            </a:extLst>
          </p:cNvPr>
          <p:cNvCxnSpPr>
            <a:cxnSpLocks/>
          </p:cNvCxnSpPr>
          <p:nvPr/>
        </p:nvCxnSpPr>
        <p:spPr>
          <a:xfrm>
            <a:off x="6696145" y="1907118"/>
            <a:ext cx="12209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ector reto 43">
            <a:extLst>
              <a:ext uri="{FF2B5EF4-FFF2-40B4-BE49-F238E27FC236}">
                <a16:creationId xmlns:a16="http://schemas.microsoft.com/office/drawing/2014/main" id="{22C0DD58-A3ED-5C0B-159D-2481E2958543}"/>
              </a:ext>
            </a:extLst>
          </p:cNvPr>
          <p:cNvCxnSpPr>
            <a:cxnSpLocks/>
          </p:cNvCxnSpPr>
          <p:nvPr/>
        </p:nvCxnSpPr>
        <p:spPr>
          <a:xfrm>
            <a:off x="6724720" y="2255013"/>
            <a:ext cx="93841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Conector reto 44">
            <a:extLst>
              <a:ext uri="{FF2B5EF4-FFF2-40B4-BE49-F238E27FC236}">
                <a16:creationId xmlns:a16="http://schemas.microsoft.com/office/drawing/2014/main" id="{B734BAF9-A610-569A-9F43-221C3CB75770}"/>
              </a:ext>
            </a:extLst>
          </p:cNvPr>
          <p:cNvCxnSpPr>
            <a:cxnSpLocks/>
          </p:cNvCxnSpPr>
          <p:nvPr/>
        </p:nvCxnSpPr>
        <p:spPr>
          <a:xfrm>
            <a:off x="6696145" y="3329659"/>
            <a:ext cx="12209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Conector reto 45">
            <a:extLst>
              <a:ext uri="{FF2B5EF4-FFF2-40B4-BE49-F238E27FC236}">
                <a16:creationId xmlns:a16="http://schemas.microsoft.com/office/drawing/2014/main" id="{1E429F78-F44D-0889-106B-5D428928E358}"/>
              </a:ext>
            </a:extLst>
          </p:cNvPr>
          <p:cNvCxnSpPr>
            <a:cxnSpLocks/>
          </p:cNvCxnSpPr>
          <p:nvPr/>
        </p:nvCxnSpPr>
        <p:spPr>
          <a:xfrm>
            <a:off x="6696145" y="4449545"/>
            <a:ext cx="108763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to 46">
            <a:extLst>
              <a:ext uri="{FF2B5EF4-FFF2-40B4-BE49-F238E27FC236}">
                <a16:creationId xmlns:a16="http://schemas.microsoft.com/office/drawing/2014/main" id="{5DB853FF-D2B8-5AB5-9699-C1EB9BD734AC}"/>
              </a:ext>
            </a:extLst>
          </p:cNvPr>
          <p:cNvCxnSpPr>
            <a:cxnSpLocks/>
          </p:cNvCxnSpPr>
          <p:nvPr/>
        </p:nvCxnSpPr>
        <p:spPr>
          <a:xfrm>
            <a:off x="7252254" y="4449545"/>
            <a:ext cx="410876" cy="31550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to 47">
            <a:extLst>
              <a:ext uri="{FF2B5EF4-FFF2-40B4-BE49-F238E27FC236}">
                <a16:creationId xmlns:a16="http://schemas.microsoft.com/office/drawing/2014/main" id="{6020D732-5A41-73FA-8E35-D701EA7F7110}"/>
              </a:ext>
            </a:extLst>
          </p:cNvPr>
          <p:cNvCxnSpPr>
            <a:cxnSpLocks/>
          </p:cNvCxnSpPr>
          <p:nvPr/>
        </p:nvCxnSpPr>
        <p:spPr>
          <a:xfrm>
            <a:off x="8321745" y="4449545"/>
            <a:ext cx="118648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to 48">
            <a:extLst>
              <a:ext uri="{FF2B5EF4-FFF2-40B4-BE49-F238E27FC236}">
                <a16:creationId xmlns:a16="http://schemas.microsoft.com/office/drawing/2014/main" id="{B62B8C6E-7EC1-CE67-9194-29D8FB73AA2D}"/>
              </a:ext>
            </a:extLst>
          </p:cNvPr>
          <p:cNvCxnSpPr>
            <a:cxnSpLocks/>
          </p:cNvCxnSpPr>
          <p:nvPr/>
        </p:nvCxnSpPr>
        <p:spPr>
          <a:xfrm>
            <a:off x="8321745" y="3012362"/>
            <a:ext cx="118648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ector reto 49">
            <a:extLst>
              <a:ext uri="{FF2B5EF4-FFF2-40B4-BE49-F238E27FC236}">
                <a16:creationId xmlns:a16="http://schemas.microsoft.com/office/drawing/2014/main" id="{859C4489-4374-3757-8C78-8E6CB7512121}"/>
              </a:ext>
            </a:extLst>
          </p:cNvPr>
          <p:cNvCxnSpPr>
            <a:cxnSpLocks/>
          </p:cNvCxnSpPr>
          <p:nvPr/>
        </p:nvCxnSpPr>
        <p:spPr>
          <a:xfrm>
            <a:off x="8321745" y="2819495"/>
            <a:ext cx="118648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ector reto 50">
            <a:extLst>
              <a:ext uri="{FF2B5EF4-FFF2-40B4-BE49-F238E27FC236}">
                <a16:creationId xmlns:a16="http://schemas.microsoft.com/office/drawing/2014/main" id="{E3D37FD4-3B9C-F0C4-6083-A182799CC423}"/>
              </a:ext>
            </a:extLst>
          </p:cNvPr>
          <p:cNvCxnSpPr>
            <a:cxnSpLocks/>
          </p:cNvCxnSpPr>
          <p:nvPr/>
        </p:nvCxnSpPr>
        <p:spPr>
          <a:xfrm>
            <a:off x="8078889" y="2538101"/>
            <a:ext cx="14293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Conector reto 51">
            <a:extLst>
              <a:ext uri="{FF2B5EF4-FFF2-40B4-BE49-F238E27FC236}">
                <a16:creationId xmlns:a16="http://schemas.microsoft.com/office/drawing/2014/main" id="{91832830-C0A7-E06D-8A7A-55C3CFF9520D}"/>
              </a:ext>
            </a:extLst>
          </p:cNvPr>
          <p:cNvCxnSpPr>
            <a:cxnSpLocks/>
          </p:cNvCxnSpPr>
          <p:nvPr/>
        </p:nvCxnSpPr>
        <p:spPr>
          <a:xfrm>
            <a:off x="8152080" y="2016788"/>
            <a:ext cx="135614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to 52">
            <a:extLst>
              <a:ext uri="{FF2B5EF4-FFF2-40B4-BE49-F238E27FC236}">
                <a16:creationId xmlns:a16="http://schemas.microsoft.com/office/drawing/2014/main" id="{2634CB91-0551-DE69-12E1-F40576B4E796}"/>
              </a:ext>
            </a:extLst>
          </p:cNvPr>
          <p:cNvCxnSpPr>
            <a:cxnSpLocks/>
          </p:cNvCxnSpPr>
          <p:nvPr/>
        </p:nvCxnSpPr>
        <p:spPr>
          <a:xfrm>
            <a:off x="8321745" y="1864367"/>
            <a:ext cx="118648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CaixaDeTexto 53">
            <a:extLst>
              <a:ext uri="{FF2B5EF4-FFF2-40B4-BE49-F238E27FC236}">
                <a16:creationId xmlns:a16="http://schemas.microsoft.com/office/drawing/2014/main" id="{0E8D8D52-A64D-4EF1-0ED5-1044AD6CDDFC}"/>
              </a:ext>
            </a:extLst>
          </p:cNvPr>
          <p:cNvSpPr txBox="1"/>
          <p:nvPr/>
        </p:nvSpPr>
        <p:spPr>
          <a:xfrm>
            <a:off x="3770881" y="3643307"/>
            <a:ext cx="1745319" cy="5355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pt-BR" sz="1600" b="1" i="0" u="none" strike="noStrike" kern="1200" cap="none" spc="0" normalizeH="0" baseline="0" noProof="0" dirty="0">
                <a:ln>
                  <a:noFill/>
                </a:ln>
                <a:solidFill>
                  <a:schemeClr val="bg1"/>
                </a:solidFill>
                <a:effectLst/>
                <a:uLnTx/>
                <a:uFillTx/>
                <a:latin typeface="Calibri"/>
                <a:ea typeface="+mn-ea"/>
                <a:cs typeface="+mn-cs"/>
              </a:rPr>
              <a:t>Órgãos </a:t>
            </a:r>
            <a:r>
              <a:rPr kumimoji="0" lang="pt-BR" sz="1600" b="1" i="0" u="none" strike="noStrike" kern="1200" cap="none" spc="0" normalizeH="0" baseline="0" noProof="0" dirty="0" err="1">
                <a:ln>
                  <a:noFill/>
                </a:ln>
                <a:solidFill>
                  <a:schemeClr val="bg1"/>
                </a:solidFill>
                <a:effectLst/>
                <a:uLnTx/>
                <a:uFillTx/>
                <a:latin typeface="Calibri"/>
                <a:ea typeface="+mn-ea"/>
                <a:cs typeface="+mn-cs"/>
              </a:rPr>
              <a:t>linfóides</a:t>
            </a:r>
            <a:r>
              <a:rPr kumimoji="0" lang="pt-BR" sz="1600" b="1" i="0" u="none" strike="noStrike" kern="1200" cap="none" spc="0" normalizeH="0" baseline="0" noProof="0" dirty="0">
                <a:ln>
                  <a:noFill/>
                </a:ln>
                <a:solidFill>
                  <a:schemeClr val="bg1"/>
                </a:solidFill>
                <a:effectLst/>
                <a:uLnTx/>
                <a:uFillTx/>
                <a:latin typeface="Calibri"/>
                <a:ea typeface="+mn-ea"/>
                <a:cs typeface="+mn-cs"/>
              </a:rPr>
              <a:t> SECUNDÁRIOS</a:t>
            </a:r>
          </a:p>
        </p:txBody>
      </p:sp>
    </p:spTree>
    <p:extLst>
      <p:ext uri="{BB962C8B-B14F-4D97-AF65-F5344CB8AC3E}">
        <p14:creationId xmlns:p14="http://schemas.microsoft.com/office/powerpoint/2010/main" val="2778679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000"/>
                            </p:stCondLst>
                            <p:childTnLst>
                              <p:par>
                                <p:cTn id="12" presetID="22" presetClass="entr" presetSubtype="2" fill="hold" nodeType="afterEffect">
                                  <p:stCondLst>
                                    <p:cond delay="500"/>
                                  </p:stCondLst>
                                  <p:childTnLst>
                                    <p:set>
                                      <p:cBhvr>
                                        <p:cTn id="13" dur="1" fill="hold">
                                          <p:stCondLst>
                                            <p:cond delay="0"/>
                                          </p:stCondLst>
                                        </p:cTn>
                                        <p:tgtEl>
                                          <p:spTgt spid="34"/>
                                        </p:tgtEl>
                                        <p:attrNameLst>
                                          <p:attrName>style.visibility</p:attrName>
                                        </p:attrNameLst>
                                      </p:cBhvr>
                                      <p:to>
                                        <p:strVal val="visible"/>
                                      </p:to>
                                    </p:set>
                                    <p:animEffect transition="in" filter="wipe(right)">
                                      <p:cBhvr>
                                        <p:cTn id="14" dur="500"/>
                                        <p:tgtEl>
                                          <p:spTgt spid="34"/>
                                        </p:tgtEl>
                                      </p:cBhvr>
                                    </p:animEffect>
                                  </p:childTnLst>
                                </p:cTn>
                              </p:par>
                              <p:par>
                                <p:cTn id="15" presetID="22" presetClass="entr" presetSubtype="2" fill="hold" nodeType="withEffect">
                                  <p:stCondLst>
                                    <p:cond delay="500"/>
                                  </p:stCondLst>
                                  <p:childTnLst>
                                    <p:set>
                                      <p:cBhvr>
                                        <p:cTn id="16" dur="1" fill="hold">
                                          <p:stCondLst>
                                            <p:cond delay="0"/>
                                          </p:stCondLst>
                                        </p:cTn>
                                        <p:tgtEl>
                                          <p:spTgt spid="35"/>
                                        </p:tgtEl>
                                        <p:attrNameLst>
                                          <p:attrName>style.visibility</p:attrName>
                                        </p:attrNameLst>
                                      </p:cBhvr>
                                      <p:to>
                                        <p:strVal val="visible"/>
                                      </p:to>
                                    </p:set>
                                    <p:animEffect transition="in" filter="wipe(right)">
                                      <p:cBhvr>
                                        <p:cTn id="17" dur="500"/>
                                        <p:tgtEl>
                                          <p:spTgt spid="35"/>
                                        </p:tgtEl>
                                      </p:cBhvr>
                                    </p:animEffect>
                                  </p:childTnLst>
                                </p:cTn>
                              </p:par>
                              <p:par>
                                <p:cTn id="18" presetID="22" presetClass="entr" presetSubtype="2" fill="hold" nodeType="withEffect">
                                  <p:stCondLst>
                                    <p:cond delay="500"/>
                                  </p:stCondLst>
                                  <p:childTnLst>
                                    <p:set>
                                      <p:cBhvr>
                                        <p:cTn id="19" dur="1" fill="hold">
                                          <p:stCondLst>
                                            <p:cond delay="0"/>
                                          </p:stCondLst>
                                        </p:cTn>
                                        <p:tgtEl>
                                          <p:spTgt spid="43"/>
                                        </p:tgtEl>
                                        <p:attrNameLst>
                                          <p:attrName>style.visibility</p:attrName>
                                        </p:attrNameLst>
                                      </p:cBhvr>
                                      <p:to>
                                        <p:strVal val="visible"/>
                                      </p:to>
                                    </p:set>
                                    <p:animEffect transition="in" filter="wipe(right)">
                                      <p:cBhvr>
                                        <p:cTn id="20" dur="500"/>
                                        <p:tgtEl>
                                          <p:spTgt spid="43"/>
                                        </p:tgtEl>
                                      </p:cBhvr>
                                    </p:animEffect>
                                  </p:childTnLst>
                                </p:cTn>
                              </p:par>
                              <p:par>
                                <p:cTn id="21" presetID="22" presetClass="entr" presetSubtype="2" fill="hold" nodeType="withEffect">
                                  <p:stCondLst>
                                    <p:cond delay="500"/>
                                  </p:stCondLst>
                                  <p:childTnLst>
                                    <p:set>
                                      <p:cBhvr>
                                        <p:cTn id="22" dur="1" fill="hold">
                                          <p:stCondLst>
                                            <p:cond delay="0"/>
                                          </p:stCondLst>
                                        </p:cTn>
                                        <p:tgtEl>
                                          <p:spTgt spid="44"/>
                                        </p:tgtEl>
                                        <p:attrNameLst>
                                          <p:attrName>style.visibility</p:attrName>
                                        </p:attrNameLst>
                                      </p:cBhvr>
                                      <p:to>
                                        <p:strVal val="visible"/>
                                      </p:to>
                                    </p:set>
                                    <p:animEffect transition="in" filter="wipe(right)">
                                      <p:cBhvr>
                                        <p:cTn id="23" dur="500"/>
                                        <p:tgtEl>
                                          <p:spTgt spid="44"/>
                                        </p:tgtEl>
                                      </p:cBhvr>
                                    </p:animEffect>
                                  </p:childTnLst>
                                </p:cTn>
                              </p:par>
                              <p:par>
                                <p:cTn id="24" presetID="22" presetClass="entr" presetSubtype="2" fill="hold" nodeType="withEffect">
                                  <p:stCondLst>
                                    <p:cond delay="500"/>
                                  </p:stCondLst>
                                  <p:childTnLst>
                                    <p:set>
                                      <p:cBhvr>
                                        <p:cTn id="25" dur="1" fill="hold">
                                          <p:stCondLst>
                                            <p:cond delay="0"/>
                                          </p:stCondLst>
                                        </p:cTn>
                                        <p:tgtEl>
                                          <p:spTgt spid="45"/>
                                        </p:tgtEl>
                                        <p:attrNameLst>
                                          <p:attrName>style.visibility</p:attrName>
                                        </p:attrNameLst>
                                      </p:cBhvr>
                                      <p:to>
                                        <p:strVal val="visible"/>
                                      </p:to>
                                    </p:set>
                                    <p:animEffect transition="in" filter="wipe(right)">
                                      <p:cBhvr>
                                        <p:cTn id="26" dur="500"/>
                                        <p:tgtEl>
                                          <p:spTgt spid="45"/>
                                        </p:tgtEl>
                                      </p:cBhvr>
                                    </p:animEffect>
                                  </p:childTnLst>
                                </p:cTn>
                              </p:par>
                              <p:par>
                                <p:cTn id="27" presetID="22" presetClass="entr" presetSubtype="2" fill="hold" nodeType="withEffect">
                                  <p:stCondLst>
                                    <p:cond delay="500"/>
                                  </p:stCondLst>
                                  <p:childTnLst>
                                    <p:set>
                                      <p:cBhvr>
                                        <p:cTn id="28" dur="1" fill="hold">
                                          <p:stCondLst>
                                            <p:cond delay="0"/>
                                          </p:stCondLst>
                                        </p:cTn>
                                        <p:tgtEl>
                                          <p:spTgt spid="46"/>
                                        </p:tgtEl>
                                        <p:attrNameLst>
                                          <p:attrName>style.visibility</p:attrName>
                                        </p:attrNameLst>
                                      </p:cBhvr>
                                      <p:to>
                                        <p:strVal val="visible"/>
                                      </p:to>
                                    </p:set>
                                    <p:animEffect transition="in" filter="wipe(right)">
                                      <p:cBhvr>
                                        <p:cTn id="29" dur="500"/>
                                        <p:tgtEl>
                                          <p:spTgt spid="46"/>
                                        </p:tgtEl>
                                      </p:cBhvr>
                                    </p:animEffect>
                                  </p:childTnLst>
                                </p:cTn>
                              </p:par>
                              <p:par>
                                <p:cTn id="30" presetID="22" presetClass="entr" presetSubtype="2" fill="hold" nodeType="withEffect">
                                  <p:stCondLst>
                                    <p:cond delay="500"/>
                                  </p:stCondLst>
                                  <p:childTnLst>
                                    <p:set>
                                      <p:cBhvr>
                                        <p:cTn id="31" dur="1" fill="hold">
                                          <p:stCondLst>
                                            <p:cond delay="0"/>
                                          </p:stCondLst>
                                        </p:cTn>
                                        <p:tgtEl>
                                          <p:spTgt spid="47"/>
                                        </p:tgtEl>
                                        <p:attrNameLst>
                                          <p:attrName>style.visibility</p:attrName>
                                        </p:attrNameLst>
                                      </p:cBhvr>
                                      <p:to>
                                        <p:strVal val="visible"/>
                                      </p:to>
                                    </p:set>
                                    <p:animEffect transition="in" filter="wipe(right)">
                                      <p:cBhvr>
                                        <p:cTn id="32" dur="500"/>
                                        <p:tgtEl>
                                          <p:spTgt spid="47"/>
                                        </p:tgtEl>
                                      </p:cBhvr>
                                    </p:animEffect>
                                  </p:childTnLst>
                                </p:cTn>
                              </p:par>
                              <p:par>
                                <p:cTn id="33" presetID="22" presetClass="entr" presetSubtype="8" fill="hold" nodeType="withEffect">
                                  <p:stCondLst>
                                    <p:cond delay="500"/>
                                  </p:stCondLst>
                                  <p:childTnLst>
                                    <p:set>
                                      <p:cBhvr>
                                        <p:cTn id="34" dur="1" fill="hold">
                                          <p:stCondLst>
                                            <p:cond delay="0"/>
                                          </p:stCondLst>
                                        </p:cTn>
                                        <p:tgtEl>
                                          <p:spTgt spid="53"/>
                                        </p:tgtEl>
                                        <p:attrNameLst>
                                          <p:attrName>style.visibility</p:attrName>
                                        </p:attrNameLst>
                                      </p:cBhvr>
                                      <p:to>
                                        <p:strVal val="visible"/>
                                      </p:to>
                                    </p:set>
                                    <p:animEffect transition="in" filter="wipe(left)">
                                      <p:cBhvr>
                                        <p:cTn id="35" dur="500"/>
                                        <p:tgtEl>
                                          <p:spTgt spid="53"/>
                                        </p:tgtEl>
                                      </p:cBhvr>
                                    </p:animEffect>
                                  </p:childTnLst>
                                </p:cTn>
                              </p:par>
                              <p:par>
                                <p:cTn id="36" presetID="22" presetClass="entr" presetSubtype="8" fill="hold" nodeType="withEffect">
                                  <p:stCondLst>
                                    <p:cond delay="500"/>
                                  </p:stCondLst>
                                  <p:childTnLst>
                                    <p:set>
                                      <p:cBhvr>
                                        <p:cTn id="37" dur="1" fill="hold">
                                          <p:stCondLst>
                                            <p:cond delay="0"/>
                                          </p:stCondLst>
                                        </p:cTn>
                                        <p:tgtEl>
                                          <p:spTgt spid="52"/>
                                        </p:tgtEl>
                                        <p:attrNameLst>
                                          <p:attrName>style.visibility</p:attrName>
                                        </p:attrNameLst>
                                      </p:cBhvr>
                                      <p:to>
                                        <p:strVal val="visible"/>
                                      </p:to>
                                    </p:set>
                                    <p:animEffect transition="in" filter="wipe(left)">
                                      <p:cBhvr>
                                        <p:cTn id="38" dur="500"/>
                                        <p:tgtEl>
                                          <p:spTgt spid="52"/>
                                        </p:tgtEl>
                                      </p:cBhvr>
                                    </p:animEffect>
                                  </p:childTnLst>
                                </p:cTn>
                              </p:par>
                              <p:par>
                                <p:cTn id="39" presetID="22" presetClass="entr" presetSubtype="8" fill="hold" nodeType="withEffect">
                                  <p:stCondLst>
                                    <p:cond delay="50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nodeType="withEffect">
                                  <p:stCondLst>
                                    <p:cond delay="500"/>
                                  </p:stCondLst>
                                  <p:childTnLst>
                                    <p:set>
                                      <p:cBhvr>
                                        <p:cTn id="43" dur="1" fill="hold">
                                          <p:stCondLst>
                                            <p:cond delay="0"/>
                                          </p:stCondLst>
                                        </p:cTn>
                                        <p:tgtEl>
                                          <p:spTgt spid="50"/>
                                        </p:tgtEl>
                                        <p:attrNameLst>
                                          <p:attrName>style.visibility</p:attrName>
                                        </p:attrNameLst>
                                      </p:cBhvr>
                                      <p:to>
                                        <p:strVal val="visible"/>
                                      </p:to>
                                    </p:set>
                                    <p:animEffect transition="in" filter="wipe(left)">
                                      <p:cBhvr>
                                        <p:cTn id="44" dur="500"/>
                                        <p:tgtEl>
                                          <p:spTgt spid="50"/>
                                        </p:tgtEl>
                                      </p:cBhvr>
                                    </p:animEffect>
                                  </p:childTnLst>
                                </p:cTn>
                              </p:par>
                              <p:par>
                                <p:cTn id="45" presetID="22" presetClass="entr" presetSubtype="8" fill="hold" nodeType="withEffect">
                                  <p:stCondLst>
                                    <p:cond delay="500"/>
                                  </p:stCondLst>
                                  <p:childTnLst>
                                    <p:set>
                                      <p:cBhvr>
                                        <p:cTn id="46" dur="1" fill="hold">
                                          <p:stCondLst>
                                            <p:cond delay="0"/>
                                          </p:stCondLst>
                                        </p:cTn>
                                        <p:tgtEl>
                                          <p:spTgt spid="49"/>
                                        </p:tgtEl>
                                        <p:attrNameLst>
                                          <p:attrName>style.visibility</p:attrName>
                                        </p:attrNameLst>
                                      </p:cBhvr>
                                      <p:to>
                                        <p:strVal val="visible"/>
                                      </p:to>
                                    </p:set>
                                    <p:animEffect transition="in" filter="wipe(left)">
                                      <p:cBhvr>
                                        <p:cTn id="47" dur="500"/>
                                        <p:tgtEl>
                                          <p:spTgt spid="49"/>
                                        </p:tgtEl>
                                      </p:cBhvr>
                                    </p:animEffect>
                                  </p:childTnLst>
                                </p:cTn>
                              </p:par>
                              <p:par>
                                <p:cTn id="48" presetID="22" presetClass="entr" presetSubtype="8" fill="hold" nodeType="withEffect">
                                  <p:stCondLst>
                                    <p:cond delay="500"/>
                                  </p:stCondLst>
                                  <p:childTnLst>
                                    <p:set>
                                      <p:cBhvr>
                                        <p:cTn id="49" dur="1" fill="hold">
                                          <p:stCondLst>
                                            <p:cond delay="0"/>
                                          </p:stCondLst>
                                        </p:cTn>
                                        <p:tgtEl>
                                          <p:spTgt spid="48"/>
                                        </p:tgtEl>
                                        <p:attrNameLst>
                                          <p:attrName>style.visibility</p:attrName>
                                        </p:attrNameLst>
                                      </p:cBhvr>
                                      <p:to>
                                        <p:strVal val="visible"/>
                                      </p:to>
                                    </p:set>
                                    <p:animEffect transition="in" filter="wipe(left)">
                                      <p:cBhvr>
                                        <p:cTn id="50" dur="500"/>
                                        <p:tgtEl>
                                          <p:spTgt spid="48"/>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11"/>
                                        </p:tgtEl>
                                        <p:attrNameLst>
                                          <p:attrName>style.visibility</p:attrName>
                                        </p:attrNameLst>
                                      </p:cBhvr>
                                      <p:to>
                                        <p:strVal val="visible"/>
                                      </p:to>
                                    </p:set>
                                    <p:animEffect transition="in" filter="fade">
                                      <p:cBhvr>
                                        <p:cTn id="53" dur="500"/>
                                        <p:tgtEl>
                                          <p:spTgt spid="11"/>
                                        </p:tgtEl>
                                      </p:cBhvr>
                                    </p:animEffect>
                                  </p:childTnLst>
                                </p:cTn>
                              </p:par>
                              <p:par>
                                <p:cTn id="54" presetID="10" presetClass="entr" presetSubtype="0" fill="hold" grpId="0" nodeType="withEffect">
                                  <p:stCondLst>
                                    <p:cond delay="75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75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500"/>
                                        <p:tgtEl>
                                          <p:spTgt spid="22"/>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500"/>
                                        <p:tgtEl>
                                          <p:spTgt spid="23"/>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childTnLst>
                                </p:cTn>
                              </p:par>
                              <p:par>
                                <p:cTn id="69" presetID="10" presetClass="entr" presetSubtype="0" fill="hold" grpId="0" nodeType="withEffect">
                                  <p:stCondLst>
                                    <p:cond delay="75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grpId="0" nodeType="withEffect">
                                  <p:stCondLst>
                                    <p:cond delay="75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500"/>
                                        <p:tgtEl>
                                          <p:spTgt spid="12"/>
                                        </p:tgtEl>
                                      </p:cBhvr>
                                    </p:animEffect>
                                  </p:childTnLst>
                                </p:cTn>
                              </p:par>
                              <p:par>
                                <p:cTn id="75" presetID="10" presetClass="entr" presetSubtype="0" fill="hold" grpId="0" nodeType="withEffect">
                                  <p:stCondLst>
                                    <p:cond delay="750"/>
                                  </p:stCondLst>
                                  <p:childTnLst>
                                    <p:set>
                                      <p:cBhvr>
                                        <p:cTn id="76" dur="1" fill="hold">
                                          <p:stCondLst>
                                            <p:cond delay="0"/>
                                          </p:stCondLst>
                                        </p:cTn>
                                        <p:tgtEl>
                                          <p:spTgt spid="13"/>
                                        </p:tgtEl>
                                        <p:attrNameLst>
                                          <p:attrName>style.visibility</p:attrName>
                                        </p:attrNameLst>
                                      </p:cBhvr>
                                      <p:to>
                                        <p:strVal val="visible"/>
                                      </p:to>
                                    </p:set>
                                    <p:animEffect transition="in" filter="fade">
                                      <p:cBhvr>
                                        <p:cTn id="77" dur="500"/>
                                        <p:tgtEl>
                                          <p:spTgt spid="13"/>
                                        </p:tgtEl>
                                      </p:cBhvr>
                                    </p:animEffect>
                                  </p:childTnLst>
                                </p:cTn>
                              </p:par>
                              <p:par>
                                <p:cTn id="78" presetID="10" presetClass="entr" presetSubtype="0" fill="hold" grpId="0" nodeType="withEffect">
                                  <p:stCondLst>
                                    <p:cond delay="750"/>
                                  </p:stCondLst>
                                  <p:childTnLst>
                                    <p:set>
                                      <p:cBhvr>
                                        <p:cTn id="79" dur="1" fill="hold">
                                          <p:stCondLst>
                                            <p:cond delay="0"/>
                                          </p:stCondLst>
                                        </p:cTn>
                                        <p:tgtEl>
                                          <p:spTgt spid="17"/>
                                        </p:tgtEl>
                                        <p:attrNameLst>
                                          <p:attrName>style.visibility</p:attrName>
                                        </p:attrNameLst>
                                      </p:cBhvr>
                                      <p:to>
                                        <p:strVal val="visible"/>
                                      </p:to>
                                    </p:set>
                                    <p:animEffect transition="in" filter="fade">
                                      <p:cBhvr>
                                        <p:cTn id="80" dur="500"/>
                                        <p:tgtEl>
                                          <p:spTgt spid="17"/>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26"/>
                                        </p:tgtEl>
                                        <p:attrNameLst>
                                          <p:attrName>style.visibility</p:attrName>
                                        </p:attrNameLst>
                                      </p:cBhvr>
                                      <p:to>
                                        <p:strVal val="visible"/>
                                      </p:to>
                                    </p:set>
                                    <p:animEffect transition="in" filter="fade">
                                      <p:cBhvr>
                                        <p:cTn id="83" dur="500"/>
                                        <p:tgtEl>
                                          <p:spTgt spid="26"/>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par>
                                <p:cTn id="87" presetID="10" presetClass="entr" presetSubtype="0" fill="hold" grpId="0" nodeType="withEffect">
                                  <p:stCondLst>
                                    <p:cond delay="750"/>
                                  </p:stCondLst>
                                  <p:childTnLst>
                                    <p:set>
                                      <p:cBhvr>
                                        <p:cTn id="88" dur="1" fill="hold">
                                          <p:stCondLst>
                                            <p:cond delay="0"/>
                                          </p:stCondLst>
                                        </p:cTn>
                                        <p:tgtEl>
                                          <p:spTgt spid="28"/>
                                        </p:tgtEl>
                                        <p:attrNameLst>
                                          <p:attrName>style.visibility</p:attrName>
                                        </p:attrNameLst>
                                      </p:cBhvr>
                                      <p:to>
                                        <p:strVal val="visible"/>
                                      </p:to>
                                    </p:set>
                                    <p:animEffect transition="in" filter="fade">
                                      <p:cBhvr>
                                        <p:cTn id="89" dur="500"/>
                                        <p:tgtEl>
                                          <p:spTgt spid="28"/>
                                        </p:tgtEl>
                                      </p:cBhvr>
                                    </p:animEffect>
                                  </p:childTnLst>
                                </p:cTn>
                              </p:par>
                              <p:par>
                                <p:cTn id="90" presetID="10" presetClass="entr" presetSubtype="0" fill="hold" grpId="0" nodeType="withEffect">
                                  <p:stCondLst>
                                    <p:cond delay="750"/>
                                  </p:stCondLst>
                                  <p:childTnLst>
                                    <p:set>
                                      <p:cBhvr>
                                        <p:cTn id="91" dur="1" fill="hold">
                                          <p:stCondLst>
                                            <p:cond delay="0"/>
                                          </p:stCondLst>
                                        </p:cTn>
                                        <p:tgtEl>
                                          <p:spTgt spid="29"/>
                                        </p:tgtEl>
                                        <p:attrNameLst>
                                          <p:attrName>style.visibility</p:attrName>
                                        </p:attrNameLst>
                                      </p:cBhvr>
                                      <p:to>
                                        <p:strVal val="visible"/>
                                      </p:to>
                                    </p:set>
                                    <p:animEffect transition="in" filter="fade">
                                      <p:cBhvr>
                                        <p:cTn id="92" dur="500"/>
                                        <p:tgtEl>
                                          <p:spTgt spid="29"/>
                                        </p:tgtEl>
                                      </p:cBhvr>
                                    </p:animEffect>
                                  </p:childTnLst>
                                </p:cTn>
                              </p:par>
                              <p:par>
                                <p:cTn id="93" presetID="10" presetClass="entr" presetSubtype="0" fill="hold" grpId="0" nodeType="withEffect">
                                  <p:stCondLst>
                                    <p:cond delay="75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500"/>
                                        <p:tgtEl>
                                          <p:spTgt spid="30"/>
                                        </p:tgtEl>
                                      </p:cBhvr>
                                    </p:animEffect>
                                  </p:childTnLst>
                                </p:cTn>
                              </p:par>
                              <p:par>
                                <p:cTn id="96" presetID="10" presetClass="entr" presetSubtype="0" fill="hold" grpId="0" nodeType="withEffect">
                                  <p:stCondLst>
                                    <p:cond delay="75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53" presetClass="entr" presetSubtype="16" fill="hold" grpId="0" nodeType="withEffect">
                                  <p:stCondLst>
                                    <p:cond delay="750"/>
                                  </p:stCondLst>
                                  <p:childTnLst>
                                    <p:set>
                                      <p:cBhvr>
                                        <p:cTn id="100" dur="1" fill="hold">
                                          <p:stCondLst>
                                            <p:cond delay="0"/>
                                          </p:stCondLst>
                                        </p:cTn>
                                        <p:tgtEl>
                                          <p:spTgt spid="55"/>
                                        </p:tgtEl>
                                        <p:attrNameLst>
                                          <p:attrName>style.visibility</p:attrName>
                                        </p:attrNameLst>
                                      </p:cBhvr>
                                      <p:to>
                                        <p:strVal val="visible"/>
                                      </p:to>
                                    </p:set>
                                    <p:anim calcmode="lin" valueType="num">
                                      <p:cBhvr>
                                        <p:cTn id="101" dur="500" fill="hold"/>
                                        <p:tgtEl>
                                          <p:spTgt spid="55"/>
                                        </p:tgtEl>
                                        <p:attrNameLst>
                                          <p:attrName>ppt_w</p:attrName>
                                        </p:attrNameLst>
                                      </p:cBhvr>
                                      <p:tavLst>
                                        <p:tav tm="0">
                                          <p:val>
                                            <p:fltVal val="0"/>
                                          </p:val>
                                        </p:tav>
                                        <p:tav tm="100000">
                                          <p:val>
                                            <p:strVal val="#ppt_w"/>
                                          </p:val>
                                        </p:tav>
                                      </p:tavLst>
                                    </p:anim>
                                    <p:anim calcmode="lin" valueType="num">
                                      <p:cBhvr>
                                        <p:cTn id="102" dur="500" fill="hold"/>
                                        <p:tgtEl>
                                          <p:spTgt spid="55"/>
                                        </p:tgtEl>
                                        <p:attrNameLst>
                                          <p:attrName>ppt_h</p:attrName>
                                        </p:attrNameLst>
                                      </p:cBhvr>
                                      <p:tavLst>
                                        <p:tav tm="0">
                                          <p:val>
                                            <p:fltVal val="0"/>
                                          </p:val>
                                        </p:tav>
                                        <p:tav tm="100000">
                                          <p:val>
                                            <p:strVal val="#ppt_h"/>
                                          </p:val>
                                        </p:tav>
                                      </p:tavLst>
                                    </p:anim>
                                    <p:animEffect transition="in" filter="fade">
                                      <p:cBhvr>
                                        <p:cTn id="103" dur="500"/>
                                        <p:tgtEl>
                                          <p:spTgt spid="55"/>
                                        </p:tgtEl>
                                      </p:cBhvr>
                                    </p:animEffect>
                                  </p:childTnLst>
                                </p:cTn>
                              </p:par>
                              <p:par>
                                <p:cTn id="104" presetID="53" presetClass="entr" presetSubtype="16" fill="hold" grpId="0" nodeType="withEffect">
                                  <p:stCondLst>
                                    <p:cond delay="750"/>
                                  </p:stCondLst>
                                  <p:childTnLst>
                                    <p:set>
                                      <p:cBhvr>
                                        <p:cTn id="105" dur="1" fill="hold">
                                          <p:stCondLst>
                                            <p:cond delay="0"/>
                                          </p:stCondLst>
                                        </p:cTn>
                                        <p:tgtEl>
                                          <p:spTgt spid="18"/>
                                        </p:tgtEl>
                                        <p:attrNameLst>
                                          <p:attrName>style.visibility</p:attrName>
                                        </p:attrNameLst>
                                      </p:cBhvr>
                                      <p:to>
                                        <p:strVal val="visible"/>
                                      </p:to>
                                    </p:set>
                                    <p:anim calcmode="lin" valueType="num">
                                      <p:cBhvr>
                                        <p:cTn id="106" dur="500" fill="hold"/>
                                        <p:tgtEl>
                                          <p:spTgt spid="18"/>
                                        </p:tgtEl>
                                        <p:attrNameLst>
                                          <p:attrName>ppt_w</p:attrName>
                                        </p:attrNameLst>
                                      </p:cBhvr>
                                      <p:tavLst>
                                        <p:tav tm="0">
                                          <p:val>
                                            <p:fltVal val="0"/>
                                          </p:val>
                                        </p:tav>
                                        <p:tav tm="100000">
                                          <p:val>
                                            <p:strVal val="#ppt_w"/>
                                          </p:val>
                                        </p:tav>
                                      </p:tavLst>
                                    </p:anim>
                                    <p:anim calcmode="lin" valueType="num">
                                      <p:cBhvr>
                                        <p:cTn id="107" dur="500" fill="hold"/>
                                        <p:tgtEl>
                                          <p:spTgt spid="18"/>
                                        </p:tgtEl>
                                        <p:attrNameLst>
                                          <p:attrName>ppt_h</p:attrName>
                                        </p:attrNameLst>
                                      </p:cBhvr>
                                      <p:tavLst>
                                        <p:tav tm="0">
                                          <p:val>
                                            <p:fltVal val="0"/>
                                          </p:val>
                                        </p:tav>
                                        <p:tav tm="100000">
                                          <p:val>
                                            <p:strVal val="#ppt_h"/>
                                          </p:val>
                                        </p:tav>
                                      </p:tavLst>
                                    </p:anim>
                                    <p:animEffect transition="in" filter="fade">
                                      <p:cBhvr>
                                        <p:cTn id="108" dur="500"/>
                                        <p:tgtEl>
                                          <p:spTgt spid="18"/>
                                        </p:tgtEl>
                                      </p:cBhvr>
                                    </p:animEffect>
                                  </p:childTnLst>
                                </p:cTn>
                              </p:par>
                              <p:par>
                                <p:cTn id="109" presetID="53" presetClass="entr" presetSubtype="16" fill="hold" grpId="0" nodeType="withEffect">
                                  <p:stCondLst>
                                    <p:cond delay="750"/>
                                  </p:stCondLst>
                                  <p:childTnLst>
                                    <p:set>
                                      <p:cBhvr>
                                        <p:cTn id="110" dur="1" fill="hold">
                                          <p:stCondLst>
                                            <p:cond delay="0"/>
                                          </p:stCondLst>
                                        </p:cTn>
                                        <p:tgtEl>
                                          <p:spTgt spid="56"/>
                                        </p:tgtEl>
                                        <p:attrNameLst>
                                          <p:attrName>style.visibility</p:attrName>
                                        </p:attrNameLst>
                                      </p:cBhvr>
                                      <p:to>
                                        <p:strVal val="visible"/>
                                      </p:to>
                                    </p:set>
                                    <p:anim calcmode="lin" valueType="num">
                                      <p:cBhvr>
                                        <p:cTn id="111" dur="500" fill="hold"/>
                                        <p:tgtEl>
                                          <p:spTgt spid="56"/>
                                        </p:tgtEl>
                                        <p:attrNameLst>
                                          <p:attrName>ppt_w</p:attrName>
                                        </p:attrNameLst>
                                      </p:cBhvr>
                                      <p:tavLst>
                                        <p:tav tm="0">
                                          <p:val>
                                            <p:fltVal val="0"/>
                                          </p:val>
                                        </p:tav>
                                        <p:tav tm="100000">
                                          <p:val>
                                            <p:strVal val="#ppt_w"/>
                                          </p:val>
                                        </p:tav>
                                      </p:tavLst>
                                    </p:anim>
                                    <p:anim calcmode="lin" valueType="num">
                                      <p:cBhvr>
                                        <p:cTn id="112" dur="500" fill="hold"/>
                                        <p:tgtEl>
                                          <p:spTgt spid="56"/>
                                        </p:tgtEl>
                                        <p:attrNameLst>
                                          <p:attrName>ppt_h</p:attrName>
                                        </p:attrNameLst>
                                      </p:cBhvr>
                                      <p:tavLst>
                                        <p:tav tm="0">
                                          <p:val>
                                            <p:fltVal val="0"/>
                                          </p:val>
                                        </p:tav>
                                        <p:tav tm="100000">
                                          <p:val>
                                            <p:strVal val="#ppt_h"/>
                                          </p:val>
                                        </p:tav>
                                      </p:tavLst>
                                    </p:anim>
                                    <p:animEffect transition="in" filter="fade">
                                      <p:cBhvr>
                                        <p:cTn id="113" dur="500"/>
                                        <p:tgtEl>
                                          <p:spTgt spid="56"/>
                                        </p:tgtEl>
                                      </p:cBhvr>
                                    </p:animEffect>
                                  </p:childTnLst>
                                </p:cTn>
                              </p:par>
                              <p:par>
                                <p:cTn id="114" presetID="53" presetClass="entr" presetSubtype="16" fill="hold" grpId="0" nodeType="withEffect">
                                  <p:stCondLst>
                                    <p:cond delay="750"/>
                                  </p:stCondLst>
                                  <p:childTnLst>
                                    <p:set>
                                      <p:cBhvr>
                                        <p:cTn id="115" dur="1" fill="hold">
                                          <p:stCondLst>
                                            <p:cond delay="0"/>
                                          </p:stCondLst>
                                        </p:cTn>
                                        <p:tgtEl>
                                          <p:spTgt spid="54"/>
                                        </p:tgtEl>
                                        <p:attrNameLst>
                                          <p:attrName>style.visibility</p:attrName>
                                        </p:attrNameLst>
                                      </p:cBhvr>
                                      <p:to>
                                        <p:strVal val="visible"/>
                                      </p:to>
                                    </p:set>
                                    <p:anim calcmode="lin" valueType="num">
                                      <p:cBhvr>
                                        <p:cTn id="116" dur="500" fill="hold"/>
                                        <p:tgtEl>
                                          <p:spTgt spid="54"/>
                                        </p:tgtEl>
                                        <p:attrNameLst>
                                          <p:attrName>ppt_w</p:attrName>
                                        </p:attrNameLst>
                                      </p:cBhvr>
                                      <p:tavLst>
                                        <p:tav tm="0">
                                          <p:val>
                                            <p:fltVal val="0"/>
                                          </p:val>
                                        </p:tav>
                                        <p:tav tm="100000">
                                          <p:val>
                                            <p:strVal val="#ppt_w"/>
                                          </p:val>
                                        </p:tav>
                                      </p:tavLst>
                                    </p:anim>
                                    <p:anim calcmode="lin" valueType="num">
                                      <p:cBhvr>
                                        <p:cTn id="117" dur="500" fill="hold"/>
                                        <p:tgtEl>
                                          <p:spTgt spid="54"/>
                                        </p:tgtEl>
                                        <p:attrNameLst>
                                          <p:attrName>ppt_h</p:attrName>
                                        </p:attrNameLst>
                                      </p:cBhvr>
                                      <p:tavLst>
                                        <p:tav tm="0">
                                          <p:val>
                                            <p:fltVal val="0"/>
                                          </p:val>
                                        </p:tav>
                                        <p:tav tm="100000">
                                          <p:val>
                                            <p:strVal val="#ppt_h"/>
                                          </p:val>
                                        </p:tav>
                                      </p:tavLst>
                                    </p:anim>
                                    <p:animEffect transition="in" filter="fade">
                                      <p:cBhvr>
                                        <p:cTn id="11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55" grpId="0" animBg="1"/>
      <p:bldP spid="56" grpId="0" animBg="1"/>
      <p:bldP spid="11" grpId="0" animBg="1"/>
      <p:bldP spid="12" grpId="0" animBg="1"/>
      <p:bldP spid="13" grpId="0" animBg="1"/>
      <p:bldP spid="17" grpId="0" animBg="1"/>
      <p:bldP spid="18" grpId="0"/>
      <p:bldP spid="19" grpId="0"/>
      <p:bldP spid="21" grpId="0"/>
      <p:bldP spid="22" grpId="0"/>
      <p:bldP spid="23" grpId="0"/>
      <p:bldP spid="24" grpId="0"/>
      <p:bldP spid="25" grpId="0"/>
      <p:bldP spid="26" grpId="0"/>
      <p:bldP spid="27" grpId="0"/>
      <p:bldP spid="28" grpId="0"/>
      <p:bldP spid="29" grpId="0"/>
      <p:bldP spid="30" grpId="0"/>
      <p:bldP spid="31" grpId="0"/>
      <p:bldP spid="5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9712364" cy="880241"/>
          </a:xfrm>
          <a:prstGeom prst="rect">
            <a:avLst/>
          </a:prstGeom>
          <a:noFill/>
        </p:spPr>
        <p:txBody>
          <a:bodyPr wrap="square" rtlCol="0">
            <a:spAutoFit/>
          </a:bodyPr>
          <a:lstStyle/>
          <a:p>
            <a:pPr lvl="0">
              <a:lnSpc>
                <a:spcPct val="80000"/>
              </a:lnSpc>
              <a:defRPr/>
            </a:pPr>
            <a:r>
              <a:rPr lang="pt-BR" sz="3200" b="1" dirty="0">
                <a:gradFill>
                  <a:gsLst>
                    <a:gs pos="0">
                      <a:schemeClr val="accent1"/>
                    </a:gs>
                    <a:gs pos="100000">
                      <a:schemeClr val="bg2"/>
                    </a:gs>
                  </a:gsLst>
                  <a:lin ang="2700000" scaled="0"/>
                </a:gradFill>
                <a:latin typeface="Calisto MT"/>
              </a:rPr>
              <a:t>O complemento é um sistema de proteínas ativado por três processos distintos</a:t>
            </a:r>
            <a:r>
              <a:rPr lang="pt-BR" sz="3200" b="1" baseline="30000" dirty="0">
                <a:gradFill>
                  <a:gsLst>
                    <a:gs pos="0">
                      <a:schemeClr val="accent1"/>
                    </a:gs>
                    <a:gs pos="100000">
                      <a:schemeClr val="bg2"/>
                    </a:gs>
                  </a:gsLst>
                  <a:lin ang="2700000" scaled="0"/>
                </a:gradFill>
                <a:latin typeface="Calisto MT"/>
              </a:rPr>
              <a:t>1-2</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14645" y="6241030"/>
            <a:ext cx="9729787" cy="565786"/>
          </a:xfrm>
        </p:spPr>
        <p:txBody>
          <a:bodyPr/>
          <a:lstStyle/>
          <a:p>
            <a:pPr algn="l" fontAlgn="base"/>
            <a:br>
              <a:rPr lang="pt-BR" b="0" i="0" dirty="0">
                <a:solidFill>
                  <a:srgbClr val="1D1D1D"/>
                </a:solidFill>
                <a:effectLst/>
                <a:latin typeface="Arial" panose="020B0604020202020204" pitchFamily="34" charset="0"/>
              </a:rPr>
            </a:br>
            <a:r>
              <a:rPr lang="pt-BR" b="0" i="0" dirty="0">
                <a:solidFill>
                  <a:srgbClr val="1D1D1D"/>
                </a:solidFill>
                <a:effectLst/>
                <a:latin typeface="Arial" panose="020B0604020202020204" pitchFamily="34" charset="0"/>
              </a:rPr>
              <a:t>1. </a:t>
            </a:r>
            <a:r>
              <a:rPr lang="pt-BR" b="0" i="0" dirty="0" err="1">
                <a:solidFill>
                  <a:srgbClr val="1D1D1D"/>
                </a:solidFill>
                <a:effectLst/>
                <a:latin typeface="Arial" panose="020B0604020202020204" pitchFamily="34" charset="0"/>
              </a:rPr>
              <a:t>Walport</a:t>
            </a:r>
            <a:r>
              <a:rPr lang="pt-BR" b="0" i="0" dirty="0">
                <a:solidFill>
                  <a:srgbClr val="1D1D1D"/>
                </a:solidFill>
                <a:effectLst/>
                <a:latin typeface="Arial" panose="020B0604020202020204" pitchFamily="34" charset="0"/>
              </a:rPr>
              <a:t> MJ.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Firs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of</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wo</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parts</a:t>
            </a:r>
            <a:r>
              <a:rPr lang="pt-BR" b="0" i="0" dirty="0">
                <a:solidFill>
                  <a:srgbClr val="1D1D1D"/>
                </a:solidFill>
                <a:effectLst/>
                <a:latin typeface="Arial" panose="020B0604020202020204" pitchFamily="34" charset="0"/>
              </a:rPr>
              <a:t>. N </a:t>
            </a:r>
            <a:r>
              <a:rPr lang="pt-BR" b="0" i="0" dirty="0" err="1">
                <a:solidFill>
                  <a:srgbClr val="1D1D1D"/>
                </a:solidFill>
                <a:effectLst/>
                <a:latin typeface="Arial" panose="020B0604020202020204" pitchFamily="34" charset="0"/>
              </a:rPr>
              <a:t>Engl</a:t>
            </a:r>
            <a:r>
              <a:rPr lang="pt-BR" b="0" i="0" dirty="0">
                <a:solidFill>
                  <a:srgbClr val="1D1D1D"/>
                </a:solidFill>
                <a:effectLst/>
                <a:latin typeface="Arial" panose="020B0604020202020204" pitchFamily="34" charset="0"/>
              </a:rPr>
              <a:t> J Med. 2001 </a:t>
            </a:r>
            <a:r>
              <a:rPr lang="pt-BR" b="0" i="0" dirty="0" err="1">
                <a:solidFill>
                  <a:srgbClr val="1D1D1D"/>
                </a:solidFill>
                <a:effectLst/>
                <a:latin typeface="Arial" panose="020B0604020202020204" pitchFamily="34" charset="0"/>
              </a:rPr>
              <a:t>Apr</a:t>
            </a:r>
            <a:r>
              <a:rPr lang="pt-BR" b="0" i="0" dirty="0">
                <a:solidFill>
                  <a:srgbClr val="1D1D1D"/>
                </a:solidFill>
                <a:effectLst/>
                <a:latin typeface="Arial" panose="020B0604020202020204" pitchFamily="34" charset="0"/>
              </a:rPr>
              <a:t> 5;344(14):1058-66.</a:t>
            </a:r>
          </a:p>
          <a:p>
            <a:pPr algn="l" fontAlgn="base"/>
            <a:r>
              <a:rPr lang="pt-BR" b="0" i="0" dirty="0">
                <a:solidFill>
                  <a:srgbClr val="1D1D1D"/>
                </a:solidFill>
                <a:effectLst/>
                <a:latin typeface="Arial" panose="020B0604020202020204" pitchFamily="34" charset="0"/>
              </a:rPr>
              <a:t>2. </a:t>
            </a:r>
            <a:r>
              <a:rPr lang="pt-BR" b="0" i="0" dirty="0" err="1">
                <a:solidFill>
                  <a:srgbClr val="1D1D1D"/>
                </a:solidFill>
                <a:effectLst/>
                <a:latin typeface="Arial" panose="020B0604020202020204" pitchFamily="34" charset="0"/>
              </a:rPr>
              <a:t>Merle</a:t>
            </a:r>
            <a:r>
              <a:rPr lang="pt-BR" b="0" i="0" dirty="0">
                <a:solidFill>
                  <a:srgbClr val="1D1D1D"/>
                </a:solidFill>
                <a:effectLst/>
                <a:latin typeface="Arial" panose="020B0604020202020204" pitchFamily="34" charset="0"/>
              </a:rPr>
              <a:t> NS, </a:t>
            </a:r>
            <a:r>
              <a:rPr lang="pt-BR" b="0" i="0" dirty="0" err="1">
                <a:solidFill>
                  <a:srgbClr val="1D1D1D"/>
                </a:solidFill>
                <a:effectLst/>
                <a:latin typeface="Arial" panose="020B0604020202020204" pitchFamily="34" charset="0"/>
              </a:rPr>
              <a:t>Noe</a:t>
            </a:r>
            <a:r>
              <a:rPr lang="pt-BR" b="0" i="0" dirty="0">
                <a:solidFill>
                  <a:srgbClr val="1D1D1D"/>
                </a:solidFill>
                <a:effectLst/>
                <a:latin typeface="Arial" panose="020B0604020202020204" pitchFamily="34" charset="0"/>
              </a:rPr>
              <a:t> R, </a:t>
            </a:r>
            <a:r>
              <a:rPr lang="pt-BR" b="0" i="0" dirty="0" err="1">
                <a:solidFill>
                  <a:srgbClr val="1D1D1D"/>
                </a:solidFill>
                <a:effectLst/>
                <a:latin typeface="Arial" panose="020B0604020202020204" pitchFamily="34" charset="0"/>
              </a:rPr>
              <a:t>Halbwachs-Mecarelli</a:t>
            </a:r>
            <a:r>
              <a:rPr lang="pt-BR" b="0" i="0" dirty="0">
                <a:solidFill>
                  <a:srgbClr val="1D1D1D"/>
                </a:solidFill>
                <a:effectLst/>
                <a:latin typeface="Arial" panose="020B0604020202020204" pitchFamily="34" charset="0"/>
              </a:rPr>
              <a:t> L et al.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System Part II: Role in </a:t>
            </a:r>
            <a:r>
              <a:rPr lang="pt-BR" b="0" i="0" dirty="0" err="1">
                <a:solidFill>
                  <a:srgbClr val="1D1D1D"/>
                </a:solidFill>
                <a:effectLst/>
                <a:latin typeface="Arial" panose="020B0604020202020204" pitchFamily="34" charset="0"/>
              </a:rPr>
              <a:t>Immunity</a:t>
            </a:r>
            <a:r>
              <a:rPr lang="pt-BR" b="0" i="0" dirty="0">
                <a:solidFill>
                  <a:srgbClr val="1D1D1D"/>
                </a:solidFill>
                <a:effectLst/>
                <a:latin typeface="Arial" panose="020B0604020202020204" pitchFamily="34" charset="0"/>
              </a:rPr>
              <a:t>. Front </a:t>
            </a:r>
            <a:r>
              <a:rPr lang="pt-BR" b="0" i="0" dirty="0" err="1">
                <a:solidFill>
                  <a:srgbClr val="1D1D1D"/>
                </a:solidFill>
                <a:effectLst/>
                <a:latin typeface="Arial" panose="020B0604020202020204" pitchFamily="34" charset="0"/>
              </a:rPr>
              <a:t>Immunol</a:t>
            </a:r>
            <a:r>
              <a:rPr lang="pt-BR" b="0" i="0" dirty="0">
                <a:solidFill>
                  <a:srgbClr val="1D1D1D"/>
                </a:solidFill>
                <a:effectLst/>
                <a:latin typeface="Arial" panose="020B0604020202020204" pitchFamily="34" charset="0"/>
              </a:rPr>
              <a:t>. 2015 May 26;6:257.</a:t>
            </a:r>
          </a:p>
        </p:txBody>
      </p:sp>
      <p:grpSp>
        <p:nvGrpSpPr>
          <p:cNvPr id="97" name="Agrupar 96">
            <a:extLst>
              <a:ext uri="{FF2B5EF4-FFF2-40B4-BE49-F238E27FC236}">
                <a16:creationId xmlns:a16="http://schemas.microsoft.com/office/drawing/2014/main" id="{CC30A8A7-36DB-326F-6D1D-45BB2DBB9AFA}"/>
              </a:ext>
            </a:extLst>
          </p:cNvPr>
          <p:cNvGrpSpPr/>
          <p:nvPr/>
        </p:nvGrpSpPr>
        <p:grpSpPr>
          <a:xfrm>
            <a:off x="2010797" y="1335600"/>
            <a:ext cx="6519020" cy="881284"/>
            <a:chOff x="2010797" y="1335600"/>
            <a:chExt cx="6519020" cy="881284"/>
          </a:xfrm>
        </p:grpSpPr>
        <p:cxnSp>
          <p:nvCxnSpPr>
            <p:cNvPr id="42" name="Straight Arrow Connector 65">
              <a:extLst>
                <a:ext uri="{FF2B5EF4-FFF2-40B4-BE49-F238E27FC236}">
                  <a16:creationId xmlns:a16="http://schemas.microsoft.com/office/drawing/2014/main" id="{25BA7ECE-AD86-34C0-86F4-7F3BEB422584}"/>
                </a:ext>
              </a:extLst>
            </p:cNvPr>
            <p:cNvCxnSpPr>
              <a:cxnSpLocks/>
            </p:cNvCxnSpPr>
            <p:nvPr/>
          </p:nvCxnSpPr>
          <p:spPr>
            <a:xfrm flipH="1">
              <a:off x="4044533" y="1901200"/>
              <a:ext cx="2" cy="278233"/>
            </a:xfrm>
            <a:prstGeom prst="straightConnector1">
              <a:avLst/>
            </a:prstGeom>
            <a:noFill/>
            <a:ln w="19050" cap="flat" cmpd="sng" algn="ctr">
              <a:solidFill>
                <a:schemeClr val="bg1">
                  <a:lumMod val="75000"/>
                </a:schemeClr>
              </a:solidFill>
              <a:prstDash val="solid"/>
              <a:tailEnd type="arrow"/>
            </a:ln>
            <a:effectLst/>
          </p:spPr>
        </p:cxnSp>
        <p:cxnSp>
          <p:nvCxnSpPr>
            <p:cNvPr id="43" name="Straight Arrow Connector 67">
              <a:extLst>
                <a:ext uri="{FF2B5EF4-FFF2-40B4-BE49-F238E27FC236}">
                  <a16:creationId xmlns:a16="http://schemas.microsoft.com/office/drawing/2014/main" id="{92B832FE-81CA-ED3B-75FE-6C1FF6287C9E}"/>
                </a:ext>
              </a:extLst>
            </p:cNvPr>
            <p:cNvCxnSpPr>
              <a:cxnSpLocks/>
            </p:cNvCxnSpPr>
            <p:nvPr/>
          </p:nvCxnSpPr>
          <p:spPr>
            <a:xfrm>
              <a:off x="5805703" y="1905207"/>
              <a:ext cx="0" cy="274226"/>
            </a:xfrm>
            <a:prstGeom prst="straightConnector1">
              <a:avLst/>
            </a:prstGeom>
            <a:noFill/>
            <a:ln w="19050" cap="flat" cmpd="sng" algn="ctr">
              <a:solidFill>
                <a:schemeClr val="bg1">
                  <a:lumMod val="75000"/>
                </a:schemeClr>
              </a:solidFill>
              <a:prstDash val="solid"/>
              <a:tailEnd type="arrow"/>
            </a:ln>
            <a:effectLst/>
          </p:spPr>
        </p:cxnSp>
        <p:cxnSp>
          <p:nvCxnSpPr>
            <p:cNvPr id="46" name="Straight Arrow Connector 77">
              <a:extLst>
                <a:ext uri="{FF2B5EF4-FFF2-40B4-BE49-F238E27FC236}">
                  <a16:creationId xmlns:a16="http://schemas.microsoft.com/office/drawing/2014/main" id="{95BCA883-5B3E-7DD4-57D7-4689D63B2D72}"/>
                </a:ext>
              </a:extLst>
            </p:cNvPr>
            <p:cNvCxnSpPr>
              <a:cxnSpLocks/>
            </p:cNvCxnSpPr>
            <p:nvPr/>
          </p:nvCxnSpPr>
          <p:spPr>
            <a:xfrm flipH="1">
              <a:off x="7651424" y="1817532"/>
              <a:ext cx="1" cy="364619"/>
            </a:xfrm>
            <a:prstGeom prst="straightConnector1">
              <a:avLst/>
            </a:prstGeom>
            <a:noFill/>
            <a:ln w="19050" cap="flat" cmpd="sng" algn="ctr">
              <a:solidFill>
                <a:schemeClr val="bg1">
                  <a:lumMod val="75000"/>
                </a:schemeClr>
              </a:solidFill>
              <a:prstDash val="solid"/>
              <a:tailEnd type="arrow"/>
            </a:ln>
            <a:effectLst/>
          </p:spPr>
        </p:cxnSp>
        <p:sp>
          <p:nvSpPr>
            <p:cNvPr id="80" name="Retângulo: Cantos Arredondados 79">
              <a:extLst>
                <a:ext uri="{FF2B5EF4-FFF2-40B4-BE49-F238E27FC236}">
                  <a16:creationId xmlns:a16="http://schemas.microsoft.com/office/drawing/2014/main" id="{B4016B66-92C8-7488-39A8-689BD9613A61}"/>
                </a:ext>
              </a:extLst>
            </p:cNvPr>
            <p:cNvSpPr/>
            <p:nvPr/>
          </p:nvSpPr>
          <p:spPr>
            <a:xfrm rot="16200000">
              <a:off x="1758376" y="1588021"/>
              <a:ext cx="880241" cy="375400"/>
            </a:xfrm>
            <a:prstGeom prst="roundRect">
              <a:avLst>
                <a:gd name="adj" fmla="val 0"/>
              </a:avLst>
            </a:prstGeom>
            <a:gradFill>
              <a:gsLst>
                <a:gs pos="0">
                  <a:schemeClr val="accent1"/>
                </a:gs>
                <a:gs pos="100000">
                  <a:schemeClr val="accent1">
                    <a:lumMod val="5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36" name="TextBox 53">
              <a:extLst>
                <a:ext uri="{FF2B5EF4-FFF2-40B4-BE49-F238E27FC236}">
                  <a16:creationId xmlns:a16="http://schemas.microsoft.com/office/drawing/2014/main" id="{B6A1D9B1-DA49-FFDE-BC64-11061F2F4A1F}"/>
                </a:ext>
              </a:extLst>
            </p:cNvPr>
            <p:cNvSpPr txBox="1"/>
            <p:nvPr/>
          </p:nvSpPr>
          <p:spPr>
            <a:xfrm rot="16200000" flipH="1">
              <a:off x="1751263" y="1637743"/>
              <a:ext cx="88128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effectLst/>
                  <a:uLnTx/>
                  <a:uFillTx/>
                  <a:latin typeface="+mj-lt"/>
                  <a:cs typeface="Arial"/>
                </a:rPr>
                <a:t>Ativação</a:t>
              </a:r>
            </a:p>
          </p:txBody>
        </p:sp>
        <p:sp>
          <p:nvSpPr>
            <p:cNvPr id="88" name="Retângulo 87">
              <a:extLst>
                <a:ext uri="{FF2B5EF4-FFF2-40B4-BE49-F238E27FC236}">
                  <a16:creationId xmlns:a16="http://schemas.microsoft.com/office/drawing/2014/main" id="{E2F1780C-2689-527E-75B3-3E95824BA40B}"/>
                </a:ext>
              </a:extLst>
            </p:cNvPr>
            <p:cNvSpPr/>
            <p:nvPr/>
          </p:nvSpPr>
          <p:spPr>
            <a:xfrm>
              <a:off x="3261939" y="1350919"/>
              <a:ext cx="1576348" cy="607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38" name="TextBox 54">
              <a:extLst>
                <a:ext uri="{FF2B5EF4-FFF2-40B4-BE49-F238E27FC236}">
                  <a16:creationId xmlns:a16="http://schemas.microsoft.com/office/drawing/2014/main" id="{35B36C9A-F878-F75D-C448-7E61B697CD35}"/>
                </a:ext>
              </a:extLst>
            </p:cNvPr>
            <p:cNvSpPr txBox="1"/>
            <p:nvPr/>
          </p:nvSpPr>
          <p:spPr>
            <a:xfrm>
              <a:off x="3250782" y="1414968"/>
              <a:ext cx="1587505" cy="457657"/>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Patógeno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estranhos</a:t>
              </a:r>
            </a:p>
          </p:txBody>
        </p:sp>
        <p:sp>
          <p:nvSpPr>
            <p:cNvPr id="87" name="Retângulo 86">
              <a:extLst>
                <a:ext uri="{FF2B5EF4-FFF2-40B4-BE49-F238E27FC236}">
                  <a16:creationId xmlns:a16="http://schemas.microsoft.com/office/drawing/2014/main" id="{E65CA1DD-6698-EAA4-01FD-D3F38EB2C3C2}"/>
                </a:ext>
              </a:extLst>
            </p:cNvPr>
            <p:cNvSpPr/>
            <p:nvPr/>
          </p:nvSpPr>
          <p:spPr>
            <a:xfrm>
              <a:off x="5035371" y="1350919"/>
              <a:ext cx="1560014" cy="607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41" name="TextBox 62">
              <a:extLst>
                <a:ext uri="{FF2B5EF4-FFF2-40B4-BE49-F238E27FC236}">
                  <a16:creationId xmlns:a16="http://schemas.microsoft.com/office/drawing/2014/main" id="{6CF284CE-EBE5-7E9C-A610-E9279CFDF3FD}"/>
                </a:ext>
              </a:extLst>
            </p:cNvPr>
            <p:cNvSpPr txBox="1"/>
            <p:nvPr/>
          </p:nvSpPr>
          <p:spPr>
            <a:xfrm>
              <a:off x="5023109" y="1414967"/>
              <a:ext cx="1565187" cy="461665"/>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Complexos imunes antígeno-anticorpo</a:t>
              </a:r>
            </a:p>
          </p:txBody>
        </p:sp>
        <p:sp>
          <p:nvSpPr>
            <p:cNvPr id="86" name="Retângulo 85">
              <a:extLst>
                <a:ext uri="{FF2B5EF4-FFF2-40B4-BE49-F238E27FC236}">
                  <a16:creationId xmlns:a16="http://schemas.microsoft.com/office/drawing/2014/main" id="{201D3D47-AD2A-1B54-6164-F7A58DBE1CA0}"/>
                </a:ext>
              </a:extLst>
            </p:cNvPr>
            <p:cNvSpPr/>
            <p:nvPr/>
          </p:nvSpPr>
          <p:spPr>
            <a:xfrm>
              <a:off x="6773032" y="1350919"/>
              <a:ext cx="1756781" cy="607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39" name="TextBox 56">
              <a:extLst>
                <a:ext uri="{FF2B5EF4-FFF2-40B4-BE49-F238E27FC236}">
                  <a16:creationId xmlns:a16="http://schemas.microsoft.com/office/drawing/2014/main" id="{C46EC476-5DE1-64EA-E6BD-5CBECE570FE5}"/>
                </a:ext>
              </a:extLst>
            </p:cNvPr>
            <p:cNvSpPr txBox="1"/>
            <p:nvPr/>
          </p:nvSpPr>
          <p:spPr>
            <a:xfrm>
              <a:off x="6773034" y="1339661"/>
              <a:ext cx="1756783" cy="640720"/>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Ativação contínua de baixo nível por meio de “</a:t>
              </a:r>
              <a:r>
                <a:rPr kumimoji="0" lang="pt-BR" sz="1200" b="1" i="0" u="none" strike="noStrike" kern="0" cap="none" spc="0" normalizeH="0" baseline="0" noProof="0" dirty="0" err="1">
                  <a:ln>
                    <a:noFill/>
                  </a:ln>
                  <a:solidFill>
                    <a:srgbClr val="FFFFFF"/>
                  </a:solidFill>
                  <a:uLnTx/>
                  <a:uFillTx/>
                  <a:cs typeface="Arial"/>
                </a:rPr>
                <a:t>tick</a:t>
              </a:r>
              <a:r>
                <a:rPr kumimoji="0" lang="pt-BR" sz="1200" b="1" i="0" u="none" strike="noStrike" kern="0" cap="none" spc="0" normalizeH="0" baseline="0" noProof="0" dirty="0">
                  <a:ln>
                    <a:noFill/>
                  </a:ln>
                  <a:solidFill>
                    <a:srgbClr val="FFFFFF"/>
                  </a:solidFill>
                  <a:uLnTx/>
                  <a:uFillTx/>
                  <a:cs typeface="Arial"/>
                </a:rPr>
                <a:t> over” </a:t>
              </a:r>
            </a:p>
          </p:txBody>
        </p:sp>
      </p:grpSp>
      <p:grpSp>
        <p:nvGrpSpPr>
          <p:cNvPr id="99" name="Agrupar 98">
            <a:extLst>
              <a:ext uri="{FF2B5EF4-FFF2-40B4-BE49-F238E27FC236}">
                <a16:creationId xmlns:a16="http://schemas.microsoft.com/office/drawing/2014/main" id="{508A727F-88F1-3B62-A4E6-DFC5DCD3D7AB}"/>
              </a:ext>
            </a:extLst>
          </p:cNvPr>
          <p:cNvGrpSpPr/>
          <p:nvPr/>
        </p:nvGrpSpPr>
        <p:grpSpPr>
          <a:xfrm>
            <a:off x="2009655" y="4148168"/>
            <a:ext cx="7939583" cy="2198822"/>
            <a:chOff x="2009655" y="4148168"/>
            <a:chExt cx="7939583" cy="2198822"/>
          </a:xfrm>
        </p:grpSpPr>
        <p:sp>
          <p:nvSpPr>
            <p:cNvPr id="34" name="TextBox 41">
              <a:extLst>
                <a:ext uri="{FF2B5EF4-FFF2-40B4-BE49-F238E27FC236}">
                  <a16:creationId xmlns:a16="http://schemas.microsoft.com/office/drawing/2014/main" id="{B22B9898-B59A-8656-E601-22A505A68E05}"/>
                </a:ext>
              </a:extLst>
            </p:cNvPr>
            <p:cNvSpPr txBox="1"/>
            <p:nvPr/>
          </p:nvSpPr>
          <p:spPr>
            <a:xfrm>
              <a:off x="5317231" y="4248565"/>
              <a:ext cx="1602116" cy="274594"/>
            </a:xfrm>
            <a:prstGeom prst="rect">
              <a:avLst/>
            </a:prstGeom>
            <a:solidFill>
              <a:schemeClr val="bg2"/>
            </a:solidFill>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C5 </a:t>
              </a:r>
              <a:r>
                <a:rPr kumimoji="0" lang="pt-BR" sz="1200" b="1" i="0" u="none" strike="noStrike" kern="0" cap="none" spc="0" normalizeH="0" baseline="0" noProof="0" dirty="0" err="1">
                  <a:ln>
                    <a:noFill/>
                  </a:ln>
                  <a:solidFill>
                    <a:srgbClr val="FFFFFF"/>
                  </a:solidFill>
                  <a:uLnTx/>
                  <a:uFillTx/>
                  <a:cs typeface="Arial"/>
                </a:rPr>
                <a:t>convertase</a:t>
              </a:r>
              <a:endParaRPr kumimoji="0" lang="pt-BR" sz="1200" b="1" i="0" u="none" strike="noStrike" kern="0" cap="none" spc="0" normalizeH="0" baseline="0" noProof="0" dirty="0">
                <a:ln>
                  <a:noFill/>
                </a:ln>
                <a:solidFill>
                  <a:srgbClr val="FFFFFF"/>
                </a:solidFill>
                <a:uLnTx/>
                <a:uFillTx/>
                <a:cs typeface="Arial"/>
              </a:endParaRPr>
            </a:p>
          </p:txBody>
        </p:sp>
        <p:sp>
          <p:nvSpPr>
            <p:cNvPr id="58" name="TextBox 48">
              <a:extLst>
                <a:ext uri="{FF2B5EF4-FFF2-40B4-BE49-F238E27FC236}">
                  <a16:creationId xmlns:a16="http://schemas.microsoft.com/office/drawing/2014/main" id="{4D92E977-1189-E839-8037-2DBB71340EE2}"/>
                </a:ext>
              </a:extLst>
            </p:cNvPr>
            <p:cNvSpPr txBox="1"/>
            <p:nvPr/>
          </p:nvSpPr>
          <p:spPr>
            <a:xfrm>
              <a:off x="4736368" y="5356010"/>
              <a:ext cx="1519422" cy="854293"/>
            </a:xfrm>
            <a:prstGeom prst="rect">
              <a:avLst/>
            </a:prstGeom>
            <a:noFill/>
            <a:ln>
              <a:noFill/>
            </a:ln>
            <a:effectLst/>
            <a:scene3d>
              <a:camera prst="orthographicFront">
                <a:rot lat="0" lon="0" rev="0"/>
              </a:camera>
              <a:lightRig rig="glow" dir="t">
                <a:rot lat="0" lon="0" rev="4800000"/>
              </a:lightRig>
            </a:scene3d>
            <a:sp3d prstMaterial="matte">
              <a:bevelT w="127000" h="63500"/>
            </a:sp3d>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err="1">
                  <a:ln>
                    <a:noFill/>
                  </a:ln>
                  <a:solidFill>
                    <a:srgbClr val="C0504D"/>
                  </a:solidFill>
                  <a:uLnTx/>
                  <a:uFillTx/>
                  <a:cs typeface="Arial"/>
                </a:rPr>
                <a:t>Anafilatoxina</a:t>
              </a:r>
              <a:r>
                <a:rPr kumimoji="0" lang="pt-BR" sz="1000" b="1" i="0" u="none" strike="noStrike" kern="0" cap="none" spc="0" normalizeH="0" baseline="0" noProof="0" dirty="0">
                  <a:ln>
                    <a:noFill/>
                  </a:ln>
                  <a:solidFill>
                    <a:srgbClr val="C0504D"/>
                  </a:solidFill>
                  <a:uLnTx/>
                  <a:uFillTx/>
                  <a:cs typeface="Arial"/>
                </a:rPr>
                <a:t> potente</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Quimiotaxia</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Pró-inflamatório</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Ativação endotelial</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err="1">
                  <a:ln>
                    <a:noFill/>
                  </a:ln>
                  <a:solidFill>
                    <a:srgbClr val="C0504D"/>
                  </a:solidFill>
                  <a:uLnTx/>
                  <a:uFillTx/>
                  <a:cs typeface="Arial"/>
                </a:rPr>
                <a:t>Protrombótico</a:t>
              </a:r>
              <a:endParaRPr kumimoji="0" lang="pt-BR" sz="1000" b="1" i="0" u="none" strike="noStrike" kern="0" cap="none" spc="0" normalizeH="0" baseline="0" noProof="0" dirty="0">
                <a:ln>
                  <a:noFill/>
                </a:ln>
                <a:solidFill>
                  <a:srgbClr val="C0504D"/>
                </a:solidFill>
                <a:uLnTx/>
                <a:uFillTx/>
                <a:cs typeface="Arial"/>
              </a:endParaRPr>
            </a:p>
          </p:txBody>
        </p:sp>
        <p:sp>
          <p:nvSpPr>
            <p:cNvPr id="61" name="TextBox 49">
              <a:extLst>
                <a:ext uri="{FF2B5EF4-FFF2-40B4-BE49-F238E27FC236}">
                  <a16:creationId xmlns:a16="http://schemas.microsoft.com/office/drawing/2014/main" id="{A425D834-C28B-AFFE-B171-C73D3F0A2F3C}"/>
                </a:ext>
              </a:extLst>
            </p:cNvPr>
            <p:cNvSpPr txBox="1"/>
            <p:nvPr/>
          </p:nvSpPr>
          <p:spPr>
            <a:xfrm>
              <a:off x="6406179" y="5376204"/>
              <a:ext cx="1522731" cy="854293"/>
            </a:xfrm>
            <a:prstGeom prst="rect">
              <a:avLst/>
            </a:prstGeom>
            <a:noFill/>
            <a:ln>
              <a:noFill/>
            </a:ln>
            <a:effectLst/>
            <a:scene3d>
              <a:camera prst="orthographicFront">
                <a:rot lat="0" lon="0" rev="0"/>
              </a:camera>
              <a:lightRig rig="glow" dir="t">
                <a:rot lat="0" lon="0" rev="4800000"/>
              </a:lightRig>
            </a:scene3d>
            <a:sp3d prstMaterial="matte">
              <a:bevelT w="127000" h="63500"/>
            </a:sp3d>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rgbClr val="C0504D"/>
                  </a:solidFill>
                  <a:uLnTx/>
                  <a:uFillTx/>
                  <a:cs typeface="Arial"/>
                </a:rPr>
                <a:t>Lise celular</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Pró-inflamatório</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Ativação plaquetária</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C0504D"/>
                  </a:solidFill>
                  <a:uLnTx/>
                  <a:uFillTx/>
                  <a:cs typeface="Arial"/>
                </a:rPr>
                <a:t>Ativação endotelial</a:t>
              </a:r>
              <a:br>
                <a:rPr kumimoji="0" sz="10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err="1">
                  <a:ln>
                    <a:noFill/>
                  </a:ln>
                  <a:solidFill>
                    <a:srgbClr val="C0504D"/>
                  </a:solidFill>
                  <a:uLnTx/>
                  <a:uFillTx/>
                  <a:cs typeface="Arial"/>
                </a:rPr>
                <a:t>Protrombótico</a:t>
              </a:r>
              <a:endParaRPr kumimoji="0" lang="pt-BR" sz="1000" b="1" i="0" u="none" strike="noStrike" kern="0" cap="none" spc="0" normalizeH="0" baseline="0" noProof="0" dirty="0">
                <a:ln>
                  <a:noFill/>
                </a:ln>
                <a:solidFill>
                  <a:srgbClr val="C0504D"/>
                </a:solidFill>
                <a:uLnTx/>
                <a:uFillTx/>
                <a:cs typeface="Arial"/>
              </a:endParaRPr>
            </a:p>
          </p:txBody>
        </p:sp>
        <p:sp>
          <p:nvSpPr>
            <p:cNvPr id="65" name="Pentagon 57">
              <a:extLst>
                <a:ext uri="{FF2B5EF4-FFF2-40B4-BE49-F238E27FC236}">
                  <a16:creationId xmlns:a16="http://schemas.microsoft.com/office/drawing/2014/main" id="{E8A60548-67AA-0564-0247-4705A0F6C82B}"/>
                </a:ext>
              </a:extLst>
            </p:cNvPr>
            <p:cNvSpPr/>
            <p:nvPr/>
          </p:nvSpPr>
          <p:spPr>
            <a:xfrm flipH="1">
              <a:off x="3583238" y="5568396"/>
              <a:ext cx="1221987" cy="491267"/>
            </a:xfrm>
            <a:prstGeom prst="homePlate">
              <a:avLst/>
            </a:prstGeom>
            <a:solidFill>
              <a:schemeClr val="bg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rgbClr val="FFFFFF"/>
                  </a:solidFill>
                  <a:uLnTx/>
                  <a:uFillTx/>
                  <a:cs typeface="Arial"/>
                </a:rPr>
                <a:t>Consequências</a:t>
              </a:r>
            </a:p>
          </p:txBody>
        </p:sp>
        <p:sp>
          <p:nvSpPr>
            <p:cNvPr id="66" name="Pentagon 59">
              <a:extLst>
                <a:ext uri="{FF2B5EF4-FFF2-40B4-BE49-F238E27FC236}">
                  <a16:creationId xmlns:a16="http://schemas.microsoft.com/office/drawing/2014/main" id="{585CBCB3-F5CE-1A4A-1EBC-004E059E9EDC}"/>
                </a:ext>
              </a:extLst>
            </p:cNvPr>
            <p:cNvSpPr/>
            <p:nvPr/>
          </p:nvSpPr>
          <p:spPr>
            <a:xfrm>
              <a:off x="7920056" y="5535095"/>
              <a:ext cx="1184154" cy="486595"/>
            </a:xfrm>
            <a:prstGeom prst="homePlate">
              <a:avLst/>
            </a:prstGeom>
            <a:solidFill>
              <a:schemeClr val="bg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rgbClr val="FFFFFF"/>
                  </a:solidFill>
                  <a:uLnTx/>
                  <a:uFillTx/>
                  <a:cs typeface="Arial"/>
                </a:rPr>
                <a:t>Consequências</a:t>
              </a:r>
            </a:p>
          </p:txBody>
        </p:sp>
        <p:sp>
          <p:nvSpPr>
            <p:cNvPr id="68" name="TextBox 61">
              <a:extLst>
                <a:ext uri="{FF2B5EF4-FFF2-40B4-BE49-F238E27FC236}">
                  <a16:creationId xmlns:a16="http://schemas.microsoft.com/office/drawing/2014/main" id="{F1FDFF2C-4DF3-24D1-9A90-541E872EFD8E}"/>
                </a:ext>
              </a:extLst>
            </p:cNvPr>
            <p:cNvSpPr txBox="1"/>
            <p:nvPr/>
          </p:nvSpPr>
          <p:spPr>
            <a:xfrm>
              <a:off x="9104210" y="5509359"/>
              <a:ext cx="845028" cy="553998"/>
            </a:xfrm>
            <a:prstGeom prst="rect">
              <a:avLst/>
            </a:prstGeom>
            <a:noFill/>
          </p:spPr>
          <p:txBody>
            <a:bodyPr wrap="square" rtlCol="0">
              <a:spAutoFit/>
            </a:bodyPr>
            <a:lstStyle/>
            <a:p>
              <a:r>
                <a:rPr lang="pt-BR" sz="1000" b="1" dirty="0">
                  <a:cs typeface="Arial"/>
                </a:rPr>
                <a:t>Hemólise</a:t>
              </a:r>
              <a:br>
                <a:rPr sz="1000" dirty="0">
                  <a:cs typeface="Arial"/>
                </a:rPr>
              </a:br>
              <a:r>
                <a:rPr lang="pt-BR" sz="1000" b="1" dirty="0">
                  <a:cs typeface="Arial"/>
                </a:rPr>
                <a:t>Inflamação</a:t>
              </a:r>
              <a:br>
                <a:rPr sz="1000" dirty="0">
                  <a:cs typeface="Arial"/>
                </a:rPr>
              </a:br>
              <a:r>
                <a:rPr lang="pt-BR" sz="1000" b="1" dirty="0">
                  <a:cs typeface="Arial"/>
                </a:rPr>
                <a:t>Trombose</a:t>
              </a:r>
              <a:endParaRPr sz="1000" dirty="0">
                <a:cs typeface="Arial"/>
              </a:endParaRPr>
            </a:p>
          </p:txBody>
        </p:sp>
        <p:sp>
          <p:nvSpPr>
            <p:cNvPr id="72" name="TextBox 63">
              <a:extLst>
                <a:ext uri="{FF2B5EF4-FFF2-40B4-BE49-F238E27FC236}">
                  <a16:creationId xmlns:a16="http://schemas.microsoft.com/office/drawing/2014/main" id="{83687EBA-0D0B-3171-C27A-8E147EF81DE4}"/>
                </a:ext>
              </a:extLst>
            </p:cNvPr>
            <p:cNvSpPr txBox="1"/>
            <p:nvPr/>
          </p:nvSpPr>
          <p:spPr>
            <a:xfrm>
              <a:off x="2708994" y="5528755"/>
              <a:ext cx="880309" cy="549189"/>
            </a:xfrm>
            <a:prstGeom prst="rect">
              <a:avLst/>
            </a:prstGeom>
            <a:noFill/>
          </p:spPr>
          <p:txBody>
            <a:bodyPr wrap="square" rtlCol="0">
              <a:spAutoFit/>
            </a:bodyPr>
            <a:lstStyle/>
            <a:p>
              <a:pPr algn="r"/>
              <a:r>
                <a:rPr lang="pt-BR" sz="1000" b="1" dirty="0">
                  <a:cs typeface="Arial"/>
                </a:rPr>
                <a:t>Anafilaxia</a:t>
              </a:r>
              <a:br>
                <a:rPr sz="1000" dirty="0">
                  <a:cs typeface="Arial"/>
                </a:rPr>
              </a:br>
              <a:r>
                <a:rPr lang="pt-BR" sz="1000" b="1" dirty="0">
                  <a:cs typeface="Arial"/>
                </a:rPr>
                <a:t>Inflamação</a:t>
              </a:r>
              <a:br>
                <a:rPr sz="1000" dirty="0">
                  <a:cs typeface="Arial"/>
                </a:rPr>
              </a:br>
              <a:r>
                <a:rPr lang="pt-BR" sz="1000" b="1" dirty="0">
                  <a:cs typeface="Arial"/>
                </a:rPr>
                <a:t>Trombose</a:t>
              </a:r>
            </a:p>
          </p:txBody>
        </p:sp>
        <p:grpSp>
          <p:nvGrpSpPr>
            <p:cNvPr id="73" name="Group 2">
              <a:extLst>
                <a:ext uri="{FF2B5EF4-FFF2-40B4-BE49-F238E27FC236}">
                  <a16:creationId xmlns:a16="http://schemas.microsoft.com/office/drawing/2014/main" id="{C85CC5EF-B5EA-62F5-B152-8CBEA47ED98D}"/>
                </a:ext>
              </a:extLst>
            </p:cNvPr>
            <p:cNvGrpSpPr/>
            <p:nvPr/>
          </p:nvGrpSpPr>
          <p:grpSpPr>
            <a:xfrm>
              <a:off x="4361506" y="4646784"/>
              <a:ext cx="2061756" cy="1370045"/>
              <a:chOff x="2649604" y="4317038"/>
              <a:chExt cx="2061756" cy="1851203"/>
            </a:xfrm>
            <a:effectLst/>
          </p:grpSpPr>
          <p:sp>
            <p:nvSpPr>
              <p:cNvPr id="74" name="Arc 128">
                <a:extLst>
                  <a:ext uri="{FF2B5EF4-FFF2-40B4-BE49-F238E27FC236}">
                    <a16:creationId xmlns:a16="http://schemas.microsoft.com/office/drawing/2014/main" id="{3F6DB088-F17E-D429-1BD5-A1E82D7D9796}"/>
                  </a:ext>
                </a:extLst>
              </p:cNvPr>
              <p:cNvSpPr/>
              <p:nvPr/>
            </p:nvSpPr>
            <p:spPr>
              <a:xfrm rot="20400000">
                <a:off x="2649604" y="4317038"/>
                <a:ext cx="2061756" cy="1851203"/>
              </a:xfrm>
              <a:prstGeom prst="arc">
                <a:avLst>
                  <a:gd name="adj1" fmla="val 16098148"/>
                  <a:gd name="adj2" fmla="val 0"/>
                </a:avLst>
              </a:prstGeom>
              <a:noFill/>
              <a:ln w="19050" cap="flat" cmpd="sng" algn="ctr">
                <a:solidFill>
                  <a:schemeClr val="bg1">
                    <a:lumMod val="75000"/>
                  </a:schemeClr>
                </a:solidFill>
                <a:prstDash val="solid"/>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uLnTx/>
                  <a:uFillTx/>
                  <a:cs typeface="Arial"/>
                </a:endParaRPr>
              </a:p>
            </p:txBody>
          </p:sp>
          <p:sp>
            <p:nvSpPr>
              <p:cNvPr id="75" name="Arc 129">
                <a:extLst>
                  <a:ext uri="{FF2B5EF4-FFF2-40B4-BE49-F238E27FC236}">
                    <a16:creationId xmlns:a16="http://schemas.microsoft.com/office/drawing/2014/main" id="{65CF88BD-4810-EAF4-9EC5-44CCB64FEAA7}"/>
                  </a:ext>
                </a:extLst>
              </p:cNvPr>
              <p:cNvSpPr/>
              <p:nvPr/>
            </p:nvSpPr>
            <p:spPr>
              <a:xfrm rot="226969">
                <a:off x="2987580" y="4410844"/>
                <a:ext cx="820672" cy="712106"/>
              </a:xfrm>
              <a:prstGeom prst="arc">
                <a:avLst/>
              </a:prstGeom>
              <a:noFill/>
              <a:ln w="19050" cap="flat" cmpd="sng" algn="ctr">
                <a:solidFill>
                  <a:schemeClr val="bg1">
                    <a:lumMod val="75000"/>
                  </a:schemeClr>
                </a:solidFill>
                <a:prstDash val="solid"/>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uLnTx/>
                  <a:uFillTx/>
                  <a:cs typeface="Arial"/>
                </a:endParaRPr>
              </a:p>
            </p:txBody>
          </p:sp>
        </p:grpSp>
        <p:sp>
          <p:nvSpPr>
            <p:cNvPr id="77" name="TextBox 127">
              <a:extLst>
                <a:ext uri="{FF2B5EF4-FFF2-40B4-BE49-F238E27FC236}">
                  <a16:creationId xmlns:a16="http://schemas.microsoft.com/office/drawing/2014/main" id="{EBDB21F2-0CB4-E1FD-CD5C-C928C32F6ECF}"/>
                </a:ext>
              </a:extLst>
            </p:cNvPr>
            <p:cNvSpPr txBox="1"/>
            <p:nvPr/>
          </p:nvSpPr>
          <p:spPr>
            <a:xfrm>
              <a:off x="4374185" y="4517260"/>
              <a:ext cx="823265" cy="366126"/>
            </a:xfrm>
            <a:prstGeom prst="rect">
              <a:avLst/>
            </a:prstGeom>
            <a:solidFill>
              <a:schemeClr val="bg2"/>
            </a:solidFill>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a:ln>
                    <a:noFill/>
                  </a:ln>
                  <a:solidFill>
                    <a:srgbClr val="FFFFFF"/>
                  </a:solidFill>
                  <a:uLnTx/>
                  <a:uFillTx/>
                  <a:cs typeface="Arial"/>
                </a:rPr>
                <a:t>C5</a:t>
              </a:r>
            </a:p>
          </p:txBody>
        </p:sp>
        <p:sp>
          <p:nvSpPr>
            <p:cNvPr id="78" name="Retângulo: Cantos Arredondados 77">
              <a:extLst>
                <a:ext uri="{FF2B5EF4-FFF2-40B4-BE49-F238E27FC236}">
                  <a16:creationId xmlns:a16="http://schemas.microsoft.com/office/drawing/2014/main" id="{0900087E-1D18-67B0-DCFE-2D650FDE1E81}"/>
                </a:ext>
              </a:extLst>
            </p:cNvPr>
            <p:cNvSpPr/>
            <p:nvPr/>
          </p:nvSpPr>
          <p:spPr>
            <a:xfrm rot="16200000">
              <a:off x="1108851" y="5070785"/>
              <a:ext cx="2177008" cy="375400"/>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TextBox 50">
              <a:extLst>
                <a:ext uri="{FF2B5EF4-FFF2-40B4-BE49-F238E27FC236}">
                  <a16:creationId xmlns:a16="http://schemas.microsoft.com/office/drawing/2014/main" id="{9E71CA96-1A62-8EF7-C637-991EF585421A}"/>
                </a:ext>
              </a:extLst>
            </p:cNvPr>
            <p:cNvSpPr txBox="1"/>
            <p:nvPr/>
          </p:nvSpPr>
          <p:spPr>
            <a:xfrm rot="16200000" flipH="1">
              <a:off x="1092111" y="5110282"/>
              <a:ext cx="2198822" cy="274594"/>
            </a:xfrm>
            <a:prstGeom prst="rect">
              <a:avLst/>
            </a:prstGeom>
            <a:noFill/>
          </p:spPr>
          <p:txBody>
            <a:bodyPr wrap="square" rtlCol="0">
              <a:spAutoFit/>
            </a:bodyPr>
            <a:lstStyle>
              <a:defPPr>
                <a:defRPr lang="en-US"/>
              </a:defPPr>
              <a:lvl1pPr algn="ctr">
                <a:defRPr sz="1200">
                  <a:solidFill>
                    <a:prstClr val="white"/>
                  </a:solidFill>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FFFFFF"/>
                  </a:solidFill>
                  <a:effectLst/>
                  <a:uLnTx/>
                  <a:uFillTx/>
                  <a:latin typeface="+mj-lt"/>
                  <a:cs typeface="Arial" panose="020B0604020202020204" pitchFamily="34" charset="0"/>
                </a:rPr>
                <a:t>Complemento terminal</a:t>
              </a:r>
            </a:p>
          </p:txBody>
        </p:sp>
        <p:sp>
          <p:nvSpPr>
            <p:cNvPr id="81" name="Retângulo 80">
              <a:extLst>
                <a:ext uri="{FF2B5EF4-FFF2-40B4-BE49-F238E27FC236}">
                  <a16:creationId xmlns:a16="http://schemas.microsoft.com/office/drawing/2014/main" id="{379A1596-5D49-2F59-515D-E68D97BECEF7}"/>
                </a:ext>
              </a:extLst>
            </p:cNvPr>
            <p:cNvSpPr/>
            <p:nvPr/>
          </p:nvSpPr>
          <p:spPr>
            <a:xfrm>
              <a:off x="4682990" y="5224669"/>
              <a:ext cx="1572799" cy="101703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82" name="Retângulo 81">
              <a:extLst>
                <a:ext uri="{FF2B5EF4-FFF2-40B4-BE49-F238E27FC236}">
                  <a16:creationId xmlns:a16="http://schemas.microsoft.com/office/drawing/2014/main" id="{F9705BFB-13F9-675C-420B-9D9D1E3D6F2D}"/>
                </a:ext>
              </a:extLst>
            </p:cNvPr>
            <p:cNvSpPr/>
            <p:nvPr/>
          </p:nvSpPr>
          <p:spPr>
            <a:xfrm>
              <a:off x="6315360" y="5064979"/>
              <a:ext cx="1695163" cy="118473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64" name="TextBox 55">
              <a:extLst>
                <a:ext uri="{FF2B5EF4-FFF2-40B4-BE49-F238E27FC236}">
                  <a16:creationId xmlns:a16="http://schemas.microsoft.com/office/drawing/2014/main" id="{AD446E68-3F35-9CBD-9937-F64169D1AF10}"/>
                </a:ext>
              </a:extLst>
            </p:cNvPr>
            <p:cNvSpPr txBox="1"/>
            <p:nvPr/>
          </p:nvSpPr>
          <p:spPr>
            <a:xfrm>
              <a:off x="6397471" y="4799700"/>
              <a:ext cx="1522585" cy="579699"/>
            </a:xfrm>
            <a:prstGeom prst="rect">
              <a:avLst/>
            </a:prstGeom>
            <a:solidFill>
              <a:schemeClr val="bg2"/>
            </a:solidFill>
            <a:ln>
              <a:noFill/>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C5b-9</a:t>
              </a:r>
              <a:br>
                <a:rPr kumimoji="0" sz="1200" b="0" i="0" u="none" strike="noStrike" kern="0" cap="none" spc="0" normalizeH="0" baseline="0" noProof="0" dirty="0">
                  <a:ln>
                    <a:noFill/>
                  </a:ln>
                  <a:solidFill>
                    <a:prstClr val="white"/>
                  </a:solidFill>
                  <a:uLnTx/>
                  <a:uFillTx/>
                  <a:cs typeface="Arial"/>
                </a:rPr>
              </a:br>
              <a:r>
                <a:rPr kumimoji="0" lang="pt-BR" sz="1000" b="1" i="0" u="none" strike="noStrike" kern="0" cap="none" spc="0" normalizeH="0" baseline="0" noProof="0" dirty="0">
                  <a:ln>
                    <a:noFill/>
                  </a:ln>
                  <a:solidFill>
                    <a:srgbClr val="FFFFFF"/>
                  </a:solidFill>
                  <a:uLnTx/>
                  <a:uFillTx/>
                  <a:cs typeface="Arial"/>
                </a:rPr>
                <a:t>Complexo de ataque à membrana</a:t>
              </a:r>
            </a:p>
          </p:txBody>
        </p:sp>
        <p:sp>
          <p:nvSpPr>
            <p:cNvPr id="67" name="TextBox 60">
              <a:extLst>
                <a:ext uri="{FF2B5EF4-FFF2-40B4-BE49-F238E27FC236}">
                  <a16:creationId xmlns:a16="http://schemas.microsoft.com/office/drawing/2014/main" id="{2AD47703-EC91-2A7E-112A-772016451465}"/>
                </a:ext>
              </a:extLst>
            </p:cNvPr>
            <p:cNvSpPr txBox="1"/>
            <p:nvPr/>
          </p:nvSpPr>
          <p:spPr>
            <a:xfrm>
              <a:off x="4785817" y="5074317"/>
              <a:ext cx="1380254" cy="274594"/>
            </a:xfrm>
            <a:prstGeom prst="rect">
              <a:avLst/>
            </a:prstGeom>
            <a:solidFill>
              <a:schemeClr val="bg2"/>
            </a:solidFill>
            <a:ln>
              <a:noFill/>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a:ln>
                    <a:noFill/>
                  </a:ln>
                  <a:solidFill>
                    <a:srgbClr val="FFFFFF"/>
                  </a:solidFill>
                  <a:uLnTx/>
                  <a:uFillTx/>
                  <a:cs typeface="Arial"/>
                </a:rPr>
                <a:t>C5a</a:t>
              </a:r>
            </a:p>
          </p:txBody>
        </p:sp>
      </p:grpSp>
      <p:cxnSp>
        <p:nvCxnSpPr>
          <p:cNvPr id="91" name="Conector reto 90">
            <a:extLst>
              <a:ext uri="{FF2B5EF4-FFF2-40B4-BE49-F238E27FC236}">
                <a16:creationId xmlns:a16="http://schemas.microsoft.com/office/drawing/2014/main" id="{7369CFEA-83E2-F4E6-572F-43193D7AB8E3}"/>
              </a:ext>
            </a:extLst>
          </p:cNvPr>
          <p:cNvCxnSpPr>
            <a:cxnSpLocks/>
          </p:cNvCxnSpPr>
          <p:nvPr/>
        </p:nvCxnSpPr>
        <p:spPr>
          <a:xfrm>
            <a:off x="2009654" y="2251043"/>
            <a:ext cx="782967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Conector reto 91">
            <a:extLst>
              <a:ext uri="{FF2B5EF4-FFF2-40B4-BE49-F238E27FC236}">
                <a16:creationId xmlns:a16="http://schemas.microsoft.com/office/drawing/2014/main" id="{B7BD8B0F-E13D-7179-6037-D8BCF00493D0}"/>
              </a:ext>
            </a:extLst>
          </p:cNvPr>
          <p:cNvCxnSpPr>
            <a:cxnSpLocks/>
          </p:cNvCxnSpPr>
          <p:nvPr/>
        </p:nvCxnSpPr>
        <p:spPr>
          <a:xfrm>
            <a:off x="2009654" y="4126470"/>
            <a:ext cx="782967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Agrupar 9">
            <a:extLst>
              <a:ext uri="{FF2B5EF4-FFF2-40B4-BE49-F238E27FC236}">
                <a16:creationId xmlns:a16="http://schemas.microsoft.com/office/drawing/2014/main" id="{FC465DF0-52FA-03B0-922B-BF776B6757F7}"/>
              </a:ext>
            </a:extLst>
          </p:cNvPr>
          <p:cNvGrpSpPr/>
          <p:nvPr/>
        </p:nvGrpSpPr>
        <p:grpSpPr>
          <a:xfrm>
            <a:off x="2010796" y="2222469"/>
            <a:ext cx="6519020" cy="2046872"/>
            <a:chOff x="2010796" y="2222469"/>
            <a:chExt cx="6519020" cy="2046872"/>
          </a:xfrm>
        </p:grpSpPr>
        <p:grpSp>
          <p:nvGrpSpPr>
            <p:cNvPr id="100" name="Agrupar 99">
              <a:extLst>
                <a:ext uri="{FF2B5EF4-FFF2-40B4-BE49-F238E27FC236}">
                  <a16:creationId xmlns:a16="http://schemas.microsoft.com/office/drawing/2014/main" id="{D12570FB-ACD4-92AE-1C09-E2562EE3ED78}"/>
                </a:ext>
              </a:extLst>
            </p:cNvPr>
            <p:cNvGrpSpPr/>
            <p:nvPr/>
          </p:nvGrpSpPr>
          <p:grpSpPr>
            <a:xfrm>
              <a:off x="2010796" y="2222469"/>
              <a:ext cx="6519020" cy="2046872"/>
              <a:chOff x="2010796" y="2222469"/>
              <a:chExt cx="6519020" cy="2046872"/>
            </a:xfrm>
          </p:grpSpPr>
          <p:sp>
            <p:nvSpPr>
              <p:cNvPr id="50" name="Arc 99">
                <a:extLst>
                  <a:ext uri="{FF2B5EF4-FFF2-40B4-BE49-F238E27FC236}">
                    <a16:creationId xmlns:a16="http://schemas.microsoft.com/office/drawing/2014/main" id="{D6B035EB-0B5B-7010-CAEA-03D41256B4BC}"/>
                  </a:ext>
                </a:extLst>
              </p:cNvPr>
              <p:cNvSpPr/>
              <p:nvPr/>
            </p:nvSpPr>
            <p:spPr>
              <a:xfrm rot="18900000">
                <a:off x="5349936" y="3320766"/>
                <a:ext cx="931472" cy="931472"/>
              </a:xfrm>
              <a:prstGeom prst="arc">
                <a:avLst/>
              </a:prstGeom>
              <a:noFill/>
              <a:ln w="19050" cap="flat" cmpd="sng" algn="ctr">
                <a:solidFill>
                  <a:schemeClr val="bg1">
                    <a:lumMod val="75000"/>
                  </a:schemeClr>
                </a:solidFill>
                <a:prstDash val="solid"/>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uLnTx/>
                  <a:uFillTx/>
                  <a:cs typeface="Arial"/>
                </a:endParaRPr>
              </a:p>
            </p:txBody>
          </p:sp>
          <p:grpSp>
            <p:nvGrpSpPr>
              <p:cNvPr id="98" name="Agrupar 97">
                <a:extLst>
                  <a:ext uri="{FF2B5EF4-FFF2-40B4-BE49-F238E27FC236}">
                    <a16:creationId xmlns:a16="http://schemas.microsoft.com/office/drawing/2014/main" id="{4964239F-CBBA-56FC-7E11-65A9265833E5}"/>
                  </a:ext>
                </a:extLst>
              </p:cNvPr>
              <p:cNvGrpSpPr/>
              <p:nvPr/>
            </p:nvGrpSpPr>
            <p:grpSpPr>
              <a:xfrm>
                <a:off x="2010796" y="2222469"/>
                <a:ext cx="6519020" cy="2046872"/>
                <a:chOff x="2010796" y="2222469"/>
                <a:chExt cx="6519020" cy="2046872"/>
              </a:xfrm>
            </p:grpSpPr>
            <p:sp>
              <p:nvSpPr>
                <p:cNvPr id="5" name="TextBox 26">
                  <a:extLst>
                    <a:ext uri="{FF2B5EF4-FFF2-40B4-BE49-F238E27FC236}">
                      <a16:creationId xmlns:a16="http://schemas.microsoft.com/office/drawing/2014/main" id="{85E0C2D0-BC63-A03B-B5BB-EAFD8260D6DF}"/>
                    </a:ext>
                  </a:extLst>
                </p:cNvPr>
                <p:cNvSpPr txBox="1"/>
                <p:nvPr/>
              </p:nvSpPr>
              <p:spPr>
                <a:xfrm>
                  <a:off x="5966023" y="3696472"/>
                  <a:ext cx="1800996" cy="321028"/>
                </a:xfrm>
                <a:prstGeom prst="rect">
                  <a:avLst/>
                </a:prstGeom>
                <a:solidFill>
                  <a:sysClr val="window" lastClr="FFFFFF"/>
                </a:solidFill>
                <a:ln>
                  <a:solidFill>
                    <a:schemeClr val="tx2"/>
                  </a:solidFill>
                </a:ln>
                <a:effectLst/>
              </p:spPr>
              <p:txBody>
                <a:bodyPr wrap="square" lIns="0" tIns="0" rIns="0" bIns="0" rtlCol="0" anchor="ctr">
                  <a:noAutofit/>
                </a:bodyPr>
                <a:lstStyle/>
                <a:p>
                  <a:pPr marL="0" marR="0" lvl="0" indent="0" algn="ctr" defTabSz="914400" eaLnBrk="1" fontAlgn="auto" latinLnBrk="0" hangingPunct="1">
                    <a:lnSpc>
                      <a:spcPts val="12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tx2"/>
                      </a:solidFill>
                      <a:uLnTx/>
                      <a:uFillTx/>
                      <a:cs typeface="Arial"/>
                    </a:rPr>
                    <a:t>Opsonização</a:t>
                  </a:r>
                </a:p>
              </p:txBody>
            </p:sp>
            <p:cxnSp>
              <p:nvCxnSpPr>
                <p:cNvPr id="6" name="Straight Arrow Connector 28">
                  <a:extLst>
                    <a:ext uri="{FF2B5EF4-FFF2-40B4-BE49-F238E27FC236}">
                      <a16:creationId xmlns:a16="http://schemas.microsoft.com/office/drawing/2014/main" id="{12F66FD9-D68D-B94E-818D-21E244D2CE3C}"/>
                    </a:ext>
                  </a:extLst>
                </p:cNvPr>
                <p:cNvCxnSpPr/>
                <p:nvPr/>
              </p:nvCxnSpPr>
              <p:spPr>
                <a:xfrm rot="5400000">
                  <a:off x="5572118" y="2712552"/>
                  <a:ext cx="460928" cy="0"/>
                </a:xfrm>
                <a:prstGeom prst="straightConnector1">
                  <a:avLst/>
                </a:prstGeom>
                <a:noFill/>
                <a:ln w="19050" cap="flat" cmpd="sng" algn="ctr">
                  <a:solidFill>
                    <a:schemeClr val="bg1">
                      <a:lumMod val="75000"/>
                    </a:schemeClr>
                  </a:solidFill>
                  <a:prstDash val="solid"/>
                  <a:tailEnd type="arrow"/>
                </a:ln>
                <a:effectLst/>
              </p:spPr>
            </p:cxnSp>
            <p:cxnSp>
              <p:nvCxnSpPr>
                <p:cNvPr id="7" name="Straight Arrow Connector 29">
                  <a:extLst>
                    <a:ext uri="{FF2B5EF4-FFF2-40B4-BE49-F238E27FC236}">
                      <a16:creationId xmlns:a16="http://schemas.microsoft.com/office/drawing/2014/main" id="{DFC99383-8BAB-C550-DC05-2075F5E882D0}"/>
                    </a:ext>
                  </a:extLst>
                </p:cNvPr>
                <p:cNvCxnSpPr>
                  <a:cxnSpLocks/>
                  <a:stCxn id="18" idx="2"/>
                </p:cNvCxnSpPr>
                <p:nvPr/>
              </p:nvCxnSpPr>
              <p:spPr>
                <a:xfrm>
                  <a:off x="4044533" y="2614617"/>
                  <a:ext cx="1195208" cy="337937"/>
                </a:xfrm>
                <a:prstGeom prst="straightConnector1">
                  <a:avLst/>
                </a:prstGeom>
                <a:noFill/>
                <a:ln w="19050" cap="flat" cmpd="sng" algn="ctr">
                  <a:solidFill>
                    <a:schemeClr val="bg1">
                      <a:lumMod val="75000"/>
                    </a:schemeClr>
                  </a:solidFill>
                  <a:prstDash val="solid"/>
                  <a:tailEnd type="arrow"/>
                </a:ln>
                <a:effectLst/>
              </p:spPr>
            </p:cxnSp>
            <p:cxnSp>
              <p:nvCxnSpPr>
                <p:cNvPr id="8" name="Straight Arrow Connector 31">
                  <a:extLst>
                    <a:ext uri="{FF2B5EF4-FFF2-40B4-BE49-F238E27FC236}">
                      <a16:creationId xmlns:a16="http://schemas.microsoft.com/office/drawing/2014/main" id="{A34B2226-DF71-4BB0-8E82-7A8DF6CEE1E5}"/>
                    </a:ext>
                  </a:extLst>
                </p:cNvPr>
                <p:cNvCxnSpPr>
                  <a:cxnSpLocks/>
                  <a:stCxn id="22" idx="2"/>
                </p:cNvCxnSpPr>
                <p:nvPr/>
              </p:nvCxnSpPr>
              <p:spPr>
                <a:xfrm flipH="1">
                  <a:off x="6389419" y="2617335"/>
                  <a:ext cx="1262005" cy="332192"/>
                </a:xfrm>
                <a:prstGeom prst="straightConnector1">
                  <a:avLst/>
                </a:prstGeom>
                <a:noFill/>
                <a:ln w="19050" cap="flat" cmpd="sng" algn="ctr">
                  <a:solidFill>
                    <a:schemeClr val="bg1">
                      <a:lumMod val="75000"/>
                    </a:schemeClr>
                  </a:solidFill>
                  <a:prstDash val="solid"/>
                  <a:tailEnd type="arrow"/>
                </a:ln>
                <a:effectLst/>
              </p:spPr>
            </p:cxnSp>
            <p:cxnSp>
              <p:nvCxnSpPr>
                <p:cNvPr id="17" name="Straight Connector 58">
                  <a:extLst>
                    <a:ext uri="{FF2B5EF4-FFF2-40B4-BE49-F238E27FC236}">
                      <a16:creationId xmlns:a16="http://schemas.microsoft.com/office/drawing/2014/main" id="{04BDA623-AF19-0938-A195-28031479512C}"/>
                    </a:ext>
                  </a:extLst>
                </p:cNvPr>
                <p:cNvCxnSpPr/>
                <p:nvPr/>
              </p:nvCxnSpPr>
              <p:spPr>
                <a:xfrm flipH="1">
                  <a:off x="6133172" y="4039016"/>
                  <a:ext cx="0" cy="230325"/>
                </a:xfrm>
                <a:prstGeom prst="line">
                  <a:avLst/>
                </a:prstGeom>
                <a:noFill/>
                <a:ln w="19050" cap="flat" cmpd="sng" algn="ctr">
                  <a:solidFill>
                    <a:schemeClr val="bg1">
                      <a:lumMod val="75000"/>
                    </a:schemeClr>
                  </a:solidFill>
                  <a:prstDash val="solid"/>
                  <a:tailEnd type="arrow"/>
                </a:ln>
                <a:effectLst/>
              </p:spPr>
            </p:cxnSp>
            <p:sp>
              <p:nvSpPr>
                <p:cNvPr id="33" name="TextBox 25">
                  <a:extLst>
                    <a:ext uri="{FF2B5EF4-FFF2-40B4-BE49-F238E27FC236}">
                      <a16:creationId xmlns:a16="http://schemas.microsoft.com/office/drawing/2014/main" id="{0EB00D23-1CEE-0811-AEF7-1FF78D77B97E}"/>
                    </a:ext>
                  </a:extLst>
                </p:cNvPr>
                <p:cNvSpPr txBox="1"/>
                <p:nvPr/>
              </p:nvSpPr>
              <p:spPr>
                <a:xfrm>
                  <a:off x="5224530" y="2996945"/>
                  <a:ext cx="1233616" cy="274594"/>
                </a:xfrm>
                <a:prstGeom prst="rect">
                  <a:avLst/>
                </a:prstGeom>
                <a:solidFill>
                  <a:schemeClr val="tx2"/>
                </a:solidFill>
                <a:effectLst/>
              </p:spPr>
              <p:txBody>
                <a:bodyPr wrap="square" rtlCol="0" anchor="ctr">
                  <a:spAutoFit/>
                </a:bodyPr>
                <a:lstStyle/>
                <a:p>
                  <a:pPr algn="ctr"/>
                  <a:r>
                    <a:rPr lang="pt-BR" sz="1200" b="1" dirty="0">
                      <a:solidFill>
                        <a:srgbClr val="FFFFFF"/>
                      </a:solidFill>
                      <a:cs typeface="Arial"/>
                    </a:rPr>
                    <a:t>C3 </a:t>
                  </a:r>
                  <a:r>
                    <a:rPr lang="pt-BR" sz="1200" b="1" dirty="0" err="1">
                      <a:solidFill>
                        <a:srgbClr val="FFFFFF"/>
                      </a:solidFill>
                      <a:cs typeface="Arial"/>
                    </a:rPr>
                    <a:t>convertase</a:t>
                  </a:r>
                  <a:endParaRPr lang="pt-BR" sz="1200" b="1" dirty="0">
                    <a:solidFill>
                      <a:srgbClr val="FFFFFF"/>
                    </a:solidFill>
                    <a:cs typeface="Arial"/>
                  </a:endParaRPr>
                </a:p>
              </p:txBody>
            </p:sp>
            <p:sp>
              <p:nvSpPr>
                <p:cNvPr id="47" name="TextBox 79">
                  <a:extLst>
                    <a:ext uri="{FF2B5EF4-FFF2-40B4-BE49-F238E27FC236}">
                      <a16:creationId xmlns:a16="http://schemas.microsoft.com/office/drawing/2014/main" id="{1D5765C3-679E-FF67-E33B-1FEDF8D84930}"/>
                    </a:ext>
                  </a:extLst>
                </p:cNvPr>
                <p:cNvSpPr txBox="1"/>
                <p:nvPr/>
              </p:nvSpPr>
              <p:spPr>
                <a:xfrm>
                  <a:off x="5696402" y="3746252"/>
                  <a:ext cx="429096" cy="237343"/>
                </a:xfrm>
                <a:prstGeom prst="rect">
                  <a:avLst/>
                </a:prstGeom>
                <a:solidFill>
                  <a:schemeClr val="tx2"/>
                </a:solidFill>
                <a:effectLst/>
              </p:spPr>
              <p:txBody>
                <a:bodyPr wrap="square" lIns="0" tIns="0" rIns="0" bIns="0" rtlCol="0" anchor="ctr">
                  <a:noAutofit/>
                </a:bodyPr>
                <a:lstStyle/>
                <a:p>
                  <a:pPr algn="ctr"/>
                  <a:r>
                    <a:rPr lang="pt-BR" sz="1200">
                      <a:solidFill>
                        <a:srgbClr val="FFFFFF"/>
                      </a:solidFill>
                      <a:cs typeface="Arial"/>
                    </a:rPr>
                    <a:t>C3b</a:t>
                  </a:r>
                </a:p>
              </p:txBody>
            </p:sp>
            <p:sp>
              <p:nvSpPr>
                <p:cNvPr id="51" name="Arc 118">
                  <a:extLst>
                    <a:ext uri="{FF2B5EF4-FFF2-40B4-BE49-F238E27FC236}">
                      <a16:creationId xmlns:a16="http://schemas.microsoft.com/office/drawing/2014/main" id="{488D9214-466E-20B1-BF87-B70C553B0461}"/>
                    </a:ext>
                  </a:extLst>
                </p:cNvPr>
                <p:cNvSpPr/>
                <p:nvPr/>
              </p:nvSpPr>
              <p:spPr>
                <a:xfrm rot="20762070">
                  <a:off x="5296122" y="3441035"/>
                  <a:ext cx="530799" cy="530799"/>
                </a:xfrm>
                <a:prstGeom prst="arc">
                  <a:avLst/>
                </a:prstGeom>
                <a:noFill/>
                <a:ln w="19050" cap="flat" cmpd="sng" algn="ctr">
                  <a:solidFill>
                    <a:schemeClr val="bg1">
                      <a:lumMod val="75000"/>
                    </a:schemeClr>
                  </a:solidFill>
                  <a:prstDash val="solid"/>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uLnTx/>
                    <a:uFillTx/>
                    <a:cs typeface="Arial"/>
                  </a:endParaRPr>
                </a:p>
              </p:txBody>
            </p:sp>
            <p:sp>
              <p:nvSpPr>
                <p:cNvPr id="52" name="TextBox 120">
                  <a:extLst>
                    <a:ext uri="{FF2B5EF4-FFF2-40B4-BE49-F238E27FC236}">
                      <a16:creationId xmlns:a16="http://schemas.microsoft.com/office/drawing/2014/main" id="{242B6FE6-E79A-5B17-9B4A-60FA79C38E9C}"/>
                    </a:ext>
                  </a:extLst>
                </p:cNvPr>
                <p:cNvSpPr txBox="1"/>
                <p:nvPr/>
              </p:nvSpPr>
              <p:spPr>
                <a:xfrm>
                  <a:off x="6346271" y="3326772"/>
                  <a:ext cx="1420750" cy="322282"/>
                </a:xfrm>
                <a:prstGeom prst="rect">
                  <a:avLst/>
                </a:prstGeom>
                <a:solidFill>
                  <a:srgbClr val="FFFFFF"/>
                </a:solidFill>
                <a:ln>
                  <a:solidFill>
                    <a:schemeClr val="tx2"/>
                  </a:solidFill>
                </a:ln>
                <a:effectLst/>
              </p:spPr>
              <p:txBody>
                <a:bodyPr wrap="square" lIns="0" tIns="0" rIns="0" bIns="0" rtlCol="0" anchor="ctr">
                  <a:noAutofit/>
                </a:bodyPr>
                <a:lstStyle/>
                <a:p>
                  <a:pPr marL="228600" algn="ctr">
                    <a:lnSpc>
                      <a:spcPts val="1200"/>
                    </a:lnSpc>
                  </a:pPr>
                  <a:r>
                    <a:rPr lang="pt-BR" sz="1000" b="1" dirty="0" err="1">
                      <a:solidFill>
                        <a:schemeClr val="tx2"/>
                      </a:solidFill>
                      <a:cs typeface="Arial"/>
                    </a:rPr>
                    <a:t>Anafilatoxina</a:t>
                  </a:r>
                  <a:r>
                    <a:rPr lang="pt-BR" sz="1000" b="1" dirty="0">
                      <a:solidFill>
                        <a:schemeClr val="tx2"/>
                      </a:solidFill>
                      <a:cs typeface="Arial"/>
                    </a:rPr>
                    <a:t> fraca</a:t>
                  </a:r>
                </a:p>
              </p:txBody>
            </p:sp>
            <p:sp>
              <p:nvSpPr>
                <p:cNvPr id="53" name="TextBox 126">
                  <a:extLst>
                    <a:ext uri="{FF2B5EF4-FFF2-40B4-BE49-F238E27FC236}">
                      <a16:creationId xmlns:a16="http://schemas.microsoft.com/office/drawing/2014/main" id="{2415612F-AD06-8E09-B077-6DD338348298}"/>
                    </a:ext>
                  </a:extLst>
                </p:cNvPr>
                <p:cNvSpPr txBox="1"/>
                <p:nvPr/>
              </p:nvSpPr>
              <p:spPr>
                <a:xfrm>
                  <a:off x="2501045" y="3538384"/>
                  <a:ext cx="2205621" cy="422552"/>
                </a:xfrm>
                <a:prstGeom prst="rect">
                  <a:avLst/>
                </a:prstGeom>
                <a:noFill/>
                <a:ln>
                  <a:noFill/>
                </a:ln>
              </p:spPr>
              <p:txBody>
                <a:bodyPr wrap="square" rtlCol="0" anchor="ctr">
                  <a:spAutoFit/>
                </a:bodyPr>
                <a:lstStyle/>
                <a:p>
                  <a:pPr algn="ctr">
                    <a:lnSpc>
                      <a:spcPts val="1200"/>
                    </a:lnSpc>
                  </a:pPr>
                  <a:r>
                    <a:rPr lang="pt-BR" b="1" dirty="0">
                      <a:cs typeface="Arial"/>
                    </a:rPr>
                    <a:t>Amplificação</a:t>
                  </a:r>
                  <a:br>
                    <a:rPr dirty="0">
                      <a:cs typeface="Arial"/>
                    </a:rPr>
                  </a:br>
                  <a:endParaRPr dirty="0">
                    <a:cs typeface="Arial"/>
                  </a:endParaRPr>
                </a:p>
              </p:txBody>
            </p:sp>
            <p:sp>
              <p:nvSpPr>
                <p:cNvPr id="54" name="TextBox 78">
                  <a:extLst>
                    <a:ext uri="{FF2B5EF4-FFF2-40B4-BE49-F238E27FC236}">
                      <a16:creationId xmlns:a16="http://schemas.microsoft.com/office/drawing/2014/main" id="{BABCE723-6E86-A124-7DA1-4BF3FE870BA5}"/>
                    </a:ext>
                  </a:extLst>
                </p:cNvPr>
                <p:cNvSpPr txBox="1"/>
                <p:nvPr/>
              </p:nvSpPr>
              <p:spPr>
                <a:xfrm>
                  <a:off x="4879539" y="3378801"/>
                  <a:ext cx="640261" cy="308234"/>
                </a:xfrm>
                <a:prstGeom prst="rect">
                  <a:avLst/>
                </a:prstGeom>
                <a:solidFill>
                  <a:schemeClr val="tx2"/>
                </a:solidFill>
                <a:effectLst/>
              </p:spPr>
              <p:txBody>
                <a:bodyPr wrap="square" lIns="0" tIns="0" rIns="0" bIns="0" rtlCol="0" anchor="ctr">
                  <a:noAutofit/>
                </a:bodyPr>
                <a:lstStyle/>
                <a:p>
                  <a:pPr algn="ctr"/>
                  <a:r>
                    <a:rPr lang="pt-BR" b="1">
                      <a:solidFill>
                        <a:srgbClr val="FFFFFF"/>
                      </a:solidFill>
                      <a:cs typeface="Arial"/>
                    </a:rPr>
                    <a:t>C3</a:t>
                  </a:r>
                </a:p>
              </p:txBody>
            </p:sp>
            <p:sp>
              <p:nvSpPr>
                <p:cNvPr id="79" name="Retângulo: Cantos Arredondados 78">
                  <a:extLst>
                    <a:ext uri="{FF2B5EF4-FFF2-40B4-BE49-F238E27FC236}">
                      <a16:creationId xmlns:a16="http://schemas.microsoft.com/office/drawing/2014/main" id="{0AE53FF2-79E3-74B3-67DE-33C114E3EBA9}"/>
                    </a:ext>
                  </a:extLst>
                </p:cNvPr>
                <p:cNvSpPr/>
                <p:nvPr/>
              </p:nvSpPr>
              <p:spPr>
                <a:xfrm rot="16200000">
                  <a:off x="1289184" y="2995795"/>
                  <a:ext cx="1818623" cy="375400"/>
                </a:xfrm>
                <a:prstGeom prst="roundRect">
                  <a:avLst>
                    <a:gd name="adj" fmla="val 0"/>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a:solidFill>
                      <a:srgbClr val="FFFFFF"/>
                    </a:solidFill>
                    <a:cs typeface="Arial" panose="020B0604020202020204" pitchFamily="34" charset="0"/>
                  </a:endParaRPr>
                </a:p>
              </p:txBody>
            </p:sp>
            <p:sp>
              <p:nvSpPr>
                <p:cNvPr id="9" name="TextBox 34">
                  <a:extLst>
                    <a:ext uri="{FF2B5EF4-FFF2-40B4-BE49-F238E27FC236}">
                      <a16:creationId xmlns:a16="http://schemas.microsoft.com/office/drawing/2014/main" id="{F1D2E594-9626-5A95-A862-73709644B95B}"/>
                    </a:ext>
                  </a:extLst>
                </p:cNvPr>
                <p:cNvSpPr txBox="1"/>
                <p:nvPr/>
              </p:nvSpPr>
              <p:spPr>
                <a:xfrm rot="16200000" flipH="1">
                  <a:off x="1228469" y="3048604"/>
                  <a:ext cx="1926864" cy="274594"/>
                </a:xfrm>
                <a:prstGeom prst="rect">
                  <a:avLst/>
                </a:prstGeom>
                <a:noFill/>
              </p:spPr>
              <p:txBody>
                <a:bodyPr wrap="square" rtlCol="0">
                  <a:spAutoFit/>
                </a:bodyPr>
                <a:lstStyle>
                  <a:defPPr>
                    <a:defRPr lang="en-US"/>
                  </a:defPPr>
                  <a:lvl1pPr algn="ctr">
                    <a:defRPr sz="1200" b="1">
                      <a:solidFill>
                        <a:prstClr val="white"/>
                      </a:solidFill>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a:ln>
                        <a:noFill/>
                      </a:ln>
                      <a:solidFill>
                        <a:srgbClr val="FFFFFF"/>
                      </a:solidFill>
                      <a:effectLst/>
                      <a:uLnTx/>
                      <a:uFillTx/>
                      <a:latin typeface="+mj-lt"/>
                      <a:cs typeface="Arial" panose="020B0604020202020204" pitchFamily="34" charset="0"/>
                    </a:rPr>
                    <a:t>Complemento proximal</a:t>
                  </a:r>
                </a:p>
              </p:txBody>
            </p:sp>
            <p:sp>
              <p:nvSpPr>
                <p:cNvPr id="18" name="TextBox 18">
                  <a:extLst>
                    <a:ext uri="{FF2B5EF4-FFF2-40B4-BE49-F238E27FC236}">
                      <a16:creationId xmlns:a16="http://schemas.microsoft.com/office/drawing/2014/main" id="{282911B7-2D75-5C0B-1F5D-D270EC75CD0D}"/>
                    </a:ext>
                  </a:extLst>
                </p:cNvPr>
                <p:cNvSpPr txBox="1"/>
                <p:nvPr/>
              </p:nvSpPr>
              <p:spPr>
                <a:xfrm>
                  <a:off x="3261939" y="2340023"/>
                  <a:ext cx="1565188" cy="274594"/>
                </a:xfrm>
                <a:prstGeom prst="rect">
                  <a:avLst/>
                </a:prstGeom>
                <a:solidFill>
                  <a:schemeClr val="tx2"/>
                </a:solidFill>
                <a:effectLst/>
              </p:spPr>
              <p:txBody>
                <a:bodyPr wrap="square" rtlCol="0">
                  <a:spAutoFit/>
                </a:bodyPr>
                <a:lstStyle/>
                <a:p>
                  <a:pPr algn="ctr"/>
                  <a:r>
                    <a:rPr lang="pt-BR" sz="1200" b="1" dirty="0">
                      <a:solidFill>
                        <a:srgbClr val="FFFFFF"/>
                      </a:solidFill>
                      <a:cs typeface="Arial"/>
                    </a:rPr>
                    <a:t>Via da lectina</a:t>
                  </a:r>
                </a:p>
              </p:txBody>
            </p:sp>
            <p:sp>
              <p:nvSpPr>
                <p:cNvPr id="20" name="TextBox 23">
                  <a:extLst>
                    <a:ext uri="{FF2B5EF4-FFF2-40B4-BE49-F238E27FC236}">
                      <a16:creationId xmlns:a16="http://schemas.microsoft.com/office/drawing/2014/main" id="{9679128B-8744-2765-6F0A-6083E28B51BB}"/>
                    </a:ext>
                  </a:extLst>
                </p:cNvPr>
                <p:cNvSpPr txBox="1"/>
                <p:nvPr/>
              </p:nvSpPr>
              <p:spPr>
                <a:xfrm>
                  <a:off x="5023109" y="2340023"/>
                  <a:ext cx="1565187" cy="274594"/>
                </a:xfrm>
                <a:prstGeom prst="rect">
                  <a:avLst/>
                </a:prstGeom>
                <a:solidFill>
                  <a:schemeClr val="tx2"/>
                </a:solidFill>
                <a:effectLst/>
              </p:spPr>
              <p:txBody>
                <a:bodyPr wrap="square" rtlCol="0">
                  <a:spAutoFit/>
                </a:bodyPr>
                <a:lstStyle/>
                <a:p>
                  <a:pPr algn="ctr"/>
                  <a:r>
                    <a:rPr lang="pt-BR" sz="1200" b="1">
                      <a:solidFill>
                        <a:srgbClr val="FFFFFF"/>
                      </a:solidFill>
                      <a:cs typeface="Arial"/>
                    </a:rPr>
                    <a:t>Via clássica</a:t>
                  </a:r>
                </a:p>
              </p:txBody>
            </p:sp>
            <p:sp>
              <p:nvSpPr>
                <p:cNvPr id="22" name="TextBox 24">
                  <a:extLst>
                    <a:ext uri="{FF2B5EF4-FFF2-40B4-BE49-F238E27FC236}">
                      <a16:creationId xmlns:a16="http://schemas.microsoft.com/office/drawing/2014/main" id="{C17507CC-3349-9047-BCA6-F8475BC67844}"/>
                    </a:ext>
                  </a:extLst>
                </p:cNvPr>
                <p:cNvSpPr txBox="1"/>
                <p:nvPr/>
              </p:nvSpPr>
              <p:spPr>
                <a:xfrm>
                  <a:off x="6773032" y="2342741"/>
                  <a:ext cx="1756784" cy="274594"/>
                </a:xfrm>
                <a:prstGeom prst="rect">
                  <a:avLst/>
                </a:prstGeom>
                <a:solidFill>
                  <a:schemeClr val="tx2"/>
                </a:solidFill>
                <a:effectLst/>
              </p:spPr>
              <p:txBody>
                <a:bodyPr wrap="square" rtlCol="0">
                  <a:spAutoFit/>
                </a:bodyPr>
                <a:lstStyle/>
                <a:p>
                  <a:pPr algn="ctr"/>
                  <a:r>
                    <a:rPr lang="pt-BR" sz="1200" b="1">
                      <a:solidFill>
                        <a:srgbClr val="FFFFFF"/>
                      </a:solidFill>
                      <a:cs typeface="Arial"/>
                    </a:rPr>
                    <a:t>Via alternativa</a:t>
                  </a:r>
                </a:p>
              </p:txBody>
            </p:sp>
            <p:grpSp>
              <p:nvGrpSpPr>
                <p:cNvPr id="55" name="Group 109">
                  <a:extLst>
                    <a:ext uri="{FF2B5EF4-FFF2-40B4-BE49-F238E27FC236}">
                      <a16:creationId xmlns:a16="http://schemas.microsoft.com/office/drawing/2014/main" id="{4495097F-BB21-6851-B77C-6DE892B2E316}"/>
                    </a:ext>
                  </a:extLst>
                </p:cNvPr>
                <p:cNvGrpSpPr/>
                <p:nvPr/>
              </p:nvGrpSpPr>
              <p:grpSpPr>
                <a:xfrm>
                  <a:off x="6154091" y="3345446"/>
                  <a:ext cx="418704" cy="276999"/>
                  <a:chOff x="5109799" y="3290253"/>
                  <a:chExt cx="532912" cy="352555"/>
                </a:xfrm>
                <a:solidFill>
                  <a:schemeClr val="tx2"/>
                </a:solidFill>
                <a:effectLst/>
              </p:grpSpPr>
              <p:sp>
                <p:nvSpPr>
                  <p:cNvPr id="56" name="Oval 107">
                    <a:extLst>
                      <a:ext uri="{FF2B5EF4-FFF2-40B4-BE49-F238E27FC236}">
                        <a16:creationId xmlns:a16="http://schemas.microsoft.com/office/drawing/2014/main" id="{43D3E955-F2A1-6003-B249-F3C5F0FF1A47}"/>
                      </a:ext>
                    </a:extLst>
                  </p:cNvPr>
                  <p:cNvSpPr/>
                  <p:nvPr/>
                </p:nvSpPr>
                <p:spPr>
                  <a:xfrm>
                    <a:off x="5184115" y="3300098"/>
                    <a:ext cx="394488" cy="342710"/>
                  </a:xfrm>
                  <a:prstGeom prst="ellipse">
                    <a:avLst/>
                  </a:prstGeom>
                  <a:grp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uLnTx/>
                      <a:uFillTx/>
                      <a:cs typeface="Arial"/>
                    </a:endParaRPr>
                  </a:p>
                </p:txBody>
              </p:sp>
              <p:sp>
                <p:nvSpPr>
                  <p:cNvPr id="57" name="Rectangle 108">
                    <a:extLst>
                      <a:ext uri="{FF2B5EF4-FFF2-40B4-BE49-F238E27FC236}">
                        <a16:creationId xmlns:a16="http://schemas.microsoft.com/office/drawing/2014/main" id="{1550EC4B-3AC2-808C-FD77-9CC6B95B75E5}"/>
                      </a:ext>
                    </a:extLst>
                  </p:cNvPr>
                  <p:cNvSpPr/>
                  <p:nvPr/>
                </p:nvSpPr>
                <p:spPr>
                  <a:xfrm>
                    <a:off x="5109799" y="3290253"/>
                    <a:ext cx="532912" cy="352555"/>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FFFFFF"/>
                        </a:solidFill>
                        <a:uLnTx/>
                        <a:uFillTx/>
                        <a:cs typeface="Arial"/>
                      </a:rPr>
                      <a:t>C3a</a:t>
                    </a:r>
                  </a:p>
                </p:txBody>
              </p:sp>
            </p:grpSp>
          </p:grpSp>
        </p:grpSp>
        <p:sp>
          <p:nvSpPr>
            <p:cNvPr id="3" name="Arco 2">
              <a:extLst>
                <a:ext uri="{FF2B5EF4-FFF2-40B4-BE49-F238E27FC236}">
                  <a16:creationId xmlns:a16="http://schemas.microsoft.com/office/drawing/2014/main" id="{4A01E938-76C7-0334-9EC3-3C2AF4E776E9}"/>
                </a:ext>
              </a:extLst>
            </p:cNvPr>
            <p:cNvSpPr/>
            <p:nvPr/>
          </p:nvSpPr>
          <p:spPr>
            <a:xfrm rot="15046758">
              <a:off x="4384971" y="3108867"/>
              <a:ext cx="823343" cy="830299"/>
            </a:xfrm>
            <a:prstGeom prst="arc">
              <a:avLst>
                <a:gd name="adj1" fmla="val 8990188"/>
                <a:gd name="adj2" fmla="val 4092421"/>
              </a:avLst>
            </a:prstGeom>
            <a:ln w="28575">
              <a:solidFill>
                <a:schemeClr val="tx2"/>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grpSp>
    </p:spTree>
    <p:extLst>
      <p:ext uri="{BB962C8B-B14F-4D97-AF65-F5344CB8AC3E}">
        <p14:creationId xmlns:p14="http://schemas.microsoft.com/office/powerpoint/2010/main" val="104954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par>
                                <p:cTn id="8" presetID="22" presetClass="entr" presetSubtype="8" fill="hold" nodeType="withEffect">
                                  <p:stCondLst>
                                    <p:cond delay="750"/>
                                  </p:stCondLst>
                                  <p:childTnLst>
                                    <p:set>
                                      <p:cBhvr>
                                        <p:cTn id="9" dur="1" fill="hold">
                                          <p:stCondLst>
                                            <p:cond delay="0"/>
                                          </p:stCondLst>
                                        </p:cTn>
                                        <p:tgtEl>
                                          <p:spTgt spid="91"/>
                                        </p:tgtEl>
                                        <p:attrNameLst>
                                          <p:attrName>style.visibility</p:attrName>
                                        </p:attrNameLst>
                                      </p:cBhvr>
                                      <p:to>
                                        <p:strVal val="visible"/>
                                      </p:to>
                                    </p:set>
                                    <p:animEffect transition="in" filter="wipe(left)">
                                      <p:cBhvr>
                                        <p:cTn id="10" dur="500"/>
                                        <p:tgtEl>
                                          <p:spTgt spid="91"/>
                                        </p:tgtEl>
                                      </p:cBhvr>
                                    </p:animEffect>
                                  </p:childTnLst>
                                </p:cTn>
                              </p:par>
                            </p:childTnLst>
                          </p:cTn>
                        </p:par>
                        <p:par>
                          <p:cTn id="11" fill="hold">
                            <p:stCondLst>
                              <p:cond delay="1250"/>
                            </p:stCondLst>
                            <p:childTnLst>
                              <p:par>
                                <p:cTn id="12" presetID="10" presetClass="entr" presetSubtype="0" fill="hold" nodeType="afterEffect">
                                  <p:stCondLst>
                                    <p:cond delay="50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22" presetClass="entr" presetSubtype="8" fill="hold" nodeType="withEffect">
                                  <p:stCondLst>
                                    <p:cond delay="750"/>
                                  </p:stCondLst>
                                  <p:childTnLst>
                                    <p:set>
                                      <p:cBhvr>
                                        <p:cTn id="16" dur="1" fill="hold">
                                          <p:stCondLst>
                                            <p:cond delay="0"/>
                                          </p:stCondLst>
                                        </p:cTn>
                                        <p:tgtEl>
                                          <p:spTgt spid="92"/>
                                        </p:tgtEl>
                                        <p:attrNameLst>
                                          <p:attrName>style.visibility</p:attrName>
                                        </p:attrNameLst>
                                      </p:cBhvr>
                                      <p:to>
                                        <p:strVal val="visible"/>
                                      </p:to>
                                    </p:set>
                                    <p:animEffect transition="in" filter="wipe(left)">
                                      <p:cBhvr>
                                        <p:cTn id="17" dur="500"/>
                                        <p:tgtEl>
                                          <p:spTgt spid="92"/>
                                        </p:tgtEl>
                                      </p:cBhvr>
                                    </p:animEffect>
                                  </p:childTnLst>
                                </p:cTn>
                              </p:par>
                            </p:childTnLst>
                          </p:cTn>
                        </p:par>
                        <p:par>
                          <p:cTn id="18" fill="hold">
                            <p:stCondLst>
                              <p:cond delay="2500"/>
                            </p:stCondLst>
                            <p:childTnLst>
                              <p:par>
                                <p:cTn id="19" presetID="10" presetClass="entr" presetSubtype="0" fill="hold" nodeType="afterEffect">
                                  <p:stCondLst>
                                    <p:cond delay="500"/>
                                  </p:stCondLst>
                                  <p:childTnLst>
                                    <p:set>
                                      <p:cBhvr>
                                        <p:cTn id="20" dur="1" fill="hold">
                                          <p:stCondLst>
                                            <p:cond delay="0"/>
                                          </p:stCondLst>
                                        </p:cTn>
                                        <p:tgtEl>
                                          <p:spTgt spid="99"/>
                                        </p:tgtEl>
                                        <p:attrNameLst>
                                          <p:attrName>style.visibility</p:attrName>
                                        </p:attrNameLst>
                                      </p:cBhvr>
                                      <p:to>
                                        <p:strVal val="visible"/>
                                      </p:to>
                                    </p:set>
                                    <p:animEffect transition="in" filter="fade">
                                      <p:cBhvr>
                                        <p:cTn id="21"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5" name="Retângulo: Cantos Arredondados 7214">
            <a:extLst>
              <a:ext uri="{FF2B5EF4-FFF2-40B4-BE49-F238E27FC236}">
                <a16:creationId xmlns:a16="http://schemas.microsoft.com/office/drawing/2014/main" id="{769A6CAC-DC4D-55B6-191A-192E8DB4CC72}"/>
              </a:ext>
            </a:extLst>
          </p:cNvPr>
          <p:cNvSpPr/>
          <p:nvPr/>
        </p:nvSpPr>
        <p:spPr>
          <a:xfrm flipH="1">
            <a:off x="161813" y="952501"/>
            <a:ext cx="11799021" cy="524827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8" y="385036"/>
            <a:ext cx="11418809" cy="437043"/>
          </a:xfrm>
          <a:prstGeom prst="rect">
            <a:avLst/>
          </a:prstGeom>
          <a:noFill/>
        </p:spPr>
        <p:txBody>
          <a:bodyPr wrap="square" rtlCol="0">
            <a:spAutoFit/>
          </a:bodyPr>
          <a:lstStyle/>
          <a:p>
            <a:pPr lvl="0">
              <a:lnSpc>
                <a:spcPct val="80000"/>
              </a:lnSpc>
              <a:defRPr/>
            </a:pPr>
            <a:r>
              <a:rPr lang="pt-BR" sz="2800" b="1" dirty="0">
                <a:gradFill>
                  <a:gsLst>
                    <a:gs pos="0">
                      <a:schemeClr val="accent1"/>
                    </a:gs>
                    <a:gs pos="100000">
                      <a:schemeClr val="bg2"/>
                    </a:gs>
                  </a:gsLst>
                  <a:lin ang="2700000" scaled="0"/>
                </a:gradFill>
                <a:latin typeface="Calisto MT"/>
              </a:rPr>
              <a:t>Todas as 3 vias do complemento convergem para a clivagem de C3</a:t>
            </a:r>
            <a:r>
              <a:rPr lang="pt-BR" sz="2800" b="1" baseline="30000" dirty="0">
                <a:gradFill>
                  <a:gsLst>
                    <a:gs pos="0">
                      <a:schemeClr val="accent1"/>
                    </a:gs>
                    <a:gs pos="100000">
                      <a:schemeClr val="bg2"/>
                    </a:gs>
                  </a:gsLst>
                  <a:lin ang="2700000" scaled="0"/>
                </a:gradFill>
                <a:latin typeface="Calisto MT"/>
              </a:rPr>
              <a:t>1-2</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p:txBody>
          <a:bodyPr/>
          <a:lstStyle/>
          <a:p>
            <a:pPr algn="l" fontAlgn="base"/>
            <a:r>
              <a:rPr lang="pt-BR" b="0" i="0" dirty="0">
                <a:solidFill>
                  <a:srgbClr val="1D1D1D"/>
                </a:solidFill>
                <a:effectLst/>
                <a:latin typeface="Arial" panose="020B0604020202020204" pitchFamily="34" charset="0"/>
              </a:rPr>
              <a:t>1. </a:t>
            </a:r>
            <a:r>
              <a:rPr lang="pt-BR" b="0" i="0" dirty="0" err="1">
                <a:solidFill>
                  <a:srgbClr val="1D1D1D"/>
                </a:solidFill>
                <a:effectLst/>
                <a:latin typeface="Arial" panose="020B0604020202020204" pitchFamily="34" charset="0"/>
              </a:rPr>
              <a:t>Ricklin</a:t>
            </a:r>
            <a:r>
              <a:rPr lang="pt-BR" b="0" i="0" dirty="0">
                <a:solidFill>
                  <a:srgbClr val="1D1D1D"/>
                </a:solidFill>
                <a:effectLst/>
                <a:latin typeface="Arial" panose="020B0604020202020204" pitchFamily="34" charset="0"/>
              </a:rPr>
              <a:t> D, </a:t>
            </a:r>
            <a:r>
              <a:rPr lang="pt-BR" b="0" i="0" dirty="0" err="1">
                <a:solidFill>
                  <a:srgbClr val="1D1D1D"/>
                </a:solidFill>
                <a:effectLst/>
                <a:latin typeface="Arial" panose="020B0604020202020204" pitchFamily="34" charset="0"/>
              </a:rPr>
              <a:t>Mastellos</a:t>
            </a:r>
            <a:r>
              <a:rPr lang="pt-BR" b="0" i="0" dirty="0">
                <a:solidFill>
                  <a:srgbClr val="1D1D1D"/>
                </a:solidFill>
                <a:effectLst/>
                <a:latin typeface="Arial" panose="020B0604020202020204" pitchFamily="34" charset="0"/>
              </a:rPr>
              <a:t> DC, Lambris JD. </a:t>
            </a:r>
            <a:r>
              <a:rPr lang="pt-BR" b="0" i="0" dirty="0" err="1">
                <a:solidFill>
                  <a:srgbClr val="1D1D1D"/>
                </a:solidFill>
                <a:effectLst/>
                <a:latin typeface="Arial" panose="020B0604020202020204" pitchFamily="34" charset="0"/>
              </a:rPr>
              <a:t>Therapeutic</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argeting</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of</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h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system. Nat </a:t>
            </a:r>
            <a:r>
              <a:rPr lang="pt-BR" b="0" i="0" dirty="0" err="1">
                <a:solidFill>
                  <a:srgbClr val="1D1D1D"/>
                </a:solidFill>
                <a:effectLst/>
                <a:latin typeface="Arial" panose="020B0604020202020204" pitchFamily="34" charset="0"/>
              </a:rPr>
              <a:t>Rev</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Drug</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Discov</a:t>
            </a:r>
            <a:r>
              <a:rPr lang="pt-BR" b="0" i="0" dirty="0">
                <a:solidFill>
                  <a:srgbClr val="1D1D1D"/>
                </a:solidFill>
                <a:effectLst/>
                <a:latin typeface="Arial" panose="020B0604020202020204" pitchFamily="34" charset="0"/>
              </a:rPr>
              <a:t> (2019).</a:t>
            </a:r>
          </a:p>
          <a:p>
            <a:pPr algn="l" fontAlgn="base"/>
            <a:r>
              <a:rPr lang="pt-BR" b="0" i="0" dirty="0">
                <a:solidFill>
                  <a:srgbClr val="1D1D1D"/>
                </a:solidFill>
                <a:effectLst/>
                <a:latin typeface="Arial" panose="020B0604020202020204" pitchFamily="34" charset="0"/>
              </a:rPr>
              <a:t>2. </a:t>
            </a:r>
            <a:r>
              <a:rPr lang="pt-BR" b="0" i="0" dirty="0" err="1">
                <a:solidFill>
                  <a:srgbClr val="1D1D1D"/>
                </a:solidFill>
                <a:effectLst/>
                <a:latin typeface="Arial" panose="020B0604020202020204" pitchFamily="34" charset="0"/>
              </a:rPr>
              <a:t>Walport</a:t>
            </a:r>
            <a:r>
              <a:rPr lang="pt-BR" b="0" i="0" dirty="0">
                <a:solidFill>
                  <a:srgbClr val="1D1D1D"/>
                </a:solidFill>
                <a:effectLst/>
                <a:latin typeface="Arial" panose="020B0604020202020204" pitchFamily="34" charset="0"/>
              </a:rPr>
              <a:t> MJ.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Firs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of</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wo</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parts</a:t>
            </a:r>
            <a:r>
              <a:rPr lang="pt-BR" b="0" i="0" dirty="0">
                <a:solidFill>
                  <a:srgbClr val="1D1D1D"/>
                </a:solidFill>
                <a:effectLst/>
                <a:latin typeface="Arial" panose="020B0604020202020204" pitchFamily="34" charset="0"/>
              </a:rPr>
              <a:t>. N </a:t>
            </a:r>
            <a:r>
              <a:rPr lang="pt-BR" b="0" i="0" dirty="0" err="1">
                <a:solidFill>
                  <a:srgbClr val="1D1D1D"/>
                </a:solidFill>
                <a:effectLst/>
                <a:latin typeface="Arial" panose="020B0604020202020204" pitchFamily="34" charset="0"/>
              </a:rPr>
              <a:t>Engl</a:t>
            </a:r>
            <a:r>
              <a:rPr lang="pt-BR" b="0" i="0" dirty="0">
                <a:solidFill>
                  <a:srgbClr val="1D1D1D"/>
                </a:solidFill>
                <a:effectLst/>
                <a:latin typeface="Arial" panose="020B0604020202020204" pitchFamily="34" charset="0"/>
              </a:rPr>
              <a:t> J Med. 2001 </a:t>
            </a:r>
            <a:r>
              <a:rPr lang="pt-BR" b="0" i="0" dirty="0" err="1">
                <a:solidFill>
                  <a:srgbClr val="1D1D1D"/>
                </a:solidFill>
                <a:effectLst/>
                <a:latin typeface="Arial" panose="020B0604020202020204" pitchFamily="34" charset="0"/>
              </a:rPr>
              <a:t>Apr</a:t>
            </a:r>
            <a:r>
              <a:rPr lang="pt-BR" b="0" i="0" dirty="0">
                <a:solidFill>
                  <a:srgbClr val="1D1D1D"/>
                </a:solidFill>
                <a:effectLst/>
                <a:latin typeface="Arial" panose="020B0604020202020204" pitchFamily="34" charset="0"/>
              </a:rPr>
              <a:t> 5;344(14):1058-66.</a:t>
            </a:r>
          </a:p>
        </p:txBody>
      </p:sp>
      <p:grpSp>
        <p:nvGrpSpPr>
          <p:cNvPr id="7217" name="Agrupar 7216">
            <a:extLst>
              <a:ext uri="{FF2B5EF4-FFF2-40B4-BE49-F238E27FC236}">
                <a16:creationId xmlns:a16="http://schemas.microsoft.com/office/drawing/2014/main" id="{DD7038F3-1480-5FBD-A92A-C3826D92E3A0}"/>
              </a:ext>
            </a:extLst>
          </p:cNvPr>
          <p:cNvGrpSpPr/>
          <p:nvPr/>
        </p:nvGrpSpPr>
        <p:grpSpPr>
          <a:xfrm>
            <a:off x="1118813" y="977364"/>
            <a:ext cx="10661325" cy="1784015"/>
            <a:chOff x="1118813" y="977364"/>
            <a:chExt cx="10661325" cy="1784015"/>
          </a:xfrm>
        </p:grpSpPr>
        <p:cxnSp>
          <p:nvCxnSpPr>
            <p:cNvPr id="3639" name="Straight Arrow Connector 160">
              <a:extLst>
                <a:ext uri="{FF2B5EF4-FFF2-40B4-BE49-F238E27FC236}">
                  <a16:creationId xmlns:a16="http://schemas.microsoft.com/office/drawing/2014/main" id="{C20F730F-0A9E-619C-363B-3C0B13B84AFB}"/>
                </a:ext>
              </a:extLst>
            </p:cNvPr>
            <p:cNvCxnSpPr/>
            <p:nvPr/>
          </p:nvCxnSpPr>
          <p:spPr>
            <a:xfrm rot="10800000" flipV="1">
              <a:off x="6994152" y="2128778"/>
              <a:ext cx="3873553" cy="616943"/>
            </a:xfrm>
            <a:prstGeom prst="bentConnector3">
              <a:avLst>
                <a:gd name="adj1" fmla="val 4311"/>
              </a:avLst>
            </a:prstGeom>
            <a:noFill/>
            <a:ln w="38100" cap="flat" cmpd="sng" algn="ctr">
              <a:solidFill>
                <a:schemeClr val="tx2"/>
              </a:solidFill>
              <a:prstDash val="solid"/>
              <a:miter lim="800000"/>
              <a:headEnd type="none" w="med" len="med"/>
              <a:tailEnd type="arrow" w="med" len="med"/>
            </a:ln>
            <a:effectLst/>
          </p:spPr>
        </p:cxnSp>
        <p:sp>
          <p:nvSpPr>
            <p:cNvPr id="3645" name="Freeform 2991">
              <a:extLst>
                <a:ext uri="{FF2B5EF4-FFF2-40B4-BE49-F238E27FC236}">
                  <a16:creationId xmlns:a16="http://schemas.microsoft.com/office/drawing/2014/main" id="{81DA05E4-91A5-6985-A1E3-BAA038BF7ED1}"/>
                </a:ext>
              </a:extLst>
            </p:cNvPr>
            <p:cNvSpPr/>
            <p:nvPr/>
          </p:nvSpPr>
          <p:spPr>
            <a:xfrm>
              <a:off x="2175774" y="1092056"/>
              <a:ext cx="7704639" cy="747347"/>
            </a:xfrm>
            <a:custGeom>
              <a:avLst/>
              <a:gdLst>
                <a:gd name="connsiteX0" fmla="*/ 0 w 7704639"/>
                <a:gd name="connsiteY0" fmla="*/ 0 h 747346"/>
                <a:gd name="connsiteX1" fmla="*/ 3852320 w 7704639"/>
                <a:gd name="connsiteY1" fmla="*/ 747346 h 747346"/>
                <a:gd name="connsiteX2" fmla="*/ 7704640 w 7704639"/>
                <a:gd name="connsiteY2" fmla="*/ 0 h 747346"/>
                <a:gd name="connsiteX3" fmla="*/ 0 w 7704639"/>
                <a:gd name="connsiteY3" fmla="*/ 0 h 747346"/>
              </a:gdLst>
              <a:ahLst/>
              <a:cxnLst>
                <a:cxn ang="0">
                  <a:pos x="connsiteX0" y="connsiteY0"/>
                </a:cxn>
                <a:cxn ang="0">
                  <a:pos x="connsiteX1" y="connsiteY1"/>
                </a:cxn>
                <a:cxn ang="0">
                  <a:pos x="connsiteX2" y="connsiteY2"/>
                </a:cxn>
                <a:cxn ang="0">
                  <a:pos x="connsiteX3" y="connsiteY3"/>
                </a:cxn>
              </a:cxnLst>
              <a:rect l="l" t="t" r="r" b="b"/>
              <a:pathLst>
                <a:path w="7704639" h="747346">
                  <a:moveTo>
                    <a:pt x="0" y="0"/>
                  </a:moveTo>
                  <a:cubicBezTo>
                    <a:pt x="905534" y="455632"/>
                    <a:pt x="2294726" y="747346"/>
                    <a:pt x="3852320" y="747346"/>
                  </a:cubicBezTo>
                  <a:cubicBezTo>
                    <a:pt x="5409914" y="747346"/>
                    <a:pt x="6799105" y="455632"/>
                    <a:pt x="7704640" y="0"/>
                  </a:cubicBezTo>
                  <a:lnTo>
                    <a:pt x="0" y="0"/>
                  </a:lnTo>
                  <a:close/>
                </a:path>
              </a:pathLst>
            </a:custGeom>
            <a:gradFill>
              <a:gsLst>
                <a:gs pos="99000">
                  <a:srgbClr val="B52455">
                    <a:lumMod val="60000"/>
                    <a:lumOff val="40000"/>
                  </a:srgbClr>
                </a:gs>
                <a:gs pos="0">
                  <a:srgbClr val="FFFFFF"/>
                </a:gs>
              </a:gsLst>
              <a:lin ang="54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37302C"/>
                  </a:solidFill>
                  <a:effectLst/>
                  <a:uLnTx/>
                  <a:uFillTx/>
                  <a:ea typeface="ヒラギノ角ゴ Pro W3" panose="020B0300000000000000" pitchFamily="34" charset="-128"/>
                  <a:cs typeface="Arial"/>
                </a:rPr>
                <a:t> </a:t>
              </a:r>
            </a:p>
          </p:txBody>
        </p:sp>
        <p:grpSp>
          <p:nvGrpSpPr>
            <p:cNvPr id="5243" name="Graphic 2987">
              <a:extLst>
                <a:ext uri="{FF2B5EF4-FFF2-40B4-BE49-F238E27FC236}">
                  <a16:creationId xmlns:a16="http://schemas.microsoft.com/office/drawing/2014/main" id="{F0493B4C-92C9-96EA-3626-3A081C3CE18B}"/>
                </a:ext>
              </a:extLst>
            </p:cNvPr>
            <p:cNvGrpSpPr/>
            <p:nvPr/>
          </p:nvGrpSpPr>
          <p:grpSpPr>
            <a:xfrm>
              <a:off x="2121649" y="977364"/>
              <a:ext cx="7845799" cy="865404"/>
              <a:chOff x="2121647" y="1092700"/>
              <a:chExt cx="7845799" cy="912627"/>
            </a:xfrm>
            <a:solidFill>
              <a:srgbClr val="B52455"/>
            </a:solidFill>
          </p:grpSpPr>
          <p:grpSp>
            <p:nvGrpSpPr>
              <p:cNvPr id="5244" name="Graphic 2987">
                <a:extLst>
                  <a:ext uri="{FF2B5EF4-FFF2-40B4-BE49-F238E27FC236}">
                    <a16:creationId xmlns:a16="http://schemas.microsoft.com/office/drawing/2014/main" id="{82507854-77DC-AA43-A891-8A2939BEBF46}"/>
                  </a:ext>
                </a:extLst>
              </p:cNvPr>
              <p:cNvGrpSpPr/>
              <p:nvPr/>
            </p:nvGrpSpPr>
            <p:grpSpPr>
              <a:xfrm>
                <a:off x="9884396" y="1092700"/>
                <a:ext cx="83050" cy="135033"/>
                <a:chOff x="9884396" y="1092700"/>
                <a:chExt cx="83050" cy="135033"/>
              </a:xfrm>
              <a:grpFill/>
            </p:grpSpPr>
            <p:sp>
              <p:nvSpPr>
                <p:cNvPr id="7128" name="Freeform 6909">
                  <a:extLst>
                    <a:ext uri="{FF2B5EF4-FFF2-40B4-BE49-F238E27FC236}">
                      <a16:creationId xmlns:a16="http://schemas.microsoft.com/office/drawing/2014/main" id="{5774D533-883D-89B4-21C4-53D855F24096}"/>
                    </a:ext>
                  </a:extLst>
                </p:cNvPr>
                <p:cNvSpPr/>
                <p:nvPr/>
              </p:nvSpPr>
              <p:spPr>
                <a:xfrm>
                  <a:off x="9930485" y="1160080"/>
                  <a:ext cx="23416" cy="46460"/>
                </a:xfrm>
                <a:custGeom>
                  <a:avLst/>
                  <a:gdLst>
                    <a:gd name="connsiteX0" fmla="*/ 23417 w 23416"/>
                    <a:gd name="connsiteY0" fmla="*/ 46460 h 46460"/>
                    <a:gd name="connsiteX1" fmla="*/ 16566 w 23416"/>
                    <a:gd name="connsiteY1" fmla="*/ 29022 h 46460"/>
                    <a:gd name="connsiteX2" fmla="*/ 5605 w 23416"/>
                    <a:gd name="connsiteY2" fmla="*/ 15445 h 46460"/>
                    <a:gd name="connsiteX3" fmla="*/ 0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23417" y="46460"/>
                      </a:moveTo>
                      <a:cubicBezTo>
                        <a:pt x="21922" y="38239"/>
                        <a:pt x="19057" y="32634"/>
                        <a:pt x="16566" y="29022"/>
                      </a:cubicBezTo>
                      <a:cubicBezTo>
                        <a:pt x="12705" y="23168"/>
                        <a:pt x="9342" y="21424"/>
                        <a:pt x="5605" y="15445"/>
                      </a:cubicBezTo>
                      <a:cubicBezTo>
                        <a:pt x="1993"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9" name="Freeform 6910">
                  <a:extLst>
                    <a:ext uri="{FF2B5EF4-FFF2-40B4-BE49-F238E27FC236}">
                      <a16:creationId xmlns:a16="http://schemas.microsoft.com/office/drawing/2014/main" id="{86A8AEA1-B52F-E653-CC98-2FED7C661755}"/>
                    </a:ext>
                  </a:extLst>
                </p:cNvPr>
                <p:cNvSpPr/>
                <p:nvPr/>
              </p:nvSpPr>
              <p:spPr>
                <a:xfrm>
                  <a:off x="9925254" y="1168176"/>
                  <a:ext cx="24537" cy="45961"/>
                </a:xfrm>
                <a:custGeom>
                  <a:avLst/>
                  <a:gdLst>
                    <a:gd name="connsiteX0" fmla="*/ 0 w 24537"/>
                    <a:gd name="connsiteY0" fmla="*/ 0 h 45961"/>
                    <a:gd name="connsiteX1" fmla="*/ 10338 w 24537"/>
                    <a:gd name="connsiteY1" fmla="*/ 15694 h 45961"/>
                    <a:gd name="connsiteX2" fmla="*/ 15071 w 24537"/>
                    <a:gd name="connsiteY2" fmla="*/ 32385 h 45961"/>
                    <a:gd name="connsiteX3" fmla="*/ 24537 w 24537"/>
                    <a:gd name="connsiteY3" fmla="*/ 45962 h 45961"/>
                  </a:gdLst>
                  <a:ahLst/>
                  <a:cxnLst>
                    <a:cxn ang="0">
                      <a:pos x="connsiteX0" y="connsiteY0"/>
                    </a:cxn>
                    <a:cxn ang="0">
                      <a:pos x="connsiteX1" y="connsiteY1"/>
                    </a:cxn>
                    <a:cxn ang="0">
                      <a:pos x="connsiteX2" y="connsiteY2"/>
                    </a:cxn>
                    <a:cxn ang="0">
                      <a:pos x="connsiteX3" y="connsiteY3"/>
                    </a:cxn>
                  </a:cxnLst>
                  <a:rect l="l" t="t" r="r" b="b"/>
                  <a:pathLst>
                    <a:path w="24537" h="45961">
                      <a:moveTo>
                        <a:pt x="0" y="0"/>
                      </a:moveTo>
                      <a:cubicBezTo>
                        <a:pt x="5979" y="5979"/>
                        <a:pt x="8843" y="11708"/>
                        <a:pt x="10338" y="15694"/>
                      </a:cubicBezTo>
                      <a:cubicBezTo>
                        <a:pt x="12829" y="22171"/>
                        <a:pt x="12331" y="25908"/>
                        <a:pt x="15071" y="32385"/>
                      </a:cubicBezTo>
                      <a:cubicBezTo>
                        <a:pt x="17812" y="38737"/>
                        <a:pt x="21673" y="43222"/>
                        <a:pt x="24537" y="4596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0" name="Freeform 6911">
                  <a:extLst>
                    <a:ext uri="{FF2B5EF4-FFF2-40B4-BE49-F238E27FC236}">
                      <a16:creationId xmlns:a16="http://schemas.microsoft.com/office/drawing/2014/main" id="{1144904F-183A-07EC-598C-3984F1CF5B62}"/>
                    </a:ext>
                  </a:extLst>
                </p:cNvPr>
                <p:cNvSpPr/>
                <p:nvPr/>
              </p:nvSpPr>
              <p:spPr>
                <a:xfrm>
                  <a:off x="9940379" y="1201391"/>
                  <a:ext cx="27068" cy="26342"/>
                </a:xfrm>
                <a:custGeom>
                  <a:avLst/>
                  <a:gdLst>
                    <a:gd name="connsiteX0" fmla="*/ 1440 w 27068"/>
                    <a:gd name="connsiteY0" fmla="*/ 19099 h 26342"/>
                    <a:gd name="connsiteX1" fmla="*/ 7420 w 27068"/>
                    <a:gd name="connsiteY1" fmla="*/ 1412 h 26342"/>
                    <a:gd name="connsiteX2" fmla="*/ 25605 w 27068"/>
                    <a:gd name="connsiteY2" fmla="*/ 7266 h 26342"/>
                    <a:gd name="connsiteX3" fmla="*/ 19626 w 27068"/>
                    <a:gd name="connsiteY3" fmla="*/ 24953 h 26342"/>
                    <a:gd name="connsiteX4" fmla="*/ 1440 w 27068"/>
                    <a:gd name="connsiteY4" fmla="*/ 19099 h 2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7" h="26342">
                      <a:moveTo>
                        <a:pt x="1440" y="19099"/>
                      </a:moveTo>
                      <a:cubicBezTo>
                        <a:pt x="-1922" y="12622"/>
                        <a:pt x="818" y="4650"/>
                        <a:pt x="7420" y="1412"/>
                      </a:cubicBezTo>
                      <a:cubicBezTo>
                        <a:pt x="14021" y="-1827"/>
                        <a:pt x="22242" y="664"/>
                        <a:pt x="25605" y="7266"/>
                      </a:cubicBezTo>
                      <a:cubicBezTo>
                        <a:pt x="28968" y="13743"/>
                        <a:pt x="26352" y="21715"/>
                        <a:pt x="19626" y="24953"/>
                      </a:cubicBezTo>
                      <a:cubicBezTo>
                        <a:pt x="12900" y="28192"/>
                        <a:pt x="4804" y="25576"/>
                        <a:pt x="1440" y="190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1" name="Freeform 6912">
                  <a:extLst>
                    <a:ext uri="{FF2B5EF4-FFF2-40B4-BE49-F238E27FC236}">
                      <a16:creationId xmlns:a16="http://schemas.microsoft.com/office/drawing/2014/main" id="{66967D44-7F0B-9926-AA2B-F88FC6A828A6}"/>
                    </a:ext>
                  </a:extLst>
                </p:cNvPr>
                <p:cNvSpPr/>
                <p:nvPr/>
              </p:nvSpPr>
              <p:spPr>
                <a:xfrm>
                  <a:off x="9897602" y="1113744"/>
                  <a:ext cx="23416" cy="46584"/>
                </a:xfrm>
                <a:custGeom>
                  <a:avLst/>
                  <a:gdLst>
                    <a:gd name="connsiteX0" fmla="*/ 0 w 23416"/>
                    <a:gd name="connsiteY0" fmla="*/ 0 h 46584"/>
                    <a:gd name="connsiteX1" fmla="*/ 6851 w 23416"/>
                    <a:gd name="connsiteY1" fmla="*/ 17438 h 46584"/>
                    <a:gd name="connsiteX2" fmla="*/ 17812 w 23416"/>
                    <a:gd name="connsiteY2" fmla="*/ 31139 h 46584"/>
                    <a:gd name="connsiteX3" fmla="*/ 23417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0" y="0"/>
                      </a:moveTo>
                      <a:cubicBezTo>
                        <a:pt x="1495" y="8221"/>
                        <a:pt x="4484" y="13826"/>
                        <a:pt x="6851" y="17438"/>
                      </a:cubicBezTo>
                      <a:cubicBezTo>
                        <a:pt x="10712" y="23292"/>
                        <a:pt x="14075" y="25036"/>
                        <a:pt x="17812" y="31139"/>
                      </a:cubicBezTo>
                      <a:cubicBezTo>
                        <a:pt x="21424" y="36994"/>
                        <a:pt x="22794" y="42723"/>
                        <a:pt x="23417"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2" name="Freeform 6913">
                  <a:extLst>
                    <a:ext uri="{FF2B5EF4-FFF2-40B4-BE49-F238E27FC236}">
                      <a16:creationId xmlns:a16="http://schemas.microsoft.com/office/drawing/2014/main" id="{801BD114-F000-503C-4885-27CEC8134232}"/>
                    </a:ext>
                  </a:extLst>
                </p:cNvPr>
                <p:cNvSpPr/>
                <p:nvPr/>
              </p:nvSpPr>
              <p:spPr>
                <a:xfrm>
                  <a:off x="9901463" y="1106146"/>
                  <a:ext cx="24662" cy="45961"/>
                </a:xfrm>
                <a:custGeom>
                  <a:avLst/>
                  <a:gdLst>
                    <a:gd name="connsiteX0" fmla="*/ 24662 w 24662"/>
                    <a:gd name="connsiteY0" fmla="*/ 45962 h 45961"/>
                    <a:gd name="connsiteX1" fmla="*/ 14324 w 24662"/>
                    <a:gd name="connsiteY1" fmla="*/ 30268 h 45961"/>
                    <a:gd name="connsiteX2" fmla="*/ 9467 w 24662"/>
                    <a:gd name="connsiteY2" fmla="*/ 13577 h 45961"/>
                    <a:gd name="connsiteX3" fmla="*/ 0 w 24662"/>
                    <a:gd name="connsiteY3" fmla="*/ 0 h 45961"/>
                  </a:gdLst>
                  <a:ahLst/>
                  <a:cxnLst>
                    <a:cxn ang="0">
                      <a:pos x="connsiteX0" y="connsiteY0"/>
                    </a:cxn>
                    <a:cxn ang="0">
                      <a:pos x="connsiteX1" y="connsiteY1"/>
                    </a:cxn>
                    <a:cxn ang="0">
                      <a:pos x="connsiteX2" y="connsiteY2"/>
                    </a:cxn>
                    <a:cxn ang="0">
                      <a:pos x="connsiteX3" y="connsiteY3"/>
                    </a:cxn>
                  </a:cxnLst>
                  <a:rect l="l" t="t" r="r" b="b"/>
                  <a:pathLst>
                    <a:path w="24662" h="45961">
                      <a:moveTo>
                        <a:pt x="24662" y="45962"/>
                      </a:moveTo>
                      <a:cubicBezTo>
                        <a:pt x="18684" y="39983"/>
                        <a:pt x="15819" y="34253"/>
                        <a:pt x="14324" y="30268"/>
                      </a:cubicBezTo>
                      <a:cubicBezTo>
                        <a:pt x="11833" y="23791"/>
                        <a:pt x="12331" y="20054"/>
                        <a:pt x="9467" y="13577"/>
                      </a:cubicBezTo>
                      <a:cubicBezTo>
                        <a:pt x="6726" y="7224"/>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3" name="Freeform 6914">
                  <a:extLst>
                    <a:ext uri="{FF2B5EF4-FFF2-40B4-BE49-F238E27FC236}">
                      <a16:creationId xmlns:a16="http://schemas.microsoft.com/office/drawing/2014/main" id="{3BC61FDB-DF1C-F304-89AF-87641BEEA0E6}"/>
                    </a:ext>
                  </a:extLst>
                </p:cNvPr>
                <p:cNvSpPr/>
                <p:nvPr/>
              </p:nvSpPr>
              <p:spPr>
                <a:xfrm>
                  <a:off x="9884396" y="1092700"/>
                  <a:ext cx="26410" cy="26269"/>
                </a:xfrm>
                <a:custGeom>
                  <a:avLst/>
                  <a:gdLst>
                    <a:gd name="connsiteX0" fmla="*/ 24914 w 26410"/>
                    <a:gd name="connsiteY0" fmla="*/ 7343 h 26269"/>
                    <a:gd name="connsiteX1" fmla="*/ 19308 w 26410"/>
                    <a:gd name="connsiteY1" fmla="*/ 24905 h 26269"/>
                    <a:gd name="connsiteX2" fmla="*/ 1497 w 26410"/>
                    <a:gd name="connsiteY2" fmla="*/ 18927 h 26269"/>
                    <a:gd name="connsiteX3" fmla="*/ 7102 w 26410"/>
                    <a:gd name="connsiteY3" fmla="*/ 1364 h 26269"/>
                    <a:gd name="connsiteX4" fmla="*/ 24914 w 26410"/>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269">
                      <a:moveTo>
                        <a:pt x="24914" y="7343"/>
                      </a:moveTo>
                      <a:cubicBezTo>
                        <a:pt x="28277" y="13820"/>
                        <a:pt x="25786" y="21667"/>
                        <a:pt x="19308" y="24905"/>
                      </a:cubicBezTo>
                      <a:cubicBezTo>
                        <a:pt x="12832" y="28144"/>
                        <a:pt x="4860" y="25404"/>
                        <a:pt x="1497" y="18927"/>
                      </a:cubicBezTo>
                      <a:cubicBezTo>
                        <a:pt x="-1867" y="12450"/>
                        <a:pt x="625" y="4602"/>
                        <a:pt x="7102" y="1364"/>
                      </a:cubicBezTo>
                      <a:cubicBezTo>
                        <a:pt x="13579" y="-1875"/>
                        <a:pt x="21426" y="866"/>
                        <a:pt x="24914"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5" name="Graphic 2987">
                <a:extLst>
                  <a:ext uri="{FF2B5EF4-FFF2-40B4-BE49-F238E27FC236}">
                    <a16:creationId xmlns:a16="http://schemas.microsoft.com/office/drawing/2014/main" id="{7C351F24-9EDF-F8C9-66C2-0BA19654C81F}"/>
                  </a:ext>
                </a:extLst>
              </p:cNvPr>
              <p:cNvGrpSpPr/>
              <p:nvPr/>
            </p:nvGrpSpPr>
            <p:grpSpPr>
              <a:xfrm>
                <a:off x="9858017" y="1105709"/>
                <a:ext cx="82378" cy="135352"/>
                <a:chOff x="9858017" y="1105709"/>
                <a:chExt cx="82378" cy="135352"/>
              </a:xfrm>
              <a:grpFill/>
            </p:grpSpPr>
            <p:sp>
              <p:nvSpPr>
                <p:cNvPr id="7122" name="Freeform 6916">
                  <a:extLst>
                    <a:ext uri="{FF2B5EF4-FFF2-40B4-BE49-F238E27FC236}">
                      <a16:creationId xmlns:a16="http://schemas.microsoft.com/office/drawing/2014/main" id="{39195410-C50C-2E88-D68C-8556E0F03CE8}"/>
                    </a:ext>
                  </a:extLst>
                </p:cNvPr>
                <p:cNvSpPr/>
                <p:nvPr/>
              </p:nvSpPr>
              <p:spPr>
                <a:xfrm>
                  <a:off x="9903954" y="1173034"/>
                  <a:ext cx="23042" cy="46833"/>
                </a:xfrm>
                <a:custGeom>
                  <a:avLst/>
                  <a:gdLst>
                    <a:gd name="connsiteX0" fmla="*/ 23043 w 23042"/>
                    <a:gd name="connsiteY0" fmla="*/ 46834 h 46833"/>
                    <a:gd name="connsiteX1" fmla="*/ 16317 w 23042"/>
                    <a:gd name="connsiteY1" fmla="*/ 29271 h 46833"/>
                    <a:gd name="connsiteX2" fmla="*/ 5481 w 23042"/>
                    <a:gd name="connsiteY2" fmla="*/ 15570 h 46833"/>
                    <a:gd name="connsiteX3" fmla="*/ 0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23043" y="46834"/>
                      </a:moveTo>
                      <a:cubicBezTo>
                        <a:pt x="21673" y="38613"/>
                        <a:pt x="18684" y="32883"/>
                        <a:pt x="16317" y="29271"/>
                      </a:cubicBezTo>
                      <a:cubicBezTo>
                        <a:pt x="12456" y="23417"/>
                        <a:pt x="9092" y="21673"/>
                        <a:pt x="5481" y="15570"/>
                      </a:cubicBezTo>
                      <a:cubicBezTo>
                        <a:pt x="1869" y="9715"/>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3" name="Freeform 6917">
                  <a:extLst>
                    <a:ext uri="{FF2B5EF4-FFF2-40B4-BE49-F238E27FC236}">
                      <a16:creationId xmlns:a16="http://schemas.microsoft.com/office/drawing/2014/main" id="{763E922C-4C95-BF1C-60E4-80A8522823C7}"/>
                    </a:ext>
                  </a:extLst>
                </p:cNvPr>
                <p:cNvSpPr/>
                <p:nvPr/>
              </p:nvSpPr>
              <p:spPr>
                <a:xfrm>
                  <a:off x="9898598" y="1181379"/>
                  <a:ext cx="24164" cy="46086"/>
                </a:xfrm>
                <a:custGeom>
                  <a:avLst/>
                  <a:gdLst>
                    <a:gd name="connsiteX0" fmla="*/ 0 w 24164"/>
                    <a:gd name="connsiteY0" fmla="*/ 0 h 46086"/>
                    <a:gd name="connsiteX1" fmla="*/ 10214 w 24164"/>
                    <a:gd name="connsiteY1" fmla="*/ 15819 h 46086"/>
                    <a:gd name="connsiteX2" fmla="*/ 14822 w 24164"/>
                    <a:gd name="connsiteY2" fmla="*/ 32510 h 46086"/>
                    <a:gd name="connsiteX3" fmla="*/ 24164 w 24164"/>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164" h="46086">
                      <a:moveTo>
                        <a:pt x="0" y="0"/>
                      </a:moveTo>
                      <a:cubicBezTo>
                        <a:pt x="5854" y="6103"/>
                        <a:pt x="8719" y="11708"/>
                        <a:pt x="10214" y="15819"/>
                      </a:cubicBezTo>
                      <a:cubicBezTo>
                        <a:pt x="12704" y="22420"/>
                        <a:pt x="12082" y="26033"/>
                        <a:pt x="14822" y="32510"/>
                      </a:cubicBezTo>
                      <a:cubicBezTo>
                        <a:pt x="17438" y="38862"/>
                        <a:pt x="21424" y="43346"/>
                        <a:pt x="24164"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4" name="Freeform 6918">
                  <a:extLst>
                    <a:ext uri="{FF2B5EF4-FFF2-40B4-BE49-F238E27FC236}">
                      <a16:creationId xmlns:a16="http://schemas.microsoft.com/office/drawing/2014/main" id="{5C93D6EE-BF69-3985-BD56-14440AC2A194}"/>
                    </a:ext>
                  </a:extLst>
                </p:cNvPr>
                <p:cNvSpPr/>
                <p:nvPr/>
              </p:nvSpPr>
              <p:spPr>
                <a:xfrm>
                  <a:off x="9913474" y="1214562"/>
                  <a:ext cx="26921" cy="26498"/>
                </a:xfrm>
                <a:custGeom>
                  <a:avLst/>
                  <a:gdLst>
                    <a:gd name="connsiteX0" fmla="*/ 1441 w 26921"/>
                    <a:gd name="connsiteY0" fmla="*/ 19256 h 26498"/>
                    <a:gd name="connsiteX1" fmla="*/ 7419 w 26921"/>
                    <a:gd name="connsiteY1" fmla="*/ 1444 h 26498"/>
                    <a:gd name="connsiteX2" fmla="*/ 25480 w 26921"/>
                    <a:gd name="connsiteY2" fmla="*/ 7298 h 26498"/>
                    <a:gd name="connsiteX3" fmla="*/ 19502 w 26921"/>
                    <a:gd name="connsiteY3" fmla="*/ 25110 h 26498"/>
                    <a:gd name="connsiteX4" fmla="*/ 1441 w 26921"/>
                    <a:gd name="connsiteY4" fmla="*/ 19256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1" h="26498">
                      <a:moveTo>
                        <a:pt x="1441" y="19256"/>
                      </a:moveTo>
                      <a:cubicBezTo>
                        <a:pt x="-1923" y="12779"/>
                        <a:pt x="818" y="4807"/>
                        <a:pt x="7419" y="1444"/>
                      </a:cubicBezTo>
                      <a:cubicBezTo>
                        <a:pt x="14021" y="-1919"/>
                        <a:pt x="22117" y="821"/>
                        <a:pt x="25480" y="7298"/>
                      </a:cubicBezTo>
                      <a:cubicBezTo>
                        <a:pt x="28844" y="13775"/>
                        <a:pt x="26103" y="21747"/>
                        <a:pt x="19502" y="25110"/>
                      </a:cubicBezTo>
                      <a:cubicBezTo>
                        <a:pt x="12775" y="28348"/>
                        <a:pt x="4679" y="25733"/>
                        <a:pt x="1441" y="192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5" name="Freeform 6919">
                  <a:extLst>
                    <a:ext uri="{FF2B5EF4-FFF2-40B4-BE49-F238E27FC236}">
                      <a16:creationId xmlns:a16="http://schemas.microsoft.com/office/drawing/2014/main" id="{CB7056BF-468D-676A-3F2C-DE753514C0FC}"/>
                    </a:ext>
                  </a:extLst>
                </p:cNvPr>
                <p:cNvSpPr/>
                <p:nvPr/>
              </p:nvSpPr>
              <p:spPr>
                <a:xfrm>
                  <a:off x="9871320" y="1126698"/>
                  <a:ext cx="23042" cy="46833"/>
                </a:xfrm>
                <a:custGeom>
                  <a:avLst/>
                  <a:gdLst>
                    <a:gd name="connsiteX0" fmla="*/ 0 w 23042"/>
                    <a:gd name="connsiteY0" fmla="*/ 0 h 46833"/>
                    <a:gd name="connsiteX1" fmla="*/ 6726 w 23042"/>
                    <a:gd name="connsiteY1" fmla="*/ 17563 h 46833"/>
                    <a:gd name="connsiteX2" fmla="*/ 17562 w 23042"/>
                    <a:gd name="connsiteY2" fmla="*/ 31264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1495" y="8221"/>
                        <a:pt x="4359" y="13950"/>
                        <a:pt x="6726" y="17563"/>
                      </a:cubicBezTo>
                      <a:cubicBezTo>
                        <a:pt x="10587" y="23417"/>
                        <a:pt x="13826" y="25161"/>
                        <a:pt x="17562" y="31264"/>
                      </a:cubicBezTo>
                      <a:cubicBezTo>
                        <a:pt x="21175" y="37243"/>
                        <a:pt x="22420" y="42848"/>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6" name="Freeform 6920">
                  <a:extLst>
                    <a:ext uri="{FF2B5EF4-FFF2-40B4-BE49-F238E27FC236}">
                      <a16:creationId xmlns:a16="http://schemas.microsoft.com/office/drawing/2014/main" id="{A86CFDB7-88A3-F5CE-DCED-3BFD17F2A8E2}"/>
                    </a:ext>
                  </a:extLst>
                </p:cNvPr>
                <p:cNvSpPr/>
                <p:nvPr/>
              </p:nvSpPr>
              <p:spPr>
                <a:xfrm>
                  <a:off x="9875181" y="1119100"/>
                  <a:ext cx="24413" cy="46086"/>
                </a:xfrm>
                <a:custGeom>
                  <a:avLst/>
                  <a:gdLst>
                    <a:gd name="connsiteX0" fmla="*/ 24414 w 24413"/>
                    <a:gd name="connsiteY0" fmla="*/ 46086 h 46086"/>
                    <a:gd name="connsiteX1" fmla="*/ 14075 w 24413"/>
                    <a:gd name="connsiteY1" fmla="*/ 30268 h 46086"/>
                    <a:gd name="connsiteX2" fmla="*/ 9342 w 24413"/>
                    <a:gd name="connsiteY2" fmla="*/ 13577 h 46086"/>
                    <a:gd name="connsiteX3" fmla="*/ 0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24414" y="46086"/>
                      </a:moveTo>
                      <a:cubicBezTo>
                        <a:pt x="18559" y="39983"/>
                        <a:pt x="15694" y="34378"/>
                        <a:pt x="14075" y="30268"/>
                      </a:cubicBezTo>
                      <a:cubicBezTo>
                        <a:pt x="11584" y="23666"/>
                        <a:pt x="12082" y="20054"/>
                        <a:pt x="9342" y="13577"/>
                      </a:cubicBezTo>
                      <a:cubicBezTo>
                        <a:pt x="6601" y="7224"/>
                        <a:pt x="2740"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7" name="Freeform 6921">
                  <a:extLst>
                    <a:ext uri="{FF2B5EF4-FFF2-40B4-BE49-F238E27FC236}">
                      <a16:creationId xmlns:a16="http://schemas.microsoft.com/office/drawing/2014/main" id="{8E7D0520-472B-5EFB-A79B-2FDBC55BF1C1}"/>
                    </a:ext>
                  </a:extLst>
                </p:cNvPr>
                <p:cNvSpPr/>
                <p:nvPr/>
              </p:nvSpPr>
              <p:spPr>
                <a:xfrm>
                  <a:off x="9858017" y="1105709"/>
                  <a:ext cx="26481" cy="26214"/>
                </a:xfrm>
                <a:custGeom>
                  <a:avLst/>
                  <a:gdLst>
                    <a:gd name="connsiteX0" fmla="*/ 25011 w 26481"/>
                    <a:gd name="connsiteY0" fmla="*/ 7288 h 26214"/>
                    <a:gd name="connsiteX1" fmla="*/ 19282 w 26481"/>
                    <a:gd name="connsiteY1" fmla="*/ 24851 h 26214"/>
                    <a:gd name="connsiteX2" fmla="*/ 1470 w 26481"/>
                    <a:gd name="connsiteY2" fmla="*/ 18872 h 26214"/>
                    <a:gd name="connsiteX3" fmla="*/ 7200 w 26481"/>
                    <a:gd name="connsiteY3" fmla="*/ 1309 h 26214"/>
                    <a:gd name="connsiteX4" fmla="*/ 25011 w 26481"/>
                    <a:gd name="connsiteY4" fmla="*/ 7288 h 26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81" h="26213">
                      <a:moveTo>
                        <a:pt x="25011" y="7288"/>
                      </a:moveTo>
                      <a:cubicBezTo>
                        <a:pt x="28374" y="13765"/>
                        <a:pt x="25759" y="21737"/>
                        <a:pt x="19282" y="24851"/>
                      </a:cubicBezTo>
                      <a:cubicBezTo>
                        <a:pt x="12804" y="28089"/>
                        <a:pt x="4833" y="25349"/>
                        <a:pt x="1470" y="18872"/>
                      </a:cubicBezTo>
                      <a:cubicBezTo>
                        <a:pt x="-1893" y="12395"/>
                        <a:pt x="723" y="4423"/>
                        <a:pt x="7200" y="1309"/>
                      </a:cubicBezTo>
                      <a:cubicBezTo>
                        <a:pt x="13676" y="-1804"/>
                        <a:pt x="21648" y="811"/>
                        <a:pt x="25011" y="72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6" name="Graphic 2987">
                <a:extLst>
                  <a:ext uri="{FF2B5EF4-FFF2-40B4-BE49-F238E27FC236}">
                    <a16:creationId xmlns:a16="http://schemas.microsoft.com/office/drawing/2014/main" id="{B37FFFE4-8A86-20F9-E5F0-0B2F2CDF7E71}"/>
                  </a:ext>
                </a:extLst>
              </p:cNvPr>
              <p:cNvGrpSpPr/>
              <p:nvPr/>
            </p:nvGrpSpPr>
            <p:grpSpPr>
              <a:xfrm>
                <a:off x="9832062" y="1118541"/>
                <a:ext cx="81425" cy="135847"/>
                <a:chOff x="9832062" y="1118541"/>
                <a:chExt cx="81425" cy="135847"/>
              </a:xfrm>
              <a:grpFill/>
            </p:grpSpPr>
            <p:sp>
              <p:nvSpPr>
                <p:cNvPr id="7116" name="Freeform 6923">
                  <a:extLst>
                    <a:ext uri="{FF2B5EF4-FFF2-40B4-BE49-F238E27FC236}">
                      <a16:creationId xmlns:a16="http://schemas.microsoft.com/office/drawing/2014/main" id="{93432972-E7A0-01E6-DFE6-3803054E6CDD}"/>
                    </a:ext>
                  </a:extLst>
                </p:cNvPr>
                <p:cNvSpPr/>
                <p:nvPr/>
              </p:nvSpPr>
              <p:spPr>
                <a:xfrm>
                  <a:off x="9877423" y="1186361"/>
                  <a:ext cx="22669" cy="46833"/>
                </a:xfrm>
                <a:custGeom>
                  <a:avLst/>
                  <a:gdLst>
                    <a:gd name="connsiteX0" fmla="*/ 22670 w 22669"/>
                    <a:gd name="connsiteY0" fmla="*/ 46834 h 46833"/>
                    <a:gd name="connsiteX1" fmla="*/ 16068 w 22669"/>
                    <a:gd name="connsiteY1" fmla="*/ 29271 h 46833"/>
                    <a:gd name="connsiteX2" fmla="*/ 5356 w 22669"/>
                    <a:gd name="connsiteY2" fmla="*/ 15570 h 46833"/>
                    <a:gd name="connsiteX3" fmla="*/ 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22670" y="46834"/>
                      </a:moveTo>
                      <a:cubicBezTo>
                        <a:pt x="21300" y="38488"/>
                        <a:pt x="18434" y="32883"/>
                        <a:pt x="16068" y="29271"/>
                      </a:cubicBezTo>
                      <a:cubicBezTo>
                        <a:pt x="12206" y="23417"/>
                        <a:pt x="8968" y="21673"/>
                        <a:pt x="5356" y="15570"/>
                      </a:cubicBezTo>
                      <a:cubicBezTo>
                        <a:pt x="1869" y="9591"/>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7" name="Freeform 6924">
                  <a:extLst>
                    <a:ext uri="{FF2B5EF4-FFF2-40B4-BE49-F238E27FC236}">
                      <a16:creationId xmlns:a16="http://schemas.microsoft.com/office/drawing/2014/main" id="{F002B82C-A2E6-24BA-D6DF-F0D6FB4EC031}"/>
                    </a:ext>
                  </a:extLst>
                </p:cNvPr>
                <p:cNvSpPr/>
                <p:nvPr/>
              </p:nvSpPr>
              <p:spPr>
                <a:xfrm>
                  <a:off x="9871943" y="1194458"/>
                  <a:ext cx="24164" cy="46335"/>
                </a:xfrm>
                <a:custGeom>
                  <a:avLst/>
                  <a:gdLst>
                    <a:gd name="connsiteX0" fmla="*/ 0 w 24164"/>
                    <a:gd name="connsiteY0" fmla="*/ 0 h 46335"/>
                    <a:gd name="connsiteX1" fmla="*/ 10214 w 24164"/>
                    <a:gd name="connsiteY1" fmla="*/ 15819 h 46335"/>
                    <a:gd name="connsiteX2" fmla="*/ 14822 w 24164"/>
                    <a:gd name="connsiteY2" fmla="*/ 32634 h 46335"/>
                    <a:gd name="connsiteX3" fmla="*/ 24164 w 24164"/>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4164" h="46335">
                      <a:moveTo>
                        <a:pt x="0" y="0"/>
                      </a:moveTo>
                      <a:cubicBezTo>
                        <a:pt x="5855" y="6103"/>
                        <a:pt x="8719" y="11708"/>
                        <a:pt x="10214" y="15819"/>
                      </a:cubicBezTo>
                      <a:cubicBezTo>
                        <a:pt x="12580" y="22420"/>
                        <a:pt x="12082" y="26033"/>
                        <a:pt x="14822" y="32634"/>
                      </a:cubicBezTo>
                      <a:cubicBezTo>
                        <a:pt x="17438" y="38987"/>
                        <a:pt x="21300" y="43471"/>
                        <a:pt x="24164"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8" name="Freeform 6925">
                  <a:extLst>
                    <a:ext uri="{FF2B5EF4-FFF2-40B4-BE49-F238E27FC236}">
                      <a16:creationId xmlns:a16="http://schemas.microsoft.com/office/drawing/2014/main" id="{E15E4BCA-82C0-778F-CB01-BA7B825BFCAD}"/>
                    </a:ext>
                  </a:extLst>
                </p:cNvPr>
                <p:cNvSpPr/>
                <p:nvPr/>
              </p:nvSpPr>
              <p:spPr>
                <a:xfrm>
                  <a:off x="9886525" y="1227945"/>
                  <a:ext cx="26962" cy="26444"/>
                </a:xfrm>
                <a:custGeom>
                  <a:avLst/>
                  <a:gdLst>
                    <a:gd name="connsiteX0" fmla="*/ 1361 w 26962"/>
                    <a:gd name="connsiteY0" fmla="*/ 19201 h 26444"/>
                    <a:gd name="connsiteX1" fmla="*/ 7464 w 26962"/>
                    <a:gd name="connsiteY1" fmla="*/ 1389 h 26444"/>
                    <a:gd name="connsiteX2" fmla="*/ 25525 w 26962"/>
                    <a:gd name="connsiteY2" fmla="*/ 7243 h 26444"/>
                    <a:gd name="connsiteX3" fmla="*/ 19421 w 26962"/>
                    <a:gd name="connsiteY3" fmla="*/ 25055 h 26444"/>
                    <a:gd name="connsiteX4" fmla="*/ 1361 w 26962"/>
                    <a:gd name="connsiteY4" fmla="*/ 19201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2" h="26444">
                      <a:moveTo>
                        <a:pt x="1361" y="19201"/>
                      </a:moveTo>
                      <a:cubicBezTo>
                        <a:pt x="-1877" y="12599"/>
                        <a:pt x="862" y="4628"/>
                        <a:pt x="7464" y="1389"/>
                      </a:cubicBezTo>
                      <a:cubicBezTo>
                        <a:pt x="14066" y="-1849"/>
                        <a:pt x="22162" y="766"/>
                        <a:pt x="25525" y="7243"/>
                      </a:cubicBezTo>
                      <a:cubicBezTo>
                        <a:pt x="28888" y="13720"/>
                        <a:pt x="26148" y="21692"/>
                        <a:pt x="19421" y="25055"/>
                      </a:cubicBezTo>
                      <a:cubicBezTo>
                        <a:pt x="12696" y="28294"/>
                        <a:pt x="4599" y="25678"/>
                        <a:pt x="1361" y="192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9" name="Freeform 6926">
                  <a:extLst>
                    <a:ext uri="{FF2B5EF4-FFF2-40B4-BE49-F238E27FC236}">
                      <a16:creationId xmlns:a16="http://schemas.microsoft.com/office/drawing/2014/main" id="{CDC01959-0164-10A9-A7C8-C2411159C3BA}"/>
                    </a:ext>
                  </a:extLst>
                </p:cNvPr>
                <p:cNvSpPr/>
                <p:nvPr/>
              </p:nvSpPr>
              <p:spPr>
                <a:xfrm>
                  <a:off x="9845039" y="1139652"/>
                  <a:ext cx="22668" cy="46958"/>
                </a:xfrm>
                <a:custGeom>
                  <a:avLst/>
                  <a:gdLst>
                    <a:gd name="connsiteX0" fmla="*/ 0 w 22668"/>
                    <a:gd name="connsiteY0" fmla="*/ 0 h 46958"/>
                    <a:gd name="connsiteX1" fmla="*/ 6601 w 22668"/>
                    <a:gd name="connsiteY1" fmla="*/ 17563 h 46958"/>
                    <a:gd name="connsiteX2" fmla="*/ 17313 w 22668"/>
                    <a:gd name="connsiteY2" fmla="*/ 31389 h 46958"/>
                    <a:gd name="connsiteX3" fmla="*/ 22669 w 22668"/>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8" h="46958">
                      <a:moveTo>
                        <a:pt x="0" y="0"/>
                      </a:moveTo>
                      <a:cubicBezTo>
                        <a:pt x="1370" y="8221"/>
                        <a:pt x="4235" y="13950"/>
                        <a:pt x="6601" y="17563"/>
                      </a:cubicBezTo>
                      <a:cubicBezTo>
                        <a:pt x="10462" y="23417"/>
                        <a:pt x="13701" y="25285"/>
                        <a:pt x="17313" y="31389"/>
                      </a:cubicBezTo>
                      <a:cubicBezTo>
                        <a:pt x="20801" y="37367"/>
                        <a:pt x="22171" y="43097"/>
                        <a:pt x="22669"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0" name="Freeform 6927">
                  <a:extLst>
                    <a:ext uri="{FF2B5EF4-FFF2-40B4-BE49-F238E27FC236}">
                      <a16:creationId xmlns:a16="http://schemas.microsoft.com/office/drawing/2014/main" id="{7FB14392-88CB-DE2D-5D73-2528D40C71B0}"/>
                    </a:ext>
                  </a:extLst>
                </p:cNvPr>
                <p:cNvSpPr/>
                <p:nvPr/>
              </p:nvSpPr>
              <p:spPr>
                <a:xfrm>
                  <a:off x="9849024" y="1132054"/>
                  <a:ext cx="24040" cy="46335"/>
                </a:xfrm>
                <a:custGeom>
                  <a:avLst/>
                  <a:gdLst>
                    <a:gd name="connsiteX0" fmla="*/ 24040 w 24040"/>
                    <a:gd name="connsiteY0" fmla="*/ 46335 h 46335"/>
                    <a:gd name="connsiteX1" fmla="*/ 13826 w 24040"/>
                    <a:gd name="connsiteY1" fmla="*/ 30517 h 46335"/>
                    <a:gd name="connsiteX2" fmla="*/ 9218 w 24040"/>
                    <a:gd name="connsiteY2" fmla="*/ 13701 h 46335"/>
                    <a:gd name="connsiteX3" fmla="*/ 0 w 24040"/>
                    <a:gd name="connsiteY3" fmla="*/ 0 h 46335"/>
                  </a:gdLst>
                  <a:ahLst/>
                  <a:cxnLst>
                    <a:cxn ang="0">
                      <a:pos x="connsiteX0" y="connsiteY0"/>
                    </a:cxn>
                    <a:cxn ang="0">
                      <a:pos x="connsiteX1" y="connsiteY1"/>
                    </a:cxn>
                    <a:cxn ang="0">
                      <a:pos x="connsiteX2" y="connsiteY2"/>
                    </a:cxn>
                    <a:cxn ang="0">
                      <a:pos x="connsiteX3" y="connsiteY3"/>
                    </a:cxn>
                  </a:cxnLst>
                  <a:rect l="l" t="t" r="r" b="b"/>
                  <a:pathLst>
                    <a:path w="24040" h="46335">
                      <a:moveTo>
                        <a:pt x="24040" y="46335"/>
                      </a:moveTo>
                      <a:cubicBezTo>
                        <a:pt x="18186" y="40232"/>
                        <a:pt x="15321" y="34627"/>
                        <a:pt x="13826" y="30517"/>
                      </a:cubicBezTo>
                      <a:cubicBezTo>
                        <a:pt x="11460" y="23915"/>
                        <a:pt x="11958" y="20303"/>
                        <a:pt x="9218" y="13701"/>
                      </a:cubicBezTo>
                      <a:cubicBezTo>
                        <a:pt x="6602" y="7349"/>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1" name="Freeform 6928">
                  <a:extLst>
                    <a:ext uri="{FF2B5EF4-FFF2-40B4-BE49-F238E27FC236}">
                      <a16:creationId xmlns:a16="http://schemas.microsoft.com/office/drawing/2014/main" id="{2E0DAA56-0EC5-2E38-64A4-BA5296362DB5}"/>
                    </a:ext>
                  </a:extLst>
                </p:cNvPr>
                <p:cNvSpPr/>
                <p:nvPr/>
              </p:nvSpPr>
              <p:spPr>
                <a:xfrm>
                  <a:off x="9832062" y="1118541"/>
                  <a:ext cx="26278" cy="26458"/>
                </a:xfrm>
                <a:custGeom>
                  <a:avLst/>
                  <a:gdLst>
                    <a:gd name="connsiteX0" fmla="*/ 24809 w 26278"/>
                    <a:gd name="connsiteY0" fmla="*/ 7410 h 26458"/>
                    <a:gd name="connsiteX1" fmla="*/ 19080 w 26278"/>
                    <a:gd name="connsiteY1" fmla="*/ 25097 h 26458"/>
                    <a:gd name="connsiteX2" fmla="*/ 1392 w 26278"/>
                    <a:gd name="connsiteY2" fmla="*/ 18994 h 26458"/>
                    <a:gd name="connsiteX3" fmla="*/ 7122 w 26278"/>
                    <a:gd name="connsiteY3" fmla="*/ 1307 h 26458"/>
                    <a:gd name="connsiteX4" fmla="*/ 24809 w 26278"/>
                    <a:gd name="connsiteY4" fmla="*/ 7410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58">
                      <a:moveTo>
                        <a:pt x="24809" y="7410"/>
                      </a:moveTo>
                      <a:cubicBezTo>
                        <a:pt x="28172" y="13887"/>
                        <a:pt x="25556" y="21859"/>
                        <a:pt x="19080" y="25097"/>
                      </a:cubicBezTo>
                      <a:cubicBezTo>
                        <a:pt x="12602" y="28336"/>
                        <a:pt x="4630" y="25595"/>
                        <a:pt x="1392" y="18994"/>
                      </a:cubicBezTo>
                      <a:cubicBezTo>
                        <a:pt x="-1846" y="12392"/>
                        <a:pt x="769" y="4545"/>
                        <a:pt x="7122" y="1307"/>
                      </a:cubicBezTo>
                      <a:cubicBezTo>
                        <a:pt x="13599" y="-1807"/>
                        <a:pt x="21446" y="808"/>
                        <a:pt x="24809" y="74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7" name="Graphic 2987">
                <a:extLst>
                  <a:ext uri="{FF2B5EF4-FFF2-40B4-BE49-F238E27FC236}">
                    <a16:creationId xmlns:a16="http://schemas.microsoft.com/office/drawing/2014/main" id="{F71BBEDD-DBCC-0F5F-8B1F-3C48DE22A78C}"/>
                  </a:ext>
                </a:extLst>
              </p:cNvPr>
              <p:cNvGrpSpPr/>
              <p:nvPr/>
            </p:nvGrpSpPr>
            <p:grpSpPr>
              <a:xfrm>
                <a:off x="9805783" y="1131440"/>
                <a:ext cx="80720" cy="136375"/>
                <a:chOff x="9805783" y="1131440"/>
                <a:chExt cx="80720" cy="136375"/>
              </a:xfrm>
              <a:grpFill/>
            </p:grpSpPr>
            <p:sp>
              <p:nvSpPr>
                <p:cNvPr id="7110" name="Freeform 6930">
                  <a:extLst>
                    <a:ext uri="{FF2B5EF4-FFF2-40B4-BE49-F238E27FC236}">
                      <a16:creationId xmlns:a16="http://schemas.microsoft.com/office/drawing/2014/main" id="{E3F1D9F2-0391-8E54-E22C-2D03F38692F3}"/>
                    </a:ext>
                  </a:extLst>
                </p:cNvPr>
                <p:cNvSpPr/>
                <p:nvPr/>
              </p:nvSpPr>
              <p:spPr>
                <a:xfrm>
                  <a:off x="9850643" y="1199440"/>
                  <a:ext cx="22544" cy="47082"/>
                </a:xfrm>
                <a:custGeom>
                  <a:avLst/>
                  <a:gdLst>
                    <a:gd name="connsiteX0" fmla="*/ 22545 w 22544"/>
                    <a:gd name="connsiteY0" fmla="*/ 47083 h 47082"/>
                    <a:gd name="connsiteX1" fmla="*/ 16068 w 22544"/>
                    <a:gd name="connsiteY1" fmla="*/ 29396 h 47082"/>
                    <a:gd name="connsiteX2" fmla="*/ 5357 w 22544"/>
                    <a:gd name="connsiteY2" fmla="*/ 15570 h 47082"/>
                    <a:gd name="connsiteX3" fmla="*/ 0 w 22544"/>
                    <a:gd name="connsiteY3" fmla="*/ 0 h 47082"/>
                  </a:gdLst>
                  <a:ahLst/>
                  <a:cxnLst>
                    <a:cxn ang="0">
                      <a:pos x="connsiteX0" y="connsiteY0"/>
                    </a:cxn>
                    <a:cxn ang="0">
                      <a:pos x="connsiteX1" y="connsiteY1"/>
                    </a:cxn>
                    <a:cxn ang="0">
                      <a:pos x="connsiteX2" y="connsiteY2"/>
                    </a:cxn>
                    <a:cxn ang="0">
                      <a:pos x="connsiteX3" y="connsiteY3"/>
                    </a:cxn>
                  </a:cxnLst>
                  <a:rect l="l" t="t" r="r" b="b"/>
                  <a:pathLst>
                    <a:path w="22544" h="47082">
                      <a:moveTo>
                        <a:pt x="22545" y="47083"/>
                      </a:moveTo>
                      <a:cubicBezTo>
                        <a:pt x="21175" y="38737"/>
                        <a:pt x="18435" y="33132"/>
                        <a:pt x="16068" y="29396"/>
                      </a:cubicBezTo>
                      <a:cubicBezTo>
                        <a:pt x="12332" y="23541"/>
                        <a:pt x="8969" y="21673"/>
                        <a:pt x="5357" y="15570"/>
                      </a:cubicBezTo>
                      <a:cubicBezTo>
                        <a:pt x="1869"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1" name="Freeform 6931">
                  <a:extLst>
                    <a:ext uri="{FF2B5EF4-FFF2-40B4-BE49-F238E27FC236}">
                      <a16:creationId xmlns:a16="http://schemas.microsoft.com/office/drawing/2014/main" id="{723EA3E7-8164-C677-F031-6BCAF34DD509}"/>
                    </a:ext>
                  </a:extLst>
                </p:cNvPr>
                <p:cNvSpPr/>
                <p:nvPr/>
              </p:nvSpPr>
              <p:spPr>
                <a:xfrm>
                  <a:off x="9845412" y="1207661"/>
                  <a:ext cx="23790" cy="46460"/>
                </a:xfrm>
                <a:custGeom>
                  <a:avLst/>
                  <a:gdLst>
                    <a:gd name="connsiteX0" fmla="*/ 0 w 23790"/>
                    <a:gd name="connsiteY0" fmla="*/ 0 h 46460"/>
                    <a:gd name="connsiteX1" fmla="*/ 10089 w 23790"/>
                    <a:gd name="connsiteY1" fmla="*/ 15943 h 46460"/>
                    <a:gd name="connsiteX2" fmla="*/ 14573 w 23790"/>
                    <a:gd name="connsiteY2" fmla="*/ 32759 h 46460"/>
                    <a:gd name="connsiteX3" fmla="*/ 23791 w 23790"/>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790" h="46460">
                      <a:moveTo>
                        <a:pt x="0" y="0"/>
                      </a:moveTo>
                      <a:cubicBezTo>
                        <a:pt x="5730" y="6103"/>
                        <a:pt x="8595" y="11833"/>
                        <a:pt x="10089" y="15943"/>
                      </a:cubicBezTo>
                      <a:cubicBezTo>
                        <a:pt x="12456" y="22545"/>
                        <a:pt x="11833" y="26157"/>
                        <a:pt x="14573" y="32759"/>
                      </a:cubicBezTo>
                      <a:cubicBezTo>
                        <a:pt x="17189" y="39111"/>
                        <a:pt x="20926" y="43720"/>
                        <a:pt x="23791"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2" name="Freeform 6932">
                  <a:extLst>
                    <a:ext uri="{FF2B5EF4-FFF2-40B4-BE49-F238E27FC236}">
                      <a16:creationId xmlns:a16="http://schemas.microsoft.com/office/drawing/2014/main" id="{94D40368-90BE-7BD4-A01F-35A1F6B1F9E5}"/>
                    </a:ext>
                  </a:extLst>
                </p:cNvPr>
                <p:cNvSpPr/>
                <p:nvPr/>
              </p:nvSpPr>
              <p:spPr>
                <a:xfrm>
                  <a:off x="9859623" y="1241275"/>
                  <a:ext cx="26880" cy="26540"/>
                </a:xfrm>
                <a:custGeom>
                  <a:avLst/>
                  <a:gdLst>
                    <a:gd name="connsiteX0" fmla="*/ 1358 w 26880"/>
                    <a:gd name="connsiteY0" fmla="*/ 19198 h 26540"/>
                    <a:gd name="connsiteX1" fmla="*/ 7586 w 26880"/>
                    <a:gd name="connsiteY1" fmla="*/ 1386 h 26540"/>
                    <a:gd name="connsiteX2" fmla="*/ 25522 w 26880"/>
                    <a:gd name="connsiteY2" fmla="*/ 7365 h 26540"/>
                    <a:gd name="connsiteX3" fmla="*/ 19295 w 26880"/>
                    <a:gd name="connsiteY3" fmla="*/ 25177 h 26540"/>
                    <a:gd name="connsiteX4" fmla="*/ 1358 w 26880"/>
                    <a:gd name="connsiteY4" fmla="*/ 19198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540">
                      <a:moveTo>
                        <a:pt x="1358" y="19198"/>
                      </a:moveTo>
                      <a:cubicBezTo>
                        <a:pt x="-1880" y="12596"/>
                        <a:pt x="860" y="4625"/>
                        <a:pt x="7586" y="1386"/>
                      </a:cubicBezTo>
                      <a:cubicBezTo>
                        <a:pt x="14312" y="-1852"/>
                        <a:pt x="22284" y="763"/>
                        <a:pt x="25522" y="7365"/>
                      </a:cubicBezTo>
                      <a:cubicBezTo>
                        <a:pt x="28761" y="13966"/>
                        <a:pt x="26020" y="21938"/>
                        <a:pt x="19295" y="25177"/>
                      </a:cubicBezTo>
                      <a:cubicBezTo>
                        <a:pt x="12569" y="28415"/>
                        <a:pt x="4597" y="25675"/>
                        <a:pt x="1358" y="19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3" name="Freeform 6933">
                  <a:extLst>
                    <a:ext uri="{FF2B5EF4-FFF2-40B4-BE49-F238E27FC236}">
                      <a16:creationId xmlns:a16="http://schemas.microsoft.com/office/drawing/2014/main" id="{487C13E7-6CDE-4F84-89AB-3A32FA9D8A9F}"/>
                    </a:ext>
                  </a:extLst>
                </p:cNvPr>
                <p:cNvSpPr/>
                <p:nvPr/>
              </p:nvSpPr>
              <p:spPr>
                <a:xfrm>
                  <a:off x="9818756" y="1152606"/>
                  <a:ext cx="22296" cy="47207"/>
                </a:xfrm>
                <a:custGeom>
                  <a:avLst/>
                  <a:gdLst>
                    <a:gd name="connsiteX0" fmla="*/ 0 w 22296"/>
                    <a:gd name="connsiteY0" fmla="*/ 0 h 47207"/>
                    <a:gd name="connsiteX1" fmla="*/ 6477 w 22296"/>
                    <a:gd name="connsiteY1" fmla="*/ 17687 h 47207"/>
                    <a:gd name="connsiteX2" fmla="*/ 17064 w 22296"/>
                    <a:gd name="connsiteY2" fmla="*/ 31513 h 47207"/>
                    <a:gd name="connsiteX3" fmla="*/ 22296 w 2229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6" h="47207">
                      <a:moveTo>
                        <a:pt x="0" y="0"/>
                      </a:moveTo>
                      <a:cubicBezTo>
                        <a:pt x="1371" y="8345"/>
                        <a:pt x="4111" y="13950"/>
                        <a:pt x="6477" y="17687"/>
                      </a:cubicBezTo>
                      <a:cubicBezTo>
                        <a:pt x="10214" y="23541"/>
                        <a:pt x="13452" y="25410"/>
                        <a:pt x="17064" y="31513"/>
                      </a:cubicBezTo>
                      <a:cubicBezTo>
                        <a:pt x="20552" y="37492"/>
                        <a:pt x="21798" y="43222"/>
                        <a:pt x="2229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4" name="Freeform 6934">
                  <a:extLst>
                    <a:ext uri="{FF2B5EF4-FFF2-40B4-BE49-F238E27FC236}">
                      <a16:creationId xmlns:a16="http://schemas.microsoft.com/office/drawing/2014/main" id="{FE5633E5-F8CC-22FE-6D08-10F42B5FBF93}"/>
                    </a:ext>
                  </a:extLst>
                </p:cNvPr>
                <p:cNvSpPr/>
                <p:nvPr/>
              </p:nvSpPr>
              <p:spPr>
                <a:xfrm>
                  <a:off x="9822742" y="1145008"/>
                  <a:ext cx="23790" cy="46460"/>
                </a:xfrm>
                <a:custGeom>
                  <a:avLst/>
                  <a:gdLst>
                    <a:gd name="connsiteX0" fmla="*/ 23791 w 23790"/>
                    <a:gd name="connsiteY0" fmla="*/ 46460 h 46460"/>
                    <a:gd name="connsiteX1" fmla="*/ 13702 w 23790"/>
                    <a:gd name="connsiteY1" fmla="*/ 30517 h 46460"/>
                    <a:gd name="connsiteX2" fmla="*/ 9217 w 23790"/>
                    <a:gd name="connsiteY2" fmla="*/ 13701 h 46460"/>
                    <a:gd name="connsiteX3" fmla="*/ 0 w 23790"/>
                    <a:gd name="connsiteY3" fmla="*/ 0 h 46460"/>
                  </a:gdLst>
                  <a:ahLst/>
                  <a:cxnLst>
                    <a:cxn ang="0">
                      <a:pos x="connsiteX0" y="connsiteY0"/>
                    </a:cxn>
                    <a:cxn ang="0">
                      <a:pos x="connsiteX1" y="connsiteY1"/>
                    </a:cxn>
                    <a:cxn ang="0">
                      <a:pos x="connsiteX2" y="connsiteY2"/>
                    </a:cxn>
                    <a:cxn ang="0">
                      <a:pos x="connsiteX3" y="connsiteY3"/>
                    </a:cxn>
                  </a:cxnLst>
                  <a:rect l="l" t="t" r="r" b="b"/>
                  <a:pathLst>
                    <a:path w="23790" h="46460">
                      <a:moveTo>
                        <a:pt x="23791" y="46460"/>
                      </a:moveTo>
                      <a:cubicBezTo>
                        <a:pt x="18061" y="40357"/>
                        <a:pt x="15196" y="34627"/>
                        <a:pt x="13702" y="30517"/>
                      </a:cubicBezTo>
                      <a:cubicBezTo>
                        <a:pt x="11335" y="23915"/>
                        <a:pt x="11833" y="20303"/>
                        <a:pt x="9217" y="13701"/>
                      </a:cubicBezTo>
                      <a:cubicBezTo>
                        <a:pt x="6602" y="7349"/>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5" name="Freeform 6935">
                  <a:extLst>
                    <a:ext uri="{FF2B5EF4-FFF2-40B4-BE49-F238E27FC236}">
                      <a16:creationId xmlns:a16="http://schemas.microsoft.com/office/drawing/2014/main" id="{0F721558-07A3-9E68-A7B2-447A478DF8FE}"/>
                    </a:ext>
                  </a:extLst>
                </p:cNvPr>
                <p:cNvSpPr/>
                <p:nvPr/>
              </p:nvSpPr>
              <p:spPr>
                <a:xfrm>
                  <a:off x="9805783" y="1131440"/>
                  <a:ext cx="26195" cy="26512"/>
                </a:xfrm>
                <a:custGeom>
                  <a:avLst/>
                  <a:gdLst>
                    <a:gd name="connsiteX0" fmla="*/ 24806 w 26195"/>
                    <a:gd name="connsiteY0" fmla="*/ 7464 h 26512"/>
                    <a:gd name="connsiteX1" fmla="*/ 18952 w 26195"/>
                    <a:gd name="connsiteY1" fmla="*/ 25152 h 26512"/>
                    <a:gd name="connsiteX2" fmla="*/ 1389 w 26195"/>
                    <a:gd name="connsiteY2" fmla="*/ 19048 h 26512"/>
                    <a:gd name="connsiteX3" fmla="*/ 7244 w 26195"/>
                    <a:gd name="connsiteY3" fmla="*/ 1361 h 26512"/>
                    <a:gd name="connsiteX4" fmla="*/ 24806 w 26195"/>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12">
                      <a:moveTo>
                        <a:pt x="24806" y="7464"/>
                      </a:moveTo>
                      <a:cubicBezTo>
                        <a:pt x="28045" y="14066"/>
                        <a:pt x="25429" y="21913"/>
                        <a:pt x="18952" y="25152"/>
                      </a:cubicBezTo>
                      <a:cubicBezTo>
                        <a:pt x="12475" y="28390"/>
                        <a:pt x="4628" y="25650"/>
                        <a:pt x="1389" y="19048"/>
                      </a:cubicBezTo>
                      <a:cubicBezTo>
                        <a:pt x="-1850" y="12447"/>
                        <a:pt x="766" y="4600"/>
                        <a:pt x="7244" y="1361"/>
                      </a:cubicBezTo>
                      <a:cubicBezTo>
                        <a:pt x="13720" y="-1877"/>
                        <a:pt x="21567" y="863"/>
                        <a:pt x="24806"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8" name="Graphic 2987">
                <a:extLst>
                  <a:ext uri="{FF2B5EF4-FFF2-40B4-BE49-F238E27FC236}">
                    <a16:creationId xmlns:a16="http://schemas.microsoft.com/office/drawing/2014/main" id="{F016E2C4-6B0A-8FBB-400D-1652296E5251}"/>
                  </a:ext>
                </a:extLst>
              </p:cNvPr>
              <p:cNvGrpSpPr/>
              <p:nvPr/>
            </p:nvGrpSpPr>
            <p:grpSpPr>
              <a:xfrm>
                <a:off x="9779582" y="1144394"/>
                <a:ext cx="79747" cy="136771"/>
                <a:chOff x="9779582" y="1144394"/>
                <a:chExt cx="79747" cy="136771"/>
              </a:xfrm>
              <a:grpFill/>
            </p:grpSpPr>
            <p:sp>
              <p:nvSpPr>
                <p:cNvPr id="7104" name="Freeform 6937">
                  <a:extLst>
                    <a:ext uri="{FF2B5EF4-FFF2-40B4-BE49-F238E27FC236}">
                      <a16:creationId xmlns:a16="http://schemas.microsoft.com/office/drawing/2014/main" id="{D95CE10E-3E76-264E-6115-B375A628517C}"/>
                    </a:ext>
                  </a:extLst>
                </p:cNvPr>
                <p:cNvSpPr/>
                <p:nvPr/>
              </p:nvSpPr>
              <p:spPr>
                <a:xfrm>
                  <a:off x="9824112" y="1212518"/>
                  <a:ext cx="22171" cy="47207"/>
                </a:xfrm>
                <a:custGeom>
                  <a:avLst/>
                  <a:gdLst>
                    <a:gd name="connsiteX0" fmla="*/ 22172 w 22171"/>
                    <a:gd name="connsiteY0" fmla="*/ 47207 h 47207"/>
                    <a:gd name="connsiteX1" fmla="*/ 15819 w 22171"/>
                    <a:gd name="connsiteY1" fmla="*/ 29520 h 47207"/>
                    <a:gd name="connsiteX2" fmla="*/ 5232 w 22171"/>
                    <a:gd name="connsiteY2" fmla="*/ 15694 h 47207"/>
                    <a:gd name="connsiteX3" fmla="*/ 0 w 22171"/>
                    <a:gd name="connsiteY3" fmla="*/ 0 h 47207"/>
                  </a:gdLst>
                  <a:ahLst/>
                  <a:cxnLst>
                    <a:cxn ang="0">
                      <a:pos x="connsiteX0" y="connsiteY0"/>
                    </a:cxn>
                    <a:cxn ang="0">
                      <a:pos x="connsiteX1" y="connsiteY1"/>
                    </a:cxn>
                    <a:cxn ang="0">
                      <a:pos x="connsiteX2" y="connsiteY2"/>
                    </a:cxn>
                    <a:cxn ang="0">
                      <a:pos x="connsiteX3" y="connsiteY3"/>
                    </a:cxn>
                  </a:cxnLst>
                  <a:rect l="l" t="t" r="r" b="b"/>
                  <a:pathLst>
                    <a:path w="22171" h="47207">
                      <a:moveTo>
                        <a:pt x="22172" y="47207"/>
                      </a:moveTo>
                      <a:cubicBezTo>
                        <a:pt x="20926" y="38862"/>
                        <a:pt x="18061" y="33132"/>
                        <a:pt x="15819" y="29520"/>
                      </a:cubicBezTo>
                      <a:cubicBezTo>
                        <a:pt x="12082" y="23666"/>
                        <a:pt x="8844" y="21798"/>
                        <a:pt x="5232" y="15694"/>
                      </a:cubicBezTo>
                      <a:cubicBezTo>
                        <a:pt x="1744" y="9715"/>
                        <a:pt x="49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5" name="Freeform 6938">
                  <a:extLst>
                    <a:ext uri="{FF2B5EF4-FFF2-40B4-BE49-F238E27FC236}">
                      <a16:creationId xmlns:a16="http://schemas.microsoft.com/office/drawing/2014/main" id="{A44BDDEB-49F4-C954-3F15-4775875F7BC0}"/>
                    </a:ext>
                  </a:extLst>
                </p:cNvPr>
                <p:cNvSpPr/>
                <p:nvPr/>
              </p:nvSpPr>
              <p:spPr>
                <a:xfrm>
                  <a:off x="9818756" y="1220864"/>
                  <a:ext cx="23416" cy="46709"/>
                </a:xfrm>
                <a:custGeom>
                  <a:avLst/>
                  <a:gdLst>
                    <a:gd name="connsiteX0" fmla="*/ 0 w 23416"/>
                    <a:gd name="connsiteY0" fmla="*/ 0 h 46709"/>
                    <a:gd name="connsiteX1" fmla="*/ 9965 w 23416"/>
                    <a:gd name="connsiteY1" fmla="*/ 15943 h 46709"/>
                    <a:gd name="connsiteX2" fmla="*/ 14324 w 23416"/>
                    <a:gd name="connsiteY2" fmla="*/ 32883 h 46709"/>
                    <a:gd name="connsiteX3" fmla="*/ 23417 w 23416"/>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416" h="46709">
                      <a:moveTo>
                        <a:pt x="0" y="0"/>
                      </a:moveTo>
                      <a:cubicBezTo>
                        <a:pt x="5730" y="6103"/>
                        <a:pt x="8470" y="11833"/>
                        <a:pt x="9965" y="15943"/>
                      </a:cubicBezTo>
                      <a:cubicBezTo>
                        <a:pt x="12332" y="22545"/>
                        <a:pt x="11708" y="26282"/>
                        <a:pt x="14324" y="32883"/>
                      </a:cubicBezTo>
                      <a:cubicBezTo>
                        <a:pt x="16816" y="39360"/>
                        <a:pt x="20677" y="43844"/>
                        <a:pt x="23417"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6" name="Freeform 6939">
                  <a:extLst>
                    <a:ext uri="{FF2B5EF4-FFF2-40B4-BE49-F238E27FC236}">
                      <a16:creationId xmlns:a16="http://schemas.microsoft.com/office/drawing/2014/main" id="{B1BC9A16-80E4-39BF-489A-075F8E69DE04}"/>
                    </a:ext>
                  </a:extLst>
                </p:cNvPr>
                <p:cNvSpPr/>
                <p:nvPr/>
              </p:nvSpPr>
              <p:spPr>
                <a:xfrm>
                  <a:off x="9832670" y="1254424"/>
                  <a:ext cx="26658" cy="26741"/>
                </a:xfrm>
                <a:custGeom>
                  <a:avLst/>
                  <a:gdLst>
                    <a:gd name="connsiteX0" fmla="*/ 1283 w 26658"/>
                    <a:gd name="connsiteY0" fmla="*/ 19377 h 26741"/>
                    <a:gd name="connsiteX1" fmla="*/ 7511 w 26658"/>
                    <a:gd name="connsiteY1" fmla="*/ 1441 h 26741"/>
                    <a:gd name="connsiteX2" fmla="*/ 25322 w 26658"/>
                    <a:gd name="connsiteY2" fmla="*/ 7419 h 26741"/>
                    <a:gd name="connsiteX3" fmla="*/ 19094 w 26658"/>
                    <a:gd name="connsiteY3" fmla="*/ 25356 h 26741"/>
                    <a:gd name="connsiteX4" fmla="*/ 1283 w 26658"/>
                    <a:gd name="connsiteY4" fmla="*/ 19377 h 26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741">
                      <a:moveTo>
                        <a:pt x="1283" y="19377"/>
                      </a:moveTo>
                      <a:cubicBezTo>
                        <a:pt x="-1831" y="12775"/>
                        <a:pt x="909" y="4804"/>
                        <a:pt x="7511" y="1441"/>
                      </a:cubicBezTo>
                      <a:cubicBezTo>
                        <a:pt x="14112" y="-1922"/>
                        <a:pt x="22084" y="818"/>
                        <a:pt x="25322" y="7419"/>
                      </a:cubicBezTo>
                      <a:cubicBezTo>
                        <a:pt x="28561" y="14021"/>
                        <a:pt x="25695" y="21993"/>
                        <a:pt x="19094" y="25356"/>
                      </a:cubicBezTo>
                      <a:cubicBezTo>
                        <a:pt x="12492" y="28594"/>
                        <a:pt x="4521" y="25979"/>
                        <a:pt x="1283" y="19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7" name="Freeform 6940">
                  <a:extLst>
                    <a:ext uri="{FF2B5EF4-FFF2-40B4-BE49-F238E27FC236}">
                      <a16:creationId xmlns:a16="http://schemas.microsoft.com/office/drawing/2014/main" id="{10E5B0DD-9758-D07E-460D-EC49BD4DFAD4}"/>
                    </a:ext>
                  </a:extLst>
                </p:cNvPr>
                <p:cNvSpPr/>
                <p:nvPr/>
              </p:nvSpPr>
              <p:spPr>
                <a:xfrm>
                  <a:off x="9792600" y="1165560"/>
                  <a:ext cx="22046" cy="47207"/>
                </a:xfrm>
                <a:custGeom>
                  <a:avLst/>
                  <a:gdLst>
                    <a:gd name="connsiteX0" fmla="*/ 0 w 22046"/>
                    <a:gd name="connsiteY0" fmla="*/ 0 h 47207"/>
                    <a:gd name="connsiteX1" fmla="*/ 6353 w 22046"/>
                    <a:gd name="connsiteY1" fmla="*/ 17687 h 47207"/>
                    <a:gd name="connsiteX2" fmla="*/ 16815 w 22046"/>
                    <a:gd name="connsiteY2" fmla="*/ 31513 h 47207"/>
                    <a:gd name="connsiteX3" fmla="*/ 22047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1245" y="8345"/>
                        <a:pt x="4111" y="14075"/>
                        <a:pt x="6353" y="17687"/>
                      </a:cubicBezTo>
                      <a:cubicBezTo>
                        <a:pt x="10089" y="23666"/>
                        <a:pt x="13328" y="25410"/>
                        <a:pt x="16815" y="31513"/>
                      </a:cubicBezTo>
                      <a:cubicBezTo>
                        <a:pt x="20303" y="37492"/>
                        <a:pt x="21548" y="43222"/>
                        <a:pt x="22047"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8" name="Freeform 6941">
                  <a:extLst>
                    <a:ext uri="{FF2B5EF4-FFF2-40B4-BE49-F238E27FC236}">
                      <a16:creationId xmlns:a16="http://schemas.microsoft.com/office/drawing/2014/main" id="{B4D59CCB-70CF-D8A7-5D97-B0BB7AF5BDB8}"/>
                    </a:ext>
                  </a:extLst>
                </p:cNvPr>
                <p:cNvSpPr/>
                <p:nvPr/>
              </p:nvSpPr>
              <p:spPr>
                <a:xfrm>
                  <a:off x="9796585" y="1157962"/>
                  <a:ext cx="23416" cy="46584"/>
                </a:xfrm>
                <a:custGeom>
                  <a:avLst/>
                  <a:gdLst>
                    <a:gd name="connsiteX0" fmla="*/ 23417 w 23416"/>
                    <a:gd name="connsiteY0" fmla="*/ 46585 h 46584"/>
                    <a:gd name="connsiteX1" fmla="*/ 13452 w 23416"/>
                    <a:gd name="connsiteY1" fmla="*/ 30641 h 46584"/>
                    <a:gd name="connsiteX2" fmla="*/ 9092 w 23416"/>
                    <a:gd name="connsiteY2" fmla="*/ 13826 h 46584"/>
                    <a:gd name="connsiteX3" fmla="*/ 0 w 23416"/>
                    <a:gd name="connsiteY3" fmla="*/ 0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46585"/>
                      </a:moveTo>
                      <a:cubicBezTo>
                        <a:pt x="17687" y="40481"/>
                        <a:pt x="14947" y="34752"/>
                        <a:pt x="13452" y="30641"/>
                      </a:cubicBezTo>
                      <a:cubicBezTo>
                        <a:pt x="11086" y="24040"/>
                        <a:pt x="11708" y="20303"/>
                        <a:pt x="9092" y="13826"/>
                      </a:cubicBezTo>
                      <a:cubicBezTo>
                        <a:pt x="6477" y="7473"/>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9" name="Freeform 6942">
                  <a:extLst>
                    <a:ext uri="{FF2B5EF4-FFF2-40B4-BE49-F238E27FC236}">
                      <a16:creationId xmlns:a16="http://schemas.microsoft.com/office/drawing/2014/main" id="{5A696FF3-B949-E8BB-E6FD-9E46B204B0EF}"/>
                    </a:ext>
                  </a:extLst>
                </p:cNvPr>
                <p:cNvSpPr/>
                <p:nvPr/>
              </p:nvSpPr>
              <p:spPr>
                <a:xfrm>
                  <a:off x="9779582" y="1144394"/>
                  <a:ext cx="26214" cy="26512"/>
                </a:xfrm>
                <a:custGeom>
                  <a:avLst/>
                  <a:gdLst>
                    <a:gd name="connsiteX0" fmla="*/ 24851 w 26214"/>
                    <a:gd name="connsiteY0" fmla="*/ 7464 h 26512"/>
                    <a:gd name="connsiteX1" fmla="*/ 18872 w 26214"/>
                    <a:gd name="connsiteY1" fmla="*/ 25152 h 26512"/>
                    <a:gd name="connsiteX2" fmla="*/ 1309 w 26214"/>
                    <a:gd name="connsiteY2" fmla="*/ 19048 h 26512"/>
                    <a:gd name="connsiteX3" fmla="*/ 7288 w 26214"/>
                    <a:gd name="connsiteY3" fmla="*/ 1361 h 26512"/>
                    <a:gd name="connsiteX4" fmla="*/ 24851 w 26214"/>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12">
                      <a:moveTo>
                        <a:pt x="24851" y="7464"/>
                      </a:moveTo>
                      <a:cubicBezTo>
                        <a:pt x="28090" y="14066"/>
                        <a:pt x="25349" y="22038"/>
                        <a:pt x="18872" y="25152"/>
                      </a:cubicBezTo>
                      <a:cubicBezTo>
                        <a:pt x="12395" y="28390"/>
                        <a:pt x="4548" y="25650"/>
                        <a:pt x="1309" y="19048"/>
                      </a:cubicBezTo>
                      <a:cubicBezTo>
                        <a:pt x="-1804" y="12447"/>
                        <a:pt x="811" y="4475"/>
                        <a:pt x="7288" y="1361"/>
                      </a:cubicBezTo>
                      <a:cubicBezTo>
                        <a:pt x="13765" y="-1877"/>
                        <a:pt x="21612" y="863"/>
                        <a:pt x="24851"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9" name="Graphic 2987">
                <a:extLst>
                  <a:ext uri="{FF2B5EF4-FFF2-40B4-BE49-F238E27FC236}">
                    <a16:creationId xmlns:a16="http://schemas.microsoft.com/office/drawing/2014/main" id="{E7F47D85-598C-CB0A-59D2-E733294F7854}"/>
                  </a:ext>
                </a:extLst>
              </p:cNvPr>
              <p:cNvGrpSpPr/>
              <p:nvPr/>
            </p:nvGrpSpPr>
            <p:grpSpPr>
              <a:xfrm>
                <a:off x="9753446" y="1157302"/>
                <a:ext cx="79100" cy="137143"/>
                <a:chOff x="9753446" y="1157302"/>
                <a:chExt cx="79100" cy="137143"/>
              </a:xfrm>
              <a:grpFill/>
            </p:grpSpPr>
            <p:sp>
              <p:nvSpPr>
                <p:cNvPr id="7098" name="Freeform 6944">
                  <a:extLst>
                    <a:ext uri="{FF2B5EF4-FFF2-40B4-BE49-F238E27FC236}">
                      <a16:creationId xmlns:a16="http://schemas.microsoft.com/office/drawing/2014/main" id="{6B5DF19E-D684-E4D9-B392-47EEB3C3D455}"/>
                    </a:ext>
                  </a:extLst>
                </p:cNvPr>
                <p:cNvSpPr/>
                <p:nvPr/>
              </p:nvSpPr>
              <p:spPr>
                <a:xfrm>
                  <a:off x="9797582" y="1225597"/>
                  <a:ext cx="21797" cy="47456"/>
                </a:xfrm>
                <a:custGeom>
                  <a:avLst/>
                  <a:gdLst>
                    <a:gd name="connsiteX0" fmla="*/ 21798 w 21797"/>
                    <a:gd name="connsiteY0" fmla="*/ 47456 h 47456"/>
                    <a:gd name="connsiteX1" fmla="*/ 15570 w 21797"/>
                    <a:gd name="connsiteY1" fmla="*/ 29645 h 47456"/>
                    <a:gd name="connsiteX2" fmla="*/ 5107 w 21797"/>
                    <a:gd name="connsiteY2" fmla="*/ 15694 h 47456"/>
                    <a:gd name="connsiteX3" fmla="*/ 0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47456"/>
                      </a:moveTo>
                      <a:cubicBezTo>
                        <a:pt x="20552" y="39111"/>
                        <a:pt x="17812" y="33381"/>
                        <a:pt x="15570" y="29645"/>
                      </a:cubicBezTo>
                      <a:cubicBezTo>
                        <a:pt x="11832" y="23666"/>
                        <a:pt x="8595" y="21922"/>
                        <a:pt x="5107" y="15694"/>
                      </a:cubicBezTo>
                      <a:cubicBezTo>
                        <a:pt x="1743" y="9715"/>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9" name="Freeform 6945">
                  <a:extLst>
                    <a:ext uri="{FF2B5EF4-FFF2-40B4-BE49-F238E27FC236}">
                      <a16:creationId xmlns:a16="http://schemas.microsoft.com/office/drawing/2014/main" id="{192A0BBE-6D5C-3072-8507-263E1241ABAA}"/>
                    </a:ext>
                  </a:extLst>
                </p:cNvPr>
                <p:cNvSpPr/>
                <p:nvPr/>
              </p:nvSpPr>
              <p:spPr>
                <a:xfrm>
                  <a:off x="9792102" y="1233942"/>
                  <a:ext cx="23042" cy="46833"/>
                </a:xfrm>
                <a:custGeom>
                  <a:avLst/>
                  <a:gdLst>
                    <a:gd name="connsiteX0" fmla="*/ 0 w 23042"/>
                    <a:gd name="connsiteY0" fmla="*/ 0 h 46833"/>
                    <a:gd name="connsiteX1" fmla="*/ 9840 w 23042"/>
                    <a:gd name="connsiteY1" fmla="*/ 16068 h 46833"/>
                    <a:gd name="connsiteX2" fmla="*/ 14075 w 23042"/>
                    <a:gd name="connsiteY2" fmla="*/ 33008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5729" y="6103"/>
                        <a:pt x="8345" y="11833"/>
                        <a:pt x="9840" y="16068"/>
                      </a:cubicBezTo>
                      <a:cubicBezTo>
                        <a:pt x="12082" y="22669"/>
                        <a:pt x="11459" y="26406"/>
                        <a:pt x="14075" y="33008"/>
                      </a:cubicBezTo>
                      <a:cubicBezTo>
                        <a:pt x="16566" y="39485"/>
                        <a:pt x="20303" y="43969"/>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0" name="Freeform 6946">
                  <a:extLst>
                    <a:ext uri="{FF2B5EF4-FFF2-40B4-BE49-F238E27FC236}">
                      <a16:creationId xmlns:a16="http://schemas.microsoft.com/office/drawing/2014/main" id="{D3E57639-EF83-FBFA-9490-1D5676CB13BB}"/>
                    </a:ext>
                  </a:extLst>
                </p:cNvPr>
                <p:cNvSpPr/>
                <p:nvPr/>
              </p:nvSpPr>
              <p:spPr>
                <a:xfrm>
                  <a:off x="9805789" y="1267682"/>
                  <a:ext cx="26757" cy="26764"/>
                </a:xfrm>
                <a:custGeom>
                  <a:avLst/>
                  <a:gdLst>
                    <a:gd name="connsiteX0" fmla="*/ 1259 w 26757"/>
                    <a:gd name="connsiteY0" fmla="*/ 19322 h 26764"/>
                    <a:gd name="connsiteX1" fmla="*/ 7612 w 26757"/>
                    <a:gd name="connsiteY1" fmla="*/ 1386 h 26764"/>
                    <a:gd name="connsiteX2" fmla="*/ 25423 w 26757"/>
                    <a:gd name="connsiteY2" fmla="*/ 7365 h 26764"/>
                    <a:gd name="connsiteX3" fmla="*/ 19072 w 26757"/>
                    <a:gd name="connsiteY3" fmla="*/ 25301 h 26764"/>
                    <a:gd name="connsiteX4" fmla="*/ 1259 w 26757"/>
                    <a:gd name="connsiteY4" fmla="*/ 19322 h 2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764">
                      <a:moveTo>
                        <a:pt x="1259" y="19322"/>
                      </a:moveTo>
                      <a:cubicBezTo>
                        <a:pt x="-1855" y="12721"/>
                        <a:pt x="1011" y="4625"/>
                        <a:pt x="7612" y="1386"/>
                      </a:cubicBezTo>
                      <a:cubicBezTo>
                        <a:pt x="14214" y="-1852"/>
                        <a:pt x="22185" y="763"/>
                        <a:pt x="25423" y="7365"/>
                      </a:cubicBezTo>
                      <a:cubicBezTo>
                        <a:pt x="28662" y="13966"/>
                        <a:pt x="25797" y="21938"/>
                        <a:pt x="19072" y="25301"/>
                      </a:cubicBezTo>
                      <a:cubicBezTo>
                        <a:pt x="12345" y="28664"/>
                        <a:pt x="4373" y="26048"/>
                        <a:pt x="1259" y="193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1" name="Freeform 6947">
                  <a:extLst>
                    <a:ext uri="{FF2B5EF4-FFF2-40B4-BE49-F238E27FC236}">
                      <a16:creationId xmlns:a16="http://schemas.microsoft.com/office/drawing/2014/main" id="{8BADA9D7-AFA6-53DE-7C53-A5CC41D395D3}"/>
                    </a:ext>
                  </a:extLst>
                </p:cNvPr>
                <p:cNvSpPr/>
                <p:nvPr/>
              </p:nvSpPr>
              <p:spPr>
                <a:xfrm>
                  <a:off x="9766318" y="1178514"/>
                  <a:ext cx="21672" cy="47456"/>
                </a:xfrm>
                <a:custGeom>
                  <a:avLst/>
                  <a:gdLst>
                    <a:gd name="connsiteX0" fmla="*/ 0 w 21672"/>
                    <a:gd name="connsiteY0" fmla="*/ 0 h 47456"/>
                    <a:gd name="connsiteX1" fmla="*/ 6228 w 21672"/>
                    <a:gd name="connsiteY1" fmla="*/ 17812 h 47456"/>
                    <a:gd name="connsiteX2" fmla="*/ 16566 w 21672"/>
                    <a:gd name="connsiteY2" fmla="*/ 31762 h 47456"/>
                    <a:gd name="connsiteX3" fmla="*/ 21673 w 21672"/>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2" h="47456">
                      <a:moveTo>
                        <a:pt x="0" y="0"/>
                      </a:moveTo>
                      <a:cubicBezTo>
                        <a:pt x="1245" y="8345"/>
                        <a:pt x="3986" y="14075"/>
                        <a:pt x="6228" y="17812"/>
                      </a:cubicBezTo>
                      <a:cubicBezTo>
                        <a:pt x="9964" y="23791"/>
                        <a:pt x="13078" y="25534"/>
                        <a:pt x="16566" y="31762"/>
                      </a:cubicBezTo>
                      <a:cubicBezTo>
                        <a:pt x="19929" y="37741"/>
                        <a:pt x="21175" y="43595"/>
                        <a:pt x="21673"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2" name="Freeform 6948">
                  <a:extLst>
                    <a:ext uri="{FF2B5EF4-FFF2-40B4-BE49-F238E27FC236}">
                      <a16:creationId xmlns:a16="http://schemas.microsoft.com/office/drawing/2014/main" id="{C4F865C5-77DA-1E6D-11E2-1AE5A00D5708}"/>
                    </a:ext>
                  </a:extLst>
                </p:cNvPr>
                <p:cNvSpPr/>
                <p:nvPr/>
              </p:nvSpPr>
              <p:spPr>
                <a:xfrm>
                  <a:off x="9770304" y="1171041"/>
                  <a:ext cx="23167" cy="46709"/>
                </a:xfrm>
                <a:custGeom>
                  <a:avLst/>
                  <a:gdLst>
                    <a:gd name="connsiteX0" fmla="*/ 23168 w 23167"/>
                    <a:gd name="connsiteY0" fmla="*/ 46709 h 46709"/>
                    <a:gd name="connsiteX1" fmla="*/ 13327 w 23167"/>
                    <a:gd name="connsiteY1" fmla="*/ 30766 h 46709"/>
                    <a:gd name="connsiteX2" fmla="*/ 8968 w 23167"/>
                    <a:gd name="connsiteY2" fmla="*/ 13826 h 46709"/>
                    <a:gd name="connsiteX3" fmla="*/ 0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23168" y="46709"/>
                      </a:moveTo>
                      <a:cubicBezTo>
                        <a:pt x="17438" y="40606"/>
                        <a:pt x="14822" y="34876"/>
                        <a:pt x="13327" y="30766"/>
                      </a:cubicBezTo>
                      <a:cubicBezTo>
                        <a:pt x="11085" y="24164"/>
                        <a:pt x="11584" y="20427"/>
                        <a:pt x="8968" y="13826"/>
                      </a:cubicBezTo>
                      <a:cubicBezTo>
                        <a:pt x="6476" y="7349"/>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3" name="Freeform 6949">
                  <a:extLst>
                    <a:ext uri="{FF2B5EF4-FFF2-40B4-BE49-F238E27FC236}">
                      <a16:creationId xmlns:a16="http://schemas.microsoft.com/office/drawing/2014/main" id="{3830DA52-B7E7-ADD5-E349-B598A8EC38A1}"/>
                    </a:ext>
                  </a:extLst>
                </p:cNvPr>
                <p:cNvSpPr/>
                <p:nvPr/>
              </p:nvSpPr>
              <p:spPr>
                <a:xfrm>
                  <a:off x="9753446" y="1157302"/>
                  <a:ext cx="26014" cy="26680"/>
                </a:xfrm>
                <a:custGeom>
                  <a:avLst/>
                  <a:gdLst>
                    <a:gd name="connsiteX0" fmla="*/ 24705 w 26014"/>
                    <a:gd name="connsiteY0" fmla="*/ 7510 h 26680"/>
                    <a:gd name="connsiteX1" fmla="*/ 18726 w 26014"/>
                    <a:gd name="connsiteY1" fmla="*/ 25322 h 26680"/>
                    <a:gd name="connsiteX2" fmla="*/ 1288 w 26014"/>
                    <a:gd name="connsiteY2" fmla="*/ 19094 h 26680"/>
                    <a:gd name="connsiteX3" fmla="*/ 7267 w 26014"/>
                    <a:gd name="connsiteY3" fmla="*/ 1283 h 26680"/>
                    <a:gd name="connsiteX4" fmla="*/ 24705 w 26014"/>
                    <a:gd name="connsiteY4" fmla="*/ 7510 h 2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4" h="26680">
                      <a:moveTo>
                        <a:pt x="24705" y="7510"/>
                      </a:moveTo>
                      <a:cubicBezTo>
                        <a:pt x="27819" y="14112"/>
                        <a:pt x="25203" y="22084"/>
                        <a:pt x="18726" y="25322"/>
                      </a:cubicBezTo>
                      <a:cubicBezTo>
                        <a:pt x="12249" y="28561"/>
                        <a:pt x="4402" y="25820"/>
                        <a:pt x="1288" y="19094"/>
                      </a:cubicBezTo>
                      <a:cubicBezTo>
                        <a:pt x="-1826" y="12493"/>
                        <a:pt x="914" y="4521"/>
                        <a:pt x="7267" y="1283"/>
                      </a:cubicBezTo>
                      <a:cubicBezTo>
                        <a:pt x="13744" y="-1831"/>
                        <a:pt x="21591" y="909"/>
                        <a:pt x="24705" y="75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0" name="Graphic 2987">
                <a:extLst>
                  <a:ext uri="{FF2B5EF4-FFF2-40B4-BE49-F238E27FC236}">
                    <a16:creationId xmlns:a16="http://schemas.microsoft.com/office/drawing/2014/main" id="{B628F453-C41A-A375-CBE5-01BE857813B1}"/>
                  </a:ext>
                </a:extLst>
              </p:cNvPr>
              <p:cNvGrpSpPr/>
              <p:nvPr/>
            </p:nvGrpSpPr>
            <p:grpSpPr>
              <a:xfrm>
                <a:off x="9727089" y="1170202"/>
                <a:ext cx="78350" cy="137523"/>
                <a:chOff x="9727089" y="1170202"/>
                <a:chExt cx="78350" cy="137523"/>
              </a:xfrm>
              <a:grpFill/>
            </p:grpSpPr>
            <p:sp>
              <p:nvSpPr>
                <p:cNvPr id="7092" name="Freeform 6951">
                  <a:extLst>
                    <a:ext uri="{FF2B5EF4-FFF2-40B4-BE49-F238E27FC236}">
                      <a16:creationId xmlns:a16="http://schemas.microsoft.com/office/drawing/2014/main" id="{C53E5C4C-8233-B84B-387B-A0E96F7AB5D7}"/>
                    </a:ext>
                  </a:extLst>
                </p:cNvPr>
                <p:cNvSpPr/>
                <p:nvPr/>
              </p:nvSpPr>
              <p:spPr>
                <a:xfrm>
                  <a:off x="9771051" y="1238800"/>
                  <a:ext cx="21423" cy="47581"/>
                </a:xfrm>
                <a:custGeom>
                  <a:avLst/>
                  <a:gdLst>
                    <a:gd name="connsiteX0" fmla="*/ 21424 w 21423"/>
                    <a:gd name="connsiteY0" fmla="*/ 47581 h 47581"/>
                    <a:gd name="connsiteX1" fmla="*/ 15320 w 21423"/>
                    <a:gd name="connsiteY1" fmla="*/ 29769 h 47581"/>
                    <a:gd name="connsiteX2" fmla="*/ 4982 w 21423"/>
                    <a:gd name="connsiteY2" fmla="*/ 15819 h 47581"/>
                    <a:gd name="connsiteX3" fmla="*/ 0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47581"/>
                      </a:moveTo>
                      <a:cubicBezTo>
                        <a:pt x="20303" y="39236"/>
                        <a:pt x="17562" y="33506"/>
                        <a:pt x="15320" y="29769"/>
                      </a:cubicBezTo>
                      <a:cubicBezTo>
                        <a:pt x="11708" y="23791"/>
                        <a:pt x="8470" y="22047"/>
                        <a:pt x="4982" y="15819"/>
                      </a:cubicBezTo>
                      <a:cubicBezTo>
                        <a:pt x="1619" y="9840"/>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3" name="Freeform 6952">
                  <a:extLst>
                    <a:ext uri="{FF2B5EF4-FFF2-40B4-BE49-F238E27FC236}">
                      <a16:creationId xmlns:a16="http://schemas.microsoft.com/office/drawing/2014/main" id="{31562854-F9B0-B9F9-915C-C0A06AA44212}"/>
                    </a:ext>
                  </a:extLst>
                </p:cNvPr>
                <p:cNvSpPr/>
                <p:nvPr/>
              </p:nvSpPr>
              <p:spPr>
                <a:xfrm>
                  <a:off x="9765446" y="1247145"/>
                  <a:ext cx="22794" cy="46958"/>
                </a:xfrm>
                <a:custGeom>
                  <a:avLst/>
                  <a:gdLst>
                    <a:gd name="connsiteX0" fmla="*/ 0 w 22794"/>
                    <a:gd name="connsiteY0" fmla="*/ 0 h 46958"/>
                    <a:gd name="connsiteX1" fmla="*/ 9715 w 22794"/>
                    <a:gd name="connsiteY1" fmla="*/ 16068 h 46958"/>
                    <a:gd name="connsiteX2" fmla="*/ 13826 w 22794"/>
                    <a:gd name="connsiteY2" fmla="*/ 33008 h 46958"/>
                    <a:gd name="connsiteX3" fmla="*/ 22794 w 2279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794" h="46958">
                      <a:moveTo>
                        <a:pt x="0" y="0"/>
                      </a:moveTo>
                      <a:cubicBezTo>
                        <a:pt x="5729" y="6228"/>
                        <a:pt x="8345" y="11958"/>
                        <a:pt x="9715" y="16068"/>
                      </a:cubicBezTo>
                      <a:cubicBezTo>
                        <a:pt x="11957" y="22794"/>
                        <a:pt x="11210" y="26282"/>
                        <a:pt x="13826" y="33008"/>
                      </a:cubicBezTo>
                      <a:cubicBezTo>
                        <a:pt x="16317" y="39485"/>
                        <a:pt x="20054" y="44093"/>
                        <a:pt x="22794"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4" name="Freeform 6953">
                  <a:extLst>
                    <a:ext uri="{FF2B5EF4-FFF2-40B4-BE49-F238E27FC236}">
                      <a16:creationId xmlns:a16="http://schemas.microsoft.com/office/drawing/2014/main" id="{AECCB400-633F-289C-D4A3-B5CA8E7089ED}"/>
                    </a:ext>
                  </a:extLst>
                </p:cNvPr>
                <p:cNvSpPr/>
                <p:nvPr/>
              </p:nvSpPr>
              <p:spPr>
                <a:xfrm>
                  <a:off x="9778680" y="1281012"/>
                  <a:ext cx="26760" cy="26712"/>
                </a:xfrm>
                <a:custGeom>
                  <a:avLst/>
                  <a:gdLst>
                    <a:gd name="connsiteX0" fmla="*/ 1215 w 26760"/>
                    <a:gd name="connsiteY0" fmla="*/ 18946 h 26712"/>
                    <a:gd name="connsiteX1" fmla="*/ 7816 w 26760"/>
                    <a:gd name="connsiteY1" fmla="*/ 1383 h 26712"/>
                    <a:gd name="connsiteX2" fmla="*/ 25503 w 26760"/>
                    <a:gd name="connsiteY2" fmla="*/ 7486 h 26712"/>
                    <a:gd name="connsiteX3" fmla="*/ 19026 w 26760"/>
                    <a:gd name="connsiteY3" fmla="*/ 25423 h 26712"/>
                    <a:gd name="connsiteX4" fmla="*/ 1215 w 26760"/>
                    <a:gd name="connsiteY4" fmla="*/ 18946 h 2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712">
                      <a:moveTo>
                        <a:pt x="1215" y="18946"/>
                      </a:moveTo>
                      <a:cubicBezTo>
                        <a:pt x="-1899" y="12220"/>
                        <a:pt x="1215" y="4622"/>
                        <a:pt x="7816" y="1383"/>
                      </a:cubicBezTo>
                      <a:cubicBezTo>
                        <a:pt x="14418" y="-1855"/>
                        <a:pt x="22389" y="760"/>
                        <a:pt x="25503" y="7486"/>
                      </a:cubicBezTo>
                      <a:cubicBezTo>
                        <a:pt x="28617" y="14088"/>
                        <a:pt x="25753" y="22184"/>
                        <a:pt x="19026" y="25423"/>
                      </a:cubicBezTo>
                      <a:cubicBezTo>
                        <a:pt x="12300" y="28661"/>
                        <a:pt x="4204" y="25547"/>
                        <a:pt x="1215"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5" name="Freeform 6954">
                  <a:extLst>
                    <a:ext uri="{FF2B5EF4-FFF2-40B4-BE49-F238E27FC236}">
                      <a16:creationId xmlns:a16="http://schemas.microsoft.com/office/drawing/2014/main" id="{5A37D087-9BC7-C7FD-2096-03D4787E3ED3}"/>
                    </a:ext>
                  </a:extLst>
                </p:cNvPr>
                <p:cNvSpPr/>
                <p:nvPr/>
              </p:nvSpPr>
              <p:spPr>
                <a:xfrm>
                  <a:off x="9740036" y="1191468"/>
                  <a:ext cx="21424" cy="47456"/>
                </a:xfrm>
                <a:custGeom>
                  <a:avLst/>
                  <a:gdLst>
                    <a:gd name="connsiteX0" fmla="*/ 0 w 21424"/>
                    <a:gd name="connsiteY0" fmla="*/ 0 h 47456"/>
                    <a:gd name="connsiteX1" fmla="*/ 6104 w 21424"/>
                    <a:gd name="connsiteY1" fmla="*/ 17687 h 47456"/>
                    <a:gd name="connsiteX2" fmla="*/ 16442 w 21424"/>
                    <a:gd name="connsiteY2" fmla="*/ 31762 h 47456"/>
                    <a:gd name="connsiteX3" fmla="*/ 21424 w 21424"/>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424" h="47456">
                      <a:moveTo>
                        <a:pt x="0" y="0"/>
                      </a:moveTo>
                      <a:cubicBezTo>
                        <a:pt x="1121" y="8221"/>
                        <a:pt x="3862" y="14075"/>
                        <a:pt x="6104" y="17687"/>
                      </a:cubicBezTo>
                      <a:cubicBezTo>
                        <a:pt x="9716" y="23666"/>
                        <a:pt x="12954" y="25659"/>
                        <a:pt x="16442" y="31762"/>
                      </a:cubicBezTo>
                      <a:cubicBezTo>
                        <a:pt x="19805" y="37741"/>
                        <a:pt x="20926" y="43595"/>
                        <a:pt x="2142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6" name="Freeform 6955">
                  <a:extLst>
                    <a:ext uri="{FF2B5EF4-FFF2-40B4-BE49-F238E27FC236}">
                      <a16:creationId xmlns:a16="http://schemas.microsoft.com/office/drawing/2014/main" id="{01A3B00E-F280-E255-DC30-C1F8C31423BC}"/>
                    </a:ext>
                  </a:extLst>
                </p:cNvPr>
                <p:cNvSpPr/>
                <p:nvPr/>
              </p:nvSpPr>
              <p:spPr>
                <a:xfrm>
                  <a:off x="9744146" y="1183995"/>
                  <a:ext cx="22794" cy="46833"/>
                </a:xfrm>
                <a:custGeom>
                  <a:avLst/>
                  <a:gdLst>
                    <a:gd name="connsiteX0" fmla="*/ 22794 w 22794"/>
                    <a:gd name="connsiteY0" fmla="*/ 46834 h 46833"/>
                    <a:gd name="connsiteX1" fmla="*/ 13078 w 22794"/>
                    <a:gd name="connsiteY1" fmla="*/ 30766 h 46833"/>
                    <a:gd name="connsiteX2" fmla="*/ 8844 w 22794"/>
                    <a:gd name="connsiteY2" fmla="*/ 13826 h 46833"/>
                    <a:gd name="connsiteX3" fmla="*/ 0 w 22794"/>
                    <a:gd name="connsiteY3" fmla="*/ 0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46834"/>
                      </a:moveTo>
                      <a:cubicBezTo>
                        <a:pt x="17189" y="40606"/>
                        <a:pt x="14449" y="34876"/>
                        <a:pt x="13078" y="30766"/>
                      </a:cubicBezTo>
                      <a:cubicBezTo>
                        <a:pt x="10836" y="24164"/>
                        <a:pt x="11459" y="20427"/>
                        <a:pt x="8844" y="13826"/>
                      </a:cubicBezTo>
                      <a:cubicBezTo>
                        <a:pt x="6353" y="7349"/>
                        <a:pt x="2616"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7" name="Freeform 6956">
                  <a:extLst>
                    <a:ext uri="{FF2B5EF4-FFF2-40B4-BE49-F238E27FC236}">
                      <a16:creationId xmlns:a16="http://schemas.microsoft.com/office/drawing/2014/main" id="{9F55B2A1-01EA-CEF9-F818-D5B0FC31BE76}"/>
                    </a:ext>
                  </a:extLst>
                </p:cNvPr>
                <p:cNvSpPr/>
                <p:nvPr/>
              </p:nvSpPr>
              <p:spPr>
                <a:xfrm>
                  <a:off x="9727089" y="1170202"/>
                  <a:ext cx="26189" cy="26590"/>
                </a:xfrm>
                <a:custGeom>
                  <a:avLst/>
                  <a:gdLst>
                    <a:gd name="connsiteX0" fmla="*/ 24905 w 26189"/>
                    <a:gd name="connsiteY0" fmla="*/ 7565 h 26590"/>
                    <a:gd name="connsiteX1" fmla="*/ 18801 w 26189"/>
                    <a:gd name="connsiteY1" fmla="*/ 25376 h 26590"/>
                    <a:gd name="connsiteX2" fmla="*/ 1239 w 26189"/>
                    <a:gd name="connsiteY2" fmla="*/ 18775 h 26590"/>
                    <a:gd name="connsiteX3" fmla="*/ 7591 w 26189"/>
                    <a:gd name="connsiteY3" fmla="*/ 1337 h 26590"/>
                    <a:gd name="connsiteX4" fmla="*/ 24905 w 2618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90">
                      <a:moveTo>
                        <a:pt x="24905" y="7565"/>
                      </a:moveTo>
                      <a:cubicBezTo>
                        <a:pt x="28018" y="14166"/>
                        <a:pt x="25279" y="22138"/>
                        <a:pt x="18801" y="25376"/>
                      </a:cubicBezTo>
                      <a:cubicBezTo>
                        <a:pt x="12324" y="28490"/>
                        <a:pt x="4353" y="25376"/>
                        <a:pt x="1239" y="18775"/>
                      </a:cubicBezTo>
                      <a:cubicBezTo>
                        <a:pt x="-1875" y="12049"/>
                        <a:pt x="1114" y="4451"/>
                        <a:pt x="7591" y="1337"/>
                      </a:cubicBezTo>
                      <a:cubicBezTo>
                        <a:pt x="13943" y="-1902"/>
                        <a:pt x="21791" y="963"/>
                        <a:pt x="24905"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1" name="Graphic 2987">
                <a:extLst>
                  <a:ext uri="{FF2B5EF4-FFF2-40B4-BE49-F238E27FC236}">
                    <a16:creationId xmlns:a16="http://schemas.microsoft.com/office/drawing/2014/main" id="{1463F5C0-FBBA-0BF2-34D7-FB28812287AD}"/>
                  </a:ext>
                </a:extLst>
              </p:cNvPr>
              <p:cNvGrpSpPr/>
              <p:nvPr/>
            </p:nvGrpSpPr>
            <p:grpSpPr>
              <a:xfrm>
                <a:off x="9700240" y="1182338"/>
                <a:ext cx="77876" cy="137537"/>
                <a:chOff x="9700240" y="1182338"/>
                <a:chExt cx="77876" cy="137537"/>
              </a:xfrm>
              <a:grpFill/>
            </p:grpSpPr>
            <p:sp>
              <p:nvSpPr>
                <p:cNvPr id="7086" name="Freeform 6958">
                  <a:extLst>
                    <a:ext uri="{FF2B5EF4-FFF2-40B4-BE49-F238E27FC236}">
                      <a16:creationId xmlns:a16="http://schemas.microsoft.com/office/drawing/2014/main" id="{5E437F2C-CA48-8D77-B935-1D9B4C4BC235}"/>
                    </a:ext>
                  </a:extLst>
                </p:cNvPr>
                <p:cNvSpPr/>
                <p:nvPr/>
              </p:nvSpPr>
              <p:spPr>
                <a:xfrm>
                  <a:off x="9743898" y="1251131"/>
                  <a:ext cx="21174" cy="47581"/>
                </a:xfrm>
                <a:custGeom>
                  <a:avLst/>
                  <a:gdLst>
                    <a:gd name="connsiteX0" fmla="*/ 21174 w 21174"/>
                    <a:gd name="connsiteY0" fmla="*/ 47581 h 47581"/>
                    <a:gd name="connsiteX1" fmla="*/ 15196 w 21174"/>
                    <a:gd name="connsiteY1" fmla="*/ 29769 h 47581"/>
                    <a:gd name="connsiteX2" fmla="*/ 4857 w 21174"/>
                    <a:gd name="connsiteY2" fmla="*/ 15694 h 47581"/>
                    <a:gd name="connsiteX3" fmla="*/ 0 w 21174"/>
                    <a:gd name="connsiteY3" fmla="*/ 0 h 47581"/>
                  </a:gdLst>
                  <a:ahLst/>
                  <a:cxnLst>
                    <a:cxn ang="0">
                      <a:pos x="connsiteX0" y="connsiteY0"/>
                    </a:cxn>
                    <a:cxn ang="0">
                      <a:pos x="connsiteX1" y="connsiteY1"/>
                    </a:cxn>
                    <a:cxn ang="0">
                      <a:pos x="connsiteX2" y="connsiteY2"/>
                    </a:cxn>
                    <a:cxn ang="0">
                      <a:pos x="connsiteX3" y="connsiteY3"/>
                    </a:cxn>
                  </a:cxnLst>
                  <a:rect l="l" t="t" r="r" b="b"/>
                  <a:pathLst>
                    <a:path w="21174" h="47581">
                      <a:moveTo>
                        <a:pt x="21174" y="47581"/>
                      </a:moveTo>
                      <a:cubicBezTo>
                        <a:pt x="20054" y="39236"/>
                        <a:pt x="17438" y="33506"/>
                        <a:pt x="15196" y="29769"/>
                      </a:cubicBezTo>
                      <a:cubicBezTo>
                        <a:pt x="11584" y="23791"/>
                        <a:pt x="8345" y="21922"/>
                        <a:pt x="4857" y="15694"/>
                      </a:cubicBezTo>
                      <a:cubicBezTo>
                        <a:pt x="1495" y="9591"/>
                        <a:pt x="37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7" name="Freeform 6959">
                  <a:extLst>
                    <a:ext uri="{FF2B5EF4-FFF2-40B4-BE49-F238E27FC236}">
                      <a16:creationId xmlns:a16="http://schemas.microsoft.com/office/drawing/2014/main" id="{9FA973A3-4591-6ECC-F16F-D83ED9AE90CA}"/>
                    </a:ext>
                  </a:extLst>
                </p:cNvPr>
                <p:cNvSpPr/>
                <p:nvPr/>
              </p:nvSpPr>
              <p:spPr>
                <a:xfrm>
                  <a:off x="9738293" y="1259103"/>
                  <a:ext cx="22420" cy="47082"/>
                </a:xfrm>
                <a:custGeom>
                  <a:avLst/>
                  <a:gdLst>
                    <a:gd name="connsiteX0" fmla="*/ 0 w 22420"/>
                    <a:gd name="connsiteY0" fmla="*/ 0 h 47082"/>
                    <a:gd name="connsiteX1" fmla="*/ 9590 w 22420"/>
                    <a:gd name="connsiteY1" fmla="*/ 16192 h 47082"/>
                    <a:gd name="connsiteX2" fmla="*/ 13576 w 22420"/>
                    <a:gd name="connsiteY2" fmla="*/ 33132 h 47082"/>
                    <a:gd name="connsiteX3" fmla="*/ 22420 w 22420"/>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420" h="47082">
                      <a:moveTo>
                        <a:pt x="0" y="0"/>
                      </a:moveTo>
                      <a:cubicBezTo>
                        <a:pt x="5605" y="6352"/>
                        <a:pt x="8220" y="12082"/>
                        <a:pt x="9590" y="16192"/>
                      </a:cubicBezTo>
                      <a:cubicBezTo>
                        <a:pt x="11833" y="22794"/>
                        <a:pt x="11085" y="26406"/>
                        <a:pt x="13576" y="33132"/>
                      </a:cubicBezTo>
                      <a:cubicBezTo>
                        <a:pt x="15943" y="39609"/>
                        <a:pt x="19680" y="44218"/>
                        <a:pt x="2242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8" name="Freeform 6960">
                  <a:extLst>
                    <a:ext uri="{FF2B5EF4-FFF2-40B4-BE49-F238E27FC236}">
                      <a16:creationId xmlns:a16="http://schemas.microsoft.com/office/drawing/2014/main" id="{4F2E48BE-54CA-4DEB-DAC9-7C50E889B275}"/>
                    </a:ext>
                  </a:extLst>
                </p:cNvPr>
                <p:cNvSpPr/>
                <p:nvPr/>
              </p:nvSpPr>
              <p:spPr>
                <a:xfrm>
                  <a:off x="9751209" y="1293441"/>
                  <a:ext cx="26908" cy="26434"/>
                </a:xfrm>
                <a:custGeom>
                  <a:avLst/>
                  <a:gdLst>
                    <a:gd name="connsiteX0" fmla="*/ 1159 w 26908"/>
                    <a:gd name="connsiteY0" fmla="*/ 18599 h 26434"/>
                    <a:gd name="connsiteX1" fmla="*/ 7885 w 26908"/>
                    <a:gd name="connsiteY1" fmla="*/ 1161 h 26434"/>
                    <a:gd name="connsiteX2" fmla="*/ 25697 w 26908"/>
                    <a:gd name="connsiteY2" fmla="*/ 7763 h 26434"/>
                    <a:gd name="connsiteX3" fmla="*/ 18971 w 26908"/>
                    <a:gd name="connsiteY3" fmla="*/ 25201 h 26434"/>
                    <a:gd name="connsiteX4" fmla="*/ 1159 w 26908"/>
                    <a:gd name="connsiteY4" fmla="*/ 18599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434">
                      <a:moveTo>
                        <a:pt x="1159" y="18599"/>
                      </a:moveTo>
                      <a:cubicBezTo>
                        <a:pt x="-1831" y="11998"/>
                        <a:pt x="1159" y="4150"/>
                        <a:pt x="7885" y="1161"/>
                      </a:cubicBezTo>
                      <a:cubicBezTo>
                        <a:pt x="14611" y="-1828"/>
                        <a:pt x="22583" y="1161"/>
                        <a:pt x="25697" y="7763"/>
                      </a:cubicBezTo>
                      <a:cubicBezTo>
                        <a:pt x="28810" y="14364"/>
                        <a:pt x="25697" y="22211"/>
                        <a:pt x="18971" y="25201"/>
                      </a:cubicBezTo>
                      <a:cubicBezTo>
                        <a:pt x="12244" y="28315"/>
                        <a:pt x="4273" y="25325"/>
                        <a:pt x="1159" y="185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9" name="Freeform 6961">
                  <a:extLst>
                    <a:ext uri="{FF2B5EF4-FFF2-40B4-BE49-F238E27FC236}">
                      <a16:creationId xmlns:a16="http://schemas.microsoft.com/office/drawing/2014/main" id="{2AA5FB91-D397-130A-8A5D-DBB53506A2C1}"/>
                    </a:ext>
                  </a:extLst>
                </p:cNvPr>
                <p:cNvSpPr/>
                <p:nvPr/>
              </p:nvSpPr>
              <p:spPr>
                <a:xfrm>
                  <a:off x="9713132" y="1203301"/>
                  <a:ext cx="21050" cy="47705"/>
                </a:xfrm>
                <a:custGeom>
                  <a:avLst/>
                  <a:gdLst>
                    <a:gd name="connsiteX0" fmla="*/ 0 w 21050"/>
                    <a:gd name="connsiteY0" fmla="*/ 0 h 47705"/>
                    <a:gd name="connsiteX1" fmla="*/ 5979 w 21050"/>
                    <a:gd name="connsiteY1" fmla="*/ 17812 h 47705"/>
                    <a:gd name="connsiteX2" fmla="*/ 16192 w 21050"/>
                    <a:gd name="connsiteY2" fmla="*/ 32011 h 47705"/>
                    <a:gd name="connsiteX3" fmla="*/ 2105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0" y="0"/>
                      </a:moveTo>
                      <a:cubicBezTo>
                        <a:pt x="1121" y="8345"/>
                        <a:pt x="3737" y="14075"/>
                        <a:pt x="5979" y="17812"/>
                      </a:cubicBezTo>
                      <a:cubicBezTo>
                        <a:pt x="9591" y="23791"/>
                        <a:pt x="12830" y="25783"/>
                        <a:pt x="16192" y="32011"/>
                      </a:cubicBezTo>
                      <a:cubicBezTo>
                        <a:pt x="19556" y="38115"/>
                        <a:pt x="20676" y="43844"/>
                        <a:pt x="2105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0" name="Freeform 6962">
                  <a:extLst>
                    <a:ext uri="{FF2B5EF4-FFF2-40B4-BE49-F238E27FC236}">
                      <a16:creationId xmlns:a16="http://schemas.microsoft.com/office/drawing/2014/main" id="{4DA8F67C-F7BB-11D9-33F9-C236B43A28BA}"/>
                    </a:ext>
                  </a:extLst>
                </p:cNvPr>
                <p:cNvSpPr/>
                <p:nvPr/>
              </p:nvSpPr>
              <p:spPr>
                <a:xfrm>
                  <a:off x="9717491" y="1195952"/>
                  <a:ext cx="22420" cy="47082"/>
                </a:xfrm>
                <a:custGeom>
                  <a:avLst/>
                  <a:gdLst>
                    <a:gd name="connsiteX0" fmla="*/ 22421 w 22420"/>
                    <a:gd name="connsiteY0" fmla="*/ 47083 h 47082"/>
                    <a:gd name="connsiteX1" fmla="*/ 12830 w 22420"/>
                    <a:gd name="connsiteY1" fmla="*/ 30890 h 47082"/>
                    <a:gd name="connsiteX2" fmla="*/ 8844 w 22420"/>
                    <a:gd name="connsiteY2" fmla="*/ 13950 h 47082"/>
                    <a:gd name="connsiteX3" fmla="*/ 0 w 22420"/>
                    <a:gd name="connsiteY3" fmla="*/ 0 h 47082"/>
                  </a:gdLst>
                  <a:ahLst/>
                  <a:cxnLst>
                    <a:cxn ang="0">
                      <a:pos x="connsiteX0" y="connsiteY0"/>
                    </a:cxn>
                    <a:cxn ang="0">
                      <a:pos x="connsiteX1" y="connsiteY1"/>
                    </a:cxn>
                    <a:cxn ang="0">
                      <a:pos x="connsiteX2" y="connsiteY2"/>
                    </a:cxn>
                    <a:cxn ang="0">
                      <a:pos x="connsiteX3" y="connsiteY3"/>
                    </a:cxn>
                  </a:cxnLst>
                  <a:rect l="l" t="t" r="r" b="b"/>
                  <a:pathLst>
                    <a:path w="22420" h="47082">
                      <a:moveTo>
                        <a:pt x="22421" y="47083"/>
                      </a:moveTo>
                      <a:cubicBezTo>
                        <a:pt x="16816" y="40730"/>
                        <a:pt x="14200" y="35001"/>
                        <a:pt x="12830" y="30890"/>
                      </a:cubicBezTo>
                      <a:cubicBezTo>
                        <a:pt x="10588" y="24289"/>
                        <a:pt x="11335" y="20677"/>
                        <a:pt x="8844" y="13950"/>
                      </a:cubicBezTo>
                      <a:cubicBezTo>
                        <a:pt x="6353" y="7473"/>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1" name="Freeform 6963">
                  <a:extLst>
                    <a:ext uri="{FF2B5EF4-FFF2-40B4-BE49-F238E27FC236}">
                      <a16:creationId xmlns:a16="http://schemas.microsoft.com/office/drawing/2014/main" id="{A400E289-8D5B-D5F0-77AE-58AEE1375F5F}"/>
                    </a:ext>
                  </a:extLst>
                </p:cNvPr>
                <p:cNvSpPr/>
                <p:nvPr/>
              </p:nvSpPr>
              <p:spPr>
                <a:xfrm>
                  <a:off x="9700240" y="1182338"/>
                  <a:ext cx="26478" cy="26338"/>
                </a:xfrm>
                <a:custGeom>
                  <a:avLst/>
                  <a:gdLst>
                    <a:gd name="connsiteX0" fmla="*/ 25222 w 26478"/>
                    <a:gd name="connsiteY0" fmla="*/ 7885 h 26338"/>
                    <a:gd name="connsiteX1" fmla="*/ 18746 w 26478"/>
                    <a:gd name="connsiteY1" fmla="*/ 25198 h 26338"/>
                    <a:gd name="connsiteX2" fmla="*/ 1183 w 26478"/>
                    <a:gd name="connsiteY2" fmla="*/ 18472 h 26338"/>
                    <a:gd name="connsiteX3" fmla="*/ 7660 w 26478"/>
                    <a:gd name="connsiteY3" fmla="*/ 1159 h 26338"/>
                    <a:gd name="connsiteX4" fmla="*/ 25222 w 26478"/>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338">
                      <a:moveTo>
                        <a:pt x="25222" y="7885"/>
                      </a:moveTo>
                      <a:cubicBezTo>
                        <a:pt x="28336" y="14486"/>
                        <a:pt x="25472" y="22334"/>
                        <a:pt x="18746" y="25198"/>
                      </a:cubicBezTo>
                      <a:cubicBezTo>
                        <a:pt x="12144" y="28188"/>
                        <a:pt x="4297" y="25074"/>
                        <a:pt x="1183" y="18472"/>
                      </a:cubicBezTo>
                      <a:cubicBezTo>
                        <a:pt x="-1806" y="11871"/>
                        <a:pt x="1058" y="4024"/>
                        <a:pt x="7660" y="1159"/>
                      </a:cubicBezTo>
                      <a:cubicBezTo>
                        <a:pt x="14386" y="-1831"/>
                        <a:pt x="22233" y="1159"/>
                        <a:pt x="25222"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2" name="Graphic 2987">
                <a:extLst>
                  <a:ext uri="{FF2B5EF4-FFF2-40B4-BE49-F238E27FC236}">
                    <a16:creationId xmlns:a16="http://schemas.microsoft.com/office/drawing/2014/main" id="{1D7FE3ED-E499-7459-D511-E3CEC452037E}"/>
                  </a:ext>
                </a:extLst>
              </p:cNvPr>
              <p:cNvGrpSpPr/>
              <p:nvPr/>
            </p:nvGrpSpPr>
            <p:grpSpPr>
              <a:xfrm>
                <a:off x="9673585" y="1194171"/>
                <a:ext cx="77198" cy="137888"/>
                <a:chOff x="9673585" y="1194171"/>
                <a:chExt cx="77198" cy="137888"/>
              </a:xfrm>
              <a:grpFill/>
            </p:grpSpPr>
            <p:sp>
              <p:nvSpPr>
                <p:cNvPr id="7080" name="Freeform 6965">
                  <a:extLst>
                    <a:ext uri="{FF2B5EF4-FFF2-40B4-BE49-F238E27FC236}">
                      <a16:creationId xmlns:a16="http://schemas.microsoft.com/office/drawing/2014/main" id="{E129FA82-19F5-33F0-5DB4-E6F6834CE8DD}"/>
                    </a:ext>
                  </a:extLst>
                </p:cNvPr>
                <p:cNvSpPr/>
                <p:nvPr/>
              </p:nvSpPr>
              <p:spPr>
                <a:xfrm>
                  <a:off x="9716868" y="1263089"/>
                  <a:ext cx="20801" cy="47830"/>
                </a:xfrm>
                <a:custGeom>
                  <a:avLst/>
                  <a:gdLst>
                    <a:gd name="connsiteX0" fmla="*/ 20802 w 20801"/>
                    <a:gd name="connsiteY0" fmla="*/ 47830 h 47830"/>
                    <a:gd name="connsiteX1" fmla="*/ 14947 w 20801"/>
                    <a:gd name="connsiteY1" fmla="*/ 30018 h 47830"/>
                    <a:gd name="connsiteX2" fmla="*/ 4733 w 20801"/>
                    <a:gd name="connsiteY2" fmla="*/ 15819 h 47830"/>
                    <a:gd name="connsiteX3" fmla="*/ 0 w 20801"/>
                    <a:gd name="connsiteY3" fmla="*/ 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2" y="47830"/>
                      </a:moveTo>
                      <a:cubicBezTo>
                        <a:pt x="19805" y="39485"/>
                        <a:pt x="17064" y="33755"/>
                        <a:pt x="14947" y="30018"/>
                      </a:cubicBezTo>
                      <a:cubicBezTo>
                        <a:pt x="11335" y="24040"/>
                        <a:pt x="8097" y="22047"/>
                        <a:pt x="4733" y="15819"/>
                      </a:cubicBezTo>
                      <a:cubicBezTo>
                        <a:pt x="1495" y="9715"/>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1" name="Freeform 6966">
                  <a:extLst>
                    <a:ext uri="{FF2B5EF4-FFF2-40B4-BE49-F238E27FC236}">
                      <a16:creationId xmlns:a16="http://schemas.microsoft.com/office/drawing/2014/main" id="{E8CC5231-CC1D-BE65-B0EF-6962AD901CCD}"/>
                    </a:ext>
                  </a:extLst>
                </p:cNvPr>
                <p:cNvSpPr/>
                <p:nvPr/>
              </p:nvSpPr>
              <p:spPr>
                <a:xfrm>
                  <a:off x="9711139" y="1271061"/>
                  <a:ext cx="22046" cy="47207"/>
                </a:xfrm>
                <a:custGeom>
                  <a:avLst/>
                  <a:gdLst>
                    <a:gd name="connsiteX0" fmla="*/ 0 w 22046"/>
                    <a:gd name="connsiteY0" fmla="*/ 0 h 47207"/>
                    <a:gd name="connsiteX1" fmla="*/ 9466 w 22046"/>
                    <a:gd name="connsiteY1" fmla="*/ 16192 h 47207"/>
                    <a:gd name="connsiteX2" fmla="*/ 13327 w 22046"/>
                    <a:gd name="connsiteY2" fmla="*/ 33132 h 47207"/>
                    <a:gd name="connsiteX3" fmla="*/ 22046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5604" y="6352"/>
                        <a:pt x="8220" y="12082"/>
                        <a:pt x="9466" y="16192"/>
                      </a:cubicBezTo>
                      <a:cubicBezTo>
                        <a:pt x="11584" y="22794"/>
                        <a:pt x="10961" y="26531"/>
                        <a:pt x="13327" y="33132"/>
                      </a:cubicBezTo>
                      <a:cubicBezTo>
                        <a:pt x="15694" y="39609"/>
                        <a:pt x="19306" y="44218"/>
                        <a:pt x="2204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2" name="Freeform 6967">
                  <a:extLst>
                    <a:ext uri="{FF2B5EF4-FFF2-40B4-BE49-F238E27FC236}">
                      <a16:creationId xmlns:a16="http://schemas.microsoft.com/office/drawing/2014/main" id="{AD74F4B5-8C96-5929-BABD-242F661D2FC4}"/>
                    </a:ext>
                  </a:extLst>
                </p:cNvPr>
                <p:cNvSpPr/>
                <p:nvPr/>
              </p:nvSpPr>
              <p:spPr>
                <a:xfrm>
                  <a:off x="9723808" y="1305701"/>
                  <a:ext cx="26975" cy="26358"/>
                </a:xfrm>
                <a:custGeom>
                  <a:avLst/>
                  <a:gdLst>
                    <a:gd name="connsiteX0" fmla="*/ 1156 w 26975"/>
                    <a:gd name="connsiteY0" fmla="*/ 18546 h 26358"/>
                    <a:gd name="connsiteX1" fmla="*/ 8007 w 26975"/>
                    <a:gd name="connsiteY1" fmla="*/ 1108 h 26358"/>
                    <a:gd name="connsiteX2" fmla="*/ 25819 w 26975"/>
                    <a:gd name="connsiteY2" fmla="*/ 7709 h 26358"/>
                    <a:gd name="connsiteX3" fmla="*/ 18968 w 26975"/>
                    <a:gd name="connsiteY3" fmla="*/ 25272 h 26358"/>
                    <a:gd name="connsiteX4" fmla="*/ 1156 w 26975"/>
                    <a:gd name="connsiteY4" fmla="*/ 18546 h 26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4" h="26358">
                      <a:moveTo>
                        <a:pt x="1156" y="18546"/>
                      </a:moveTo>
                      <a:cubicBezTo>
                        <a:pt x="-1833" y="11820"/>
                        <a:pt x="1156" y="3973"/>
                        <a:pt x="8007" y="1108"/>
                      </a:cubicBezTo>
                      <a:cubicBezTo>
                        <a:pt x="14858" y="-1757"/>
                        <a:pt x="22705" y="1108"/>
                        <a:pt x="25819" y="7709"/>
                      </a:cubicBezTo>
                      <a:cubicBezTo>
                        <a:pt x="28808" y="14311"/>
                        <a:pt x="25819" y="22158"/>
                        <a:pt x="18968" y="25272"/>
                      </a:cubicBezTo>
                      <a:cubicBezTo>
                        <a:pt x="12118" y="28137"/>
                        <a:pt x="4146" y="25147"/>
                        <a:pt x="1156" y="185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3" name="Freeform 6968">
                  <a:extLst>
                    <a:ext uri="{FF2B5EF4-FFF2-40B4-BE49-F238E27FC236}">
                      <a16:creationId xmlns:a16="http://schemas.microsoft.com/office/drawing/2014/main" id="{A52C1563-1CA9-8EAD-8648-5354623C9C4D}"/>
                    </a:ext>
                  </a:extLst>
                </p:cNvPr>
                <p:cNvSpPr/>
                <p:nvPr/>
              </p:nvSpPr>
              <p:spPr>
                <a:xfrm>
                  <a:off x="9686351" y="1215259"/>
                  <a:ext cx="20677" cy="47830"/>
                </a:xfrm>
                <a:custGeom>
                  <a:avLst/>
                  <a:gdLst>
                    <a:gd name="connsiteX0" fmla="*/ 0 w 20677"/>
                    <a:gd name="connsiteY0" fmla="*/ 0 h 47830"/>
                    <a:gd name="connsiteX1" fmla="*/ 5855 w 20677"/>
                    <a:gd name="connsiteY1" fmla="*/ 17812 h 47830"/>
                    <a:gd name="connsiteX2" fmla="*/ 15944 w 20677"/>
                    <a:gd name="connsiteY2" fmla="*/ 32011 h 47830"/>
                    <a:gd name="connsiteX3" fmla="*/ 20677 w 20677"/>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677" h="47830">
                      <a:moveTo>
                        <a:pt x="0" y="0"/>
                      </a:moveTo>
                      <a:cubicBezTo>
                        <a:pt x="1121" y="8345"/>
                        <a:pt x="3737" y="14075"/>
                        <a:pt x="5855" y="17812"/>
                      </a:cubicBezTo>
                      <a:cubicBezTo>
                        <a:pt x="9467" y="23791"/>
                        <a:pt x="12580" y="25783"/>
                        <a:pt x="15944" y="32011"/>
                      </a:cubicBezTo>
                      <a:cubicBezTo>
                        <a:pt x="19182" y="38115"/>
                        <a:pt x="20303" y="43844"/>
                        <a:pt x="20677"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4" name="Freeform 6969">
                  <a:extLst>
                    <a:ext uri="{FF2B5EF4-FFF2-40B4-BE49-F238E27FC236}">
                      <a16:creationId xmlns:a16="http://schemas.microsoft.com/office/drawing/2014/main" id="{FE8EADB6-A4A1-D2AA-7148-E00B6CBC558F}"/>
                    </a:ext>
                  </a:extLst>
                </p:cNvPr>
                <p:cNvSpPr/>
                <p:nvPr/>
              </p:nvSpPr>
              <p:spPr>
                <a:xfrm>
                  <a:off x="9690587" y="1207785"/>
                  <a:ext cx="22295" cy="47207"/>
                </a:xfrm>
                <a:custGeom>
                  <a:avLst/>
                  <a:gdLst>
                    <a:gd name="connsiteX0" fmla="*/ 22296 w 22295"/>
                    <a:gd name="connsiteY0" fmla="*/ 47207 h 47207"/>
                    <a:gd name="connsiteX1" fmla="*/ 12705 w 22295"/>
                    <a:gd name="connsiteY1" fmla="*/ 31015 h 47207"/>
                    <a:gd name="connsiteX2" fmla="*/ 8719 w 22295"/>
                    <a:gd name="connsiteY2" fmla="*/ 14075 h 47207"/>
                    <a:gd name="connsiteX3" fmla="*/ 0 w 22295"/>
                    <a:gd name="connsiteY3" fmla="*/ 0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47207"/>
                      </a:moveTo>
                      <a:cubicBezTo>
                        <a:pt x="16691" y="40855"/>
                        <a:pt x="14075" y="35125"/>
                        <a:pt x="12705" y="31015"/>
                      </a:cubicBezTo>
                      <a:cubicBezTo>
                        <a:pt x="10587" y="24413"/>
                        <a:pt x="11210" y="20801"/>
                        <a:pt x="8719" y="14075"/>
                      </a:cubicBezTo>
                      <a:cubicBezTo>
                        <a:pt x="6353" y="7598"/>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5" name="Freeform 6970">
                  <a:extLst>
                    <a:ext uri="{FF2B5EF4-FFF2-40B4-BE49-F238E27FC236}">
                      <a16:creationId xmlns:a16="http://schemas.microsoft.com/office/drawing/2014/main" id="{DE135B05-203C-3162-0272-6B29C9900A69}"/>
                    </a:ext>
                  </a:extLst>
                </p:cNvPr>
                <p:cNvSpPr/>
                <p:nvPr/>
              </p:nvSpPr>
              <p:spPr>
                <a:xfrm>
                  <a:off x="9673585" y="1194171"/>
                  <a:ext cx="26281" cy="26338"/>
                </a:xfrm>
                <a:custGeom>
                  <a:avLst/>
                  <a:gdLst>
                    <a:gd name="connsiteX0" fmla="*/ 25098 w 26281"/>
                    <a:gd name="connsiteY0" fmla="*/ 7885 h 26338"/>
                    <a:gd name="connsiteX1" fmla="*/ 18621 w 26281"/>
                    <a:gd name="connsiteY1" fmla="*/ 25198 h 26338"/>
                    <a:gd name="connsiteX2" fmla="*/ 1183 w 26281"/>
                    <a:gd name="connsiteY2" fmla="*/ 18472 h 26338"/>
                    <a:gd name="connsiteX3" fmla="*/ 7660 w 26281"/>
                    <a:gd name="connsiteY3" fmla="*/ 1159 h 26338"/>
                    <a:gd name="connsiteX4" fmla="*/ 25098 w 26281"/>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338">
                      <a:moveTo>
                        <a:pt x="25098" y="7885"/>
                      </a:moveTo>
                      <a:cubicBezTo>
                        <a:pt x="28088" y="14486"/>
                        <a:pt x="25222" y="22334"/>
                        <a:pt x="18621" y="25198"/>
                      </a:cubicBezTo>
                      <a:cubicBezTo>
                        <a:pt x="12019" y="28188"/>
                        <a:pt x="4172" y="25074"/>
                        <a:pt x="1183" y="18472"/>
                      </a:cubicBezTo>
                      <a:cubicBezTo>
                        <a:pt x="-1806" y="11871"/>
                        <a:pt x="1058" y="4024"/>
                        <a:pt x="7660" y="1159"/>
                      </a:cubicBezTo>
                      <a:cubicBezTo>
                        <a:pt x="14262" y="-1831"/>
                        <a:pt x="22108" y="1159"/>
                        <a:pt x="25098"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3" name="Graphic 2987">
                <a:extLst>
                  <a:ext uri="{FF2B5EF4-FFF2-40B4-BE49-F238E27FC236}">
                    <a16:creationId xmlns:a16="http://schemas.microsoft.com/office/drawing/2014/main" id="{C4A2A09F-AF8B-660F-D385-A4F7341B1572}"/>
                  </a:ext>
                </a:extLst>
              </p:cNvPr>
              <p:cNvGrpSpPr/>
              <p:nvPr/>
            </p:nvGrpSpPr>
            <p:grpSpPr>
              <a:xfrm>
                <a:off x="9646703" y="1205900"/>
                <a:ext cx="76410" cy="138313"/>
                <a:chOff x="9646703" y="1205900"/>
                <a:chExt cx="76410" cy="138313"/>
              </a:xfrm>
              <a:grpFill/>
            </p:grpSpPr>
            <p:sp>
              <p:nvSpPr>
                <p:cNvPr id="7074" name="Freeform 6972">
                  <a:extLst>
                    <a:ext uri="{FF2B5EF4-FFF2-40B4-BE49-F238E27FC236}">
                      <a16:creationId xmlns:a16="http://schemas.microsoft.com/office/drawing/2014/main" id="{D40D7DD5-FD2A-F0C7-C2A1-BA2D485930CA}"/>
                    </a:ext>
                  </a:extLst>
                </p:cNvPr>
                <p:cNvSpPr/>
                <p:nvPr/>
              </p:nvSpPr>
              <p:spPr>
                <a:xfrm>
                  <a:off x="9689590" y="1275046"/>
                  <a:ext cx="20677" cy="47954"/>
                </a:xfrm>
                <a:custGeom>
                  <a:avLst/>
                  <a:gdLst>
                    <a:gd name="connsiteX0" fmla="*/ 20677 w 20677"/>
                    <a:gd name="connsiteY0" fmla="*/ 47955 h 47954"/>
                    <a:gd name="connsiteX1" fmla="*/ 14822 w 20677"/>
                    <a:gd name="connsiteY1" fmla="*/ 30018 h 47954"/>
                    <a:gd name="connsiteX2" fmla="*/ 4733 w 20677"/>
                    <a:gd name="connsiteY2" fmla="*/ 15819 h 47954"/>
                    <a:gd name="connsiteX3" fmla="*/ 0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20677" y="47955"/>
                      </a:moveTo>
                      <a:cubicBezTo>
                        <a:pt x="19680" y="39609"/>
                        <a:pt x="17064" y="33880"/>
                        <a:pt x="14822" y="30018"/>
                      </a:cubicBezTo>
                      <a:cubicBezTo>
                        <a:pt x="11210" y="24040"/>
                        <a:pt x="8097" y="22047"/>
                        <a:pt x="4733" y="15819"/>
                      </a:cubicBezTo>
                      <a:cubicBezTo>
                        <a:pt x="1495" y="9716"/>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5" name="Freeform 6973">
                  <a:extLst>
                    <a:ext uri="{FF2B5EF4-FFF2-40B4-BE49-F238E27FC236}">
                      <a16:creationId xmlns:a16="http://schemas.microsoft.com/office/drawing/2014/main" id="{FDDEC68D-E1D4-67D6-3045-32A519C5E794}"/>
                    </a:ext>
                  </a:extLst>
                </p:cNvPr>
                <p:cNvSpPr/>
                <p:nvPr/>
              </p:nvSpPr>
              <p:spPr>
                <a:xfrm>
                  <a:off x="9683985" y="1283143"/>
                  <a:ext cx="21797" cy="47331"/>
                </a:xfrm>
                <a:custGeom>
                  <a:avLst/>
                  <a:gdLst>
                    <a:gd name="connsiteX0" fmla="*/ 0 w 21797"/>
                    <a:gd name="connsiteY0" fmla="*/ 0 h 47331"/>
                    <a:gd name="connsiteX1" fmla="*/ 9467 w 21797"/>
                    <a:gd name="connsiteY1" fmla="*/ 16317 h 47331"/>
                    <a:gd name="connsiteX2" fmla="*/ 13204 w 21797"/>
                    <a:gd name="connsiteY2" fmla="*/ 33257 h 47331"/>
                    <a:gd name="connsiteX3" fmla="*/ 21798 w 21797"/>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797" h="47331">
                      <a:moveTo>
                        <a:pt x="0" y="0"/>
                      </a:moveTo>
                      <a:cubicBezTo>
                        <a:pt x="5605" y="6352"/>
                        <a:pt x="8097" y="12082"/>
                        <a:pt x="9467" y="16317"/>
                      </a:cubicBezTo>
                      <a:cubicBezTo>
                        <a:pt x="11585" y="23043"/>
                        <a:pt x="10837" y="26655"/>
                        <a:pt x="13204" y="33257"/>
                      </a:cubicBezTo>
                      <a:cubicBezTo>
                        <a:pt x="15570" y="39734"/>
                        <a:pt x="19182" y="44467"/>
                        <a:pt x="21798"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6" name="Freeform 6974">
                  <a:extLst>
                    <a:ext uri="{FF2B5EF4-FFF2-40B4-BE49-F238E27FC236}">
                      <a16:creationId xmlns:a16="http://schemas.microsoft.com/office/drawing/2014/main" id="{130BB071-6FD8-9ECA-DC47-5DCE334042D8}"/>
                    </a:ext>
                  </a:extLst>
                </p:cNvPr>
                <p:cNvSpPr/>
                <p:nvPr/>
              </p:nvSpPr>
              <p:spPr>
                <a:xfrm>
                  <a:off x="9696300" y="1317607"/>
                  <a:ext cx="26813" cy="26606"/>
                </a:xfrm>
                <a:custGeom>
                  <a:avLst/>
                  <a:gdLst>
                    <a:gd name="connsiteX0" fmla="*/ 1138 w 26813"/>
                    <a:gd name="connsiteY0" fmla="*/ 18721 h 26606"/>
                    <a:gd name="connsiteX1" fmla="*/ 7988 w 26813"/>
                    <a:gd name="connsiteY1" fmla="*/ 1159 h 26606"/>
                    <a:gd name="connsiteX2" fmla="*/ 25676 w 26813"/>
                    <a:gd name="connsiteY2" fmla="*/ 7885 h 26606"/>
                    <a:gd name="connsiteX3" fmla="*/ 18825 w 26813"/>
                    <a:gd name="connsiteY3" fmla="*/ 25448 h 26606"/>
                    <a:gd name="connsiteX4" fmla="*/ 1138 w 26813"/>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606">
                      <a:moveTo>
                        <a:pt x="1138" y="18721"/>
                      </a:moveTo>
                      <a:cubicBezTo>
                        <a:pt x="-1852" y="11995"/>
                        <a:pt x="1262" y="4148"/>
                        <a:pt x="7988" y="1159"/>
                      </a:cubicBezTo>
                      <a:cubicBezTo>
                        <a:pt x="14715" y="-1831"/>
                        <a:pt x="22687" y="1159"/>
                        <a:pt x="25676" y="7885"/>
                      </a:cubicBezTo>
                      <a:cubicBezTo>
                        <a:pt x="28665" y="14611"/>
                        <a:pt x="25551" y="22458"/>
                        <a:pt x="18825" y="25448"/>
                      </a:cubicBezTo>
                      <a:cubicBezTo>
                        <a:pt x="12099" y="28437"/>
                        <a:pt x="4127" y="25448"/>
                        <a:pt x="1138"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7" name="Freeform 6975">
                  <a:extLst>
                    <a:ext uri="{FF2B5EF4-FFF2-40B4-BE49-F238E27FC236}">
                      <a16:creationId xmlns:a16="http://schemas.microsoft.com/office/drawing/2014/main" id="{A6724E39-B484-A5E6-5D59-DEDB62C7FE8F}"/>
                    </a:ext>
                  </a:extLst>
                </p:cNvPr>
                <p:cNvSpPr/>
                <p:nvPr/>
              </p:nvSpPr>
              <p:spPr>
                <a:xfrm>
                  <a:off x="9659572" y="1227092"/>
                  <a:ext cx="20676" cy="47954"/>
                </a:xfrm>
                <a:custGeom>
                  <a:avLst/>
                  <a:gdLst>
                    <a:gd name="connsiteX0" fmla="*/ 0 w 20676"/>
                    <a:gd name="connsiteY0" fmla="*/ 0 h 47954"/>
                    <a:gd name="connsiteX1" fmla="*/ 5854 w 20676"/>
                    <a:gd name="connsiteY1" fmla="*/ 17936 h 47954"/>
                    <a:gd name="connsiteX2" fmla="*/ 15943 w 20676"/>
                    <a:gd name="connsiteY2" fmla="*/ 32136 h 47954"/>
                    <a:gd name="connsiteX3" fmla="*/ 20676 w 2067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676" h="47954">
                      <a:moveTo>
                        <a:pt x="0" y="0"/>
                      </a:moveTo>
                      <a:cubicBezTo>
                        <a:pt x="997" y="8345"/>
                        <a:pt x="3612" y="14075"/>
                        <a:pt x="5854" y="17936"/>
                      </a:cubicBezTo>
                      <a:cubicBezTo>
                        <a:pt x="9342" y="24040"/>
                        <a:pt x="12580" y="25908"/>
                        <a:pt x="15943" y="32136"/>
                      </a:cubicBezTo>
                      <a:cubicBezTo>
                        <a:pt x="19182" y="38239"/>
                        <a:pt x="20303" y="43969"/>
                        <a:pt x="20676"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8" name="Freeform 6976">
                  <a:extLst>
                    <a:ext uri="{FF2B5EF4-FFF2-40B4-BE49-F238E27FC236}">
                      <a16:creationId xmlns:a16="http://schemas.microsoft.com/office/drawing/2014/main" id="{5FBA512A-6015-2632-21F2-507AE988E7FD}"/>
                    </a:ext>
                  </a:extLst>
                </p:cNvPr>
                <p:cNvSpPr/>
                <p:nvPr/>
              </p:nvSpPr>
              <p:spPr>
                <a:xfrm>
                  <a:off x="9663807" y="1219618"/>
                  <a:ext cx="21922" cy="47331"/>
                </a:xfrm>
                <a:custGeom>
                  <a:avLst/>
                  <a:gdLst>
                    <a:gd name="connsiteX0" fmla="*/ 21922 w 21922"/>
                    <a:gd name="connsiteY0" fmla="*/ 47332 h 47331"/>
                    <a:gd name="connsiteX1" fmla="*/ 12456 w 21922"/>
                    <a:gd name="connsiteY1" fmla="*/ 31015 h 47331"/>
                    <a:gd name="connsiteX2" fmla="*/ 8595 w 21922"/>
                    <a:gd name="connsiteY2" fmla="*/ 14075 h 47331"/>
                    <a:gd name="connsiteX3" fmla="*/ 0 w 21922"/>
                    <a:gd name="connsiteY3" fmla="*/ 0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47332"/>
                      </a:moveTo>
                      <a:cubicBezTo>
                        <a:pt x="16317" y="40979"/>
                        <a:pt x="13826" y="35250"/>
                        <a:pt x="12456" y="31015"/>
                      </a:cubicBezTo>
                      <a:cubicBezTo>
                        <a:pt x="10339" y="24289"/>
                        <a:pt x="11086" y="20677"/>
                        <a:pt x="8595" y="14075"/>
                      </a:cubicBezTo>
                      <a:cubicBezTo>
                        <a:pt x="6228" y="7598"/>
                        <a:pt x="2616"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9" name="Freeform 6977">
                  <a:extLst>
                    <a:ext uri="{FF2B5EF4-FFF2-40B4-BE49-F238E27FC236}">
                      <a16:creationId xmlns:a16="http://schemas.microsoft.com/office/drawing/2014/main" id="{0146987C-DD3B-0CCC-32BD-246187F54862}"/>
                    </a:ext>
                  </a:extLst>
                </p:cNvPr>
                <p:cNvSpPr/>
                <p:nvPr/>
              </p:nvSpPr>
              <p:spPr>
                <a:xfrm>
                  <a:off x="9646703" y="1205900"/>
                  <a:ext cx="26361" cy="26564"/>
                </a:xfrm>
                <a:custGeom>
                  <a:avLst/>
                  <a:gdLst>
                    <a:gd name="connsiteX0" fmla="*/ 25201 w 26361"/>
                    <a:gd name="connsiteY0" fmla="*/ 7988 h 26564"/>
                    <a:gd name="connsiteX1" fmla="*/ 18599 w 26361"/>
                    <a:gd name="connsiteY1" fmla="*/ 25427 h 26564"/>
                    <a:gd name="connsiteX2" fmla="*/ 1161 w 26361"/>
                    <a:gd name="connsiteY2" fmla="*/ 18576 h 26564"/>
                    <a:gd name="connsiteX3" fmla="*/ 7762 w 26361"/>
                    <a:gd name="connsiteY3" fmla="*/ 1138 h 26564"/>
                    <a:gd name="connsiteX4" fmla="*/ 25201 w 26361"/>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63">
                      <a:moveTo>
                        <a:pt x="25201" y="7988"/>
                      </a:moveTo>
                      <a:cubicBezTo>
                        <a:pt x="28190" y="14715"/>
                        <a:pt x="25201" y="22437"/>
                        <a:pt x="18599" y="25427"/>
                      </a:cubicBezTo>
                      <a:cubicBezTo>
                        <a:pt x="11997" y="28416"/>
                        <a:pt x="4150" y="25302"/>
                        <a:pt x="1161" y="18576"/>
                      </a:cubicBezTo>
                      <a:cubicBezTo>
                        <a:pt x="-1828" y="11850"/>
                        <a:pt x="1161" y="4127"/>
                        <a:pt x="7762" y="1138"/>
                      </a:cubicBezTo>
                      <a:cubicBezTo>
                        <a:pt x="14364" y="-1852"/>
                        <a:pt x="22211" y="1262"/>
                        <a:pt x="2520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4" name="Graphic 2987">
                <a:extLst>
                  <a:ext uri="{FF2B5EF4-FFF2-40B4-BE49-F238E27FC236}">
                    <a16:creationId xmlns:a16="http://schemas.microsoft.com/office/drawing/2014/main" id="{73DA0612-5DF5-B08A-261C-560F1948DBDF}"/>
                  </a:ext>
                </a:extLst>
              </p:cNvPr>
              <p:cNvGrpSpPr/>
              <p:nvPr/>
            </p:nvGrpSpPr>
            <p:grpSpPr>
              <a:xfrm>
                <a:off x="9620119" y="1217733"/>
                <a:ext cx="75589" cy="138668"/>
                <a:chOff x="9620119" y="1217733"/>
                <a:chExt cx="75589" cy="138668"/>
              </a:xfrm>
              <a:grpFill/>
            </p:grpSpPr>
            <p:sp>
              <p:nvSpPr>
                <p:cNvPr id="7068" name="Freeform 6979">
                  <a:extLst>
                    <a:ext uri="{FF2B5EF4-FFF2-40B4-BE49-F238E27FC236}">
                      <a16:creationId xmlns:a16="http://schemas.microsoft.com/office/drawing/2014/main" id="{7607B4AB-D47C-9F31-0339-18F330E38436}"/>
                    </a:ext>
                  </a:extLst>
                </p:cNvPr>
                <p:cNvSpPr/>
                <p:nvPr/>
              </p:nvSpPr>
              <p:spPr>
                <a:xfrm>
                  <a:off x="9662561" y="1287128"/>
                  <a:ext cx="20302" cy="47954"/>
                </a:xfrm>
                <a:custGeom>
                  <a:avLst/>
                  <a:gdLst>
                    <a:gd name="connsiteX0" fmla="*/ 20303 w 20302"/>
                    <a:gd name="connsiteY0" fmla="*/ 47955 h 47954"/>
                    <a:gd name="connsiteX1" fmla="*/ 14573 w 20302"/>
                    <a:gd name="connsiteY1" fmla="*/ 30018 h 47954"/>
                    <a:gd name="connsiteX2" fmla="*/ 4609 w 20302"/>
                    <a:gd name="connsiteY2" fmla="*/ 15819 h 47954"/>
                    <a:gd name="connsiteX3" fmla="*/ 0 w 20302"/>
                    <a:gd name="connsiteY3" fmla="*/ 0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47955"/>
                      </a:moveTo>
                      <a:cubicBezTo>
                        <a:pt x="19306" y="39609"/>
                        <a:pt x="16815" y="33755"/>
                        <a:pt x="14573" y="30018"/>
                      </a:cubicBezTo>
                      <a:cubicBezTo>
                        <a:pt x="11086" y="23915"/>
                        <a:pt x="7847" y="22047"/>
                        <a:pt x="4609" y="15819"/>
                      </a:cubicBezTo>
                      <a:cubicBezTo>
                        <a:pt x="1370" y="9715"/>
                        <a:pt x="374"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9" name="Freeform 6980">
                  <a:extLst>
                    <a:ext uri="{FF2B5EF4-FFF2-40B4-BE49-F238E27FC236}">
                      <a16:creationId xmlns:a16="http://schemas.microsoft.com/office/drawing/2014/main" id="{E4EB8715-C0DE-E6CA-D8CC-020D1537C101}"/>
                    </a:ext>
                  </a:extLst>
                </p:cNvPr>
                <p:cNvSpPr/>
                <p:nvPr/>
              </p:nvSpPr>
              <p:spPr>
                <a:xfrm>
                  <a:off x="9656831" y="1295100"/>
                  <a:ext cx="21673" cy="47456"/>
                </a:xfrm>
                <a:custGeom>
                  <a:avLst/>
                  <a:gdLst>
                    <a:gd name="connsiteX0" fmla="*/ 0 w 21673"/>
                    <a:gd name="connsiteY0" fmla="*/ 0 h 47456"/>
                    <a:gd name="connsiteX1" fmla="*/ 9342 w 21673"/>
                    <a:gd name="connsiteY1" fmla="*/ 16317 h 47456"/>
                    <a:gd name="connsiteX2" fmla="*/ 13079 w 21673"/>
                    <a:gd name="connsiteY2" fmla="*/ 33381 h 47456"/>
                    <a:gd name="connsiteX3" fmla="*/ 21674 w 21673"/>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3" h="47456">
                      <a:moveTo>
                        <a:pt x="0" y="0"/>
                      </a:moveTo>
                      <a:cubicBezTo>
                        <a:pt x="5481" y="6352"/>
                        <a:pt x="7972" y="12207"/>
                        <a:pt x="9342" y="16317"/>
                      </a:cubicBezTo>
                      <a:cubicBezTo>
                        <a:pt x="11460" y="23043"/>
                        <a:pt x="10713" y="26655"/>
                        <a:pt x="13079" y="33381"/>
                      </a:cubicBezTo>
                      <a:cubicBezTo>
                        <a:pt x="15446" y="39858"/>
                        <a:pt x="18933" y="44592"/>
                        <a:pt x="2167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0" name="Freeform 6981">
                  <a:extLst>
                    <a:ext uri="{FF2B5EF4-FFF2-40B4-BE49-F238E27FC236}">
                      <a16:creationId xmlns:a16="http://schemas.microsoft.com/office/drawing/2014/main" id="{349A612E-512B-29DB-ED94-50A167DF222B}"/>
                    </a:ext>
                  </a:extLst>
                </p:cNvPr>
                <p:cNvSpPr/>
                <p:nvPr/>
              </p:nvSpPr>
              <p:spPr>
                <a:xfrm>
                  <a:off x="9668970" y="1329814"/>
                  <a:ext cx="26738" cy="26587"/>
                </a:xfrm>
                <a:custGeom>
                  <a:avLst/>
                  <a:gdLst>
                    <a:gd name="connsiteX0" fmla="*/ 1065 w 26738"/>
                    <a:gd name="connsiteY0" fmla="*/ 18721 h 26587"/>
                    <a:gd name="connsiteX1" fmla="*/ 8040 w 26738"/>
                    <a:gd name="connsiteY1" fmla="*/ 1159 h 26587"/>
                    <a:gd name="connsiteX2" fmla="*/ 25603 w 26738"/>
                    <a:gd name="connsiteY2" fmla="*/ 7885 h 26587"/>
                    <a:gd name="connsiteX3" fmla="*/ 18628 w 26738"/>
                    <a:gd name="connsiteY3" fmla="*/ 25448 h 26587"/>
                    <a:gd name="connsiteX4" fmla="*/ 1065 w 26738"/>
                    <a:gd name="connsiteY4" fmla="*/ 1872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87">
                      <a:moveTo>
                        <a:pt x="1065" y="18721"/>
                      </a:moveTo>
                      <a:cubicBezTo>
                        <a:pt x="-1800" y="11995"/>
                        <a:pt x="1314" y="4148"/>
                        <a:pt x="8040" y="1159"/>
                      </a:cubicBezTo>
                      <a:cubicBezTo>
                        <a:pt x="14766" y="-1831"/>
                        <a:pt x="22738" y="1159"/>
                        <a:pt x="25603" y="7885"/>
                      </a:cubicBezTo>
                      <a:cubicBezTo>
                        <a:pt x="28592" y="14611"/>
                        <a:pt x="25478" y="22458"/>
                        <a:pt x="18628" y="25448"/>
                      </a:cubicBezTo>
                      <a:cubicBezTo>
                        <a:pt x="11901" y="28437"/>
                        <a:pt x="3930" y="25323"/>
                        <a:pt x="106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1" name="Freeform 6982">
                  <a:extLst>
                    <a:ext uri="{FF2B5EF4-FFF2-40B4-BE49-F238E27FC236}">
                      <a16:creationId xmlns:a16="http://schemas.microsoft.com/office/drawing/2014/main" id="{39D1368F-B348-FFCA-BF4F-7E78F86BFF73}"/>
                    </a:ext>
                  </a:extLst>
                </p:cNvPr>
                <p:cNvSpPr/>
                <p:nvPr/>
              </p:nvSpPr>
              <p:spPr>
                <a:xfrm>
                  <a:off x="9632667" y="1238925"/>
                  <a:ext cx="20302" cy="48079"/>
                </a:xfrm>
                <a:custGeom>
                  <a:avLst/>
                  <a:gdLst>
                    <a:gd name="connsiteX0" fmla="*/ 0 w 20302"/>
                    <a:gd name="connsiteY0" fmla="*/ 0 h 48079"/>
                    <a:gd name="connsiteX1" fmla="*/ 5730 w 20302"/>
                    <a:gd name="connsiteY1" fmla="*/ 17936 h 48079"/>
                    <a:gd name="connsiteX2" fmla="*/ 15694 w 20302"/>
                    <a:gd name="connsiteY2" fmla="*/ 32260 h 48079"/>
                    <a:gd name="connsiteX3" fmla="*/ 20303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0" y="0"/>
                      </a:moveTo>
                      <a:cubicBezTo>
                        <a:pt x="997" y="8345"/>
                        <a:pt x="3488" y="14200"/>
                        <a:pt x="5730" y="17936"/>
                      </a:cubicBezTo>
                      <a:cubicBezTo>
                        <a:pt x="9218" y="24040"/>
                        <a:pt x="12332" y="25908"/>
                        <a:pt x="15694" y="32260"/>
                      </a:cubicBezTo>
                      <a:cubicBezTo>
                        <a:pt x="18933" y="38364"/>
                        <a:pt x="19930" y="44218"/>
                        <a:pt x="20303"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2" name="Freeform 6983">
                  <a:extLst>
                    <a:ext uri="{FF2B5EF4-FFF2-40B4-BE49-F238E27FC236}">
                      <a16:creationId xmlns:a16="http://schemas.microsoft.com/office/drawing/2014/main" id="{85F9FBB0-0615-1220-484B-02F8EEAE3441}"/>
                    </a:ext>
                  </a:extLst>
                </p:cNvPr>
                <p:cNvSpPr/>
                <p:nvPr/>
              </p:nvSpPr>
              <p:spPr>
                <a:xfrm>
                  <a:off x="9637027" y="1231451"/>
                  <a:ext cx="21672" cy="47456"/>
                </a:xfrm>
                <a:custGeom>
                  <a:avLst/>
                  <a:gdLst>
                    <a:gd name="connsiteX0" fmla="*/ 21673 w 21672"/>
                    <a:gd name="connsiteY0" fmla="*/ 47456 h 47456"/>
                    <a:gd name="connsiteX1" fmla="*/ 12331 w 21672"/>
                    <a:gd name="connsiteY1" fmla="*/ 31139 h 47456"/>
                    <a:gd name="connsiteX2" fmla="*/ 8595 w 21672"/>
                    <a:gd name="connsiteY2" fmla="*/ 14075 h 47456"/>
                    <a:gd name="connsiteX3" fmla="*/ 0 w 21672"/>
                    <a:gd name="connsiteY3" fmla="*/ 0 h 47456"/>
                  </a:gdLst>
                  <a:ahLst/>
                  <a:cxnLst>
                    <a:cxn ang="0">
                      <a:pos x="connsiteX0" y="connsiteY0"/>
                    </a:cxn>
                    <a:cxn ang="0">
                      <a:pos x="connsiteX1" y="connsiteY1"/>
                    </a:cxn>
                    <a:cxn ang="0">
                      <a:pos x="connsiteX2" y="connsiteY2"/>
                    </a:cxn>
                    <a:cxn ang="0">
                      <a:pos x="connsiteX3" y="connsiteY3"/>
                    </a:cxn>
                  </a:cxnLst>
                  <a:rect l="l" t="t" r="r" b="b"/>
                  <a:pathLst>
                    <a:path w="21672" h="47456">
                      <a:moveTo>
                        <a:pt x="21673" y="47456"/>
                      </a:moveTo>
                      <a:cubicBezTo>
                        <a:pt x="16192" y="41104"/>
                        <a:pt x="13701" y="35250"/>
                        <a:pt x="12331" y="31139"/>
                      </a:cubicBezTo>
                      <a:cubicBezTo>
                        <a:pt x="10214" y="24413"/>
                        <a:pt x="10961" y="20801"/>
                        <a:pt x="8595" y="14075"/>
                      </a:cubicBezTo>
                      <a:cubicBezTo>
                        <a:pt x="6228" y="7598"/>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3" name="Freeform 6984">
                  <a:extLst>
                    <a:ext uri="{FF2B5EF4-FFF2-40B4-BE49-F238E27FC236}">
                      <a16:creationId xmlns:a16="http://schemas.microsoft.com/office/drawing/2014/main" id="{F7722555-3DF3-ACAE-299F-DE7E87D2EC59}"/>
                    </a:ext>
                  </a:extLst>
                </p:cNvPr>
                <p:cNvSpPr/>
                <p:nvPr/>
              </p:nvSpPr>
              <p:spPr>
                <a:xfrm>
                  <a:off x="9620119" y="1217733"/>
                  <a:ext cx="26165" cy="26564"/>
                </a:xfrm>
                <a:custGeom>
                  <a:avLst/>
                  <a:gdLst>
                    <a:gd name="connsiteX0" fmla="*/ 25004 w 26165"/>
                    <a:gd name="connsiteY0" fmla="*/ 7988 h 26564"/>
                    <a:gd name="connsiteX1" fmla="*/ 18403 w 26165"/>
                    <a:gd name="connsiteY1" fmla="*/ 25427 h 26564"/>
                    <a:gd name="connsiteX2" fmla="*/ 1089 w 26165"/>
                    <a:gd name="connsiteY2" fmla="*/ 18576 h 26564"/>
                    <a:gd name="connsiteX3" fmla="*/ 7691 w 26165"/>
                    <a:gd name="connsiteY3" fmla="*/ 1138 h 26564"/>
                    <a:gd name="connsiteX4" fmla="*/ 25004 w 26165"/>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5" h="26563">
                      <a:moveTo>
                        <a:pt x="25004" y="7988"/>
                      </a:moveTo>
                      <a:cubicBezTo>
                        <a:pt x="27994" y="14715"/>
                        <a:pt x="25004" y="22437"/>
                        <a:pt x="18403" y="25427"/>
                      </a:cubicBezTo>
                      <a:cubicBezTo>
                        <a:pt x="11801" y="28416"/>
                        <a:pt x="3953" y="25302"/>
                        <a:pt x="1089" y="18576"/>
                      </a:cubicBezTo>
                      <a:cubicBezTo>
                        <a:pt x="-1776" y="11850"/>
                        <a:pt x="1214" y="4003"/>
                        <a:pt x="7691" y="1138"/>
                      </a:cubicBezTo>
                      <a:cubicBezTo>
                        <a:pt x="14292" y="-1852"/>
                        <a:pt x="22014" y="1262"/>
                        <a:pt x="25004"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5" name="Graphic 2987">
                <a:extLst>
                  <a:ext uri="{FF2B5EF4-FFF2-40B4-BE49-F238E27FC236}">
                    <a16:creationId xmlns:a16="http://schemas.microsoft.com/office/drawing/2014/main" id="{AFC5B97A-BFB6-BF4E-E12A-24C12AA18FE1}"/>
                  </a:ext>
                </a:extLst>
              </p:cNvPr>
              <p:cNvGrpSpPr/>
              <p:nvPr/>
            </p:nvGrpSpPr>
            <p:grpSpPr>
              <a:xfrm>
                <a:off x="9593341" y="1229566"/>
                <a:ext cx="74943" cy="138936"/>
                <a:chOff x="9593341" y="1229566"/>
                <a:chExt cx="74943" cy="138936"/>
              </a:xfrm>
              <a:grpFill/>
            </p:grpSpPr>
            <p:sp>
              <p:nvSpPr>
                <p:cNvPr id="7062" name="Freeform 6986">
                  <a:extLst>
                    <a:ext uri="{FF2B5EF4-FFF2-40B4-BE49-F238E27FC236}">
                      <a16:creationId xmlns:a16="http://schemas.microsoft.com/office/drawing/2014/main" id="{9813C3D5-6CDD-88EC-83A9-03429737B91B}"/>
                    </a:ext>
                  </a:extLst>
                </p:cNvPr>
                <p:cNvSpPr/>
                <p:nvPr/>
              </p:nvSpPr>
              <p:spPr>
                <a:xfrm>
                  <a:off x="9635283" y="1298961"/>
                  <a:ext cx="20053" cy="48203"/>
                </a:xfrm>
                <a:custGeom>
                  <a:avLst/>
                  <a:gdLst>
                    <a:gd name="connsiteX0" fmla="*/ 20054 w 20053"/>
                    <a:gd name="connsiteY0" fmla="*/ 48204 h 48203"/>
                    <a:gd name="connsiteX1" fmla="*/ 14448 w 20053"/>
                    <a:gd name="connsiteY1" fmla="*/ 30268 h 48203"/>
                    <a:gd name="connsiteX2" fmla="*/ 4484 w 20053"/>
                    <a:gd name="connsiteY2" fmla="*/ 15943 h 48203"/>
                    <a:gd name="connsiteX3" fmla="*/ 0 w 20053"/>
                    <a:gd name="connsiteY3" fmla="*/ 0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48204"/>
                      </a:moveTo>
                      <a:cubicBezTo>
                        <a:pt x="19182" y="39858"/>
                        <a:pt x="16566" y="34004"/>
                        <a:pt x="14448" y="30268"/>
                      </a:cubicBezTo>
                      <a:cubicBezTo>
                        <a:pt x="10961" y="24164"/>
                        <a:pt x="7847" y="22296"/>
                        <a:pt x="4484" y="15943"/>
                      </a:cubicBezTo>
                      <a:cubicBezTo>
                        <a:pt x="1245" y="9840"/>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3" name="Freeform 6987">
                  <a:extLst>
                    <a:ext uri="{FF2B5EF4-FFF2-40B4-BE49-F238E27FC236}">
                      <a16:creationId xmlns:a16="http://schemas.microsoft.com/office/drawing/2014/main" id="{FB9F3590-3950-B614-4513-2F48B7962886}"/>
                    </a:ext>
                  </a:extLst>
                </p:cNvPr>
                <p:cNvSpPr/>
                <p:nvPr/>
              </p:nvSpPr>
              <p:spPr>
                <a:xfrm>
                  <a:off x="9629553" y="1307058"/>
                  <a:ext cx="21299" cy="47581"/>
                </a:xfrm>
                <a:custGeom>
                  <a:avLst/>
                  <a:gdLst>
                    <a:gd name="connsiteX0" fmla="*/ 0 w 21299"/>
                    <a:gd name="connsiteY0" fmla="*/ 0 h 47581"/>
                    <a:gd name="connsiteX1" fmla="*/ 9218 w 21299"/>
                    <a:gd name="connsiteY1" fmla="*/ 16317 h 47581"/>
                    <a:gd name="connsiteX2" fmla="*/ 12830 w 21299"/>
                    <a:gd name="connsiteY2" fmla="*/ 33381 h 47581"/>
                    <a:gd name="connsiteX3" fmla="*/ 21300 w 21299"/>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299" h="47581">
                      <a:moveTo>
                        <a:pt x="0" y="0"/>
                      </a:moveTo>
                      <a:cubicBezTo>
                        <a:pt x="5481" y="6352"/>
                        <a:pt x="7972" y="12207"/>
                        <a:pt x="9218" y="16317"/>
                      </a:cubicBezTo>
                      <a:cubicBezTo>
                        <a:pt x="11210" y="23043"/>
                        <a:pt x="10463" y="26655"/>
                        <a:pt x="12830" y="33381"/>
                      </a:cubicBezTo>
                      <a:cubicBezTo>
                        <a:pt x="15072" y="39858"/>
                        <a:pt x="18684" y="44592"/>
                        <a:pt x="2130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4" name="Freeform 6988">
                  <a:extLst>
                    <a:ext uri="{FF2B5EF4-FFF2-40B4-BE49-F238E27FC236}">
                      <a16:creationId xmlns:a16="http://schemas.microsoft.com/office/drawing/2014/main" id="{5D380BFA-CEEA-4655-5725-A8A6E527FD73}"/>
                    </a:ext>
                  </a:extLst>
                </p:cNvPr>
                <p:cNvSpPr/>
                <p:nvPr/>
              </p:nvSpPr>
              <p:spPr>
                <a:xfrm>
                  <a:off x="9641445" y="1341896"/>
                  <a:ext cx="26840" cy="26606"/>
                </a:xfrm>
                <a:custGeom>
                  <a:avLst/>
                  <a:gdLst>
                    <a:gd name="connsiteX0" fmla="*/ 1063 w 26840"/>
                    <a:gd name="connsiteY0" fmla="*/ 18721 h 26606"/>
                    <a:gd name="connsiteX1" fmla="*/ 8163 w 26840"/>
                    <a:gd name="connsiteY1" fmla="*/ 1159 h 26606"/>
                    <a:gd name="connsiteX2" fmla="*/ 25725 w 26840"/>
                    <a:gd name="connsiteY2" fmla="*/ 7885 h 26606"/>
                    <a:gd name="connsiteX3" fmla="*/ 18625 w 26840"/>
                    <a:gd name="connsiteY3" fmla="*/ 25448 h 26606"/>
                    <a:gd name="connsiteX4" fmla="*/ 1063 w 26840"/>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0" h="26606">
                      <a:moveTo>
                        <a:pt x="1063" y="18721"/>
                      </a:moveTo>
                      <a:cubicBezTo>
                        <a:pt x="-1802" y="11995"/>
                        <a:pt x="1312" y="4148"/>
                        <a:pt x="8163" y="1159"/>
                      </a:cubicBezTo>
                      <a:cubicBezTo>
                        <a:pt x="14889" y="-1831"/>
                        <a:pt x="22736" y="1159"/>
                        <a:pt x="25725" y="7885"/>
                      </a:cubicBezTo>
                      <a:cubicBezTo>
                        <a:pt x="28714" y="14611"/>
                        <a:pt x="25476" y="22458"/>
                        <a:pt x="18625" y="25448"/>
                      </a:cubicBezTo>
                      <a:cubicBezTo>
                        <a:pt x="11899" y="28437"/>
                        <a:pt x="3928" y="25448"/>
                        <a:pt x="1063"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5" name="Freeform 6989">
                  <a:extLst>
                    <a:ext uri="{FF2B5EF4-FFF2-40B4-BE49-F238E27FC236}">
                      <a16:creationId xmlns:a16="http://schemas.microsoft.com/office/drawing/2014/main" id="{2E07CCDD-B173-E406-FCC8-3DAE92D8E50C}"/>
                    </a:ext>
                  </a:extLst>
                </p:cNvPr>
                <p:cNvSpPr/>
                <p:nvPr/>
              </p:nvSpPr>
              <p:spPr>
                <a:xfrm>
                  <a:off x="9605888" y="1250758"/>
                  <a:ext cx="19928" cy="48203"/>
                </a:xfrm>
                <a:custGeom>
                  <a:avLst/>
                  <a:gdLst>
                    <a:gd name="connsiteX0" fmla="*/ 0 w 19928"/>
                    <a:gd name="connsiteY0" fmla="*/ 0 h 48203"/>
                    <a:gd name="connsiteX1" fmla="*/ 5605 w 19928"/>
                    <a:gd name="connsiteY1" fmla="*/ 17936 h 48203"/>
                    <a:gd name="connsiteX2" fmla="*/ 15445 w 19928"/>
                    <a:gd name="connsiteY2" fmla="*/ 32260 h 48203"/>
                    <a:gd name="connsiteX3" fmla="*/ 19929 w 19928"/>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8" h="48203">
                      <a:moveTo>
                        <a:pt x="0" y="0"/>
                      </a:moveTo>
                      <a:cubicBezTo>
                        <a:pt x="997" y="8345"/>
                        <a:pt x="3487" y="14200"/>
                        <a:pt x="5605" y="17936"/>
                      </a:cubicBezTo>
                      <a:cubicBezTo>
                        <a:pt x="9092" y="24040"/>
                        <a:pt x="12206" y="25908"/>
                        <a:pt x="15445" y="32260"/>
                      </a:cubicBezTo>
                      <a:cubicBezTo>
                        <a:pt x="18684" y="38364"/>
                        <a:pt x="19556" y="44218"/>
                        <a:pt x="19929"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6" name="Freeform 6990">
                  <a:extLst>
                    <a:ext uri="{FF2B5EF4-FFF2-40B4-BE49-F238E27FC236}">
                      <a16:creationId xmlns:a16="http://schemas.microsoft.com/office/drawing/2014/main" id="{1A4507E0-6B96-BD66-0C36-66A9F96BA6A0}"/>
                    </a:ext>
                  </a:extLst>
                </p:cNvPr>
                <p:cNvSpPr/>
                <p:nvPr/>
              </p:nvSpPr>
              <p:spPr>
                <a:xfrm>
                  <a:off x="9610247" y="1243284"/>
                  <a:ext cx="21299" cy="47581"/>
                </a:xfrm>
                <a:custGeom>
                  <a:avLst/>
                  <a:gdLst>
                    <a:gd name="connsiteX0" fmla="*/ 21300 w 21299"/>
                    <a:gd name="connsiteY0" fmla="*/ 47581 h 47581"/>
                    <a:gd name="connsiteX1" fmla="*/ 12082 w 21299"/>
                    <a:gd name="connsiteY1" fmla="*/ 31264 h 47581"/>
                    <a:gd name="connsiteX2" fmla="*/ 8470 w 21299"/>
                    <a:gd name="connsiteY2" fmla="*/ 14200 h 47581"/>
                    <a:gd name="connsiteX3" fmla="*/ 0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21300" y="47581"/>
                      </a:moveTo>
                      <a:cubicBezTo>
                        <a:pt x="15819" y="41229"/>
                        <a:pt x="13328" y="35374"/>
                        <a:pt x="12082" y="31264"/>
                      </a:cubicBezTo>
                      <a:cubicBezTo>
                        <a:pt x="10089" y="24538"/>
                        <a:pt x="10712" y="20926"/>
                        <a:pt x="8470" y="14200"/>
                      </a:cubicBezTo>
                      <a:cubicBezTo>
                        <a:pt x="6228"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7" name="Freeform 6991">
                  <a:extLst>
                    <a:ext uri="{FF2B5EF4-FFF2-40B4-BE49-F238E27FC236}">
                      <a16:creationId xmlns:a16="http://schemas.microsoft.com/office/drawing/2014/main" id="{75093402-B137-52DA-ED37-5315775AE52B}"/>
                    </a:ext>
                  </a:extLst>
                </p:cNvPr>
                <p:cNvSpPr/>
                <p:nvPr/>
              </p:nvSpPr>
              <p:spPr>
                <a:xfrm>
                  <a:off x="9593341" y="1229566"/>
                  <a:ext cx="26088" cy="26511"/>
                </a:xfrm>
                <a:custGeom>
                  <a:avLst/>
                  <a:gdLst>
                    <a:gd name="connsiteX0" fmla="*/ 25002 w 26088"/>
                    <a:gd name="connsiteY0" fmla="*/ 7988 h 26511"/>
                    <a:gd name="connsiteX1" fmla="*/ 18275 w 26088"/>
                    <a:gd name="connsiteY1" fmla="*/ 25427 h 26511"/>
                    <a:gd name="connsiteX2" fmla="*/ 1087 w 26088"/>
                    <a:gd name="connsiteY2" fmla="*/ 18576 h 26511"/>
                    <a:gd name="connsiteX3" fmla="*/ 7813 w 26088"/>
                    <a:gd name="connsiteY3" fmla="*/ 1138 h 26511"/>
                    <a:gd name="connsiteX4" fmla="*/ 25002 w 26088"/>
                    <a:gd name="connsiteY4" fmla="*/ 7988 h 26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8" h="26511">
                      <a:moveTo>
                        <a:pt x="25002" y="7988"/>
                      </a:moveTo>
                      <a:cubicBezTo>
                        <a:pt x="27867" y="14715"/>
                        <a:pt x="24877" y="22562"/>
                        <a:pt x="18275" y="25427"/>
                      </a:cubicBezTo>
                      <a:cubicBezTo>
                        <a:pt x="11674" y="28291"/>
                        <a:pt x="3952" y="25302"/>
                        <a:pt x="1087" y="18576"/>
                      </a:cubicBezTo>
                      <a:cubicBezTo>
                        <a:pt x="-1778" y="11850"/>
                        <a:pt x="1211" y="4003"/>
                        <a:pt x="7813" y="1138"/>
                      </a:cubicBezTo>
                      <a:cubicBezTo>
                        <a:pt x="14290" y="-1852"/>
                        <a:pt x="22013" y="1262"/>
                        <a:pt x="25002"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6" name="Graphic 2987">
                <a:extLst>
                  <a:ext uri="{FF2B5EF4-FFF2-40B4-BE49-F238E27FC236}">
                    <a16:creationId xmlns:a16="http://schemas.microsoft.com/office/drawing/2014/main" id="{A5344803-1AD5-5FE1-CA8E-71D28E207000}"/>
                  </a:ext>
                </a:extLst>
              </p:cNvPr>
              <p:cNvGrpSpPr/>
              <p:nvPr/>
            </p:nvGrpSpPr>
            <p:grpSpPr>
              <a:xfrm>
                <a:off x="9566457" y="1241380"/>
                <a:ext cx="74248" cy="139307"/>
                <a:chOff x="9566457" y="1241380"/>
                <a:chExt cx="74248" cy="139307"/>
              </a:xfrm>
              <a:grpFill/>
            </p:grpSpPr>
            <p:sp>
              <p:nvSpPr>
                <p:cNvPr id="7056" name="Freeform 6993">
                  <a:extLst>
                    <a:ext uri="{FF2B5EF4-FFF2-40B4-BE49-F238E27FC236}">
                      <a16:creationId xmlns:a16="http://schemas.microsoft.com/office/drawing/2014/main" id="{3E61BC91-39CF-EDE4-C507-EDFC28CE2139}"/>
                    </a:ext>
                  </a:extLst>
                </p:cNvPr>
                <p:cNvSpPr/>
                <p:nvPr/>
              </p:nvSpPr>
              <p:spPr>
                <a:xfrm>
                  <a:off x="9608130" y="1310919"/>
                  <a:ext cx="19804" cy="48328"/>
                </a:xfrm>
                <a:custGeom>
                  <a:avLst/>
                  <a:gdLst>
                    <a:gd name="connsiteX0" fmla="*/ 19804 w 19804"/>
                    <a:gd name="connsiteY0" fmla="*/ 48328 h 48328"/>
                    <a:gd name="connsiteX1" fmla="*/ 14324 w 19804"/>
                    <a:gd name="connsiteY1" fmla="*/ 30268 h 48328"/>
                    <a:gd name="connsiteX2" fmla="*/ 4484 w 19804"/>
                    <a:gd name="connsiteY2" fmla="*/ 15943 h 48328"/>
                    <a:gd name="connsiteX3" fmla="*/ 0 w 19804"/>
                    <a:gd name="connsiteY3" fmla="*/ 0 h 48328"/>
                  </a:gdLst>
                  <a:ahLst/>
                  <a:cxnLst>
                    <a:cxn ang="0">
                      <a:pos x="connsiteX0" y="connsiteY0"/>
                    </a:cxn>
                    <a:cxn ang="0">
                      <a:pos x="connsiteX1" y="connsiteY1"/>
                    </a:cxn>
                    <a:cxn ang="0">
                      <a:pos x="connsiteX2" y="connsiteY2"/>
                    </a:cxn>
                    <a:cxn ang="0">
                      <a:pos x="connsiteX3" y="connsiteY3"/>
                    </a:cxn>
                  </a:cxnLst>
                  <a:rect l="l" t="t" r="r" b="b"/>
                  <a:pathLst>
                    <a:path w="19804" h="48328">
                      <a:moveTo>
                        <a:pt x="19804" y="48328"/>
                      </a:moveTo>
                      <a:cubicBezTo>
                        <a:pt x="18933" y="39858"/>
                        <a:pt x="16442" y="34129"/>
                        <a:pt x="14324" y="30268"/>
                      </a:cubicBezTo>
                      <a:cubicBezTo>
                        <a:pt x="10836" y="24164"/>
                        <a:pt x="7723" y="22296"/>
                        <a:pt x="4484" y="15943"/>
                      </a:cubicBezTo>
                      <a:cubicBezTo>
                        <a:pt x="1370"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7" name="Freeform 6994">
                  <a:extLst>
                    <a:ext uri="{FF2B5EF4-FFF2-40B4-BE49-F238E27FC236}">
                      <a16:creationId xmlns:a16="http://schemas.microsoft.com/office/drawing/2014/main" id="{F2D6BBA6-7BF3-D501-B609-4A9803E502DB}"/>
                    </a:ext>
                  </a:extLst>
                </p:cNvPr>
                <p:cNvSpPr/>
                <p:nvPr/>
              </p:nvSpPr>
              <p:spPr>
                <a:xfrm>
                  <a:off x="9602400" y="1319015"/>
                  <a:ext cx="20925" cy="47705"/>
                </a:xfrm>
                <a:custGeom>
                  <a:avLst/>
                  <a:gdLst>
                    <a:gd name="connsiteX0" fmla="*/ 0 w 20925"/>
                    <a:gd name="connsiteY0" fmla="*/ 0 h 47705"/>
                    <a:gd name="connsiteX1" fmla="*/ 9093 w 20925"/>
                    <a:gd name="connsiteY1" fmla="*/ 16442 h 47705"/>
                    <a:gd name="connsiteX2" fmla="*/ 12580 w 20925"/>
                    <a:gd name="connsiteY2" fmla="*/ 33506 h 47705"/>
                    <a:gd name="connsiteX3" fmla="*/ 20926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0" y="0"/>
                      </a:moveTo>
                      <a:cubicBezTo>
                        <a:pt x="5356" y="6352"/>
                        <a:pt x="7847" y="12207"/>
                        <a:pt x="9093" y="16442"/>
                      </a:cubicBezTo>
                      <a:cubicBezTo>
                        <a:pt x="11086" y="23168"/>
                        <a:pt x="10339" y="26780"/>
                        <a:pt x="12580" y="33506"/>
                      </a:cubicBezTo>
                      <a:cubicBezTo>
                        <a:pt x="14822" y="40108"/>
                        <a:pt x="18310" y="44716"/>
                        <a:pt x="20926"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8" name="Freeform 6995">
                  <a:extLst>
                    <a:ext uri="{FF2B5EF4-FFF2-40B4-BE49-F238E27FC236}">
                      <a16:creationId xmlns:a16="http://schemas.microsoft.com/office/drawing/2014/main" id="{FAF608DA-A510-B04B-1572-5541483E1769}"/>
                    </a:ext>
                  </a:extLst>
                </p:cNvPr>
                <p:cNvSpPr/>
                <p:nvPr/>
              </p:nvSpPr>
              <p:spPr>
                <a:xfrm>
                  <a:off x="9614060" y="1353978"/>
                  <a:ext cx="26645" cy="26709"/>
                </a:xfrm>
                <a:custGeom>
                  <a:avLst/>
                  <a:gdLst>
                    <a:gd name="connsiteX0" fmla="*/ 1045 w 26645"/>
                    <a:gd name="connsiteY0" fmla="*/ 18721 h 26709"/>
                    <a:gd name="connsiteX1" fmla="*/ 8145 w 26645"/>
                    <a:gd name="connsiteY1" fmla="*/ 1159 h 26709"/>
                    <a:gd name="connsiteX2" fmla="*/ 25583 w 26645"/>
                    <a:gd name="connsiteY2" fmla="*/ 7885 h 26709"/>
                    <a:gd name="connsiteX3" fmla="*/ 18484 w 26645"/>
                    <a:gd name="connsiteY3" fmla="*/ 25572 h 26709"/>
                    <a:gd name="connsiteX4" fmla="*/ 1045 w 26645"/>
                    <a:gd name="connsiteY4" fmla="*/ 18721 h 26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5" h="26709">
                      <a:moveTo>
                        <a:pt x="1045" y="18721"/>
                      </a:moveTo>
                      <a:cubicBezTo>
                        <a:pt x="-1819" y="11995"/>
                        <a:pt x="1418" y="4024"/>
                        <a:pt x="8145" y="1159"/>
                      </a:cubicBezTo>
                      <a:cubicBezTo>
                        <a:pt x="14871" y="-1831"/>
                        <a:pt x="22718" y="1159"/>
                        <a:pt x="25583" y="7885"/>
                      </a:cubicBezTo>
                      <a:cubicBezTo>
                        <a:pt x="28448" y="14611"/>
                        <a:pt x="25334" y="22458"/>
                        <a:pt x="18484" y="25572"/>
                      </a:cubicBezTo>
                      <a:cubicBezTo>
                        <a:pt x="11632" y="28561"/>
                        <a:pt x="3910" y="25448"/>
                        <a:pt x="104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9" name="Freeform 6996">
                  <a:extLst>
                    <a:ext uri="{FF2B5EF4-FFF2-40B4-BE49-F238E27FC236}">
                      <a16:creationId xmlns:a16="http://schemas.microsoft.com/office/drawing/2014/main" id="{FB031941-EFAB-3E8E-18EE-8611DED5B731}"/>
                    </a:ext>
                  </a:extLst>
                </p:cNvPr>
                <p:cNvSpPr/>
                <p:nvPr/>
              </p:nvSpPr>
              <p:spPr>
                <a:xfrm>
                  <a:off x="9578983" y="1262591"/>
                  <a:ext cx="19555" cy="48328"/>
                </a:xfrm>
                <a:custGeom>
                  <a:avLst/>
                  <a:gdLst>
                    <a:gd name="connsiteX0" fmla="*/ 0 w 19555"/>
                    <a:gd name="connsiteY0" fmla="*/ 0 h 48328"/>
                    <a:gd name="connsiteX1" fmla="*/ 5481 w 19555"/>
                    <a:gd name="connsiteY1" fmla="*/ 18061 h 48328"/>
                    <a:gd name="connsiteX2" fmla="*/ 15196 w 19555"/>
                    <a:gd name="connsiteY2" fmla="*/ 32385 h 48328"/>
                    <a:gd name="connsiteX3" fmla="*/ 19556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0" y="0"/>
                      </a:moveTo>
                      <a:cubicBezTo>
                        <a:pt x="872" y="8345"/>
                        <a:pt x="3363" y="14200"/>
                        <a:pt x="5481" y="18061"/>
                      </a:cubicBezTo>
                      <a:cubicBezTo>
                        <a:pt x="8844" y="24164"/>
                        <a:pt x="12082" y="26157"/>
                        <a:pt x="15196" y="32385"/>
                      </a:cubicBezTo>
                      <a:cubicBezTo>
                        <a:pt x="18310" y="38488"/>
                        <a:pt x="19307" y="44343"/>
                        <a:pt x="19556"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0" name="Freeform 6997">
                  <a:extLst>
                    <a:ext uri="{FF2B5EF4-FFF2-40B4-BE49-F238E27FC236}">
                      <a16:creationId xmlns:a16="http://schemas.microsoft.com/office/drawing/2014/main" id="{2636AA86-4EDD-B27E-CA0E-CAA6137F3F37}"/>
                    </a:ext>
                  </a:extLst>
                </p:cNvPr>
                <p:cNvSpPr/>
                <p:nvPr/>
              </p:nvSpPr>
              <p:spPr>
                <a:xfrm>
                  <a:off x="9583467" y="1255117"/>
                  <a:ext cx="21050" cy="47705"/>
                </a:xfrm>
                <a:custGeom>
                  <a:avLst/>
                  <a:gdLst>
                    <a:gd name="connsiteX0" fmla="*/ 21050 w 21050"/>
                    <a:gd name="connsiteY0" fmla="*/ 47706 h 47705"/>
                    <a:gd name="connsiteX1" fmla="*/ 11957 w 21050"/>
                    <a:gd name="connsiteY1" fmla="*/ 31264 h 47705"/>
                    <a:gd name="connsiteX2" fmla="*/ 8345 w 21050"/>
                    <a:gd name="connsiteY2" fmla="*/ 14200 h 47705"/>
                    <a:gd name="connsiteX3" fmla="*/ 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47706"/>
                      </a:moveTo>
                      <a:cubicBezTo>
                        <a:pt x="15694" y="41353"/>
                        <a:pt x="13203" y="35499"/>
                        <a:pt x="11957" y="31264"/>
                      </a:cubicBezTo>
                      <a:cubicBezTo>
                        <a:pt x="9964" y="24538"/>
                        <a:pt x="10712" y="20926"/>
                        <a:pt x="8345" y="14200"/>
                      </a:cubicBezTo>
                      <a:cubicBezTo>
                        <a:pt x="6103" y="7723"/>
                        <a:pt x="2615"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1" name="Freeform 6998">
                  <a:extLst>
                    <a:ext uri="{FF2B5EF4-FFF2-40B4-BE49-F238E27FC236}">
                      <a16:creationId xmlns:a16="http://schemas.microsoft.com/office/drawing/2014/main" id="{D32D3639-915A-7950-BB5D-EB6201BA910F}"/>
                    </a:ext>
                  </a:extLst>
                </p:cNvPr>
                <p:cNvSpPr/>
                <p:nvPr/>
              </p:nvSpPr>
              <p:spPr>
                <a:xfrm>
                  <a:off x="9566457" y="1241380"/>
                  <a:ext cx="26191" cy="26529"/>
                </a:xfrm>
                <a:custGeom>
                  <a:avLst/>
                  <a:gdLst>
                    <a:gd name="connsiteX0" fmla="*/ 25106 w 26191"/>
                    <a:gd name="connsiteY0" fmla="*/ 8007 h 26529"/>
                    <a:gd name="connsiteX1" fmla="*/ 18256 w 26191"/>
                    <a:gd name="connsiteY1" fmla="*/ 25445 h 26529"/>
                    <a:gd name="connsiteX2" fmla="*/ 1067 w 26191"/>
                    <a:gd name="connsiteY2" fmla="*/ 18595 h 26529"/>
                    <a:gd name="connsiteX3" fmla="*/ 7917 w 26191"/>
                    <a:gd name="connsiteY3" fmla="*/ 1157 h 26529"/>
                    <a:gd name="connsiteX4" fmla="*/ 25106 w 26191"/>
                    <a:gd name="connsiteY4" fmla="*/ 8007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29">
                      <a:moveTo>
                        <a:pt x="25106" y="8007"/>
                      </a:moveTo>
                      <a:cubicBezTo>
                        <a:pt x="27971" y="14733"/>
                        <a:pt x="24981" y="22580"/>
                        <a:pt x="18256" y="25445"/>
                      </a:cubicBezTo>
                      <a:cubicBezTo>
                        <a:pt x="11530" y="28310"/>
                        <a:pt x="3931" y="25321"/>
                        <a:pt x="1067" y="18595"/>
                      </a:cubicBezTo>
                      <a:cubicBezTo>
                        <a:pt x="-1798" y="11868"/>
                        <a:pt x="1316" y="4021"/>
                        <a:pt x="7917" y="1157"/>
                      </a:cubicBezTo>
                      <a:cubicBezTo>
                        <a:pt x="14519" y="-1833"/>
                        <a:pt x="22241" y="1157"/>
                        <a:pt x="25106" y="8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7" name="Graphic 2987">
                <a:extLst>
                  <a:ext uri="{FF2B5EF4-FFF2-40B4-BE49-F238E27FC236}">
                    <a16:creationId xmlns:a16="http://schemas.microsoft.com/office/drawing/2014/main" id="{CBC8AA27-2F89-7FC2-6BAB-3BB268015788}"/>
                  </a:ext>
                </a:extLst>
              </p:cNvPr>
              <p:cNvGrpSpPr/>
              <p:nvPr/>
            </p:nvGrpSpPr>
            <p:grpSpPr>
              <a:xfrm>
                <a:off x="9539627" y="1253163"/>
                <a:ext cx="73656" cy="139442"/>
                <a:chOff x="9539627" y="1253163"/>
                <a:chExt cx="73656" cy="139442"/>
              </a:xfrm>
              <a:grpFill/>
            </p:grpSpPr>
            <p:sp>
              <p:nvSpPr>
                <p:cNvPr id="7050" name="Freeform 7000">
                  <a:extLst>
                    <a:ext uri="{FF2B5EF4-FFF2-40B4-BE49-F238E27FC236}">
                      <a16:creationId xmlns:a16="http://schemas.microsoft.com/office/drawing/2014/main" id="{89A156F2-98BE-2EDC-A842-858AD994E87C}"/>
                    </a:ext>
                  </a:extLst>
                </p:cNvPr>
                <p:cNvSpPr/>
                <p:nvPr/>
              </p:nvSpPr>
              <p:spPr>
                <a:xfrm>
                  <a:off x="9581101" y="1323126"/>
                  <a:ext cx="19430" cy="48328"/>
                </a:xfrm>
                <a:custGeom>
                  <a:avLst/>
                  <a:gdLst>
                    <a:gd name="connsiteX0" fmla="*/ 19431 w 19430"/>
                    <a:gd name="connsiteY0" fmla="*/ 48328 h 48328"/>
                    <a:gd name="connsiteX1" fmla="*/ 14075 w 19430"/>
                    <a:gd name="connsiteY1" fmla="*/ 30268 h 48328"/>
                    <a:gd name="connsiteX2" fmla="*/ 4359 w 19430"/>
                    <a:gd name="connsiteY2" fmla="*/ 15943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8684" y="39858"/>
                        <a:pt x="16192" y="34004"/>
                        <a:pt x="14075" y="30268"/>
                      </a:cubicBezTo>
                      <a:cubicBezTo>
                        <a:pt x="10712" y="24164"/>
                        <a:pt x="7473" y="22171"/>
                        <a:pt x="4359" y="15943"/>
                      </a:cubicBezTo>
                      <a:cubicBezTo>
                        <a:pt x="1245"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1" name="Freeform 7001">
                  <a:extLst>
                    <a:ext uri="{FF2B5EF4-FFF2-40B4-BE49-F238E27FC236}">
                      <a16:creationId xmlns:a16="http://schemas.microsoft.com/office/drawing/2014/main" id="{44F032DC-4DDC-65A4-3109-AD1195ADB5C7}"/>
                    </a:ext>
                  </a:extLst>
                </p:cNvPr>
                <p:cNvSpPr/>
                <p:nvPr/>
              </p:nvSpPr>
              <p:spPr>
                <a:xfrm>
                  <a:off x="9575246" y="1330848"/>
                  <a:ext cx="20800" cy="47954"/>
                </a:xfrm>
                <a:custGeom>
                  <a:avLst/>
                  <a:gdLst>
                    <a:gd name="connsiteX0" fmla="*/ 0 w 20800"/>
                    <a:gd name="connsiteY0" fmla="*/ 0 h 47954"/>
                    <a:gd name="connsiteX1" fmla="*/ 9092 w 20800"/>
                    <a:gd name="connsiteY1" fmla="*/ 16566 h 47954"/>
                    <a:gd name="connsiteX2" fmla="*/ 12456 w 20800"/>
                    <a:gd name="connsiteY2" fmla="*/ 33631 h 47954"/>
                    <a:gd name="connsiteX3" fmla="*/ 20801 w 20800"/>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800" h="47954">
                      <a:moveTo>
                        <a:pt x="0" y="0"/>
                      </a:moveTo>
                      <a:cubicBezTo>
                        <a:pt x="5356" y="6477"/>
                        <a:pt x="7847" y="12331"/>
                        <a:pt x="9092" y="16566"/>
                      </a:cubicBezTo>
                      <a:cubicBezTo>
                        <a:pt x="11086" y="23292"/>
                        <a:pt x="10214" y="26904"/>
                        <a:pt x="12456" y="33631"/>
                      </a:cubicBezTo>
                      <a:cubicBezTo>
                        <a:pt x="14698" y="40232"/>
                        <a:pt x="18186" y="44965"/>
                        <a:pt x="20801"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2" name="Freeform 7002">
                  <a:extLst>
                    <a:ext uri="{FF2B5EF4-FFF2-40B4-BE49-F238E27FC236}">
                      <a16:creationId xmlns:a16="http://schemas.microsoft.com/office/drawing/2014/main" id="{80A416AB-F638-A49B-7CC8-96E745826B18}"/>
                    </a:ext>
                  </a:extLst>
                </p:cNvPr>
                <p:cNvSpPr/>
                <p:nvPr/>
              </p:nvSpPr>
              <p:spPr>
                <a:xfrm>
                  <a:off x="9586480" y="1365957"/>
                  <a:ext cx="26803" cy="26648"/>
                </a:xfrm>
                <a:custGeom>
                  <a:avLst/>
                  <a:gdLst>
                    <a:gd name="connsiteX0" fmla="*/ 972 w 26803"/>
                    <a:gd name="connsiteY0" fmla="*/ 18327 h 26648"/>
                    <a:gd name="connsiteX1" fmla="*/ 8322 w 26803"/>
                    <a:gd name="connsiteY1" fmla="*/ 1138 h 26648"/>
                    <a:gd name="connsiteX2" fmla="*/ 25760 w 26803"/>
                    <a:gd name="connsiteY2" fmla="*/ 7988 h 26648"/>
                    <a:gd name="connsiteX3" fmla="*/ 18535 w 26803"/>
                    <a:gd name="connsiteY3" fmla="*/ 25676 h 26648"/>
                    <a:gd name="connsiteX4" fmla="*/ 972 w 26803"/>
                    <a:gd name="connsiteY4" fmla="*/ 18327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48">
                      <a:moveTo>
                        <a:pt x="972" y="18327"/>
                      </a:moveTo>
                      <a:cubicBezTo>
                        <a:pt x="-1768" y="11601"/>
                        <a:pt x="1471" y="3878"/>
                        <a:pt x="8322" y="1138"/>
                      </a:cubicBezTo>
                      <a:cubicBezTo>
                        <a:pt x="15047" y="-1852"/>
                        <a:pt x="22895" y="1262"/>
                        <a:pt x="25760" y="7988"/>
                      </a:cubicBezTo>
                      <a:cubicBezTo>
                        <a:pt x="28625" y="14715"/>
                        <a:pt x="25386" y="22686"/>
                        <a:pt x="18535" y="25676"/>
                      </a:cubicBezTo>
                      <a:cubicBezTo>
                        <a:pt x="11560" y="28416"/>
                        <a:pt x="3713" y="25177"/>
                        <a:pt x="972" y="18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3" name="Freeform 7003">
                  <a:extLst>
                    <a:ext uri="{FF2B5EF4-FFF2-40B4-BE49-F238E27FC236}">
                      <a16:creationId xmlns:a16="http://schemas.microsoft.com/office/drawing/2014/main" id="{33B7B7CC-5050-A774-1D78-F5EA265286E5}"/>
                    </a:ext>
                  </a:extLst>
                </p:cNvPr>
                <p:cNvSpPr/>
                <p:nvPr/>
              </p:nvSpPr>
              <p:spPr>
                <a:xfrm>
                  <a:off x="9552079" y="1274299"/>
                  <a:ext cx="19306" cy="48452"/>
                </a:xfrm>
                <a:custGeom>
                  <a:avLst/>
                  <a:gdLst>
                    <a:gd name="connsiteX0" fmla="*/ 0 w 19306"/>
                    <a:gd name="connsiteY0" fmla="*/ 0 h 48452"/>
                    <a:gd name="connsiteX1" fmla="*/ 5356 w 19306"/>
                    <a:gd name="connsiteY1" fmla="*/ 17936 h 48452"/>
                    <a:gd name="connsiteX2" fmla="*/ 15072 w 19306"/>
                    <a:gd name="connsiteY2" fmla="*/ 32510 h 48452"/>
                    <a:gd name="connsiteX3" fmla="*/ 19306 w 19306"/>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306" h="48452">
                      <a:moveTo>
                        <a:pt x="0" y="0"/>
                      </a:moveTo>
                      <a:cubicBezTo>
                        <a:pt x="747" y="8345"/>
                        <a:pt x="3239" y="14200"/>
                        <a:pt x="5356" y="17936"/>
                      </a:cubicBezTo>
                      <a:cubicBezTo>
                        <a:pt x="8719" y="24040"/>
                        <a:pt x="11958" y="26157"/>
                        <a:pt x="15072" y="32510"/>
                      </a:cubicBezTo>
                      <a:cubicBezTo>
                        <a:pt x="18186" y="38737"/>
                        <a:pt x="19057" y="44467"/>
                        <a:pt x="19306"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4" name="Freeform 7004">
                  <a:extLst>
                    <a:ext uri="{FF2B5EF4-FFF2-40B4-BE49-F238E27FC236}">
                      <a16:creationId xmlns:a16="http://schemas.microsoft.com/office/drawing/2014/main" id="{8735AA4B-5F58-1565-74AB-75982AE58331}"/>
                    </a:ext>
                  </a:extLst>
                </p:cNvPr>
                <p:cNvSpPr/>
                <p:nvPr/>
              </p:nvSpPr>
              <p:spPr>
                <a:xfrm>
                  <a:off x="9556687" y="1266950"/>
                  <a:ext cx="20676" cy="47830"/>
                </a:xfrm>
                <a:custGeom>
                  <a:avLst/>
                  <a:gdLst>
                    <a:gd name="connsiteX0" fmla="*/ 20676 w 20676"/>
                    <a:gd name="connsiteY0" fmla="*/ 47830 h 47830"/>
                    <a:gd name="connsiteX1" fmla="*/ 11708 w 20676"/>
                    <a:gd name="connsiteY1" fmla="*/ 31389 h 47830"/>
                    <a:gd name="connsiteX2" fmla="*/ 8220 w 20676"/>
                    <a:gd name="connsiteY2" fmla="*/ 14200 h 47830"/>
                    <a:gd name="connsiteX3" fmla="*/ 0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20676" y="47830"/>
                      </a:moveTo>
                      <a:cubicBezTo>
                        <a:pt x="15320" y="41353"/>
                        <a:pt x="12830" y="35499"/>
                        <a:pt x="11708" y="31389"/>
                      </a:cubicBezTo>
                      <a:cubicBezTo>
                        <a:pt x="9716" y="24662"/>
                        <a:pt x="10463" y="21050"/>
                        <a:pt x="8220" y="14200"/>
                      </a:cubicBezTo>
                      <a:cubicBezTo>
                        <a:pt x="5979" y="7598"/>
                        <a:pt x="249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5" name="Freeform 7005">
                  <a:extLst>
                    <a:ext uri="{FF2B5EF4-FFF2-40B4-BE49-F238E27FC236}">
                      <a16:creationId xmlns:a16="http://schemas.microsoft.com/office/drawing/2014/main" id="{B79F1B17-AEB3-6ACB-DD8E-E1DFFE24EEC1}"/>
                    </a:ext>
                  </a:extLst>
                </p:cNvPr>
                <p:cNvSpPr/>
                <p:nvPr/>
              </p:nvSpPr>
              <p:spPr>
                <a:xfrm>
                  <a:off x="9539627" y="1253163"/>
                  <a:ext cx="26223" cy="26523"/>
                </a:xfrm>
                <a:custGeom>
                  <a:avLst/>
                  <a:gdLst>
                    <a:gd name="connsiteX0" fmla="*/ 25157 w 26223"/>
                    <a:gd name="connsiteY0" fmla="*/ 8058 h 26523"/>
                    <a:gd name="connsiteX1" fmla="*/ 18306 w 26223"/>
                    <a:gd name="connsiteY1" fmla="*/ 25621 h 26523"/>
                    <a:gd name="connsiteX2" fmla="*/ 993 w 26223"/>
                    <a:gd name="connsiteY2" fmla="*/ 18147 h 26523"/>
                    <a:gd name="connsiteX3" fmla="*/ 8093 w 26223"/>
                    <a:gd name="connsiteY3" fmla="*/ 1083 h 26523"/>
                    <a:gd name="connsiteX4" fmla="*/ 25157 w 26223"/>
                    <a:gd name="connsiteY4" fmla="*/ 8058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3" h="26523">
                      <a:moveTo>
                        <a:pt x="25157" y="8058"/>
                      </a:moveTo>
                      <a:cubicBezTo>
                        <a:pt x="28022" y="14784"/>
                        <a:pt x="24908" y="22631"/>
                        <a:pt x="18306" y="25621"/>
                      </a:cubicBezTo>
                      <a:cubicBezTo>
                        <a:pt x="11580" y="28236"/>
                        <a:pt x="3733" y="24998"/>
                        <a:pt x="993" y="18147"/>
                      </a:cubicBezTo>
                      <a:cubicBezTo>
                        <a:pt x="-1748" y="11421"/>
                        <a:pt x="1366" y="3698"/>
                        <a:pt x="8093" y="1083"/>
                      </a:cubicBezTo>
                      <a:cubicBezTo>
                        <a:pt x="14569" y="-1782"/>
                        <a:pt x="22292" y="1207"/>
                        <a:pt x="25157"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8" name="Graphic 2987">
                <a:extLst>
                  <a:ext uri="{FF2B5EF4-FFF2-40B4-BE49-F238E27FC236}">
                    <a16:creationId xmlns:a16="http://schemas.microsoft.com/office/drawing/2014/main" id="{B4CFA363-0466-5689-D593-B6738F5E1024}"/>
                  </a:ext>
                </a:extLst>
              </p:cNvPr>
              <p:cNvGrpSpPr/>
              <p:nvPr/>
            </p:nvGrpSpPr>
            <p:grpSpPr>
              <a:xfrm>
                <a:off x="9512242" y="1264054"/>
                <a:ext cx="73368" cy="139620"/>
                <a:chOff x="9512242" y="1264054"/>
                <a:chExt cx="73368" cy="139620"/>
              </a:xfrm>
              <a:grpFill/>
            </p:grpSpPr>
            <p:sp>
              <p:nvSpPr>
                <p:cNvPr id="7044" name="Freeform 7007">
                  <a:extLst>
                    <a:ext uri="{FF2B5EF4-FFF2-40B4-BE49-F238E27FC236}">
                      <a16:creationId xmlns:a16="http://schemas.microsoft.com/office/drawing/2014/main" id="{C3B6EED3-8722-51A9-2286-169DB00D5A53}"/>
                    </a:ext>
                  </a:extLst>
                </p:cNvPr>
                <p:cNvSpPr/>
                <p:nvPr/>
              </p:nvSpPr>
              <p:spPr>
                <a:xfrm>
                  <a:off x="9553573" y="1333962"/>
                  <a:ext cx="19181" cy="48577"/>
                </a:xfrm>
                <a:custGeom>
                  <a:avLst/>
                  <a:gdLst>
                    <a:gd name="connsiteX0" fmla="*/ 19182 w 19181"/>
                    <a:gd name="connsiteY0" fmla="*/ 48577 h 48577"/>
                    <a:gd name="connsiteX1" fmla="*/ 13950 w 19181"/>
                    <a:gd name="connsiteY1" fmla="*/ 30517 h 48577"/>
                    <a:gd name="connsiteX2" fmla="*/ 4235 w 19181"/>
                    <a:gd name="connsiteY2" fmla="*/ 15943 h 48577"/>
                    <a:gd name="connsiteX3" fmla="*/ 0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48577"/>
                      </a:moveTo>
                      <a:cubicBezTo>
                        <a:pt x="18434" y="40232"/>
                        <a:pt x="16068" y="34378"/>
                        <a:pt x="13950" y="30517"/>
                      </a:cubicBezTo>
                      <a:cubicBezTo>
                        <a:pt x="10587" y="24413"/>
                        <a:pt x="7473" y="22296"/>
                        <a:pt x="4235" y="15943"/>
                      </a:cubicBezTo>
                      <a:cubicBezTo>
                        <a:pt x="1121" y="9715"/>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5" name="Freeform 7008">
                  <a:extLst>
                    <a:ext uri="{FF2B5EF4-FFF2-40B4-BE49-F238E27FC236}">
                      <a16:creationId xmlns:a16="http://schemas.microsoft.com/office/drawing/2014/main" id="{CF47720D-F3C5-D0A8-24C9-460752B599B9}"/>
                    </a:ext>
                  </a:extLst>
                </p:cNvPr>
                <p:cNvSpPr/>
                <p:nvPr/>
              </p:nvSpPr>
              <p:spPr>
                <a:xfrm>
                  <a:off x="9547595" y="1341809"/>
                  <a:ext cx="20426" cy="47954"/>
                </a:xfrm>
                <a:custGeom>
                  <a:avLst/>
                  <a:gdLst>
                    <a:gd name="connsiteX0" fmla="*/ 0 w 20426"/>
                    <a:gd name="connsiteY0" fmla="*/ 0 h 47954"/>
                    <a:gd name="connsiteX1" fmla="*/ 8968 w 20426"/>
                    <a:gd name="connsiteY1" fmla="*/ 16566 h 47954"/>
                    <a:gd name="connsiteX2" fmla="*/ 12206 w 20426"/>
                    <a:gd name="connsiteY2" fmla="*/ 33631 h 47954"/>
                    <a:gd name="connsiteX3" fmla="*/ 20427 w 2042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6" h="47954">
                      <a:moveTo>
                        <a:pt x="0" y="0"/>
                      </a:moveTo>
                      <a:cubicBezTo>
                        <a:pt x="5356" y="6477"/>
                        <a:pt x="7723" y="12456"/>
                        <a:pt x="8968" y="16566"/>
                      </a:cubicBezTo>
                      <a:cubicBezTo>
                        <a:pt x="10836" y="23292"/>
                        <a:pt x="10089" y="26904"/>
                        <a:pt x="12206" y="33631"/>
                      </a:cubicBezTo>
                      <a:cubicBezTo>
                        <a:pt x="14324" y="40232"/>
                        <a:pt x="17812" y="44965"/>
                        <a:pt x="20427"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6" name="Freeform 7009">
                  <a:extLst>
                    <a:ext uri="{FF2B5EF4-FFF2-40B4-BE49-F238E27FC236}">
                      <a16:creationId xmlns:a16="http://schemas.microsoft.com/office/drawing/2014/main" id="{2AAF3BB4-8185-8AA0-F715-564DA5A90846}"/>
                    </a:ext>
                  </a:extLst>
                </p:cNvPr>
                <p:cNvSpPr/>
                <p:nvPr/>
              </p:nvSpPr>
              <p:spPr>
                <a:xfrm>
                  <a:off x="9558597" y="1377224"/>
                  <a:ext cx="27013" cy="26450"/>
                </a:xfrm>
                <a:custGeom>
                  <a:avLst/>
                  <a:gdLst>
                    <a:gd name="connsiteX0" fmla="*/ 954 w 27013"/>
                    <a:gd name="connsiteY0" fmla="*/ 18145 h 26450"/>
                    <a:gd name="connsiteX1" fmla="*/ 8428 w 27013"/>
                    <a:gd name="connsiteY1" fmla="*/ 956 h 26450"/>
                    <a:gd name="connsiteX2" fmla="*/ 25991 w 27013"/>
                    <a:gd name="connsiteY2" fmla="*/ 8305 h 26450"/>
                    <a:gd name="connsiteX3" fmla="*/ 18518 w 27013"/>
                    <a:gd name="connsiteY3" fmla="*/ 25494 h 26450"/>
                    <a:gd name="connsiteX4" fmla="*/ 954 w 27013"/>
                    <a:gd name="connsiteY4" fmla="*/ 18145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3" h="26449">
                      <a:moveTo>
                        <a:pt x="954" y="18145"/>
                      </a:moveTo>
                      <a:cubicBezTo>
                        <a:pt x="-1785" y="11419"/>
                        <a:pt x="1578" y="3697"/>
                        <a:pt x="8428" y="956"/>
                      </a:cubicBezTo>
                      <a:cubicBezTo>
                        <a:pt x="15279" y="-1784"/>
                        <a:pt x="23126" y="1579"/>
                        <a:pt x="25991" y="8305"/>
                      </a:cubicBezTo>
                      <a:cubicBezTo>
                        <a:pt x="28855" y="15031"/>
                        <a:pt x="25493" y="22754"/>
                        <a:pt x="18518" y="25494"/>
                      </a:cubicBezTo>
                      <a:cubicBezTo>
                        <a:pt x="11542" y="28234"/>
                        <a:pt x="3695" y="24871"/>
                        <a:pt x="954"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7" name="Freeform 7010">
                  <a:extLst>
                    <a:ext uri="{FF2B5EF4-FFF2-40B4-BE49-F238E27FC236}">
                      <a16:creationId xmlns:a16="http://schemas.microsoft.com/office/drawing/2014/main" id="{0C3DAEE3-6209-D985-6BE9-02BCEBE67C40}"/>
                    </a:ext>
                  </a:extLst>
                </p:cNvPr>
                <p:cNvSpPr/>
                <p:nvPr/>
              </p:nvSpPr>
              <p:spPr>
                <a:xfrm>
                  <a:off x="9524801" y="1285136"/>
                  <a:ext cx="19056" cy="48577"/>
                </a:xfrm>
                <a:custGeom>
                  <a:avLst/>
                  <a:gdLst>
                    <a:gd name="connsiteX0" fmla="*/ 0 w 19056"/>
                    <a:gd name="connsiteY0" fmla="*/ 0 h 48577"/>
                    <a:gd name="connsiteX1" fmla="*/ 5231 w 19056"/>
                    <a:gd name="connsiteY1" fmla="*/ 18061 h 48577"/>
                    <a:gd name="connsiteX2" fmla="*/ 14822 w 19056"/>
                    <a:gd name="connsiteY2" fmla="*/ 32634 h 48577"/>
                    <a:gd name="connsiteX3" fmla="*/ 19057 w 19056"/>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056" h="48577">
                      <a:moveTo>
                        <a:pt x="0" y="0"/>
                      </a:moveTo>
                      <a:cubicBezTo>
                        <a:pt x="747" y="8345"/>
                        <a:pt x="3239" y="14200"/>
                        <a:pt x="5231" y="18061"/>
                      </a:cubicBezTo>
                      <a:cubicBezTo>
                        <a:pt x="8595" y="24164"/>
                        <a:pt x="11708" y="26282"/>
                        <a:pt x="14822" y="32634"/>
                      </a:cubicBezTo>
                      <a:cubicBezTo>
                        <a:pt x="17936" y="38862"/>
                        <a:pt x="18808" y="44592"/>
                        <a:pt x="19057"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8" name="Freeform 7011">
                  <a:extLst>
                    <a:ext uri="{FF2B5EF4-FFF2-40B4-BE49-F238E27FC236}">
                      <a16:creationId xmlns:a16="http://schemas.microsoft.com/office/drawing/2014/main" id="{287FCA8D-CE4B-5719-8D53-CDB6A158B1BA}"/>
                    </a:ext>
                  </a:extLst>
                </p:cNvPr>
                <p:cNvSpPr/>
                <p:nvPr/>
              </p:nvSpPr>
              <p:spPr>
                <a:xfrm>
                  <a:off x="9529284" y="1277911"/>
                  <a:ext cx="20552" cy="47954"/>
                </a:xfrm>
                <a:custGeom>
                  <a:avLst/>
                  <a:gdLst>
                    <a:gd name="connsiteX0" fmla="*/ 20552 w 20552"/>
                    <a:gd name="connsiteY0" fmla="*/ 47955 h 47954"/>
                    <a:gd name="connsiteX1" fmla="*/ 11584 w 20552"/>
                    <a:gd name="connsiteY1" fmla="*/ 31389 h 47954"/>
                    <a:gd name="connsiteX2" fmla="*/ 8221 w 20552"/>
                    <a:gd name="connsiteY2" fmla="*/ 14324 h 47954"/>
                    <a:gd name="connsiteX3" fmla="*/ 0 w 20552"/>
                    <a:gd name="connsiteY3" fmla="*/ 0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47955"/>
                      </a:moveTo>
                      <a:cubicBezTo>
                        <a:pt x="15196" y="41478"/>
                        <a:pt x="12830" y="35499"/>
                        <a:pt x="11584" y="31389"/>
                      </a:cubicBezTo>
                      <a:cubicBezTo>
                        <a:pt x="9716" y="24662"/>
                        <a:pt x="10463" y="21050"/>
                        <a:pt x="8221" y="14324"/>
                      </a:cubicBezTo>
                      <a:cubicBezTo>
                        <a:pt x="6103"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9" name="Freeform 7012">
                  <a:extLst>
                    <a:ext uri="{FF2B5EF4-FFF2-40B4-BE49-F238E27FC236}">
                      <a16:creationId xmlns:a16="http://schemas.microsoft.com/office/drawing/2014/main" id="{D2F7E55B-1256-4F91-9437-C98FACFE0D6E}"/>
                    </a:ext>
                  </a:extLst>
                </p:cNvPr>
                <p:cNvSpPr/>
                <p:nvPr/>
              </p:nvSpPr>
              <p:spPr>
                <a:xfrm>
                  <a:off x="9512242" y="1264054"/>
                  <a:ext cx="26430" cy="26344"/>
                </a:xfrm>
                <a:custGeom>
                  <a:avLst/>
                  <a:gdLst>
                    <a:gd name="connsiteX0" fmla="*/ 25387 w 26430"/>
                    <a:gd name="connsiteY0" fmla="*/ 8377 h 26344"/>
                    <a:gd name="connsiteX1" fmla="*/ 18164 w 26430"/>
                    <a:gd name="connsiteY1" fmla="*/ 25441 h 26344"/>
                    <a:gd name="connsiteX2" fmla="*/ 975 w 26430"/>
                    <a:gd name="connsiteY2" fmla="*/ 17968 h 26344"/>
                    <a:gd name="connsiteX3" fmla="*/ 8199 w 26430"/>
                    <a:gd name="connsiteY3" fmla="*/ 903 h 26344"/>
                    <a:gd name="connsiteX4" fmla="*/ 25387 w 26430"/>
                    <a:gd name="connsiteY4" fmla="*/ 8377 h 26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344">
                      <a:moveTo>
                        <a:pt x="25387" y="8377"/>
                      </a:moveTo>
                      <a:cubicBezTo>
                        <a:pt x="28253" y="15103"/>
                        <a:pt x="25014" y="22825"/>
                        <a:pt x="18164" y="25441"/>
                      </a:cubicBezTo>
                      <a:cubicBezTo>
                        <a:pt x="11437" y="28057"/>
                        <a:pt x="3714" y="24818"/>
                        <a:pt x="975" y="17968"/>
                      </a:cubicBezTo>
                      <a:cubicBezTo>
                        <a:pt x="-1766" y="11117"/>
                        <a:pt x="1472" y="3519"/>
                        <a:pt x="8199" y="903"/>
                      </a:cubicBezTo>
                      <a:cubicBezTo>
                        <a:pt x="14925" y="-1712"/>
                        <a:pt x="22647" y="1526"/>
                        <a:pt x="2538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9" name="Graphic 2987">
                <a:extLst>
                  <a:ext uri="{FF2B5EF4-FFF2-40B4-BE49-F238E27FC236}">
                    <a16:creationId xmlns:a16="http://schemas.microsoft.com/office/drawing/2014/main" id="{4E0A0A16-1E2D-944C-9627-209E3C4E38A6}"/>
                  </a:ext>
                </a:extLst>
              </p:cNvPr>
              <p:cNvGrpSpPr/>
              <p:nvPr/>
            </p:nvGrpSpPr>
            <p:grpSpPr>
              <a:xfrm>
                <a:off x="9484964" y="1274781"/>
                <a:ext cx="72553" cy="139870"/>
                <a:chOff x="9484964" y="1274781"/>
                <a:chExt cx="72553" cy="139870"/>
              </a:xfrm>
              <a:grpFill/>
            </p:grpSpPr>
            <p:sp>
              <p:nvSpPr>
                <p:cNvPr id="7038" name="Freeform 7014">
                  <a:extLst>
                    <a:ext uri="{FF2B5EF4-FFF2-40B4-BE49-F238E27FC236}">
                      <a16:creationId xmlns:a16="http://schemas.microsoft.com/office/drawing/2014/main" id="{C536881C-6944-C89F-04E9-A152E7034905}"/>
                    </a:ext>
                  </a:extLst>
                </p:cNvPr>
                <p:cNvSpPr/>
                <p:nvPr/>
              </p:nvSpPr>
              <p:spPr>
                <a:xfrm>
                  <a:off x="9525922" y="1344923"/>
                  <a:ext cx="18932" cy="48577"/>
                </a:xfrm>
                <a:custGeom>
                  <a:avLst/>
                  <a:gdLst>
                    <a:gd name="connsiteX0" fmla="*/ 18932 w 18932"/>
                    <a:gd name="connsiteY0" fmla="*/ 48577 h 48577"/>
                    <a:gd name="connsiteX1" fmla="*/ 13701 w 18932"/>
                    <a:gd name="connsiteY1" fmla="*/ 30517 h 48577"/>
                    <a:gd name="connsiteX2" fmla="*/ 4110 w 18932"/>
                    <a:gd name="connsiteY2" fmla="*/ 15943 h 48577"/>
                    <a:gd name="connsiteX3" fmla="*/ 0 w 18932"/>
                    <a:gd name="connsiteY3" fmla="*/ 0 h 48577"/>
                  </a:gdLst>
                  <a:ahLst/>
                  <a:cxnLst>
                    <a:cxn ang="0">
                      <a:pos x="connsiteX0" y="connsiteY0"/>
                    </a:cxn>
                    <a:cxn ang="0">
                      <a:pos x="connsiteX1" y="connsiteY1"/>
                    </a:cxn>
                    <a:cxn ang="0">
                      <a:pos x="connsiteX2" y="connsiteY2"/>
                    </a:cxn>
                    <a:cxn ang="0">
                      <a:pos x="connsiteX3" y="connsiteY3"/>
                    </a:cxn>
                  </a:cxnLst>
                  <a:rect l="l" t="t" r="r" b="b"/>
                  <a:pathLst>
                    <a:path w="18932" h="48577">
                      <a:moveTo>
                        <a:pt x="18932" y="48577"/>
                      </a:moveTo>
                      <a:cubicBezTo>
                        <a:pt x="18185" y="40232"/>
                        <a:pt x="15818" y="34378"/>
                        <a:pt x="13701" y="30517"/>
                      </a:cubicBezTo>
                      <a:cubicBezTo>
                        <a:pt x="10338" y="24413"/>
                        <a:pt x="7224" y="22296"/>
                        <a:pt x="4110"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9" name="Freeform 7015">
                  <a:extLst>
                    <a:ext uri="{FF2B5EF4-FFF2-40B4-BE49-F238E27FC236}">
                      <a16:creationId xmlns:a16="http://schemas.microsoft.com/office/drawing/2014/main" id="{19F509FE-010F-F39C-9F96-49DC6FE95F35}"/>
                    </a:ext>
                  </a:extLst>
                </p:cNvPr>
                <p:cNvSpPr/>
                <p:nvPr/>
              </p:nvSpPr>
              <p:spPr>
                <a:xfrm>
                  <a:off x="9519943" y="1352770"/>
                  <a:ext cx="20302" cy="47954"/>
                </a:xfrm>
                <a:custGeom>
                  <a:avLst/>
                  <a:gdLst>
                    <a:gd name="connsiteX0" fmla="*/ 0 w 20302"/>
                    <a:gd name="connsiteY0" fmla="*/ 0 h 47954"/>
                    <a:gd name="connsiteX1" fmla="*/ 8844 w 20302"/>
                    <a:gd name="connsiteY1" fmla="*/ 16566 h 47954"/>
                    <a:gd name="connsiteX2" fmla="*/ 12082 w 20302"/>
                    <a:gd name="connsiteY2" fmla="*/ 33631 h 47954"/>
                    <a:gd name="connsiteX3" fmla="*/ 20303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0" y="0"/>
                      </a:moveTo>
                      <a:cubicBezTo>
                        <a:pt x="5356" y="6602"/>
                        <a:pt x="7723" y="12456"/>
                        <a:pt x="8844" y="16566"/>
                      </a:cubicBezTo>
                      <a:cubicBezTo>
                        <a:pt x="10712" y="23292"/>
                        <a:pt x="9841" y="26904"/>
                        <a:pt x="12082" y="33631"/>
                      </a:cubicBezTo>
                      <a:cubicBezTo>
                        <a:pt x="14200" y="40232"/>
                        <a:pt x="17687" y="44965"/>
                        <a:pt x="20303"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0" name="Freeform 7016">
                  <a:extLst>
                    <a:ext uri="{FF2B5EF4-FFF2-40B4-BE49-F238E27FC236}">
                      <a16:creationId xmlns:a16="http://schemas.microsoft.com/office/drawing/2014/main" id="{91137169-1242-A8A1-C9B1-1053F3C49F80}"/>
                    </a:ext>
                  </a:extLst>
                </p:cNvPr>
                <p:cNvSpPr/>
                <p:nvPr/>
              </p:nvSpPr>
              <p:spPr>
                <a:xfrm>
                  <a:off x="9530696" y="1388185"/>
                  <a:ext cx="26820" cy="26466"/>
                </a:xfrm>
                <a:custGeom>
                  <a:avLst/>
                  <a:gdLst>
                    <a:gd name="connsiteX0" fmla="*/ 955 w 26820"/>
                    <a:gd name="connsiteY0" fmla="*/ 18145 h 26466"/>
                    <a:gd name="connsiteX1" fmla="*/ 8428 w 26820"/>
                    <a:gd name="connsiteY1" fmla="*/ 956 h 26466"/>
                    <a:gd name="connsiteX2" fmla="*/ 25866 w 26820"/>
                    <a:gd name="connsiteY2" fmla="*/ 8305 h 26466"/>
                    <a:gd name="connsiteX3" fmla="*/ 18393 w 26820"/>
                    <a:gd name="connsiteY3" fmla="*/ 25494 h 26466"/>
                    <a:gd name="connsiteX4" fmla="*/ 955 w 26820"/>
                    <a:gd name="connsiteY4" fmla="*/ 1814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20" h="26466">
                      <a:moveTo>
                        <a:pt x="955" y="18145"/>
                      </a:moveTo>
                      <a:cubicBezTo>
                        <a:pt x="-1785" y="11295"/>
                        <a:pt x="1577" y="3697"/>
                        <a:pt x="8428" y="956"/>
                      </a:cubicBezTo>
                      <a:cubicBezTo>
                        <a:pt x="15279" y="-1784"/>
                        <a:pt x="23126" y="1579"/>
                        <a:pt x="25866" y="8305"/>
                      </a:cubicBezTo>
                      <a:cubicBezTo>
                        <a:pt x="28607" y="15031"/>
                        <a:pt x="25243" y="22754"/>
                        <a:pt x="18393" y="25494"/>
                      </a:cubicBezTo>
                      <a:cubicBezTo>
                        <a:pt x="11542" y="28234"/>
                        <a:pt x="3695" y="24996"/>
                        <a:pt x="955"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1" name="Freeform 7017">
                  <a:extLst>
                    <a:ext uri="{FF2B5EF4-FFF2-40B4-BE49-F238E27FC236}">
                      <a16:creationId xmlns:a16="http://schemas.microsoft.com/office/drawing/2014/main" id="{6E11012C-8894-C31A-0845-0B6B2935FA75}"/>
                    </a:ext>
                  </a:extLst>
                </p:cNvPr>
                <p:cNvSpPr/>
                <p:nvPr/>
              </p:nvSpPr>
              <p:spPr>
                <a:xfrm>
                  <a:off x="9497522" y="1295848"/>
                  <a:ext cx="18933" cy="48577"/>
                </a:xfrm>
                <a:custGeom>
                  <a:avLst/>
                  <a:gdLst>
                    <a:gd name="connsiteX0" fmla="*/ 0 w 18933"/>
                    <a:gd name="connsiteY0" fmla="*/ 0 h 48577"/>
                    <a:gd name="connsiteX1" fmla="*/ 5231 w 18933"/>
                    <a:gd name="connsiteY1" fmla="*/ 18061 h 48577"/>
                    <a:gd name="connsiteX2" fmla="*/ 14822 w 18933"/>
                    <a:gd name="connsiteY2" fmla="*/ 32634 h 48577"/>
                    <a:gd name="connsiteX3" fmla="*/ 18933 w 18933"/>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933" h="48577">
                      <a:moveTo>
                        <a:pt x="0" y="0"/>
                      </a:moveTo>
                      <a:cubicBezTo>
                        <a:pt x="747" y="8345"/>
                        <a:pt x="3114" y="14200"/>
                        <a:pt x="5231" y="18061"/>
                      </a:cubicBezTo>
                      <a:cubicBezTo>
                        <a:pt x="8595" y="24289"/>
                        <a:pt x="11708" y="26282"/>
                        <a:pt x="14822" y="32634"/>
                      </a:cubicBezTo>
                      <a:cubicBezTo>
                        <a:pt x="17812" y="38862"/>
                        <a:pt x="18684" y="44716"/>
                        <a:pt x="18933"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2" name="Freeform 7018">
                  <a:extLst>
                    <a:ext uri="{FF2B5EF4-FFF2-40B4-BE49-F238E27FC236}">
                      <a16:creationId xmlns:a16="http://schemas.microsoft.com/office/drawing/2014/main" id="{D98DA8AA-5F44-716C-354F-481DDC6E9F0F}"/>
                    </a:ext>
                  </a:extLst>
                </p:cNvPr>
                <p:cNvSpPr/>
                <p:nvPr/>
              </p:nvSpPr>
              <p:spPr>
                <a:xfrm>
                  <a:off x="9502131" y="1288748"/>
                  <a:ext cx="20178" cy="47954"/>
                </a:xfrm>
                <a:custGeom>
                  <a:avLst/>
                  <a:gdLst>
                    <a:gd name="connsiteX0" fmla="*/ 20178 w 20178"/>
                    <a:gd name="connsiteY0" fmla="*/ 47955 h 47954"/>
                    <a:gd name="connsiteX1" fmla="*/ 11335 w 20178"/>
                    <a:gd name="connsiteY1" fmla="*/ 31389 h 47954"/>
                    <a:gd name="connsiteX2" fmla="*/ 8097 w 20178"/>
                    <a:gd name="connsiteY2" fmla="*/ 14324 h 47954"/>
                    <a:gd name="connsiteX3" fmla="*/ 0 w 20178"/>
                    <a:gd name="connsiteY3" fmla="*/ 0 h 47954"/>
                  </a:gdLst>
                  <a:ahLst/>
                  <a:cxnLst>
                    <a:cxn ang="0">
                      <a:pos x="connsiteX0" y="connsiteY0"/>
                    </a:cxn>
                    <a:cxn ang="0">
                      <a:pos x="connsiteX1" y="connsiteY1"/>
                    </a:cxn>
                    <a:cxn ang="0">
                      <a:pos x="connsiteX2" y="connsiteY2"/>
                    </a:cxn>
                    <a:cxn ang="0">
                      <a:pos x="connsiteX3" y="connsiteY3"/>
                    </a:cxn>
                  </a:cxnLst>
                  <a:rect l="l" t="t" r="r" b="b"/>
                  <a:pathLst>
                    <a:path w="20178" h="47954">
                      <a:moveTo>
                        <a:pt x="20178" y="47955"/>
                      </a:moveTo>
                      <a:cubicBezTo>
                        <a:pt x="14822" y="41353"/>
                        <a:pt x="12456" y="35499"/>
                        <a:pt x="11335" y="31389"/>
                      </a:cubicBezTo>
                      <a:cubicBezTo>
                        <a:pt x="9467" y="24662"/>
                        <a:pt x="10214" y="21050"/>
                        <a:pt x="8097" y="14324"/>
                      </a:cubicBezTo>
                      <a:cubicBezTo>
                        <a:pt x="5979" y="7723"/>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3" name="Freeform 7019">
                  <a:extLst>
                    <a:ext uri="{FF2B5EF4-FFF2-40B4-BE49-F238E27FC236}">
                      <a16:creationId xmlns:a16="http://schemas.microsoft.com/office/drawing/2014/main" id="{6214FD80-8DA8-B098-429E-F2B1370411E0}"/>
                    </a:ext>
                  </a:extLst>
                </p:cNvPr>
                <p:cNvSpPr/>
                <p:nvPr/>
              </p:nvSpPr>
              <p:spPr>
                <a:xfrm>
                  <a:off x="9484964" y="1274781"/>
                  <a:ext cx="26362" cy="26328"/>
                </a:xfrm>
                <a:custGeom>
                  <a:avLst/>
                  <a:gdLst>
                    <a:gd name="connsiteX0" fmla="*/ 25388 w 26362"/>
                    <a:gd name="connsiteY0" fmla="*/ 8361 h 26328"/>
                    <a:gd name="connsiteX1" fmla="*/ 18164 w 26362"/>
                    <a:gd name="connsiteY1" fmla="*/ 25426 h 26328"/>
                    <a:gd name="connsiteX2" fmla="*/ 975 w 26362"/>
                    <a:gd name="connsiteY2" fmla="*/ 17952 h 26328"/>
                    <a:gd name="connsiteX3" fmla="*/ 8199 w 26362"/>
                    <a:gd name="connsiteY3" fmla="*/ 888 h 26328"/>
                    <a:gd name="connsiteX4" fmla="*/ 25388 w 26362"/>
                    <a:gd name="connsiteY4" fmla="*/ 8361 h 2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327">
                      <a:moveTo>
                        <a:pt x="25388" y="8361"/>
                      </a:moveTo>
                      <a:cubicBezTo>
                        <a:pt x="28128" y="15087"/>
                        <a:pt x="24889" y="22810"/>
                        <a:pt x="18164" y="25426"/>
                      </a:cubicBezTo>
                      <a:cubicBezTo>
                        <a:pt x="11437" y="28041"/>
                        <a:pt x="3714" y="24803"/>
                        <a:pt x="975" y="17952"/>
                      </a:cubicBezTo>
                      <a:cubicBezTo>
                        <a:pt x="-1766" y="11102"/>
                        <a:pt x="1472" y="3504"/>
                        <a:pt x="8199" y="888"/>
                      </a:cubicBezTo>
                      <a:cubicBezTo>
                        <a:pt x="14925" y="-1728"/>
                        <a:pt x="22647" y="1635"/>
                        <a:pt x="25388"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0" name="Graphic 2987">
                <a:extLst>
                  <a:ext uri="{FF2B5EF4-FFF2-40B4-BE49-F238E27FC236}">
                    <a16:creationId xmlns:a16="http://schemas.microsoft.com/office/drawing/2014/main" id="{73A6FA4C-E899-2D3F-5818-A1FAE39A0DD0}"/>
                  </a:ext>
                </a:extLst>
              </p:cNvPr>
              <p:cNvGrpSpPr/>
              <p:nvPr/>
            </p:nvGrpSpPr>
            <p:grpSpPr>
              <a:xfrm>
                <a:off x="9457704" y="1285551"/>
                <a:ext cx="72035" cy="140170"/>
                <a:chOff x="9457704" y="1285551"/>
                <a:chExt cx="72035" cy="140170"/>
              </a:xfrm>
              <a:grpFill/>
            </p:grpSpPr>
            <p:sp>
              <p:nvSpPr>
                <p:cNvPr id="7032" name="Freeform 7021">
                  <a:extLst>
                    <a:ext uri="{FF2B5EF4-FFF2-40B4-BE49-F238E27FC236}">
                      <a16:creationId xmlns:a16="http://schemas.microsoft.com/office/drawing/2014/main" id="{C642F0BB-9331-3F3B-B947-65AECA2D1F89}"/>
                    </a:ext>
                  </a:extLst>
                </p:cNvPr>
                <p:cNvSpPr/>
                <p:nvPr/>
              </p:nvSpPr>
              <p:spPr>
                <a:xfrm>
                  <a:off x="9498270" y="1356009"/>
                  <a:ext cx="18808" cy="48577"/>
                </a:xfrm>
                <a:custGeom>
                  <a:avLst/>
                  <a:gdLst>
                    <a:gd name="connsiteX0" fmla="*/ 18808 w 18808"/>
                    <a:gd name="connsiteY0" fmla="*/ 48578 h 48577"/>
                    <a:gd name="connsiteX1" fmla="*/ 13701 w 18808"/>
                    <a:gd name="connsiteY1" fmla="*/ 30517 h 48577"/>
                    <a:gd name="connsiteX2" fmla="*/ 4111 w 18808"/>
                    <a:gd name="connsiteY2" fmla="*/ 15943 h 48577"/>
                    <a:gd name="connsiteX3" fmla="*/ 0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48578"/>
                      </a:moveTo>
                      <a:cubicBezTo>
                        <a:pt x="18186" y="40232"/>
                        <a:pt x="15819" y="34253"/>
                        <a:pt x="13701" y="30517"/>
                      </a:cubicBezTo>
                      <a:cubicBezTo>
                        <a:pt x="10339" y="24289"/>
                        <a:pt x="7225" y="22296"/>
                        <a:pt x="4111"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3" name="Freeform 7022">
                  <a:extLst>
                    <a:ext uri="{FF2B5EF4-FFF2-40B4-BE49-F238E27FC236}">
                      <a16:creationId xmlns:a16="http://schemas.microsoft.com/office/drawing/2014/main" id="{6F6A8BDC-007E-C955-66A6-C112208B8BDB}"/>
                    </a:ext>
                  </a:extLst>
                </p:cNvPr>
                <p:cNvSpPr/>
                <p:nvPr/>
              </p:nvSpPr>
              <p:spPr>
                <a:xfrm>
                  <a:off x="9492291" y="1363607"/>
                  <a:ext cx="19928" cy="48328"/>
                </a:xfrm>
                <a:custGeom>
                  <a:avLst/>
                  <a:gdLst>
                    <a:gd name="connsiteX0" fmla="*/ 0 w 19928"/>
                    <a:gd name="connsiteY0" fmla="*/ 0 h 48328"/>
                    <a:gd name="connsiteX1" fmla="*/ 8719 w 19928"/>
                    <a:gd name="connsiteY1" fmla="*/ 16691 h 48328"/>
                    <a:gd name="connsiteX2" fmla="*/ 11833 w 19928"/>
                    <a:gd name="connsiteY2" fmla="*/ 33880 h 48328"/>
                    <a:gd name="connsiteX3" fmla="*/ 19929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0" y="0"/>
                      </a:moveTo>
                      <a:cubicBezTo>
                        <a:pt x="5231" y="6602"/>
                        <a:pt x="7598" y="12456"/>
                        <a:pt x="8719" y="16691"/>
                      </a:cubicBezTo>
                      <a:cubicBezTo>
                        <a:pt x="10587" y="23417"/>
                        <a:pt x="9715" y="27029"/>
                        <a:pt x="11833" y="33880"/>
                      </a:cubicBezTo>
                      <a:cubicBezTo>
                        <a:pt x="13950" y="40481"/>
                        <a:pt x="17313" y="45214"/>
                        <a:pt x="19929"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4" name="Freeform 7023">
                  <a:extLst>
                    <a:ext uri="{FF2B5EF4-FFF2-40B4-BE49-F238E27FC236}">
                      <a16:creationId xmlns:a16="http://schemas.microsoft.com/office/drawing/2014/main" id="{3CDB5A29-4627-1EBF-F675-39A8E85E24F9}"/>
                    </a:ext>
                  </a:extLst>
                </p:cNvPr>
                <p:cNvSpPr/>
                <p:nvPr/>
              </p:nvSpPr>
              <p:spPr>
                <a:xfrm>
                  <a:off x="9502813" y="1399322"/>
                  <a:ext cx="26926" cy="26399"/>
                </a:xfrm>
                <a:custGeom>
                  <a:avLst/>
                  <a:gdLst>
                    <a:gd name="connsiteX0" fmla="*/ 937 w 26926"/>
                    <a:gd name="connsiteY0" fmla="*/ 18094 h 26399"/>
                    <a:gd name="connsiteX1" fmla="*/ 8535 w 26926"/>
                    <a:gd name="connsiteY1" fmla="*/ 905 h 26399"/>
                    <a:gd name="connsiteX2" fmla="*/ 25973 w 26926"/>
                    <a:gd name="connsiteY2" fmla="*/ 8254 h 26399"/>
                    <a:gd name="connsiteX3" fmla="*/ 18376 w 26926"/>
                    <a:gd name="connsiteY3" fmla="*/ 25443 h 26399"/>
                    <a:gd name="connsiteX4" fmla="*/ 937 w 26926"/>
                    <a:gd name="connsiteY4" fmla="*/ 18094 h 26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6" h="26399">
                      <a:moveTo>
                        <a:pt x="937" y="18094"/>
                      </a:moveTo>
                      <a:cubicBezTo>
                        <a:pt x="-1803" y="11243"/>
                        <a:pt x="1685" y="3521"/>
                        <a:pt x="8535" y="905"/>
                      </a:cubicBezTo>
                      <a:cubicBezTo>
                        <a:pt x="15386" y="-1711"/>
                        <a:pt x="23233" y="1528"/>
                        <a:pt x="25973" y="8254"/>
                      </a:cubicBezTo>
                      <a:cubicBezTo>
                        <a:pt x="28713" y="15104"/>
                        <a:pt x="25351" y="22702"/>
                        <a:pt x="18376" y="25443"/>
                      </a:cubicBezTo>
                      <a:cubicBezTo>
                        <a:pt x="11400" y="28183"/>
                        <a:pt x="3677" y="24820"/>
                        <a:pt x="937" y="180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5" name="Freeform 7024">
                  <a:extLst>
                    <a:ext uri="{FF2B5EF4-FFF2-40B4-BE49-F238E27FC236}">
                      <a16:creationId xmlns:a16="http://schemas.microsoft.com/office/drawing/2014/main" id="{4BD8B378-183F-7045-608D-DB582354D00D}"/>
                    </a:ext>
                  </a:extLst>
                </p:cNvPr>
                <p:cNvSpPr/>
                <p:nvPr/>
              </p:nvSpPr>
              <p:spPr>
                <a:xfrm>
                  <a:off x="9470120" y="1306684"/>
                  <a:ext cx="18683" cy="48577"/>
                </a:xfrm>
                <a:custGeom>
                  <a:avLst/>
                  <a:gdLst>
                    <a:gd name="connsiteX0" fmla="*/ 0 w 18683"/>
                    <a:gd name="connsiteY0" fmla="*/ 0 h 48577"/>
                    <a:gd name="connsiteX1" fmla="*/ 5107 w 18683"/>
                    <a:gd name="connsiteY1" fmla="*/ 18061 h 48577"/>
                    <a:gd name="connsiteX2" fmla="*/ 14573 w 18683"/>
                    <a:gd name="connsiteY2" fmla="*/ 32634 h 48577"/>
                    <a:gd name="connsiteX3" fmla="*/ 18684 w 1868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683" h="48577">
                      <a:moveTo>
                        <a:pt x="0" y="0"/>
                      </a:moveTo>
                      <a:cubicBezTo>
                        <a:pt x="747" y="8345"/>
                        <a:pt x="2989" y="14200"/>
                        <a:pt x="5107" y="18061"/>
                      </a:cubicBezTo>
                      <a:cubicBezTo>
                        <a:pt x="8345" y="24289"/>
                        <a:pt x="11459" y="26282"/>
                        <a:pt x="14573" y="32634"/>
                      </a:cubicBezTo>
                      <a:cubicBezTo>
                        <a:pt x="17563" y="38862"/>
                        <a:pt x="18435" y="44716"/>
                        <a:pt x="18684"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6" name="Freeform 7025">
                  <a:extLst>
                    <a:ext uri="{FF2B5EF4-FFF2-40B4-BE49-F238E27FC236}">
                      <a16:creationId xmlns:a16="http://schemas.microsoft.com/office/drawing/2014/main" id="{3FDA9228-C24C-74A2-A46A-2942F4366E47}"/>
                    </a:ext>
                  </a:extLst>
                </p:cNvPr>
                <p:cNvSpPr/>
                <p:nvPr/>
              </p:nvSpPr>
              <p:spPr>
                <a:xfrm>
                  <a:off x="9474728" y="1299335"/>
                  <a:ext cx="20054" cy="48203"/>
                </a:xfrm>
                <a:custGeom>
                  <a:avLst/>
                  <a:gdLst>
                    <a:gd name="connsiteX0" fmla="*/ 20054 w 20054"/>
                    <a:gd name="connsiteY0" fmla="*/ 48204 h 48203"/>
                    <a:gd name="connsiteX1" fmla="*/ 11335 w 20054"/>
                    <a:gd name="connsiteY1" fmla="*/ 31513 h 48203"/>
                    <a:gd name="connsiteX2" fmla="*/ 8097 w 20054"/>
                    <a:gd name="connsiteY2" fmla="*/ 14449 h 48203"/>
                    <a:gd name="connsiteX3" fmla="*/ 0 w 20054"/>
                    <a:gd name="connsiteY3" fmla="*/ 0 h 48203"/>
                  </a:gdLst>
                  <a:ahLst/>
                  <a:cxnLst>
                    <a:cxn ang="0">
                      <a:pos x="connsiteX0" y="connsiteY0"/>
                    </a:cxn>
                    <a:cxn ang="0">
                      <a:pos x="connsiteX1" y="connsiteY1"/>
                    </a:cxn>
                    <a:cxn ang="0">
                      <a:pos x="connsiteX2" y="connsiteY2"/>
                    </a:cxn>
                    <a:cxn ang="0">
                      <a:pos x="connsiteX3" y="connsiteY3"/>
                    </a:cxn>
                  </a:cxnLst>
                  <a:rect l="l" t="t" r="r" b="b"/>
                  <a:pathLst>
                    <a:path w="20054" h="48203">
                      <a:moveTo>
                        <a:pt x="20054" y="48204"/>
                      </a:moveTo>
                      <a:cubicBezTo>
                        <a:pt x="14822" y="41602"/>
                        <a:pt x="12456" y="35748"/>
                        <a:pt x="11335" y="31513"/>
                      </a:cubicBezTo>
                      <a:cubicBezTo>
                        <a:pt x="9467" y="24787"/>
                        <a:pt x="10339" y="21175"/>
                        <a:pt x="8097" y="14449"/>
                      </a:cubicBezTo>
                      <a:cubicBezTo>
                        <a:pt x="5979" y="7847"/>
                        <a:pt x="2616"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7" name="Freeform 7026">
                  <a:extLst>
                    <a:ext uri="{FF2B5EF4-FFF2-40B4-BE49-F238E27FC236}">
                      <a16:creationId xmlns:a16="http://schemas.microsoft.com/office/drawing/2014/main" id="{48BE1FB0-EC6E-2A47-E3DB-E2152E05B538}"/>
                    </a:ext>
                  </a:extLst>
                </p:cNvPr>
                <p:cNvSpPr/>
                <p:nvPr/>
              </p:nvSpPr>
              <p:spPr>
                <a:xfrm>
                  <a:off x="9457704" y="1285551"/>
                  <a:ext cx="26342" cy="26571"/>
                </a:xfrm>
                <a:custGeom>
                  <a:avLst/>
                  <a:gdLst>
                    <a:gd name="connsiteX0" fmla="*/ 25370 w 26342"/>
                    <a:gd name="connsiteY0" fmla="*/ 8428 h 26571"/>
                    <a:gd name="connsiteX1" fmla="*/ 18021 w 26342"/>
                    <a:gd name="connsiteY1" fmla="*/ 25617 h 26571"/>
                    <a:gd name="connsiteX2" fmla="*/ 957 w 26342"/>
                    <a:gd name="connsiteY2" fmla="*/ 18144 h 26571"/>
                    <a:gd name="connsiteX3" fmla="*/ 8305 w 26342"/>
                    <a:gd name="connsiteY3" fmla="*/ 955 h 26571"/>
                    <a:gd name="connsiteX4" fmla="*/ 25370 w 26342"/>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2" h="26570">
                      <a:moveTo>
                        <a:pt x="25370" y="8428"/>
                      </a:moveTo>
                      <a:cubicBezTo>
                        <a:pt x="28110" y="15279"/>
                        <a:pt x="24871" y="22877"/>
                        <a:pt x="18021" y="25617"/>
                      </a:cubicBezTo>
                      <a:cubicBezTo>
                        <a:pt x="11170" y="28357"/>
                        <a:pt x="3573" y="24994"/>
                        <a:pt x="957" y="18144"/>
                      </a:cubicBezTo>
                      <a:cubicBezTo>
                        <a:pt x="-1784" y="11293"/>
                        <a:pt x="1579" y="3695"/>
                        <a:pt x="8305" y="955"/>
                      </a:cubicBezTo>
                      <a:cubicBezTo>
                        <a:pt x="15032" y="-1786"/>
                        <a:pt x="22629" y="1577"/>
                        <a:pt x="25370"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1" name="Graphic 2987">
                <a:extLst>
                  <a:ext uri="{FF2B5EF4-FFF2-40B4-BE49-F238E27FC236}">
                    <a16:creationId xmlns:a16="http://schemas.microsoft.com/office/drawing/2014/main" id="{4491F658-EF53-25DB-C1A6-A2873178A060}"/>
                  </a:ext>
                </a:extLst>
              </p:cNvPr>
              <p:cNvGrpSpPr/>
              <p:nvPr/>
            </p:nvGrpSpPr>
            <p:grpSpPr>
              <a:xfrm>
                <a:off x="9430477" y="1296279"/>
                <a:ext cx="71220" cy="140471"/>
                <a:chOff x="9430477" y="1296279"/>
                <a:chExt cx="71220" cy="140471"/>
              </a:xfrm>
              <a:grpFill/>
            </p:grpSpPr>
            <p:sp>
              <p:nvSpPr>
                <p:cNvPr id="7026" name="Freeform 7028">
                  <a:extLst>
                    <a:ext uri="{FF2B5EF4-FFF2-40B4-BE49-F238E27FC236}">
                      <a16:creationId xmlns:a16="http://schemas.microsoft.com/office/drawing/2014/main" id="{3772BBED-887B-4B95-B2EE-B95BF5B55F35}"/>
                    </a:ext>
                  </a:extLst>
                </p:cNvPr>
                <p:cNvSpPr/>
                <p:nvPr/>
              </p:nvSpPr>
              <p:spPr>
                <a:xfrm>
                  <a:off x="9470742" y="1366721"/>
                  <a:ext cx="18435" cy="48826"/>
                </a:xfrm>
                <a:custGeom>
                  <a:avLst/>
                  <a:gdLst>
                    <a:gd name="connsiteX0" fmla="*/ 18435 w 18435"/>
                    <a:gd name="connsiteY0" fmla="*/ 48827 h 48826"/>
                    <a:gd name="connsiteX1" fmla="*/ 13452 w 18435"/>
                    <a:gd name="connsiteY1" fmla="*/ 30641 h 48826"/>
                    <a:gd name="connsiteX2" fmla="*/ 3986 w 18435"/>
                    <a:gd name="connsiteY2" fmla="*/ 1606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7812" y="40481"/>
                        <a:pt x="15446" y="34502"/>
                        <a:pt x="13452" y="30641"/>
                      </a:cubicBezTo>
                      <a:cubicBezTo>
                        <a:pt x="10214" y="24413"/>
                        <a:pt x="7100" y="22420"/>
                        <a:pt x="3986"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7" name="Freeform 7029">
                  <a:extLst>
                    <a:ext uri="{FF2B5EF4-FFF2-40B4-BE49-F238E27FC236}">
                      <a16:creationId xmlns:a16="http://schemas.microsoft.com/office/drawing/2014/main" id="{595B72C4-20BA-360C-9DDE-FD7BDBF43781}"/>
                    </a:ext>
                  </a:extLst>
                </p:cNvPr>
                <p:cNvSpPr/>
                <p:nvPr/>
              </p:nvSpPr>
              <p:spPr>
                <a:xfrm>
                  <a:off x="9464764" y="1374568"/>
                  <a:ext cx="19680" cy="48328"/>
                </a:xfrm>
                <a:custGeom>
                  <a:avLst/>
                  <a:gdLst>
                    <a:gd name="connsiteX0" fmla="*/ 0 w 19680"/>
                    <a:gd name="connsiteY0" fmla="*/ 0 h 48328"/>
                    <a:gd name="connsiteX1" fmla="*/ 8719 w 19680"/>
                    <a:gd name="connsiteY1" fmla="*/ 16691 h 48328"/>
                    <a:gd name="connsiteX2" fmla="*/ 11708 w 19680"/>
                    <a:gd name="connsiteY2" fmla="*/ 33880 h 48328"/>
                    <a:gd name="connsiteX3" fmla="*/ 1968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0" y="0"/>
                      </a:moveTo>
                      <a:cubicBezTo>
                        <a:pt x="5231" y="6602"/>
                        <a:pt x="7598" y="12456"/>
                        <a:pt x="8719" y="16691"/>
                      </a:cubicBezTo>
                      <a:cubicBezTo>
                        <a:pt x="10587" y="23417"/>
                        <a:pt x="9591" y="27029"/>
                        <a:pt x="11708" y="33880"/>
                      </a:cubicBezTo>
                      <a:cubicBezTo>
                        <a:pt x="13701" y="40481"/>
                        <a:pt x="17189" y="45339"/>
                        <a:pt x="1968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8" name="Freeform 7030">
                  <a:extLst>
                    <a:ext uri="{FF2B5EF4-FFF2-40B4-BE49-F238E27FC236}">
                      <a16:creationId xmlns:a16="http://schemas.microsoft.com/office/drawing/2014/main" id="{E130AE2F-B0B7-4654-D83A-459FC5FBBF9D}"/>
                    </a:ext>
                  </a:extLst>
                </p:cNvPr>
                <p:cNvSpPr/>
                <p:nvPr/>
              </p:nvSpPr>
              <p:spPr>
                <a:xfrm>
                  <a:off x="9474963" y="1410107"/>
                  <a:ext cx="26735" cy="26643"/>
                </a:xfrm>
                <a:custGeom>
                  <a:avLst/>
                  <a:gdLst>
                    <a:gd name="connsiteX0" fmla="*/ 886 w 26735"/>
                    <a:gd name="connsiteY0" fmla="*/ 18270 h 26643"/>
                    <a:gd name="connsiteX1" fmla="*/ 8484 w 26735"/>
                    <a:gd name="connsiteY1" fmla="*/ 956 h 26643"/>
                    <a:gd name="connsiteX2" fmla="*/ 25798 w 26735"/>
                    <a:gd name="connsiteY2" fmla="*/ 8305 h 26643"/>
                    <a:gd name="connsiteX3" fmla="*/ 18200 w 26735"/>
                    <a:gd name="connsiteY3" fmla="*/ 25619 h 26643"/>
                    <a:gd name="connsiteX4" fmla="*/ 886 w 26735"/>
                    <a:gd name="connsiteY4" fmla="*/ 18270 h 2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42">
                      <a:moveTo>
                        <a:pt x="886" y="18270"/>
                      </a:moveTo>
                      <a:cubicBezTo>
                        <a:pt x="-1730" y="11419"/>
                        <a:pt x="1634" y="3697"/>
                        <a:pt x="8484" y="956"/>
                      </a:cubicBezTo>
                      <a:cubicBezTo>
                        <a:pt x="15335" y="-1784"/>
                        <a:pt x="23057" y="1579"/>
                        <a:pt x="25798" y="8305"/>
                      </a:cubicBezTo>
                      <a:cubicBezTo>
                        <a:pt x="28538" y="15156"/>
                        <a:pt x="25051" y="22879"/>
                        <a:pt x="18200" y="25619"/>
                      </a:cubicBezTo>
                      <a:cubicBezTo>
                        <a:pt x="11349" y="28484"/>
                        <a:pt x="3626" y="25121"/>
                        <a:pt x="886" y="182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9" name="Freeform 7031">
                  <a:extLst>
                    <a:ext uri="{FF2B5EF4-FFF2-40B4-BE49-F238E27FC236}">
                      <a16:creationId xmlns:a16="http://schemas.microsoft.com/office/drawing/2014/main" id="{DF93B5D8-78EC-B93A-A4C9-CA247A2875A8}"/>
                    </a:ext>
                  </a:extLst>
                </p:cNvPr>
                <p:cNvSpPr/>
                <p:nvPr/>
              </p:nvSpPr>
              <p:spPr>
                <a:xfrm>
                  <a:off x="9442841" y="1317396"/>
                  <a:ext cx="18310" cy="48951"/>
                </a:xfrm>
                <a:custGeom>
                  <a:avLst/>
                  <a:gdLst>
                    <a:gd name="connsiteX0" fmla="*/ 0 w 18310"/>
                    <a:gd name="connsiteY0" fmla="*/ 0 h 48951"/>
                    <a:gd name="connsiteX1" fmla="*/ 4983 w 18310"/>
                    <a:gd name="connsiteY1" fmla="*/ 18185 h 48951"/>
                    <a:gd name="connsiteX2" fmla="*/ 14324 w 18310"/>
                    <a:gd name="connsiteY2" fmla="*/ 32883 h 48951"/>
                    <a:gd name="connsiteX3" fmla="*/ 18310 w 1831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10" h="48951">
                      <a:moveTo>
                        <a:pt x="0" y="0"/>
                      </a:moveTo>
                      <a:cubicBezTo>
                        <a:pt x="623" y="8345"/>
                        <a:pt x="2989" y="14324"/>
                        <a:pt x="4983" y="18185"/>
                      </a:cubicBezTo>
                      <a:cubicBezTo>
                        <a:pt x="8221" y="24413"/>
                        <a:pt x="11335" y="26406"/>
                        <a:pt x="14324" y="32883"/>
                      </a:cubicBezTo>
                      <a:cubicBezTo>
                        <a:pt x="17314" y="39111"/>
                        <a:pt x="18061" y="44965"/>
                        <a:pt x="1831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0" name="Freeform 7032">
                  <a:extLst>
                    <a:ext uri="{FF2B5EF4-FFF2-40B4-BE49-F238E27FC236}">
                      <a16:creationId xmlns:a16="http://schemas.microsoft.com/office/drawing/2014/main" id="{7CEC4892-F439-65E7-CBF7-7BCD8358EBE3}"/>
                    </a:ext>
                  </a:extLst>
                </p:cNvPr>
                <p:cNvSpPr/>
                <p:nvPr/>
              </p:nvSpPr>
              <p:spPr>
                <a:xfrm>
                  <a:off x="9447450" y="1310172"/>
                  <a:ext cx="19805" cy="48328"/>
                </a:xfrm>
                <a:custGeom>
                  <a:avLst/>
                  <a:gdLst>
                    <a:gd name="connsiteX0" fmla="*/ 19805 w 19805"/>
                    <a:gd name="connsiteY0" fmla="*/ 48328 h 48328"/>
                    <a:gd name="connsiteX1" fmla="*/ 11086 w 19805"/>
                    <a:gd name="connsiteY1" fmla="*/ 31638 h 48328"/>
                    <a:gd name="connsiteX2" fmla="*/ 7972 w 19805"/>
                    <a:gd name="connsiteY2" fmla="*/ 14449 h 48328"/>
                    <a:gd name="connsiteX3" fmla="*/ 0 w 19805"/>
                    <a:gd name="connsiteY3" fmla="*/ 0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48328"/>
                      </a:moveTo>
                      <a:cubicBezTo>
                        <a:pt x="14574" y="41727"/>
                        <a:pt x="12207" y="35873"/>
                        <a:pt x="11086" y="31638"/>
                      </a:cubicBezTo>
                      <a:cubicBezTo>
                        <a:pt x="9217" y="24912"/>
                        <a:pt x="10089" y="21299"/>
                        <a:pt x="7972"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1" name="Freeform 7033">
                  <a:extLst>
                    <a:ext uri="{FF2B5EF4-FFF2-40B4-BE49-F238E27FC236}">
                      <a16:creationId xmlns:a16="http://schemas.microsoft.com/office/drawing/2014/main" id="{23B193F7-C6C9-C34B-FB36-FAEB094DE35E}"/>
                    </a:ext>
                  </a:extLst>
                </p:cNvPr>
                <p:cNvSpPr/>
                <p:nvPr/>
              </p:nvSpPr>
              <p:spPr>
                <a:xfrm>
                  <a:off x="9430477" y="1296279"/>
                  <a:ext cx="26274" cy="26489"/>
                </a:xfrm>
                <a:custGeom>
                  <a:avLst/>
                  <a:gdLst>
                    <a:gd name="connsiteX0" fmla="*/ 25319 w 26274"/>
                    <a:gd name="connsiteY0" fmla="*/ 8412 h 26489"/>
                    <a:gd name="connsiteX1" fmla="*/ 17969 w 26274"/>
                    <a:gd name="connsiteY1" fmla="*/ 25601 h 26489"/>
                    <a:gd name="connsiteX2" fmla="*/ 905 w 26274"/>
                    <a:gd name="connsiteY2" fmla="*/ 18128 h 26489"/>
                    <a:gd name="connsiteX3" fmla="*/ 8254 w 26274"/>
                    <a:gd name="connsiteY3" fmla="*/ 939 h 26489"/>
                    <a:gd name="connsiteX4" fmla="*/ 25319 w 26274"/>
                    <a:gd name="connsiteY4" fmla="*/ 8412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4" h="26488">
                      <a:moveTo>
                        <a:pt x="25319" y="8412"/>
                      </a:moveTo>
                      <a:cubicBezTo>
                        <a:pt x="28059" y="15263"/>
                        <a:pt x="24695" y="22861"/>
                        <a:pt x="17969" y="25601"/>
                      </a:cubicBezTo>
                      <a:cubicBezTo>
                        <a:pt x="11244" y="28217"/>
                        <a:pt x="3521" y="24854"/>
                        <a:pt x="905" y="18128"/>
                      </a:cubicBezTo>
                      <a:cubicBezTo>
                        <a:pt x="-1711" y="11277"/>
                        <a:pt x="1528" y="3679"/>
                        <a:pt x="8254" y="939"/>
                      </a:cubicBezTo>
                      <a:cubicBezTo>
                        <a:pt x="14980" y="-1801"/>
                        <a:pt x="22578" y="1686"/>
                        <a:pt x="25319" y="8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2" name="Graphic 2987">
                <a:extLst>
                  <a:ext uri="{FF2B5EF4-FFF2-40B4-BE49-F238E27FC236}">
                    <a16:creationId xmlns:a16="http://schemas.microsoft.com/office/drawing/2014/main" id="{E2F1735B-CF41-6D43-8E06-C85A398F5C33}"/>
                  </a:ext>
                </a:extLst>
              </p:cNvPr>
              <p:cNvGrpSpPr/>
              <p:nvPr/>
            </p:nvGrpSpPr>
            <p:grpSpPr>
              <a:xfrm>
                <a:off x="9403216" y="1307043"/>
                <a:ext cx="70653" cy="140780"/>
                <a:chOff x="9403216" y="1307043"/>
                <a:chExt cx="70653" cy="140780"/>
              </a:xfrm>
              <a:grpFill/>
            </p:grpSpPr>
            <p:sp>
              <p:nvSpPr>
                <p:cNvPr id="7020" name="Freeform 7035">
                  <a:extLst>
                    <a:ext uri="{FF2B5EF4-FFF2-40B4-BE49-F238E27FC236}">
                      <a16:creationId xmlns:a16="http://schemas.microsoft.com/office/drawing/2014/main" id="{E6802D1D-EC02-1B9E-CEF6-67223297E39B}"/>
                    </a:ext>
                  </a:extLst>
                </p:cNvPr>
                <p:cNvSpPr/>
                <p:nvPr/>
              </p:nvSpPr>
              <p:spPr>
                <a:xfrm>
                  <a:off x="9443215" y="1377557"/>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438" y="40481"/>
                        <a:pt x="15196" y="34627"/>
                        <a:pt x="13203" y="30766"/>
                      </a:cubicBezTo>
                      <a:cubicBezTo>
                        <a:pt x="9964" y="24538"/>
                        <a:pt x="6851" y="22545"/>
                        <a:pt x="3861" y="16068"/>
                      </a:cubicBezTo>
                      <a:cubicBezTo>
                        <a:pt x="872"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1" name="Freeform 7036">
                  <a:extLst>
                    <a:ext uri="{FF2B5EF4-FFF2-40B4-BE49-F238E27FC236}">
                      <a16:creationId xmlns:a16="http://schemas.microsoft.com/office/drawing/2014/main" id="{D97754B8-51A9-BA9E-4102-EFCFFEA27008}"/>
                    </a:ext>
                  </a:extLst>
                </p:cNvPr>
                <p:cNvSpPr/>
                <p:nvPr/>
              </p:nvSpPr>
              <p:spPr>
                <a:xfrm>
                  <a:off x="9437112" y="1385404"/>
                  <a:ext cx="19554" cy="48328"/>
                </a:xfrm>
                <a:custGeom>
                  <a:avLst/>
                  <a:gdLst>
                    <a:gd name="connsiteX0" fmla="*/ 0 w 19554"/>
                    <a:gd name="connsiteY0" fmla="*/ 0 h 48328"/>
                    <a:gd name="connsiteX1" fmla="*/ 8595 w 19554"/>
                    <a:gd name="connsiteY1" fmla="*/ 16691 h 48328"/>
                    <a:gd name="connsiteX2" fmla="*/ 11584 w 19554"/>
                    <a:gd name="connsiteY2" fmla="*/ 33880 h 48328"/>
                    <a:gd name="connsiteX3" fmla="*/ 19555 w 1955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4" h="48328">
                      <a:moveTo>
                        <a:pt x="0" y="0"/>
                      </a:moveTo>
                      <a:cubicBezTo>
                        <a:pt x="5231" y="6602"/>
                        <a:pt x="7473" y="12456"/>
                        <a:pt x="8595" y="16691"/>
                      </a:cubicBezTo>
                      <a:cubicBezTo>
                        <a:pt x="10338" y="23417"/>
                        <a:pt x="9466" y="27154"/>
                        <a:pt x="11584" y="33880"/>
                      </a:cubicBezTo>
                      <a:cubicBezTo>
                        <a:pt x="13576" y="40481"/>
                        <a:pt x="16940" y="45339"/>
                        <a:pt x="19555"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2" name="Freeform 7037">
                  <a:extLst>
                    <a:ext uri="{FF2B5EF4-FFF2-40B4-BE49-F238E27FC236}">
                      <a16:creationId xmlns:a16="http://schemas.microsoft.com/office/drawing/2014/main" id="{0BD1E997-512B-2182-8DC3-DF4EE3A305F4}"/>
                    </a:ext>
                  </a:extLst>
                </p:cNvPr>
                <p:cNvSpPr/>
                <p:nvPr/>
              </p:nvSpPr>
              <p:spPr>
                <a:xfrm>
                  <a:off x="9447079" y="1421194"/>
                  <a:ext cx="26790" cy="26629"/>
                </a:xfrm>
                <a:custGeom>
                  <a:avLst/>
                  <a:gdLst>
                    <a:gd name="connsiteX0" fmla="*/ 870 w 26790"/>
                    <a:gd name="connsiteY0" fmla="*/ 18268 h 26629"/>
                    <a:gd name="connsiteX1" fmla="*/ 8593 w 26790"/>
                    <a:gd name="connsiteY1" fmla="*/ 955 h 26629"/>
                    <a:gd name="connsiteX2" fmla="*/ 25906 w 26790"/>
                    <a:gd name="connsiteY2" fmla="*/ 8428 h 26629"/>
                    <a:gd name="connsiteX3" fmla="*/ 18183 w 26790"/>
                    <a:gd name="connsiteY3" fmla="*/ 25742 h 26629"/>
                    <a:gd name="connsiteX4" fmla="*/ 870 w 26790"/>
                    <a:gd name="connsiteY4" fmla="*/ 18268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629">
                      <a:moveTo>
                        <a:pt x="870" y="18268"/>
                      </a:moveTo>
                      <a:cubicBezTo>
                        <a:pt x="-1746" y="11418"/>
                        <a:pt x="1742" y="3695"/>
                        <a:pt x="8593" y="955"/>
                      </a:cubicBezTo>
                      <a:cubicBezTo>
                        <a:pt x="15443" y="-1786"/>
                        <a:pt x="23166" y="1578"/>
                        <a:pt x="25906" y="8428"/>
                      </a:cubicBezTo>
                      <a:cubicBezTo>
                        <a:pt x="28521" y="15279"/>
                        <a:pt x="25158" y="23001"/>
                        <a:pt x="18183" y="25742"/>
                      </a:cubicBezTo>
                      <a:cubicBezTo>
                        <a:pt x="11208" y="28357"/>
                        <a:pt x="3485" y="24994"/>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3" name="Freeform 7038">
                  <a:extLst>
                    <a:ext uri="{FF2B5EF4-FFF2-40B4-BE49-F238E27FC236}">
                      <a16:creationId xmlns:a16="http://schemas.microsoft.com/office/drawing/2014/main" id="{B9892B13-D684-905B-538A-E3D8E5FA8F06}"/>
                    </a:ext>
                  </a:extLst>
                </p:cNvPr>
                <p:cNvSpPr/>
                <p:nvPr/>
              </p:nvSpPr>
              <p:spPr>
                <a:xfrm>
                  <a:off x="9415563" y="1328233"/>
                  <a:ext cx="18061" cy="48951"/>
                </a:xfrm>
                <a:custGeom>
                  <a:avLst/>
                  <a:gdLst>
                    <a:gd name="connsiteX0" fmla="*/ 0 w 18061"/>
                    <a:gd name="connsiteY0" fmla="*/ 0 h 48951"/>
                    <a:gd name="connsiteX1" fmla="*/ 4858 w 18061"/>
                    <a:gd name="connsiteY1" fmla="*/ 18185 h 48951"/>
                    <a:gd name="connsiteX2" fmla="*/ 14200 w 18061"/>
                    <a:gd name="connsiteY2" fmla="*/ 3288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623" y="8345"/>
                        <a:pt x="2865" y="14324"/>
                        <a:pt x="4858" y="18185"/>
                      </a:cubicBezTo>
                      <a:cubicBezTo>
                        <a:pt x="8097" y="24413"/>
                        <a:pt x="11210" y="26406"/>
                        <a:pt x="14200" y="32883"/>
                      </a:cubicBezTo>
                      <a:cubicBezTo>
                        <a:pt x="17189" y="39111"/>
                        <a:pt x="17936" y="44965"/>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4" name="Freeform 7039">
                  <a:extLst>
                    <a:ext uri="{FF2B5EF4-FFF2-40B4-BE49-F238E27FC236}">
                      <a16:creationId xmlns:a16="http://schemas.microsoft.com/office/drawing/2014/main" id="{AEB7294D-1CD6-AD5B-FCC0-604677D15CB9}"/>
                    </a:ext>
                  </a:extLst>
                </p:cNvPr>
                <p:cNvSpPr/>
                <p:nvPr/>
              </p:nvSpPr>
              <p:spPr>
                <a:xfrm>
                  <a:off x="9420296" y="1321008"/>
                  <a:ext cx="19430" cy="48328"/>
                </a:xfrm>
                <a:custGeom>
                  <a:avLst/>
                  <a:gdLst>
                    <a:gd name="connsiteX0" fmla="*/ 19431 w 19430"/>
                    <a:gd name="connsiteY0" fmla="*/ 48328 h 48328"/>
                    <a:gd name="connsiteX1" fmla="*/ 10836 w 19430"/>
                    <a:gd name="connsiteY1" fmla="*/ 31638 h 48328"/>
                    <a:gd name="connsiteX2" fmla="*/ 7847 w 19430"/>
                    <a:gd name="connsiteY2" fmla="*/ 14449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4200" y="41727"/>
                        <a:pt x="11958" y="35873"/>
                        <a:pt x="10836" y="31638"/>
                      </a:cubicBezTo>
                      <a:cubicBezTo>
                        <a:pt x="9093" y="24912"/>
                        <a:pt x="9964" y="21299"/>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5" name="Freeform 7040">
                  <a:extLst>
                    <a:ext uri="{FF2B5EF4-FFF2-40B4-BE49-F238E27FC236}">
                      <a16:creationId xmlns:a16="http://schemas.microsoft.com/office/drawing/2014/main" id="{9197C42E-7426-DC44-EFDA-C339FB2A740E}"/>
                    </a:ext>
                  </a:extLst>
                </p:cNvPr>
                <p:cNvSpPr/>
                <p:nvPr/>
              </p:nvSpPr>
              <p:spPr>
                <a:xfrm>
                  <a:off x="9403216" y="1307043"/>
                  <a:ext cx="26204" cy="26559"/>
                </a:xfrm>
                <a:custGeom>
                  <a:avLst/>
                  <a:gdLst>
                    <a:gd name="connsiteX0" fmla="*/ 25302 w 26204"/>
                    <a:gd name="connsiteY0" fmla="*/ 8484 h 26559"/>
                    <a:gd name="connsiteX1" fmla="*/ 17828 w 26204"/>
                    <a:gd name="connsiteY1" fmla="*/ 25673 h 26559"/>
                    <a:gd name="connsiteX2" fmla="*/ 888 w 26204"/>
                    <a:gd name="connsiteY2" fmla="*/ 18075 h 26559"/>
                    <a:gd name="connsiteX3" fmla="*/ 8361 w 26204"/>
                    <a:gd name="connsiteY3" fmla="*/ 886 h 26559"/>
                    <a:gd name="connsiteX4" fmla="*/ 25302 w 26204"/>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4" h="26559">
                      <a:moveTo>
                        <a:pt x="25302" y="8484"/>
                      </a:moveTo>
                      <a:cubicBezTo>
                        <a:pt x="27917" y="15335"/>
                        <a:pt x="24678" y="23058"/>
                        <a:pt x="17828" y="25673"/>
                      </a:cubicBezTo>
                      <a:cubicBezTo>
                        <a:pt x="10977"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3" name="Graphic 2987">
                <a:extLst>
                  <a:ext uri="{FF2B5EF4-FFF2-40B4-BE49-F238E27FC236}">
                    <a16:creationId xmlns:a16="http://schemas.microsoft.com/office/drawing/2014/main" id="{2B42AF2D-6A09-C3DA-EF19-CA99C609F120}"/>
                  </a:ext>
                </a:extLst>
              </p:cNvPr>
              <p:cNvGrpSpPr/>
              <p:nvPr/>
            </p:nvGrpSpPr>
            <p:grpSpPr>
              <a:xfrm>
                <a:off x="9375938" y="1317755"/>
                <a:ext cx="69891" cy="141096"/>
                <a:chOff x="9375938" y="1317755"/>
                <a:chExt cx="69891" cy="141096"/>
              </a:xfrm>
              <a:grpFill/>
            </p:grpSpPr>
            <p:sp>
              <p:nvSpPr>
                <p:cNvPr id="7014" name="Freeform 7042">
                  <a:extLst>
                    <a:ext uri="{FF2B5EF4-FFF2-40B4-BE49-F238E27FC236}">
                      <a16:creationId xmlns:a16="http://schemas.microsoft.com/office/drawing/2014/main" id="{439A5455-CEE2-FED2-3567-AC87B5D52E1C}"/>
                    </a:ext>
                  </a:extLst>
                </p:cNvPr>
                <p:cNvSpPr/>
                <p:nvPr/>
              </p:nvSpPr>
              <p:spPr>
                <a:xfrm>
                  <a:off x="9415439" y="1388518"/>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563" y="40481"/>
                        <a:pt x="15196" y="34627"/>
                        <a:pt x="13203" y="30766"/>
                      </a:cubicBezTo>
                      <a:cubicBezTo>
                        <a:pt x="9965" y="24538"/>
                        <a:pt x="6975" y="22545"/>
                        <a:pt x="3861"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5" name="Freeform 7043">
                  <a:extLst>
                    <a:ext uri="{FF2B5EF4-FFF2-40B4-BE49-F238E27FC236}">
                      <a16:creationId xmlns:a16="http://schemas.microsoft.com/office/drawing/2014/main" id="{5E929D49-806D-8B46-6EF3-B914859271C5}"/>
                    </a:ext>
                  </a:extLst>
                </p:cNvPr>
                <p:cNvSpPr/>
                <p:nvPr/>
              </p:nvSpPr>
              <p:spPr>
                <a:xfrm>
                  <a:off x="9409460" y="1396366"/>
                  <a:ext cx="19181" cy="48328"/>
                </a:xfrm>
                <a:custGeom>
                  <a:avLst/>
                  <a:gdLst>
                    <a:gd name="connsiteX0" fmla="*/ 0 w 19181"/>
                    <a:gd name="connsiteY0" fmla="*/ 0 h 48328"/>
                    <a:gd name="connsiteX1" fmla="*/ 8470 w 19181"/>
                    <a:gd name="connsiteY1" fmla="*/ 16691 h 48328"/>
                    <a:gd name="connsiteX2" fmla="*/ 11335 w 19181"/>
                    <a:gd name="connsiteY2" fmla="*/ 33880 h 48328"/>
                    <a:gd name="connsiteX3" fmla="*/ 19182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0" y="0"/>
                      </a:moveTo>
                      <a:cubicBezTo>
                        <a:pt x="5107" y="6602"/>
                        <a:pt x="7349" y="12580"/>
                        <a:pt x="8470" y="16691"/>
                      </a:cubicBezTo>
                      <a:cubicBezTo>
                        <a:pt x="10214" y="23541"/>
                        <a:pt x="9342" y="27154"/>
                        <a:pt x="11335" y="33880"/>
                      </a:cubicBezTo>
                      <a:cubicBezTo>
                        <a:pt x="13328" y="40481"/>
                        <a:pt x="16691" y="45339"/>
                        <a:pt x="19182"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6" name="Freeform 7044">
                  <a:extLst>
                    <a:ext uri="{FF2B5EF4-FFF2-40B4-BE49-F238E27FC236}">
                      <a16:creationId xmlns:a16="http://schemas.microsoft.com/office/drawing/2014/main" id="{EDC75CDA-C51E-3FB6-0C9B-0AFCA5E75F7B}"/>
                    </a:ext>
                  </a:extLst>
                </p:cNvPr>
                <p:cNvSpPr/>
                <p:nvPr/>
              </p:nvSpPr>
              <p:spPr>
                <a:xfrm>
                  <a:off x="9419178" y="1432155"/>
                  <a:ext cx="26651" cy="26696"/>
                </a:xfrm>
                <a:custGeom>
                  <a:avLst/>
                  <a:gdLst>
                    <a:gd name="connsiteX0" fmla="*/ 870 w 26651"/>
                    <a:gd name="connsiteY0" fmla="*/ 18268 h 26696"/>
                    <a:gd name="connsiteX1" fmla="*/ 8593 w 26651"/>
                    <a:gd name="connsiteY1" fmla="*/ 955 h 26696"/>
                    <a:gd name="connsiteX2" fmla="*/ 25782 w 26651"/>
                    <a:gd name="connsiteY2" fmla="*/ 8428 h 26696"/>
                    <a:gd name="connsiteX3" fmla="*/ 18058 w 26651"/>
                    <a:gd name="connsiteY3" fmla="*/ 25742 h 26696"/>
                    <a:gd name="connsiteX4" fmla="*/ 870 w 26651"/>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1" h="26696">
                      <a:moveTo>
                        <a:pt x="870" y="18268"/>
                      </a:moveTo>
                      <a:cubicBezTo>
                        <a:pt x="-1746" y="11418"/>
                        <a:pt x="1741" y="3695"/>
                        <a:pt x="8593" y="955"/>
                      </a:cubicBezTo>
                      <a:cubicBezTo>
                        <a:pt x="15443" y="-1786"/>
                        <a:pt x="23166" y="1577"/>
                        <a:pt x="25782" y="8428"/>
                      </a:cubicBezTo>
                      <a:cubicBezTo>
                        <a:pt x="28397" y="15279"/>
                        <a:pt x="24910" y="23001"/>
                        <a:pt x="18058" y="25742"/>
                      </a:cubicBezTo>
                      <a:cubicBezTo>
                        <a:pt x="11208" y="28482"/>
                        <a:pt x="3485" y="25119"/>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7" name="Freeform 7045">
                  <a:extLst>
                    <a:ext uri="{FF2B5EF4-FFF2-40B4-BE49-F238E27FC236}">
                      <a16:creationId xmlns:a16="http://schemas.microsoft.com/office/drawing/2014/main" id="{3482A12C-0B51-C4C3-B0AE-7311D38A4490}"/>
                    </a:ext>
                  </a:extLst>
                </p:cNvPr>
                <p:cNvSpPr/>
                <p:nvPr/>
              </p:nvSpPr>
              <p:spPr>
                <a:xfrm>
                  <a:off x="9388160" y="1339069"/>
                  <a:ext cx="17936" cy="48951"/>
                </a:xfrm>
                <a:custGeom>
                  <a:avLst/>
                  <a:gdLst>
                    <a:gd name="connsiteX0" fmla="*/ 0 w 17936"/>
                    <a:gd name="connsiteY0" fmla="*/ 0 h 48951"/>
                    <a:gd name="connsiteX1" fmla="*/ 4858 w 17936"/>
                    <a:gd name="connsiteY1" fmla="*/ 18185 h 48951"/>
                    <a:gd name="connsiteX2" fmla="*/ 14075 w 17936"/>
                    <a:gd name="connsiteY2" fmla="*/ 32883 h 48951"/>
                    <a:gd name="connsiteX3" fmla="*/ 17936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0" y="0"/>
                      </a:moveTo>
                      <a:cubicBezTo>
                        <a:pt x="623" y="8470"/>
                        <a:pt x="2865" y="14324"/>
                        <a:pt x="4858" y="18185"/>
                      </a:cubicBezTo>
                      <a:cubicBezTo>
                        <a:pt x="8097" y="24413"/>
                        <a:pt x="11086" y="26531"/>
                        <a:pt x="14075" y="32883"/>
                      </a:cubicBezTo>
                      <a:cubicBezTo>
                        <a:pt x="16940" y="39111"/>
                        <a:pt x="17688" y="44965"/>
                        <a:pt x="17936"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8" name="Freeform 7046">
                  <a:extLst>
                    <a:ext uri="{FF2B5EF4-FFF2-40B4-BE49-F238E27FC236}">
                      <a16:creationId xmlns:a16="http://schemas.microsoft.com/office/drawing/2014/main" id="{EB5A3F72-82E2-224B-964B-347CFFE0ABB8}"/>
                    </a:ext>
                  </a:extLst>
                </p:cNvPr>
                <p:cNvSpPr/>
                <p:nvPr/>
              </p:nvSpPr>
              <p:spPr>
                <a:xfrm>
                  <a:off x="9392894" y="1331845"/>
                  <a:ext cx="19182" cy="48328"/>
                </a:xfrm>
                <a:custGeom>
                  <a:avLst/>
                  <a:gdLst>
                    <a:gd name="connsiteX0" fmla="*/ 19182 w 19182"/>
                    <a:gd name="connsiteY0" fmla="*/ 48328 h 48328"/>
                    <a:gd name="connsiteX1" fmla="*/ 10713 w 19182"/>
                    <a:gd name="connsiteY1" fmla="*/ 31638 h 48328"/>
                    <a:gd name="connsiteX2" fmla="*/ 7847 w 19182"/>
                    <a:gd name="connsiteY2" fmla="*/ 14449 h 48328"/>
                    <a:gd name="connsiteX3" fmla="*/ 0 w 19182"/>
                    <a:gd name="connsiteY3" fmla="*/ 0 h 48328"/>
                  </a:gdLst>
                  <a:ahLst/>
                  <a:cxnLst>
                    <a:cxn ang="0">
                      <a:pos x="connsiteX0" y="connsiteY0"/>
                    </a:cxn>
                    <a:cxn ang="0">
                      <a:pos x="connsiteX1" y="connsiteY1"/>
                    </a:cxn>
                    <a:cxn ang="0">
                      <a:pos x="connsiteX2" y="connsiteY2"/>
                    </a:cxn>
                    <a:cxn ang="0">
                      <a:pos x="connsiteX3" y="connsiteY3"/>
                    </a:cxn>
                  </a:cxnLst>
                  <a:rect l="l" t="t" r="r" b="b"/>
                  <a:pathLst>
                    <a:path w="19182" h="48328">
                      <a:moveTo>
                        <a:pt x="19182" y="48328"/>
                      </a:moveTo>
                      <a:cubicBezTo>
                        <a:pt x="13950" y="41727"/>
                        <a:pt x="11833" y="35748"/>
                        <a:pt x="10713" y="31638"/>
                      </a:cubicBezTo>
                      <a:cubicBezTo>
                        <a:pt x="8969" y="24912"/>
                        <a:pt x="9841" y="21175"/>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9" name="Freeform 7047">
                  <a:extLst>
                    <a:ext uri="{FF2B5EF4-FFF2-40B4-BE49-F238E27FC236}">
                      <a16:creationId xmlns:a16="http://schemas.microsoft.com/office/drawing/2014/main" id="{5DCC9A7B-45AD-26FA-3812-51AC737581E2}"/>
                    </a:ext>
                  </a:extLst>
                </p:cNvPr>
                <p:cNvSpPr/>
                <p:nvPr/>
              </p:nvSpPr>
              <p:spPr>
                <a:xfrm>
                  <a:off x="9375938" y="1317755"/>
                  <a:ext cx="26189" cy="26559"/>
                </a:xfrm>
                <a:custGeom>
                  <a:avLst/>
                  <a:gdLst>
                    <a:gd name="connsiteX0" fmla="*/ 25302 w 26189"/>
                    <a:gd name="connsiteY0" fmla="*/ 8484 h 26559"/>
                    <a:gd name="connsiteX1" fmla="*/ 17828 w 26189"/>
                    <a:gd name="connsiteY1" fmla="*/ 25673 h 26559"/>
                    <a:gd name="connsiteX2" fmla="*/ 888 w 26189"/>
                    <a:gd name="connsiteY2" fmla="*/ 18075 h 26559"/>
                    <a:gd name="connsiteX3" fmla="*/ 8361 w 26189"/>
                    <a:gd name="connsiteY3" fmla="*/ 886 h 26559"/>
                    <a:gd name="connsiteX4" fmla="*/ 25302 w 2618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59">
                      <a:moveTo>
                        <a:pt x="25302" y="8484"/>
                      </a:moveTo>
                      <a:cubicBezTo>
                        <a:pt x="27917" y="15335"/>
                        <a:pt x="24554" y="23058"/>
                        <a:pt x="17828" y="25673"/>
                      </a:cubicBezTo>
                      <a:cubicBezTo>
                        <a:pt x="11102"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4" name="Graphic 2987">
                <a:extLst>
                  <a:ext uri="{FF2B5EF4-FFF2-40B4-BE49-F238E27FC236}">
                    <a16:creationId xmlns:a16="http://schemas.microsoft.com/office/drawing/2014/main" id="{82D77E7D-2FCA-7E3E-0269-A9CAB573E304}"/>
                  </a:ext>
                </a:extLst>
              </p:cNvPr>
              <p:cNvGrpSpPr/>
              <p:nvPr/>
            </p:nvGrpSpPr>
            <p:grpSpPr>
              <a:xfrm>
                <a:off x="9348568" y="1328541"/>
                <a:ext cx="69607" cy="141273"/>
                <a:chOff x="9348568" y="1328541"/>
                <a:chExt cx="69607" cy="141273"/>
              </a:xfrm>
              <a:grpFill/>
            </p:grpSpPr>
            <p:sp>
              <p:nvSpPr>
                <p:cNvPr id="7008" name="Freeform 7049">
                  <a:extLst>
                    <a:ext uri="{FF2B5EF4-FFF2-40B4-BE49-F238E27FC236}">
                      <a16:creationId xmlns:a16="http://schemas.microsoft.com/office/drawing/2014/main" id="{43C38DB4-965E-F4B0-9988-5EAFFF46930F}"/>
                    </a:ext>
                  </a:extLst>
                </p:cNvPr>
                <p:cNvSpPr/>
                <p:nvPr/>
              </p:nvSpPr>
              <p:spPr>
                <a:xfrm>
                  <a:off x="9387912" y="1399604"/>
                  <a:ext cx="17686" cy="48951"/>
                </a:xfrm>
                <a:custGeom>
                  <a:avLst/>
                  <a:gdLst>
                    <a:gd name="connsiteX0" fmla="*/ 17687 w 17686"/>
                    <a:gd name="connsiteY0" fmla="*/ 48951 h 48951"/>
                    <a:gd name="connsiteX1" fmla="*/ 12954 w 17686"/>
                    <a:gd name="connsiteY1" fmla="*/ 30766 h 48951"/>
                    <a:gd name="connsiteX2" fmla="*/ 3737 w 17686"/>
                    <a:gd name="connsiteY2" fmla="*/ 16068 h 48951"/>
                    <a:gd name="connsiteX3" fmla="*/ 0 w 17686"/>
                    <a:gd name="connsiteY3" fmla="*/ 0 h 48951"/>
                  </a:gdLst>
                  <a:ahLst/>
                  <a:cxnLst>
                    <a:cxn ang="0">
                      <a:pos x="connsiteX0" y="connsiteY0"/>
                    </a:cxn>
                    <a:cxn ang="0">
                      <a:pos x="connsiteX1" y="connsiteY1"/>
                    </a:cxn>
                    <a:cxn ang="0">
                      <a:pos x="connsiteX2" y="connsiteY2"/>
                    </a:cxn>
                    <a:cxn ang="0">
                      <a:pos x="connsiteX3" y="connsiteY3"/>
                    </a:cxn>
                  </a:cxnLst>
                  <a:rect l="l" t="t" r="r" b="b"/>
                  <a:pathLst>
                    <a:path w="17686" h="48951">
                      <a:moveTo>
                        <a:pt x="17687" y="48951"/>
                      </a:moveTo>
                      <a:cubicBezTo>
                        <a:pt x="17189" y="40481"/>
                        <a:pt x="14947" y="34627"/>
                        <a:pt x="12954" y="30766"/>
                      </a:cubicBezTo>
                      <a:cubicBezTo>
                        <a:pt x="9715" y="24538"/>
                        <a:pt x="6726" y="22420"/>
                        <a:pt x="3737" y="16068"/>
                      </a:cubicBezTo>
                      <a:cubicBezTo>
                        <a:pt x="872" y="9840"/>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9" name="Freeform 7050">
                  <a:extLst>
                    <a:ext uri="{FF2B5EF4-FFF2-40B4-BE49-F238E27FC236}">
                      <a16:creationId xmlns:a16="http://schemas.microsoft.com/office/drawing/2014/main" id="{2AD0A1B4-B299-E3F2-77A0-B8C74D9F83FE}"/>
                    </a:ext>
                  </a:extLst>
                </p:cNvPr>
                <p:cNvSpPr/>
                <p:nvPr/>
              </p:nvSpPr>
              <p:spPr>
                <a:xfrm>
                  <a:off x="9381809" y="1407202"/>
                  <a:ext cx="18807" cy="48577"/>
                </a:xfrm>
                <a:custGeom>
                  <a:avLst/>
                  <a:gdLst>
                    <a:gd name="connsiteX0" fmla="*/ 0 w 18807"/>
                    <a:gd name="connsiteY0" fmla="*/ 0 h 48577"/>
                    <a:gd name="connsiteX1" fmla="*/ 8345 w 18807"/>
                    <a:gd name="connsiteY1" fmla="*/ 16815 h 48577"/>
                    <a:gd name="connsiteX2" fmla="*/ 11085 w 18807"/>
                    <a:gd name="connsiteY2" fmla="*/ 34004 h 48577"/>
                    <a:gd name="connsiteX3" fmla="*/ 18808 w 18807"/>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7" h="48577">
                      <a:moveTo>
                        <a:pt x="0" y="0"/>
                      </a:moveTo>
                      <a:cubicBezTo>
                        <a:pt x="5107" y="6602"/>
                        <a:pt x="7348" y="12580"/>
                        <a:pt x="8345" y="16815"/>
                      </a:cubicBezTo>
                      <a:cubicBezTo>
                        <a:pt x="10089" y="23666"/>
                        <a:pt x="9092" y="27278"/>
                        <a:pt x="11085" y="34004"/>
                      </a:cubicBezTo>
                      <a:cubicBezTo>
                        <a:pt x="13078" y="40606"/>
                        <a:pt x="16317" y="45588"/>
                        <a:pt x="18808"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0" name="Freeform 7051">
                  <a:extLst>
                    <a:ext uri="{FF2B5EF4-FFF2-40B4-BE49-F238E27FC236}">
                      <a16:creationId xmlns:a16="http://schemas.microsoft.com/office/drawing/2014/main" id="{C48615F7-543E-B28C-6854-C734ABB47F10}"/>
                    </a:ext>
                  </a:extLst>
                </p:cNvPr>
                <p:cNvSpPr/>
                <p:nvPr/>
              </p:nvSpPr>
              <p:spPr>
                <a:xfrm>
                  <a:off x="9391308" y="1443116"/>
                  <a:ext cx="26867" cy="26698"/>
                </a:xfrm>
                <a:custGeom>
                  <a:avLst/>
                  <a:gdLst>
                    <a:gd name="connsiteX0" fmla="*/ 838 w 26867"/>
                    <a:gd name="connsiteY0" fmla="*/ 18019 h 26698"/>
                    <a:gd name="connsiteX1" fmla="*/ 8810 w 26867"/>
                    <a:gd name="connsiteY1" fmla="*/ 955 h 26698"/>
                    <a:gd name="connsiteX2" fmla="*/ 25999 w 26867"/>
                    <a:gd name="connsiteY2" fmla="*/ 8428 h 26698"/>
                    <a:gd name="connsiteX3" fmla="*/ 18152 w 26867"/>
                    <a:gd name="connsiteY3" fmla="*/ 25742 h 26698"/>
                    <a:gd name="connsiteX4" fmla="*/ 838 w 26867"/>
                    <a:gd name="connsiteY4" fmla="*/ 18019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7" h="26698">
                      <a:moveTo>
                        <a:pt x="838" y="18019"/>
                      </a:moveTo>
                      <a:cubicBezTo>
                        <a:pt x="-1777" y="11044"/>
                        <a:pt x="1960" y="3820"/>
                        <a:pt x="8810" y="955"/>
                      </a:cubicBezTo>
                      <a:cubicBezTo>
                        <a:pt x="15661" y="-1786"/>
                        <a:pt x="23383" y="1578"/>
                        <a:pt x="25999" y="8428"/>
                      </a:cubicBezTo>
                      <a:cubicBezTo>
                        <a:pt x="28615" y="15279"/>
                        <a:pt x="25127" y="23001"/>
                        <a:pt x="18152" y="25742"/>
                      </a:cubicBezTo>
                      <a:cubicBezTo>
                        <a:pt x="11177" y="28607"/>
                        <a:pt x="3330" y="24745"/>
                        <a:pt x="838" y="18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1" name="Freeform 7052">
                  <a:extLst>
                    <a:ext uri="{FF2B5EF4-FFF2-40B4-BE49-F238E27FC236}">
                      <a16:creationId xmlns:a16="http://schemas.microsoft.com/office/drawing/2014/main" id="{3A9ECAE2-80B8-75B7-992F-F9B78445F82B}"/>
                    </a:ext>
                  </a:extLst>
                </p:cNvPr>
                <p:cNvSpPr/>
                <p:nvPr/>
              </p:nvSpPr>
              <p:spPr>
                <a:xfrm>
                  <a:off x="9360883" y="1349781"/>
                  <a:ext cx="17686" cy="49075"/>
                </a:xfrm>
                <a:custGeom>
                  <a:avLst/>
                  <a:gdLst>
                    <a:gd name="connsiteX0" fmla="*/ 0 w 17686"/>
                    <a:gd name="connsiteY0" fmla="*/ 0 h 49075"/>
                    <a:gd name="connsiteX1" fmla="*/ 4732 w 17686"/>
                    <a:gd name="connsiteY1" fmla="*/ 18185 h 49075"/>
                    <a:gd name="connsiteX2" fmla="*/ 13950 w 17686"/>
                    <a:gd name="connsiteY2" fmla="*/ 33008 h 49075"/>
                    <a:gd name="connsiteX3" fmla="*/ 17687 w 17686"/>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6" h="49075">
                      <a:moveTo>
                        <a:pt x="0" y="0"/>
                      </a:moveTo>
                      <a:cubicBezTo>
                        <a:pt x="498" y="8470"/>
                        <a:pt x="2740" y="14324"/>
                        <a:pt x="4732" y="18185"/>
                      </a:cubicBezTo>
                      <a:cubicBezTo>
                        <a:pt x="7846" y="24413"/>
                        <a:pt x="10960" y="26531"/>
                        <a:pt x="13950" y="33008"/>
                      </a:cubicBezTo>
                      <a:cubicBezTo>
                        <a:pt x="16815" y="39236"/>
                        <a:pt x="17562" y="45214"/>
                        <a:pt x="17687"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2" name="Freeform 7053">
                  <a:extLst>
                    <a:ext uri="{FF2B5EF4-FFF2-40B4-BE49-F238E27FC236}">
                      <a16:creationId xmlns:a16="http://schemas.microsoft.com/office/drawing/2014/main" id="{740A6E44-48AD-FFE3-5049-CCA80C7584A7}"/>
                    </a:ext>
                  </a:extLst>
                </p:cNvPr>
                <p:cNvSpPr/>
                <p:nvPr/>
              </p:nvSpPr>
              <p:spPr>
                <a:xfrm>
                  <a:off x="9365615" y="1342557"/>
                  <a:ext cx="18933" cy="48577"/>
                </a:xfrm>
                <a:custGeom>
                  <a:avLst/>
                  <a:gdLst>
                    <a:gd name="connsiteX0" fmla="*/ 18933 w 18933"/>
                    <a:gd name="connsiteY0" fmla="*/ 48577 h 48577"/>
                    <a:gd name="connsiteX1" fmla="*/ 10588 w 18933"/>
                    <a:gd name="connsiteY1" fmla="*/ 31762 h 48577"/>
                    <a:gd name="connsiteX2" fmla="*/ 7723 w 18933"/>
                    <a:gd name="connsiteY2" fmla="*/ 14573 h 48577"/>
                    <a:gd name="connsiteX3" fmla="*/ 0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48577"/>
                      </a:moveTo>
                      <a:cubicBezTo>
                        <a:pt x="13826" y="41976"/>
                        <a:pt x="11585" y="35997"/>
                        <a:pt x="10588" y="31762"/>
                      </a:cubicBezTo>
                      <a:cubicBezTo>
                        <a:pt x="8844" y="24912"/>
                        <a:pt x="9716" y="21299"/>
                        <a:pt x="7723" y="14573"/>
                      </a:cubicBezTo>
                      <a:cubicBezTo>
                        <a:pt x="5730" y="7972"/>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3" name="Freeform 7054">
                  <a:extLst>
                    <a:ext uri="{FF2B5EF4-FFF2-40B4-BE49-F238E27FC236}">
                      <a16:creationId xmlns:a16="http://schemas.microsoft.com/office/drawing/2014/main" id="{187582E2-3EB6-71C5-B372-7C4C732B77EF}"/>
                    </a:ext>
                  </a:extLst>
                </p:cNvPr>
                <p:cNvSpPr/>
                <p:nvPr/>
              </p:nvSpPr>
              <p:spPr>
                <a:xfrm>
                  <a:off x="9348568" y="1328541"/>
                  <a:ext cx="26279" cy="26614"/>
                </a:xfrm>
                <a:custGeom>
                  <a:avLst/>
                  <a:gdLst>
                    <a:gd name="connsiteX0" fmla="*/ 25393 w 26279"/>
                    <a:gd name="connsiteY0" fmla="*/ 8535 h 26614"/>
                    <a:gd name="connsiteX1" fmla="*/ 17795 w 26279"/>
                    <a:gd name="connsiteY1" fmla="*/ 25724 h 26614"/>
                    <a:gd name="connsiteX2" fmla="*/ 855 w 26279"/>
                    <a:gd name="connsiteY2" fmla="*/ 17877 h 26614"/>
                    <a:gd name="connsiteX3" fmla="*/ 8578 w 26279"/>
                    <a:gd name="connsiteY3" fmla="*/ 937 h 26614"/>
                    <a:gd name="connsiteX4" fmla="*/ 25393 w 26279"/>
                    <a:gd name="connsiteY4" fmla="*/ 8535 h 26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9" h="26613">
                      <a:moveTo>
                        <a:pt x="25393" y="8535"/>
                      </a:moveTo>
                      <a:cubicBezTo>
                        <a:pt x="28009" y="15386"/>
                        <a:pt x="24646" y="23109"/>
                        <a:pt x="17795" y="25724"/>
                      </a:cubicBezTo>
                      <a:cubicBezTo>
                        <a:pt x="11069" y="28465"/>
                        <a:pt x="3346" y="24603"/>
                        <a:pt x="855" y="17877"/>
                      </a:cubicBezTo>
                      <a:cubicBezTo>
                        <a:pt x="-1760" y="10902"/>
                        <a:pt x="1852" y="3678"/>
                        <a:pt x="8578" y="937"/>
                      </a:cubicBezTo>
                      <a:cubicBezTo>
                        <a:pt x="15304" y="-1803"/>
                        <a:pt x="22777" y="1685"/>
                        <a:pt x="25393" y="85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5" name="Graphic 2987">
                <a:extLst>
                  <a:ext uri="{FF2B5EF4-FFF2-40B4-BE49-F238E27FC236}">
                    <a16:creationId xmlns:a16="http://schemas.microsoft.com/office/drawing/2014/main" id="{7A82E08A-45DA-FBBD-7658-E5E31AAF6248}"/>
                  </a:ext>
                </a:extLst>
              </p:cNvPr>
              <p:cNvGrpSpPr/>
              <p:nvPr/>
            </p:nvGrpSpPr>
            <p:grpSpPr>
              <a:xfrm>
                <a:off x="9320968" y="1338593"/>
                <a:ext cx="68990" cy="141268"/>
                <a:chOff x="9320968" y="1338593"/>
                <a:chExt cx="68990" cy="141268"/>
              </a:xfrm>
              <a:grpFill/>
            </p:grpSpPr>
            <p:sp>
              <p:nvSpPr>
                <p:cNvPr id="7002" name="Freeform 7056">
                  <a:extLst>
                    <a:ext uri="{FF2B5EF4-FFF2-40B4-BE49-F238E27FC236}">
                      <a16:creationId xmlns:a16="http://schemas.microsoft.com/office/drawing/2014/main" id="{A1C94C4F-0B20-25D3-D8B4-41B9CCD90F98}"/>
                    </a:ext>
                  </a:extLst>
                </p:cNvPr>
                <p:cNvSpPr/>
                <p:nvPr/>
              </p:nvSpPr>
              <p:spPr>
                <a:xfrm>
                  <a:off x="9360135" y="1409693"/>
                  <a:ext cx="17438" cy="49075"/>
                </a:xfrm>
                <a:custGeom>
                  <a:avLst/>
                  <a:gdLst>
                    <a:gd name="connsiteX0" fmla="*/ 17438 w 17438"/>
                    <a:gd name="connsiteY0" fmla="*/ 49076 h 49075"/>
                    <a:gd name="connsiteX1" fmla="*/ 12830 w 17438"/>
                    <a:gd name="connsiteY1" fmla="*/ 30890 h 49075"/>
                    <a:gd name="connsiteX2" fmla="*/ 3613 w 17438"/>
                    <a:gd name="connsiteY2" fmla="*/ 16068 h 49075"/>
                    <a:gd name="connsiteX3" fmla="*/ 0 w 17438"/>
                    <a:gd name="connsiteY3" fmla="*/ 0 h 49075"/>
                  </a:gdLst>
                  <a:ahLst/>
                  <a:cxnLst>
                    <a:cxn ang="0">
                      <a:pos x="connsiteX0" y="connsiteY0"/>
                    </a:cxn>
                    <a:cxn ang="0">
                      <a:pos x="connsiteX1" y="connsiteY1"/>
                    </a:cxn>
                    <a:cxn ang="0">
                      <a:pos x="connsiteX2" y="connsiteY2"/>
                    </a:cxn>
                    <a:cxn ang="0">
                      <a:pos x="connsiteX3" y="connsiteY3"/>
                    </a:cxn>
                  </a:cxnLst>
                  <a:rect l="l" t="t" r="r" b="b"/>
                  <a:pathLst>
                    <a:path w="17438" h="49075">
                      <a:moveTo>
                        <a:pt x="17438" y="49076"/>
                      </a:moveTo>
                      <a:cubicBezTo>
                        <a:pt x="17065" y="40730"/>
                        <a:pt x="14822" y="34752"/>
                        <a:pt x="12830" y="30890"/>
                      </a:cubicBezTo>
                      <a:cubicBezTo>
                        <a:pt x="9716" y="24662"/>
                        <a:pt x="6602" y="22545"/>
                        <a:pt x="3613" y="16068"/>
                      </a:cubicBezTo>
                      <a:cubicBezTo>
                        <a:pt x="748" y="9715"/>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3" name="Freeform 7057">
                  <a:extLst>
                    <a:ext uri="{FF2B5EF4-FFF2-40B4-BE49-F238E27FC236}">
                      <a16:creationId xmlns:a16="http://schemas.microsoft.com/office/drawing/2014/main" id="{6C88CBD2-93FB-36E4-7D47-045F5358D9AE}"/>
                    </a:ext>
                  </a:extLst>
                </p:cNvPr>
                <p:cNvSpPr/>
                <p:nvPr/>
              </p:nvSpPr>
              <p:spPr>
                <a:xfrm>
                  <a:off x="9353907" y="1417167"/>
                  <a:ext cx="18683" cy="48702"/>
                </a:xfrm>
                <a:custGeom>
                  <a:avLst/>
                  <a:gdLst>
                    <a:gd name="connsiteX0" fmla="*/ 0 w 18683"/>
                    <a:gd name="connsiteY0" fmla="*/ 0 h 48702"/>
                    <a:gd name="connsiteX1" fmla="*/ 8346 w 18683"/>
                    <a:gd name="connsiteY1" fmla="*/ 16940 h 48702"/>
                    <a:gd name="connsiteX2" fmla="*/ 10961 w 18683"/>
                    <a:gd name="connsiteY2" fmla="*/ 34129 h 48702"/>
                    <a:gd name="connsiteX3" fmla="*/ 18684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0" y="0"/>
                      </a:moveTo>
                      <a:cubicBezTo>
                        <a:pt x="5107" y="6726"/>
                        <a:pt x="7349" y="12705"/>
                        <a:pt x="8346" y="16940"/>
                      </a:cubicBezTo>
                      <a:cubicBezTo>
                        <a:pt x="9965" y="23791"/>
                        <a:pt x="9093" y="27278"/>
                        <a:pt x="10961" y="34129"/>
                      </a:cubicBezTo>
                      <a:cubicBezTo>
                        <a:pt x="12830" y="40730"/>
                        <a:pt x="16193" y="45713"/>
                        <a:pt x="18684"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4" name="Freeform 7058">
                  <a:extLst>
                    <a:ext uri="{FF2B5EF4-FFF2-40B4-BE49-F238E27FC236}">
                      <a16:creationId xmlns:a16="http://schemas.microsoft.com/office/drawing/2014/main" id="{C665E3F4-4896-FEE3-8DAD-21DB33E6A766}"/>
                    </a:ext>
                  </a:extLst>
                </p:cNvPr>
                <p:cNvSpPr/>
                <p:nvPr/>
              </p:nvSpPr>
              <p:spPr>
                <a:xfrm>
                  <a:off x="9363084" y="1453371"/>
                  <a:ext cx="26873" cy="26489"/>
                </a:xfrm>
                <a:custGeom>
                  <a:avLst/>
                  <a:gdLst>
                    <a:gd name="connsiteX0" fmla="*/ 788 w 26873"/>
                    <a:gd name="connsiteY0" fmla="*/ 17729 h 26489"/>
                    <a:gd name="connsiteX1" fmla="*/ 8884 w 26873"/>
                    <a:gd name="connsiteY1" fmla="*/ 789 h 26489"/>
                    <a:gd name="connsiteX2" fmla="*/ 26073 w 26873"/>
                    <a:gd name="connsiteY2" fmla="*/ 8761 h 26489"/>
                    <a:gd name="connsiteX3" fmla="*/ 17977 w 26873"/>
                    <a:gd name="connsiteY3" fmla="*/ 25700 h 26489"/>
                    <a:gd name="connsiteX4" fmla="*/ 788 w 26873"/>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488">
                      <a:moveTo>
                        <a:pt x="788" y="17729"/>
                      </a:moveTo>
                      <a:cubicBezTo>
                        <a:pt x="-1704" y="10878"/>
                        <a:pt x="1908" y="3280"/>
                        <a:pt x="8884" y="789"/>
                      </a:cubicBezTo>
                      <a:cubicBezTo>
                        <a:pt x="15859" y="-1702"/>
                        <a:pt x="23581" y="1910"/>
                        <a:pt x="26073" y="8761"/>
                      </a:cubicBezTo>
                      <a:cubicBezTo>
                        <a:pt x="28564" y="15611"/>
                        <a:pt x="25076" y="23209"/>
                        <a:pt x="17977" y="25700"/>
                      </a:cubicBezTo>
                      <a:cubicBezTo>
                        <a:pt x="10877" y="28192"/>
                        <a:pt x="3278"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5" name="Freeform 7059">
                  <a:extLst>
                    <a:ext uri="{FF2B5EF4-FFF2-40B4-BE49-F238E27FC236}">
                      <a16:creationId xmlns:a16="http://schemas.microsoft.com/office/drawing/2014/main" id="{988837BD-5984-6D05-2C4D-A02D9FE5A66D}"/>
                    </a:ext>
                  </a:extLst>
                </p:cNvPr>
                <p:cNvSpPr/>
                <p:nvPr/>
              </p:nvSpPr>
              <p:spPr>
                <a:xfrm>
                  <a:off x="9333231" y="1359621"/>
                  <a:ext cx="17313" cy="49200"/>
                </a:xfrm>
                <a:custGeom>
                  <a:avLst/>
                  <a:gdLst>
                    <a:gd name="connsiteX0" fmla="*/ 0 w 17313"/>
                    <a:gd name="connsiteY0" fmla="*/ 0 h 49200"/>
                    <a:gd name="connsiteX1" fmla="*/ 4609 w 17313"/>
                    <a:gd name="connsiteY1" fmla="*/ 18185 h 49200"/>
                    <a:gd name="connsiteX2" fmla="*/ 13701 w 17313"/>
                    <a:gd name="connsiteY2" fmla="*/ 33132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98" y="8345"/>
                        <a:pt x="2616" y="14324"/>
                        <a:pt x="4609" y="18185"/>
                      </a:cubicBezTo>
                      <a:cubicBezTo>
                        <a:pt x="7723" y="24413"/>
                        <a:pt x="10836" y="26655"/>
                        <a:pt x="13701" y="33132"/>
                      </a:cubicBezTo>
                      <a:cubicBezTo>
                        <a:pt x="16566" y="39485"/>
                        <a:pt x="17189" y="45214"/>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6" name="Freeform 7060">
                  <a:extLst>
                    <a:ext uri="{FF2B5EF4-FFF2-40B4-BE49-F238E27FC236}">
                      <a16:creationId xmlns:a16="http://schemas.microsoft.com/office/drawing/2014/main" id="{8B3A5559-B815-DD63-4C89-755C75F2CA31}"/>
                    </a:ext>
                  </a:extLst>
                </p:cNvPr>
                <p:cNvSpPr/>
                <p:nvPr/>
              </p:nvSpPr>
              <p:spPr>
                <a:xfrm>
                  <a:off x="9337964" y="1352521"/>
                  <a:ext cx="18808" cy="48702"/>
                </a:xfrm>
                <a:custGeom>
                  <a:avLst/>
                  <a:gdLst>
                    <a:gd name="connsiteX0" fmla="*/ 18808 w 18808"/>
                    <a:gd name="connsiteY0" fmla="*/ 48702 h 48702"/>
                    <a:gd name="connsiteX1" fmla="*/ 10463 w 18808"/>
                    <a:gd name="connsiteY1" fmla="*/ 31762 h 48702"/>
                    <a:gd name="connsiteX2" fmla="*/ 7723 w 18808"/>
                    <a:gd name="connsiteY2" fmla="*/ 14573 h 48702"/>
                    <a:gd name="connsiteX3" fmla="*/ 0 w 18808"/>
                    <a:gd name="connsiteY3" fmla="*/ 0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48702"/>
                      </a:moveTo>
                      <a:cubicBezTo>
                        <a:pt x="13701" y="41976"/>
                        <a:pt x="11459" y="35997"/>
                        <a:pt x="10463" y="31762"/>
                      </a:cubicBezTo>
                      <a:cubicBezTo>
                        <a:pt x="8844" y="25036"/>
                        <a:pt x="9715" y="21424"/>
                        <a:pt x="7723" y="14573"/>
                      </a:cubicBezTo>
                      <a:cubicBezTo>
                        <a:pt x="5854" y="7972"/>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7" name="Freeform 7061">
                  <a:extLst>
                    <a:ext uri="{FF2B5EF4-FFF2-40B4-BE49-F238E27FC236}">
                      <a16:creationId xmlns:a16="http://schemas.microsoft.com/office/drawing/2014/main" id="{AE7D7DC4-9C7F-0D8D-9717-278AE5D1C0F8}"/>
                    </a:ext>
                  </a:extLst>
                </p:cNvPr>
                <p:cNvSpPr/>
                <p:nvPr/>
              </p:nvSpPr>
              <p:spPr>
                <a:xfrm>
                  <a:off x="9320968" y="1338593"/>
                  <a:ext cx="26394" cy="26362"/>
                </a:xfrm>
                <a:custGeom>
                  <a:avLst/>
                  <a:gdLst>
                    <a:gd name="connsiteX0" fmla="*/ 25591 w 26394"/>
                    <a:gd name="connsiteY0" fmla="*/ 8822 h 26362"/>
                    <a:gd name="connsiteX1" fmla="*/ 17744 w 26394"/>
                    <a:gd name="connsiteY1" fmla="*/ 25637 h 26362"/>
                    <a:gd name="connsiteX2" fmla="*/ 804 w 26394"/>
                    <a:gd name="connsiteY2" fmla="*/ 17541 h 26362"/>
                    <a:gd name="connsiteX3" fmla="*/ 8651 w 26394"/>
                    <a:gd name="connsiteY3" fmla="*/ 725 h 26362"/>
                    <a:gd name="connsiteX4" fmla="*/ 25591 w 26394"/>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362">
                      <a:moveTo>
                        <a:pt x="25591" y="8822"/>
                      </a:moveTo>
                      <a:cubicBezTo>
                        <a:pt x="28082" y="15672"/>
                        <a:pt x="24594" y="23270"/>
                        <a:pt x="17744" y="25637"/>
                      </a:cubicBezTo>
                      <a:cubicBezTo>
                        <a:pt x="10893" y="28004"/>
                        <a:pt x="3295" y="24391"/>
                        <a:pt x="804" y="17541"/>
                      </a:cubicBezTo>
                      <a:cubicBezTo>
                        <a:pt x="-1687" y="10690"/>
                        <a:pt x="1800" y="3092"/>
                        <a:pt x="8651" y="725"/>
                      </a:cubicBezTo>
                      <a:cubicBezTo>
                        <a:pt x="15377" y="-1641"/>
                        <a:pt x="22975" y="1971"/>
                        <a:pt x="25591"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6" name="Graphic 2987">
                <a:extLst>
                  <a:ext uri="{FF2B5EF4-FFF2-40B4-BE49-F238E27FC236}">
                    <a16:creationId xmlns:a16="http://schemas.microsoft.com/office/drawing/2014/main" id="{41A64788-D15D-5A55-7D08-04E787DF8291}"/>
                  </a:ext>
                </a:extLst>
              </p:cNvPr>
              <p:cNvGrpSpPr/>
              <p:nvPr/>
            </p:nvGrpSpPr>
            <p:grpSpPr>
              <a:xfrm>
                <a:off x="9293191" y="1348371"/>
                <a:ext cx="68479" cy="141454"/>
                <a:chOff x="9293191" y="1348371"/>
                <a:chExt cx="68479" cy="141454"/>
              </a:xfrm>
              <a:grpFill/>
            </p:grpSpPr>
            <p:sp>
              <p:nvSpPr>
                <p:cNvPr id="6996" name="Freeform 7063">
                  <a:extLst>
                    <a:ext uri="{FF2B5EF4-FFF2-40B4-BE49-F238E27FC236}">
                      <a16:creationId xmlns:a16="http://schemas.microsoft.com/office/drawing/2014/main" id="{221C9354-E4E3-F369-8CFE-5AD653279199}"/>
                    </a:ext>
                  </a:extLst>
                </p:cNvPr>
                <p:cNvSpPr/>
                <p:nvPr/>
              </p:nvSpPr>
              <p:spPr>
                <a:xfrm>
                  <a:off x="9332109" y="1419533"/>
                  <a:ext cx="17189" cy="49200"/>
                </a:xfrm>
                <a:custGeom>
                  <a:avLst/>
                  <a:gdLst>
                    <a:gd name="connsiteX0" fmla="*/ 17189 w 17189"/>
                    <a:gd name="connsiteY0" fmla="*/ 49200 h 49200"/>
                    <a:gd name="connsiteX1" fmla="*/ 12705 w 17189"/>
                    <a:gd name="connsiteY1" fmla="*/ 31015 h 49200"/>
                    <a:gd name="connsiteX2" fmla="*/ 3613 w 17189"/>
                    <a:gd name="connsiteY2" fmla="*/ 16068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6816" y="40855"/>
                        <a:pt x="14574" y="34876"/>
                        <a:pt x="12705" y="31015"/>
                      </a:cubicBezTo>
                      <a:cubicBezTo>
                        <a:pt x="9591" y="24787"/>
                        <a:pt x="6477" y="22545"/>
                        <a:pt x="3613" y="16068"/>
                      </a:cubicBezTo>
                      <a:cubicBezTo>
                        <a:pt x="748"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7" name="Freeform 7064">
                  <a:extLst>
                    <a:ext uri="{FF2B5EF4-FFF2-40B4-BE49-F238E27FC236}">
                      <a16:creationId xmlns:a16="http://schemas.microsoft.com/office/drawing/2014/main" id="{198BBB16-AADF-4F39-FF9F-5DC60CBEC181}"/>
                    </a:ext>
                  </a:extLst>
                </p:cNvPr>
                <p:cNvSpPr/>
                <p:nvPr/>
              </p:nvSpPr>
              <p:spPr>
                <a:xfrm>
                  <a:off x="9325882" y="1427007"/>
                  <a:ext cx="18435" cy="48826"/>
                </a:xfrm>
                <a:custGeom>
                  <a:avLst/>
                  <a:gdLst>
                    <a:gd name="connsiteX0" fmla="*/ 0 w 18435"/>
                    <a:gd name="connsiteY0" fmla="*/ 0 h 48826"/>
                    <a:gd name="connsiteX1" fmla="*/ 8221 w 18435"/>
                    <a:gd name="connsiteY1" fmla="*/ 16940 h 48826"/>
                    <a:gd name="connsiteX2" fmla="*/ 10837 w 18435"/>
                    <a:gd name="connsiteY2" fmla="*/ 34129 h 48826"/>
                    <a:gd name="connsiteX3" fmla="*/ 18435 w 1843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5" h="48826">
                      <a:moveTo>
                        <a:pt x="0" y="0"/>
                      </a:moveTo>
                      <a:cubicBezTo>
                        <a:pt x="5107" y="6726"/>
                        <a:pt x="7225" y="12705"/>
                        <a:pt x="8221" y="16940"/>
                      </a:cubicBezTo>
                      <a:cubicBezTo>
                        <a:pt x="9841" y="23791"/>
                        <a:pt x="8844" y="27278"/>
                        <a:pt x="10837" y="34129"/>
                      </a:cubicBezTo>
                      <a:cubicBezTo>
                        <a:pt x="12705" y="40730"/>
                        <a:pt x="15944" y="45713"/>
                        <a:pt x="18435"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8" name="Freeform 7065">
                  <a:extLst>
                    <a:ext uri="{FF2B5EF4-FFF2-40B4-BE49-F238E27FC236}">
                      <a16:creationId xmlns:a16="http://schemas.microsoft.com/office/drawing/2014/main" id="{028115A4-F4EC-12E6-99F3-2FCE260CE409}"/>
                    </a:ext>
                  </a:extLst>
                </p:cNvPr>
                <p:cNvSpPr/>
                <p:nvPr/>
              </p:nvSpPr>
              <p:spPr>
                <a:xfrm>
                  <a:off x="9334810" y="1463336"/>
                  <a:ext cx="26860" cy="26489"/>
                </a:xfrm>
                <a:custGeom>
                  <a:avLst/>
                  <a:gdLst>
                    <a:gd name="connsiteX0" fmla="*/ 788 w 26860"/>
                    <a:gd name="connsiteY0" fmla="*/ 17729 h 26489"/>
                    <a:gd name="connsiteX1" fmla="*/ 8884 w 26860"/>
                    <a:gd name="connsiteY1" fmla="*/ 789 h 26489"/>
                    <a:gd name="connsiteX2" fmla="*/ 26073 w 26860"/>
                    <a:gd name="connsiteY2" fmla="*/ 8761 h 26489"/>
                    <a:gd name="connsiteX3" fmla="*/ 17977 w 26860"/>
                    <a:gd name="connsiteY3" fmla="*/ 25700 h 26489"/>
                    <a:gd name="connsiteX4" fmla="*/ 788 w 26860"/>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488">
                      <a:moveTo>
                        <a:pt x="788" y="17729"/>
                      </a:moveTo>
                      <a:cubicBezTo>
                        <a:pt x="-1704" y="10878"/>
                        <a:pt x="1909" y="3280"/>
                        <a:pt x="8884" y="789"/>
                      </a:cubicBezTo>
                      <a:cubicBezTo>
                        <a:pt x="15859" y="-1702"/>
                        <a:pt x="23582" y="1910"/>
                        <a:pt x="26073" y="8761"/>
                      </a:cubicBezTo>
                      <a:cubicBezTo>
                        <a:pt x="28564" y="15611"/>
                        <a:pt x="24952" y="23209"/>
                        <a:pt x="17977" y="25700"/>
                      </a:cubicBezTo>
                      <a:cubicBezTo>
                        <a:pt x="11001" y="28192"/>
                        <a:pt x="3279"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9" name="Freeform 7066">
                  <a:extLst>
                    <a:ext uri="{FF2B5EF4-FFF2-40B4-BE49-F238E27FC236}">
                      <a16:creationId xmlns:a16="http://schemas.microsoft.com/office/drawing/2014/main" id="{05A2BC81-EBE3-E82D-0165-3543ACBFFD1F}"/>
                    </a:ext>
                  </a:extLst>
                </p:cNvPr>
                <p:cNvSpPr/>
                <p:nvPr/>
              </p:nvSpPr>
              <p:spPr>
                <a:xfrm>
                  <a:off x="9305455" y="1369461"/>
                  <a:ext cx="17189" cy="49200"/>
                </a:xfrm>
                <a:custGeom>
                  <a:avLst/>
                  <a:gdLst>
                    <a:gd name="connsiteX0" fmla="*/ 0 w 17189"/>
                    <a:gd name="connsiteY0" fmla="*/ 0 h 49200"/>
                    <a:gd name="connsiteX1" fmla="*/ 4484 w 17189"/>
                    <a:gd name="connsiteY1" fmla="*/ 18185 h 49200"/>
                    <a:gd name="connsiteX2" fmla="*/ 13576 w 17189"/>
                    <a:gd name="connsiteY2" fmla="*/ 33132 h 49200"/>
                    <a:gd name="connsiteX3" fmla="*/ 17189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0" y="0"/>
                      </a:moveTo>
                      <a:cubicBezTo>
                        <a:pt x="373" y="8345"/>
                        <a:pt x="2615" y="14324"/>
                        <a:pt x="4484" y="18185"/>
                      </a:cubicBezTo>
                      <a:cubicBezTo>
                        <a:pt x="7598" y="24413"/>
                        <a:pt x="10587" y="26655"/>
                        <a:pt x="13576" y="33132"/>
                      </a:cubicBezTo>
                      <a:cubicBezTo>
                        <a:pt x="16442" y="39485"/>
                        <a:pt x="17064" y="45339"/>
                        <a:pt x="17189"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0" name="Freeform 7067">
                  <a:extLst>
                    <a:ext uri="{FF2B5EF4-FFF2-40B4-BE49-F238E27FC236}">
                      <a16:creationId xmlns:a16="http://schemas.microsoft.com/office/drawing/2014/main" id="{014A589C-A92B-2C90-046D-E5CFAB237D3C}"/>
                    </a:ext>
                  </a:extLst>
                </p:cNvPr>
                <p:cNvSpPr/>
                <p:nvPr/>
              </p:nvSpPr>
              <p:spPr>
                <a:xfrm>
                  <a:off x="9310437" y="136236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467" y="21548"/>
                        <a:pt x="7599" y="14698"/>
                      </a:cubicBezTo>
                      <a:cubicBezTo>
                        <a:pt x="5730"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1" name="Freeform 7068">
                  <a:extLst>
                    <a:ext uri="{FF2B5EF4-FFF2-40B4-BE49-F238E27FC236}">
                      <a16:creationId xmlns:a16="http://schemas.microsoft.com/office/drawing/2014/main" id="{805587AF-16E7-EB39-9612-CFDC4C8DFB12}"/>
                    </a:ext>
                  </a:extLst>
                </p:cNvPr>
                <p:cNvSpPr/>
                <p:nvPr/>
              </p:nvSpPr>
              <p:spPr>
                <a:xfrm>
                  <a:off x="9293191" y="1348371"/>
                  <a:ext cx="26394" cy="26424"/>
                </a:xfrm>
                <a:custGeom>
                  <a:avLst/>
                  <a:gdLst>
                    <a:gd name="connsiteX0" fmla="*/ 25591 w 26394"/>
                    <a:gd name="connsiteY0" fmla="*/ 8884 h 26424"/>
                    <a:gd name="connsiteX1" fmla="*/ 17744 w 26394"/>
                    <a:gd name="connsiteY1" fmla="*/ 25699 h 26424"/>
                    <a:gd name="connsiteX2" fmla="*/ 804 w 26394"/>
                    <a:gd name="connsiteY2" fmla="*/ 17603 h 26424"/>
                    <a:gd name="connsiteX3" fmla="*/ 8651 w 26394"/>
                    <a:gd name="connsiteY3" fmla="*/ 788 h 26424"/>
                    <a:gd name="connsiteX4" fmla="*/ 25591 w 26394"/>
                    <a:gd name="connsiteY4" fmla="*/ 8884 h 26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424">
                      <a:moveTo>
                        <a:pt x="25591" y="8884"/>
                      </a:moveTo>
                      <a:cubicBezTo>
                        <a:pt x="28082" y="15735"/>
                        <a:pt x="24595" y="23333"/>
                        <a:pt x="17744" y="25699"/>
                      </a:cubicBezTo>
                      <a:cubicBezTo>
                        <a:pt x="10893" y="28066"/>
                        <a:pt x="3295" y="24454"/>
                        <a:pt x="804" y="17603"/>
                      </a:cubicBezTo>
                      <a:cubicBezTo>
                        <a:pt x="-1687" y="10752"/>
                        <a:pt x="1800" y="3154"/>
                        <a:pt x="8651" y="788"/>
                      </a:cubicBezTo>
                      <a:cubicBezTo>
                        <a:pt x="15502" y="-1703"/>
                        <a:pt x="23100" y="1909"/>
                        <a:pt x="2559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7" name="Graphic 2987">
                <a:extLst>
                  <a:ext uri="{FF2B5EF4-FFF2-40B4-BE49-F238E27FC236}">
                    <a16:creationId xmlns:a16="http://schemas.microsoft.com/office/drawing/2014/main" id="{1FB01ACC-A5C8-69C7-8D21-A2835FF420E9}"/>
                  </a:ext>
                </a:extLst>
              </p:cNvPr>
              <p:cNvGrpSpPr/>
              <p:nvPr/>
            </p:nvGrpSpPr>
            <p:grpSpPr>
              <a:xfrm>
                <a:off x="9265604" y="1358148"/>
                <a:ext cx="67915" cy="141655"/>
                <a:chOff x="9265604" y="1358148"/>
                <a:chExt cx="67915" cy="141655"/>
              </a:xfrm>
              <a:grpFill/>
            </p:grpSpPr>
            <p:sp>
              <p:nvSpPr>
                <p:cNvPr id="6990" name="Freeform 7070">
                  <a:extLst>
                    <a:ext uri="{FF2B5EF4-FFF2-40B4-BE49-F238E27FC236}">
                      <a16:creationId xmlns:a16="http://schemas.microsoft.com/office/drawing/2014/main" id="{D9A8EC7E-CB73-5BCA-A1A4-12C4042E043F}"/>
                    </a:ext>
                  </a:extLst>
                </p:cNvPr>
                <p:cNvSpPr/>
                <p:nvPr/>
              </p:nvSpPr>
              <p:spPr>
                <a:xfrm>
                  <a:off x="9304209" y="1429373"/>
                  <a:ext cx="16940" cy="49324"/>
                </a:xfrm>
                <a:custGeom>
                  <a:avLst/>
                  <a:gdLst>
                    <a:gd name="connsiteX0" fmla="*/ 16940 w 16940"/>
                    <a:gd name="connsiteY0" fmla="*/ 49325 h 49324"/>
                    <a:gd name="connsiteX1" fmla="*/ 12456 w 16940"/>
                    <a:gd name="connsiteY1" fmla="*/ 31015 h 49324"/>
                    <a:gd name="connsiteX2" fmla="*/ 3488 w 16940"/>
                    <a:gd name="connsiteY2" fmla="*/ 16068 h 49324"/>
                    <a:gd name="connsiteX3" fmla="*/ 0 w 16940"/>
                    <a:gd name="connsiteY3" fmla="*/ 0 h 49324"/>
                  </a:gdLst>
                  <a:ahLst/>
                  <a:cxnLst>
                    <a:cxn ang="0">
                      <a:pos x="connsiteX0" y="connsiteY0"/>
                    </a:cxn>
                    <a:cxn ang="0">
                      <a:pos x="connsiteX1" y="connsiteY1"/>
                    </a:cxn>
                    <a:cxn ang="0">
                      <a:pos x="connsiteX2" y="connsiteY2"/>
                    </a:cxn>
                    <a:cxn ang="0">
                      <a:pos x="connsiteX3" y="connsiteY3"/>
                    </a:cxn>
                  </a:cxnLst>
                  <a:rect l="l" t="t" r="r" b="b"/>
                  <a:pathLst>
                    <a:path w="16940" h="49324">
                      <a:moveTo>
                        <a:pt x="16940" y="49325"/>
                      </a:moveTo>
                      <a:cubicBezTo>
                        <a:pt x="16566" y="40979"/>
                        <a:pt x="14449" y="35001"/>
                        <a:pt x="12456" y="31015"/>
                      </a:cubicBezTo>
                      <a:cubicBezTo>
                        <a:pt x="9342" y="24787"/>
                        <a:pt x="6353" y="22545"/>
                        <a:pt x="3488" y="16068"/>
                      </a:cubicBezTo>
                      <a:cubicBezTo>
                        <a:pt x="747"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1" name="Freeform 7071">
                  <a:extLst>
                    <a:ext uri="{FF2B5EF4-FFF2-40B4-BE49-F238E27FC236}">
                      <a16:creationId xmlns:a16="http://schemas.microsoft.com/office/drawing/2014/main" id="{420540EB-D521-E5DF-F371-627F33F33D9C}"/>
                    </a:ext>
                  </a:extLst>
                </p:cNvPr>
                <p:cNvSpPr/>
                <p:nvPr/>
              </p:nvSpPr>
              <p:spPr>
                <a:xfrm>
                  <a:off x="9297856" y="1436971"/>
                  <a:ext cx="18310" cy="48826"/>
                </a:xfrm>
                <a:custGeom>
                  <a:avLst/>
                  <a:gdLst>
                    <a:gd name="connsiteX0" fmla="*/ 0 w 18310"/>
                    <a:gd name="connsiteY0" fmla="*/ 0 h 48826"/>
                    <a:gd name="connsiteX1" fmla="*/ 8221 w 18310"/>
                    <a:gd name="connsiteY1" fmla="*/ 16940 h 48826"/>
                    <a:gd name="connsiteX2" fmla="*/ 10713 w 18310"/>
                    <a:gd name="connsiteY2" fmla="*/ 34129 h 48826"/>
                    <a:gd name="connsiteX3" fmla="*/ 18310 w 1831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310" h="48826">
                      <a:moveTo>
                        <a:pt x="0" y="0"/>
                      </a:moveTo>
                      <a:cubicBezTo>
                        <a:pt x="5107" y="6726"/>
                        <a:pt x="7225" y="12705"/>
                        <a:pt x="8221" y="16940"/>
                      </a:cubicBezTo>
                      <a:cubicBezTo>
                        <a:pt x="9841" y="23791"/>
                        <a:pt x="8844" y="27278"/>
                        <a:pt x="10713" y="34129"/>
                      </a:cubicBezTo>
                      <a:cubicBezTo>
                        <a:pt x="12580" y="40730"/>
                        <a:pt x="15819" y="45713"/>
                        <a:pt x="1831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2" name="Freeform 7072">
                  <a:extLst>
                    <a:ext uri="{FF2B5EF4-FFF2-40B4-BE49-F238E27FC236}">
                      <a16:creationId xmlns:a16="http://schemas.microsoft.com/office/drawing/2014/main" id="{3F50AD43-77A8-8527-CDCB-B60EBAE560B5}"/>
                    </a:ext>
                  </a:extLst>
                </p:cNvPr>
                <p:cNvSpPr/>
                <p:nvPr/>
              </p:nvSpPr>
              <p:spPr>
                <a:xfrm>
                  <a:off x="9306674" y="1473301"/>
                  <a:ext cx="26844" cy="26503"/>
                </a:xfrm>
                <a:custGeom>
                  <a:avLst/>
                  <a:gdLst>
                    <a:gd name="connsiteX0" fmla="*/ 773 w 26844"/>
                    <a:gd name="connsiteY0" fmla="*/ 17729 h 26503"/>
                    <a:gd name="connsiteX1" fmla="*/ 8994 w 26844"/>
                    <a:gd name="connsiteY1" fmla="*/ 789 h 26503"/>
                    <a:gd name="connsiteX2" fmla="*/ 26059 w 26844"/>
                    <a:gd name="connsiteY2" fmla="*/ 8761 h 26503"/>
                    <a:gd name="connsiteX3" fmla="*/ 17838 w 26844"/>
                    <a:gd name="connsiteY3" fmla="*/ 25700 h 26503"/>
                    <a:gd name="connsiteX4" fmla="*/ 773 w 26844"/>
                    <a:gd name="connsiteY4" fmla="*/ 17729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4" h="26503">
                      <a:moveTo>
                        <a:pt x="773" y="17729"/>
                      </a:moveTo>
                      <a:cubicBezTo>
                        <a:pt x="-1718" y="10878"/>
                        <a:pt x="2019" y="3280"/>
                        <a:pt x="8994" y="789"/>
                      </a:cubicBezTo>
                      <a:cubicBezTo>
                        <a:pt x="15970" y="-1702"/>
                        <a:pt x="23567" y="1910"/>
                        <a:pt x="26059" y="8761"/>
                      </a:cubicBezTo>
                      <a:cubicBezTo>
                        <a:pt x="28549" y="15611"/>
                        <a:pt x="24937" y="23209"/>
                        <a:pt x="17838" y="25700"/>
                      </a:cubicBezTo>
                      <a:cubicBezTo>
                        <a:pt x="10862" y="28192"/>
                        <a:pt x="3140" y="24704"/>
                        <a:pt x="773"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3" name="Freeform 7073">
                  <a:extLst>
                    <a:ext uri="{FF2B5EF4-FFF2-40B4-BE49-F238E27FC236}">
                      <a16:creationId xmlns:a16="http://schemas.microsoft.com/office/drawing/2014/main" id="{84EC788C-D901-591E-E18C-1E2DAC885C4C}"/>
                    </a:ext>
                  </a:extLst>
                </p:cNvPr>
                <p:cNvSpPr/>
                <p:nvPr/>
              </p:nvSpPr>
              <p:spPr>
                <a:xfrm>
                  <a:off x="9277678" y="1379177"/>
                  <a:ext cx="16940" cy="49324"/>
                </a:xfrm>
                <a:custGeom>
                  <a:avLst/>
                  <a:gdLst>
                    <a:gd name="connsiteX0" fmla="*/ 0 w 16940"/>
                    <a:gd name="connsiteY0" fmla="*/ 0 h 49324"/>
                    <a:gd name="connsiteX1" fmla="*/ 4485 w 16940"/>
                    <a:gd name="connsiteY1" fmla="*/ 18310 h 49324"/>
                    <a:gd name="connsiteX2" fmla="*/ 13452 w 16940"/>
                    <a:gd name="connsiteY2" fmla="*/ 33257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374" y="8345"/>
                        <a:pt x="2491" y="14324"/>
                        <a:pt x="4485" y="18310"/>
                      </a:cubicBezTo>
                      <a:cubicBezTo>
                        <a:pt x="7599" y="24662"/>
                        <a:pt x="10588" y="26780"/>
                        <a:pt x="13452" y="33257"/>
                      </a:cubicBezTo>
                      <a:cubicBezTo>
                        <a:pt x="16193" y="39609"/>
                        <a:pt x="16816" y="45464"/>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4" name="Freeform 7074">
                  <a:extLst>
                    <a:ext uri="{FF2B5EF4-FFF2-40B4-BE49-F238E27FC236}">
                      <a16:creationId xmlns:a16="http://schemas.microsoft.com/office/drawing/2014/main" id="{1B941D90-A877-B1C9-DA86-0F22B1CBD639}"/>
                    </a:ext>
                  </a:extLst>
                </p:cNvPr>
                <p:cNvSpPr/>
                <p:nvPr/>
              </p:nvSpPr>
              <p:spPr>
                <a:xfrm>
                  <a:off x="9282411" y="137220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591" y="21548"/>
                        <a:pt x="7599" y="14698"/>
                      </a:cubicBezTo>
                      <a:cubicBezTo>
                        <a:pt x="5730" y="8096"/>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5" name="Freeform 7075">
                  <a:extLst>
                    <a:ext uri="{FF2B5EF4-FFF2-40B4-BE49-F238E27FC236}">
                      <a16:creationId xmlns:a16="http://schemas.microsoft.com/office/drawing/2014/main" id="{7C79201B-5563-EA6B-4CA2-A652AA89054A}"/>
                    </a:ext>
                  </a:extLst>
                </p:cNvPr>
                <p:cNvSpPr/>
                <p:nvPr/>
              </p:nvSpPr>
              <p:spPr>
                <a:xfrm>
                  <a:off x="9265604" y="1358148"/>
                  <a:ext cx="26315" cy="26362"/>
                </a:xfrm>
                <a:custGeom>
                  <a:avLst/>
                  <a:gdLst>
                    <a:gd name="connsiteX0" fmla="*/ 25526 w 26315"/>
                    <a:gd name="connsiteY0" fmla="*/ 8822 h 26362"/>
                    <a:gd name="connsiteX1" fmla="*/ 17555 w 26315"/>
                    <a:gd name="connsiteY1" fmla="*/ 25637 h 26362"/>
                    <a:gd name="connsiteX2" fmla="*/ 740 w 26315"/>
                    <a:gd name="connsiteY2" fmla="*/ 17541 h 26362"/>
                    <a:gd name="connsiteX3" fmla="*/ 8711 w 26315"/>
                    <a:gd name="connsiteY3" fmla="*/ 725 h 26362"/>
                    <a:gd name="connsiteX4" fmla="*/ 25526 w 26315"/>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62">
                      <a:moveTo>
                        <a:pt x="25526" y="8822"/>
                      </a:moveTo>
                      <a:cubicBezTo>
                        <a:pt x="28018" y="15672"/>
                        <a:pt x="24406" y="23270"/>
                        <a:pt x="17555" y="25637"/>
                      </a:cubicBezTo>
                      <a:cubicBezTo>
                        <a:pt x="10704" y="28004"/>
                        <a:pt x="3106" y="24391"/>
                        <a:pt x="740" y="17541"/>
                      </a:cubicBezTo>
                      <a:cubicBezTo>
                        <a:pt x="-1627" y="10690"/>
                        <a:pt x="1861" y="3092"/>
                        <a:pt x="8711" y="725"/>
                      </a:cubicBezTo>
                      <a:cubicBezTo>
                        <a:pt x="15437" y="-1641"/>
                        <a:pt x="23035" y="1971"/>
                        <a:pt x="25526"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8" name="Graphic 2987">
                <a:extLst>
                  <a:ext uri="{FF2B5EF4-FFF2-40B4-BE49-F238E27FC236}">
                    <a16:creationId xmlns:a16="http://schemas.microsoft.com/office/drawing/2014/main" id="{80B4A231-7048-78B3-3279-6F11543A2D86}"/>
                  </a:ext>
                </a:extLst>
              </p:cNvPr>
              <p:cNvGrpSpPr/>
              <p:nvPr/>
            </p:nvGrpSpPr>
            <p:grpSpPr>
              <a:xfrm>
                <a:off x="9237952" y="1367975"/>
                <a:ext cx="67279" cy="141902"/>
                <a:chOff x="9237952" y="1367975"/>
                <a:chExt cx="67279" cy="141902"/>
              </a:xfrm>
              <a:grpFill/>
            </p:grpSpPr>
            <p:sp>
              <p:nvSpPr>
                <p:cNvPr id="6984" name="Freeform 7077">
                  <a:extLst>
                    <a:ext uri="{FF2B5EF4-FFF2-40B4-BE49-F238E27FC236}">
                      <a16:creationId xmlns:a16="http://schemas.microsoft.com/office/drawing/2014/main" id="{6078A2B3-DEB5-C3E3-E5E9-8F7C6C671E8F}"/>
                    </a:ext>
                  </a:extLst>
                </p:cNvPr>
                <p:cNvSpPr/>
                <p:nvPr/>
              </p:nvSpPr>
              <p:spPr>
                <a:xfrm>
                  <a:off x="9276183" y="1439213"/>
                  <a:ext cx="16691" cy="49449"/>
                </a:xfrm>
                <a:custGeom>
                  <a:avLst/>
                  <a:gdLst>
                    <a:gd name="connsiteX0" fmla="*/ 16691 w 16691"/>
                    <a:gd name="connsiteY0" fmla="*/ 49449 h 49449"/>
                    <a:gd name="connsiteX1" fmla="*/ 12331 w 16691"/>
                    <a:gd name="connsiteY1" fmla="*/ 31139 h 49449"/>
                    <a:gd name="connsiteX2" fmla="*/ 3363 w 16691"/>
                    <a:gd name="connsiteY2" fmla="*/ 16192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6317" y="40979"/>
                        <a:pt x="14200" y="35125"/>
                        <a:pt x="12331" y="31139"/>
                      </a:cubicBezTo>
                      <a:cubicBezTo>
                        <a:pt x="9217" y="24787"/>
                        <a:pt x="6228" y="22669"/>
                        <a:pt x="3363" y="16192"/>
                      </a:cubicBezTo>
                      <a:cubicBezTo>
                        <a:pt x="62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5" name="Freeform 7078">
                  <a:extLst>
                    <a:ext uri="{FF2B5EF4-FFF2-40B4-BE49-F238E27FC236}">
                      <a16:creationId xmlns:a16="http://schemas.microsoft.com/office/drawing/2014/main" id="{E134C74D-D6E7-DAAA-FE9A-A1A74AD99F52}"/>
                    </a:ext>
                  </a:extLst>
                </p:cNvPr>
                <p:cNvSpPr/>
                <p:nvPr/>
              </p:nvSpPr>
              <p:spPr>
                <a:xfrm>
                  <a:off x="9269831" y="1446811"/>
                  <a:ext cx="18061" cy="48951"/>
                </a:xfrm>
                <a:custGeom>
                  <a:avLst/>
                  <a:gdLst>
                    <a:gd name="connsiteX0" fmla="*/ 0 w 18061"/>
                    <a:gd name="connsiteY0" fmla="*/ 0 h 48951"/>
                    <a:gd name="connsiteX1" fmla="*/ 8097 w 18061"/>
                    <a:gd name="connsiteY1" fmla="*/ 16940 h 48951"/>
                    <a:gd name="connsiteX2" fmla="*/ 10588 w 18061"/>
                    <a:gd name="connsiteY2" fmla="*/ 3425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4983" y="6726"/>
                        <a:pt x="7100" y="12705"/>
                        <a:pt x="8097" y="16940"/>
                      </a:cubicBezTo>
                      <a:cubicBezTo>
                        <a:pt x="9716" y="23791"/>
                        <a:pt x="8719" y="27403"/>
                        <a:pt x="10588" y="34253"/>
                      </a:cubicBezTo>
                      <a:cubicBezTo>
                        <a:pt x="12456" y="40855"/>
                        <a:pt x="15694" y="45837"/>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6" name="Freeform 7079">
                  <a:extLst>
                    <a:ext uri="{FF2B5EF4-FFF2-40B4-BE49-F238E27FC236}">
                      <a16:creationId xmlns:a16="http://schemas.microsoft.com/office/drawing/2014/main" id="{156D0D45-D661-4E09-AE23-0B8D7ABA55EA}"/>
                    </a:ext>
                  </a:extLst>
                </p:cNvPr>
                <p:cNvSpPr/>
                <p:nvPr/>
              </p:nvSpPr>
              <p:spPr>
                <a:xfrm>
                  <a:off x="9278448" y="1483267"/>
                  <a:ext cx="26782" cy="26611"/>
                </a:xfrm>
                <a:custGeom>
                  <a:avLst/>
                  <a:gdLst>
                    <a:gd name="connsiteX0" fmla="*/ 724 w 26782"/>
                    <a:gd name="connsiteY0" fmla="*/ 17727 h 26611"/>
                    <a:gd name="connsiteX1" fmla="*/ 8945 w 26782"/>
                    <a:gd name="connsiteY1" fmla="*/ 788 h 26611"/>
                    <a:gd name="connsiteX2" fmla="*/ 26010 w 26782"/>
                    <a:gd name="connsiteY2" fmla="*/ 8884 h 26611"/>
                    <a:gd name="connsiteX3" fmla="*/ 17789 w 26782"/>
                    <a:gd name="connsiteY3" fmla="*/ 25824 h 26611"/>
                    <a:gd name="connsiteX4" fmla="*/ 724 w 26782"/>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611">
                      <a:moveTo>
                        <a:pt x="724" y="17727"/>
                      </a:moveTo>
                      <a:cubicBezTo>
                        <a:pt x="-1642" y="10877"/>
                        <a:pt x="1970" y="3279"/>
                        <a:pt x="8945" y="788"/>
                      </a:cubicBezTo>
                      <a:cubicBezTo>
                        <a:pt x="15920" y="-1704"/>
                        <a:pt x="23518" y="1909"/>
                        <a:pt x="26010" y="8884"/>
                      </a:cubicBezTo>
                      <a:cubicBezTo>
                        <a:pt x="28501" y="15735"/>
                        <a:pt x="24764" y="23333"/>
                        <a:pt x="17789" y="25824"/>
                      </a:cubicBezTo>
                      <a:cubicBezTo>
                        <a:pt x="10814" y="28315"/>
                        <a:pt x="3091" y="24703"/>
                        <a:pt x="724"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7" name="Freeform 7080">
                  <a:extLst>
                    <a:ext uri="{FF2B5EF4-FFF2-40B4-BE49-F238E27FC236}">
                      <a16:creationId xmlns:a16="http://schemas.microsoft.com/office/drawing/2014/main" id="{138CCC1A-3917-7350-E249-4A3DCE0499F8}"/>
                    </a:ext>
                  </a:extLst>
                </p:cNvPr>
                <p:cNvSpPr/>
                <p:nvPr/>
              </p:nvSpPr>
              <p:spPr>
                <a:xfrm>
                  <a:off x="9250026" y="1389017"/>
                  <a:ext cx="16566" cy="49449"/>
                </a:xfrm>
                <a:custGeom>
                  <a:avLst/>
                  <a:gdLst>
                    <a:gd name="connsiteX0" fmla="*/ 0 w 16566"/>
                    <a:gd name="connsiteY0" fmla="*/ 0 h 49449"/>
                    <a:gd name="connsiteX1" fmla="*/ 4359 w 16566"/>
                    <a:gd name="connsiteY1" fmla="*/ 18310 h 49449"/>
                    <a:gd name="connsiteX2" fmla="*/ 13203 w 16566"/>
                    <a:gd name="connsiteY2" fmla="*/ 33257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373" y="8345"/>
                        <a:pt x="2491" y="14324"/>
                        <a:pt x="4359" y="18310"/>
                      </a:cubicBezTo>
                      <a:cubicBezTo>
                        <a:pt x="7348" y="24662"/>
                        <a:pt x="10462" y="26780"/>
                        <a:pt x="13203" y="33257"/>
                      </a:cubicBezTo>
                      <a:cubicBezTo>
                        <a:pt x="15943" y="39609"/>
                        <a:pt x="16566" y="45464"/>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8" name="Freeform 7081">
                  <a:extLst>
                    <a:ext uri="{FF2B5EF4-FFF2-40B4-BE49-F238E27FC236}">
                      <a16:creationId xmlns:a16="http://schemas.microsoft.com/office/drawing/2014/main" id="{08157112-B465-9DDA-C141-F8C38D946328}"/>
                    </a:ext>
                  </a:extLst>
                </p:cNvPr>
                <p:cNvSpPr/>
                <p:nvPr/>
              </p:nvSpPr>
              <p:spPr>
                <a:xfrm>
                  <a:off x="9254884" y="1382041"/>
                  <a:ext cx="18060" cy="48826"/>
                </a:xfrm>
                <a:custGeom>
                  <a:avLst/>
                  <a:gdLst>
                    <a:gd name="connsiteX0" fmla="*/ 18060 w 18060"/>
                    <a:gd name="connsiteY0" fmla="*/ 48827 h 48826"/>
                    <a:gd name="connsiteX1" fmla="*/ 9964 w 18060"/>
                    <a:gd name="connsiteY1" fmla="*/ 31887 h 48826"/>
                    <a:gd name="connsiteX2" fmla="*/ 7473 w 18060"/>
                    <a:gd name="connsiteY2" fmla="*/ 14698 h 48826"/>
                    <a:gd name="connsiteX3" fmla="*/ 0 w 18060"/>
                    <a:gd name="connsiteY3" fmla="*/ 0 h 48826"/>
                  </a:gdLst>
                  <a:ahLst/>
                  <a:cxnLst>
                    <a:cxn ang="0">
                      <a:pos x="connsiteX0" y="connsiteY0"/>
                    </a:cxn>
                    <a:cxn ang="0">
                      <a:pos x="connsiteX1" y="connsiteY1"/>
                    </a:cxn>
                    <a:cxn ang="0">
                      <a:pos x="connsiteX2" y="connsiteY2"/>
                    </a:cxn>
                    <a:cxn ang="0">
                      <a:pos x="connsiteX3" y="connsiteY3"/>
                    </a:cxn>
                  </a:cxnLst>
                  <a:rect l="l" t="t" r="r" b="b"/>
                  <a:pathLst>
                    <a:path w="18060" h="48826">
                      <a:moveTo>
                        <a:pt x="18060" y="48827"/>
                      </a:moveTo>
                      <a:cubicBezTo>
                        <a:pt x="13078" y="42100"/>
                        <a:pt x="10961" y="36122"/>
                        <a:pt x="9964" y="31887"/>
                      </a:cubicBezTo>
                      <a:cubicBezTo>
                        <a:pt x="8345" y="25036"/>
                        <a:pt x="9342" y="21548"/>
                        <a:pt x="7473" y="14698"/>
                      </a:cubicBezTo>
                      <a:cubicBezTo>
                        <a:pt x="5604"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9" name="Freeform 7082">
                  <a:extLst>
                    <a:ext uri="{FF2B5EF4-FFF2-40B4-BE49-F238E27FC236}">
                      <a16:creationId xmlns:a16="http://schemas.microsoft.com/office/drawing/2014/main" id="{FBA67708-A5A3-9809-EFD2-5CABAF80300F}"/>
                    </a:ext>
                  </a:extLst>
                </p:cNvPr>
                <p:cNvSpPr/>
                <p:nvPr/>
              </p:nvSpPr>
              <p:spPr>
                <a:xfrm>
                  <a:off x="9237952" y="1367975"/>
                  <a:ext cx="26315" cy="26375"/>
                </a:xfrm>
                <a:custGeom>
                  <a:avLst/>
                  <a:gdLst>
                    <a:gd name="connsiteX0" fmla="*/ 25527 w 26315"/>
                    <a:gd name="connsiteY0" fmla="*/ 8835 h 26375"/>
                    <a:gd name="connsiteX1" fmla="*/ 17555 w 26315"/>
                    <a:gd name="connsiteY1" fmla="*/ 25650 h 26375"/>
                    <a:gd name="connsiteX2" fmla="*/ 739 w 26315"/>
                    <a:gd name="connsiteY2" fmla="*/ 17554 h 26375"/>
                    <a:gd name="connsiteX3" fmla="*/ 8711 w 26315"/>
                    <a:gd name="connsiteY3" fmla="*/ 738 h 26375"/>
                    <a:gd name="connsiteX4" fmla="*/ 25527 w 26315"/>
                    <a:gd name="connsiteY4" fmla="*/ 8835 h 2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75">
                      <a:moveTo>
                        <a:pt x="25527" y="8835"/>
                      </a:moveTo>
                      <a:cubicBezTo>
                        <a:pt x="28017" y="15685"/>
                        <a:pt x="24405" y="23283"/>
                        <a:pt x="17555" y="25650"/>
                      </a:cubicBezTo>
                      <a:cubicBezTo>
                        <a:pt x="10704" y="28017"/>
                        <a:pt x="3231" y="24404"/>
                        <a:pt x="739" y="17554"/>
                      </a:cubicBezTo>
                      <a:cubicBezTo>
                        <a:pt x="-1627" y="10703"/>
                        <a:pt x="1861" y="3105"/>
                        <a:pt x="8711" y="738"/>
                      </a:cubicBezTo>
                      <a:cubicBezTo>
                        <a:pt x="15562" y="-1628"/>
                        <a:pt x="23036" y="1859"/>
                        <a:pt x="25527" y="8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9" name="Graphic 2987">
                <a:extLst>
                  <a:ext uri="{FF2B5EF4-FFF2-40B4-BE49-F238E27FC236}">
                    <a16:creationId xmlns:a16="http://schemas.microsoft.com/office/drawing/2014/main" id="{21CF0E71-327E-8759-50AE-1B9AB943BE04}"/>
                  </a:ext>
                </a:extLst>
              </p:cNvPr>
              <p:cNvGrpSpPr/>
              <p:nvPr/>
            </p:nvGrpSpPr>
            <p:grpSpPr>
              <a:xfrm>
                <a:off x="9210190" y="1377655"/>
                <a:ext cx="66593" cy="142187"/>
                <a:chOff x="9210190" y="1377655"/>
                <a:chExt cx="66593" cy="142187"/>
              </a:xfrm>
              <a:grpFill/>
            </p:grpSpPr>
            <p:sp>
              <p:nvSpPr>
                <p:cNvPr id="6978" name="Freeform 7084">
                  <a:extLst>
                    <a:ext uri="{FF2B5EF4-FFF2-40B4-BE49-F238E27FC236}">
                      <a16:creationId xmlns:a16="http://schemas.microsoft.com/office/drawing/2014/main" id="{AD1386DF-C50F-83AD-212A-89A453C07126}"/>
                    </a:ext>
                  </a:extLst>
                </p:cNvPr>
                <p:cNvSpPr/>
                <p:nvPr/>
              </p:nvSpPr>
              <p:spPr>
                <a:xfrm>
                  <a:off x="9248282" y="1449178"/>
                  <a:ext cx="16441" cy="49449"/>
                </a:xfrm>
                <a:custGeom>
                  <a:avLst/>
                  <a:gdLst>
                    <a:gd name="connsiteX0" fmla="*/ 16442 w 16441"/>
                    <a:gd name="connsiteY0" fmla="*/ 49449 h 49449"/>
                    <a:gd name="connsiteX1" fmla="*/ 12206 w 16441"/>
                    <a:gd name="connsiteY1" fmla="*/ 31139 h 49449"/>
                    <a:gd name="connsiteX2" fmla="*/ 3363 w 16441"/>
                    <a:gd name="connsiteY2" fmla="*/ 16193 h 49449"/>
                    <a:gd name="connsiteX3" fmla="*/ 0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49449"/>
                      </a:moveTo>
                      <a:cubicBezTo>
                        <a:pt x="16192" y="40979"/>
                        <a:pt x="14075" y="35001"/>
                        <a:pt x="12206" y="31139"/>
                      </a:cubicBezTo>
                      <a:cubicBezTo>
                        <a:pt x="9217" y="24787"/>
                        <a:pt x="6103" y="22669"/>
                        <a:pt x="3363"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9" name="Freeform 7085">
                  <a:extLst>
                    <a:ext uri="{FF2B5EF4-FFF2-40B4-BE49-F238E27FC236}">
                      <a16:creationId xmlns:a16="http://schemas.microsoft.com/office/drawing/2014/main" id="{01CAE849-55F8-9E9C-267D-CB00F438E742}"/>
                    </a:ext>
                  </a:extLst>
                </p:cNvPr>
                <p:cNvSpPr/>
                <p:nvPr/>
              </p:nvSpPr>
              <p:spPr>
                <a:xfrm>
                  <a:off x="9241930" y="1456776"/>
                  <a:ext cx="17811" cy="49075"/>
                </a:xfrm>
                <a:custGeom>
                  <a:avLst/>
                  <a:gdLst>
                    <a:gd name="connsiteX0" fmla="*/ 0 w 17811"/>
                    <a:gd name="connsiteY0" fmla="*/ 0 h 49075"/>
                    <a:gd name="connsiteX1" fmla="*/ 7972 w 17811"/>
                    <a:gd name="connsiteY1" fmla="*/ 17064 h 49075"/>
                    <a:gd name="connsiteX2" fmla="*/ 10339 w 17811"/>
                    <a:gd name="connsiteY2" fmla="*/ 34378 h 49075"/>
                    <a:gd name="connsiteX3" fmla="*/ 17812 w 17811"/>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811" h="49075">
                      <a:moveTo>
                        <a:pt x="0" y="0"/>
                      </a:moveTo>
                      <a:cubicBezTo>
                        <a:pt x="4983" y="6726"/>
                        <a:pt x="7100" y="12705"/>
                        <a:pt x="7972" y="17064"/>
                      </a:cubicBezTo>
                      <a:cubicBezTo>
                        <a:pt x="9467" y="23915"/>
                        <a:pt x="8470" y="27527"/>
                        <a:pt x="10339" y="34378"/>
                      </a:cubicBezTo>
                      <a:cubicBezTo>
                        <a:pt x="12082" y="41104"/>
                        <a:pt x="15321" y="45962"/>
                        <a:pt x="17812"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0" name="Freeform 7086">
                  <a:extLst>
                    <a:ext uri="{FF2B5EF4-FFF2-40B4-BE49-F238E27FC236}">
                      <a16:creationId xmlns:a16="http://schemas.microsoft.com/office/drawing/2014/main" id="{7B20791D-8EBF-99DE-534A-E7CEBB7006CA}"/>
                    </a:ext>
                  </a:extLst>
                </p:cNvPr>
                <p:cNvSpPr/>
                <p:nvPr/>
              </p:nvSpPr>
              <p:spPr>
                <a:xfrm>
                  <a:off x="9250187" y="1493231"/>
                  <a:ext cx="26596" cy="26611"/>
                </a:xfrm>
                <a:custGeom>
                  <a:avLst/>
                  <a:gdLst>
                    <a:gd name="connsiteX0" fmla="*/ 712 w 26596"/>
                    <a:gd name="connsiteY0" fmla="*/ 17728 h 26611"/>
                    <a:gd name="connsiteX1" fmla="*/ 8932 w 26596"/>
                    <a:gd name="connsiteY1" fmla="*/ 788 h 26611"/>
                    <a:gd name="connsiteX2" fmla="*/ 25872 w 26596"/>
                    <a:gd name="connsiteY2" fmla="*/ 8884 h 26611"/>
                    <a:gd name="connsiteX3" fmla="*/ 17651 w 26596"/>
                    <a:gd name="connsiteY3" fmla="*/ 25824 h 26611"/>
                    <a:gd name="connsiteX4" fmla="*/ 712 w 26596"/>
                    <a:gd name="connsiteY4" fmla="*/ 17728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611">
                      <a:moveTo>
                        <a:pt x="712" y="17728"/>
                      </a:moveTo>
                      <a:cubicBezTo>
                        <a:pt x="-1655" y="10752"/>
                        <a:pt x="2082" y="3154"/>
                        <a:pt x="8932" y="788"/>
                      </a:cubicBezTo>
                      <a:cubicBezTo>
                        <a:pt x="15907" y="-1703"/>
                        <a:pt x="23506" y="1909"/>
                        <a:pt x="25872" y="8884"/>
                      </a:cubicBezTo>
                      <a:cubicBezTo>
                        <a:pt x="28239" y="15735"/>
                        <a:pt x="24627" y="23457"/>
                        <a:pt x="17651" y="25824"/>
                      </a:cubicBezTo>
                      <a:cubicBezTo>
                        <a:pt x="10676" y="28315"/>
                        <a:pt x="3078" y="24703"/>
                        <a:pt x="712" y="177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1" name="Freeform 7087">
                  <a:extLst>
                    <a:ext uri="{FF2B5EF4-FFF2-40B4-BE49-F238E27FC236}">
                      <a16:creationId xmlns:a16="http://schemas.microsoft.com/office/drawing/2014/main" id="{58C1426A-3C83-E501-B91D-C626AEF14392}"/>
                    </a:ext>
                  </a:extLst>
                </p:cNvPr>
                <p:cNvSpPr/>
                <p:nvPr/>
              </p:nvSpPr>
              <p:spPr>
                <a:xfrm>
                  <a:off x="9222250" y="1398857"/>
                  <a:ext cx="16440" cy="49449"/>
                </a:xfrm>
                <a:custGeom>
                  <a:avLst/>
                  <a:gdLst>
                    <a:gd name="connsiteX0" fmla="*/ 0 w 16440"/>
                    <a:gd name="connsiteY0" fmla="*/ 0 h 49449"/>
                    <a:gd name="connsiteX1" fmla="*/ 4235 w 16440"/>
                    <a:gd name="connsiteY1" fmla="*/ 18310 h 49449"/>
                    <a:gd name="connsiteX2" fmla="*/ 13078 w 16440"/>
                    <a:gd name="connsiteY2" fmla="*/ 33257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373" y="8470"/>
                        <a:pt x="2367" y="14449"/>
                        <a:pt x="4235" y="18310"/>
                      </a:cubicBezTo>
                      <a:cubicBezTo>
                        <a:pt x="7224" y="24662"/>
                        <a:pt x="10213" y="26780"/>
                        <a:pt x="13078" y="33257"/>
                      </a:cubicBezTo>
                      <a:cubicBezTo>
                        <a:pt x="15818" y="39609"/>
                        <a:pt x="16317" y="45464"/>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2" name="Freeform 7088">
                  <a:extLst>
                    <a:ext uri="{FF2B5EF4-FFF2-40B4-BE49-F238E27FC236}">
                      <a16:creationId xmlns:a16="http://schemas.microsoft.com/office/drawing/2014/main" id="{96293BA4-2817-35D1-1EE8-BD3D716E6850}"/>
                    </a:ext>
                  </a:extLst>
                </p:cNvPr>
                <p:cNvSpPr/>
                <p:nvPr/>
              </p:nvSpPr>
              <p:spPr>
                <a:xfrm>
                  <a:off x="9227357" y="1391632"/>
                  <a:ext cx="17686" cy="49075"/>
                </a:xfrm>
                <a:custGeom>
                  <a:avLst/>
                  <a:gdLst>
                    <a:gd name="connsiteX0" fmla="*/ 17687 w 17686"/>
                    <a:gd name="connsiteY0" fmla="*/ 49076 h 49075"/>
                    <a:gd name="connsiteX1" fmla="*/ 9716 w 17686"/>
                    <a:gd name="connsiteY1" fmla="*/ 32011 h 49075"/>
                    <a:gd name="connsiteX2" fmla="*/ 7349 w 17686"/>
                    <a:gd name="connsiteY2" fmla="*/ 14698 h 49075"/>
                    <a:gd name="connsiteX3" fmla="*/ 0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17687" y="49076"/>
                      </a:moveTo>
                      <a:cubicBezTo>
                        <a:pt x="12705" y="42350"/>
                        <a:pt x="10587" y="36371"/>
                        <a:pt x="9716" y="32011"/>
                      </a:cubicBezTo>
                      <a:cubicBezTo>
                        <a:pt x="8220" y="25161"/>
                        <a:pt x="9217" y="21548"/>
                        <a:pt x="7349" y="14698"/>
                      </a:cubicBezTo>
                      <a:cubicBezTo>
                        <a:pt x="5481" y="7972"/>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3" name="Freeform 7089">
                  <a:extLst>
                    <a:ext uri="{FF2B5EF4-FFF2-40B4-BE49-F238E27FC236}">
                      <a16:creationId xmlns:a16="http://schemas.microsoft.com/office/drawing/2014/main" id="{5A8DAD1B-2342-23EB-2AA3-416486384B84}"/>
                    </a:ext>
                  </a:extLst>
                </p:cNvPr>
                <p:cNvSpPr/>
                <p:nvPr/>
              </p:nvSpPr>
              <p:spPr>
                <a:xfrm>
                  <a:off x="9210190" y="1377655"/>
                  <a:ext cx="26250" cy="26535"/>
                </a:xfrm>
                <a:custGeom>
                  <a:avLst/>
                  <a:gdLst>
                    <a:gd name="connsiteX0" fmla="*/ 25512 w 26250"/>
                    <a:gd name="connsiteY0" fmla="*/ 8871 h 26535"/>
                    <a:gd name="connsiteX1" fmla="*/ 17416 w 26250"/>
                    <a:gd name="connsiteY1" fmla="*/ 25810 h 26535"/>
                    <a:gd name="connsiteX2" fmla="*/ 725 w 26250"/>
                    <a:gd name="connsiteY2" fmla="*/ 17714 h 26535"/>
                    <a:gd name="connsiteX3" fmla="*/ 8822 w 26250"/>
                    <a:gd name="connsiteY3" fmla="*/ 774 h 26535"/>
                    <a:gd name="connsiteX4" fmla="*/ 25512 w 26250"/>
                    <a:gd name="connsiteY4" fmla="*/ 8871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0" h="26535">
                      <a:moveTo>
                        <a:pt x="25512" y="8871"/>
                      </a:moveTo>
                      <a:cubicBezTo>
                        <a:pt x="27879" y="15721"/>
                        <a:pt x="24392" y="23319"/>
                        <a:pt x="17416" y="25810"/>
                      </a:cubicBezTo>
                      <a:cubicBezTo>
                        <a:pt x="10566" y="28177"/>
                        <a:pt x="3092" y="24565"/>
                        <a:pt x="725" y="17714"/>
                      </a:cubicBezTo>
                      <a:cubicBezTo>
                        <a:pt x="-1641" y="10739"/>
                        <a:pt x="1971" y="3265"/>
                        <a:pt x="8822" y="774"/>
                      </a:cubicBezTo>
                      <a:cubicBezTo>
                        <a:pt x="15672" y="-1717"/>
                        <a:pt x="23146" y="2020"/>
                        <a:pt x="25512"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0" name="Graphic 2987">
                <a:extLst>
                  <a:ext uri="{FF2B5EF4-FFF2-40B4-BE49-F238E27FC236}">
                    <a16:creationId xmlns:a16="http://schemas.microsoft.com/office/drawing/2014/main" id="{458163EA-2A5B-F74D-F53F-6B8CC470BF68}"/>
                  </a:ext>
                </a:extLst>
              </p:cNvPr>
              <p:cNvGrpSpPr/>
              <p:nvPr/>
            </p:nvGrpSpPr>
            <p:grpSpPr>
              <a:xfrm>
                <a:off x="9182538" y="1387420"/>
                <a:ext cx="66081" cy="142386"/>
                <a:chOff x="9182538" y="1387420"/>
                <a:chExt cx="66081" cy="142386"/>
              </a:xfrm>
              <a:grpFill/>
            </p:grpSpPr>
            <p:sp>
              <p:nvSpPr>
                <p:cNvPr id="6972" name="Freeform 7091">
                  <a:extLst>
                    <a:ext uri="{FF2B5EF4-FFF2-40B4-BE49-F238E27FC236}">
                      <a16:creationId xmlns:a16="http://schemas.microsoft.com/office/drawing/2014/main" id="{92283C59-672C-5DD8-A72C-09F2AB4C2519}"/>
                    </a:ext>
                  </a:extLst>
                </p:cNvPr>
                <p:cNvSpPr/>
                <p:nvPr/>
              </p:nvSpPr>
              <p:spPr>
                <a:xfrm>
                  <a:off x="9220132" y="1459018"/>
                  <a:ext cx="16317" cy="49573"/>
                </a:xfrm>
                <a:custGeom>
                  <a:avLst/>
                  <a:gdLst>
                    <a:gd name="connsiteX0" fmla="*/ 16317 w 16317"/>
                    <a:gd name="connsiteY0" fmla="*/ 49574 h 49573"/>
                    <a:gd name="connsiteX1" fmla="*/ 12082 w 16317"/>
                    <a:gd name="connsiteY1" fmla="*/ 31264 h 49573"/>
                    <a:gd name="connsiteX2" fmla="*/ 3239 w 16317"/>
                    <a:gd name="connsiteY2" fmla="*/ 16192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6068" y="41104"/>
                        <a:pt x="13950" y="35125"/>
                        <a:pt x="12082" y="31264"/>
                      </a:cubicBezTo>
                      <a:cubicBezTo>
                        <a:pt x="9093" y="24912"/>
                        <a:pt x="6103" y="22794"/>
                        <a:pt x="3239"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3" name="Freeform 7092">
                  <a:extLst>
                    <a:ext uri="{FF2B5EF4-FFF2-40B4-BE49-F238E27FC236}">
                      <a16:creationId xmlns:a16="http://schemas.microsoft.com/office/drawing/2014/main" id="{1286DB76-9835-6861-5F7F-B74E2FBEF6EF}"/>
                    </a:ext>
                  </a:extLst>
                </p:cNvPr>
                <p:cNvSpPr/>
                <p:nvPr/>
              </p:nvSpPr>
              <p:spPr>
                <a:xfrm>
                  <a:off x="9213904" y="1466616"/>
                  <a:ext cx="17563" cy="49075"/>
                </a:xfrm>
                <a:custGeom>
                  <a:avLst/>
                  <a:gdLst>
                    <a:gd name="connsiteX0" fmla="*/ 0 w 17563"/>
                    <a:gd name="connsiteY0" fmla="*/ 0 h 49075"/>
                    <a:gd name="connsiteX1" fmla="*/ 7972 w 17563"/>
                    <a:gd name="connsiteY1" fmla="*/ 17064 h 49075"/>
                    <a:gd name="connsiteX2" fmla="*/ 10214 w 17563"/>
                    <a:gd name="connsiteY2" fmla="*/ 34378 h 49075"/>
                    <a:gd name="connsiteX3" fmla="*/ 17563 w 17563"/>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3" h="49075">
                      <a:moveTo>
                        <a:pt x="0" y="0"/>
                      </a:moveTo>
                      <a:cubicBezTo>
                        <a:pt x="4983" y="6726"/>
                        <a:pt x="6975" y="12829"/>
                        <a:pt x="7972" y="17064"/>
                      </a:cubicBezTo>
                      <a:cubicBezTo>
                        <a:pt x="9467" y="23915"/>
                        <a:pt x="8470" y="27527"/>
                        <a:pt x="10214" y="34378"/>
                      </a:cubicBezTo>
                      <a:cubicBezTo>
                        <a:pt x="11958" y="41104"/>
                        <a:pt x="15196" y="45962"/>
                        <a:pt x="17563"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4" name="Freeform 7093">
                  <a:extLst>
                    <a:ext uri="{FF2B5EF4-FFF2-40B4-BE49-F238E27FC236}">
                      <a16:creationId xmlns:a16="http://schemas.microsoft.com/office/drawing/2014/main" id="{B0C45575-74DB-AEB6-049A-6C1916AB8F4D}"/>
                    </a:ext>
                  </a:extLst>
                </p:cNvPr>
                <p:cNvSpPr/>
                <p:nvPr/>
              </p:nvSpPr>
              <p:spPr>
                <a:xfrm>
                  <a:off x="9221913" y="1503196"/>
                  <a:ext cx="26706" cy="26611"/>
                </a:xfrm>
                <a:custGeom>
                  <a:avLst/>
                  <a:gdLst>
                    <a:gd name="connsiteX0" fmla="*/ 711 w 26706"/>
                    <a:gd name="connsiteY0" fmla="*/ 17727 h 26611"/>
                    <a:gd name="connsiteX1" fmla="*/ 9056 w 26706"/>
                    <a:gd name="connsiteY1" fmla="*/ 788 h 26611"/>
                    <a:gd name="connsiteX2" fmla="*/ 25996 w 26706"/>
                    <a:gd name="connsiteY2" fmla="*/ 8884 h 26611"/>
                    <a:gd name="connsiteX3" fmla="*/ 17650 w 26706"/>
                    <a:gd name="connsiteY3" fmla="*/ 25824 h 26611"/>
                    <a:gd name="connsiteX4" fmla="*/ 711 w 26706"/>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17727"/>
                      </a:moveTo>
                      <a:cubicBezTo>
                        <a:pt x="-1656" y="10752"/>
                        <a:pt x="2081" y="3154"/>
                        <a:pt x="9056" y="788"/>
                      </a:cubicBezTo>
                      <a:cubicBezTo>
                        <a:pt x="16031" y="-1704"/>
                        <a:pt x="23630" y="1909"/>
                        <a:pt x="25996" y="8884"/>
                      </a:cubicBezTo>
                      <a:cubicBezTo>
                        <a:pt x="28363" y="15859"/>
                        <a:pt x="24626" y="23457"/>
                        <a:pt x="17650" y="25824"/>
                      </a:cubicBezTo>
                      <a:cubicBezTo>
                        <a:pt x="10675" y="28315"/>
                        <a:pt x="3077" y="24703"/>
                        <a:pt x="711"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5" name="Freeform 7094">
                  <a:extLst>
                    <a:ext uri="{FF2B5EF4-FFF2-40B4-BE49-F238E27FC236}">
                      <a16:creationId xmlns:a16="http://schemas.microsoft.com/office/drawing/2014/main" id="{672DAD81-3044-C31F-EC07-B1E1723D7A86}"/>
                    </a:ext>
                  </a:extLst>
                </p:cNvPr>
                <p:cNvSpPr/>
                <p:nvPr/>
              </p:nvSpPr>
              <p:spPr>
                <a:xfrm>
                  <a:off x="9194598" y="1408572"/>
                  <a:ext cx="16192" cy="49573"/>
                </a:xfrm>
                <a:custGeom>
                  <a:avLst/>
                  <a:gdLst>
                    <a:gd name="connsiteX0" fmla="*/ 0 w 16192"/>
                    <a:gd name="connsiteY0" fmla="*/ 0 h 49573"/>
                    <a:gd name="connsiteX1" fmla="*/ 4235 w 16192"/>
                    <a:gd name="connsiteY1" fmla="*/ 18310 h 49573"/>
                    <a:gd name="connsiteX2" fmla="*/ 12954 w 16192"/>
                    <a:gd name="connsiteY2" fmla="*/ 33381 h 49573"/>
                    <a:gd name="connsiteX3" fmla="*/ 16192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0" y="0"/>
                      </a:moveTo>
                      <a:cubicBezTo>
                        <a:pt x="249" y="8470"/>
                        <a:pt x="2367" y="14449"/>
                        <a:pt x="4235" y="18310"/>
                      </a:cubicBezTo>
                      <a:cubicBezTo>
                        <a:pt x="7225" y="24662"/>
                        <a:pt x="10214" y="26780"/>
                        <a:pt x="12954" y="33381"/>
                      </a:cubicBezTo>
                      <a:cubicBezTo>
                        <a:pt x="15694" y="39734"/>
                        <a:pt x="16192" y="45588"/>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6" name="Freeform 7095">
                  <a:extLst>
                    <a:ext uri="{FF2B5EF4-FFF2-40B4-BE49-F238E27FC236}">
                      <a16:creationId xmlns:a16="http://schemas.microsoft.com/office/drawing/2014/main" id="{359FCD07-C9C8-663C-6971-DE1DD15944CC}"/>
                    </a:ext>
                  </a:extLst>
                </p:cNvPr>
                <p:cNvSpPr/>
                <p:nvPr/>
              </p:nvSpPr>
              <p:spPr>
                <a:xfrm>
                  <a:off x="9199456" y="1401472"/>
                  <a:ext cx="17686" cy="49200"/>
                </a:xfrm>
                <a:custGeom>
                  <a:avLst/>
                  <a:gdLst>
                    <a:gd name="connsiteX0" fmla="*/ 17687 w 17686"/>
                    <a:gd name="connsiteY0" fmla="*/ 49200 h 49200"/>
                    <a:gd name="connsiteX1" fmla="*/ 9715 w 17686"/>
                    <a:gd name="connsiteY1" fmla="*/ 32136 h 49200"/>
                    <a:gd name="connsiteX2" fmla="*/ 7348 w 17686"/>
                    <a:gd name="connsiteY2" fmla="*/ 14822 h 49200"/>
                    <a:gd name="connsiteX3" fmla="*/ 0 w 17686"/>
                    <a:gd name="connsiteY3" fmla="*/ 0 h 49200"/>
                  </a:gdLst>
                  <a:ahLst/>
                  <a:cxnLst>
                    <a:cxn ang="0">
                      <a:pos x="connsiteX0" y="connsiteY0"/>
                    </a:cxn>
                    <a:cxn ang="0">
                      <a:pos x="connsiteX1" y="connsiteY1"/>
                    </a:cxn>
                    <a:cxn ang="0">
                      <a:pos x="connsiteX2" y="connsiteY2"/>
                    </a:cxn>
                    <a:cxn ang="0">
                      <a:pos x="connsiteX3" y="connsiteY3"/>
                    </a:cxn>
                  </a:cxnLst>
                  <a:rect l="l" t="t" r="r" b="b"/>
                  <a:pathLst>
                    <a:path w="17686" h="49200">
                      <a:moveTo>
                        <a:pt x="17687" y="49200"/>
                      </a:moveTo>
                      <a:cubicBezTo>
                        <a:pt x="12705" y="42474"/>
                        <a:pt x="10712" y="36371"/>
                        <a:pt x="9715" y="32136"/>
                      </a:cubicBezTo>
                      <a:cubicBezTo>
                        <a:pt x="8220" y="25285"/>
                        <a:pt x="9217" y="21673"/>
                        <a:pt x="7348" y="14822"/>
                      </a:cubicBezTo>
                      <a:cubicBezTo>
                        <a:pt x="5605" y="8096"/>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7" name="Freeform 7096">
                  <a:extLst>
                    <a:ext uri="{FF2B5EF4-FFF2-40B4-BE49-F238E27FC236}">
                      <a16:creationId xmlns:a16="http://schemas.microsoft.com/office/drawing/2014/main" id="{FBA743EC-B0E7-4EE4-6038-C986AFB57566}"/>
                    </a:ext>
                  </a:extLst>
                </p:cNvPr>
                <p:cNvSpPr/>
                <p:nvPr/>
              </p:nvSpPr>
              <p:spPr>
                <a:xfrm>
                  <a:off x="9182538" y="1387420"/>
                  <a:ext cx="26237" cy="26609"/>
                </a:xfrm>
                <a:custGeom>
                  <a:avLst/>
                  <a:gdLst>
                    <a:gd name="connsiteX0" fmla="*/ 25512 w 26237"/>
                    <a:gd name="connsiteY0" fmla="*/ 8945 h 26609"/>
                    <a:gd name="connsiteX1" fmla="*/ 17416 w 26237"/>
                    <a:gd name="connsiteY1" fmla="*/ 25885 h 26609"/>
                    <a:gd name="connsiteX2" fmla="*/ 725 w 26237"/>
                    <a:gd name="connsiteY2" fmla="*/ 17664 h 26609"/>
                    <a:gd name="connsiteX3" fmla="*/ 8821 w 26237"/>
                    <a:gd name="connsiteY3" fmla="*/ 724 h 26609"/>
                    <a:gd name="connsiteX4" fmla="*/ 25512 w 26237"/>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609">
                      <a:moveTo>
                        <a:pt x="25512" y="8945"/>
                      </a:moveTo>
                      <a:cubicBezTo>
                        <a:pt x="27879" y="15920"/>
                        <a:pt x="24266" y="23394"/>
                        <a:pt x="17416" y="25885"/>
                      </a:cubicBezTo>
                      <a:cubicBezTo>
                        <a:pt x="10565" y="28252"/>
                        <a:pt x="3092" y="24639"/>
                        <a:pt x="725" y="17664"/>
                      </a:cubicBezTo>
                      <a:cubicBezTo>
                        <a:pt x="-1641" y="10689"/>
                        <a:pt x="1971" y="3215"/>
                        <a:pt x="8821" y="724"/>
                      </a:cubicBezTo>
                      <a:cubicBezTo>
                        <a:pt x="15672" y="-1642"/>
                        <a:pt x="23146" y="1970"/>
                        <a:pt x="25512"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1" name="Graphic 2987">
                <a:extLst>
                  <a:ext uri="{FF2B5EF4-FFF2-40B4-BE49-F238E27FC236}">
                    <a16:creationId xmlns:a16="http://schemas.microsoft.com/office/drawing/2014/main" id="{DCF0ACD3-1FAA-23B4-8CF5-8999DF8499C2}"/>
                  </a:ext>
                </a:extLst>
              </p:cNvPr>
              <p:cNvGrpSpPr/>
              <p:nvPr/>
            </p:nvGrpSpPr>
            <p:grpSpPr>
              <a:xfrm>
                <a:off x="9155023" y="1397149"/>
                <a:ext cx="65273" cy="142685"/>
                <a:chOff x="9155023" y="1397149"/>
                <a:chExt cx="65273" cy="142685"/>
              </a:xfrm>
              <a:grpFill/>
            </p:grpSpPr>
            <p:sp>
              <p:nvSpPr>
                <p:cNvPr id="6966" name="Freeform 7098">
                  <a:extLst>
                    <a:ext uri="{FF2B5EF4-FFF2-40B4-BE49-F238E27FC236}">
                      <a16:creationId xmlns:a16="http://schemas.microsoft.com/office/drawing/2014/main" id="{ADAEDAE8-19CD-D12A-F588-0B7429661462}"/>
                    </a:ext>
                  </a:extLst>
                </p:cNvPr>
                <p:cNvSpPr/>
                <p:nvPr/>
              </p:nvSpPr>
              <p:spPr>
                <a:xfrm>
                  <a:off x="9192231" y="1468858"/>
                  <a:ext cx="16068" cy="49698"/>
                </a:xfrm>
                <a:custGeom>
                  <a:avLst/>
                  <a:gdLst>
                    <a:gd name="connsiteX0" fmla="*/ 16068 w 16068"/>
                    <a:gd name="connsiteY0" fmla="*/ 49699 h 49698"/>
                    <a:gd name="connsiteX1" fmla="*/ 11958 w 16068"/>
                    <a:gd name="connsiteY1" fmla="*/ 31264 h 49698"/>
                    <a:gd name="connsiteX2" fmla="*/ 3239 w 16068"/>
                    <a:gd name="connsiteY2" fmla="*/ 16193 h 49698"/>
                    <a:gd name="connsiteX3" fmla="*/ 0 w 16068"/>
                    <a:gd name="connsiteY3" fmla="*/ 0 h 49698"/>
                  </a:gdLst>
                  <a:ahLst/>
                  <a:cxnLst>
                    <a:cxn ang="0">
                      <a:pos x="connsiteX0" y="connsiteY0"/>
                    </a:cxn>
                    <a:cxn ang="0">
                      <a:pos x="connsiteX1" y="connsiteY1"/>
                    </a:cxn>
                    <a:cxn ang="0">
                      <a:pos x="connsiteX2" y="connsiteY2"/>
                    </a:cxn>
                    <a:cxn ang="0">
                      <a:pos x="connsiteX3" y="connsiteY3"/>
                    </a:cxn>
                  </a:cxnLst>
                  <a:rect l="l" t="t" r="r" b="b"/>
                  <a:pathLst>
                    <a:path w="16068" h="49698">
                      <a:moveTo>
                        <a:pt x="16068" y="49699"/>
                      </a:moveTo>
                      <a:cubicBezTo>
                        <a:pt x="15819" y="41229"/>
                        <a:pt x="13826" y="35250"/>
                        <a:pt x="11958" y="31264"/>
                      </a:cubicBezTo>
                      <a:cubicBezTo>
                        <a:pt x="8969" y="24912"/>
                        <a:pt x="5979" y="22794"/>
                        <a:pt x="3239"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7" name="Freeform 7099">
                  <a:extLst>
                    <a:ext uri="{FF2B5EF4-FFF2-40B4-BE49-F238E27FC236}">
                      <a16:creationId xmlns:a16="http://schemas.microsoft.com/office/drawing/2014/main" id="{B3D24E08-5E1C-71C1-FE8C-D16E3B6B292E}"/>
                    </a:ext>
                  </a:extLst>
                </p:cNvPr>
                <p:cNvSpPr/>
                <p:nvPr/>
              </p:nvSpPr>
              <p:spPr>
                <a:xfrm>
                  <a:off x="9185879" y="1476456"/>
                  <a:ext cx="17313" cy="49200"/>
                </a:xfrm>
                <a:custGeom>
                  <a:avLst/>
                  <a:gdLst>
                    <a:gd name="connsiteX0" fmla="*/ 0 w 17313"/>
                    <a:gd name="connsiteY0" fmla="*/ 0 h 49200"/>
                    <a:gd name="connsiteX1" fmla="*/ 7847 w 17313"/>
                    <a:gd name="connsiteY1" fmla="*/ 17064 h 49200"/>
                    <a:gd name="connsiteX2" fmla="*/ 10089 w 17313"/>
                    <a:gd name="connsiteY2" fmla="*/ 34378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975" y="12829"/>
                        <a:pt x="7847" y="17064"/>
                      </a:cubicBezTo>
                      <a:cubicBezTo>
                        <a:pt x="9342" y="23915"/>
                        <a:pt x="8221" y="27527"/>
                        <a:pt x="10089" y="34378"/>
                      </a:cubicBezTo>
                      <a:cubicBezTo>
                        <a:pt x="11833" y="41104"/>
                        <a:pt x="14947" y="46086"/>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8" name="Freeform 7100">
                  <a:extLst>
                    <a:ext uri="{FF2B5EF4-FFF2-40B4-BE49-F238E27FC236}">
                      <a16:creationId xmlns:a16="http://schemas.microsoft.com/office/drawing/2014/main" id="{C86A36CD-676A-9675-F0B0-16522F4E77C0}"/>
                    </a:ext>
                  </a:extLst>
                </p:cNvPr>
                <p:cNvSpPr/>
                <p:nvPr/>
              </p:nvSpPr>
              <p:spPr>
                <a:xfrm>
                  <a:off x="9193775" y="1513160"/>
                  <a:ext cx="26522" cy="26673"/>
                </a:xfrm>
                <a:custGeom>
                  <a:avLst/>
                  <a:gdLst>
                    <a:gd name="connsiteX0" fmla="*/ 699 w 26522"/>
                    <a:gd name="connsiteY0" fmla="*/ 17852 h 26673"/>
                    <a:gd name="connsiteX1" fmla="*/ 9044 w 26522"/>
                    <a:gd name="connsiteY1" fmla="*/ 788 h 26673"/>
                    <a:gd name="connsiteX2" fmla="*/ 25859 w 26522"/>
                    <a:gd name="connsiteY2" fmla="*/ 8884 h 26673"/>
                    <a:gd name="connsiteX3" fmla="*/ 17514 w 26522"/>
                    <a:gd name="connsiteY3" fmla="*/ 25948 h 26673"/>
                    <a:gd name="connsiteX4" fmla="*/ 699 w 26522"/>
                    <a:gd name="connsiteY4" fmla="*/ 17852 h 26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22" h="26673">
                      <a:moveTo>
                        <a:pt x="699" y="17852"/>
                      </a:moveTo>
                      <a:cubicBezTo>
                        <a:pt x="-1668" y="10877"/>
                        <a:pt x="2193" y="3279"/>
                        <a:pt x="9044" y="788"/>
                      </a:cubicBezTo>
                      <a:cubicBezTo>
                        <a:pt x="16020" y="-1704"/>
                        <a:pt x="23617" y="1909"/>
                        <a:pt x="25859" y="8884"/>
                      </a:cubicBezTo>
                      <a:cubicBezTo>
                        <a:pt x="28101" y="15859"/>
                        <a:pt x="24489" y="23457"/>
                        <a:pt x="17514" y="25948"/>
                      </a:cubicBezTo>
                      <a:cubicBezTo>
                        <a:pt x="10539" y="28315"/>
                        <a:pt x="2940" y="24703"/>
                        <a:pt x="699" y="178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9" name="Freeform 7101">
                  <a:extLst>
                    <a:ext uri="{FF2B5EF4-FFF2-40B4-BE49-F238E27FC236}">
                      <a16:creationId xmlns:a16="http://schemas.microsoft.com/office/drawing/2014/main" id="{9697AD29-0A31-D7EC-617F-38824D879966}"/>
                    </a:ext>
                  </a:extLst>
                </p:cNvPr>
                <p:cNvSpPr/>
                <p:nvPr/>
              </p:nvSpPr>
              <p:spPr>
                <a:xfrm>
                  <a:off x="9166822" y="1418412"/>
                  <a:ext cx="16067" cy="49698"/>
                </a:xfrm>
                <a:custGeom>
                  <a:avLst/>
                  <a:gdLst>
                    <a:gd name="connsiteX0" fmla="*/ 0 w 16067"/>
                    <a:gd name="connsiteY0" fmla="*/ 0 h 49698"/>
                    <a:gd name="connsiteX1" fmla="*/ 4111 w 16067"/>
                    <a:gd name="connsiteY1" fmla="*/ 18435 h 49698"/>
                    <a:gd name="connsiteX2" fmla="*/ 12829 w 16067"/>
                    <a:gd name="connsiteY2" fmla="*/ 33506 h 49698"/>
                    <a:gd name="connsiteX3" fmla="*/ 16068 w 16067"/>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6067" h="49698">
                      <a:moveTo>
                        <a:pt x="0" y="0"/>
                      </a:moveTo>
                      <a:cubicBezTo>
                        <a:pt x="249" y="8470"/>
                        <a:pt x="2242" y="14449"/>
                        <a:pt x="4111" y="18435"/>
                      </a:cubicBezTo>
                      <a:cubicBezTo>
                        <a:pt x="7100" y="24787"/>
                        <a:pt x="10089" y="26904"/>
                        <a:pt x="12829" y="33506"/>
                      </a:cubicBezTo>
                      <a:cubicBezTo>
                        <a:pt x="15445" y="39858"/>
                        <a:pt x="15943" y="45713"/>
                        <a:pt x="1606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0" name="Freeform 7102">
                  <a:extLst>
                    <a:ext uri="{FF2B5EF4-FFF2-40B4-BE49-F238E27FC236}">
                      <a16:creationId xmlns:a16="http://schemas.microsoft.com/office/drawing/2014/main" id="{1962EE70-57AC-32E0-EB3E-6634E35646DA}"/>
                    </a:ext>
                  </a:extLst>
                </p:cNvPr>
                <p:cNvSpPr/>
                <p:nvPr/>
              </p:nvSpPr>
              <p:spPr>
                <a:xfrm>
                  <a:off x="9171804" y="1411312"/>
                  <a:ext cx="17313" cy="49200"/>
                </a:xfrm>
                <a:custGeom>
                  <a:avLst/>
                  <a:gdLst>
                    <a:gd name="connsiteX0" fmla="*/ 17314 w 17313"/>
                    <a:gd name="connsiteY0" fmla="*/ 49200 h 49200"/>
                    <a:gd name="connsiteX1" fmla="*/ 9467 w 17313"/>
                    <a:gd name="connsiteY1" fmla="*/ 32136 h 49200"/>
                    <a:gd name="connsiteX2" fmla="*/ 7225 w 17313"/>
                    <a:gd name="connsiteY2" fmla="*/ 14822 h 49200"/>
                    <a:gd name="connsiteX3" fmla="*/ 0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49200"/>
                      </a:moveTo>
                      <a:cubicBezTo>
                        <a:pt x="12456" y="42350"/>
                        <a:pt x="10339" y="36371"/>
                        <a:pt x="9467" y="32136"/>
                      </a:cubicBezTo>
                      <a:cubicBezTo>
                        <a:pt x="7972" y="25285"/>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1" name="Freeform 7103">
                  <a:extLst>
                    <a:ext uri="{FF2B5EF4-FFF2-40B4-BE49-F238E27FC236}">
                      <a16:creationId xmlns:a16="http://schemas.microsoft.com/office/drawing/2014/main" id="{C8128CEB-FFA5-1B6A-9E54-B892E2F4F139}"/>
                    </a:ext>
                  </a:extLst>
                </p:cNvPr>
                <p:cNvSpPr/>
                <p:nvPr/>
              </p:nvSpPr>
              <p:spPr>
                <a:xfrm>
                  <a:off x="9155023" y="1397149"/>
                  <a:ext cx="26100" cy="26596"/>
                </a:xfrm>
                <a:custGeom>
                  <a:avLst/>
                  <a:gdLst>
                    <a:gd name="connsiteX0" fmla="*/ 25375 w 26100"/>
                    <a:gd name="connsiteY0" fmla="*/ 8933 h 26596"/>
                    <a:gd name="connsiteX1" fmla="*/ 17279 w 26100"/>
                    <a:gd name="connsiteY1" fmla="*/ 25872 h 26596"/>
                    <a:gd name="connsiteX2" fmla="*/ 713 w 26100"/>
                    <a:gd name="connsiteY2" fmla="*/ 17652 h 26596"/>
                    <a:gd name="connsiteX3" fmla="*/ 8809 w 26100"/>
                    <a:gd name="connsiteY3" fmla="*/ 712 h 26596"/>
                    <a:gd name="connsiteX4" fmla="*/ 25375 w 26100"/>
                    <a:gd name="connsiteY4" fmla="*/ 893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0" h="26595">
                      <a:moveTo>
                        <a:pt x="25375" y="8933"/>
                      </a:moveTo>
                      <a:cubicBezTo>
                        <a:pt x="27742" y="15908"/>
                        <a:pt x="24130" y="23506"/>
                        <a:pt x="17279" y="25872"/>
                      </a:cubicBezTo>
                      <a:cubicBezTo>
                        <a:pt x="10429" y="28239"/>
                        <a:pt x="2955" y="24627"/>
                        <a:pt x="713" y="17652"/>
                      </a:cubicBezTo>
                      <a:cubicBezTo>
                        <a:pt x="-1654" y="10676"/>
                        <a:pt x="2083" y="3078"/>
                        <a:pt x="8809" y="712"/>
                      </a:cubicBezTo>
                      <a:cubicBezTo>
                        <a:pt x="15535" y="-1655"/>
                        <a:pt x="23008" y="2082"/>
                        <a:pt x="25375" y="893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2" name="Graphic 2987">
                <a:extLst>
                  <a:ext uri="{FF2B5EF4-FFF2-40B4-BE49-F238E27FC236}">
                    <a16:creationId xmlns:a16="http://schemas.microsoft.com/office/drawing/2014/main" id="{32754AF9-4385-A743-B869-6DEB5E1E9799}"/>
                  </a:ext>
                </a:extLst>
              </p:cNvPr>
              <p:cNvGrpSpPr/>
              <p:nvPr/>
            </p:nvGrpSpPr>
            <p:grpSpPr>
              <a:xfrm>
                <a:off x="9126935" y="1406746"/>
                <a:ext cx="65245" cy="142590"/>
                <a:chOff x="9126935" y="1406746"/>
                <a:chExt cx="65245" cy="142590"/>
              </a:xfrm>
              <a:grpFill/>
            </p:grpSpPr>
            <p:sp>
              <p:nvSpPr>
                <p:cNvPr id="6960" name="Freeform 7105">
                  <a:extLst>
                    <a:ext uri="{FF2B5EF4-FFF2-40B4-BE49-F238E27FC236}">
                      <a16:creationId xmlns:a16="http://schemas.microsoft.com/office/drawing/2014/main" id="{62FAAB58-17E7-C088-8694-550040136C2C}"/>
                    </a:ext>
                  </a:extLst>
                </p:cNvPr>
                <p:cNvSpPr/>
                <p:nvPr/>
              </p:nvSpPr>
              <p:spPr>
                <a:xfrm>
                  <a:off x="9164206" y="1478574"/>
                  <a:ext cx="15819" cy="49698"/>
                </a:xfrm>
                <a:custGeom>
                  <a:avLst/>
                  <a:gdLst>
                    <a:gd name="connsiteX0" fmla="*/ 15819 w 15819"/>
                    <a:gd name="connsiteY0" fmla="*/ 49699 h 49698"/>
                    <a:gd name="connsiteX1" fmla="*/ 11833 w 15819"/>
                    <a:gd name="connsiteY1" fmla="*/ 31389 h 49698"/>
                    <a:gd name="connsiteX2" fmla="*/ 3114 w 15819"/>
                    <a:gd name="connsiteY2" fmla="*/ 16192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9"/>
                      </a:moveTo>
                      <a:cubicBezTo>
                        <a:pt x="15694" y="41353"/>
                        <a:pt x="13702" y="35250"/>
                        <a:pt x="11833" y="31389"/>
                      </a:cubicBezTo>
                      <a:cubicBezTo>
                        <a:pt x="8844" y="25036"/>
                        <a:pt x="5855" y="22794"/>
                        <a:pt x="3114"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1" name="Freeform 7106">
                  <a:extLst>
                    <a:ext uri="{FF2B5EF4-FFF2-40B4-BE49-F238E27FC236}">
                      <a16:creationId xmlns:a16="http://schemas.microsoft.com/office/drawing/2014/main" id="{35FF5408-CF3C-FADA-E161-4EF83C79E663}"/>
                    </a:ext>
                  </a:extLst>
                </p:cNvPr>
                <p:cNvSpPr/>
                <p:nvPr/>
              </p:nvSpPr>
              <p:spPr>
                <a:xfrm>
                  <a:off x="9157729" y="1485923"/>
                  <a:ext cx="17065" cy="49200"/>
                </a:xfrm>
                <a:custGeom>
                  <a:avLst/>
                  <a:gdLst>
                    <a:gd name="connsiteX0" fmla="*/ 0 w 17065"/>
                    <a:gd name="connsiteY0" fmla="*/ 0 h 49200"/>
                    <a:gd name="connsiteX1" fmla="*/ 7723 w 17065"/>
                    <a:gd name="connsiteY1" fmla="*/ 17189 h 49200"/>
                    <a:gd name="connsiteX2" fmla="*/ 9841 w 17065"/>
                    <a:gd name="connsiteY2" fmla="*/ 34378 h 49200"/>
                    <a:gd name="connsiteX3" fmla="*/ 17065 w 17065"/>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5" h="49200">
                      <a:moveTo>
                        <a:pt x="0" y="0"/>
                      </a:moveTo>
                      <a:cubicBezTo>
                        <a:pt x="4858" y="6851"/>
                        <a:pt x="6851" y="12954"/>
                        <a:pt x="7723" y="17189"/>
                      </a:cubicBezTo>
                      <a:cubicBezTo>
                        <a:pt x="9218" y="24040"/>
                        <a:pt x="8097" y="27527"/>
                        <a:pt x="9841" y="34378"/>
                      </a:cubicBezTo>
                      <a:cubicBezTo>
                        <a:pt x="11585" y="41104"/>
                        <a:pt x="14698" y="46086"/>
                        <a:pt x="17065"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2" name="Freeform 7107">
                  <a:extLst>
                    <a:ext uri="{FF2B5EF4-FFF2-40B4-BE49-F238E27FC236}">
                      <a16:creationId xmlns:a16="http://schemas.microsoft.com/office/drawing/2014/main" id="{6384328B-AA1C-B89D-4F2F-C3BCDFC3C254}"/>
                    </a:ext>
                  </a:extLst>
                </p:cNvPr>
                <p:cNvSpPr/>
                <p:nvPr/>
              </p:nvSpPr>
              <p:spPr>
                <a:xfrm>
                  <a:off x="9165301" y="1522900"/>
                  <a:ext cx="26879" cy="26436"/>
                </a:xfrm>
                <a:custGeom>
                  <a:avLst/>
                  <a:gdLst>
                    <a:gd name="connsiteX0" fmla="*/ 649 w 26879"/>
                    <a:gd name="connsiteY0" fmla="*/ 17205 h 26436"/>
                    <a:gd name="connsiteX1" fmla="*/ 9243 w 26879"/>
                    <a:gd name="connsiteY1" fmla="*/ 639 h 26436"/>
                    <a:gd name="connsiteX2" fmla="*/ 26183 w 26879"/>
                    <a:gd name="connsiteY2" fmla="*/ 9108 h 26436"/>
                    <a:gd name="connsiteX3" fmla="*/ 17589 w 26879"/>
                    <a:gd name="connsiteY3" fmla="*/ 25799 h 26436"/>
                    <a:gd name="connsiteX4" fmla="*/ 649 w 26879"/>
                    <a:gd name="connsiteY4" fmla="*/ 17205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8" h="26436">
                      <a:moveTo>
                        <a:pt x="649" y="17205"/>
                      </a:moveTo>
                      <a:cubicBezTo>
                        <a:pt x="-1593" y="10229"/>
                        <a:pt x="2144" y="2756"/>
                        <a:pt x="9243" y="639"/>
                      </a:cubicBezTo>
                      <a:cubicBezTo>
                        <a:pt x="16219" y="-1604"/>
                        <a:pt x="23816" y="2258"/>
                        <a:pt x="26183" y="9108"/>
                      </a:cubicBezTo>
                      <a:cubicBezTo>
                        <a:pt x="28550" y="16084"/>
                        <a:pt x="24688" y="23557"/>
                        <a:pt x="17589" y="25799"/>
                      </a:cubicBezTo>
                      <a:cubicBezTo>
                        <a:pt x="10489" y="28041"/>
                        <a:pt x="2891" y="24180"/>
                        <a:pt x="649" y="17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3" name="Freeform 7108">
                  <a:extLst>
                    <a:ext uri="{FF2B5EF4-FFF2-40B4-BE49-F238E27FC236}">
                      <a16:creationId xmlns:a16="http://schemas.microsoft.com/office/drawing/2014/main" id="{D579F57B-1665-4259-1A47-BD791A8964FE}"/>
                    </a:ext>
                  </a:extLst>
                </p:cNvPr>
                <p:cNvSpPr/>
                <p:nvPr/>
              </p:nvSpPr>
              <p:spPr>
                <a:xfrm>
                  <a:off x="9138921" y="1427754"/>
                  <a:ext cx="15693" cy="49698"/>
                </a:xfrm>
                <a:custGeom>
                  <a:avLst/>
                  <a:gdLst>
                    <a:gd name="connsiteX0" fmla="*/ 0 w 15693"/>
                    <a:gd name="connsiteY0" fmla="*/ 0 h 49698"/>
                    <a:gd name="connsiteX1" fmla="*/ 3986 w 15693"/>
                    <a:gd name="connsiteY1" fmla="*/ 18310 h 49698"/>
                    <a:gd name="connsiteX2" fmla="*/ 12580 w 15693"/>
                    <a:gd name="connsiteY2" fmla="*/ 33506 h 49698"/>
                    <a:gd name="connsiteX3" fmla="*/ 15694 w 1569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3" h="49698">
                      <a:moveTo>
                        <a:pt x="0" y="0"/>
                      </a:moveTo>
                      <a:cubicBezTo>
                        <a:pt x="124" y="8345"/>
                        <a:pt x="2242" y="14449"/>
                        <a:pt x="3986" y="18310"/>
                      </a:cubicBezTo>
                      <a:cubicBezTo>
                        <a:pt x="6851" y="24662"/>
                        <a:pt x="9840" y="26904"/>
                        <a:pt x="12580" y="33506"/>
                      </a:cubicBezTo>
                      <a:cubicBezTo>
                        <a:pt x="15196" y="39858"/>
                        <a:pt x="15694" y="45713"/>
                        <a:pt x="15694"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4" name="Freeform 7109">
                  <a:extLst>
                    <a:ext uri="{FF2B5EF4-FFF2-40B4-BE49-F238E27FC236}">
                      <a16:creationId xmlns:a16="http://schemas.microsoft.com/office/drawing/2014/main" id="{F1403A9B-54DA-01C4-2EFB-2DB5ECC495A1}"/>
                    </a:ext>
                  </a:extLst>
                </p:cNvPr>
                <p:cNvSpPr/>
                <p:nvPr/>
              </p:nvSpPr>
              <p:spPr>
                <a:xfrm>
                  <a:off x="9144028" y="1420903"/>
                  <a:ext cx="17064" cy="49200"/>
                </a:xfrm>
                <a:custGeom>
                  <a:avLst/>
                  <a:gdLst>
                    <a:gd name="connsiteX0" fmla="*/ 17064 w 17064"/>
                    <a:gd name="connsiteY0" fmla="*/ 49200 h 49200"/>
                    <a:gd name="connsiteX1" fmla="*/ 9342 w 17064"/>
                    <a:gd name="connsiteY1" fmla="*/ 32011 h 49200"/>
                    <a:gd name="connsiteX2" fmla="*/ 7225 w 17064"/>
                    <a:gd name="connsiteY2" fmla="*/ 14822 h 49200"/>
                    <a:gd name="connsiteX3" fmla="*/ 0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49200"/>
                      </a:moveTo>
                      <a:cubicBezTo>
                        <a:pt x="12206" y="42350"/>
                        <a:pt x="10214" y="36246"/>
                        <a:pt x="9342" y="32011"/>
                      </a:cubicBezTo>
                      <a:cubicBezTo>
                        <a:pt x="7847" y="25161"/>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5" name="Freeform 7110">
                  <a:extLst>
                    <a:ext uri="{FF2B5EF4-FFF2-40B4-BE49-F238E27FC236}">
                      <a16:creationId xmlns:a16="http://schemas.microsoft.com/office/drawing/2014/main" id="{42F46072-A022-D677-3343-AD76AFBC0606}"/>
                    </a:ext>
                  </a:extLst>
                </p:cNvPr>
                <p:cNvSpPr/>
                <p:nvPr/>
              </p:nvSpPr>
              <p:spPr>
                <a:xfrm>
                  <a:off x="9126935" y="1406746"/>
                  <a:ext cx="26397" cy="26378"/>
                </a:xfrm>
                <a:custGeom>
                  <a:avLst/>
                  <a:gdLst>
                    <a:gd name="connsiteX0" fmla="*/ 25687 w 26397"/>
                    <a:gd name="connsiteY0" fmla="*/ 9175 h 26378"/>
                    <a:gd name="connsiteX1" fmla="*/ 17342 w 26397"/>
                    <a:gd name="connsiteY1" fmla="*/ 25741 h 26378"/>
                    <a:gd name="connsiteX2" fmla="*/ 651 w 26397"/>
                    <a:gd name="connsiteY2" fmla="*/ 17146 h 26378"/>
                    <a:gd name="connsiteX3" fmla="*/ 8996 w 26397"/>
                    <a:gd name="connsiteY3" fmla="*/ 580 h 26378"/>
                    <a:gd name="connsiteX4" fmla="*/ 25687 w 26397"/>
                    <a:gd name="connsiteY4" fmla="*/ 9175 h 26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377">
                      <a:moveTo>
                        <a:pt x="25687" y="9175"/>
                      </a:moveTo>
                      <a:cubicBezTo>
                        <a:pt x="28054" y="16150"/>
                        <a:pt x="24317" y="23623"/>
                        <a:pt x="17342" y="25741"/>
                      </a:cubicBezTo>
                      <a:cubicBezTo>
                        <a:pt x="10367" y="27983"/>
                        <a:pt x="2893" y="24122"/>
                        <a:pt x="651" y="17146"/>
                      </a:cubicBezTo>
                      <a:cubicBezTo>
                        <a:pt x="-1591" y="10171"/>
                        <a:pt x="2145" y="2822"/>
                        <a:pt x="8996" y="580"/>
                      </a:cubicBezTo>
                      <a:cubicBezTo>
                        <a:pt x="15972" y="-1537"/>
                        <a:pt x="23445" y="2324"/>
                        <a:pt x="25687" y="91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3" name="Graphic 2987">
                <a:extLst>
                  <a:ext uri="{FF2B5EF4-FFF2-40B4-BE49-F238E27FC236}">
                    <a16:creationId xmlns:a16="http://schemas.microsoft.com/office/drawing/2014/main" id="{3BF4D8DA-5E3B-D5EF-EF61-C5D4989C57CD}"/>
                  </a:ext>
                </a:extLst>
              </p:cNvPr>
              <p:cNvGrpSpPr/>
              <p:nvPr/>
            </p:nvGrpSpPr>
            <p:grpSpPr>
              <a:xfrm>
                <a:off x="9098911" y="1415533"/>
                <a:ext cx="64687" cy="142772"/>
                <a:chOff x="9098911" y="1415533"/>
                <a:chExt cx="64687" cy="142772"/>
              </a:xfrm>
              <a:grpFill/>
            </p:grpSpPr>
            <p:sp>
              <p:nvSpPr>
                <p:cNvPr id="6954" name="Freeform 7112">
                  <a:extLst>
                    <a:ext uri="{FF2B5EF4-FFF2-40B4-BE49-F238E27FC236}">
                      <a16:creationId xmlns:a16="http://schemas.microsoft.com/office/drawing/2014/main" id="{517668E5-D03E-68A9-5956-7455C91A6D38}"/>
                    </a:ext>
                  </a:extLst>
                </p:cNvPr>
                <p:cNvSpPr/>
                <p:nvPr/>
              </p:nvSpPr>
              <p:spPr>
                <a:xfrm>
                  <a:off x="9135914" y="1487542"/>
                  <a:ext cx="15586" cy="49698"/>
                </a:xfrm>
                <a:custGeom>
                  <a:avLst/>
                  <a:gdLst>
                    <a:gd name="connsiteX0" fmla="*/ 15587 w 15586"/>
                    <a:gd name="connsiteY0" fmla="*/ 49699 h 49698"/>
                    <a:gd name="connsiteX1" fmla="*/ 11602 w 15586"/>
                    <a:gd name="connsiteY1" fmla="*/ 31389 h 49698"/>
                    <a:gd name="connsiteX2" fmla="*/ 3007 w 15586"/>
                    <a:gd name="connsiteY2" fmla="*/ 16193 h 49698"/>
                    <a:gd name="connsiteX3" fmla="*/ 17 w 15586"/>
                    <a:gd name="connsiteY3" fmla="*/ 0 h 49698"/>
                  </a:gdLst>
                  <a:ahLst/>
                  <a:cxnLst>
                    <a:cxn ang="0">
                      <a:pos x="connsiteX0" y="connsiteY0"/>
                    </a:cxn>
                    <a:cxn ang="0">
                      <a:pos x="connsiteX1" y="connsiteY1"/>
                    </a:cxn>
                    <a:cxn ang="0">
                      <a:pos x="connsiteX2" y="connsiteY2"/>
                    </a:cxn>
                    <a:cxn ang="0">
                      <a:pos x="connsiteX3" y="connsiteY3"/>
                    </a:cxn>
                  </a:cxnLst>
                  <a:rect l="l" t="t" r="r" b="b"/>
                  <a:pathLst>
                    <a:path w="15586" h="49698">
                      <a:moveTo>
                        <a:pt x="15587" y="49699"/>
                      </a:moveTo>
                      <a:cubicBezTo>
                        <a:pt x="15463" y="41353"/>
                        <a:pt x="13470" y="35250"/>
                        <a:pt x="11602" y="31389"/>
                      </a:cubicBezTo>
                      <a:cubicBezTo>
                        <a:pt x="8736" y="25036"/>
                        <a:pt x="5747" y="22794"/>
                        <a:pt x="3007" y="16193"/>
                      </a:cubicBezTo>
                      <a:cubicBezTo>
                        <a:pt x="391" y="9840"/>
                        <a:pt x="-107" y="3986"/>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5" name="Freeform 7113">
                  <a:extLst>
                    <a:ext uri="{FF2B5EF4-FFF2-40B4-BE49-F238E27FC236}">
                      <a16:creationId xmlns:a16="http://schemas.microsoft.com/office/drawing/2014/main" id="{D7AF616C-3734-C2BB-4E56-E1E08C3674FD}"/>
                    </a:ext>
                  </a:extLst>
                </p:cNvPr>
                <p:cNvSpPr/>
                <p:nvPr/>
              </p:nvSpPr>
              <p:spPr>
                <a:xfrm>
                  <a:off x="9129455" y="1494766"/>
                  <a:ext cx="16814" cy="49449"/>
                </a:xfrm>
                <a:custGeom>
                  <a:avLst/>
                  <a:gdLst>
                    <a:gd name="connsiteX0" fmla="*/ 0 w 16814"/>
                    <a:gd name="connsiteY0" fmla="*/ 0 h 49449"/>
                    <a:gd name="connsiteX1" fmla="*/ 7723 w 16814"/>
                    <a:gd name="connsiteY1" fmla="*/ 17189 h 49449"/>
                    <a:gd name="connsiteX2" fmla="*/ 9715 w 16814"/>
                    <a:gd name="connsiteY2" fmla="*/ 34502 h 49449"/>
                    <a:gd name="connsiteX3" fmla="*/ 16815 w 16814"/>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814" h="49449">
                      <a:moveTo>
                        <a:pt x="0" y="0"/>
                      </a:moveTo>
                      <a:cubicBezTo>
                        <a:pt x="4858" y="6851"/>
                        <a:pt x="6851" y="12954"/>
                        <a:pt x="7723" y="17189"/>
                      </a:cubicBezTo>
                      <a:cubicBezTo>
                        <a:pt x="9092" y="24040"/>
                        <a:pt x="8096" y="27527"/>
                        <a:pt x="9715" y="34502"/>
                      </a:cubicBezTo>
                      <a:cubicBezTo>
                        <a:pt x="11334" y="41229"/>
                        <a:pt x="14448" y="46211"/>
                        <a:pt x="16815"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6" name="Freeform 7114">
                  <a:extLst>
                    <a:ext uri="{FF2B5EF4-FFF2-40B4-BE49-F238E27FC236}">
                      <a16:creationId xmlns:a16="http://schemas.microsoft.com/office/drawing/2014/main" id="{AC0CC52E-132F-A6F2-0B6E-26BAD5ECAFA3}"/>
                    </a:ext>
                  </a:extLst>
                </p:cNvPr>
                <p:cNvSpPr/>
                <p:nvPr/>
              </p:nvSpPr>
              <p:spPr>
                <a:xfrm>
                  <a:off x="9136789" y="1531869"/>
                  <a:ext cx="26809" cy="26435"/>
                </a:xfrm>
                <a:custGeom>
                  <a:avLst/>
                  <a:gdLst>
                    <a:gd name="connsiteX0" fmla="*/ 638 w 26809"/>
                    <a:gd name="connsiteY0" fmla="*/ 17204 h 26435"/>
                    <a:gd name="connsiteX1" fmla="*/ 9232 w 26809"/>
                    <a:gd name="connsiteY1" fmla="*/ 638 h 26435"/>
                    <a:gd name="connsiteX2" fmla="*/ 26172 w 26809"/>
                    <a:gd name="connsiteY2" fmla="*/ 9232 h 26435"/>
                    <a:gd name="connsiteX3" fmla="*/ 17578 w 26809"/>
                    <a:gd name="connsiteY3" fmla="*/ 25798 h 26435"/>
                    <a:gd name="connsiteX4" fmla="*/ 638 w 26809"/>
                    <a:gd name="connsiteY4" fmla="*/ 1720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9" h="26435">
                      <a:moveTo>
                        <a:pt x="638" y="17204"/>
                      </a:moveTo>
                      <a:cubicBezTo>
                        <a:pt x="-1605" y="10229"/>
                        <a:pt x="2256" y="2755"/>
                        <a:pt x="9232" y="638"/>
                      </a:cubicBezTo>
                      <a:cubicBezTo>
                        <a:pt x="16208" y="-1604"/>
                        <a:pt x="23805" y="2257"/>
                        <a:pt x="26172" y="9232"/>
                      </a:cubicBezTo>
                      <a:cubicBezTo>
                        <a:pt x="28414" y="16207"/>
                        <a:pt x="24553" y="23681"/>
                        <a:pt x="17578" y="25798"/>
                      </a:cubicBezTo>
                      <a:cubicBezTo>
                        <a:pt x="10478" y="28040"/>
                        <a:pt x="2880" y="24179"/>
                        <a:pt x="638" y="172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7" name="Freeform 7115">
                  <a:extLst>
                    <a:ext uri="{FF2B5EF4-FFF2-40B4-BE49-F238E27FC236}">
                      <a16:creationId xmlns:a16="http://schemas.microsoft.com/office/drawing/2014/main" id="{26EA2D29-107B-FAA1-C6FE-5FFE20DB38A6}"/>
                    </a:ext>
                  </a:extLst>
                </p:cNvPr>
                <p:cNvSpPr/>
                <p:nvPr/>
              </p:nvSpPr>
              <p:spPr>
                <a:xfrm>
                  <a:off x="9110896" y="1436598"/>
                  <a:ext cx="15586" cy="49698"/>
                </a:xfrm>
                <a:custGeom>
                  <a:avLst/>
                  <a:gdLst>
                    <a:gd name="connsiteX0" fmla="*/ 0 w 15586"/>
                    <a:gd name="connsiteY0" fmla="*/ 0 h 49698"/>
                    <a:gd name="connsiteX1" fmla="*/ 3986 w 15586"/>
                    <a:gd name="connsiteY1" fmla="*/ 18310 h 49698"/>
                    <a:gd name="connsiteX2" fmla="*/ 12580 w 15586"/>
                    <a:gd name="connsiteY2" fmla="*/ 33506 h 49698"/>
                    <a:gd name="connsiteX3" fmla="*/ 15570 w 15586"/>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86" h="49698">
                      <a:moveTo>
                        <a:pt x="0" y="0"/>
                      </a:moveTo>
                      <a:cubicBezTo>
                        <a:pt x="124" y="8345"/>
                        <a:pt x="2117" y="14449"/>
                        <a:pt x="3986" y="18310"/>
                      </a:cubicBezTo>
                      <a:cubicBezTo>
                        <a:pt x="6851" y="24662"/>
                        <a:pt x="9840" y="26904"/>
                        <a:pt x="12580" y="33506"/>
                      </a:cubicBezTo>
                      <a:cubicBezTo>
                        <a:pt x="15196" y="39858"/>
                        <a:pt x="15694" y="45713"/>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8" name="Freeform 7116">
                  <a:extLst>
                    <a:ext uri="{FF2B5EF4-FFF2-40B4-BE49-F238E27FC236}">
                      <a16:creationId xmlns:a16="http://schemas.microsoft.com/office/drawing/2014/main" id="{BD0C32BB-2D9C-BE6C-CBAA-69874579F3A3}"/>
                    </a:ext>
                  </a:extLst>
                </p:cNvPr>
                <p:cNvSpPr/>
                <p:nvPr/>
              </p:nvSpPr>
              <p:spPr>
                <a:xfrm>
                  <a:off x="9116002" y="1429622"/>
                  <a:ext cx="16939" cy="49449"/>
                </a:xfrm>
                <a:custGeom>
                  <a:avLst/>
                  <a:gdLst>
                    <a:gd name="connsiteX0" fmla="*/ 16940 w 16939"/>
                    <a:gd name="connsiteY0" fmla="*/ 49449 h 49449"/>
                    <a:gd name="connsiteX1" fmla="*/ 9217 w 16939"/>
                    <a:gd name="connsiteY1" fmla="*/ 32260 h 49449"/>
                    <a:gd name="connsiteX2" fmla="*/ 7100 w 16939"/>
                    <a:gd name="connsiteY2" fmla="*/ 14947 h 49449"/>
                    <a:gd name="connsiteX3" fmla="*/ 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16940" y="49449"/>
                      </a:moveTo>
                      <a:cubicBezTo>
                        <a:pt x="12082" y="42599"/>
                        <a:pt x="10089" y="36495"/>
                        <a:pt x="9217" y="32260"/>
                      </a:cubicBezTo>
                      <a:cubicBezTo>
                        <a:pt x="7847" y="25410"/>
                        <a:pt x="8844" y="21922"/>
                        <a:pt x="7100" y="14947"/>
                      </a:cubicBezTo>
                      <a:cubicBezTo>
                        <a:pt x="5481"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9" name="Freeform 7117">
                  <a:extLst>
                    <a:ext uri="{FF2B5EF4-FFF2-40B4-BE49-F238E27FC236}">
                      <a16:creationId xmlns:a16="http://schemas.microsoft.com/office/drawing/2014/main" id="{E2D40B10-6A00-1FF6-E190-CA57C4838415}"/>
                    </a:ext>
                  </a:extLst>
                </p:cNvPr>
                <p:cNvSpPr/>
                <p:nvPr/>
              </p:nvSpPr>
              <p:spPr>
                <a:xfrm>
                  <a:off x="9098911" y="1415533"/>
                  <a:ext cx="26460" cy="26435"/>
                </a:xfrm>
                <a:custGeom>
                  <a:avLst/>
                  <a:gdLst>
                    <a:gd name="connsiteX0" fmla="*/ 25811 w 26460"/>
                    <a:gd name="connsiteY0" fmla="*/ 9232 h 26435"/>
                    <a:gd name="connsiteX1" fmla="*/ 17341 w 26460"/>
                    <a:gd name="connsiteY1" fmla="*/ 25798 h 26435"/>
                    <a:gd name="connsiteX2" fmla="*/ 650 w 26460"/>
                    <a:gd name="connsiteY2" fmla="*/ 17204 h 26435"/>
                    <a:gd name="connsiteX3" fmla="*/ 9120 w 26460"/>
                    <a:gd name="connsiteY3" fmla="*/ 638 h 26435"/>
                    <a:gd name="connsiteX4" fmla="*/ 25811 w 26460"/>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 h="26435">
                      <a:moveTo>
                        <a:pt x="25811" y="9232"/>
                      </a:moveTo>
                      <a:cubicBezTo>
                        <a:pt x="28053" y="16207"/>
                        <a:pt x="24316" y="23556"/>
                        <a:pt x="17341" y="25798"/>
                      </a:cubicBezTo>
                      <a:cubicBezTo>
                        <a:pt x="10366" y="28040"/>
                        <a:pt x="2892" y="24179"/>
                        <a:pt x="650" y="17204"/>
                      </a:cubicBezTo>
                      <a:cubicBezTo>
                        <a:pt x="-1592" y="10229"/>
                        <a:pt x="2145" y="2880"/>
                        <a:pt x="9120" y="638"/>
                      </a:cubicBezTo>
                      <a:cubicBezTo>
                        <a:pt x="15971" y="-1604"/>
                        <a:pt x="23444" y="2257"/>
                        <a:pt x="25811"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4" name="Graphic 2987">
                <a:extLst>
                  <a:ext uri="{FF2B5EF4-FFF2-40B4-BE49-F238E27FC236}">
                    <a16:creationId xmlns:a16="http://schemas.microsoft.com/office/drawing/2014/main" id="{283BA064-FE98-CB42-0E36-A97C6992E368}"/>
                  </a:ext>
                </a:extLst>
              </p:cNvPr>
              <p:cNvGrpSpPr/>
              <p:nvPr/>
            </p:nvGrpSpPr>
            <p:grpSpPr>
              <a:xfrm>
                <a:off x="9070897" y="1424310"/>
                <a:ext cx="64176" cy="143030"/>
                <a:chOff x="9070897" y="1424310"/>
                <a:chExt cx="64176" cy="143030"/>
              </a:xfrm>
              <a:grpFill/>
            </p:grpSpPr>
            <p:sp>
              <p:nvSpPr>
                <p:cNvPr id="6948" name="Freeform 7119">
                  <a:extLst>
                    <a:ext uri="{FF2B5EF4-FFF2-40B4-BE49-F238E27FC236}">
                      <a16:creationId xmlns:a16="http://schemas.microsoft.com/office/drawing/2014/main" id="{924BD9C9-3055-3C03-90FC-436BA2E0F0FF}"/>
                    </a:ext>
                  </a:extLst>
                </p:cNvPr>
                <p:cNvSpPr/>
                <p:nvPr/>
              </p:nvSpPr>
              <p:spPr>
                <a:xfrm>
                  <a:off x="9107657" y="1496385"/>
                  <a:ext cx="15320" cy="49823"/>
                </a:xfrm>
                <a:custGeom>
                  <a:avLst/>
                  <a:gdLst>
                    <a:gd name="connsiteX0" fmla="*/ 15320 w 15320"/>
                    <a:gd name="connsiteY0" fmla="*/ 49823 h 49823"/>
                    <a:gd name="connsiteX1" fmla="*/ 11459 w 15320"/>
                    <a:gd name="connsiteY1" fmla="*/ 31389 h 49823"/>
                    <a:gd name="connsiteX2" fmla="*/ 2989 w 15320"/>
                    <a:gd name="connsiteY2" fmla="*/ 1619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0" y="49823"/>
                      </a:moveTo>
                      <a:cubicBezTo>
                        <a:pt x="15196" y="41478"/>
                        <a:pt x="13203" y="35374"/>
                        <a:pt x="11459" y="31389"/>
                      </a:cubicBezTo>
                      <a:cubicBezTo>
                        <a:pt x="8595" y="25036"/>
                        <a:pt x="5605" y="22794"/>
                        <a:pt x="2989" y="16192"/>
                      </a:cubicBezTo>
                      <a:cubicBezTo>
                        <a:pt x="373"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9" name="Freeform 7120">
                  <a:extLst>
                    <a:ext uri="{FF2B5EF4-FFF2-40B4-BE49-F238E27FC236}">
                      <a16:creationId xmlns:a16="http://schemas.microsoft.com/office/drawing/2014/main" id="{546D288C-BCC3-7863-4575-ACC3F221EA69}"/>
                    </a:ext>
                  </a:extLst>
                </p:cNvPr>
                <p:cNvSpPr/>
                <p:nvPr/>
              </p:nvSpPr>
              <p:spPr>
                <a:xfrm>
                  <a:off x="9101055" y="1503734"/>
                  <a:ext cx="16691" cy="49449"/>
                </a:xfrm>
                <a:custGeom>
                  <a:avLst/>
                  <a:gdLst>
                    <a:gd name="connsiteX0" fmla="*/ 0 w 16691"/>
                    <a:gd name="connsiteY0" fmla="*/ 0 h 49449"/>
                    <a:gd name="connsiteX1" fmla="*/ 7599 w 16691"/>
                    <a:gd name="connsiteY1" fmla="*/ 17189 h 49449"/>
                    <a:gd name="connsiteX2" fmla="*/ 9591 w 16691"/>
                    <a:gd name="connsiteY2" fmla="*/ 34502 h 49449"/>
                    <a:gd name="connsiteX3" fmla="*/ 16691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0" y="0"/>
                      </a:moveTo>
                      <a:cubicBezTo>
                        <a:pt x="4858" y="6851"/>
                        <a:pt x="6727" y="12954"/>
                        <a:pt x="7599" y="17189"/>
                      </a:cubicBezTo>
                      <a:cubicBezTo>
                        <a:pt x="8969" y="24040"/>
                        <a:pt x="7847" y="27527"/>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0" name="Freeform 7121">
                  <a:extLst>
                    <a:ext uri="{FF2B5EF4-FFF2-40B4-BE49-F238E27FC236}">
                      <a16:creationId xmlns:a16="http://schemas.microsoft.com/office/drawing/2014/main" id="{0BDAF89F-6696-7A7F-C0C9-EFCB1E42D2DB}"/>
                    </a:ext>
                  </a:extLst>
                </p:cNvPr>
                <p:cNvSpPr/>
                <p:nvPr/>
              </p:nvSpPr>
              <p:spPr>
                <a:xfrm>
                  <a:off x="9108266" y="1540838"/>
                  <a:ext cx="26807" cy="26503"/>
                </a:xfrm>
                <a:custGeom>
                  <a:avLst/>
                  <a:gdLst>
                    <a:gd name="connsiteX0" fmla="*/ 637 w 26807"/>
                    <a:gd name="connsiteY0" fmla="*/ 17328 h 26503"/>
                    <a:gd name="connsiteX1" fmla="*/ 9356 w 26807"/>
                    <a:gd name="connsiteY1" fmla="*/ 638 h 26503"/>
                    <a:gd name="connsiteX2" fmla="*/ 26171 w 26807"/>
                    <a:gd name="connsiteY2" fmla="*/ 9232 h 26503"/>
                    <a:gd name="connsiteX3" fmla="*/ 17452 w 26807"/>
                    <a:gd name="connsiteY3" fmla="*/ 25923 h 26503"/>
                    <a:gd name="connsiteX4" fmla="*/ 637 w 26807"/>
                    <a:gd name="connsiteY4" fmla="*/ 17328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3">
                      <a:moveTo>
                        <a:pt x="637" y="17328"/>
                      </a:moveTo>
                      <a:cubicBezTo>
                        <a:pt x="-1605" y="10353"/>
                        <a:pt x="2256" y="2880"/>
                        <a:pt x="9356" y="638"/>
                      </a:cubicBezTo>
                      <a:cubicBezTo>
                        <a:pt x="16331" y="-1604"/>
                        <a:pt x="23929" y="2257"/>
                        <a:pt x="26171" y="9232"/>
                      </a:cubicBezTo>
                      <a:cubicBezTo>
                        <a:pt x="28414" y="16207"/>
                        <a:pt x="24552" y="23681"/>
                        <a:pt x="17452" y="25923"/>
                      </a:cubicBezTo>
                      <a:cubicBezTo>
                        <a:pt x="10353" y="28040"/>
                        <a:pt x="2879" y="24179"/>
                        <a:pt x="637"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1" name="Freeform 7122">
                  <a:extLst>
                    <a:ext uri="{FF2B5EF4-FFF2-40B4-BE49-F238E27FC236}">
                      <a16:creationId xmlns:a16="http://schemas.microsoft.com/office/drawing/2014/main" id="{1DB41A7C-FC29-82C7-856B-B19BEE77E0E3}"/>
                    </a:ext>
                  </a:extLst>
                </p:cNvPr>
                <p:cNvSpPr/>
                <p:nvPr/>
              </p:nvSpPr>
              <p:spPr>
                <a:xfrm>
                  <a:off x="9082870" y="1445441"/>
                  <a:ext cx="15320" cy="49823"/>
                </a:xfrm>
                <a:custGeom>
                  <a:avLst/>
                  <a:gdLst>
                    <a:gd name="connsiteX0" fmla="*/ 0 w 15320"/>
                    <a:gd name="connsiteY0" fmla="*/ 0 h 49823"/>
                    <a:gd name="connsiteX1" fmla="*/ 3861 w 15320"/>
                    <a:gd name="connsiteY1" fmla="*/ 18435 h 49823"/>
                    <a:gd name="connsiteX2" fmla="*/ 12331 w 15320"/>
                    <a:gd name="connsiteY2" fmla="*/ 33631 h 49823"/>
                    <a:gd name="connsiteX3" fmla="*/ 1532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4" y="8345"/>
                        <a:pt x="2117" y="14449"/>
                        <a:pt x="3861" y="18435"/>
                      </a:cubicBezTo>
                      <a:cubicBezTo>
                        <a:pt x="6726" y="24787"/>
                        <a:pt x="9715" y="27029"/>
                        <a:pt x="12331" y="33631"/>
                      </a:cubicBezTo>
                      <a:cubicBezTo>
                        <a:pt x="14946" y="39983"/>
                        <a:pt x="15320" y="45962"/>
                        <a:pt x="1532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2" name="Freeform 7123">
                  <a:extLst>
                    <a:ext uri="{FF2B5EF4-FFF2-40B4-BE49-F238E27FC236}">
                      <a16:creationId xmlns:a16="http://schemas.microsoft.com/office/drawing/2014/main" id="{82A54E93-8A36-8727-E6E4-B51FA3F1177C}"/>
                    </a:ext>
                  </a:extLst>
                </p:cNvPr>
                <p:cNvSpPr/>
                <p:nvPr/>
              </p:nvSpPr>
              <p:spPr>
                <a:xfrm>
                  <a:off x="9087977" y="1438466"/>
                  <a:ext cx="16691" cy="49449"/>
                </a:xfrm>
                <a:custGeom>
                  <a:avLst/>
                  <a:gdLst>
                    <a:gd name="connsiteX0" fmla="*/ 16691 w 16691"/>
                    <a:gd name="connsiteY0" fmla="*/ 49449 h 49449"/>
                    <a:gd name="connsiteX1" fmla="*/ 9092 w 16691"/>
                    <a:gd name="connsiteY1" fmla="*/ 32260 h 49449"/>
                    <a:gd name="connsiteX2" fmla="*/ 7100 w 16691"/>
                    <a:gd name="connsiteY2" fmla="*/ 14947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1833" y="42599"/>
                        <a:pt x="9964" y="36495"/>
                        <a:pt x="9092" y="32260"/>
                      </a:cubicBezTo>
                      <a:cubicBezTo>
                        <a:pt x="7723" y="25410"/>
                        <a:pt x="8844"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3" name="Freeform 7124">
                  <a:extLst>
                    <a:ext uri="{FF2B5EF4-FFF2-40B4-BE49-F238E27FC236}">
                      <a16:creationId xmlns:a16="http://schemas.microsoft.com/office/drawing/2014/main" id="{0095C9BA-4FD0-307F-B92A-F6F2045B3FAB}"/>
                    </a:ext>
                  </a:extLst>
                </p:cNvPr>
                <p:cNvSpPr/>
                <p:nvPr/>
              </p:nvSpPr>
              <p:spPr>
                <a:xfrm>
                  <a:off x="9070897" y="1424310"/>
                  <a:ext cx="26324" cy="26490"/>
                </a:xfrm>
                <a:custGeom>
                  <a:avLst/>
                  <a:gdLst>
                    <a:gd name="connsiteX0" fmla="*/ 25675 w 26324"/>
                    <a:gd name="connsiteY0" fmla="*/ 9298 h 26490"/>
                    <a:gd name="connsiteX1" fmla="*/ 17205 w 26324"/>
                    <a:gd name="connsiteY1" fmla="*/ 25865 h 26490"/>
                    <a:gd name="connsiteX2" fmla="*/ 638 w 26324"/>
                    <a:gd name="connsiteY2" fmla="*/ 17146 h 26490"/>
                    <a:gd name="connsiteX3" fmla="*/ 9108 w 26324"/>
                    <a:gd name="connsiteY3" fmla="*/ 579 h 26490"/>
                    <a:gd name="connsiteX4" fmla="*/ 25675 w 2632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90">
                      <a:moveTo>
                        <a:pt x="25675" y="9298"/>
                      </a:moveTo>
                      <a:cubicBezTo>
                        <a:pt x="27917" y="16274"/>
                        <a:pt x="24180" y="23623"/>
                        <a:pt x="17205" y="25865"/>
                      </a:cubicBezTo>
                      <a:cubicBezTo>
                        <a:pt x="10230" y="28107"/>
                        <a:pt x="2880" y="24121"/>
                        <a:pt x="638" y="17146"/>
                      </a:cubicBezTo>
                      <a:cubicBezTo>
                        <a:pt x="-1603" y="10170"/>
                        <a:pt x="2258" y="2697"/>
                        <a:pt x="9108" y="579"/>
                      </a:cubicBezTo>
                      <a:cubicBezTo>
                        <a:pt x="16083" y="-1538"/>
                        <a:pt x="23433" y="2323"/>
                        <a:pt x="2567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5" name="Graphic 2987">
                <a:extLst>
                  <a:ext uri="{FF2B5EF4-FFF2-40B4-BE49-F238E27FC236}">
                    <a16:creationId xmlns:a16="http://schemas.microsoft.com/office/drawing/2014/main" id="{4432F71B-DEAE-7E7B-4A39-54ECB10C2602}"/>
                  </a:ext>
                </a:extLst>
              </p:cNvPr>
              <p:cNvGrpSpPr/>
              <p:nvPr/>
            </p:nvGrpSpPr>
            <p:grpSpPr>
              <a:xfrm>
                <a:off x="9042871" y="1433153"/>
                <a:ext cx="63667" cy="143212"/>
                <a:chOff x="9042871" y="1433153"/>
                <a:chExt cx="63667" cy="143212"/>
              </a:xfrm>
              <a:grpFill/>
            </p:grpSpPr>
            <p:sp>
              <p:nvSpPr>
                <p:cNvPr id="6942" name="Freeform 7126">
                  <a:extLst>
                    <a:ext uri="{FF2B5EF4-FFF2-40B4-BE49-F238E27FC236}">
                      <a16:creationId xmlns:a16="http://schemas.microsoft.com/office/drawing/2014/main" id="{2E489D17-8C07-6D39-4C52-F4886431D59D}"/>
                    </a:ext>
                  </a:extLst>
                </p:cNvPr>
                <p:cNvSpPr/>
                <p:nvPr/>
              </p:nvSpPr>
              <p:spPr>
                <a:xfrm>
                  <a:off x="9079361" y="1505354"/>
                  <a:ext cx="15092" cy="49823"/>
                </a:xfrm>
                <a:custGeom>
                  <a:avLst/>
                  <a:gdLst>
                    <a:gd name="connsiteX0" fmla="*/ 15093 w 15092"/>
                    <a:gd name="connsiteY0" fmla="*/ 49823 h 49823"/>
                    <a:gd name="connsiteX1" fmla="*/ 11356 w 15092"/>
                    <a:gd name="connsiteY1" fmla="*/ 31389 h 49823"/>
                    <a:gd name="connsiteX2" fmla="*/ 2885 w 15092"/>
                    <a:gd name="connsiteY2" fmla="*/ 16193 h 49823"/>
                    <a:gd name="connsiteX3" fmla="*/ 21 w 15092"/>
                    <a:gd name="connsiteY3" fmla="*/ 0 h 49823"/>
                  </a:gdLst>
                  <a:ahLst/>
                  <a:cxnLst>
                    <a:cxn ang="0">
                      <a:pos x="connsiteX0" y="connsiteY0"/>
                    </a:cxn>
                    <a:cxn ang="0">
                      <a:pos x="connsiteX1" y="connsiteY1"/>
                    </a:cxn>
                    <a:cxn ang="0">
                      <a:pos x="connsiteX2" y="connsiteY2"/>
                    </a:cxn>
                    <a:cxn ang="0">
                      <a:pos x="connsiteX3" y="connsiteY3"/>
                    </a:cxn>
                  </a:cxnLst>
                  <a:rect l="l" t="t" r="r" b="b"/>
                  <a:pathLst>
                    <a:path w="15092" h="49823">
                      <a:moveTo>
                        <a:pt x="15093" y="49823"/>
                      </a:moveTo>
                      <a:cubicBezTo>
                        <a:pt x="15093" y="41353"/>
                        <a:pt x="13099" y="35374"/>
                        <a:pt x="11356" y="31389"/>
                      </a:cubicBezTo>
                      <a:cubicBezTo>
                        <a:pt x="8491" y="25036"/>
                        <a:pt x="5501" y="22794"/>
                        <a:pt x="2885" y="16193"/>
                      </a:cubicBezTo>
                      <a:cubicBezTo>
                        <a:pt x="270" y="9716"/>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3" name="Freeform 7127">
                  <a:extLst>
                    <a:ext uri="{FF2B5EF4-FFF2-40B4-BE49-F238E27FC236}">
                      <a16:creationId xmlns:a16="http://schemas.microsoft.com/office/drawing/2014/main" id="{014420FE-E4BC-3F1D-63BA-3BAD3A0FCB05}"/>
                    </a:ext>
                  </a:extLst>
                </p:cNvPr>
                <p:cNvSpPr/>
                <p:nvPr/>
              </p:nvSpPr>
              <p:spPr>
                <a:xfrm>
                  <a:off x="9072781" y="1512702"/>
                  <a:ext cx="16440" cy="49449"/>
                </a:xfrm>
                <a:custGeom>
                  <a:avLst/>
                  <a:gdLst>
                    <a:gd name="connsiteX0" fmla="*/ 0 w 16440"/>
                    <a:gd name="connsiteY0" fmla="*/ 0 h 49449"/>
                    <a:gd name="connsiteX1" fmla="*/ 7598 w 16440"/>
                    <a:gd name="connsiteY1" fmla="*/ 17189 h 49449"/>
                    <a:gd name="connsiteX2" fmla="*/ 9466 w 16440"/>
                    <a:gd name="connsiteY2" fmla="*/ 34502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4857" y="6975"/>
                        <a:pt x="6726" y="12954"/>
                        <a:pt x="7598" y="17189"/>
                      </a:cubicBezTo>
                      <a:cubicBezTo>
                        <a:pt x="8968" y="24040"/>
                        <a:pt x="7847" y="27652"/>
                        <a:pt x="9466" y="34502"/>
                      </a:cubicBezTo>
                      <a:cubicBezTo>
                        <a:pt x="11085" y="41229"/>
                        <a:pt x="14199" y="46211"/>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4" name="Freeform 7128">
                  <a:extLst>
                    <a:ext uri="{FF2B5EF4-FFF2-40B4-BE49-F238E27FC236}">
                      <a16:creationId xmlns:a16="http://schemas.microsoft.com/office/drawing/2014/main" id="{B13EF084-A567-7170-78AC-B28034000B80}"/>
                    </a:ext>
                  </a:extLst>
                </p:cNvPr>
                <p:cNvSpPr/>
                <p:nvPr/>
              </p:nvSpPr>
              <p:spPr>
                <a:xfrm>
                  <a:off x="9079753" y="1549806"/>
                  <a:ext cx="26785" cy="26560"/>
                </a:xfrm>
                <a:custGeom>
                  <a:avLst/>
                  <a:gdLst>
                    <a:gd name="connsiteX0" fmla="*/ 626 w 26785"/>
                    <a:gd name="connsiteY0" fmla="*/ 17328 h 26560"/>
                    <a:gd name="connsiteX1" fmla="*/ 9345 w 26785"/>
                    <a:gd name="connsiteY1" fmla="*/ 638 h 26560"/>
                    <a:gd name="connsiteX2" fmla="*/ 26160 w 26785"/>
                    <a:gd name="connsiteY2" fmla="*/ 9232 h 26560"/>
                    <a:gd name="connsiteX3" fmla="*/ 17441 w 26785"/>
                    <a:gd name="connsiteY3" fmla="*/ 25923 h 26560"/>
                    <a:gd name="connsiteX4" fmla="*/ 626 w 26785"/>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5" h="26560">
                      <a:moveTo>
                        <a:pt x="626" y="17328"/>
                      </a:moveTo>
                      <a:cubicBezTo>
                        <a:pt x="-1616" y="10353"/>
                        <a:pt x="2370" y="2880"/>
                        <a:pt x="9345" y="638"/>
                      </a:cubicBezTo>
                      <a:cubicBezTo>
                        <a:pt x="16320" y="-1604"/>
                        <a:pt x="23918" y="2257"/>
                        <a:pt x="26160" y="9232"/>
                      </a:cubicBezTo>
                      <a:cubicBezTo>
                        <a:pt x="28402" y="16207"/>
                        <a:pt x="24416" y="23681"/>
                        <a:pt x="17441" y="25923"/>
                      </a:cubicBezTo>
                      <a:cubicBezTo>
                        <a:pt x="10341" y="28165"/>
                        <a:pt x="2743" y="24304"/>
                        <a:pt x="626"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5" name="Freeform 7129">
                  <a:extLst>
                    <a:ext uri="{FF2B5EF4-FFF2-40B4-BE49-F238E27FC236}">
                      <a16:creationId xmlns:a16="http://schemas.microsoft.com/office/drawing/2014/main" id="{3C959340-D46B-1465-73AB-35D7541ACDE3}"/>
                    </a:ext>
                  </a:extLst>
                </p:cNvPr>
                <p:cNvSpPr/>
                <p:nvPr/>
              </p:nvSpPr>
              <p:spPr>
                <a:xfrm>
                  <a:off x="9054720" y="1454285"/>
                  <a:ext cx="15091" cy="49823"/>
                </a:xfrm>
                <a:custGeom>
                  <a:avLst/>
                  <a:gdLst>
                    <a:gd name="connsiteX0" fmla="*/ 0 w 15091"/>
                    <a:gd name="connsiteY0" fmla="*/ 0 h 49823"/>
                    <a:gd name="connsiteX1" fmla="*/ 3737 w 15091"/>
                    <a:gd name="connsiteY1" fmla="*/ 18435 h 49823"/>
                    <a:gd name="connsiteX2" fmla="*/ 12206 w 15091"/>
                    <a:gd name="connsiteY2" fmla="*/ 33631 h 49823"/>
                    <a:gd name="connsiteX3" fmla="*/ 15071 w 15091"/>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091" h="49823">
                      <a:moveTo>
                        <a:pt x="0" y="0"/>
                      </a:moveTo>
                      <a:cubicBezTo>
                        <a:pt x="125" y="8345"/>
                        <a:pt x="1993" y="14449"/>
                        <a:pt x="3737" y="18435"/>
                      </a:cubicBezTo>
                      <a:cubicBezTo>
                        <a:pt x="6601" y="24787"/>
                        <a:pt x="9467" y="27154"/>
                        <a:pt x="12206" y="33631"/>
                      </a:cubicBezTo>
                      <a:cubicBezTo>
                        <a:pt x="14822" y="40108"/>
                        <a:pt x="15196" y="45962"/>
                        <a:pt x="1507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6" name="Freeform 7130">
                  <a:extLst>
                    <a:ext uri="{FF2B5EF4-FFF2-40B4-BE49-F238E27FC236}">
                      <a16:creationId xmlns:a16="http://schemas.microsoft.com/office/drawing/2014/main" id="{A6FAB5CF-8107-F2E3-664C-365C722DDFF2}"/>
                    </a:ext>
                  </a:extLst>
                </p:cNvPr>
                <p:cNvSpPr/>
                <p:nvPr/>
              </p:nvSpPr>
              <p:spPr>
                <a:xfrm>
                  <a:off x="9059827" y="1447434"/>
                  <a:ext cx="16566" cy="49449"/>
                </a:xfrm>
                <a:custGeom>
                  <a:avLst/>
                  <a:gdLst>
                    <a:gd name="connsiteX0" fmla="*/ 16566 w 16566"/>
                    <a:gd name="connsiteY0" fmla="*/ 49449 h 49449"/>
                    <a:gd name="connsiteX1" fmla="*/ 8969 w 16566"/>
                    <a:gd name="connsiteY1" fmla="*/ 32260 h 49449"/>
                    <a:gd name="connsiteX2" fmla="*/ 6975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1" y="36495"/>
                        <a:pt x="8969" y="32260"/>
                      </a:cubicBezTo>
                      <a:cubicBezTo>
                        <a:pt x="7598" y="25410"/>
                        <a:pt x="8719" y="21798"/>
                        <a:pt x="6975" y="14947"/>
                      </a:cubicBezTo>
                      <a:cubicBezTo>
                        <a:pt x="5356"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7" name="Freeform 7131">
                  <a:extLst>
                    <a:ext uri="{FF2B5EF4-FFF2-40B4-BE49-F238E27FC236}">
                      <a16:creationId xmlns:a16="http://schemas.microsoft.com/office/drawing/2014/main" id="{CF9E0230-DD76-127D-3E00-651C0C89A7EB}"/>
                    </a:ext>
                  </a:extLst>
                </p:cNvPr>
                <p:cNvSpPr/>
                <p:nvPr/>
              </p:nvSpPr>
              <p:spPr>
                <a:xfrm>
                  <a:off x="9042871" y="1433153"/>
                  <a:ext cx="26313" cy="26444"/>
                </a:xfrm>
                <a:custGeom>
                  <a:avLst/>
                  <a:gdLst>
                    <a:gd name="connsiteX0" fmla="*/ 25675 w 26313"/>
                    <a:gd name="connsiteY0" fmla="*/ 9299 h 26444"/>
                    <a:gd name="connsiteX1" fmla="*/ 17205 w 26313"/>
                    <a:gd name="connsiteY1" fmla="*/ 25865 h 26444"/>
                    <a:gd name="connsiteX2" fmla="*/ 638 w 26313"/>
                    <a:gd name="connsiteY2" fmla="*/ 17146 h 26444"/>
                    <a:gd name="connsiteX3" fmla="*/ 9108 w 26313"/>
                    <a:gd name="connsiteY3" fmla="*/ 579 h 26444"/>
                    <a:gd name="connsiteX4" fmla="*/ 25675 w 26313"/>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3" h="26444">
                      <a:moveTo>
                        <a:pt x="25675" y="9299"/>
                      </a:moveTo>
                      <a:cubicBezTo>
                        <a:pt x="27917" y="16274"/>
                        <a:pt x="24055" y="23747"/>
                        <a:pt x="17205" y="25865"/>
                      </a:cubicBezTo>
                      <a:cubicBezTo>
                        <a:pt x="10354" y="27982"/>
                        <a:pt x="2880" y="24121"/>
                        <a:pt x="638" y="17146"/>
                      </a:cubicBezTo>
                      <a:cubicBezTo>
                        <a:pt x="-1603" y="10170"/>
                        <a:pt x="2258" y="2697"/>
                        <a:pt x="9108" y="579"/>
                      </a:cubicBezTo>
                      <a:cubicBezTo>
                        <a:pt x="16083" y="-1538"/>
                        <a:pt x="23433" y="2323"/>
                        <a:pt x="2567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6" name="Graphic 2987">
                <a:extLst>
                  <a:ext uri="{FF2B5EF4-FFF2-40B4-BE49-F238E27FC236}">
                    <a16:creationId xmlns:a16="http://schemas.microsoft.com/office/drawing/2014/main" id="{B4438979-BE41-6881-50E9-AF466E87A09E}"/>
                  </a:ext>
                </a:extLst>
              </p:cNvPr>
              <p:cNvGrpSpPr/>
              <p:nvPr/>
            </p:nvGrpSpPr>
            <p:grpSpPr>
              <a:xfrm>
                <a:off x="9014769" y="1441997"/>
                <a:ext cx="63245" cy="143337"/>
                <a:chOff x="9014769" y="1441997"/>
                <a:chExt cx="63245" cy="143337"/>
              </a:xfrm>
              <a:grpFill/>
            </p:grpSpPr>
            <p:sp>
              <p:nvSpPr>
                <p:cNvPr id="6936" name="Freeform 7133">
                  <a:extLst>
                    <a:ext uri="{FF2B5EF4-FFF2-40B4-BE49-F238E27FC236}">
                      <a16:creationId xmlns:a16="http://schemas.microsoft.com/office/drawing/2014/main" id="{606BD7B5-8EE5-3CE5-E567-8DA81F03D5B8}"/>
                    </a:ext>
                  </a:extLst>
                </p:cNvPr>
                <p:cNvSpPr/>
                <p:nvPr/>
              </p:nvSpPr>
              <p:spPr>
                <a:xfrm>
                  <a:off x="9050983" y="1514197"/>
                  <a:ext cx="14946" cy="50072"/>
                </a:xfrm>
                <a:custGeom>
                  <a:avLst/>
                  <a:gdLst>
                    <a:gd name="connsiteX0" fmla="*/ 14946 w 14946"/>
                    <a:gd name="connsiteY0" fmla="*/ 50072 h 50072"/>
                    <a:gd name="connsiteX1" fmla="*/ 11210 w 14946"/>
                    <a:gd name="connsiteY1" fmla="*/ 31638 h 50072"/>
                    <a:gd name="connsiteX2" fmla="*/ 2865 w 14946"/>
                    <a:gd name="connsiteY2" fmla="*/ 16317 h 50072"/>
                    <a:gd name="connsiteX3" fmla="*/ 0 w 14946"/>
                    <a:gd name="connsiteY3" fmla="*/ 0 h 50072"/>
                  </a:gdLst>
                  <a:ahLst/>
                  <a:cxnLst>
                    <a:cxn ang="0">
                      <a:pos x="connsiteX0" y="connsiteY0"/>
                    </a:cxn>
                    <a:cxn ang="0">
                      <a:pos x="connsiteX1" y="connsiteY1"/>
                    </a:cxn>
                    <a:cxn ang="0">
                      <a:pos x="connsiteX2" y="connsiteY2"/>
                    </a:cxn>
                    <a:cxn ang="0">
                      <a:pos x="connsiteX3" y="connsiteY3"/>
                    </a:cxn>
                  </a:cxnLst>
                  <a:rect l="l" t="t" r="r" b="b"/>
                  <a:pathLst>
                    <a:path w="14946" h="50072">
                      <a:moveTo>
                        <a:pt x="14946" y="50072"/>
                      </a:moveTo>
                      <a:cubicBezTo>
                        <a:pt x="14946" y="41602"/>
                        <a:pt x="12954" y="35623"/>
                        <a:pt x="11210" y="31638"/>
                      </a:cubicBezTo>
                      <a:cubicBezTo>
                        <a:pt x="8345" y="25285"/>
                        <a:pt x="5481" y="22919"/>
                        <a:pt x="2865" y="16317"/>
                      </a:cubicBezTo>
                      <a:cubicBezTo>
                        <a:pt x="37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7" name="Freeform 7134">
                  <a:extLst>
                    <a:ext uri="{FF2B5EF4-FFF2-40B4-BE49-F238E27FC236}">
                      <a16:creationId xmlns:a16="http://schemas.microsoft.com/office/drawing/2014/main" id="{CDE192C6-46AE-BF5E-039C-9EB6B1BF6EEC}"/>
                    </a:ext>
                  </a:extLst>
                </p:cNvPr>
                <p:cNvSpPr/>
                <p:nvPr/>
              </p:nvSpPr>
              <p:spPr>
                <a:xfrm>
                  <a:off x="9044506" y="1521546"/>
                  <a:ext cx="16317" cy="49573"/>
                </a:xfrm>
                <a:custGeom>
                  <a:avLst/>
                  <a:gdLst>
                    <a:gd name="connsiteX0" fmla="*/ 0 w 16317"/>
                    <a:gd name="connsiteY0" fmla="*/ 0 h 49573"/>
                    <a:gd name="connsiteX1" fmla="*/ 7473 w 16317"/>
                    <a:gd name="connsiteY1" fmla="*/ 17314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1" y="12954"/>
                        <a:pt x="7473" y="17314"/>
                      </a:cubicBezTo>
                      <a:cubicBezTo>
                        <a:pt x="8844" y="24164"/>
                        <a:pt x="7723" y="27776"/>
                        <a:pt x="9342" y="34627"/>
                      </a:cubicBezTo>
                      <a:cubicBezTo>
                        <a:pt x="10961" y="41353"/>
                        <a:pt x="13950" y="46335"/>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8" name="Freeform 7135">
                  <a:extLst>
                    <a:ext uri="{FF2B5EF4-FFF2-40B4-BE49-F238E27FC236}">
                      <a16:creationId xmlns:a16="http://schemas.microsoft.com/office/drawing/2014/main" id="{6C2F36F4-A3CE-F768-50F2-81FED1EF8776}"/>
                    </a:ext>
                  </a:extLst>
                </p:cNvPr>
                <p:cNvSpPr/>
                <p:nvPr/>
              </p:nvSpPr>
              <p:spPr>
                <a:xfrm>
                  <a:off x="9051276" y="1558774"/>
                  <a:ext cx="26738" cy="26560"/>
                </a:xfrm>
                <a:custGeom>
                  <a:avLst/>
                  <a:gdLst>
                    <a:gd name="connsiteX0" fmla="*/ 579 w 26738"/>
                    <a:gd name="connsiteY0" fmla="*/ 17328 h 26560"/>
                    <a:gd name="connsiteX1" fmla="*/ 9422 w 26738"/>
                    <a:gd name="connsiteY1" fmla="*/ 638 h 26560"/>
                    <a:gd name="connsiteX2" fmla="*/ 26114 w 26738"/>
                    <a:gd name="connsiteY2" fmla="*/ 9232 h 26560"/>
                    <a:gd name="connsiteX3" fmla="*/ 17270 w 26738"/>
                    <a:gd name="connsiteY3" fmla="*/ 25923 h 26560"/>
                    <a:gd name="connsiteX4" fmla="*/ 579 w 26738"/>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60">
                      <a:moveTo>
                        <a:pt x="579" y="17328"/>
                      </a:moveTo>
                      <a:cubicBezTo>
                        <a:pt x="-1539" y="10353"/>
                        <a:pt x="2323" y="2880"/>
                        <a:pt x="9422" y="638"/>
                      </a:cubicBezTo>
                      <a:cubicBezTo>
                        <a:pt x="16398" y="-1604"/>
                        <a:pt x="23995" y="2257"/>
                        <a:pt x="26114" y="9232"/>
                      </a:cubicBezTo>
                      <a:cubicBezTo>
                        <a:pt x="28355" y="16207"/>
                        <a:pt x="24370" y="23681"/>
                        <a:pt x="17270" y="25923"/>
                      </a:cubicBezTo>
                      <a:cubicBezTo>
                        <a:pt x="10170" y="28165"/>
                        <a:pt x="2697" y="24304"/>
                        <a:pt x="579"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9" name="Freeform 7136">
                  <a:extLst>
                    <a:ext uri="{FF2B5EF4-FFF2-40B4-BE49-F238E27FC236}">
                      <a16:creationId xmlns:a16="http://schemas.microsoft.com/office/drawing/2014/main" id="{195EA039-C6D1-93EC-BE1F-98FD04828ABD}"/>
                    </a:ext>
                  </a:extLst>
                </p:cNvPr>
                <p:cNvSpPr/>
                <p:nvPr/>
              </p:nvSpPr>
              <p:spPr>
                <a:xfrm>
                  <a:off x="9026695" y="1463128"/>
                  <a:ext cx="14947" cy="50072"/>
                </a:xfrm>
                <a:custGeom>
                  <a:avLst/>
                  <a:gdLst>
                    <a:gd name="connsiteX0" fmla="*/ 0 w 14947"/>
                    <a:gd name="connsiteY0" fmla="*/ 0 h 50072"/>
                    <a:gd name="connsiteX1" fmla="*/ 3737 w 14947"/>
                    <a:gd name="connsiteY1" fmla="*/ 18435 h 50072"/>
                    <a:gd name="connsiteX2" fmla="*/ 12082 w 14947"/>
                    <a:gd name="connsiteY2" fmla="*/ 33755 h 50072"/>
                    <a:gd name="connsiteX3" fmla="*/ 14947 w 1494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7" h="50072">
                      <a:moveTo>
                        <a:pt x="0" y="0"/>
                      </a:moveTo>
                      <a:cubicBezTo>
                        <a:pt x="0" y="8470"/>
                        <a:pt x="1993" y="14449"/>
                        <a:pt x="3737" y="18435"/>
                      </a:cubicBezTo>
                      <a:cubicBezTo>
                        <a:pt x="6601" y="24787"/>
                        <a:pt x="9467" y="27154"/>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0" name="Freeform 7137">
                  <a:extLst>
                    <a:ext uri="{FF2B5EF4-FFF2-40B4-BE49-F238E27FC236}">
                      <a16:creationId xmlns:a16="http://schemas.microsoft.com/office/drawing/2014/main" id="{FE8241D8-B85E-8CCE-68BB-1D220922750D}"/>
                    </a:ext>
                  </a:extLst>
                </p:cNvPr>
                <p:cNvSpPr/>
                <p:nvPr/>
              </p:nvSpPr>
              <p:spPr>
                <a:xfrm>
                  <a:off x="9031801" y="1456278"/>
                  <a:ext cx="16317" cy="49449"/>
                </a:xfrm>
                <a:custGeom>
                  <a:avLst/>
                  <a:gdLst>
                    <a:gd name="connsiteX0" fmla="*/ 16317 w 16317"/>
                    <a:gd name="connsiteY0" fmla="*/ 49449 h 49449"/>
                    <a:gd name="connsiteX1" fmla="*/ 8844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716" y="36495"/>
                        <a:pt x="8844" y="32260"/>
                      </a:cubicBezTo>
                      <a:cubicBezTo>
                        <a:pt x="7474" y="25410"/>
                        <a:pt x="8595" y="21798"/>
                        <a:pt x="6975" y="14947"/>
                      </a:cubicBezTo>
                      <a:cubicBezTo>
                        <a:pt x="5356"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1" name="Freeform 7138">
                  <a:extLst>
                    <a:ext uri="{FF2B5EF4-FFF2-40B4-BE49-F238E27FC236}">
                      <a16:creationId xmlns:a16="http://schemas.microsoft.com/office/drawing/2014/main" id="{5B2A17E9-F440-9433-30F9-8A737FCB3330}"/>
                    </a:ext>
                  </a:extLst>
                </p:cNvPr>
                <p:cNvSpPr/>
                <p:nvPr/>
              </p:nvSpPr>
              <p:spPr>
                <a:xfrm>
                  <a:off x="9014769" y="1441997"/>
                  <a:ext cx="26389" cy="26490"/>
                </a:xfrm>
                <a:custGeom>
                  <a:avLst/>
                  <a:gdLst>
                    <a:gd name="connsiteX0" fmla="*/ 25752 w 26389"/>
                    <a:gd name="connsiteY0" fmla="*/ 9298 h 26490"/>
                    <a:gd name="connsiteX1" fmla="*/ 17157 w 26389"/>
                    <a:gd name="connsiteY1" fmla="*/ 25865 h 26490"/>
                    <a:gd name="connsiteX2" fmla="*/ 591 w 26389"/>
                    <a:gd name="connsiteY2" fmla="*/ 17146 h 26490"/>
                    <a:gd name="connsiteX3" fmla="*/ 9185 w 26389"/>
                    <a:gd name="connsiteY3" fmla="*/ 579 h 26490"/>
                    <a:gd name="connsiteX4" fmla="*/ 25752 w 26389"/>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90">
                      <a:moveTo>
                        <a:pt x="25752" y="9298"/>
                      </a:moveTo>
                      <a:cubicBezTo>
                        <a:pt x="27994" y="16274"/>
                        <a:pt x="24132" y="23747"/>
                        <a:pt x="17157" y="25865"/>
                      </a:cubicBezTo>
                      <a:cubicBezTo>
                        <a:pt x="10182" y="28107"/>
                        <a:pt x="2833" y="24121"/>
                        <a:pt x="591" y="17146"/>
                      </a:cubicBezTo>
                      <a:cubicBezTo>
                        <a:pt x="-1526" y="10170"/>
                        <a:pt x="2210" y="2697"/>
                        <a:pt x="9185" y="579"/>
                      </a:cubicBezTo>
                      <a:cubicBezTo>
                        <a:pt x="16161" y="-1538"/>
                        <a:pt x="23634" y="2323"/>
                        <a:pt x="25752"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7" name="Graphic 2987">
                <a:extLst>
                  <a:ext uri="{FF2B5EF4-FFF2-40B4-BE49-F238E27FC236}">
                    <a16:creationId xmlns:a16="http://schemas.microsoft.com/office/drawing/2014/main" id="{348D87A7-FF72-291D-01E3-5F17F9AA4CEE}"/>
                  </a:ext>
                </a:extLst>
              </p:cNvPr>
              <p:cNvGrpSpPr/>
              <p:nvPr/>
            </p:nvGrpSpPr>
            <p:grpSpPr>
              <a:xfrm>
                <a:off x="8986878" y="1450841"/>
                <a:ext cx="62565" cy="143461"/>
                <a:chOff x="8986878" y="1450841"/>
                <a:chExt cx="62565" cy="143461"/>
              </a:xfrm>
              <a:grpFill/>
            </p:grpSpPr>
            <p:sp>
              <p:nvSpPr>
                <p:cNvPr id="6930" name="Freeform 7140">
                  <a:extLst>
                    <a:ext uri="{FF2B5EF4-FFF2-40B4-BE49-F238E27FC236}">
                      <a16:creationId xmlns:a16="http://schemas.microsoft.com/office/drawing/2014/main" id="{99F3EB0D-8329-D8FD-3FF5-457A3274BD3E}"/>
                    </a:ext>
                  </a:extLst>
                </p:cNvPr>
                <p:cNvSpPr/>
                <p:nvPr/>
              </p:nvSpPr>
              <p:spPr>
                <a:xfrm>
                  <a:off x="9022688" y="1523165"/>
                  <a:ext cx="14718" cy="50072"/>
                </a:xfrm>
                <a:custGeom>
                  <a:avLst/>
                  <a:gdLst>
                    <a:gd name="connsiteX0" fmla="*/ 14719 w 14718"/>
                    <a:gd name="connsiteY0" fmla="*/ 50072 h 50072"/>
                    <a:gd name="connsiteX1" fmla="*/ 11107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4"/>
                        <a:pt x="11107" y="31638"/>
                      </a:cubicBezTo>
                      <a:cubicBezTo>
                        <a:pt x="8241" y="25285"/>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1" name="Freeform 7141">
                  <a:extLst>
                    <a:ext uri="{FF2B5EF4-FFF2-40B4-BE49-F238E27FC236}">
                      <a16:creationId xmlns:a16="http://schemas.microsoft.com/office/drawing/2014/main" id="{CE68D19B-3E94-F4D6-29CD-29DDAE095E1F}"/>
                    </a:ext>
                  </a:extLst>
                </p:cNvPr>
                <p:cNvSpPr/>
                <p:nvPr/>
              </p:nvSpPr>
              <p:spPr>
                <a:xfrm>
                  <a:off x="9016107" y="1530514"/>
                  <a:ext cx="15943" cy="49573"/>
                </a:xfrm>
                <a:custGeom>
                  <a:avLst/>
                  <a:gdLst>
                    <a:gd name="connsiteX0" fmla="*/ 0 w 15943"/>
                    <a:gd name="connsiteY0" fmla="*/ 0 h 49573"/>
                    <a:gd name="connsiteX1" fmla="*/ 7349 w 15943"/>
                    <a:gd name="connsiteY1" fmla="*/ 17314 h 49573"/>
                    <a:gd name="connsiteX2" fmla="*/ 9093 w 15943"/>
                    <a:gd name="connsiteY2" fmla="*/ 34627 h 49573"/>
                    <a:gd name="connsiteX3" fmla="*/ 15944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2954"/>
                        <a:pt x="7349" y="17314"/>
                      </a:cubicBezTo>
                      <a:cubicBezTo>
                        <a:pt x="8595" y="24164"/>
                        <a:pt x="7474" y="27776"/>
                        <a:pt x="9093" y="34627"/>
                      </a:cubicBezTo>
                      <a:cubicBezTo>
                        <a:pt x="10588" y="41353"/>
                        <a:pt x="13702" y="46460"/>
                        <a:pt x="15944"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2" name="Freeform 7142">
                  <a:extLst>
                    <a:ext uri="{FF2B5EF4-FFF2-40B4-BE49-F238E27FC236}">
                      <a16:creationId xmlns:a16="http://schemas.microsoft.com/office/drawing/2014/main" id="{1FDF863B-02C9-D99E-F295-99A14EDD63EB}"/>
                    </a:ext>
                  </a:extLst>
                </p:cNvPr>
                <p:cNvSpPr/>
                <p:nvPr/>
              </p:nvSpPr>
              <p:spPr>
                <a:xfrm>
                  <a:off x="9022763" y="1567742"/>
                  <a:ext cx="26681" cy="26560"/>
                </a:xfrm>
                <a:custGeom>
                  <a:avLst/>
                  <a:gdLst>
                    <a:gd name="connsiteX0" fmla="*/ 568 w 26681"/>
                    <a:gd name="connsiteY0" fmla="*/ 17328 h 26560"/>
                    <a:gd name="connsiteX1" fmla="*/ 9412 w 26681"/>
                    <a:gd name="connsiteY1" fmla="*/ 638 h 26560"/>
                    <a:gd name="connsiteX2" fmla="*/ 26102 w 26681"/>
                    <a:gd name="connsiteY2" fmla="*/ 9232 h 26560"/>
                    <a:gd name="connsiteX3" fmla="*/ 17259 w 26681"/>
                    <a:gd name="connsiteY3" fmla="*/ 25923 h 26560"/>
                    <a:gd name="connsiteX4" fmla="*/ 568 w 26681"/>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60">
                      <a:moveTo>
                        <a:pt x="568" y="17328"/>
                      </a:moveTo>
                      <a:cubicBezTo>
                        <a:pt x="-1549" y="10353"/>
                        <a:pt x="2437" y="2880"/>
                        <a:pt x="9412" y="638"/>
                      </a:cubicBezTo>
                      <a:cubicBezTo>
                        <a:pt x="16387" y="-1604"/>
                        <a:pt x="23861" y="2257"/>
                        <a:pt x="26102" y="9232"/>
                      </a:cubicBezTo>
                      <a:cubicBezTo>
                        <a:pt x="28221" y="16207"/>
                        <a:pt x="24359" y="23681"/>
                        <a:pt x="17259" y="25923"/>
                      </a:cubicBezTo>
                      <a:cubicBezTo>
                        <a:pt x="10159" y="28165"/>
                        <a:pt x="2686" y="24304"/>
                        <a:pt x="568"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3" name="Freeform 7143">
                  <a:extLst>
                    <a:ext uri="{FF2B5EF4-FFF2-40B4-BE49-F238E27FC236}">
                      <a16:creationId xmlns:a16="http://schemas.microsoft.com/office/drawing/2014/main" id="{A5269BA4-9807-CE0A-11DF-81B5DFF80C04}"/>
                    </a:ext>
                  </a:extLst>
                </p:cNvPr>
                <p:cNvSpPr/>
                <p:nvPr/>
              </p:nvSpPr>
              <p:spPr>
                <a:xfrm>
                  <a:off x="8998669" y="1471972"/>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3" y="24912"/>
                        <a:pt x="9342" y="27154"/>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4" name="Freeform 7144">
                  <a:extLst>
                    <a:ext uri="{FF2B5EF4-FFF2-40B4-BE49-F238E27FC236}">
                      <a16:creationId xmlns:a16="http://schemas.microsoft.com/office/drawing/2014/main" id="{1F54180C-820F-A4AF-9C3F-760C74612AA5}"/>
                    </a:ext>
                  </a:extLst>
                </p:cNvPr>
                <p:cNvSpPr/>
                <p:nvPr/>
              </p:nvSpPr>
              <p:spPr>
                <a:xfrm>
                  <a:off x="9003900" y="1465121"/>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342" y="36620"/>
                        <a:pt x="8595" y="32260"/>
                      </a:cubicBezTo>
                      <a:cubicBezTo>
                        <a:pt x="7225"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5" name="Freeform 7145">
                  <a:extLst>
                    <a:ext uri="{FF2B5EF4-FFF2-40B4-BE49-F238E27FC236}">
                      <a16:creationId xmlns:a16="http://schemas.microsoft.com/office/drawing/2014/main" id="{AC25EF00-8824-FF12-D1BC-FE15F5718241}"/>
                    </a:ext>
                  </a:extLst>
                </p:cNvPr>
                <p:cNvSpPr/>
                <p:nvPr/>
              </p:nvSpPr>
              <p:spPr>
                <a:xfrm>
                  <a:off x="8986878" y="1450841"/>
                  <a:ext cx="26196" cy="26490"/>
                </a:xfrm>
                <a:custGeom>
                  <a:avLst/>
                  <a:gdLst>
                    <a:gd name="connsiteX0" fmla="*/ 25616 w 26196"/>
                    <a:gd name="connsiteY0" fmla="*/ 9299 h 26490"/>
                    <a:gd name="connsiteX1" fmla="*/ 17022 w 26196"/>
                    <a:gd name="connsiteY1" fmla="*/ 25865 h 26490"/>
                    <a:gd name="connsiteX2" fmla="*/ 580 w 26196"/>
                    <a:gd name="connsiteY2" fmla="*/ 17146 h 26490"/>
                    <a:gd name="connsiteX3" fmla="*/ 9175 w 26196"/>
                    <a:gd name="connsiteY3" fmla="*/ 579 h 26490"/>
                    <a:gd name="connsiteX4" fmla="*/ 25616 w 26196"/>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90">
                      <a:moveTo>
                        <a:pt x="25616" y="9299"/>
                      </a:moveTo>
                      <a:cubicBezTo>
                        <a:pt x="27734" y="16274"/>
                        <a:pt x="23872" y="23747"/>
                        <a:pt x="17022" y="25865"/>
                      </a:cubicBezTo>
                      <a:cubicBezTo>
                        <a:pt x="10047" y="28107"/>
                        <a:pt x="2697" y="24121"/>
                        <a:pt x="580" y="17146"/>
                      </a:cubicBezTo>
                      <a:cubicBezTo>
                        <a:pt x="-1537" y="10170"/>
                        <a:pt x="2324" y="2697"/>
                        <a:pt x="9175" y="579"/>
                      </a:cubicBezTo>
                      <a:cubicBezTo>
                        <a:pt x="16150" y="-1538"/>
                        <a:pt x="23499" y="2323"/>
                        <a:pt x="25616"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8" name="Graphic 2987">
                <a:extLst>
                  <a:ext uri="{FF2B5EF4-FFF2-40B4-BE49-F238E27FC236}">
                    <a16:creationId xmlns:a16="http://schemas.microsoft.com/office/drawing/2014/main" id="{3F357F14-ECF3-7785-E70A-4598BC052F3A}"/>
                  </a:ext>
                </a:extLst>
              </p:cNvPr>
              <p:cNvGrpSpPr/>
              <p:nvPr/>
            </p:nvGrpSpPr>
            <p:grpSpPr>
              <a:xfrm>
                <a:off x="8958729" y="1459638"/>
                <a:ext cx="62180" cy="143756"/>
                <a:chOff x="8958729" y="1459638"/>
                <a:chExt cx="62180" cy="143756"/>
              </a:xfrm>
              <a:grpFill/>
            </p:grpSpPr>
            <p:sp>
              <p:nvSpPr>
                <p:cNvPr id="6924" name="Freeform 7147">
                  <a:extLst>
                    <a:ext uri="{FF2B5EF4-FFF2-40B4-BE49-F238E27FC236}">
                      <a16:creationId xmlns:a16="http://schemas.microsoft.com/office/drawing/2014/main" id="{50159528-8676-FCE1-EC38-7CBCC36FF2E3}"/>
                    </a:ext>
                  </a:extLst>
                </p:cNvPr>
                <p:cNvSpPr/>
                <p:nvPr/>
              </p:nvSpPr>
              <p:spPr>
                <a:xfrm>
                  <a:off x="8994558" y="1532133"/>
                  <a:ext cx="14449" cy="50072"/>
                </a:xfrm>
                <a:custGeom>
                  <a:avLst/>
                  <a:gdLst>
                    <a:gd name="connsiteX0" fmla="*/ 14449 w 14449"/>
                    <a:gd name="connsiteY0" fmla="*/ 50072 h 50072"/>
                    <a:gd name="connsiteX1" fmla="*/ 10961 w 14449"/>
                    <a:gd name="connsiteY1" fmla="*/ 31638 h 50072"/>
                    <a:gd name="connsiteX2" fmla="*/ 2741 w 14449"/>
                    <a:gd name="connsiteY2" fmla="*/ 16317 h 50072"/>
                    <a:gd name="connsiteX3" fmla="*/ 0 w 14449"/>
                    <a:gd name="connsiteY3" fmla="*/ 0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50072"/>
                      </a:moveTo>
                      <a:cubicBezTo>
                        <a:pt x="14449" y="41602"/>
                        <a:pt x="12580" y="35624"/>
                        <a:pt x="10961" y="31638"/>
                      </a:cubicBezTo>
                      <a:cubicBezTo>
                        <a:pt x="8221" y="25161"/>
                        <a:pt x="5231" y="22919"/>
                        <a:pt x="2741" y="16317"/>
                      </a:cubicBezTo>
                      <a:cubicBezTo>
                        <a:pt x="24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5" name="Freeform 7148">
                  <a:extLst>
                    <a:ext uri="{FF2B5EF4-FFF2-40B4-BE49-F238E27FC236}">
                      <a16:creationId xmlns:a16="http://schemas.microsoft.com/office/drawing/2014/main" id="{57DD92DA-DB07-4ED8-DF8E-8EE234284E42}"/>
                    </a:ext>
                  </a:extLst>
                </p:cNvPr>
                <p:cNvSpPr/>
                <p:nvPr/>
              </p:nvSpPr>
              <p:spPr>
                <a:xfrm>
                  <a:off x="8987833" y="1539482"/>
                  <a:ext cx="15818" cy="49698"/>
                </a:xfrm>
                <a:custGeom>
                  <a:avLst/>
                  <a:gdLst>
                    <a:gd name="connsiteX0" fmla="*/ 0 w 15818"/>
                    <a:gd name="connsiteY0" fmla="*/ 0 h 49698"/>
                    <a:gd name="connsiteX1" fmla="*/ 7348 w 15818"/>
                    <a:gd name="connsiteY1" fmla="*/ 17314 h 49698"/>
                    <a:gd name="connsiteX2" fmla="*/ 8968 w 15818"/>
                    <a:gd name="connsiteY2" fmla="*/ 34752 h 49698"/>
                    <a:gd name="connsiteX3" fmla="*/ 15818 w 15818"/>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818" h="49698">
                      <a:moveTo>
                        <a:pt x="0" y="0"/>
                      </a:moveTo>
                      <a:cubicBezTo>
                        <a:pt x="4733" y="6975"/>
                        <a:pt x="6476" y="13079"/>
                        <a:pt x="7348" y="17314"/>
                      </a:cubicBezTo>
                      <a:cubicBezTo>
                        <a:pt x="8595" y="24164"/>
                        <a:pt x="7473" y="27776"/>
                        <a:pt x="8968" y="34752"/>
                      </a:cubicBezTo>
                      <a:cubicBezTo>
                        <a:pt x="10462" y="41478"/>
                        <a:pt x="13452" y="46585"/>
                        <a:pt x="1581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6" name="Freeform 7149">
                  <a:extLst>
                    <a:ext uri="{FF2B5EF4-FFF2-40B4-BE49-F238E27FC236}">
                      <a16:creationId xmlns:a16="http://schemas.microsoft.com/office/drawing/2014/main" id="{E59BAEBD-675D-CD0D-10D1-BC80DB08ED0F}"/>
                    </a:ext>
                  </a:extLst>
                </p:cNvPr>
                <p:cNvSpPr/>
                <p:nvPr/>
              </p:nvSpPr>
              <p:spPr>
                <a:xfrm>
                  <a:off x="8994240" y="1576711"/>
                  <a:ext cx="26669" cy="26683"/>
                </a:xfrm>
                <a:custGeom>
                  <a:avLst/>
                  <a:gdLst>
                    <a:gd name="connsiteX0" fmla="*/ 568 w 26669"/>
                    <a:gd name="connsiteY0" fmla="*/ 17327 h 26683"/>
                    <a:gd name="connsiteX1" fmla="*/ 9536 w 26669"/>
                    <a:gd name="connsiteY1" fmla="*/ 637 h 26683"/>
                    <a:gd name="connsiteX2" fmla="*/ 26102 w 26669"/>
                    <a:gd name="connsiteY2" fmla="*/ 9356 h 26683"/>
                    <a:gd name="connsiteX3" fmla="*/ 17134 w 26669"/>
                    <a:gd name="connsiteY3" fmla="*/ 26046 h 26683"/>
                    <a:gd name="connsiteX4" fmla="*/ 568 w 26669"/>
                    <a:gd name="connsiteY4" fmla="*/ 17327 h 26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83">
                      <a:moveTo>
                        <a:pt x="568" y="17327"/>
                      </a:moveTo>
                      <a:cubicBezTo>
                        <a:pt x="-1550" y="10352"/>
                        <a:pt x="2436" y="2879"/>
                        <a:pt x="9536" y="637"/>
                      </a:cubicBezTo>
                      <a:cubicBezTo>
                        <a:pt x="16511" y="-1605"/>
                        <a:pt x="23985" y="2256"/>
                        <a:pt x="26102" y="9356"/>
                      </a:cubicBezTo>
                      <a:cubicBezTo>
                        <a:pt x="28219" y="16456"/>
                        <a:pt x="24233" y="23804"/>
                        <a:pt x="17134" y="26046"/>
                      </a:cubicBezTo>
                      <a:cubicBezTo>
                        <a:pt x="10034" y="28289"/>
                        <a:pt x="2560" y="24427"/>
                        <a:pt x="568" y="17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7" name="Freeform 7150">
                  <a:extLst>
                    <a:ext uri="{FF2B5EF4-FFF2-40B4-BE49-F238E27FC236}">
                      <a16:creationId xmlns:a16="http://schemas.microsoft.com/office/drawing/2014/main" id="{758A6669-C3FE-F953-738E-A4A4EC7B56CF}"/>
                    </a:ext>
                  </a:extLst>
                </p:cNvPr>
                <p:cNvSpPr/>
                <p:nvPr/>
              </p:nvSpPr>
              <p:spPr>
                <a:xfrm>
                  <a:off x="8970519" y="1480816"/>
                  <a:ext cx="14448" cy="50072"/>
                </a:xfrm>
                <a:custGeom>
                  <a:avLst/>
                  <a:gdLst>
                    <a:gd name="connsiteX0" fmla="*/ 0 w 14448"/>
                    <a:gd name="connsiteY0" fmla="*/ 0 h 50072"/>
                    <a:gd name="connsiteX1" fmla="*/ 3487 w 14448"/>
                    <a:gd name="connsiteY1" fmla="*/ 18435 h 50072"/>
                    <a:gd name="connsiteX2" fmla="*/ 11708 w 14448"/>
                    <a:gd name="connsiteY2" fmla="*/ 33755 h 50072"/>
                    <a:gd name="connsiteX3" fmla="*/ 14448 w 1444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8" h="50072">
                      <a:moveTo>
                        <a:pt x="0" y="0"/>
                      </a:moveTo>
                      <a:cubicBezTo>
                        <a:pt x="0" y="8470"/>
                        <a:pt x="1869" y="14449"/>
                        <a:pt x="3487" y="18435"/>
                      </a:cubicBezTo>
                      <a:cubicBezTo>
                        <a:pt x="6228" y="24912"/>
                        <a:pt x="9092" y="27154"/>
                        <a:pt x="11708" y="33755"/>
                      </a:cubicBezTo>
                      <a:cubicBezTo>
                        <a:pt x="14200" y="40232"/>
                        <a:pt x="14448" y="46086"/>
                        <a:pt x="1444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8" name="Freeform 7151">
                  <a:extLst>
                    <a:ext uri="{FF2B5EF4-FFF2-40B4-BE49-F238E27FC236}">
                      <a16:creationId xmlns:a16="http://schemas.microsoft.com/office/drawing/2014/main" id="{517CB864-F903-6C49-ABB2-E316678B5E81}"/>
                    </a:ext>
                  </a:extLst>
                </p:cNvPr>
                <p:cNvSpPr/>
                <p:nvPr/>
              </p:nvSpPr>
              <p:spPr>
                <a:xfrm>
                  <a:off x="8975625" y="1473965"/>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467" y="36495"/>
                        <a:pt x="8595" y="32260"/>
                      </a:cubicBezTo>
                      <a:cubicBezTo>
                        <a:pt x="7349" y="25410"/>
                        <a:pt x="8471" y="21798"/>
                        <a:pt x="6851" y="14947"/>
                      </a:cubicBezTo>
                      <a:cubicBezTo>
                        <a:pt x="5357"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9" name="Freeform 7152">
                  <a:extLst>
                    <a:ext uri="{FF2B5EF4-FFF2-40B4-BE49-F238E27FC236}">
                      <a16:creationId xmlns:a16="http://schemas.microsoft.com/office/drawing/2014/main" id="{7E3F8E32-2869-104C-E5B1-88482EC29C40}"/>
                    </a:ext>
                  </a:extLst>
                </p:cNvPr>
                <p:cNvSpPr/>
                <p:nvPr/>
              </p:nvSpPr>
              <p:spPr>
                <a:xfrm>
                  <a:off x="8958729" y="1459638"/>
                  <a:ext cx="26319" cy="26661"/>
                </a:xfrm>
                <a:custGeom>
                  <a:avLst/>
                  <a:gdLst>
                    <a:gd name="connsiteX0" fmla="*/ 25740 w 26319"/>
                    <a:gd name="connsiteY0" fmla="*/ 9345 h 26661"/>
                    <a:gd name="connsiteX1" fmla="*/ 17021 w 26319"/>
                    <a:gd name="connsiteY1" fmla="*/ 26035 h 26661"/>
                    <a:gd name="connsiteX2" fmla="*/ 579 w 26319"/>
                    <a:gd name="connsiteY2" fmla="*/ 17316 h 26661"/>
                    <a:gd name="connsiteX3" fmla="*/ 9299 w 26319"/>
                    <a:gd name="connsiteY3" fmla="*/ 626 h 26661"/>
                    <a:gd name="connsiteX4" fmla="*/ 25740 w 2631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661">
                      <a:moveTo>
                        <a:pt x="25740" y="9345"/>
                      </a:moveTo>
                      <a:cubicBezTo>
                        <a:pt x="27858" y="16320"/>
                        <a:pt x="23996" y="23793"/>
                        <a:pt x="17021" y="26035"/>
                      </a:cubicBezTo>
                      <a:cubicBezTo>
                        <a:pt x="10046" y="28278"/>
                        <a:pt x="2697" y="24292"/>
                        <a:pt x="579" y="17316"/>
                      </a:cubicBezTo>
                      <a:cubicBezTo>
                        <a:pt x="-1538" y="10341"/>
                        <a:pt x="2323" y="2868"/>
                        <a:pt x="9299" y="626"/>
                      </a:cubicBezTo>
                      <a:cubicBezTo>
                        <a:pt x="16274" y="-1616"/>
                        <a:pt x="23623" y="2370"/>
                        <a:pt x="25740"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9" name="Graphic 2987">
                <a:extLst>
                  <a:ext uri="{FF2B5EF4-FFF2-40B4-BE49-F238E27FC236}">
                    <a16:creationId xmlns:a16="http://schemas.microsoft.com/office/drawing/2014/main" id="{91EB43CC-9560-ED47-01BF-CEBFF253B98F}"/>
                  </a:ext>
                </a:extLst>
              </p:cNvPr>
              <p:cNvGrpSpPr/>
              <p:nvPr/>
            </p:nvGrpSpPr>
            <p:grpSpPr>
              <a:xfrm>
                <a:off x="8930839" y="1468482"/>
                <a:ext cx="61422" cy="143982"/>
                <a:chOff x="8930839" y="1468482"/>
                <a:chExt cx="61422" cy="143982"/>
              </a:xfrm>
              <a:grpFill/>
            </p:grpSpPr>
            <p:sp>
              <p:nvSpPr>
                <p:cNvPr id="6918" name="Freeform 7154">
                  <a:extLst>
                    <a:ext uri="{FF2B5EF4-FFF2-40B4-BE49-F238E27FC236}">
                      <a16:creationId xmlns:a16="http://schemas.microsoft.com/office/drawing/2014/main" id="{CF3938B3-E0BD-EC69-AD5A-FE0F0EB1177F}"/>
                    </a:ext>
                  </a:extLst>
                </p:cNvPr>
                <p:cNvSpPr/>
                <p:nvPr/>
              </p:nvSpPr>
              <p:spPr>
                <a:xfrm>
                  <a:off x="8966134" y="1540977"/>
                  <a:ext cx="14355" cy="50196"/>
                </a:xfrm>
                <a:custGeom>
                  <a:avLst/>
                  <a:gdLst>
                    <a:gd name="connsiteX0" fmla="*/ 14349 w 14355"/>
                    <a:gd name="connsiteY0" fmla="*/ 50197 h 50196"/>
                    <a:gd name="connsiteX1" fmla="*/ 10862 w 14355"/>
                    <a:gd name="connsiteY1" fmla="*/ 31638 h 50196"/>
                    <a:gd name="connsiteX2" fmla="*/ 2641 w 14355"/>
                    <a:gd name="connsiteY2" fmla="*/ 16317 h 50196"/>
                    <a:gd name="connsiteX3" fmla="*/ 26 w 14355"/>
                    <a:gd name="connsiteY3" fmla="*/ 0 h 50196"/>
                  </a:gdLst>
                  <a:ahLst/>
                  <a:cxnLst>
                    <a:cxn ang="0">
                      <a:pos x="connsiteX0" y="connsiteY0"/>
                    </a:cxn>
                    <a:cxn ang="0">
                      <a:pos x="connsiteX1" y="connsiteY1"/>
                    </a:cxn>
                    <a:cxn ang="0">
                      <a:pos x="connsiteX2" y="connsiteY2"/>
                    </a:cxn>
                    <a:cxn ang="0">
                      <a:pos x="connsiteX3" y="connsiteY3"/>
                    </a:cxn>
                  </a:cxnLst>
                  <a:rect l="l" t="t" r="r" b="b"/>
                  <a:pathLst>
                    <a:path w="14355" h="50196">
                      <a:moveTo>
                        <a:pt x="14349" y="50197"/>
                      </a:moveTo>
                      <a:cubicBezTo>
                        <a:pt x="14474" y="41727"/>
                        <a:pt x="12605" y="35624"/>
                        <a:pt x="10862" y="31638"/>
                      </a:cubicBezTo>
                      <a:cubicBezTo>
                        <a:pt x="8121" y="25161"/>
                        <a:pt x="5257" y="22919"/>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9" name="Freeform 7155">
                  <a:extLst>
                    <a:ext uri="{FF2B5EF4-FFF2-40B4-BE49-F238E27FC236}">
                      <a16:creationId xmlns:a16="http://schemas.microsoft.com/office/drawing/2014/main" id="{7F8BBA35-7DA7-3D19-0A1F-C38156C7E0A3}"/>
                    </a:ext>
                  </a:extLst>
                </p:cNvPr>
                <p:cNvSpPr/>
                <p:nvPr/>
              </p:nvSpPr>
              <p:spPr>
                <a:xfrm>
                  <a:off x="8959558" y="1548326"/>
                  <a:ext cx="15569" cy="49823"/>
                </a:xfrm>
                <a:custGeom>
                  <a:avLst/>
                  <a:gdLst>
                    <a:gd name="connsiteX0" fmla="*/ 0 w 15569"/>
                    <a:gd name="connsiteY0" fmla="*/ 0 h 49823"/>
                    <a:gd name="connsiteX1" fmla="*/ 7225 w 15569"/>
                    <a:gd name="connsiteY1" fmla="*/ 17314 h 49823"/>
                    <a:gd name="connsiteX2" fmla="*/ 8844 w 15569"/>
                    <a:gd name="connsiteY2" fmla="*/ 34752 h 49823"/>
                    <a:gd name="connsiteX3" fmla="*/ 1557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0" y="0"/>
                      </a:moveTo>
                      <a:cubicBezTo>
                        <a:pt x="4609" y="6975"/>
                        <a:pt x="6477" y="13079"/>
                        <a:pt x="7225" y="17314"/>
                      </a:cubicBezTo>
                      <a:cubicBezTo>
                        <a:pt x="8470" y="24164"/>
                        <a:pt x="7349" y="27776"/>
                        <a:pt x="8844" y="34752"/>
                      </a:cubicBezTo>
                      <a:cubicBezTo>
                        <a:pt x="10339" y="41478"/>
                        <a:pt x="13328" y="46585"/>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0" name="Freeform 7156">
                  <a:extLst>
                    <a:ext uri="{FF2B5EF4-FFF2-40B4-BE49-F238E27FC236}">
                      <a16:creationId xmlns:a16="http://schemas.microsoft.com/office/drawing/2014/main" id="{428C7B00-0E48-144A-5C9F-8E714AB9A3DF}"/>
                    </a:ext>
                  </a:extLst>
                </p:cNvPr>
                <p:cNvSpPr/>
                <p:nvPr/>
              </p:nvSpPr>
              <p:spPr>
                <a:xfrm>
                  <a:off x="8965602" y="1585804"/>
                  <a:ext cx="26659" cy="26660"/>
                </a:xfrm>
                <a:custGeom>
                  <a:avLst/>
                  <a:gdLst>
                    <a:gd name="connsiteX0" fmla="*/ 558 w 26659"/>
                    <a:gd name="connsiteY0" fmla="*/ 17203 h 26660"/>
                    <a:gd name="connsiteX1" fmla="*/ 9526 w 26659"/>
                    <a:gd name="connsiteY1" fmla="*/ 637 h 26660"/>
                    <a:gd name="connsiteX2" fmla="*/ 26092 w 26659"/>
                    <a:gd name="connsiteY2" fmla="*/ 9356 h 26660"/>
                    <a:gd name="connsiteX3" fmla="*/ 17124 w 26659"/>
                    <a:gd name="connsiteY3" fmla="*/ 26046 h 26660"/>
                    <a:gd name="connsiteX4" fmla="*/ 558 w 26659"/>
                    <a:gd name="connsiteY4" fmla="*/ 17203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660">
                      <a:moveTo>
                        <a:pt x="558" y="17203"/>
                      </a:moveTo>
                      <a:cubicBezTo>
                        <a:pt x="-1560" y="10228"/>
                        <a:pt x="2551" y="2879"/>
                        <a:pt x="9526" y="637"/>
                      </a:cubicBezTo>
                      <a:cubicBezTo>
                        <a:pt x="16501" y="-1605"/>
                        <a:pt x="23974" y="2256"/>
                        <a:pt x="26092" y="9356"/>
                      </a:cubicBezTo>
                      <a:cubicBezTo>
                        <a:pt x="28209" y="16331"/>
                        <a:pt x="24223" y="23804"/>
                        <a:pt x="17124" y="26046"/>
                      </a:cubicBezTo>
                      <a:cubicBezTo>
                        <a:pt x="10148" y="28289"/>
                        <a:pt x="2675" y="24178"/>
                        <a:pt x="558"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1" name="Freeform 7157">
                  <a:extLst>
                    <a:ext uri="{FF2B5EF4-FFF2-40B4-BE49-F238E27FC236}">
                      <a16:creationId xmlns:a16="http://schemas.microsoft.com/office/drawing/2014/main" id="{6E1D5E48-1EF1-F094-E2A7-D89D4FF6A0ED}"/>
                    </a:ext>
                  </a:extLst>
                </p:cNvPr>
                <p:cNvSpPr/>
                <p:nvPr/>
              </p:nvSpPr>
              <p:spPr>
                <a:xfrm>
                  <a:off x="8942493" y="1489659"/>
                  <a:ext cx="14225" cy="50196"/>
                </a:xfrm>
                <a:custGeom>
                  <a:avLst/>
                  <a:gdLst>
                    <a:gd name="connsiteX0" fmla="*/ 0 w 14225"/>
                    <a:gd name="connsiteY0" fmla="*/ 0 h 50196"/>
                    <a:gd name="connsiteX1" fmla="*/ 3487 w 14225"/>
                    <a:gd name="connsiteY1" fmla="*/ 18559 h 50196"/>
                    <a:gd name="connsiteX2" fmla="*/ 11584 w 14225"/>
                    <a:gd name="connsiteY2" fmla="*/ 33880 h 50196"/>
                    <a:gd name="connsiteX3" fmla="*/ 14200 w 142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225" h="50196">
                      <a:moveTo>
                        <a:pt x="0" y="0"/>
                      </a:moveTo>
                      <a:cubicBezTo>
                        <a:pt x="0" y="8470"/>
                        <a:pt x="1744" y="14573"/>
                        <a:pt x="3487" y="18559"/>
                      </a:cubicBezTo>
                      <a:cubicBezTo>
                        <a:pt x="6228" y="25036"/>
                        <a:pt x="9092" y="27278"/>
                        <a:pt x="11584" y="33880"/>
                      </a:cubicBezTo>
                      <a:cubicBezTo>
                        <a:pt x="14075" y="40357"/>
                        <a:pt x="14324" y="46211"/>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2" name="Freeform 7158">
                  <a:extLst>
                    <a:ext uri="{FF2B5EF4-FFF2-40B4-BE49-F238E27FC236}">
                      <a16:creationId xmlns:a16="http://schemas.microsoft.com/office/drawing/2014/main" id="{8E745D0A-A0F5-B35F-137E-AB1F75B9D578}"/>
                    </a:ext>
                  </a:extLst>
                </p:cNvPr>
                <p:cNvSpPr/>
                <p:nvPr/>
              </p:nvSpPr>
              <p:spPr>
                <a:xfrm>
                  <a:off x="8947725" y="1482684"/>
                  <a:ext cx="15569" cy="49823"/>
                </a:xfrm>
                <a:custGeom>
                  <a:avLst/>
                  <a:gdLst>
                    <a:gd name="connsiteX0" fmla="*/ 15570 w 15569"/>
                    <a:gd name="connsiteY0" fmla="*/ 49823 h 49823"/>
                    <a:gd name="connsiteX1" fmla="*/ 8346 w 15569"/>
                    <a:gd name="connsiteY1" fmla="*/ 32510 h 49823"/>
                    <a:gd name="connsiteX2" fmla="*/ 6727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836" y="42848"/>
                        <a:pt x="9093" y="36745"/>
                        <a:pt x="8346" y="32510"/>
                      </a:cubicBezTo>
                      <a:cubicBezTo>
                        <a:pt x="7100" y="25659"/>
                        <a:pt x="8221" y="22047"/>
                        <a:pt x="6727" y="15071"/>
                      </a:cubicBezTo>
                      <a:cubicBezTo>
                        <a:pt x="5232"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3" name="Freeform 7159">
                  <a:extLst>
                    <a:ext uri="{FF2B5EF4-FFF2-40B4-BE49-F238E27FC236}">
                      <a16:creationId xmlns:a16="http://schemas.microsoft.com/office/drawing/2014/main" id="{F938A343-7FCD-089A-74BD-DF6D1AF4B555}"/>
                    </a:ext>
                  </a:extLst>
                </p:cNvPr>
                <p:cNvSpPr/>
                <p:nvPr/>
              </p:nvSpPr>
              <p:spPr>
                <a:xfrm>
                  <a:off x="8930839" y="1468482"/>
                  <a:ext cx="26184" cy="26660"/>
                </a:xfrm>
                <a:custGeom>
                  <a:avLst/>
                  <a:gdLst>
                    <a:gd name="connsiteX0" fmla="*/ 25605 w 26184"/>
                    <a:gd name="connsiteY0" fmla="*/ 9345 h 26660"/>
                    <a:gd name="connsiteX1" fmla="*/ 16886 w 26184"/>
                    <a:gd name="connsiteY1" fmla="*/ 26035 h 26660"/>
                    <a:gd name="connsiteX2" fmla="*/ 569 w 26184"/>
                    <a:gd name="connsiteY2" fmla="*/ 17192 h 26660"/>
                    <a:gd name="connsiteX3" fmla="*/ 9288 w 26184"/>
                    <a:gd name="connsiteY3" fmla="*/ 626 h 26660"/>
                    <a:gd name="connsiteX4" fmla="*/ 25605 w 26184"/>
                    <a:gd name="connsiteY4" fmla="*/ 9345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660">
                      <a:moveTo>
                        <a:pt x="25605" y="9345"/>
                      </a:moveTo>
                      <a:cubicBezTo>
                        <a:pt x="27723" y="16320"/>
                        <a:pt x="23861" y="23793"/>
                        <a:pt x="16886" y="26035"/>
                      </a:cubicBezTo>
                      <a:cubicBezTo>
                        <a:pt x="9911" y="28278"/>
                        <a:pt x="2562" y="24292"/>
                        <a:pt x="569" y="17192"/>
                      </a:cubicBezTo>
                      <a:cubicBezTo>
                        <a:pt x="-1548" y="10217"/>
                        <a:pt x="2438" y="2868"/>
                        <a:pt x="9288" y="626"/>
                      </a:cubicBezTo>
                      <a:cubicBezTo>
                        <a:pt x="16139" y="-1616"/>
                        <a:pt x="23488" y="2370"/>
                        <a:pt x="25605"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0" name="Graphic 2987">
                <a:extLst>
                  <a:ext uri="{FF2B5EF4-FFF2-40B4-BE49-F238E27FC236}">
                    <a16:creationId xmlns:a16="http://schemas.microsoft.com/office/drawing/2014/main" id="{BA0A7C28-CD7D-DB09-9287-57C634690219}"/>
                  </a:ext>
                </a:extLst>
              </p:cNvPr>
              <p:cNvGrpSpPr/>
              <p:nvPr/>
            </p:nvGrpSpPr>
            <p:grpSpPr>
              <a:xfrm>
                <a:off x="8902371" y="1476710"/>
                <a:ext cx="61231" cy="143989"/>
                <a:chOff x="8902371" y="1476710"/>
                <a:chExt cx="61231" cy="143989"/>
              </a:xfrm>
              <a:grpFill/>
            </p:grpSpPr>
            <p:sp>
              <p:nvSpPr>
                <p:cNvPr id="6912" name="Freeform 7161">
                  <a:extLst>
                    <a:ext uri="{FF2B5EF4-FFF2-40B4-BE49-F238E27FC236}">
                      <a16:creationId xmlns:a16="http://schemas.microsoft.com/office/drawing/2014/main" id="{A6762CA6-D9AD-E308-4556-18AB407F5599}"/>
                    </a:ext>
                  </a:extLst>
                </p:cNvPr>
                <p:cNvSpPr/>
                <p:nvPr/>
              </p:nvSpPr>
              <p:spPr>
                <a:xfrm>
                  <a:off x="8937818" y="1549447"/>
                  <a:ext cx="14022" cy="50196"/>
                </a:xfrm>
                <a:custGeom>
                  <a:avLst/>
                  <a:gdLst>
                    <a:gd name="connsiteX0" fmla="*/ 14017 w 14022"/>
                    <a:gd name="connsiteY0" fmla="*/ 50197 h 50196"/>
                    <a:gd name="connsiteX1" fmla="*/ 10654 w 14022"/>
                    <a:gd name="connsiteY1" fmla="*/ 31762 h 50196"/>
                    <a:gd name="connsiteX2" fmla="*/ 2558 w 14022"/>
                    <a:gd name="connsiteY2" fmla="*/ 16317 h 50196"/>
                    <a:gd name="connsiteX3" fmla="*/ 66 w 14022"/>
                    <a:gd name="connsiteY3" fmla="*/ 0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50197"/>
                      </a:moveTo>
                      <a:cubicBezTo>
                        <a:pt x="14141" y="41851"/>
                        <a:pt x="12273" y="35748"/>
                        <a:pt x="10654" y="31762"/>
                      </a:cubicBezTo>
                      <a:cubicBezTo>
                        <a:pt x="7914" y="25285"/>
                        <a:pt x="5048" y="22919"/>
                        <a:pt x="2558" y="16317"/>
                      </a:cubicBezTo>
                      <a:cubicBezTo>
                        <a:pt x="191" y="9840"/>
                        <a:pt x="-183" y="3986"/>
                        <a:pt x="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3" name="Freeform 7162">
                  <a:extLst>
                    <a:ext uri="{FF2B5EF4-FFF2-40B4-BE49-F238E27FC236}">
                      <a16:creationId xmlns:a16="http://schemas.microsoft.com/office/drawing/2014/main" id="{679A2797-DA9C-DD10-1CAC-7F7F836551C7}"/>
                    </a:ext>
                  </a:extLst>
                </p:cNvPr>
                <p:cNvSpPr/>
                <p:nvPr/>
              </p:nvSpPr>
              <p:spPr>
                <a:xfrm>
                  <a:off x="8931034" y="1556547"/>
                  <a:ext cx="15445" cy="49823"/>
                </a:xfrm>
                <a:custGeom>
                  <a:avLst/>
                  <a:gdLst>
                    <a:gd name="connsiteX0" fmla="*/ 0 w 15445"/>
                    <a:gd name="connsiteY0" fmla="*/ 0 h 49823"/>
                    <a:gd name="connsiteX1" fmla="*/ 7224 w 15445"/>
                    <a:gd name="connsiteY1" fmla="*/ 17438 h 49823"/>
                    <a:gd name="connsiteX2" fmla="*/ 8718 w 15445"/>
                    <a:gd name="connsiteY2" fmla="*/ 34752 h 49823"/>
                    <a:gd name="connsiteX3" fmla="*/ 15445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0" y="0"/>
                      </a:moveTo>
                      <a:cubicBezTo>
                        <a:pt x="4609" y="7100"/>
                        <a:pt x="6476" y="13079"/>
                        <a:pt x="7224" y="17438"/>
                      </a:cubicBezTo>
                      <a:cubicBezTo>
                        <a:pt x="8470" y="24289"/>
                        <a:pt x="7224" y="27776"/>
                        <a:pt x="8718" y="34752"/>
                      </a:cubicBezTo>
                      <a:cubicBezTo>
                        <a:pt x="10214" y="41478"/>
                        <a:pt x="13203" y="46585"/>
                        <a:pt x="15445"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4" name="Freeform 7163">
                  <a:extLst>
                    <a:ext uri="{FF2B5EF4-FFF2-40B4-BE49-F238E27FC236}">
                      <a16:creationId xmlns:a16="http://schemas.microsoft.com/office/drawing/2014/main" id="{6540ED3D-70FC-FFD6-81BD-555BA3082304}"/>
                    </a:ext>
                  </a:extLst>
                </p:cNvPr>
                <p:cNvSpPr/>
                <p:nvPr/>
              </p:nvSpPr>
              <p:spPr>
                <a:xfrm>
                  <a:off x="8936874" y="1594283"/>
                  <a:ext cx="26728" cy="26416"/>
                </a:xfrm>
                <a:custGeom>
                  <a:avLst/>
                  <a:gdLst>
                    <a:gd name="connsiteX0" fmla="*/ 513 w 26728"/>
                    <a:gd name="connsiteY0" fmla="*/ 16820 h 26416"/>
                    <a:gd name="connsiteX1" fmla="*/ 9605 w 26728"/>
                    <a:gd name="connsiteY1" fmla="*/ 503 h 26416"/>
                    <a:gd name="connsiteX2" fmla="*/ 26171 w 26728"/>
                    <a:gd name="connsiteY2" fmla="*/ 9596 h 26416"/>
                    <a:gd name="connsiteX3" fmla="*/ 17078 w 26728"/>
                    <a:gd name="connsiteY3" fmla="*/ 25913 h 26416"/>
                    <a:gd name="connsiteX4" fmla="*/ 513 w 26728"/>
                    <a:gd name="connsiteY4" fmla="*/ 16820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416">
                      <a:moveTo>
                        <a:pt x="513" y="16820"/>
                      </a:moveTo>
                      <a:cubicBezTo>
                        <a:pt x="-1481" y="9845"/>
                        <a:pt x="2505" y="2496"/>
                        <a:pt x="9605" y="503"/>
                      </a:cubicBezTo>
                      <a:cubicBezTo>
                        <a:pt x="16705" y="-1490"/>
                        <a:pt x="24178" y="2621"/>
                        <a:pt x="26171" y="9596"/>
                      </a:cubicBezTo>
                      <a:cubicBezTo>
                        <a:pt x="28289" y="16571"/>
                        <a:pt x="24178" y="23920"/>
                        <a:pt x="17078" y="25913"/>
                      </a:cubicBezTo>
                      <a:cubicBezTo>
                        <a:pt x="9978" y="27906"/>
                        <a:pt x="2630" y="23795"/>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5" name="Freeform 7164">
                  <a:extLst>
                    <a:ext uri="{FF2B5EF4-FFF2-40B4-BE49-F238E27FC236}">
                      <a16:creationId xmlns:a16="http://schemas.microsoft.com/office/drawing/2014/main" id="{268C6F78-8490-AB49-7102-FA76A9191938}"/>
                    </a:ext>
                  </a:extLst>
                </p:cNvPr>
                <p:cNvSpPr/>
                <p:nvPr/>
              </p:nvSpPr>
              <p:spPr>
                <a:xfrm>
                  <a:off x="8914213" y="1497756"/>
                  <a:ext cx="14022" cy="50196"/>
                </a:xfrm>
                <a:custGeom>
                  <a:avLst/>
                  <a:gdLst>
                    <a:gd name="connsiteX0" fmla="*/ 6 w 14022"/>
                    <a:gd name="connsiteY0" fmla="*/ 0 h 50196"/>
                    <a:gd name="connsiteX1" fmla="*/ 3369 w 14022"/>
                    <a:gd name="connsiteY1" fmla="*/ 18435 h 50196"/>
                    <a:gd name="connsiteX2" fmla="*/ 11466 w 14022"/>
                    <a:gd name="connsiteY2" fmla="*/ 33880 h 50196"/>
                    <a:gd name="connsiteX3" fmla="*/ 1395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6" y="0"/>
                      </a:moveTo>
                      <a:cubicBezTo>
                        <a:pt x="-119" y="8345"/>
                        <a:pt x="1750" y="14449"/>
                        <a:pt x="3369" y="18435"/>
                      </a:cubicBezTo>
                      <a:cubicBezTo>
                        <a:pt x="6109" y="24912"/>
                        <a:pt x="8974" y="27278"/>
                        <a:pt x="11466" y="33880"/>
                      </a:cubicBezTo>
                      <a:cubicBezTo>
                        <a:pt x="13832" y="40357"/>
                        <a:pt x="14206" y="46211"/>
                        <a:pt x="1395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6" name="Freeform 7165">
                  <a:extLst>
                    <a:ext uri="{FF2B5EF4-FFF2-40B4-BE49-F238E27FC236}">
                      <a16:creationId xmlns:a16="http://schemas.microsoft.com/office/drawing/2014/main" id="{EEC0D80B-58BF-4C9C-00EC-8A4E324BF96B}"/>
                    </a:ext>
                  </a:extLst>
                </p:cNvPr>
                <p:cNvSpPr/>
                <p:nvPr/>
              </p:nvSpPr>
              <p:spPr>
                <a:xfrm>
                  <a:off x="8919326" y="1491029"/>
                  <a:ext cx="15569" cy="49823"/>
                </a:xfrm>
                <a:custGeom>
                  <a:avLst/>
                  <a:gdLst>
                    <a:gd name="connsiteX0" fmla="*/ 15570 w 15569"/>
                    <a:gd name="connsiteY0" fmla="*/ 49823 h 49823"/>
                    <a:gd name="connsiteX1" fmla="*/ 8345 w 15569"/>
                    <a:gd name="connsiteY1" fmla="*/ 32385 h 49823"/>
                    <a:gd name="connsiteX2" fmla="*/ 6726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961" y="42723"/>
                        <a:pt x="9092" y="36745"/>
                        <a:pt x="8345" y="32385"/>
                      </a:cubicBezTo>
                      <a:cubicBezTo>
                        <a:pt x="7100" y="25534"/>
                        <a:pt x="8345" y="22047"/>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7" name="Freeform 7166">
                  <a:extLst>
                    <a:ext uri="{FF2B5EF4-FFF2-40B4-BE49-F238E27FC236}">
                      <a16:creationId xmlns:a16="http://schemas.microsoft.com/office/drawing/2014/main" id="{14D5619A-C5D9-96E0-C8F4-F7C4E43A43EB}"/>
                    </a:ext>
                  </a:extLst>
                </p:cNvPr>
                <p:cNvSpPr/>
                <p:nvPr/>
              </p:nvSpPr>
              <p:spPr>
                <a:xfrm>
                  <a:off x="8902371" y="1476710"/>
                  <a:ext cx="26490" cy="26530"/>
                </a:xfrm>
                <a:custGeom>
                  <a:avLst/>
                  <a:gdLst>
                    <a:gd name="connsiteX0" fmla="*/ 25923 w 26490"/>
                    <a:gd name="connsiteY0" fmla="*/ 9711 h 26530"/>
                    <a:gd name="connsiteX1" fmla="*/ 16955 w 26490"/>
                    <a:gd name="connsiteY1" fmla="*/ 26028 h 26530"/>
                    <a:gd name="connsiteX2" fmla="*/ 513 w 26490"/>
                    <a:gd name="connsiteY2" fmla="*/ 16811 h 26530"/>
                    <a:gd name="connsiteX3" fmla="*/ 9481 w 26490"/>
                    <a:gd name="connsiteY3" fmla="*/ 494 h 26530"/>
                    <a:gd name="connsiteX4" fmla="*/ 25923 w 26490"/>
                    <a:gd name="connsiteY4" fmla="*/ 971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0" h="26530">
                      <a:moveTo>
                        <a:pt x="25923" y="9711"/>
                      </a:moveTo>
                      <a:cubicBezTo>
                        <a:pt x="28040" y="16686"/>
                        <a:pt x="24055" y="24035"/>
                        <a:pt x="16955" y="26028"/>
                      </a:cubicBezTo>
                      <a:cubicBezTo>
                        <a:pt x="9980" y="28021"/>
                        <a:pt x="2630" y="23910"/>
                        <a:pt x="513" y="16811"/>
                      </a:cubicBezTo>
                      <a:cubicBezTo>
                        <a:pt x="-1480" y="9835"/>
                        <a:pt x="2506" y="2487"/>
                        <a:pt x="9481" y="494"/>
                      </a:cubicBezTo>
                      <a:cubicBezTo>
                        <a:pt x="16456" y="-1499"/>
                        <a:pt x="23930" y="2736"/>
                        <a:pt x="25923" y="97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1" name="Graphic 2987">
                <a:extLst>
                  <a:ext uri="{FF2B5EF4-FFF2-40B4-BE49-F238E27FC236}">
                    <a16:creationId xmlns:a16="http://schemas.microsoft.com/office/drawing/2014/main" id="{497ADBB6-5E87-0CAA-8F3E-D794465846B2}"/>
                  </a:ext>
                </a:extLst>
              </p:cNvPr>
              <p:cNvGrpSpPr/>
              <p:nvPr/>
            </p:nvGrpSpPr>
            <p:grpSpPr>
              <a:xfrm>
                <a:off x="8874221" y="1484725"/>
                <a:ext cx="60722" cy="143999"/>
                <a:chOff x="8874221" y="1484725"/>
                <a:chExt cx="60722" cy="143999"/>
              </a:xfrm>
              <a:grpFill/>
            </p:grpSpPr>
            <p:sp>
              <p:nvSpPr>
                <p:cNvPr id="6906" name="Freeform 7168">
                  <a:extLst>
                    <a:ext uri="{FF2B5EF4-FFF2-40B4-BE49-F238E27FC236}">
                      <a16:creationId xmlns:a16="http://schemas.microsoft.com/office/drawing/2014/main" id="{C179E388-DA86-5057-C86D-FFD10517D3BB}"/>
                    </a:ext>
                  </a:extLst>
                </p:cNvPr>
                <p:cNvSpPr/>
                <p:nvPr/>
              </p:nvSpPr>
              <p:spPr>
                <a:xfrm>
                  <a:off x="8909086" y="1557543"/>
                  <a:ext cx="13982" cy="50196"/>
                </a:xfrm>
                <a:custGeom>
                  <a:avLst/>
                  <a:gdLst>
                    <a:gd name="connsiteX0" fmla="*/ 13976 w 13982"/>
                    <a:gd name="connsiteY0" fmla="*/ 50197 h 50196"/>
                    <a:gd name="connsiteX1" fmla="*/ 10613 w 13982"/>
                    <a:gd name="connsiteY1" fmla="*/ 31762 h 50196"/>
                    <a:gd name="connsiteX2" fmla="*/ 2517 w 13982"/>
                    <a:gd name="connsiteY2" fmla="*/ 16317 h 50196"/>
                    <a:gd name="connsiteX3" fmla="*/ 26 w 13982"/>
                    <a:gd name="connsiteY3" fmla="*/ 0 h 50196"/>
                  </a:gdLst>
                  <a:ahLst/>
                  <a:cxnLst>
                    <a:cxn ang="0">
                      <a:pos x="connsiteX0" y="connsiteY0"/>
                    </a:cxn>
                    <a:cxn ang="0">
                      <a:pos x="connsiteX1" y="connsiteY1"/>
                    </a:cxn>
                    <a:cxn ang="0">
                      <a:pos x="connsiteX2" y="connsiteY2"/>
                    </a:cxn>
                    <a:cxn ang="0">
                      <a:pos x="connsiteX3" y="connsiteY3"/>
                    </a:cxn>
                  </a:cxnLst>
                  <a:rect l="l" t="t" r="r" b="b"/>
                  <a:pathLst>
                    <a:path w="13982" h="50196">
                      <a:moveTo>
                        <a:pt x="13976" y="50197"/>
                      </a:moveTo>
                      <a:cubicBezTo>
                        <a:pt x="14101" y="41851"/>
                        <a:pt x="12357" y="35748"/>
                        <a:pt x="10613" y="31762"/>
                      </a:cubicBezTo>
                      <a:cubicBezTo>
                        <a:pt x="7873" y="25285"/>
                        <a:pt x="5008" y="22919"/>
                        <a:pt x="2517" y="16317"/>
                      </a:cubicBezTo>
                      <a:cubicBezTo>
                        <a:pt x="151"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7" name="Freeform 7169">
                  <a:extLst>
                    <a:ext uri="{FF2B5EF4-FFF2-40B4-BE49-F238E27FC236}">
                      <a16:creationId xmlns:a16="http://schemas.microsoft.com/office/drawing/2014/main" id="{2931317B-B58E-4DA5-B7CA-A90E3D26CD0C}"/>
                    </a:ext>
                  </a:extLst>
                </p:cNvPr>
                <p:cNvSpPr/>
                <p:nvPr/>
              </p:nvSpPr>
              <p:spPr>
                <a:xfrm>
                  <a:off x="8902385" y="1564518"/>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7100"/>
                        <a:pt x="6353" y="13203"/>
                        <a:pt x="7100" y="17438"/>
                      </a:cubicBezTo>
                      <a:cubicBezTo>
                        <a:pt x="8346" y="24289"/>
                        <a:pt x="7100" y="27776"/>
                        <a:pt x="8595" y="34752"/>
                      </a:cubicBezTo>
                      <a:cubicBezTo>
                        <a:pt x="10090"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8" name="Freeform 7170">
                  <a:extLst>
                    <a:ext uri="{FF2B5EF4-FFF2-40B4-BE49-F238E27FC236}">
                      <a16:creationId xmlns:a16="http://schemas.microsoft.com/office/drawing/2014/main" id="{0AC2C23F-101B-3F99-B7C6-E8FFAB2D5802}"/>
                    </a:ext>
                  </a:extLst>
                </p:cNvPr>
                <p:cNvSpPr/>
                <p:nvPr/>
              </p:nvSpPr>
              <p:spPr>
                <a:xfrm>
                  <a:off x="8908111" y="1602254"/>
                  <a:ext cx="26832" cy="26469"/>
                </a:xfrm>
                <a:custGeom>
                  <a:avLst/>
                  <a:gdLst>
                    <a:gd name="connsiteX0" fmla="*/ 502 w 26832"/>
                    <a:gd name="connsiteY0" fmla="*/ 16820 h 26469"/>
                    <a:gd name="connsiteX1" fmla="*/ 9720 w 26832"/>
                    <a:gd name="connsiteY1" fmla="*/ 503 h 26469"/>
                    <a:gd name="connsiteX2" fmla="*/ 26286 w 26832"/>
                    <a:gd name="connsiteY2" fmla="*/ 9596 h 26469"/>
                    <a:gd name="connsiteX3" fmla="*/ 17069 w 26832"/>
                    <a:gd name="connsiteY3" fmla="*/ 25913 h 26469"/>
                    <a:gd name="connsiteX4" fmla="*/ 502 w 26832"/>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469">
                      <a:moveTo>
                        <a:pt x="502" y="16820"/>
                      </a:moveTo>
                      <a:cubicBezTo>
                        <a:pt x="-1490" y="9845"/>
                        <a:pt x="2620" y="2496"/>
                        <a:pt x="9720" y="503"/>
                      </a:cubicBezTo>
                      <a:cubicBezTo>
                        <a:pt x="16820" y="-1490"/>
                        <a:pt x="24293" y="2621"/>
                        <a:pt x="26286" y="9596"/>
                      </a:cubicBezTo>
                      <a:cubicBezTo>
                        <a:pt x="28404" y="16571"/>
                        <a:pt x="24169" y="23920"/>
                        <a:pt x="17069" y="25913"/>
                      </a:cubicBezTo>
                      <a:cubicBezTo>
                        <a:pt x="9969"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9" name="Freeform 7171">
                  <a:extLst>
                    <a:ext uri="{FF2B5EF4-FFF2-40B4-BE49-F238E27FC236}">
                      <a16:creationId xmlns:a16="http://schemas.microsoft.com/office/drawing/2014/main" id="{86610CA2-F4B6-DA5E-583E-190343ECA61F}"/>
                    </a:ext>
                  </a:extLst>
                </p:cNvPr>
                <p:cNvSpPr/>
                <p:nvPr/>
              </p:nvSpPr>
              <p:spPr>
                <a:xfrm>
                  <a:off x="8885813" y="1505727"/>
                  <a:ext cx="13982" cy="50196"/>
                </a:xfrm>
                <a:custGeom>
                  <a:avLst/>
                  <a:gdLst>
                    <a:gd name="connsiteX0" fmla="*/ 6 w 13982"/>
                    <a:gd name="connsiteY0" fmla="*/ 0 h 50196"/>
                    <a:gd name="connsiteX1" fmla="*/ 3369 w 13982"/>
                    <a:gd name="connsiteY1" fmla="*/ 18435 h 50196"/>
                    <a:gd name="connsiteX2" fmla="*/ 11465 w 13982"/>
                    <a:gd name="connsiteY2" fmla="*/ 33880 h 50196"/>
                    <a:gd name="connsiteX3" fmla="*/ 13957 w 1398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982" h="50196">
                      <a:moveTo>
                        <a:pt x="6" y="0"/>
                      </a:moveTo>
                      <a:cubicBezTo>
                        <a:pt x="-118" y="8345"/>
                        <a:pt x="1626" y="14449"/>
                        <a:pt x="3369" y="18435"/>
                      </a:cubicBezTo>
                      <a:cubicBezTo>
                        <a:pt x="6110" y="24912"/>
                        <a:pt x="8974" y="27278"/>
                        <a:pt x="11465" y="33880"/>
                      </a:cubicBezTo>
                      <a:cubicBezTo>
                        <a:pt x="13832" y="40357"/>
                        <a:pt x="14081" y="46211"/>
                        <a:pt x="13957"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0" name="Freeform 7172">
                  <a:extLst>
                    <a:ext uri="{FF2B5EF4-FFF2-40B4-BE49-F238E27FC236}">
                      <a16:creationId xmlns:a16="http://schemas.microsoft.com/office/drawing/2014/main" id="{2EFBE841-83B0-2191-AE27-07AF77186138}"/>
                    </a:ext>
                  </a:extLst>
                </p:cNvPr>
                <p:cNvSpPr/>
                <p:nvPr/>
              </p:nvSpPr>
              <p:spPr>
                <a:xfrm>
                  <a:off x="8891176" y="1499126"/>
                  <a:ext cx="15195" cy="49823"/>
                </a:xfrm>
                <a:custGeom>
                  <a:avLst/>
                  <a:gdLst>
                    <a:gd name="connsiteX0" fmla="*/ 15196 w 15195"/>
                    <a:gd name="connsiteY0" fmla="*/ 49823 h 49823"/>
                    <a:gd name="connsiteX1" fmla="*/ 8096 w 15195"/>
                    <a:gd name="connsiteY1" fmla="*/ 32385 h 49823"/>
                    <a:gd name="connsiteX2" fmla="*/ 6601 w 15195"/>
                    <a:gd name="connsiteY2" fmla="*/ 15071 h 49823"/>
                    <a:gd name="connsiteX3" fmla="*/ 0 w 15195"/>
                    <a:gd name="connsiteY3" fmla="*/ 0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49823"/>
                      </a:moveTo>
                      <a:cubicBezTo>
                        <a:pt x="10587" y="42723"/>
                        <a:pt x="8844" y="36620"/>
                        <a:pt x="8096" y="32385"/>
                      </a:cubicBezTo>
                      <a:cubicBezTo>
                        <a:pt x="6851" y="25534"/>
                        <a:pt x="8096" y="22047"/>
                        <a:pt x="6601" y="15071"/>
                      </a:cubicBezTo>
                      <a:cubicBezTo>
                        <a:pt x="5107"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1" name="Freeform 7173">
                  <a:extLst>
                    <a:ext uri="{FF2B5EF4-FFF2-40B4-BE49-F238E27FC236}">
                      <a16:creationId xmlns:a16="http://schemas.microsoft.com/office/drawing/2014/main" id="{111EC2BE-A170-2C4C-24C4-7A5DEFC15550}"/>
                    </a:ext>
                  </a:extLst>
                </p:cNvPr>
                <p:cNvSpPr/>
                <p:nvPr/>
              </p:nvSpPr>
              <p:spPr>
                <a:xfrm>
                  <a:off x="8874221" y="1484725"/>
                  <a:ext cx="26356" cy="26487"/>
                </a:xfrm>
                <a:custGeom>
                  <a:avLst/>
                  <a:gdLst>
                    <a:gd name="connsiteX0" fmla="*/ 25798 w 26356"/>
                    <a:gd name="connsiteY0" fmla="*/ 9668 h 26487"/>
                    <a:gd name="connsiteX1" fmla="*/ 16830 w 26356"/>
                    <a:gd name="connsiteY1" fmla="*/ 25985 h 26487"/>
                    <a:gd name="connsiteX2" fmla="*/ 513 w 26356"/>
                    <a:gd name="connsiteY2" fmla="*/ 16768 h 26487"/>
                    <a:gd name="connsiteX3" fmla="*/ 9481 w 26356"/>
                    <a:gd name="connsiteY3" fmla="*/ 451 h 26487"/>
                    <a:gd name="connsiteX4" fmla="*/ 25798 w 26356"/>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87">
                      <a:moveTo>
                        <a:pt x="25798" y="9668"/>
                      </a:moveTo>
                      <a:cubicBezTo>
                        <a:pt x="27916" y="16643"/>
                        <a:pt x="23805" y="23992"/>
                        <a:pt x="16830" y="25985"/>
                      </a:cubicBezTo>
                      <a:cubicBezTo>
                        <a:pt x="9855" y="27978"/>
                        <a:pt x="2506" y="23867"/>
                        <a:pt x="513" y="16768"/>
                      </a:cubicBezTo>
                      <a:cubicBezTo>
                        <a:pt x="-1480" y="9792"/>
                        <a:pt x="2506" y="2443"/>
                        <a:pt x="9481" y="451"/>
                      </a:cubicBezTo>
                      <a:cubicBezTo>
                        <a:pt x="16457" y="-1418"/>
                        <a:pt x="23805" y="2693"/>
                        <a:pt x="25798"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2" name="Graphic 2987">
                <a:extLst>
                  <a:ext uri="{FF2B5EF4-FFF2-40B4-BE49-F238E27FC236}">
                    <a16:creationId xmlns:a16="http://schemas.microsoft.com/office/drawing/2014/main" id="{FC7FE2A3-82FE-A3A0-84E0-49ADB32D2509}"/>
                  </a:ext>
                </a:extLst>
              </p:cNvPr>
              <p:cNvGrpSpPr/>
              <p:nvPr/>
            </p:nvGrpSpPr>
            <p:grpSpPr>
              <a:xfrm>
                <a:off x="8845946" y="1492644"/>
                <a:ext cx="60180" cy="144176"/>
                <a:chOff x="8845946" y="1492644"/>
                <a:chExt cx="60180" cy="144176"/>
              </a:xfrm>
              <a:grpFill/>
            </p:grpSpPr>
            <p:sp>
              <p:nvSpPr>
                <p:cNvPr id="6900" name="Freeform 7175">
                  <a:extLst>
                    <a:ext uri="{FF2B5EF4-FFF2-40B4-BE49-F238E27FC236}">
                      <a16:creationId xmlns:a16="http://schemas.microsoft.com/office/drawing/2014/main" id="{D6E63C87-8028-42AA-D01C-6A2E8CA2BC9F}"/>
                    </a:ext>
                  </a:extLst>
                </p:cNvPr>
                <p:cNvSpPr/>
                <p:nvPr/>
              </p:nvSpPr>
              <p:spPr>
                <a:xfrm>
                  <a:off x="8880636" y="1565515"/>
                  <a:ext cx="13676" cy="50321"/>
                </a:xfrm>
                <a:custGeom>
                  <a:avLst/>
                  <a:gdLst>
                    <a:gd name="connsiteX0" fmla="*/ 13654 w 13676"/>
                    <a:gd name="connsiteY0" fmla="*/ 50321 h 50321"/>
                    <a:gd name="connsiteX1" fmla="*/ 10415 w 13676"/>
                    <a:gd name="connsiteY1" fmla="*/ 31762 h 50321"/>
                    <a:gd name="connsiteX2" fmla="*/ 2443 w 13676"/>
                    <a:gd name="connsiteY2" fmla="*/ 16317 h 50321"/>
                    <a:gd name="connsiteX3" fmla="*/ 77 w 13676"/>
                    <a:gd name="connsiteY3" fmla="*/ 0 h 50321"/>
                  </a:gdLst>
                  <a:ahLst/>
                  <a:cxnLst>
                    <a:cxn ang="0">
                      <a:pos x="connsiteX0" y="connsiteY0"/>
                    </a:cxn>
                    <a:cxn ang="0">
                      <a:pos x="connsiteX1" y="connsiteY1"/>
                    </a:cxn>
                    <a:cxn ang="0">
                      <a:pos x="connsiteX2" y="connsiteY2"/>
                    </a:cxn>
                    <a:cxn ang="0">
                      <a:pos x="connsiteX3" y="connsiteY3"/>
                    </a:cxn>
                  </a:cxnLst>
                  <a:rect l="l" t="t" r="r" b="b"/>
                  <a:pathLst>
                    <a:path w="13676" h="50321">
                      <a:moveTo>
                        <a:pt x="13654" y="50321"/>
                      </a:moveTo>
                      <a:cubicBezTo>
                        <a:pt x="13903" y="41976"/>
                        <a:pt x="12035" y="35873"/>
                        <a:pt x="10415" y="31762"/>
                      </a:cubicBezTo>
                      <a:cubicBezTo>
                        <a:pt x="7799" y="25285"/>
                        <a:pt x="4810" y="22919"/>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1" name="Freeform 7176">
                  <a:extLst>
                    <a:ext uri="{FF2B5EF4-FFF2-40B4-BE49-F238E27FC236}">
                      <a16:creationId xmlns:a16="http://schemas.microsoft.com/office/drawing/2014/main" id="{458BB500-BE2F-A275-F005-40836FDFACA1}"/>
                    </a:ext>
                  </a:extLst>
                </p:cNvPr>
                <p:cNvSpPr/>
                <p:nvPr/>
              </p:nvSpPr>
              <p:spPr>
                <a:xfrm>
                  <a:off x="8873862" y="1572615"/>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2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6975" y="27901"/>
                        <a:pt x="8470" y="34752"/>
                      </a:cubicBezTo>
                      <a:cubicBezTo>
                        <a:pt x="9840" y="41478"/>
                        <a:pt x="12830" y="46585"/>
                        <a:pt x="1507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2" name="Freeform 7177">
                  <a:extLst>
                    <a:ext uri="{FF2B5EF4-FFF2-40B4-BE49-F238E27FC236}">
                      <a16:creationId xmlns:a16="http://schemas.microsoft.com/office/drawing/2014/main" id="{94CE3BB2-95AC-2990-246B-BBA5586A7BB0}"/>
                    </a:ext>
                  </a:extLst>
                </p:cNvPr>
                <p:cNvSpPr/>
                <p:nvPr/>
              </p:nvSpPr>
              <p:spPr>
                <a:xfrm>
                  <a:off x="8879338" y="1610351"/>
                  <a:ext cx="26788" cy="26469"/>
                </a:xfrm>
                <a:custGeom>
                  <a:avLst/>
                  <a:gdLst>
                    <a:gd name="connsiteX0" fmla="*/ 502 w 26788"/>
                    <a:gd name="connsiteY0" fmla="*/ 16820 h 26469"/>
                    <a:gd name="connsiteX1" fmla="*/ 9720 w 26788"/>
                    <a:gd name="connsiteY1" fmla="*/ 503 h 26469"/>
                    <a:gd name="connsiteX2" fmla="*/ 26286 w 26788"/>
                    <a:gd name="connsiteY2" fmla="*/ 9596 h 26469"/>
                    <a:gd name="connsiteX3" fmla="*/ 17069 w 26788"/>
                    <a:gd name="connsiteY3" fmla="*/ 25913 h 26469"/>
                    <a:gd name="connsiteX4" fmla="*/ 502 w 26788"/>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69">
                      <a:moveTo>
                        <a:pt x="502" y="16820"/>
                      </a:moveTo>
                      <a:cubicBezTo>
                        <a:pt x="-1490" y="9720"/>
                        <a:pt x="2620" y="2496"/>
                        <a:pt x="9720" y="503"/>
                      </a:cubicBezTo>
                      <a:cubicBezTo>
                        <a:pt x="16819" y="-1490"/>
                        <a:pt x="24169" y="2621"/>
                        <a:pt x="26286" y="9596"/>
                      </a:cubicBezTo>
                      <a:cubicBezTo>
                        <a:pt x="28279" y="16571"/>
                        <a:pt x="24169" y="23920"/>
                        <a:pt x="17069" y="25913"/>
                      </a:cubicBezTo>
                      <a:cubicBezTo>
                        <a:pt x="9844"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3" name="Freeform 7178">
                  <a:extLst>
                    <a:ext uri="{FF2B5EF4-FFF2-40B4-BE49-F238E27FC236}">
                      <a16:creationId xmlns:a16="http://schemas.microsoft.com/office/drawing/2014/main" id="{9688C7BE-BDC4-08EA-A506-9C47F0EDF301}"/>
                    </a:ext>
                  </a:extLst>
                </p:cNvPr>
                <p:cNvSpPr/>
                <p:nvPr/>
              </p:nvSpPr>
              <p:spPr>
                <a:xfrm>
                  <a:off x="8857539" y="1513699"/>
                  <a:ext cx="13660" cy="50321"/>
                </a:xfrm>
                <a:custGeom>
                  <a:avLst/>
                  <a:gdLst>
                    <a:gd name="connsiteX0" fmla="*/ 6 w 13660"/>
                    <a:gd name="connsiteY0" fmla="*/ 0 h 50321"/>
                    <a:gd name="connsiteX1" fmla="*/ 3245 w 13660"/>
                    <a:gd name="connsiteY1" fmla="*/ 18559 h 50321"/>
                    <a:gd name="connsiteX2" fmla="*/ 11217 w 13660"/>
                    <a:gd name="connsiteY2" fmla="*/ 34004 h 50321"/>
                    <a:gd name="connsiteX3" fmla="*/ 13583 w 13660"/>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60" h="50321">
                      <a:moveTo>
                        <a:pt x="6" y="0"/>
                      </a:moveTo>
                      <a:cubicBezTo>
                        <a:pt x="-118" y="8345"/>
                        <a:pt x="1626" y="14449"/>
                        <a:pt x="3245" y="18559"/>
                      </a:cubicBezTo>
                      <a:cubicBezTo>
                        <a:pt x="5861" y="25036"/>
                        <a:pt x="8726" y="27403"/>
                        <a:pt x="11217"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4" name="Freeform 7179">
                  <a:extLst>
                    <a:ext uri="{FF2B5EF4-FFF2-40B4-BE49-F238E27FC236}">
                      <a16:creationId xmlns:a16="http://schemas.microsoft.com/office/drawing/2014/main" id="{66DCF922-7BBD-1D7E-7CB5-D5A093FB1F17}"/>
                    </a:ext>
                  </a:extLst>
                </p:cNvPr>
                <p:cNvSpPr/>
                <p:nvPr/>
              </p:nvSpPr>
              <p:spPr>
                <a:xfrm>
                  <a:off x="8862776" y="1506973"/>
                  <a:ext cx="15071" cy="49947"/>
                </a:xfrm>
                <a:custGeom>
                  <a:avLst/>
                  <a:gdLst>
                    <a:gd name="connsiteX0" fmla="*/ 15072 w 15071"/>
                    <a:gd name="connsiteY0" fmla="*/ 49948 h 49947"/>
                    <a:gd name="connsiteX1" fmla="*/ 7972 w 15071"/>
                    <a:gd name="connsiteY1" fmla="*/ 32510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10"/>
                      </a:cubicBezTo>
                      <a:cubicBezTo>
                        <a:pt x="6851" y="25659"/>
                        <a:pt x="7972" y="22171"/>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5" name="Freeform 7180">
                  <a:extLst>
                    <a:ext uri="{FF2B5EF4-FFF2-40B4-BE49-F238E27FC236}">
                      <a16:creationId xmlns:a16="http://schemas.microsoft.com/office/drawing/2014/main" id="{7D7DC82B-1CF8-9420-2E29-C3C64D7298AC}"/>
                    </a:ext>
                  </a:extLst>
                </p:cNvPr>
                <p:cNvSpPr/>
                <p:nvPr/>
              </p:nvSpPr>
              <p:spPr>
                <a:xfrm>
                  <a:off x="8845946" y="1492644"/>
                  <a:ext cx="26311" cy="26539"/>
                </a:xfrm>
                <a:custGeom>
                  <a:avLst/>
                  <a:gdLst>
                    <a:gd name="connsiteX0" fmla="*/ 25798 w 26311"/>
                    <a:gd name="connsiteY0" fmla="*/ 9720 h 26539"/>
                    <a:gd name="connsiteX1" fmla="*/ 16830 w 26311"/>
                    <a:gd name="connsiteY1" fmla="*/ 26037 h 26539"/>
                    <a:gd name="connsiteX2" fmla="*/ 513 w 26311"/>
                    <a:gd name="connsiteY2" fmla="*/ 16820 h 26539"/>
                    <a:gd name="connsiteX3" fmla="*/ 9481 w 26311"/>
                    <a:gd name="connsiteY3" fmla="*/ 503 h 26539"/>
                    <a:gd name="connsiteX4" fmla="*/ 25798 w 2631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25798" y="9720"/>
                      </a:moveTo>
                      <a:cubicBezTo>
                        <a:pt x="27791" y="16695"/>
                        <a:pt x="23805" y="24044"/>
                        <a:pt x="16830" y="26037"/>
                      </a:cubicBezTo>
                      <a:cubicBezTo>
                        <a:pt x="9855" y="28030"/>
                        <a:pt x="2506" y="23919"/>
                        <a:pt x="513" y="16820"/>
                      </a:cubicBezTo>
                      <a:cubicBezTo>
                        <a:pt x="-1480" y="9720"/>
                        <a:pt x="2506" y="2495"/>
                        <a:pt x="9481" y="503"/>
                      </a:cubicBezTo>
                      <a:cubicBezTo>
                        <a:pt x="16457" y="-1490"/>
                        <a:pt x="23681" y="2620"/>
                        <a:pt x="25798"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3" name="Graphic 2987">
                <a:extLst>
                  <a:ext uri="{FF2B5EF4-FFF2-40B4-BE49-F238E27FC236}">
                    <a16:creationId xmlns:a16="http://schemas.microsoft.com/office/drawing/2014/main" id="{A62A395E-ADCA-99C7-D029-C74850FE3522}"/>
                  </a:ext>
                </a:extLst>
              </p:cNvPr>
              <p:cNvGrpSpPr/>
              <p:nvPr/>
            </p:nvGrpSpPr>
            <p:grpSpPr>
              <a:xfrm>
                <a:off x="8817433" y="1500616"/>
                <a:ext cx="59920" cy="144256"/>
                <a:chOff x="8817433" y="1500616"/>
                <a:chExt cx="59920" cy="144256"/>
              </a:xfrm>
              <a:grpFill/>
            </p:grpSpPr>
            <p:sp>
              <p:nvSpPr>
                <p:cNvPr id="6894" name="Freeform 7182">
                  <a:extLst>
                    <a:ext uri="{FF2B5EF4-FFF2-40B4-BE49-F238E27FC236}">
                      <a16:creationId xmlns:a16="http://schemas.microsoft.com/office/drawing/2014/main" id="{AA43A6B6-B0BF-EB3B-6923-3018952E4AD4}"/>
                    </a:ext>
                  </a:extLst>
                </p:cNvPr>
                <p:cNvSpPr/>
                <p:nvPr/>
              </p:nvSpPr>
              <p:spPr>
                <a:xfrm>
                  <a:off x="8852032" y="1573362"/>
                  <a:ext cx="13508" cy="50445"/>
                </a:xfrm>
                <a:custGeom>
                  <a:avLst/>
                  <a:gdLst>
                    <a:gd name="connsiteX0" fmla="*/ 13485 w 13508"/>
                    <a:gd name="connsiteY0" fmla="*/ 50446 h 50445"/>
                    <a:gd name="connsiteX1" fmla="*/ 10371 w 13508"/>
                    <a:gd name="connsiteY1" fmla="*/ 31887 h 50445"/>
                    <a:gd name="connsiteX2" fmla="*/ 2399 w 13508"/>
                    <a:gd name="connsiteY2" fmla="*/ 16317 h 50445"/>
                    <a:gd name="connsiteX3" fmla="*/ 33 w 13508"/>
                    <a:gd name="connsiteY3" fmla="*/ 0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50446"/>
                      </a:moveTo>
                      <a:cubicBezTo>
                        <a:pt x="13734" y="41976"/>
                        <a:pt x="11990" y="35997"/>
                        <a:pt x="10371" y="31887"/>
                      </a:cubicBezTo>
                      <a:cubicBezTo>
                        <a:pt x="7755" y="25410"/>
                        <a:pt x="4891" y="23043"/>
                        <a:pt x="2399" y="16317"/>
                      </a:cubicBezTo>
                      <a:cubicBezTo>
                        <a:pt x="33" y="9840"/>
                        <a:pt x="-92"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5" name="Freeform 7183">
                  <a:extLst>
                    <a:ext uri="{FF2B5EF4-FFF2-40B4-BE49-F238E27FC236}">
                      <a16:creationId xmlns:a16="http://schemas.microsoft.com/office/drawing/2014/main" id="{E0CAA4A9-17A3-BA45-639E-A2E625CB1157}"/>
                    </a:ext>
                  </a:extLst>
                </p:cNvPr>
                <p:cNvSpPr/>
                <p:nvPr/>
              </p:nvSpPr>
              <p:spPr>
                <a:xfrm>
                  <a:off x="8845214" y="1580586"/>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7"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6" name="Freeform 7184">
                  <a:extLst>
                    <a:ext uri="{FF2B5EF4-FFF2-40B4-BE49-F238E27FC236}">
                      <a16:creationId xmlns:a16="http://schemas.microsoft.com/office/drawing/2014/main" id="{FE134AB7-022F-26FF-E7DB-4F6028B746C1}"/>
                    </a:ext>
                  </a:extLst>
                </p:cNvPr>
                <p:cNvSpPr/>
                <p:nvPr/>
              </p:nvSpPr>
              <p:spPr>
                <a:xfrm>
                  <a:off x="8850575" y="1618447"/>
                  <a:ext cx="26778" cy="26425"/>
                </a:xfrm>
                <a:custGeom>
                  <a:avLst/>
                  <a:gdLst>
                    <a:gd name="connsiteX0" fmla="*/ 493 w 26778"/>
                    <a:gd name="connsiteY0" fmla="*/ 16820 h 26425"/>
                    <a:gd name="connsiteX1" fmla="*/ 9835 w 26778"/>
                    <a:gd name="connsiteY1" fmla="*/ 503 h 26425"/>
                    <a:gd name="connsiteX2" fmla="*/ 26276 w 26778"/>
                    <a:gd name="connsiteY2" fmla="*/ 9596 h 26425"/>
                    <a:gd name="connsiteX3" fmla="*/ 16935 w 26778"/>
                    <a:gd name="connsiteY3" fmla="*/ 25913 h 26425"/>
                    <a:gd name="connsiteX4" fmla="*/ 493 w 26778"/>
                    <a:gd name="connsiteY4" fmla="*/ 16820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424">
                      <a:moveTo>
                        <a:pt x="493" y="16820"/>
                      </a:moveTo>
                      <a:cubicBezTo>
                        <a:pt x="-1500" y="9720"/>
                        <a:pt x="2736" y="2496"/>
                        <a:pt x="9835" y="503"/>
                      </a:cubicBezTo>
                      <a:cubicBezTo>
                        <a:pt x="16935" y="-1490"/>
                        <a:pt x="24284" y="2621"/>
                        <a:pt x="26276" y="9596"/>
                      </a:cubicBezTo>
                      <a:cubicBezTo>
                        <a:pt x="28270" y="16696"/>
                        <a:pt x="24159" y="23920"/>
                        <a:pt x="16935" y="25913"/>
                      </a:cubicBezTo>
                      <a:cubicBezTo>
                        <a:pt x="9835" y="27906"/>
                        <a:pt x="2486" y="23920"/>
                        <a:pt x="49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7" name="Freeform 7185">
                  <a:extLst>
                    <a:ext uri="{FF2B5EF4-FFF2-40B4-BE49-F238E27FC236}">
                      <a16:creationId xmlns:a16="http://schemas.microsoft.com/office/drawing/2014/main" id="{7F823A95-5066-D621-3BD2-03B4B864B28E}"/>
                    </a:ext>
                  </a:extLst>
                </p:cNvPr>
                <p:cNvSpPr/>
                <p:nvPr/>
              </p:nvSpPr>
              <p:spPr>
                <a:xfrm>
                  <a:off x="8829122" y="1521671"/>
                  <a:ext cx="13508" cy="50445"/>
                </a:xfrm>
                <a:custGeom>
                  <a:avLst/>
                  <a:gdLst>
                    <a:gd name="connsiteX0" fmla="*/ 24 w 13508"/>
                    <a:gd name="connsiteY0" fmla="*/ 0 h 50445"/>
                    <a:gd name="connsiteX1" fmla="*/ 3138 w 13508"/>
                    <a:gd name="connsiteY1" fmla="*/ 18559 h 50445"/>
                    <a:gd name="connsiteX2" fmla="*/ 11109 w 13508"/>
                    <a:gd name="connsiteY2" fmla="*/ 34129 h 50445"/>
                    <a:gd name="connsiteX3" fmla="*/ 13476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24" y="0"/>
                      </a:moveTo>
                      <a:cubicBezTo>
                        <a:pt x="-225" y="8345"/>
                        <a:pt x="1519" y="14449"/>
                        <a:pt x="3138" y="18559"/>
                      </a:cubicBezTo>
                      <a:cubicBezTo>
                        <a:pt x="5753" y="25036"/>
                        <a:pt x="8618" y="27403"/>
                        <a:pt x="11109" y="34129"/>
                      </a:cubicBezTo>
                      <a:cubicBezTo>
                        <a:pt x="13476" y="40606"/>
                        <a:pt x="13600" y="46460"/>
                        <a:pt x="1347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8" name="Freeform 7186">
                  <a:extLst>
                    <a:ext uri="{FF2B5EF4-FFF2-40B4-BE49-F238E27FC236}">
                      <a16:creationId xmlns:a16="http://schemas.microsoft.com/office/drawing/2014/main" id="{A22E4787-361D-0B0A-D760-4A32C323E97C}"/>
                    </a:ext>
                  </a:extLst>
                </p:cNvPr>
                <p:cNvSpPr/>
                <p:nvPr/>
              </p:nvSpPr>
              <p:spPr>
                <a:xfrm>
                  <a:off x="8834502" y="1514944"/>
                  <a:ext cx="14822" cy="49947"/>
                </a:xfrm>
                <a:custGeom>
                  <a:avLst/>
                  <a:gdLst>
                    <a:gd name="connsiteX0" fmla="*/ 14822 w 14822"/>
                    <a:gd name="connsiteY0" fmla="*/ 49948 h 49947"/>
                    <a:gd name="connsiteX1" fmla="*/ 7847 w 14822"/>
                    <a:gd name="connsiteY1" fmla="*/ 32510 h 49947"/>
                    <a:gd name="connsiteX2" fmla="*/ 6476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1" y="22047"/>
                        <a:pt x="6476" y="15196"/>
                      </a:cubicBezTo>
                      <a:cubicBezTo>
                        <a:pt x="510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9" name="Freeform 7187">
                  <a:extLst>
                    <a:ext uri="{FF2B5EF4-FFF2-40B4-BE49-F238E27FC236}">
                      <a16:creationId xmlns:a16="http://schemas.microsoft.com/office/drawing/2014/main" id="{ACE787C0-1C80-D3F2-6512-726A1D767CCE}"/>
                    </a:ext>
                  </a:extLst>
                </p:cNvPr>
                <p:cNvSpPr/>
                <p:nvPr/>
              </p:nvSpPr>
              <p:spPr>
                <a:xfrm>
                  <a:off x="8817433" y="1500616"/>
                  <a:ext cx="26415" cy="26539"/>
                </a:xfrm>
                <a:custGeom>
                  <a:avLst/>
                  <a:gdLst>
                    <a:gd name="connsiteX0" fmla="*/ 25913 w 26415"/>
                    <a:gd name="connsiteY0" fmla="*/ 9720 h 26539"/>
                    <a:gd name="connsiteX1" fmla="*/ 16820 w 26415"/>
                    <a:gd name="connsiteY1" fmla="*/ 26037 h 26539"/>
                    <a:gd name="connsiteX2" fmla="*/ 503 w 26415"/>
                    <a:gd name="connsiteY2" fmla="*/ 16820 h 26539"/>
                    <a:gd name="connsiteX3" fmla="*/ 9596 w 26415"/>
                    <a:gd name="connsiteY3" fmla="*/ 503 h 26539"/>
                    <a:gd name="connsiteX4" fmla="*/ 25913 w 2641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9720"/>
                      </a:moveTo>
                      <a:cubicBezTo>
                        <a:pt x="27906" y="16820"/>
                        <a:pt x="23795" y="24044"/>
                        <a:pt x="16820" y="26037"/>
                      </a:cubicBezTo>
                      <a:cubicBezTo>
                        <a:pt x="9845" y="28030"/>
                        <a:pt x="2496" y="23919"/>
                        <a:pt x="503" y="16820"/>
                      </a:cubicBezTo>
                      <a:cubicBezTo>
                        <a:pt x="-1490" y="9720"/>
                        <a:pt x="2620" y="2495"/>
                        <a:pt x="9596" y="503"/>
                      </a:cubicBezTo>
                      <a:cubicBezTo>
                        <a:pt x="16695" y="-1490"/>
                        <a:pt x="23920" y="2620"/>
                        <a:pt x="2591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4" name="Graphic 2987">
                <a:extLst>
                  <a:ext uri="{FF2B5EF4-FFF2-40B4-BE49-F238E27FC236}">
                    <a16:creationId xmlns:a16="http://schemas.microsoft.com/office/drawing/2014/main" id="{99B530C3-9D7B-01AD-EC9F-6D9AA1BA8F4A}"/>
                  </a:ext>
                </a:extLst>
              </p:cNvPr>
              <p:cNvGrpSpPr/>
              <p:nvPr/>
            </p:nvGrpSpPr>
            <p:grpSpPr>
              <a:xfrm>
                <a:off x="8789283" y="1508515"/>
                <a:ext cx="59289" cy="144516"/>
                <a:chOff x="8789283" y="1508515"/>
                <a:chExt cx="59289" cy="144516"/>
              </a:xfrm>
              <a:grpFill/>
            </p:grpSpPr>
            <p:sp>
              <p:nvSpPr>
                <p:cNvPr id="6888" name="Freeform 7189">
                  <a:extLst>
                    <a:ext uri="{FF2B5EF4-FFF2-40B4-BE49-F238E27FC236}">
                      <a16:creationId xmlns:a16="http://schemas.microsoft.com/office/drawing/2014/main" id="{B3079020-CB84-7D33-A2A5-F5373AF3E621}"/>
                    </a:ext>
                  </a:extLst>
                </p:cNvPr>
                <p:cNvSpPr/>
                <p:nvPr/>
              </p:nvSpPr>
              <p:spPr>
                <a:xfrm>
                  <a:off x="8823451" y="1581458"/>
                  <a:ext cx="13317" cy="50445"/>
                </a:xfrm>
                <a:custGeom>
                  <a:avLst/>
                  <a:gdLst>
                    <a:gd name="connsiteX0" fmla="*/ 13293 w 13317"/>
                    <a:gd name="connsiteY0" fmla="*/ 50446 h 50445"/>
                    <a:gd name="connsiteX1" fmla="*/ 10180 w 13317"/>
                    <a:gd name="connsiteY1" fmla="*/ 31887 h 50445"/>
                    <a:gd name="connsiteX2" fmla="*/ 2332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2" y="41976"/>
                        <a:pt x="11799" y="35873"/>
                        <a:pt x="10180" y="31887"/>
                      </a:cubicBezTo>
                      <a:cubicBezTo>
                        <a:pt x="7564" y="25410"/>
                        <a:pt x="4699" y="23043"/>
                        <a:pt x="2332"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9" name="Freeform 7190">
                  <a:extLst>
                    <a:ext uri="{FF2B5EF4-FFF2-40B4-BE49-F238E27FC236}">
                      <a16:creationId xmlns:a16="http://schemas.microsoft.com/office/drawing/2014/main" id="{17D7A3A7-A069-BC13-4328-B5E315C152F0}"/>
                    </a:ext>
                  </a:extLst>
                </p:cNvPr>
                <p:cNvSpPr/>
                <p:nvPr/>
              </p:nvSpPr>
              <p:spPr>
                <a:xfrm>
                  <a:off x="8816690" y="1588683"/>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4"/>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0" name="Freeform 7191">
                  <a:extLst>
                    <a:ext uri="{FF2B5EF4-FFF2-40B4-BE49-F238E27FC236}">
                      <a16:creationId xmlns:a16="http://schemas.microsoft.com/office/drawing/2014/main" id="{8CE0B2A6-4C61-3E0E-08A1-D934A78E4222}"/>
                    </a:ext>
                  </a:extLst>
                </p:cNvPr>
                <p:cNvSpPr/>
                <p:nvPr/>
              </p:nvSpPr>
              <p:spPr>
                <a:xfrm>
                  <a:off x="8821802" y="1626419"/>
                  <a:ext cx="26769" cy="26611"/>
                </a:xfrm>
                <a:custGeom>
                  <a:avLst/>
                  <a:gdLst>
                    <a:gd name="connsiteX0" fmla="*/ 493 w 26769"/>
                    <a:gd name="connsiteY0" fmla="*/ 16944 h 26611"/>
                    <a:gd name="connsiteX1" fmla="*/ 9835 w 26769"/>
                    <a:gd name="connsiteY1" fmla="*/ 503 h 26611"/>
                    <a:gd name="connsiteX2" fmla="*/ 26276 w 26769"/>
                    <a:gd name="connsiteY2" fmla="*/ 9720 h 26611"/>
                    <a:gd name="connsiteX3" fmla="*/ 16935 w 26769"/>
                    <a:gd name="connsiteY3" fmla="*/ 26161 h 26611"/>
                    <a:gd name="connsiteX4" fmla="*/ 493 w 26769"/>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11">
                      <a:moveTo>
                        <a:pt x="493" y="16944"/>
                      </a:moveTo>
                      <a:cubicBezTo>
                        <a:pt x="-1500" y="9844"/>
                        <a:pt x="2735" y="2495"/>
                        <a:pt x="9835" y="503"/>
                      </a:cubicBezTo>
                      <a:cubicBezTo>
                        <a:pt x="16935" y="-1490"/>
                        <a:pt x="24284" y="2620"/>
                        <a:pt x="26276" y="9720"/>
                      </a:cubicBezTo>
                      <a:cubicBezTo>
                        <a:pt x="28270" y="16820"/>
                        <a:pt x="24035" y="24044"/>
                        <a:pt x="16935" y="26161"/>
                      </a:cubicBezTo>
                      <a:cubicBezTo>
                        <a:pt x="9711" y="28030"/>
                        <a:pt x="2362" y="23919"/>
                        <a:pt x="493"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1" name="Freeform 7192">
                  <a:extLst>
                    <a:ext uri="{FF2B5EF4-FFF2-40B4-BE49-F238E27FC236}">
                      <a16:creationId xmlns:a16="http://schemas.microsoft.com/office/drawing/2014/main" id="{6DC6FE4F-5875-5A59-E880-8C723AD1E767}"/>
                    </a:ext>
                  </a:extLst>
                </p:cNvPr>
                <p:cNvSpPr/>
                <p:nvPr/>
              </p:nvSpPr>
              <p:spPr>
                <a:xfrm>
                  <a:off x="8800723" y="1529642"/>
                  <a:ext cx="13317" cy="50445"/>
                </a:xfrm>
                <a:custGeom>
                  <a:avLst/>
                  <a:gdLst>
                    <a:gd name="connsiteX0" fmla="*/ 24 w 13317"/>
                    <a:gd name="connsiteY0" fmla="*/ 0 h 50445"/>
                    <a:gd name="connsiteX1" fmla="*/ 3138 w 13317"/>
                    <a:gd name="connsiteY1" fmla="*/ 18559 h 50445"/>
                    <a:gd name="connsiteX2" fmla="*/ 10985 w 13317"/>
                    <a:gd name="connsiteY2" fmla="*/ 34129 h 50445"/>
                    <a:gd name="connsiteX3" fmla="*/ 13227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24" y="0"/>
                      </a:moveTo>
                      <a:cubicBezTo>
                        <a:pt x="-225" y="8470"/>
                        <a:pt x="1519" y="14573"/>
                        <a:pt x="3138" y="18559"/>
                      </a:cubicBezTo>
                      <a:cubicBezTo>
                        <a:pt x="5754"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2" name="Freeform 7193">
                  <a:extLst>
                    <a:ext uri="{FF2B5EF4-FFF2-40B4-BE49-F238E27FC236}">
                      <a16:creationId xmlns:a16="http://schemas.microsoft.com/office/drawing/2014/main" id="{C395B228-91FC-CA68-CEBC-F975A34EE8FC}"/>
                    </a:ext>
                  </a:extLst>
                </p:cNvPr>
                <p:cNvSpPr/>
                <p:nvPr/>
              </p:nvSpPr>
              <p:spPr>
                <a:xfrm>
                  <a:off x="8806103" y="1522792"/>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214" y="42972"/>
                        <a:pt x="8470"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3" name="Freeform 7194">
                  <a:extLst>
                    <a:ext uri="{FF2B5EF4-FFF2-40B4-BE49-F238E27FC236}">
                      <a16:creationId xmlns:a16="http://schemas.microsoft.com/office/drawing/2014/main" id="{32779702-1F26-E1F2-4DA1-2936AA92A7D9}"/>
                    </a:ext>
                  </a:extLst>
                </p:cNvPr>
                <p:cNvSpPr/>
                <p:nvPr/>
              </p:nvSpPr>
              <p:spPr>
                <a:xfrm>
                  <a:off x="8789283" y="1508515"/>
                  <a:ext cx="26291" cy="26487"/>
                </a:xfrm>
                <a:custGeom>
                  <a:avLst/>
                  <a:gdLst>
                    <a:gd name="connsiteX0" fmla="*/ 25789 w 26291"/>
                    <a:gd name="connsiteY0" fmla="*/ 9668 h 26487"/>
                    <a:gd name="connsiteX1" fmla="*/ 16695 w 26291"/>
                    <a:gd name="connsiteY1" fmla="*/ 25985 h 26487"/>
                    <a:gd name="connsiteX2" fmla="*/ 503 w 26291"/>
                    <a:gd name="connsiteY2" fmla="*/ 16768 h 26487"/>
                    <a:gd name="connsiteX3" fmla="*/ 9596 w 26291"/>
                    <a:gd name="connsiteY3" fmla="*/ 451 h 26487"/>
                    <a:gd name="connsiteX4" fmla="*/ 25789 w 26291"/>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25789" y="9668"/>
                      </a:moveTo>
                      <a:cubicBezTo>
                        <a:pt x="27781" y="16768"/>
                        <a:pt x="23671" y="23992"/>
                        <a:pt x="16695" y="25985"/>
                      </a:cubicBezTo>
                      <a:cubicBezTo>
                        <a:pt x="9720" y="27978"/>
                        <a:pt x="2372" y="23867"/>
                        <a:pt x="503" y="16768"/>
                      </a:cubicBezTo>
                      <a:cubicBezTo>
                        <a:pt x="-1490" y="9668"/>
                        <a:pt x="2620" y="2443"/>
                        <a:pt x="9596" y="451"/>
                      </a:cubicBezTo>
                      <a:cubicBezTo>
                        <a:pt x="16571" y="-1418"/>
                        <a:pt x="23795" y="2693"/>
                        <a:pt x="25789"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5" name="Graphic 2987">
                <a:extLst>
                  <a:ext uri="{FF2B5EF4-FFF2-40B4-BE49-F238E27FC236}">
                    <a16:creationId xmlns:a16="http://schemas.microsoft.com/office/drawing/2014/main" id="{DD073EE1-CD74-E1B4-324C-11FAD5C5FCC4}"/>
                  </a:ext>
                </a:extLst>
              </p:cNvPr>
              <p:cNvGrpSpPr/>
              <p:nvPr/>
            </p:nvGrpSpPr>
            <p:grpSpPr>
              <a:xfrm>
                <a:off x="8760768" y="1516435"/>
                <a:ext cx="58905" cy="144692"/>
                <a:chOff x="8760768" y="1516435"/>
                <a:chExt cx="58905" cy="144692"/>
              </a:xfrm>
              <a:grpFill/>
            </p:grpSpPr>
            <p:sp>
              <p:nvSpPr>
                <p:cNvPr id="6882" name="Freeform 7196">
                  <a:extLst>
                    <a:ext uri="{FF2B5EF4-FFF2-40B4-BE49-F238E27FC236}">
                      <a16:creationId xmlns:a16="http://schemas.microsoft.com/office/drawing/2014/main" id="{7FBF3CE5-41E7-4DD9-30B1-8CCAC35BDB30}"/>
                    </a:ext>
                  </a:extLst>
                </p:cNvPr>
                <p:cNvSpPr/>
                <p:nvPr/>
              </p:nvSpPr>
              <p:spPr>
                <a:xfrm>
                  <a:off x="8794815" y="1589555"/>
                  <a:ext cx="13181" cy="50445"/>
                </a:xfrm>
                <a:custGeom>
                  <a:avLst/>
                  <a:gdLst>
                    <a:gd name="connsiteX0" fmla="*/ 13156 w 13181"/>
                    <a:gd name="connsiteY0" fmla="*/ 50446 h 50445"/>
                    <a:gd name="connsiteX1" fmla="*/ 10167 w 13181"/>
                    <a:gd name="connsiteY1" fmla="*/ 31887 h 50445"/>
                    <a:gd name="connsiteX2" fmla="*/ 2320 w 13181"/>
                    <a:gd name="connsiteY2" fmla="*/ 16317 h 50445"/>
                    <a:gd name="connsiteX3" fmla="*/ 78 w 13181"/>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50446"/>
                      </a:moveTo>
                      <a:cubicBezTo>
                        <a:pt x="13405" y="41976"/>
                        <a:pt x="11786" y="35873"/>
                        <a:pt x="10167" y="31887"/>
                      </a:cubicBezTo>
                      <a:cubicBezTo>
                        <a:pt x="7551" y="25410"/>
                        <a:pt x="4686" y="23043"/>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3" name="Freeform 7197">
                  <a:extLst>
                    <a:ext uri="{FF2B5EF4-FFF2-40B4-BE49-F238E27FC236}">
                      <a16:creationId xmlns:a16="http://schemas.microsoft.com/office/drawing/2014/main" id="{A307EA46-7B8A-3AEB-D980-EB8DB2922B29}"/>
                    </a:ext>
                  </a:extLst>
                </p:cNvPr>
                <p:cNvSpPr/>
                <p:nvPr/>
              </p:nvSpPr>
              <p:spPr>
                <a:xfrm>
                  <a:off x="8788042" y="1596654"/>
                  <a:ext cx="14449" cy="50196"/>
                </a:xfrm>
                <a:custGeom>
                  <a:avLst/>
                  <a:gdLst>
                    <a:gd name="connsiteX0" fmla="*/ 0 w 14449"/>
                    <a:gd name="connsiteY0" fmla="*/ 0 h 50196"/>
                    <a:gd name="connsiteX1" fmla="*/ 6851 w 14449"/>
                    <a:gd name="connsiteY1" fmla="*/ 17563 h 50196"/>
                    <a:gd name="connsiteX2" fmla="*/ 8097 w 14449"/>
                    <a:gd name="connsiteY2" fmla="*/ 35001 h 50196"/>
                    <a:gd name="connsiteX3" fmla="*/ 14449 w 1444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9" h="50196">
                      <a:moveTo>
                        <a:pt x="0" y="0"/>
                      </a:moveTo>
                      <a:cubicBezTo>
                        <a:pt x="4485" y="7100"/>
                        <a:pt x="6228" y="13203"/>
                        <a:pt x="6851" y="17563"/>
                      </a:cubicBezTo>
                      <a:cubicBezTo>
                        <a:pt x="7972" y="24538"/>
                        <a:pt x="6727" y="28025"/>
                        <a:pt x="8097" y="35001"/>
                      </a:cubicBezTo>
                      <a:cubicBezTo>
                        <a:pt x="9467" y="41727"/>
                        <a:pt x="12332"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4" name="Freeform 7198">
                  <a:extLst>
                    <a:ext uri="{FF2B5EF4-FFF2-40B4-BE49-F238E27FC236}">
                      <a16:creationId xmlns:a16="http://schemas.microsoft.com/office/drawing/2014/main" id="{3F9DCCF9-20C7-3C37-808F-59D1FDB91F7B}"/>
                    </a:ext>
                  </a:extLst>
                </p:cNvPr>
                <p:cNvSpPr/>
                <p:nvPr/>
              </p:nvSpPr>
              <p:spPr>
                <a:xfrm>
                  <a:off x="8793072" y="1634516"/>
                  <a:ext cx="26601" cy="26611"/>
                </a:xfrm>
                <a:custGeom>
                  <a:avLst/>
                  <a:gdLst>
                    <a:gd name="connsiteX0" fmla="*/ 450 w 26601"/>
                    <a:gd name="connsiteY0" fmla="*/ 16944 h 26611"/>
                    <a:gd name="connsiteX1" fmla="*/ 9792 w 26601"/>
                    <a:gd name="connsiteY1" fmla="*/ 503 h 26611"/>
                    <a:gd name="connsiteX2" fmla="*/ 26109 w 26601"/>
                    <a:gd name="connsiteY2" fmla="*/ 9720 h 26611"/>
                    <a:gd name="connsiteX3" fmla="*/ 16767 w 26601"/>
                    <a:gd name="connsiteY3" fmla="*/ 26161 h 26611"/>
                    <a:gd name="connsiteX4" fmla="*/ 450 w 26601"/>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11">
                      <a:moveTo>
                        <a:pt x="450" y="16944"/>
                      </a:moveTo>
                      <a:cubicBezTo>
                        <a:pt x="-1418" y="9844"/>
                        <a:pt x="2692" y="2495"/>
                        <a:pt x="9792" y="503"/>
                      </a:cubicBezTo>
                      <a:cubicBezTo>
                        <a:pt x="16892" y="-1490"/>
                        <a:pt x="24241" y="2620"/>
                        <a:pt x="26109" y="9720"/>
                      </a:cubicBezTo>
                      <a:cubicBezTo>
                        <a:pt x="28102" y="16820"/>
                        <a:pt x="23867" y="24168"/>
                        <a:pt x="16767" y="26161"/>
                      </a:cubicBezTo>
                      <a:cubicBezTo>
                        <a:pt x="9667" y="28030"/>
                        <a:pt x="2319" y="23919"/>
                        <a:pt x="450"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5" name="Freeform 7199">
                  <a:extLst>
                    <a:ext uri="{FF2B5EF4-FFF2-40B4-BE49-F238E27FC236}">
                      <a16:creationId xmlns:a16="http://schemas.microsoft.com/office/drawing/2014/main" id="{BD8C51E0-5720-5D2B-91A1-6489814FCB28}"/>
                    </a:ext>
                  </a:extLst>
                </p:cNvPr>
                <p:cNvSpPr/>
                <p:nvPr/>
              </p:nvSpPr>
              <p:spPr>
                <a:xfrm>
                  <a:off x="8772446" y="1537489"/>
                  <a:ext cx="13057" cy="50445"/>
                </a:xfrm>
                <a:custGeom>
                  <a:avLst/>
                  <a:gdLst>
                    <a:gd name="connsiteX0" fmla="*/ 25 w 13057"/>
                    <a:gd name="connsiteY0" fmla="*/ 0 h 50445"/>
                    <a:gd name="connsiteX1" fmla="*/ 3015 w 13057"/>
                    <a:gd name="connsiteY1" fmla="*/ 18559 h 50445"/>
                    <a:gd name="connsiteX2" fmla="*/ 10738 w 13057"/>
                    <a:gd name="connsiteY2" fmla="*/ 34129 h 50445"/>
                    <a:gd name="connsiteX3" fmla="*/ 12980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25" y="0"/>
                      </a:moveTo>
                      <a:cubicBezTo>
                        <a:pt x="-223" y="8470"/>
                        <a:pt x="1396" y="14573"/>
                        <a:pt x="3015" y="18559"/>
                      </a:cubicBezTo>
                      <a:cubicBezTo>
                        <a:pt x="5631" y="25036"/>
                        <a:pt x="8495" y="27403"/>
                        <a:pt x="10738" y="34129"/>
                      </a:cubicBezTo>
                      <a:cubicBezTo>
                        <a:pt x="12980" y="40606"/>
                        <a:pt x="13228" y="46585"/>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6" name="Freeform 7200">
                  <a:extLst>
                    <a:ext uri="{FF2B5EF4-FFF2-40B4-BE49-F238E27FC236}">
                      <a16:creationId xmlns:a16="http://schemas.microsoft.com/office/drawing/2014/main" id="{42EA4779-1428-F8A4-0902-21FF643CB478}"/>
                    </a:ext>
                  </a:extLst>
                </p:cNvPr>
                <p:cNvSpPr/>
                <p:nvPr/>
              </p:nvSpPr>
              <p:spPr>
                <a:xfrm>
                  <a:off x="8777828" y="1530639"/>
                  <a:ext cx="14449" cy="50196"/>
                </a:xfrm>
                <a:custGeom>
                  <a:avLst/>
                  <a:gdLst>
                    <a:gd name="connsiteX0" fmla="*/ 14449 w 14449"/>
                    <a:gd name="connsiteY0" fmla="*/ 50197 h 50196"/>
                    <a:gd name="connsiteX1" fmla="*/ 7599 w 14449"/>
                    <a:gd name="connsiteY1" fmla="*/ 32634 h 50196"/>
                    <a:gd name="connsiteX2" fmla="*/ 6353 w 14449"/>
                    <a:gd name="connsiteY2" fmla="*/ 15196 h 50196"/>
                    <a:gd name="connsiteX3" fmla="*/ 0 w 14449"/>
                    <a:gd name="connsiteY3" fmla="*/ 0 h 50196"/>
                  </a:gdLst>
                  <a:ahLst/>
                  <a:cxnLst>
                    <a:cxn ang="0">
                      <a:pos x="connsiteX0" y="connsiteY0"/>
                    </a:cxn>
                    <a:cxn ang="0">
                      <a:pos x="connsiteX1" y="connsiteY1"/>
                    </a:cxn>
                    <a:cxn ang="0">
                      <a:pos x="connsiteX2" y="connsiteY2"/>
                    </a:cxn>
                    <a:cxn ang="0">
                      <a:pos x="connsiteX3" y="connsiteY3"/>
                    </a:cxn>
                  </a:cxnLst>
                  <a:rect l="l" t="t" r="r" b="b"/>
                  <a:pathLst>
                    <a:path w="14449" h="50196">
                      <a:moveTo>
                        <a:pt x="14449" y="50197"/>
                      </a:moveTo>
                      <a:cubicBezTo>
                        <a:pt x="9965" y="43097"/>
                        <a:pt x="8221" y="36994"/>
                        <a:pt x="7599" y="32634"/>
                      </a:cubicBezTo>
                      <a:cubicBezTo>
                        <a:pt x="6477" y="25659"/>
                        <a:pt x="7723" y="22171"/>
                        <a:pt x="6353" y="15196"/>
                      </a:cubicBezTo>
                      <a:cubicBezTo>
                        <a:pt x="4983"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7" name="Freeform 7201">
                  <a:extLst>
                    <a:ext uri="{FF2B5EF4-FFF2-40B4-BE49-F238E27FC236}">
                      <a16:creationId xmlns:a16="http://schemas.microsoft.com/office/drawing/2014/main" id="{1A863126-FBE2-D241-D824-754786182527}"/>
                    </a:ext>
                  </a:extLst>
                </p:cNvPr>
                <p:cNvSpPr/>
                <p:nvPr/>
              </p:nvSpPr>
              <p:spPr>
                <a:xfrm>
                  <a:off x="8760768" y="1516435"/>
                  <a:ext cx="26405" cy="26539"/>
                </a:xfrm>
                <a:custGeom>
                  <a:avLst/>
                  <a:gdLst>
                    <a:gd name="connsiteX0" fmla="*/ 25903 w 26405"/>
                    <a:gd name="connsiteY0" fmla="*/ 9720 h 26539"/>
                    <a:gd name="connsiteX1" fmla="*/ 16686 w 26405"/>
                    <a:gd name="connsiteY1" fmla="*/ 26037 h 26539"/>
                    <a:gd name="connsiteX2" fmla="*/ 494 w 26405"/>
                    <a:gd name="connsiteY2" fmla="*/ 16820 h 26539"/>
                    <a:gd name="connsiteX3" fmla="*/ 9711 w 26405"/>
                    <a:gd name="connsiteY3" fmla="*/ 503 h 26539"/>
                    <a:gd name="connsiteX4" fmla="*/ 25903 w 2640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8">
                      <a:moveTo>
                        <a:pt x="25903" y="9720"/>
                      </a:moveTo>
                      <a:cubicBezTo>
                        <a:pt x="27897" y="16820"/>
                        <a:pt x="23786" y="24044"/>
                        <a:pt x="16686" y="26037"/>
                      </a:cubicBezTo>
                      <a:cubicBezTo>
                        <a:pt x="9711" y="28030"/>
                        <a:pt x="2486" y="23919"/>
                        <a:pt x="494" y="16820"/>
                      </a:cubicBezTo>
                      <a:cubicBezTo>
                        <a:pt x="-1500" y="9720"/>
                        <a:pt x="2736" y="2495"/>
                        <a:pt x="9711" y="503"/>
                      </a:cubicBezTo>
                      <a:cubicBezTo>
                        <a:pt x="16811" y="-1490"/>
                        <a:pt x="24035" y="2620"/>
                        <a:pt x="2590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6" name="Graphic 2987">
                <a:extLst>
                  <a:ext uri="{FF2B5EF4-FFF2-40B4-BE49-F238E27FC236}">
                    <a16:creationId xmlns:a16="http://schemas.microsoft.com/office/drawing/2014/main" id="{A066D49F-F3A0-49EA-6D7D-9E540E686568}"/>
                  </a:ext>
                </a:extLst>
              </p:cNvPr>
              <p:cNvGrpSpPr/>
              <p:nvPr/>
            </p:nvGrpSpPr>
            <p:grpSpPr>
              <a:xfrm>
                <a:off x="8732661" y="1524450"/>
                <a:ext cx="58196" cy="144701"/>
                <a:chOff x="8732661" y="1524450"/>
                <a:chExt cx="58196" cy="144701"/>
              </a:xfrm>
              <a:grpFill/>
            </p:grpSpPr>
            <p:sp>
              <p:nvSpPr>
                <p:cNvPr id="6876" name="Freeform 7203">
                  <a:extLst>
                    <a:ext uri="{FF2B5EF4-FFF2-40B4-BE49-F238E27FC236}">
                      <a16:creationId xmlns:a16="http://schemas.microsoft.com/office/drawing/2014/main" id="{CDE8E1F7-A122-CB10-7EB8-1D9A5836B543}"/>
                    </a:ext>
                  </a:extLst>
                </p:cNvPr>
                <p:cNvSpPr/>
                <p:nvPr/>
              </p:nvSpPr>
              <p:spPr>
                <a:xfrm>
                  <a:off x="8766211" y="1597526"/>
                  <a:ext cx="13012" cy="50570"/>
                </a:xfrm>
                <a:custGeom>
                  <a:avLst/>
                  <a:gdLst>
                    <a:gd name="connsiteX0" fmla="*/ 12987 w 13012"/>
                    <a:gd name="connsiteY0" fmla="*/ 50570 h 50570"/>
                    <a:gd name="connsiteX1" fmla="*/ 9998 w 13012"/>
                    <a:gd name="connsiteY1" fmla="*/ 32011 h 50570"/>
                    <a:gd name="connsiteX2" fmla="*/ 2275 w 13012"/>
                    <a:gd name="connsiteY2" fmla="*/ 16442 h 50570"/>
                    <a:gd name="connsiteX3" fmla="*/ 33 w 13012"/>
                    <a:gd name="connsiteY3" fmla="*/ 0 h 50570"/>
                  </a:gdLst>
                  <a:ahLst/>
                  <a:cxnLst>
                    <a:cxn ang="0">
                      <a:pos x="connsiteX0" y="connsiteY0"/>
                    </a:cxn>
                    <a:cxn ang="0">
                      <a:pos x="connsiteX1" y="connsiteY1"/>
                    </a:cxn>
                    <a:cxn ang="0">
                      <a:pos x="connsiteX2" y="connsiteY2"/>
                    </a:cxn>
                    <a:cxn ang="0">
                      <a:pos x="connsiteX3" y="connsiteY3"/>
                    </a:cxn>
                  </a:cxnLst>
                  <a:rect l="l" t="t" r="r" b="b"/>
                  <a:pathLst>
                    <a:path w="13011" h="50570">
                      <a:moveTo>
                        <a:pt x="12987" y="50570"/>
                      </a:moveTo>
                      <a:cubicBezTo>
                        <a:pt x="13236" y="42101"/>
                        <a:pt x="11617" y="35997"/>
                        <a:pt x="9998" y="32011"/>
                      </a:cubicBezTo>
                      <a:cubicBezTo>
                        <a:pt x="7382" y="25534"/>
                        <a:pt x="4517" y="23168"/>
                        <a:pt x="2275" y="16442"/>
                      </a:cubicBezTo>
                      <a:cubicBezTo>
                        <a:pt x="33" y="9965"/>
                        <a:pt x="-91"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7" name="Freeform 7204">
                  <a:extLst>
                    <a:ext uri="{FF2B5EF4-FFF2-40B4-BE49-F238E27FC236}">
                      <a16:creationId xmlns:a16="http://schemas.microsoft.com/office/drawing/2014/main" id="{B0D4698E-AC58-0E0B-908B-28938DE6C31C}"/>
                    </a:ext>
                  </a:extLst>
                </p:cNvPr>
                <p:cNvSpPr/>
                <p:nvPr/>
              </p:nvSpPr>
              <p:spPr>
                <a:xfrm>
                  <a:off x="8759518" y="1604626"/>
                  <a:ext cx="14199" cy="50196"/>
                </a:xfrm>
                <a:custGeom>
                  <a:avLst/>
                  <a:gdLst>
                    <a:gd name="connsiteX0" fmla="*/ 0 w 14199"/>
                    <a:gd name="connsiteY0" fmla="*/ 0 h 50196"/>
                    <a:gd name="connsiteX1" fmla="*/ 6726 w 14199"/>
                    <a:gd name="connsiteY1" fmla="*/ 17563 h 50196"/>
                    <a:gd name="connsiteX2" fmla="*/ 7847 w 14199"/>
                    <a:gd name="connsiteY2" fmla="*/ 35001 h 50196"/>
                    <a:gd name="connsiteX3" fmla="*/ 1420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0" y="0"/>
                      </a:moveTo>
                      <a:cubicBezTo>
                        <a:pt x="4484" y="7100"/>
                        <a:pt x="6103" y="13203"/>
                        <a:pt x="6726" y="17563"/>
                      </a:cubicBezTo>
                      <a:cubicBezTo>
                        <a:pt x="7723" y="24538"/>
                        <a:pt x="6477" y="28025"/>
                        <a:pt x="7847" y="35001"/>
                      </a:cubicBezTo>
                      <a:cubicBezTo>
                        <a:pt x="9217" y="41727"/>
                        <a:pt x="11958" y="46958"/>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8" name="Freeform 7205">
                  <a:extLst>
                    <a:ext uri="{FF2B5EF4-FFF2-40B4-BE49-F238E27FC236}">
                      <a16:creationId xmlns:a16="http://schemas.microsoft.com/office/drawing/2014/main" id="{F6BAA01C-EFD4-3AAF-A476-3FEA19E75A08}"/>
                    </a:ext>
                  </a:extLst>
                </p:cNvPr>
                <p:cNvSpPr/>
                <p:nvPr/>
              </p:nvSpPr>
              <p:spPr>
                <a:xfrm>
                  <a:off x="8764183" y="1642487"/>
                  <a:ext cx="26674" cy="26663"/>
                </a:xfrm>
                <a:custGeom>
                  <a:avLst/>
                  <a:gdLst>
                    <a:gd name="connsiteX0" fmla="*/ 441 w 26674"/>
                    <a:gd name="connsiteY0" fmla="*/ 16944 h 26663"/>
                    <a:gd name="connsiteX1" fmla="*/ 9908 w 26674"/>
                    <a:gd name="connsiteY1" fmla="*/ 503 h 26663"/>
                    <a:gd name="connsiteX2" fmla="*/ 26225 w 26674"/>
                    <a:gd name="connsiteY2" fmla="*/ 9720 h 26663"/>
                    <a:gd name="connsiteX3" fmla="*/ 16758 w 26674"/>
                    <a:gd name="connsiteY3" fmla="*/ 26161 h 26663"/>
                    <a:gd name="connsiteX4" fmla="*/ 441 w 26674"/>
                    <a:gd name="connsiteY4" fmla="*/ 16944 h 26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63">
                      <a:moveTo>
                        <a:pt x="441" y="16944"/>
                      </a:moveTo>
                      <a:cubicBezTo>
                        <a:pt x="-1427" y="9844"/>
                        <a:pt x="2808" y="2495"/>
                        <a:pt x="9908" y="503"/>
                      </a:cubicBezTo>
                      <a:cubicBezTo>
                        <a:pt x="17008" y="-1490"/>
                        <a:pt x="24357" y="2620"/>
                        <a:pt x="26225" y="9720"/>
                      </a:cubicBezTo>
                      <a:cubicBezTo>
                        <a:pt x="28093" y="16820"/>
                        <a:pt x="23983" y="24168"/>
                        <a:pt x="16758" y="26161"/>
                      </a:cubicBezTo>
                      <a:cubicBezTo>
                        <a:pt x="9659" y="28154"/>
                        <a:pt x="2435" y="24044"/>
                        <a:pt x="441"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9" name="Freeform 7206">
                  <a:extLst>
                    <a:ext uri="{FF2B5EF4-FFF2-40B4-BE49-F238E27FC236}">
                      <a16:creationId xmlns:a16="http://schemas.microsoft.com/office/drawing/2014/main" id="{03435CA5-DFF6-1B09-D481-0F7ADE4BAB76}"/>
                    </a:ext>
                  </a:extLst>
                </p:cNvPr>
                <p:cNvSpPr/>
                <p:nvPr/>
              </p:nvSpPr>
              <p:spPr>
                <a:xfrm>
                  <a:off x="8744048" y="1545461"/>
                  <a:ext cx="12946" cy="50570"/>
                </a:xfrm>
                <a:custGeom>
                  <a:avLst/>
                  <a:gdLst>
                    <a:gd name="connsiteX0" fmla="*/ 26 w 12946"/>
                    <a:gd name="connsiteY0" fmla="*/ 0 h 50570"/>
                    <a:gd name="connsiteX1" fmla="*/ 3015 w 12946"/>
                    <a:gd name="connsiteY1" fmla="*/ 18559 h 50570"/>
                    <a:gd name="connsiteX2" fmla="*/ 10737 w 12946"/>
                    <a:gd name="connsiteY2" fmla="*/ 34129 h 50570"/>
                    <a:gd name="connsiteX3" fmla="*/ 12855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26" y="0"/>
                      </a:moveTo>
                      <a:cubicBezTo>
                        <a:pt x="-224" y="8470"/>
                        <a:pt x="1395" y="14573"/>
                        <a:pt x="3015" y="18559"/>
                      </a:cubicBezTo>
                      <a:cubicBezTo>
                        <a:pt x="5506" y="25036"/>
                        <a:pt x="8371" y="27403"/>
                        <a:pt x="10737" y="34129"/>
                      </a:cubicBezTo>
                      <a:cubicBezTo>
                        <a:pt x="12979" y="40606"/>
                        <a:pt x="13104" y="46585"/>
                        <a:pt x="1285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0" name="Freeform 7207">
                  <a:extLst>
                    <a:ext uri="{FF2B5EF4-FFF2-40B4-BE49-F238E27FC236}">
                      <a16:creationId xmlns:a16="http://schemas.microsoft.com/office/drawing/2014/main" id="{FA823540-CA21-8C43-4EC5-866D4B011A5D}"/>
                    </a:ext>
                  </a:extLst>
                </p:cNvPr>
                <p:cNvSpPr/>
                <p:nvPr/>
              </p:nvSpPr>
              <p:spPr>
                <a:xfrm>
                  <a:off x="8749554" y="1538735"/>
                  <a:ext cx="14199" cy="50196"/>
                </a:xfrm>
                <a:custGeom>
                  <a:avLst/>
                  <a:gdLst>
                    <a:gd name="connsiteX0" fmla="*/ 14200 w 14199"/>
                    <a:gd name="connsiteY0" fmla="*/ 50197 h 50196"/>
                    <a:gd name="connsiteX1" fmla="*/ 7473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3" y="32634"/>
                      </a:cubicBezTo>
                      <a:cubicBezTo>
                        <a:pt x="6353" y="25659"/>
                        <a:pt x="7723" y="22171"/>
                        <a:pt x="6353"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1" name="Freeform 7208">
                  <a:extLst>
                    <a:ext uri="{FF2B5EF4-FFF2-40B4-BE49-F238E27FC236}">
                      <a16:creationId xmlns:a16="http://schemas.microsoft.com/office/drawing/2014/main" id="{2B7B445E-8EC5-2D28-24B7-489C7A55EF12}"/>
                    </a:ext>
                  </a:extLst>
                </p:cNvPr>
                <p:cNvSpPr/>
                <p:nvPr/>
              </p:nvSpPr>
              <p:spPr>
                <a:xfrm>
                  <a:off x="8732661" y="1524450"/>
                  <a:ext cx="26186" cy="26495"/>
                </a:xfrm>
                <a:custGeom>
                  <a:avLst/>
                  <a:gdLst>
                    <a:gd name="connsiteX0" fmla="*/ 25735 w 26186"/>
                    <a:gd name="connsiteY0" fmla="*/ 9676 h 26495"/>
                    <a:gd name="connsiteX1" fmla="*/ 16518 w 26186"/>
                    <a:gd name="connsiteY1" fmla="*/ 25993 h 26495"/>
                    <a:gd name="connsiteX2" fmla="*/ 451 w 26186"/>
                    <a:gd name="connsiteY2" fmla="*/ 16776 h 26495"/>
                    <a:gd name="connsiteX3" fmla="*/ 9668 w 26186"/>
                    <a:gd name="connsiteY3" fmla="*/ 459 h 26495"/>
                    <a:gd name="connsiteX4" fmla="*/ 25735 w 26186"/>
                    <a:gd name="connsiteY4" fmla="*/ 9676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95">
                      <a:moveTo>
                        <a:pt x="25735" y="9676"/>
                      </a:moveTo>
                      <a:cubicBezTo>
                        <a:pt x="27604" y="16776"/>
                        <a:pt x="23494" y="24000"/>
                        <a:pt x="16518" y="25993"/>
                      </a:cubicBezTo>
                      <a:cubicBezTo>
                        <a:pt x="9543" y="27986"/>
                        <a:pt x="2319" y="23876"/>
                        <a:pt x="451" y="16776"/>
                      </a:cubicBezTo>
                      <a:cubicBezTo>
                        <a:pt x="-1418" y="9676"/>
                        <a:pt x="2693" y="2327"/>
                        <a:pt x="9668" y="459"/>
                      </a:cubicBezTo>
                      <a:cubicBezTo>
                        <a:pt x="16643" y="-1409"/>
                        <a:pt x="23868" y="2577"/>
                        <a:pt x="25735"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7" name="Graphic 2987">
                <a:extLst>
                  <a:ext uri="{FF2B5EF4-FFF2-40B4-BE49-F238E27FC236}">
                    <a16:creationId xmlns:a16="http://schemas.microsoft.com/office/drawing/2014/main" id="{CA500BEF-C2E9-32FE-94B0-6E5851F6E1D0}"/>
                  </a:ext>
                </a:extLst>
              </p:cNvPr>
              <p:cNvGrpSpPr/>
              <p:nvPr/>
            </p:nvGrpSpPr>
            <p:grpSpPr>
              <a:xfrm>
                <a:off x="8704395" y="1532378"/>
                <a:ext cx="57681" cy="144903"/>
                <a:chOff x="8704395" y="1532378"/>
                <a:chExt cx="57681" cy="144903"/>
              </a:xfrm>
              <a:grpFill/>
            </p:grpSpPr>
            <p:sp>
              <p:nvSpPr>
                <p:cNvPr id="6870" name="Freeform 7210">
                  <a:extLst>
                    <a:ext uri="{FF2B5EF4-FFF2-40B4-BE49-F238E27FC236}">
                      <a16:creationId xmlns:a16="http://schemas.microsoft.com/office/drawing/2014/main" id="{1A81B3F7-A6D8-A816-44D8-34BAACFB9536}"/>
                    </a:ext>
                  </a:extLst>
                </p:cNvPr>
                <p:cNvSpPr/>
                <p:nvPr/>
              </p:nvSpPr>
              <p:spPr>
                <a:xfrm>
                  <a:off x="8737629" y="1605498"/>
                  <a:ext cx="12847" cy="50570"/>
                </a:xfrm>
                <a:custGeom>
                  <a:avLst/>
                  <a:gdLst>
                    <a:gd name="connsiteX0" fmla="*/ 12797 w 12847"/>
                    <a:gd name="connsiteY0" fmla="*/ 50570 h 50570"/>
                    <a:gd name="connsiteX1" fmla="*/ 9931 w 12847"/>
                    <a:gd name="connsiteY1" fmla="*/ 32011 h 50570"/>
                    <a:gd name="connsiteX2" fmla="*/ 2209 w 12847"/>
                    <a:gd name="connsiteY2" fmla="*/ 16442 h 50570"/>
                    <a:gd name="connsiteX3" fmla="*/ 92 w 12847"/>
                    <a:gd name="connsiteY3" fmla="*/ 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7" y="50570"/>
                      </a:moveTo>
                      <a:cubicBezTo>
                        <a:pt x="13170" y="42100"/>
                        <a:pt x="11426" y="35997"/>
                        <a:pt x="9931" y="32011"/>
                      </a:cubicBezTo>
                      <a:cubicBezTo>
                        <a:pt x="7441" y="25534"/>
                        <a:pt x="4576" y="23168"/>
                        <a:pt x="2209" y="16442"/>
                      </a:cubicBezTo>
                      <a:cubicBezTo>
                        <a:pt x="-33" y="9965"/>
                        <a:pt x="-158" y="3986"/>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1" name="Freeform 7211">
                  <a:extLst>
                    <a:ext uri="{FF2B5EF4-FFF2-40B4-BE49-F238E27FC236}">
                      <a16:creationId xmlns:a16="http://schemas.microsoft.com/office/drawing/2014/main" id="{B430BD8B-5577-38B5-E923-12A2A5610307}"/>
                    </a:ext>
                  </a:extLst>
                </p:cNvPr>
                <p:cNvSpPr/>
                <p:nvPr/>
              </p:nvSpPr>
              <p:spPr>
                <a:xfrm>
                  <a:off x="8730870" y="1612722"/>
                  <a:ext cx="14075" cy="50196"/>
                </a:xfrm>
                <a:custGeom>
                  <a:avLst/>
                  <a:gdLst>
                    <a:gd name="connsiteX0" fmla="*/ 0 w 14075"/>
                    <a:gd name="connsiteY0" fmla="*/ 0 h 50196"/>
                    <a:gd name="connsiteX1" fmla="*/ 6726 w 14075"/>
                    <a:gd name="connsiteY1" fmla="*/ 17563 h 50196"/>
                    <a:gd name="connsiteX2" fmla="*/ 7847 w 14075"/>
                    <a:gd name="connsiteY2" fmla="*/ 35001 h 50196"/>
                    <a:gd name="connsiteX3" fmla="*/ 14075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0" y="0"/>
                      </a:moveTo>
                      <a:cubicBezTo>
                        <a:pt x="4484" y="7100"/>
                        <a:pt x="6103" y="13203"/>
                        <a:pt x="6726" y="17563"/>
                      </a:cubicBezTo>
                      <a:cubicBezTo>
                        <a:pt x="7723" y="24538"/>
                        <a:pt x="6476" y="28025"/>
                        <a:pt x="7847" y="35001"/>
                      </a:cubicBezTo>
                      <a:cubicBezTo>
                        <a:pt x="9092" y="41851"/>
                        <a:pt x="11957" y="46958"/>
                        <a:pt x="14075"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2" name="Freeform 7212">
                  <a:extLst>
                    <a:ext uri="{FF2B5EF4-FFF2-40B4-BE49-F238E27FC236}">
                      <a16:creationId xmlns:a16="http://schemas.microsoft.com/office/drawing/2014/main" id="{31DC9D09-54EB-826D-0E0F-CB875720A602}"/>
                    </a:ext>
                  </a:extLst>
                </p:cNvPr>
                <p:cNvSpPr/>
                <p:nvPr/>
              </p:nvSpPr>
              <p:spPr>
                <a:xfrm>
                  <a:off x="8735411" y="1650583"/>
                  <a:ext cx="26666" cy="26698"/>
                </a:xfrm>
                <a:custGeom>
                  <a:avLst/>
                  <a:gdLst>
                    <a:gd name="connsiteX0" fmla="*/ 441 w 26666"/>
                    <a:gd name="connsiteY0" fmla="*/ 16820 h 26698"/>
                    <a:gd name="connsiteX1" fmla="*/ 9908 w 26666"/>
                    <a:gd name="connsiteY1" fmla="*/ 503 h 26698"/>
                    <a:gd name="connsiteX2" fmla="*/ 26225 w 26666"/>
                    <a:gd name="connsiteY2" fmla="*/ 9720 h 26698"/>
                    <a:gd name="connsiteX3" fmla="*/ 16758 w 26666"/>
                    <a:gd name="connsiteY3" fmla="*/ 26161 h 26698"/>
                    <a:gd name="connsiteX4" fmla="*/ 441 w 26666"/>
                    <a:gd name="connsiteY4" fmla="*/ 16820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698">
                      <a:moveTo>
                        <a:pt x="441" y="16820"/>
                      </a:moveTo>
                      <a:cubicBezTo>
                        <a:pt x="-1427" y="9720"/>
                        <a:pt x="2808" y="2620"/>
                        <a:pt x="9908" y="503"/>
                      </a:cubicBezTo>
                      <a:cubicBezTo>
                        <a:pt x="17008" y="-1490"/>
                        <a:pt x="24357" y="2620"/>
                        <a:pt x="26225" y="9720"/>
                      </a:cubicBezTo>
                      <a:cubicBezTo>
                        <a:pt x="28093" y="16820"/>
                        <a:pt x="23858" y="24169"/>
                        <a:pt x="16758" y="26161"/>
                      </a:cubicBezTo>
                      <a:cubicBezTo>
                        <a:pt x="9659" y="28279"/>
                        <a:pt x="2310" y="23919"/>
                        <a:pt x="441"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3" name="Freeform 7213">
                  <a:extLst>
                    <a:ext uri="{FF2B5EF4-FFF2-40B4-BE49-F238E27FC236}">
                      <a16:creationId xmlns:a16="http://schemas.microsoft.com/office/drawing/2014/main" id="{146C881A-781A-1BBF-2F2E-33C3EAFB2201}"/>
                    </a:ext>
                  </a:extLst>
                </p:cNvPr>
                <p:cNvSpPr/>
                <p:nvPr/>
              </p:nvSpPr>
              <p:spPr>
                <a:xfrm>
                  <a:off x="8715622" y="1553433"/>
                  <a:ext cx="12723" cy="50570"/>
                </a:xfrm>
                <a:custGeom>
                  <a:avLst/>
                  <a:gdLst>
                    <a:gd name="connsiteX0" fmla="*/ 51 w 12723"/>
                    <a:gd name="connsiteY0" fmla="*/ 0 h 50570"/>
                    <a:gd name="connsiteX1" fmla="*/ 2916 w 12723"/>
                    <a:gd name="connsiteY1" fmla="*/ 18559 h 50570"/>
                    <a:gd name="connsiteX2" fmla="*/ 10514 w 12723"/>
                    <a:gd name="connsiteY2" fmla="*/ 34129 h 50570"/>
                    <a:gd name="connsiteX3" fmla="*/ 12632 w 1272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3" h="50570">
                      <a:moveTo>
                        <a:pt x="51" y="0"/>
                      </a:moveTo>
                      <a:cubicBezTo>
                        <a:pt x="-322" y="8470"/>
                        <a:pt x="1422" y="14573"/>
                        <a:pt x="2916" y="18559"/>
                      </a:cubicBezTo>
                      <a:cubicBezTo>
                        <a:pt x="5407" y="25036"/>
                        <a:pt x="8272" y="27403"/>
                        <a:pt x="10514" y="34129"/>
                      </a:cubicBezTo>
                      <a:cubicBezTo>
                        <a:pt x="12756" y="40606"/>
                        <a:pt x="12881" y="46585"/>
                        <a:pt x="1263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4" name="Freeform 7214">
                  <a:extLst>
                    <a:ext uri="{FF2B5EF4-FFF2-40B4-BE49-F238E27FC236}">
                      <a16:creationId xmlns:a16="http://schemas.microsoft.com/office/drawing/2014/main" id="{C8F28A59-3D13-5219-FD5F-484245D850CF}"/>
                    </a:ext>
                  </a:extLst>
                </p:cNvPr>
                <p:cNvSpPr/>
                <p:nvPr/>
              </p:nvSpPr>
              <p:spPr>
                <a:xfrm>
                  <a:off x="8721154" y="1546707"/>
                  <a:ext cx="14075" cy="50196"/>
                </a:xfrm>
                <a:custGeom>
                  <a:avLst/>
                  <a:gdLst>
                    <a:gd name="connsiteX0" fmla="*/ 14075 w 14075"/>
                    <a:gd name="connsiteY0" fmla="*/ 50197 h 50196"/>
                    <a:gd name="connsiteX1" fmla="*/ 7349 w 14075"/>
                    <a:gd name="connsiteY1" fmla="*/ 32634 h 50196"/>
                    <a:gd name="connsiteX2" fmla="*/ 6228 w 14075"/>
                    <a:gd name="connsiteY2" fmla="*/ 15196 h 50196"/>
                    <a:gd name="connsiteX3" fmla="*/ 0 w 14075"/>
                    <a:gd name="connsiteY3" fmla="*/ 0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50197"/>
                      </a:moveTo>
                      <a:cubicBezTo>
                        <a:pt x="9591" y="43097"/>
                        <a:pt x="7972" y="36994"/>
                        <a:pt x="7349" y="32634"/>
                      </a:cubicBezTo>
                      <a:cubicBezTo>
                        <a:pt x="6353" y="25659"/>
                        <a:pt x="7599" y="22171"/>
                        <a:pt x="6228" y="15196"/>
                      </a:cubicBezTo>
                      <a:cubicBezTo>
                        <a:pt x="4983" y="8345"/>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5" name="Freeform 7215">
                  <a:extLst>
                    <a:ext uri="{FF2B5EF4-FFF2-40B4-BE49-F238E27FC236}">
                      <a16:creationId xmlns:a16="http://schemas.microsoft.com/office/drawing/2014/main" id="{0F90DB8E-6F00-B746-FD28-97A10245D265}"/>
                    </a:ext>
                  </a:extLst>
                </p:cNvPr>
                <p:cNvSpPr/>
                <p:nvPr/>
              </p:nvSpPr>
              <p:spPr>
                <a:xfrm>
                  <a:off x="8704395" y="1532378"/>
                  <a:ext cx="26177" cy="26529"/>
                </a:xfrm>
                <a:custGeom>
                  <a:avLst/>
                  <a:gdLst>
                    <a:gd name="connsiteX0" fmla="*/ 25727 w 26177"/>
                    <a:gd name="connsiteY0" fmla="*/ 9720 h 26529"/>
                    <a:gd name="connsiteX1" fmla="*/ 16510 w 26177"/>
                    <a:gd name="connsiteY1" fmla="*/ 26037 h 26529"/>
                    <a:gd name="connsiteX2" fmla="*/ 442 w 26177"/>
                    <a:gd name="connsiteY2" fmla="*/ 16695 h 26529"/>
                    <a:gd name="connsiteX3" fmla="*/ 9784 w 26177"/>
                    <a:gd name="connsiteY3" fmla="*/ 503 h 26529"/>
                    <a:gd name="connsiteX4" fmla="*/ 25727 w 26177"/>
                    <a:gd name="connsiteY4" fmla="*/ 9720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29">
                      <a:moveTo>
                        <a:pt x="25727" y="9720"/>
                      </a:moveTo>
                      <a:cubicBezTo>
                        <a:pt x="27595" y="16820"/>
                        <a:pt x="23485" y="24168"/>
                        <a:pt x="16510" y="26037"/>
                      </a:cubicBezTo>
                      <a:cubicBezTo>
                        <a:pt x="9535" y="28030"/>
                        <a:pt x="2310" y="23795"/>
                        <a:pt x="442" y="16695"/>
                      </a:cubicBezTo>
                      <a:cubicBezTo>
                        <a:pt x="-1426" y="9595"/>
                        <a:pt x="2808" y="2495"/>
                        <a:pt x="9784" y="503"/>
                      </a:cubicBezTo>
                      <a:cubicBezTo>
                        <a:pt x="16634" y="-1490"/>
                        <a:pt x="23734" y="2620"/>
                        <a:pt x="25727"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8" name="Graphic 2987">
                <a:extLst>
                  <a:ext uri="{FF2B5EF4-FFF2-40B4-BE49-F238E27FC236}">
                    <a16:creationId xmlns:a16="http://schemas.microsoft.com/office/drawing/2014/main" id="{B4DC5087-437A-D044-0348-EDE7E32D9665}"/>
                  </a:ext>
                </a:extLst>
              </p:cNvPr>
              <p:cNvGrpSpPr/>
              <p:nvPr/>
            </p:nvGrpSpPr>
            <p:grpSpPr>
              <a:xfrm>
                <a:off x="8675623" y="1539721"/>
                <a:ext cx="57547" cy="144889"/>
                <a:chOff x="8675623" y="1539721"/>
                <a:chExt cx="57547" cy="144889"/>
              </a:xfrm>
              <a:grpFill/>
            </p:grpSpPr>
            <p:sp>
              <p:nvSpPr>
                <p:cNvPr id="6864" name="Freeform 7217">
                  <a:extLst>
                    <a:ext uri="{FF2B5EF4-FFF2-40B4-BE49-F238E27FC236}">
                      <a16:creationId xmlns:a16="http://schemas.microsoft.com/office/drawing/2014/main" id="{5C7E89C5-41E7-4577-0F6F-4A28840625D0}"/>
                    </a:ext>
                  </a:extLst>
                </p:cNvPr>
                <p:cNvSpPr/>
                <p:nvPr/>
              </p:nvSpPr>
              <p:spPr>
                <a:xfrm>
                  <a:off x="8709035" y="1613096"/>
                  <a:ext cx="12672" cy="50570"/>
                </a:xfrm>
                <a:custGeom>
                  <a:avLst/>
                  <a:gdLst>
                    <a:gd name="connsiteX0" fmla="*/ 12618 w 12672"/>
                    <a:gd name="connsiteY0" fmla="*/ 50570 h 50570"/>
                    <a:gd name="connsiteX1" fmla="*/ 9753 w 12672"/>
                    <a:gd name="connsiteY1" fmla="*/ 32011 h 50570"/>
                    <a:gd name="connsiteX2" fmla="*/ 2155 w 12672"/>
                    <a:gd name="connsiteY2" fmla="*/ 16317 h 50570"/>
                    <a:gd name="connsiteX3" fmla="*/ 162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12618" y="50570"/>
                      </a:moveTo>
                      <a:cubicBezTo>
                        <a:pt x="12991" y="42225"/>
                        <a:pt x="11372" y="36122"/>
                        <a:pt x="9753" y="32011"/>
                      </a:cubicBezTo>
                      <a:cubicBezTo>
                        <a:pt x="7262" y="25410"/>
                        <a:pt x="4397" y="23043"/>
                        <a:pt x="2155" y="16317"/>
                      </a:cubicBezTo>
                      <a:cubicBezTo>
                        <a:pt x="-87" y="9716"/>
                        <a:pt x="-212" y="3861"/>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5" name="Freeform 7218">
                  <a:extLst>
                    <a:ext uri="{FF2B5EF4-FFF2-40B4-BE49-F238E27FC236}">
                      <a16:creationId xmlns:a16="http://schemas.microsoft.com/office/drawing/2014/main" id="{9EDE4D27-12A5-08BD-91E5-28589EEA3FF0}"/>
                    </a:ext>
                  </a:extLst>
                </p:cNvPr>
                <p:cNvSpPr/>
                <p:nvPr/>
              </p:nvSpPr>
              <p:spPr>
                <a:xfrm>
                  <a:off x="8702097" y="1619947"/>
                  <a:ext cx="13825" cy="50196"/>
                </a:xfrm>
                <a:custGeom>
                  <a:avLst/>
                  <a:gdLst>
                    <a:gd name="connsiteX0" fmla="*/ 0 w 13825"/>
                    <a:gd name="connsiteY0" fmla="*/ 0 h 50196"/>
                    <a:gd name="connsiteX1" fmla="*/ 6601 w 13825"/>
                    <a:gd name="connsiteY1" fmla="*/ 17563 h 50196"/>
                    <a:gd name="connsiteX2" fmla="*/ 7598 w 13825"/>
                    <a:gd name="connsiteY2" fmla="*/ 34876 h 50196"/>
                    <a:gd name="connsiteX3" fmla="*/ 13826 w 138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25" h="50196">
                      <a:moveTo>
                        <a:pt x="0" y="0"/>
                      </a:moveTo>
                      <a:cubicBezTo>
                        <a:pt x="4484" y="7224"/>
                        <a:pt x="5979" y="13328"/>
                        <a:pt x="6601" y="17563"/>
                      </a:cubicBezTo>
                      <a:cubicBezTo>
                        <a:pt x="7598" y="24538"/>
                        <a:pt x="6228" y="27901"/>
                        <a:pt x="7598" y="34876"/>
                      </a:cubicBezTo>
                      <a:cubicBezTo>
                        <a:pt x="8843" y="41602"/>
                        <a:pt x="11708" y="46834"/>
                        <a:pt x="138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6" name="Freeform 7219">
                  <a:extLst>
                    <a:ext uri="{FF2B5EF4-FFF2-40B4-BE49-F238E27FC236}">
                      <a16:creationId xmlns:a16="http://schemas.microsoft.com/office/drawing/2014/main" id="{7791183C-6DFE-3E9C-4687-31E254DFC55A}"/>
                    </a:ext>
                  </a:extLst>
                </p:cNvPr>
                <p:cNvSpPr/>
                <p:nvPr/>
              </p:nvSpPr>
              <p:spPr>
                <a:xfrm>
                  <a:off x="8706397" y="1658168"/>
                  <a:ext cx="26773" cy="26442"/>
                </a:xfrm>
                <a:custGeom>
                  <a:avLst/>
                  <a:gdLst>
                    <a:gd name="connsiteX0" fmla="*/ 433 w 26773"/>
                    <a:gd name="connsiteY0" fmla="*/ 16460 h 26442"/>
                    <a:gd name="connsiteX1" fmla="*/ 10024 w 26773"/>
                    <a:gd name="connsiteY1" fmla="*/ 392 h 26442"/>
                    <a:gd name="connsiteX2" fmla="*/ 26341 w 26773"/>
                    <a:gd name="connsiteY2" fmla="*/ 9983 h 26442"/>
                    <a:gd name="connsiteX3" fmla="*/ 16750 w 26773"/>
                    <a:gd name="connsiteY3" fmla="*/ 26051 h 26442"/>
                    <a:gd name="connsiteX4" fmla="*/ 433 w 26773"/>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442">
                      <a:moveTo>
                        <a:pt x="433" y="16460"/>
                      </a:moveTo>
                      <a:cubicBezTo>
                        <a:pt x="-1436" y="9360"/>
                        <a:pt x="2924" y="2136"/>
                        <a:pt x="10024" y="392"/>
                      </a:cubicBezTo>
                      <a:cubicBezTo>
                        <a:pt x="17123" y="-1352"/>
                        <a:pt x="24473" y="2883"/>
                        <a:pt x="26341" y="9983"/>
                      </a:cubicBezTo>
                      <a:cubicBezTo>
                        <a:pt x="28209" y="17082"/>
                        <a:pt x="23850" y="24182"/>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7" name="Freeform 7220">
                  <a:extLst>
                    <a:ext uri="{FF2B5EF4-FFF2-40B4-BE49-F238E27FC236}">
                      <a16:creationId xmlns:a16="http://schemas.microsoft.com/office/drawing/2014/main" id="{A8237DFC-1096-7661-E1E5-9BCA28EC57DD}"/>
                    </a:ext>
                  </a:extLst>
                </p:cNvPr>
                <p:cNvSpPr/>
                <p:nvPr/>
              </p:nvSpPr>
              <p:spPr>
                <a:xfrm>
                  <a:off x="8687096" y="1560657"/>
                  <a:ext cx="12672" cy="50570"/>
                </a:xfrm>
                <a:custGeom>
                  <a:avLst/>
                  <a:gdLst>
                    <a:gd name="connsiteX0" fmla="*/ 54 w 12672"/>
                    <a:gd name="connsiteY0" fmla="*/ 0 h 50570"/>
                    <a:gd name="connsiteX1" fmla="*/ 2919 w 12672"/>
                    <a:gd name="connsiteY1" fmla="*/ 18559 h 50570"/>
                    <a:gd name="connsiteX2" fmla="*/ 10518 w 12672"/>
                    <a:gd name="connsiteY2" fmla="*/ 34253 h 50570"/>
                    <a:gd name="connsiteX3" fmla="*/ 12510 w 12672"/>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0"/>
                      </a:moveTo>
                      <a:cubicBezTo>
                        <a:pt x="-320" y="8345"/>
                        <a:pt x="1300" y="14449"/>
                        <a:pt x="2919" y="18559"/>
                      </a:cubicBezTo>
                      <a:cubicBezTo>
                        <a:pt x="5410" y="25161"/>
                        <a:pt x="8275" y="27527"/>
                        <a:pt x="10518" y="34253"/>
                      </a:cubicBezTo>
                      <a:cubicBezTo>
                        <a:pt x="12760" y="40855"/>
                        <a:pt x="12883" y="46709"/>
                        <a:pt x="1251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8" name="Freeform 7221">
                  <a:extLst>
                    <a:ext uri="{FF2B5EF4-FFF2-40B4-BE49-F238E27FC236}">
                      <a16:creationId xmlns:a16="http://schemas.microsoft.com/office/drawing/2014/main" id="{998EF431-100A-E012-E5F8-7F5B93636305}"/>
                    </a:ext>
                  </a:extLst>
                </p:cNvPr>
                <p:cNvSpPr/>
                <p:nvPr/>
              </p:nvSpPr>
              <p:spPr>
                <a:xfrm>
                  <a:off x="8692755" y="1554180"/>
                  <a:ext cx="13825" cy="50196"/>
                </a:xfrm>
                <a:custGeom>
                  <a:avLst/>
                  <a:gdLst>
                    <a:gd name="connsiteX0" fmla="*/ 13826 w 13825"/>
                    <a:gd name="connsiteY0" fmla="*/ 50197 h 50196"/>
                    <a:gd name="connsiteX1" fmla="*/ 7224 w 13825"/>
                    <a:gd name="connsiteY1" fmla="*/ 32634 h 50196"/>
                    <a:gd name="connsiteX2" fmla="*/ 6228 w 13825"/>
                    <a:gd name="connsiteY2" fmla="*/ 15321 h 50196"/>
                    <a:gd name="connsiteX3" fmla="*/ 0 w 13825"/>
                    <a:gd name="connsiteY3" fmla="*/ 0 h 50196"/>
                  </a:gdLst>
                  <a:ahLst/>
                  <a:cxnLst>
                    <a:cxn ang="0">
                      <a:pos x="connsiteX0" y="connsiteY0"/>
                    </a:cxn>
                    <a:cxn ang="0">
                      <a:pos x="connsiteX1" y="connsiteY1"/>
                    </a:cxn>
                    <a:cxn ang="0">
                      <a:pos x="connsiteX2" y="connsiteY2"/>
                    </a:cxn>
                    <a:cxn ang="0">
                      <a:pos x="connsiteX3" y="connsiteY3"/>
                    </a:cxn>
                  </a:cxnLst>
                  <a:rect l="l" t="t" r="r" b="b"/>
                  <a:pathLst>
                    <a:path w="13825" h="50196">
                      <a:moveTo>
                        <a:pt x="13826" y="50197"/>
                      </a:moveTo>
                      <a:cubicBezTo>
                        <a:pt x="9342" y="42972"/>
                        <a:pt x="7847" y="36869"/>
                        <a:pt x="7224" y="32634"/>
                      </a:cubicBezTo>
                      <a:cubicBezTo>
                        <a:pt x="6228" y="25659"/>
                        <a:pt x="7473" y="22296"/>
                        <a:pt x="6228" y="15321"/>
                      </a:cubicBezTo>
                      <a:cubicBezTo>
                        <a:pt x="4982"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9" name="Freeform 7222">
                  <a:extLst>
                    <a:ext uri="{FF2B5EF4-FFF2-40B4-BE49-F238E27FC236}">
                      <a16:creationId xmlns:a16="http://schemas.microsoft.com/office/drawing/2014/main" id="{8F3E3ADA-F7FE-1B0D-C9BE-53D6E12E6551}"/>
                    </a:ext>
                  </a:extLst>
                </p:cNvPr>
                <p:cNvSpPr/>
                <p:nvPr/>
              </p:nvSpPr>
              <p:spPr>
                <a:xfrm>
                  <a:off x="8675623" y="1539721"/>
                  <a:ext cx="26541" cy="26427"/>
                </a:xfrm>
                <a:custGeom>
                  <a:avLst/>
                  <a:gdLst>
                    <a:gd name="connsiteX0" fmla="*/ 26100 w 26541"/>
                    <a:gd name="connsiteY0" fmla="*/ 10100 h 26427"/>
                    <a:gd name="connsiteX1" fmla="*/ 16634 w 26541"/>
                    <a:gd name="connsiteY1" fmla="*/ 26043 h 26427"/>
                    <a:gd name="connsiteX2" fmla="*/ 441 w 26541"/>
                    <a:gd name="connsiteY2" fmla="*/ 16327 h 26427"/>
                    <a:gd name="connsiteX3" fmla="*/ 9908 w 26541"/>
                    <a:gd name="connsiteY3" fmla="*/ 384 h 26427"/>
                    <a:gd name="connsiteX4" fmla="*/ 26100 w 26541"/>
                    <a:gd name="connsiteY4" fmla="*/ 10100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27">
                      <a:moveTo>
                        <a:pt x="26100" y="10100"/>
                      </a:moveTo>
                      <a:cubicBezTo>
                        <a:pt x="27969" y="17199"/>
                        <a:pt x="23733" y="24299"/>
                        <a:pt x="16634" y="26043"/>
                      </a:cubicBezTo>
                      <a:cubicBezTo>
                        <a:pt x="9534" y="27787"/>
                        <a:pt x="2310" y="23427"/>
                        <a:pt x="441" y="16327"/>
                      </a:cubicBezTo>
                      <a:cubicBezTo>
                        <a:pt x="-1427" y="9228"/>
                        <a:pt x="2808" y="2128"/>
                        <a:pt x="9908" y="384"/>
                      </a:cubicBezTo>
                      <a:cubicBezTo>
                        <a:pt x="17008" y="-1360"/>
                        <a:pt x="24232" y="3000"/>
                        <a:pt x="2610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9" name="Graphic 2987">
                <a:extLst>
                  <a:ext uri="{FF2B5EF4-FFF2-40B4-BE49-F238E27FC236}">
                    <a16:creationId xmlns:a16="http://schemas.microsoft.com/office/drawing/2014/main" id="{52FD09B2-D810-CB1C-1115-F0E2BFCF8F65}"/>
                  </a:ext>
                </a:extLst>
              </p:cNvPr>
              <p:cNvGrpSpPr/>
              <p:nvPr/>
            </p:nvGrpSpPr>
            <p:grpSpPr>
              <a:xfrm>
                <a:off x="8647107" y="1546743"/>
                <a:ext cx="57166" cy="145091"/>
                <a:chOff x="8647107" y="1546743"/>
                <a:chExt cx="57166" cy="145091"/>
              </a:xfrm>
              <a:grpFill/>
            </p:grpSpPr>
            <p:sp>
              <p:nvSpPr>
                <p:cNvPr id="6858" name="Freeform 7224">
                  <a:extLst>
                    <a:ext uri="{FF2B5EF4-FFF2-40B4-BE49-F238E27FC236}">
                      <a16:creationId xmlns:a16="http://schemas.microsoft.com/office/drawing/2014/main" id="{C3236384-EB24-5677-4B5F-71371A5B7D87}"/>
                    </a:ext>
                  </a:extLst>
                </p:cNvPr>
                <p:cNvSpPr/>
                <p:nvPr/>
              </p:nvSpPr>
              <p:spPr>
                <a:xfrm>
                  <a:off x="8680191" y="1620320"/>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3"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9" name="Freeform 7225">
                  <a:extLst>
                    <a:ext uri="{FF2B5EF4-FFF2-40B4-BE49-F238E27FC236}">
                      <a16:creationId xmlns:a16="http://schemas.microsoft.com/office/drawing/2014/main" id="{569EA64D-C1EE-6556-FF0E-A4A2EED1D1BA}"/>
                    </a:ext>
                  </a:extLst>
                </p:cNvPr>
                <p:cNvSpPr/>
                <p:nvPr/>
              </p:nvSpPr>
              <p:spPr>
                <a:xfrm>
                  <a:off x="8673324" y="1627171"/>
                  <a:ext cx="13701" cy="50321"/>
                </a:xfrm>
                <a:custGeom>
                  <a:avLst/>
                  <a:gdLst>
                    <a:gd name="connsiteX0" fmla="*/ 0 w 13701"/>
                    <a:gd name="connsiteY0" fmla="*/ 0 h 50321"/>
                    <a:gd name="connsiteX1" fmla="*/ 6601 w 13701"/>
                    <a:gd name="connsiteY1" fmla="*/ 17687 h 50321"/>
                    <a:gd name="connsiteX2" fmla="*/ 7473 w 13701"/>
                    <a:gd name="connsiteY2" fmla="*/ 35001 h 50321"/>
                    <a:gd name="connsiteX3" fmla="*/ 13701 w 1370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701" h="50321">
                      <a:moveTo>
                        <a:pt x="0" y="0"/>
                      </a:moveTo>
                      <a:cubicBezTo>
                        <a:pt x="4359" y="7224"/>
                        <a:pt x="5979" y="13328"/>
                        <a:pt x="6601" y="17687"/>
                      </a:cubicBezTo>
                      <a:cubicBezTo>
                        <a:pt x="7598" y="24662"/>
                        <a:pt x="6228" y="28025"/>
                        <a:pt x="7473" y="35001"/>
                      </a:cubicBezTo>
                      <a:cubicBezTo>
                        <a:pt x="8719" y="41851"/>
                        <a:pt x="11459" y="46958"/>
                        <a:pt x="13701"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0" name="Freeform 7226">
                  <a:extLst>
                    <a:ext uri="{FF2B5EF4-FFF2-40B4-BE49-F238E27FC236}">
                      <a16:creationId xmlns:a16="http://schemas.microsoft.com/office/drawing/2014/main" id="{A13C5387-7BB2-474E-0218-ECD8150A80C9}"/>
                    </a:ext>
                  </a:extLst>
                </p:cNvPr>
                <p:cNvSpPr/>
                <p:nvPr/>
              </p:nvSpPr>
              <p:spPr>
                <a:xfrm>
                  <a:off x="8677376" y="1665392"/>
                  <a:ext cx="26897" cy="26442"/>
                </a:xfrm>
                <a:custGeom>
                  <a:avLst/>
                  <a:gdLst>
                    <a:gd name="connsiteX0" fmla="*/ 433 w 26897"/>
                    <a:gd name="connsiteY0" fmla="*/ 16460 h 26442"/>
                    <a:gd name="connsiteX1" fmla="*/ 10148 w 26897"/>
                    <a:gd name="connsiteY1" fmla="*/ 392 h 26442"/>
                    <a:gd name="connsiteX2" fmla="*/ 26465 w 26897"/>
                    <a:gd name="connsiteY2" fmla="*/ 9983 h 26442"/>
                    <a:gd name="connsiteX3" fmla="*/ 16750 w 26897"/>
                    <a:gd name="connsiteY3" fmla="*/ 26051 h 26442"/>
                    <a:gd name="connsiteX4" fmla="*/ 433 w 26897"/>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7" h="26442">
                      <a:moveTo>
                        <a:pt x="433" y="16460"/>
                      </a:moveTo>
                      <a:cubicBezTo>
                        <a:pt x="-1436" y="9360"/>
                        <a:pt x="2924" y="2136"/>
                        <a:pt x="10148" y="392"/>
                      </a:cubicBezTo>
                      <a:cubicBezTo>
                        <a:pt x="17372" y="-1352"/>
                        <a:pt x="24597" y="2883"/>
                        <a:pt x="26465" y="9983"/>
                      </a:cubicBezTo>
                      <a:cubicBezTo>
                        <a:pt x="28333" y="17082"/>
                        <a:pt x="23974" y="24307"/>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1" name="Freeform 7227">
                  <a:extLst>
                    <a:ext uri="{FF2B5EF4-FFF2-40B4-BE49-F238E27FC236}">
                      <a16:creationId xmlns:a16="http://schemas.microsoft.com/office/drawing/2014/main" id="{F2BF10B3-6809-7E95-12A0-439540CCF127}"/>
                    </a:ext>
                  </a:extLst>
                </p:cNvPr>
                <p:cNvSpPr/>
                <p:nvPr/>
              </p:nvSpPr>
              <p:spPr>
                <a:xfrm>
                  <a:off x="8658572" y="1567757"/>
                  <a:ext cx="12494" cy="50570"/>
                </a:xfrm>
                <a:custGeom>
                  <a:avLst/>
                  <a:gdLst>
                    <a:gd name="connsiteX0" fmla="*/ 55 w 12494"/>
                    <a:gd name="connsiteY0" fmla="*/ 0 h 50570"/>
                    <a:gd name="connsiteX1" fmla="*/ 2794 w 12494"/>
                    <a:gd name="connsiteY1" fmla="*/ 18559 h 50570"/>
                    <a:gd name="connsiteX2" fmla="*/ 10392 w 12494"/>
                    <a:gd name="connsiteY2" fmla="*/ 34253 h 50570"/>
                    <a:gd name="connsiteX3" fmla="*/ 12386 w 1249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4" h="50570">
                      <a:moveTo>
                        <a:pt x="55" y="0"/>
                      </a:moveTo>
                      <a:cubicBezTo>
                        <a:pt x="-320" y="8345"/>
                        <a:pt x="1300" y="14573"/>
                        <a:pt x="2794" y="18559"/>
                      </a:cubicBezTo>
                      <a:cubicBezTo>
                        <a:pt x="5286" y="25161"/>
                        <a:pt x="8150" y="27527"/>
                        <a:pt x="10392" y="34253"/>
                      </a:cubicBezTo>
                      <a:cubicBezTo>
                        <a:pt x="12634" y="40855"/>
                        <a:pt x="12634" y="46709"/>
                        <a:pt x="1238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2" name="Freeform 7228">
                  <a:extLst>
                    <a:ext uri="{FF2B5EF4-FFF2-40B4-BE49-F238E27FC236}">
                      <a16:creationId xmlns:a16="http://schemas.microsoft.com/office/drawing/2014/main" id="{7E39D475-0CB4-2C69-D8FC-2E70D3F60294}"/>
                    </a:ext>
                  </a:extLst>
                </p:cNvPr>
                <p:cNvSpPr/>
                <p:nvPr/>
              </p:nvSpPr>
              <p:spPr>
                <a:xfrm>
                  <a:off x="8663983" y="1561280"/>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7" y="43097"/>
                        <a:pt x="7847" y="36994"/>
                        <a:pt x="7224" y="32634"/>
                      </a:cubicBezTo>
                      <a:cubicBezTo>
                        <a:pt x="6228" y="25659"/>
                        <a:pt x="7598" y="22296"/>
                        <a:pt x="6228" y="15321"/>
                      </a:cubicBezTo>
                      <a:cubicBezTo>
                        <a:pt x="4982" y="8594"/>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3" name="Freeform 7229">
                  <a:extLst>
                    <a:ext uri="{FF2B5EF4-FFF2-40B4-BE49-F238E27FC236}">
                      <a16:creationId xmlns:a16="http://schemas.microsoft.com/office/drawing/2014/main" id="{CE4F0774-10EF-48E5-9A0F-59F30ABA4759}"/>
                    </a:ext>
                  </a:extLst>
                </p:cNvPr>
                <p:cNvSpPr/>
                <p:nvPr/>
              </p:nvSpPr>
              <p:spPr>
                <a:xfrm>
                  <a:off x="8647107" y="1546743"/>
                  <a:ext cx="26409" cy="26504"/>
                </a:xfrm>
                <a:custGeom>
                  <a:avLst/>
                  <a:gdLst>
                    <a:gd name="connsiteX0" fmla="*/ 25968 w 26409"/>
                    <a:gd name="connsiteY0" fmla="*/ 10177 h 26504"/>
                    <a:gd name="connsiteX1" fmla="*/ 16501 w 26409"/>
                    <a:gd name="connsiteY1" fmla="*/ 26121 h 26504"/>
                    <a:gd name="connsiteX2" fmla="*/ 434 w 26409"/>
                    <a:gd name="connsiteY2" fmla="*/ 16405 h 26504"/>
                    <a:gd name="connsiteX3" fmla="*/ 9900 w 26409"/>
                    <a:gd name="connsiteY3" fmla="*/ 337 h 26504"/>
                    <a:gd name="connsiteX4" fmla="*/ 25968 w 26409"/>
                    <a:gd name="connsiteY4" fmla="*/ 1017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9" h="26504">
                      <a:moveTo>
                        <a:pt x="25968" y="10177"/>
                      </a:moveTo>
                      <a:cubicBezTo>
                        <a:pt x="27836" y="17277"/>
                        <a:pt x="23601" y="24377"/>
                        <a:pt x="16501" y="26121"/>
                      </a:cubicBezTo>
                      <a:cubicBezTo>
                        <a:pt x="9401" y="27865"/>
                        <a:pt x="2178" y="23505"/>
                        <a:pt x="434" y="16405"/>
                      </a:cubicBezTo>
                      <a:cubicBezTo>
                        <a:pt x="-1435" y="9306"/>
                        <a:pt x="2925" y="2206"/>
                        <a:pt x="9900" y="337"/>
                      </a:cubicBezTo>
                      <a:cubicBezTo>
                        <a:pt x="17000" y="-1282"/>
                        <a:pt x="24099" y="3078"/>
                        <a:pt x="25968"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0" name="Graphic 2987">
                <a:extLst>
                  <a:ext uri="{FF2B5EF4-FFF2-40B4-BE49-F238E27FC236}">
                    <a16:creationId xmlns:a16="http://schemas.microsoft.com/office/drawing/2014/main" id="{F191FF85-ED1F-6E63-EFC4-8CD88CFA5F0E}"/>
                  </a:ext>
                </a:extLst>
              </p:cNvPr>
              <p:cNvGrpSpPr/>
              <p:nvPr/>
            </p:nvGrpSpPr>
            <p:grpSpPr>
              <a:xfrm>
                <a:off x="8618583" y="1553921"/>
                <a:ext cx="56667" cy="145130"/>
                <a:chOff x="8618583" y="1553921"/>
                <a:chExt cx="56667" cy="145130"/>
              </a:xfrm>
              <a:grpFill/>
            </p:grpSpPr>
            <p:sp>
              <p:nvSpPr>
                <p:cNvPr id="6852" name="Freeform 7231">
                  <a:extLst>
                    <a:ext uri="{FF2B5EF4-FFF2-40B4-BE49-F238E27FC236}">
                      <a16:creationId xmlns:a16="http://schemas.microsoft.com/office/drawing/2014/main" id="{511FB240-3ED8-AB47-9E47-D823EBDB7C62}"/>
                    </a:ext>
                  </a:extLst>
                </p:cNvPr>
                <p:cNvSpPr/>
                <p:nvPr/>
              </p:nvSpPr>
              <p:spPr>
                <a:xfrm>
                  <a:off x="8651362" y="1627295"/>
                  <a:ext cx="12338" cy="50694"/>
                </a:xfrm>
                <a:custGeom>
                  <a:avLst/>
                  <a:gdLst>
                    <a:gd name="connsiteX0" fmla="*/ 12246 w 12338"/>
                    <a:gd name="connsiteY0" fmla="*/ 50695 h 50694"/>
                    <a:gd name="connsiteX1" fmla="*/ 9631 w 12338"/>
                    <a:gd name="connsiteY1" fmla="*/ 32136 h 50694"/>
                    <a:gd name="connsiteX2" fmla="*/ 2032 w 12338"/>
                    <a:gd name="connsiteY2" fmla="*/ 16442 h 50694"/>
                    <a:gd name="connsiteX3" fmla="*/ 165 w 12338"/>
                    <a:gd name="connsiteY3" fmla="*/ 0 h 50694"/>
                  </a:gdLst>
                  <a:ahLst/>
                  <a:cxnLst>
                    <a:cxn ang="0">
                      <a:pos x="connsiteX0" y="connsiteY0"/>
                    </a:cxn>
                    <a:cxn ang="0">
                      <a:pos x="connsiteX1" y="connsiteY1"/>
                    </a:cxn>
                    <a:cxn ang="0">
                      <a:pos x="connsiteX2" y="connsiteY2"/>
                    </a:cxn>
                    <a:cxn ang="0">
                      <a:pos x="connsiteX3" y="connsiteY3"/>
                    </a:cxn>
                  </a:cxnLst>
                  <a:rect l="l" t="t" r="r" b="b"/>
                  <a:pathLst>
                    <a:path w="12338" h="50694">
                      <a:moveTo>
                        <a:pt x="12246" y="50695"/>
                      </a:moveTo>
                      <a:cubicBezTo>
                        <a:pt x="12745" y="42350"/>
                        <a:pt x="11126" y="36122"/>
                        <a:pt x="9631" y="32136"/>
                      </a:cubicBezTo>
                      <a:cubicBezTo>
                        <a:pt x="7140" y="25534"/>
                        <a:pt x="4274" y="23168"/>
                        <a:pt x="2032" y="16442"/>
                      </a:cubicBezTo>
                      <a:cubicBezTo>
                        <a:pt x="-85" y="9840"/>
                        <a:pt x="-210" y="3986"/>
                        <a:pt x="1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3" name="Freeform 7232">
                  <a:extLst>
                    <a:ext uri="{FF2B5EF4-FFF2-40B4-BE49-F238E27FC236}">
                      <a16:creationId xmlns:a16="http://schemas.microsoft.com/office/drawing/2014/main" id="{1DB82A57-3300-1C42-013E-43447AC4F16C}"/>
                    </a:ext>
                  </a:extLst>
                </p:cNvPr>
                <p:cNvSpPr/>
                <p:nvPr/>
              </p:nvSpPr>
              <p:spPr>
                <a:xfrm>
                  <a:off x="8644552" y="1634271"/>
                  <a:ext cx="13451" cy="50445"/>
                </a:xfrm>
                <a:custGeom>
                  <a:avLst/>
                  <a:gdLst>
                    <a:gd name="connsiteX0" fmla="*/ 0 w 13451"/>
                    <a:gd name="connsiteY0" fmla="*/ 0 h 50445"/>
                    <a:gd name="connsiteX1" fmla="*/ 6476 w 13451"/>
                    <a:gd name="connsiteY1" fmla="*/ 17687 h 50445"/>
                    <a:gd name="connsiteX2" fmla="*/ 7348 w 13451"/>
                    <a:gd name="connsiteY2" fmla="*/ 35125 h 50445"/>
                    <a:gd name="connsiteX3" fmla="*/ 13452 w 1345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6" y="17687"/>
                      </a:cubicBezTo>
                      <a:cubicBezTo>
                        <a:pt x="7473" y="24662"/>
                        <a:pt x="6103" y="28025"/>
                        <a:pt x="7348" y="35125"/>
                      </a:cubicBezTo>
                      <a:cubicBezTo>
                        <a:pt x="8595" y="41976"/>
                        <a:pt x="11334"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4" name="Freeform 7233">
                  <a:extLst>
                    <a:ext uri="{FF2B5EF4-FFF2-40B4-BE49-F238E27FC236}">
                      <a16:creationId xmlns:a16="http://schemas.microsoft.com/office/drawing/2014/main" id="{6E76F46C-CE34-EC9E-35E1-B140B787F507}"/>
                    </a:ext>
                  </a:extLst>
                </p:cNvPr>
                <p:cNvSpPr/>
                <p:nvPr/>
              </p:nvSpPr>
              <p:spPr>
                <a:xfrm>
                  <a:off x="8648527" y="1672616"/>
                  <a:ext cx="26724" cy="26435"/>
                </a:xfrm>
                <a:custGeom>
                  <a:avLst/>
                  <a:gdLst>
                    <a:gd name="connsiteX0" fmla="*/ 384 w 26724"/>
                    <a:gd name="connsiteY0" fmla="*/ 16460 h 26435"/>
                    <a:gd name="connsiteX1" fmla="*/ 10100 w 26724"/>
                    <a:gd name="connsiteY1" fmla="*/ 392 h 26435"/>
                    <a:gd name="connsiteX2" fmla="*/ 26292 w 26724"/>
                    <a:gd name="connsiteY2" fmla="*/ 9983 h 26435"/>
                    <a:gd name="connsiteX3" fmla="*/ 16576 w 26724"/>
                    <a:gd name="connsiteY3" fmla="*/ 26051 h 26435"/>
                    <a:gd name="connsiteX4" fmla="*/ 384 w 26724"/>
                    <a:gd name="connsiteY4" fmla="*/ 16460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35">
                      <a:moveTo>
                        <a:pt x="384" y="16460"/>
                      </a:moveTo>
                      <a:cubicBezTo>
                        <a:pt x="-1360" y="9360"/>
                        <a:pt x="3000" y="2136"/>
                        <a:pt x="10100" y="392"/>
                      </a:cubicBezTo>
                      <a:cubicBezTo>
                        <a:pt x="17199" y="-1352"/>
                        <a:pt x="24548" y="2883"/>
                        <a:pt x="26292" y="9983"/>
                      </a:cubicBezTo>
                      <a:cubicBezTo>
                        <a:pt x="28160" y="17082"/>
                        <a:pt x="23801" y="24307"/>
                        <a:pt x="16576" y="26051"/>
                      </a:cubicBezTo>
                      <a:cubicBezTo>
                        <a:pt x="9353" y="27794"/>
                        <a:pt x="2128" y="23435"/>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5" name="Freeform 7234">
                  <a:extLst>
                    <a:ext uri="{FF2B5EF4-FFF2-40B4-BE49-F238E27FC236}">
                      <a16:creationId xmlns:a16="http://schemas.microsoft.com/office/drawing/2014/main" id="{C9E50001-7599-9B10-E8A7-1A2120CC5B44}"/>
                    </a:ext>
                  </a:extLst>
                </p:cNvPr>
                <p:cNvSpPr/>
                <p:nvPr/>
              </p:nvSpPr>
              <p:spPr>
                <a:xfrm>
                  <a:off x="8629920" y="1574857"/>
                  <a:ext cx="12180" cy="50694"/>
                </a:xfrm>
                <a:custGeom>
                  <a:avLst/>
                  <a:gdLst>
                    <a:gd name="connsiteX0" fmla="*/ 58 w 12180"/>
                    <a:gd name="connsiteY0" fmla="*/ 0 h 50694"/>
                    <a:gd name="connsiteX1" fmla="*/ 2674 w 12180"/>
                    <a:gd name="connsiteY1" fmla="*/ 18559 h 50694"/>
                    <a:gd name="connsiteX2" fmla="*/ 10147 w 12180"/>
                    <a:gd name="connsiteY2" fmla="*/ 34253 h 50694"/>
                    <a:gd name="connsiteX3" fmla="*/ 12016 w 1218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80" h="50694">
                      <a:moveTo>
                        <a:pt x="58" y="0"/>
                      </a:moveTo>
                      <a:cubicBezTo>
                        <a:pt x="-315" y="8345"/>
                        <a:pt x="1179" y="14573"/>
                        <a:pt x="2674" y="18559"/>
                      </a:cubicBezTo>
                      <a:cubicBezTo>
                        <a:pt x="5165" y="25161"/>
                        <a:pt x="7905" y="27527"/>
                        <a:pt x="10147" y="34253"/>
                      </a:cubicBezTo>
                      <a:cubicBezTo>
                        <a:pt x="12265" y="40855"/>
                        <a:pt x="12390" y="46709"/>
                        <a:pt x="1201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6" name="Freeform 7235">
                  <a:extLst>
                    <a:ext uri="{FF2B5EF4-FFF2-40B4-BE49-F238E27FC236}">
                      <a16:creationId xmlns:a16="http://schemas.microsoft.com/office/drawing/2014/main" id="{FAF9313C-60DE-4949-27B9-4F30BDEE6609}"/>
                    </a:ext>
                  </a:extLst>
                </p:cNvPr>
                <p:cNvSpPr/>
                <p:nvPr/>
              </p:nvSpPr>
              <p:spPr>
                <a:xfrm>
                  <a:off x="8635583" y="1568380"/>
                  <a:ext cx="13452" cy="50321"/>
                </a:xfrm>
                <a:custGeom>
                  <a:avLst/>
                  <a:gdLst>
                    <a:gd name="connsiteX0" fmla="*/ 13452 w 13452"/>
                    <a:gd name="connsiteY0" fmla="*/ 50321 h 50321"/>
                    <a:gd name="connsiteX1" fmla="*/ 6975 w 13452"/>
                    <a:gd name="connsiteY1" fmla="*/ 32634 h 50321"/>
                    <a:gd name="connsiteX2" fmla="*/ 6103 w 13452"/>
                    <a:gd name="connsiteY2" fmla="*/ 15321 h 50321"/>
                    <a:gd name="connsiteX3" fmla="*/ 0 w 13452"/>
                    <a:gd name="connsiteY3" fmla="*/ 0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50321"/>
                      </a:moveTo>
                      <a:cubicBezTo>
                        <a:pt x="9093" y="43097"/>
                        <a:pt x="7474" y="36994"/>
                        <a:pt x="6975" y="32634"/>
                      </a:cubicBezTo>
                      <a:cubicBezTo>
                        <a:pt x="5979" y="25659"/>
                        <a:pt x="7349" y="22296"/>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7" name="Freeform 7236">
                  <a:extLst>
                    <a:ext uri="{FF2B5EF4-FFF2-40B4-BE49-F238E27FC236}">
                      <a16:creationId xmlns:a16="http://schemas.microsoft.com/office/drawing/2014/main" id="{0127D946-600A-21DA-0150-5FC75866447E}"/>
                    </a:ext>
                  </a:extLst>
                </p:cNvPr>
                <p:cNvSpPr/>
                <p:nvPr/>
              </p:nvSpPr>
              <p:spPr>
                <a:xfrm>
                  <a:off x="8618583" y="1553921"/>
                  <a:ext cx="26401" cy="26551"/>
                </a:xfrm>
                <a:custGeom>
                  <a:avLst/>
                  <a:gdLst>
                    <a:gd name="connsiteX0" fmla="*/ 25968 w 26401"/>
                    <a:gd name="connsiteY0" fmla="*/ 10100 h 26551"/>
                    <a:gd name="connsiteX1" fmla="*/ 16502 w 26401"/>
                    <a:gd name="connsiteY1" fmla="*/ 26168 h 26551"/>
                    <a:gd name="connsiteX2" fmla="*/ 433 w 26401"/>
                    <a:gd name="connsiteY2" fmla="*/ 16452 h 26551"/>
                    <a:gd name="connsiteX3" fmla="*/ 9900 w 26401"/>
                    <a:gd name="connsiteY3" fmla="*/ 384 h 26551"/>
                    <a:gd name="connsiteX4" fmla="*/ 25968 w 2640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51">
                      <a:moveTo>
                        <a:pt x="25968" y="10100"/>
                      </a:moveTo>
                      <a:cubicBezTo>
                        <a:pt x="27836" y="17199"/>
                        <a:pt x="23477" y="24424"/>
                        <a:pt x="16502" y="26168"/>
                      </a:cubicBezTo>
                      <a:cubicBezTo>
                        <a:pt x="9402" y="27911"/>
                        <a:pt x="2302" y="23552"/>
                        <a:pt x="433" y="16452"/>
                      </a:cubicBezTo>
                      <a:cubicBezTo>
                        <a:pt x="-1435" y="9352"/>
                        <a:pt x="2925" y="2128"/>
                        <a:pt x="9900" y="384"/>
                      </a:cubicBezTo>
                      <a:cubicBezTo>
                        <a:pt x="17000" y="-1360"/>
                        <a:pt x="24100" y="3000"/>
                        <a:pt x="25968"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1" name="Graphic 2987">
                <a:extLst>
                  <a:ext uri="{FF2B5EF4-FFF2-40B4-BE49-F238E27FC236}">
                    <a16:creationId xmlns:a16="http://schemas.microsoft.com/office/drawing/2014/main" id="{EDCA1288-E9D4-4D99-3834-354C0C22E85A}"/>
                  </a:ext>
                </a:extLst>
              </p:cNvPr>
              <p:cNvGrpSpPr/>
              <p:nvPr/>
            </p:nvGrpSpPr>
            <p:grpSpPr>
              <a:xfrm>
                <a:off x="8589977" y="1560942"/>
                <a:ext cx="56203" cy="145257"/>
                <a:chOff x="8589977" y="1560942"/>
                <a:chExt cx="56203" cy="145257"/>
              </a:xfrm>
              <a:grpFill/>
            </p:grpSpPr>
            <p:sp>
              <p:nvSpPr>
                <p:cNvPr id="6846" name="Freeform 7238">
                  <a:extLst>
                    <a:ext uri="{FF2B5EF4-FFF2-40B4-BE49-F238E27FC236}">
                      <a16:creationId xmlns:a16="http://schemas.microsoft.com/office/drawing/2014/main" id="{7AC7B71F-D280-7A96-AD3F-C7F04A6CE884}"/>
                    </a:ext>
                  </a:extLst>
                </p:cNvPr>
                <p:cNvSpPr/>
                <p:nvPr/>
              </p:nvSpPr>
              <p:spPr>
                <a:xfrm>
                  <a:off x="8622643" y="1634520"/>
                  <a:ext cx="12160" cy="50694"/>
                </a:xfrm>
                <a:custGeom>
                  <a:avLst/>
                  <a:gdLst>
                    <a:gd name="connsiteX0" fmla="*/ 12068 w 12160"/>
                    <a:gd name="connsiteY0" fmla="*/ 50695 h 50694"/>
                    <a:gd name="connsiteX1" fmla="*/ 9453 w 12160"/>
                    <a:gd name="connsiteY1" fmla="*/ 32136 h 50694"/>
                    <a:gd name="connsiteX2" fmla="*/ 1979 w 12160"/>
                    <a:gd name="connsiteY2" fmla="*/ 16442 h 50694"/>
                    <a:gd name="connsiteX3" fmla="*/ 111 w 12160"/>
                    <a:gd name="connsiteY3" fmla="*/ 0 h 50694"/>
                  </a:gdLst>
                  <a:ahLst/>
                  <a:cxnLst>
                    <a:cxn ang="0">
                      <a:pos x="connsiteX0" y="connsiteY0"/>
                    </a:cxn>
                    <a:cxn ang="0">
                      <a:pos x="connsiteX1" y="connsiteY1"/>
                    </a:cxn>
                    <a:cxn ang="0">
                      <a:pos x="connsiteX2" y="connsiteY2"/>
                    </a:cxn>
                    <a:cxn ang="0">
                      <a:pos x="connsiteX3" y="connsiteY3"/>
                    </a:cxn>
                  </a:cxnLst>
                  <a:rect l="l" t="t" r="r" b="b"/>
                  <a:pathLst>
                    <a:path w="12160" h="50694">
                      <a:moveTo>
                        <a:pt x="12068" y="50695"/>
                      </a:moveTo>
                      <a:cubicBezTo>
                        <a:pt x="12567" y="42350"/>
                        <a:pt x="10948" y="36122"/>
                        <a:pt x="9453" y="32136"/>
                      </a:cubicBezTo>
                      <a:cubicBezTo>
                        <a:pt x="6962" y="25534"/>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7" name="Freeform 7239">
                  <a:extLst>
                    <a:ext uri="{FF2B5EF4-FFF2-40B4-BE49-F238E27FC236}">
                      <a16:creationId xmlns:a16="http://schemas.microsoft.com/office/drawing/2014/main" id="{C9C6BA0B-38A6-CEEA-4902-BFDAA0DCD1D0}"/>
                    </a:ext>
                  </a:extLst>
                </p:cNvPr>
                <p:cNvSpPr/>
                <p:nvPr/>
              </p:nvSpPr>
              <p:spPr>
                <a:xfrm>
                  <a:off x="8615779" y="1641371"/>
                  <a:ext cx="13327" cy="50445"/>
                </a:xfrm>
                <a:custGeom>
                  <a:avLst/>
                  <a:gdLst>
                    <a:gd name="connsiteX0" fmla="*/ 0 w 13327"/>
                    <a:gd name="connsiteY0" fmla="*/ 0 h 50445"/>
                    <a:gd name="connsiteX1" fmla="*/ 6476 w 13327"/>
                    <a:gd name="connsiteY1" fmla="*/ 17687 h 50445"/>
                    <a:gd name="connsiteX2" fmla="*/ 7224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59" y="7224"/>
                        <a:pt x="5854" y="13328"/>
                        <a:pt x="6476" y="17687"/>
                      </a:cubicBezTo>
                      <a:cubicBezTo>
                        <a:pt x="7348" y="24662"/>
                        <a:pt x="6103" y="28150"/>
                        <a:pt x="7224" y="35125"/>
                      </a:cubicBezTo>
                      <a:cubicBezTo>
                        <a:pt x="8470" y="41976"/>
                        <a:pt x="11210"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8" name="Freeform 7240">
                  <a:extLst>
                    <a:ext uri="{FF2B5EF4-FFF2-40B4-BE49-F238E27FC236}">
                      <a16:creationId xmlns:a16="http://schemas.microsoft.com/office/drawing/2014/main" id="{34D52913-A81C-638C-FE0C-E298E03E8E70}"/>
                    </a:ext>
                  </a:extLst>
                </p:cNvPr>
                <p:cNvSpPr/>
                <p:nvPr/>
              </p:nvSpPr>
              <p:spPr>
                <a:xfrm>
                  <a:off x="8619505" y="1679716"/>
                  <a:ext cx="26676" cy="26483"/>
                </a:xfrm>
                <a:custGeom>
                  <a:avLst/>
                  <a:gdLst>
                    <a:gd name="connsiteX0" fmla="*/ 384 w 26676"/>
                    <a:gd name="connsiteY0" fmla="*/ 16460 h 26483"/>
                    <a:gd name="connsiteX1" fmla="*/ 10100 w 26676"/>
                    <a:gd name="connsiteY1" fmla="*/ 392 h 26483"/>
                    <a:gd name="connsiteX2" fmla="*/ 26292 w 26676"/>
                    <a:gd name="connsiteY2" fmla="*/ 9983 h 26483"/>
                    <a:gd name="connsiteX3" fmla="*/ 16577 w 26676"/>
                    <a:gd name="connsiteY3" fmla="*/ 26051 h 26483"/>
                    <a:gd name="connsiteX4" fmla="*/ 384 w 26676"/>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6" h="26483">
                      <a:moveTo>
                        <a:pt x="384" y="16460"/>
                      </a:moveTo>
                      <a:cubicBezTo>
                        <a:pt x="-1359" y="9360"/>
                        <a:pt x="3000" y="2136"/>
                        <a:pt x="10100" y="392"/>
                      </a:cubicBezTo>
                      <a:cubicBezTo>
                        <a:pt x="17200" y="-1352"/>
                        <a:pt x="24548" y="2883"/>
                        <a:pt x="26292" y="9983"/>
                      </a:cubicBezTo>
                      <a:cubicBezTo>
                        <a:pt x="28036" y="17082"/>
                        <a:pt x="23676" y="24307"/>
                        <a:pt x="16577" y="26051"/>
                      </a:cubicBezTo>
                      <a:cubicBezTo>
                        <a:pt x="9352" y="27919"/>
                        <a:pt x="2128"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9" name="Freeform 7241">
                  <a:extLst>
                    <a:ext uri="{FF2B5EF4-FFF2-40B4-BE49-F238E27FC236}">
                      <a16:creationId xmlns:a16="http://schemas.microsoft.com/office/drawing/2014/main" id="{5E4A3ECF-FAC3-8603-7DD7-28640553E14D}"/>
                    </a:ext>
                  </a:extLst>
                </p:cNvPr>
                <p:cNvSpPr/>
                <p:nvPr/>
              </p:nvSpPr>
              <p:spPr>
                <a:xfrm>
                  <a:off x="8601238" y="1581956"/>
                  <a:ext cx="12160" cy="50694"/>
                </a:xfrm>
                <a:custGeom>
                  <a:avLst/>
                  <a:gdLst>
                    <a:gd name="connsiteX0" fmla="*/ 92 w 12160"/>
                    <a:gd name="connsiteY0" fmla="*/ 0 h 50694"/>
                    <a:gd name="connsiteX1" fmla="*/ 2708 w 12160"/>
                    <a:gd name="connsiteY1" fmla="*/ 18559 h 50694"/>
                    <a:gd name="connsiteX2" fmla="*/ 10181 w 12160"/>
                    <a:gd name="connsiteY2" fmla="*/ 34253 h 50694"/>
                    <a:gd name="connsiteX3" fmla="*/ 12050 w 1216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60" h="50694">
                      <a:moveTo>
                        <a:pt x="92" y="0"/>
                      </a:moveTo>
                      <a:cubicBezTo>
                        <a:pt x="-406" y="8345"/>
                        <a:pt x="1213" y="14573"/>
                        <a:pt x="2708" y="18559"/>
                      </a:cubicBezTo>
                      <a:cubicBezTo>
                        <a:pt x="5199" y="25161"/>
                        <a:pt x="7939" y="27527"/>
                        <a:pt x="10181" y="34253"/>
                      </a:cubicBezTo>
                      <a:cubicBezTo>
                        <a:pt x="12299" y="40855"/>
                        <a:pt x="12299" y="46709"/>
                        <a:pt x="1205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0" name="Freeform 7242">
                  <a:extLst>
                    <a:ext uri="{FF2B5EF4-FFF2-40B4-BE49-F238E27FC236}">
                      <a16:creationId xmlns:a16="http://schemas.microsoft.com/office/drawing/2014/main" id="{9676C116-B2BF-76F4-A0D9-BA5263AB2ACD}"/>
                    </a:ext>
                  </a:extLst>
                </p:cNvPr>
                <p:cNvSpPr/>
                <p:nvPr/>
              </p:nvSpPr>
              <p:spPr>
                <a:xfrm>
                  <a:off x="8606810" y="1575355"/>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2" y="43222"/>
                        <a:pt x="7598" y="37118"/>
                        <a:pt x="6975" y="32759"/>
                      </a:cubicBezTo>
                      <a:cubicBezTo>
                        <a:pt x="5979" y="25783"/>
                        <a:pt x="7349" y="22420"/>
                        <a:pt x="6103" y="15321"/>
                      </a:cubicBezTo>
                      <a:cubicBezTo>
                        <a:pt x="4858"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1" name="Freeform 7243">
                  <a:extLst>
                    <a:ext uri="{FF2B5EF4-FFF2-40B4-BE49-F238E27FC236}">
                      <a16:creationId xmlns:a16="http://schemas.microsoft.com/office/drawing/2014/main" id="{9E106F1F-5EAC-28BD-8463-C36DE1075D1A}"/>
                    </a:ext>
                  </a:extLst>
                </p:cNvPr>
                <p:cNvSpPr/>
                <p:nvPr/>
              </p:nvSpPr>
              <p:spPr>
                <a:xfrm>
                  <a:off x="8589977" y="1560942"/>
                  <a:ext cx="26317" cy="26505"/>
                </a:xfrm>
                <a:custGeom>
                  <a:avLst/>
                  <a:gdLst>
                    <a:gd name="connsiteX0" fmla="*/ 25926 w 26317"/>
                    <a:gd name="connsiteY0" fmla="*/ 10053 h 26505"/>
                    <a:gd name="connsiteX1" fmla="*/ 16335 w 26317"/>
                    <a:gd name="connsiteY1" fmla="*/ 26121 h 26505"/>
                    <a:gd name="connsiteX2" fmla="*/ 392 w 26317"/>
                    <a:gd name="connsiteY2" fmla="*/ 16406 h 26505"/>
                    <a:gd name="connsiteX3" fmla="*/ 9983 w 26317"/>
                    <a:gd name="connsiteY3" fmla="*/ 338 h 26505"/>
                    <a:gd name="connsiteX4" fmla="*/ 25926 w 26317"/>
                    <a:gd name="connsiteY4" fmla="*/ 10053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05">
                      <a:moveTo>
                        <a:pt x="25926" y="10053"/>
                      </a:moveTo>
                      <a:cubicBezTo>
                        <a:pt x="27670" y="17153"/>
                        <a:pt x="23435" y="24377"/>
                        <a:pt x="16335" y="26121"/>
                      </a:cubicBezTo>
                      <a:cubicBezTo>
                        <a:pt x="9235" y="27865"/>
                        <a:pt x="2136" y="23506"/>
                        <a:pt x="392" y="16406"/>
                      </a:cubicBezTo>
                      <a:cubicBezTo>
                        <a:pt x="-1352" y="9306"/>
                        <a:pt x="2883" y="2082"/>
                        <a:pt x="9983" y="338"/>
                      </a:cubicBezTo>
                      <a:cubicBezTo>
                        <a:pt x="17083" y="-1281"/>
                        <a:pt x="24182" y="3078"/>
                        <a:pt x="25926" y="100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2" name="Graphic 2987">
                <a:extLst>
                  <a:ext uri="{FF2B5EF4-FFF2-40B4-BE49-F238E27FC236}">
                    <a16:creationId xmlns:a16="http://schemas.microsoft.com/office/drawing/2014/main" id="{45235669-2DD8-0327-D2E4-4FE0A9D4343D}"/>
                  </a:ext>
                </a:extLst>
              </p:cNvPr>
              <p:cNvGrpSpPr/>
              <p:nvPr/>
            </p:nvGrpSpPr>
            <p:grpSpPr>
              <a:xfrm>
                <a:off x="8561461" y="1567996"/>
                <a:ext cx="55822" cy="145428"/>
                <a:chOff x="8561461" y="1567996"/>
                <a:chExt cx="55822" cy="145428"/>
              </a:xfrm>
              <a:grpFill/>
            </p:grpSpPr>
            <p:sp>
              <p:nvSpPr>
                <p:cNvPr id="6840" name="Freeform 7245">
                  <a:extLst>
                    <a:ext uri="{FF2B5EF4-FFF2-40B4-BE49-F238E27FC236}">
                      <a16:creationId xmlns:a16="http://schemas.microsoft.com/office/drawing/2014/main" id="{2E2670D1-BC47-7219-BC56-573AB3FE95EB}"/>
                    </a:ext>
                  </a:extLst>
                </p:cNvPr>
                <p:cNvSpPr/>
                <p:nvPr/>
              </p:nvSpPr>
              <p:spPr>
                <a:xfrm>
                  <a:off x="8593745" y="1641495"/>
                  <a:ext cx="12041" cy="50944"/>
                </a:xfrm>
                <a:custGeom>
                  <a:avLst/>
                  <a:gdLst>
                    <a:gd name="connsiteX0" fmla="*/ 11944 w 12041"/>
                    <a:gd name="connsiteY0" fmla="*/ 50944 h 50944"/>
                    <a:gd name="connsiteX1" fmla="*/ 9453 w 12041"/>
                    <a:gd name="connsiteY1" fmla="*/ 32260 h 50944"/>
                    <a:gd name="connsiteX2" fmla="*/ 1979 w 12041"/>
                    <a:gd name="connsiteY2" fmla="*/ 16442 h 50944"/>
                    <a:gd name="connsiteX3" fmla="*/ 111 w 12041"/>
                    <a:gd name="connsiteY3" fmla="*/ 0 h 50944"/>
                  </a:gdLst>
                  <a:ahLst/>
                  <a:cxnLst>
                    <a:cxn ang="0">
                      <a:pos x="connsiteX0" y="connsiteY0"/>
                    </a:cxn>
                    <a:cxn ang="0">
                      <a:pos x="connsiteX1" y="connsiteY1"/>
                    </a:cxn>
                    <a:cxn ang="0">
                      <a:pos x="connsiteX2" y="connsiteY2"/>
                    </a:cxn>
                    <a:cxn ang="0">
                      <a:pos x="connsiteX3" y="connsiteY3"/>
                    </a:cxn>
                  </a:cxnLst>
                  <a:rect l="l" t="t" r="r" b="b"/>
                  <a:pathLst>
                    <a:path w="12041" h="50944">
                      <a:moveTo>
                        <a:pt x="11944" y="50944"/>
                      </a:moveTo>
                      <a:cubicBezTo>
                        <a:pt x="12442" y="42474"/>
                        <a:pt x="10948" y="36371"/>
                        <a:pt x="9453" y="32260"/>
                      </a:cubicBezTo>
                      <a:cubicBezTo>
                        <a:pt x="7086" y="25659"/>
                        <a:pt x="4222" y="23292"/>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1" name="Freeform 7246">
                  <a:extLst>
                    <a:ext uri="{FF2B5EF4-FFF2-40B4-BE49-F238E27FC236}">
                      <a16:creationId xmlns:a16="http://schemas.microsoft.com/office/drawing/2014/main" id="{14209D28-EB43-42DE-A97E-4BD4D1AA135D}"/>
                    </a:ext>
                  </a:extLst>
                </p:cNvPr>
                <p:cNvSpPr/>
                <p:nvPr/>
              </p:nvSpPr>
              <p:spPr>
                <a:xfrm>
                  <a:off x="8586881" y="1648595"/>
                  <a:ext cx="13078" cy="50445"/>
                </a:xfrm>
                <a:custGeom>
                  <a:avLst/>
                  <a:gdLst>
                    <a:gd name="connsiteX0" fmla="*/ 0 w 13078"/>
                    <a:gd name="connsiteY0" fmla="*/ 0 h 50445"/>
                    <a:gd name="connsiteX1" fmla="*/ 6353 w 13078"/>
                    <a:gd name="connsiteY1" fmla="*/ 17687 h 50445"/>
                    <a:gd name="connsiteX2" fmla="*/ 7100 w 13078"/>
                    <a:gd name="connsiteY2" fmla="*/ 35125 h 50445"/>
                    <a:gd name="connsiteX3" fmla="*/ 13078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0" y="0"/>
                      </a:moveTo>
                      <a:cubicBezTo>
                        <a:pt x="4359" y="7224"/>
                        <a:pt x="5854" y="13328"/>
                        <a:pt x="6353" y="17687"/>
                      </a:cubicBezTo>
                      <a:cubicBezTo>
                        <a:pt x="7224" y="24662"/>
                        <a:pt x="5854" y="28150"/>
                        <a:pt x="7100"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2" name="Freeform 7247">
                  <a:extLst>
                    <a:ext uri="{FF2B5EF4-FFF2-40B4-BE49-F238E27FC236}">
                      <a16:creationId xmlns:a16="http://schemas.microsoft.com/office/drawing/2014/main" id="{011B1DA3-E5C3-65F3-D3E2-9FA05D7C78B9}"/>
                    </a:ext>
                  </a:extLst>
                </p:cNvPr>
                <p:cNvSpPr/>
                <p:nvPr/>
              </p:nvSpPr>
              <p:spPr>
                <a:xfrm>
                  <a:off x="8590484" y="1686941"/>
                  <a:ext cx="26799" cy="26483"/>
                </a:xfrm>
                <a:custGeom>
                  <a:avLst/>
                  <a:gdLst>
                    <a:gd name="connsiteX0" fmla="*/ 384 w 26799"/>
                    <a:gd name="connsiteY0" fmla="*/ 16460 h 26483"/>
                    <a:gd name="connsiteX1" fmla="*/ 10224 w 26799"/>
                    <a:gd name="connsiteY1" fmla="*/ 392 h 26483"/>
                    <a:gd name="connsiteX2" fmla="*/ 26416 w 26799"/>
                    <a:gd name="connsiteY2" fmla="*/ 9983 h 26483"/>
                    <a:gd name="connsiteX3" fmla="*/ 16576 w 26799"/>
                    <a:gd name="connsiteY3" fmla="*/ 26051 h 26483"/>
                    <a:gd name="connsiteX4" fmla="*/ 384 w 26799"/>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483">
                      <a:moveTo>
                        <a:pt x="384" y="16460"/>
                      </a:moveTo>
                      <a:cubicBezTo>
                        <a:pt x="-1360" y="9360"/>
                        <a:pt x="2999" y="2136"/>
                        <a:pt x="10224" y="392"/>
                      </a:cubicBezTo>
                      <a:cubicBezTo>
                        <a:pt x="17323" y="-1352"/>
                        <a:pt x="24548" y="2883"/>
                        <a:pt x="26416" y="9983"/>
                      </a:cubicBezTo>
                      <a:cubicBezTo>
                        <a:pt x="28160" y="17082"/>
                        <a:pt x="23801" y="24307"/>
                        <a:pt x="16576" y="26051"/>
                      </a:cubicBezTo>
                      <a:cubicBezTo>
                        <a:pt x="9352" y="27919"/>
                        <a:pt x="2127"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3" name="Freeform 7248">
                  <a:extLst>
                    <a:ext uri="{FF2B5EF4-FFF2-40B4-BE49-F238E27FC236}">
                      <a16:creationId xmlns:a16="http://schemas.microsoft.com/office/drawing/2014/main" id="{825727EC-9FBD-331A-4712-5CC6B44A76C6}"/>
                    </a:ext>
                  </a:extLst>
                </p:cNvPr>
                <p:cNvSpPr/>
                <p:nvPr/>
              </p:nvSpPr>
              <p:spPr>
                <a:xfrm>
                  <a:off x="8572708" y="1589056"/>
                  <a:ext cx="11917" cy="50944"/>
                </a:xfrm>
                <a:custGeom>
                  <a:avLst/>
                  <a:gdLst>
                    <a:gd name="connsiteX0" fmla="*/ 98 w 11917"/>
                    <a:gd name="connsiteY0" fmla="*/ 0 h 50944"/>
                    <a:gd name="connsiteX1" fmla="*/ 2589 w 11917"/>
                    <a:gd name="connsiteY1" fmla="*/ 18684 h 50944"/>
                    <a:gd name="connsiteX2" fmla="*/ 9938 w 11917"/>
                    <a:gd name="connsiteY2" fmla="*/ 34502 h 50944"/>
                    <a:gd name="connsiteX3" fmla="*/ 11806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98" y="0"/>
                      </a:moveTo>
                      <a:cubicBezTo>
                        <a:pt x="-401" y="8345"/>
                        <a:pt x="1095" y="14573"/>
                        <a:pt x="2589" y="18684"/>
                      </a:cubicBezTo>
                      <a:cubicBezTo>
                        <a:pt x="4956" y="25285"/>
                        <a:pt x="7820" y="27652"/>
                        <a:pt x="9938" y="34502"/>
                      </a:cubicBezTo>
                      <a:cubicBezTo>
                        <a:pt x="12055" y="41104"/>
                        <a:pt x="12055" y="46958"/>
                        <a:pt x="11806"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4" name="Freeform 7249">
                  <a:extLst>
                    <a:ext uri="{FF2B5EF4-FFF2-40B4-BE49-F238E27FC236}">
                      <a16:creationId xmlns:a16="http://schemas.microsoft.com/office/drawing/2014/main" id="{56D3A28E-0B67-3D23-454D-DD7C4F657CBB}"/>
                    </a:ext>
                  </a:extLst>
                </p:cNvPr>
                <p:cNvSpPr/>
                <p:nvPr/>
              </p:nvSpPr>
              <p:spPr>
                <a:xfrm>
                  <a:off x="8578412" y="1582455"/>
                  <a:ext cx="13078" cy="50445"/>
                </a:xfrm>
                <a:custGeom>
                  <a:avLst/>
                  <a:gdLst>
                    <a:gd name="connsiteX0" fmla="*/ 13078 w 13078"/>
                    <a:gd name="connsiteY0" fmla="*/ 50446 h 50445"/>
                    <a:gd name="connsiteX1" fmla="*/ 6726 w 13078"/>
                    <a:gd name="connsiteY1" fmla="*/ 32759 h 50445"/>
                    <a:gd name="connsiteX2" fmla="*/ 5979 w 13078"/>
                    <a:gd name="connsiteY2" fmla="*/ 15321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50446"/>
                      </a:moveTo>
                      <a:cubicBezTo>
                        <a:pt x="8718" y="43222"/>
                        <a:pt x="7224" y="37118"/>
                        <a:pt x="6726" y="32759"/>
                      </a:cubicBezTo>
                      <a:cubicBezTo>
                        <a:pt x="5854" y="25783"/>
                        <a:pt x="7100" y="22296"/>
                        <a:pt x="5979" y="15321"/>
                      </a:cubicBezTo>
                      <a:cubicBezTo>
                        <a:pt x="485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5" name="Freeform 7250">
                  <a:extLst>
                    <a:ext uri="{FF2B5EF4-FFF2-40B4-BE49-F238E27FC236}">
                      <a16:creationId xmlns:a16="http://schemas.microsoft.com/office/drawing/2014/main" id="{23975A31-AF05-BA32-B2B1-F0646770BA47}"/>
                    </a:ext>
                  </a:extLst>
                </p:cNvPr>
                <p:cNvSpPr/>
                <p:nvPr/>
              </p:nvSpPr>
              <p:spPr>
                <a:xfrm>
                  <a:off x="8561461" y="1567996"/>
                  <a:ext cx="26310" cy="26551"/>
                </a:xfrm>
                <a:custGeom>
                  <a:avLst/>
                  <a:gdLst>
                    <a:gd name="connsiteX0" fmla="*/ 25919 w 26310"/>
                    <a:gd name="connsiteY0" fmla="*/ 10100 h 26551"/>
                    <a:gd name="connsiteX1" fmla="*/ 16328 w 26310"/>
                    <a:gd name="connsiteY1" fmla="*/ 26168 h 26551"/>
                    <a:gd name="connsiteX2" fmla="*/ 385 w 26310"/>
                    <a:gd name="connsiteY2" fmla="*/ 16452 h 26551"/>
                    <a:gd name="connsiteX3" fmla="*/ 9976 w 26310"/>
                    <a:gd name="connsiteY3" fmla="*/ 384 h 26551"/>
                    <a:gd name="connsiteX4" fmla="*/ 25919 w 2631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25919" y="10100"/>
                      </a:moveTo>
                      <a:cubicBezTo>
                        <a:pt x="27663" y="17199"/>
                        <a:pt x="23427" y="24424"/>
                        <a:pt x="16328" y="26168"/>
                      </a:cubicBezTo>
                      <a:cubicBezTo>
                        <a:pt x="9228" y="27911"/>
                        <a:pt x="2129" y="23552"/>
                        <a:pt x="385" y="16452"/>
                      </a:cubicBezTo>
                      <a:cubicBezTo>
                        <a:pt x="-1359" y="9352"/>
                        <a:pt x="3001" y="2128"/>
                        <a:pt x="9976" y="384"/>
                      </a:cubicBezTo>
                      <a:cubicBezTo>
                        <a:pt x="16951" y="-1360"/>
                        <a:pt x="24175" y="3000"/>
                        <a:pt x="2591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3" name="Graphic 2987">
                <a:extLst>
                  <a:ext uri="{FF2B5EF4-FFF2-40B4-BE49-F238E27FC236}">
                    <a16:creationId xmlns:a16="http://schemas.microsoft.com/office/drawing/2014/main" id="{FC5D2DE4-F339-444B-E2CC-1C587A8F2A85}"/>
                  </a:ext>
                </a:extLst>
              </p:cNvPr>
              <p:cNvGrpSpPr/>
              <p:nvPr/>
            </p:nvGrpSpPr>
            <p:grpSpPr>
              <a:xfrm>
                <a:off x="8532813" y="1575095"/>
                <a:ext cx="55324" cy="145628"/>
                <a:chOff x="8532813" y="1575095"/>
                <a:chExt cx="55324" cy="145628"/>
              </a:xfrm>
              <a:grpFill/>
            </p:grpSpPr>
            <p:sp>
              <p:nvSpPr>
                <p:cNvPr id="6834" name="Freeform 7252">
                  <a:extLst>
                    <a:ext uri="{FF2B5EF4-FFF2-40B4-BE49-F238E27FC236}">
                      <a16:creationId xmlns:a16="http://schemas.microsoft.com/office/drawing/2014/main" id="{D47FC4A1-7185-3416-1B1C-C16F192CB499}"/>
                    </a:ext>
                  </a:extLst>
                </p:cNvPr>
                <p:cNvSpPr/>
                <p:nvPr/>
              </p:nvSpPr>
              <p:spPr>
                <a:xfrm>
                  <a:off x="8565020" y="1648719"/>
                  <a:ext cx="11870" cy="50944"/>
                </a:xfrm>
                <a:custGeom>
                  <a:avLst/>
                  <a:gdLst>
                    <a:gd name="connsiteX0" fmla="*/ 11772 w 11870"/>
                    <a:gd name="connsiteY0" fmla="*/ 50944 h 50944"/>
                    <a:gd name="connsiteX1" fmla="*/ 9281 w 11870"/>
                    <a:gd name="connsiteY1" fmla="*/ 32260 h 50944"/>
                    <a:gd name="connsiteX2" fmla="*/ 1932 w 11870"/>
                    <a:gd name="connsiteY2" fmla="*/ 16442 h 50944"/>
                    <a:gd name="connsiteX3" fmla="*/ 189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50944"/>
                      </a:moveTo>
                      <a:cubicBezTo>
                        <a:pt x="12270" y="42474"/>
                        <a:pt x="10776" y="36371"/>
                        <a:pt x="9281" y="32260"/>
                      </a:cubicBezTo>
                      <a:cubicBezTo>
                        <a:pt x="6914" y="25659"/>
                        <a:pt x="4050" y="23292"/>
                        <a:pt x="1932" y="16442"/>
                      </a:cubicBezTo>
                      <a:cubicBezTo>
                        <a:pt x="-185" y="9840"/>
                        <a:pt x="-185" y="3986"/>
                        <a:pt x="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5" name="Freeform 7253">
                  <a:extLst>
                    <a:ext uri="{FF2B5EF4-FFF2-40B4-BE49-F238E27FC236}">
                      <a16:creationId xmlns:a16="http://schemas.microsoft.com/office/drawing/2014/main" id="{E00CDE58-1206-4E65-A5B5-F7FFE4F2A43E}"/>
                    </a:ext>
                  </a:extLst>
                </p:cNvPr>
                <p:cNvSpPr/>
                <p:nvPr/>
              </p:nvSpPr>
              <p:spPr>
                <a:xfrm>
                  <a:off x="8558109" y="1655695"/>
                  <a:ext cx="12953" cy="50445"/>
                </a:xfrm>
                <a:custGeom>
                  <a:avLst/>
                  <a:gdLst>
                    <a:gd name="connsiteX0" fmla="*/ 0 w 12953"/>
                    <a:gd name="connsiteY0" fmla="*/ 0 h 50445"/>
                    <a:gd name="connsiteX1" fmla="*/ 6353 w 12953"/>
                    <a:gd name="connsiteY1" fmla="*/ 17687 h 50445"/>
                    <a:gd name="connsiteX2" fmla="*/ 6975 w 12953"/>
                    <a:gd name="connsiteY2" fmla="*/ 35125 h 50445"/>
                    <a:gd name="connsiteX3" fmla="*/ 12954 w 12953"/>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952" h="50445">
                      <a:moveTo>
                        <a:pt x="0" y="0"/>
                      </a:moveTo>
                      <a:cubicBezTo>
                        <a:pt x="4359" y="7224"/>
                        <a:pt x="5729" y="13328"/>
                        <a:pt x="6353" y="17687"/>
                      </a:cubicBezTo>
                      <a:cubicBezTo>
                        <a:pt x="7224" y="24662"/>
                        <a:pt x="5854" y="28150"/>
                        <a:pt x="6975" y="35125"/>
                      </a:cubicBezTo>
                      <a:cubicBezTo>
                        <a:pt x="8096" y="41976"/>
                        <a:pt x="10836" y="47207"/>
                        <a:pt x="1295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6" name="Freeform 7254">
                  <a:extLst>
                    <a:ext uri="{FF2B5EF4-FFF2-40B4-BE49-F238E27FC236}">
                      <a16:creationId xmlns:a16="http://schemas.microsoft.com/office/drawing/2014/main" id="{1A8298F4-28E9-F8AB-9C92-9CDBF3FF5154}"/>
                    </a:ext>
                  </a:extLst>
                </p:cNvPr>
                <p:cNvSpPr/>
                <p:nvPr/>
              </p:nvSpPr>
              <p:spPr>
                <a:xfrm>
                  <a:off x="8561468" y="1694165"/>
                  <a:ext cx="26668" cy="26558"/>
                </a:xfrm>
                <a:custGeom>
                  <a:avLst/>
                  <a:gdLst>
                    <a:gd name="connsiteX0" fmla="*/ 377 w 26668"/>
                    <a:gd name="connsiteY0" fmla="*/ 16459 h 26558"/>
                    <a:gd name="connsiteX1" fmla="*/ 10217 w 26668"/>
                    <a:gd name="connsiteY1" fmla="*/ 391 h 26558"/>
                    <a:gd name="connsiteX2" fmla="*/ 26285 w 26668"/>
                    <a:gd name="connsiteY2" fmla="*/ 10107 h 26558"/>
                    <a:gd name="connsiteX3" fmla="*/ 16445 w 26668"/>
                    <a:gd name="connsiteY3" fmla="*/ 26175 h 26558"/>
                    <a:gd name="connsiteX4" fmla="*/ 377 w 26668"/>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8">
                      <a:moveTo>
                        <a:pt x="377" y="16459"/>
                      </a:moveTo>
                      <a:cubicBezTo>
                        <a:pt x="-1367" y="9359"/>
                        <a:pt x="3117" y="2135"/>
                        <a:pt x="10217" y="391"/>
                      </a:cubicBezTo>
                      <a:cubicBezTo>
                        <a:pt x="17317" y="-1353"/>
                        <a:pt x="24541" y="2882"/>
                        <a:pt x="26285" y="10107"/>
                      </a:cubicBezTo>
                      <a:cubicBezTo>
                        <a:pt x="28028" y="17207"/>
                        <a:pt x="23669" y="24431"/>
                        <a:pt x="16445" y="26175"/>
                      </a:cubicBezTo>
                      <a:cubicBezTo>
                        <a:pt x="9345" y="27919"/>
                        <a:pt x="2121" y="23559"/>
                        <a:pt x="377"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7" name="Freeform 7255">
                  <a:extLst>
                    <a:ext uri="{FF2B5EF4-FFF2-40B4-BE49-F238E27FC236}">
                      <a16:creationId xmlns:a16="http://schemas.microsoft.com/office/drawing/2014/main" id="{6D35FF97-F629-9CF8-7BBA-05B17BD8FB0D}"/>
                    </a:ext>
                  </a:extLst>
                </p:cNvPr>
                <p:cNvSpPr/>
                <p:nvPr/>
              </p:nvSpPr>
              <p:spPr>
                <a:xfrm>
                  <a:off x="8544060" y="1596156"/>
                  <a:ext cx="11869" cy="50944"/>
                </a:xfrm>
                <a:custGeom>
                  <a:avLst/>
                  <a:gdLst>
                    <a:gd name="connsiteX0" fmla="*/ 98 w 11869"/>
                    <a:gd name="connsiteY0" fmla="*/ 0 h 50944"/>
                    <a:gd name="connsiteX1" fmla="*/ 2588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470"/>
                        <a:pt x="1094" y="14573"/>
                        <a:pt x="2588" y="18684"/>
                      </a:cubicBezTo>
                      <a:cubicBezTo>
                        <a:pt x="4955" y="25285"/>
                        <a:pt x="7696" y="27652"/>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8" name="Freeform 7256">
                  <a:extLst>
                    <a:ext uri="{FF2B5EF4-FFF2-40B4-BE49-F238E27FC236}">
                      <a16:creationId xmlns:a16="http://schemas.microsoft.com/office/drawing/2014/main" id="{C717310E-1BA6-CD8F-8C8F-222A15228BDE}"/>
                    </a:ext>
                  </a:extLst>
                </p:cNvPr>
                <p:cNvSpPr/>
                <p:nvPr/>
              </p:nvSpPr>
              <p:spPr>
                <a:xfrm>
                  <a:off x="8549639" y="1589555"/>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8" y="43346"/>
                        <a:pt x="7348" y="37243"/>
                        <a:pt x="6726" y="32883"/>
                      </a:cubicBezTo>
                      <a:cubicBezTo>
                        <a:pt x="5854" y="25908"/>
                        <a:pt x="7224" y="22420"/>
                        <a:pt x="5979" y="15445"/>
                      </a:cubicBezTo>
                      <a:cubicBezTo>
                        <a:pt x="4857"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9" name="Freeform 7257">
                  <a:extLst>
                    <a:ext uri="{FF2B5EF4-FFF2-40B4-BE49-F238E27FC236}">
                      <a16:creationId xmlns:a16="http://schemas.microsoft.com/office/drawing/2014/main" id="{4944EA43-83E5-5D3F-3AC0-3A3772D4B8B2}"/>
                    </a:ext>
                  </a:extLst>
                </p:cNvPr>
                <p:cNvSpPr/>
                <p:nvPr/>
              </p:nvSpPr>
              <p:spPr>
                <a:xfrm>
                  <a:off x="8532813" y="1575095"/>
                  <a:ext cx="26427" cy="26551"/>
                </a:xfrm>
                <a:custGeom>
                  <a:avLst/>
                  <a:gdLst>
                    <a:gd name="connsiteX0" fmla="*/ 26043 w 26427"/>
                    <a:gd name="connsiteY0" fmla="*/ 10100 h 26551"/>
                    <a:gd name="connsiteX1" fmla="*/ 16327 w 26427"/>
                    <a:gd name="connsiteY1" fmla="*/ 26168 h 26551"/>
                    <a:gd name="connsiteX2" fmla="*/ 384 w 26427"/>
                    <a:gd name="connsiteY2" fmla="*/ 16452 h 26551"/>
                    <a:gd name="connsiteX3" fmla="*/ 10099 w 26427"/>
                    <a:gd name="connsiteY3" fmla="*/ 384 h 26551"/>
                    <a:gd name="connsiteX4" fmla="*/ 26043 w 26427"/>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551">
                      <a:moveTo>
                        <a:pt x="26043" y="10100"/>
                      </a:moveTo>
                      <a:cubicBezTo>
                        <a:pt x="27787" y="17199"/>
                        <a:pt x="23427" y="24424"/>
                        <a:pt x="16327" y="26168"/>
                      </a:cubicBezTo>
                      <a:cubicBezTo>
                        <a:pt x="9227" y="27911"/>
                        <a:pt x="2127" y="23552"/>
                        <a:pt x="384" y="16452"/>
                      </a:cubicBezTo>
                      <a:cubicBezTo>
                        <a:pt x="-1360" y="9352"/>
                        <a:pt x="2999" y="2128"/>
                        <a:pt x="10099" y="384"/>
                      </a:cubicBezTo>
                      <a:cubicBezTo>
                        <a:pt x="17199" y="-1360"/>
                        <a:pt x="24299" y="3000"/>
                        <a:pt x="2604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4" name="Graphic 2987">
                <a:extLst>
                  <a:ext uri="{FF2B5EF4-FFF2-40B4-BE49-F238E27FC236}">
                    <a16:creationId xmlns:a16="http://schemas.microsoft.com/office/drawing/2014/main" id="{A1C45FD3-10A2-F52E-D51B-C6AF1DA7CEB8}"/>
                  </a:ext>
                </a:extLst>
              </p:cNvPr>
              <p:cNvGrpSpPr/>
              <p:nvPr/>
            </p:nvGrpSpPr>
            <p:grpSpPr>
              <a:xfrm>
                <a:off x="8504329" y="1582195"/>
                <a:ext cx="54779" cy="145635"/>
                <a:chOff x="8504329" y="1582195"/>
                <a:chExt cx="54779" cy="145635"/>
              </a:xfrm>
              <a:grpFill/>
            </p:grpSpPr>
            <p:sp>
              <p:nvSpPr>
                <p:cNvPr id="6828" name="Freeform 7259">
                  <a:extLst>
                    <a:ext uri="{FF2B5EF4-FFF2-40B4-BE49-F238E27FC236}">
                      <a16:creationId xmlns:a16="http://schemas.microsoft.com/office/drawing/2014/main" id="{BED2F91F-792E-CE34-1743-370B35DDA1DD}"/>
                    </a:ext>
                  </a:extLst>
                </p:cNvPr>
                <p:cNvSpPr/>
                <p:nvPr/>
              </p:nvSpPr>
              <p:spPr>
                <a:xfrm>
                  <a:off x="8536177" y="1655819"/>
                  <a:ext cx="11690" cy="50944"/>
                </a:xfrm>
                <a:custGeom>
                  <a:avLst/>
                  <a:gdLst>
                    <a:gd name="connsiteX0" fmla="*/ 11593 w 11690"/>
                    <a:gd name="connsiteY0" fmla="*/ 50944 h 50944"/>
                    <a:gd name="connsiteX1" fmla="*/ 9226 w 11690"/>
                    <a:gd name="connsiteY1" fmla="*/ 32260 h 50944"/>
                    <a:gd name="connsiteX2" fmla="*/ 1877 w 11690"/>
                    <a:gd name="connsiteY2" fmla="*/ 16442 h 50944"/>
                    <a:gd name="connsiteX3" fmla="*/ 134 w 11690"/>
                    <a:gd name="connsiteY3" fmla="*/ 0 h 50944"/>
                  </a:gdLst>
                  <a:ahLst/>
                  <a:cxnLst>
                    <a:cxn ang="0">
                      <a:pos x="connsiteX0" y="connsiteY0"/>
                    </a:cxn>
                    <a:cxn ang="0">
                      <a:pos x="connsiteX1" y="connsiteY1"/>
                    </a:cxn>
                    <a:cxn ang="0">
                      <a:pos x="connsiteX2" y="connsiteY2"/>
                    </a:cxn>
                    <a:cxn ang="0">
                      <a:pos x="connsiteX3" y="connsiteY3"/>
                    </a:cxn>
                  </a:cxnLst>
                  <a:rect l="l" t="t" r="r" b="b"/>
                  <a:pathLst>
                    <a:path w="11690" h="50944">
                      <a:moveTo>
                        <a:pt x="11593" y="50944"/>
                      </a:moveTo>
                      <a:cubicBezTo>
                        <a:pt x="12091" y="42474"/>
                        <a:pt x="10596" y="36371"/>
                        <a:pt x="9226" y="32260"/>
                      </a:cubicBezTo>
                      <a:cubicBezTo>
                        <a:pt x="6860" y="25659"/>
                        <a:pt x="4120" y="23292"/>
                        <a:pt x="1877" y="16442"/>
                      </a:cubicBezTo>
                      <a:cubicBezTo>
                        <a:pt x="-240" y="9840"/>
                        <a:pt x="-116" y="3986"/>
                        <a:pt x="1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9" name="Freeform 7260">
                  <a:extLst>
                    <a:ext uri="{FF2B5EF4-FFF2-40B4-BE49-F238E27FC236}">
                      <a16:creationId xmlns:a16="http://schemas.microsoft.com/office/drawing/2014/main" id="{4FD3A278-898B-9F5A-B02C-4C002C88C349}"/>
                    </a:ext>
                  </a:extLst>
                </p:cNvPr>
                <p:cNvSpPr/>
                <p:nvPr/>
              </p:nvSpPr>
              <p:spPr>
                <a:xfrm>
                  <a:off x="8529336" y="1662794"/>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1" y="41976"/>
                        <a:pt x="10712"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0" name="Freeform 7261">
                  <a:extLst>
                    <a:ext uri="{FF2B5EF4-FFF2-40B4-BE49-F238E27FC236}">
                      <a16:creationId xmlns:a16="http://schemas.microsoft.com/office/drawing/2014/main" id="{0050757A-DD73-CECD-DC48-7AFAC2C3D768}"/>
                    </a:ext>
                  </a:extLst>
                </p:cNvPr>
                <p:cNvSpPr/>
                <p:nvPr/>
              </p:nvSpPr>
              <p:spPr>
                <a:xfrm>
                  <a:off x="8532446" y="1701272"/>
                  <a:ext cx="26661" cy="26558"/>
                </a:xfrm>
                <a:custGeom>
                  <a:avLst/>
                  <a:gdLst>
                    <a:gd name="connsiteX0" fmla="*/ 377 w 26661"/>
                    <a:gd name="connsiteY0" fmla="*/ 16452 h 26558"/>
                    <a:gd name="connsiteX1" fmla="*/ 10217 w 26661"/>
                    <a:gd name="connsiteY1" fmla="*/ 384 h 26558"/>
                    <a:gd name="connsiteX2" fmla="*/ 26285 w 26661"/>
                    <a:gd name="connsiteY2" fmla="*/ 10100 h 26558"/>
                    <a:gd name="connsiteX3" fmla="*/ 16445 w 26661"/>
                    <a:gd name="connsiteY3" fmla="*/ 26168 h 26558"/>
                    <a:gd name="connsiteX4" fmla="*/ 377 w 26661"/>
                    <a:gd name="connsiteY4" fmla="*/ 16452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8">
                      <a:moveTo>
                        <a:pt x="377" y="16452"/>
                      </a:moveTo>
                      <a:cubicBezTo>
                        <a:pt x="-1367" y="9352"/>
                        <a:pt x="3117" y="2128"/>
                        <a:pt x="10217" y="384"/>
                      </a:cubicBezTo>
                      <a:cubicBezTo>
                        <a:pt x="17316" y="-1360"/>
                        <a:pt x="24541" y="3000"/>
                        <a:pt x="26285" y="10100"/>
                      </a:cubicBezTo>
                      <a:cubicBezTo>
                        <a:pt x="28029" y="17199"/>
                        <a:pt x="23544" y="24424"/>
                        <a:pt x="16445" y="26168"/>
                      </a:cubicBezTo>
                      <a:cubicBezTo>
                        <a:pt x="9345" y="27911"/>
                        <a:pt x="2121" y="23676"/>
                        <a:pt x="37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1" name="Freeform 7262">
                  <a:extLst>
                    <a:ext uri="{FF2B5EF4-FFF2-40B4-BE49-F238E27FC236}">
                      <a16:creationId xmlns:a16="http://schemas.microsoft.com/office/drawing/2014/main" id="{68A687BF-9456-D058-01EA-AA6D4093676E}"/>
                    </a:ext>
                  </a:extLst>
                </p:cNvPr>
                <p:cNvSpPr/>
                <p:nvPr/>
              </p:nvSpPr>
              <p:spPr>
                <a:xfrm>
                  <a:off x="8515536" y="1603256"/>
                  <a:ext cx="11566" cy="50944"/>
                </a:xfrm>
                <a:custGeom>
                  <a:avLst/>
                  <a:gdLst>
                    <a:gd name="connsiteX0" fmla="*/ 98 w 11566"/>
                    <a:gd name="connsiteY0" fmla="*/ 0 h 50944"/>
                    <a:gd name="connsiteX1" fmla="*/ 2465 w 11566"/>
                    <a:gd name="connsiteY1" fmla="*/ 18684 h 50944"/>
                    <a:gd name="connsiteX2" fmla="*/ 9689 w 11566"/>
                    <a:gd name="connsiteY2" fmla="*/ 34502 h 50944"/>
                    <a:gd name="connsiteX3" fmla="*/ 11433 w 1156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66" h="50944">
                      <a:moveTo>
                        <a:pt x="98" y="0"/>
                      </a:moveTo>
                      <a:cubicBezTo>
                        <a:pt x="-400" y="8470"/>
                        <a:pt x="1095" y="14573"/>
                        <a:pt x="2465" y="18684"/>
                      </a:cubicBezTo>
                      <a:cubicBezTo>
                        <a:pt x="4831" y="25285"/>
                        <a:pt x="7572" y="27652"/>
                        <a:pt x="9689" y="34502"/>
                      </a:cubicBezTo>
                      <a:cubicBezTo>
                        <a:pt x="11806" y="41104"/>
                        <a:pt x="11682" y="46958"/>
                        <a:pt x="11433"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2" name="Freeform 7263">
                  <a:extLst>
                    <a:ext uri="{FF2B5EF4-FFF2-40B4-BE49-F238E27FC236}">
                      <a16:creationId xmlns:a16="http://schemas.microsoft.com/office/drawing/2014/main" id="{5671DC6C-45B6-E52B-90CF-E525FA0A0C27}"/>
                    </a:ext>
                  </a:extLst>
                </p:cNvPr>
                <p:cNvSpPr/>
                <p:nvPr/>
              </p:nvSpPr>
              <p:spPr>
                <a:xfrm>
                  <a:off x="8521239" y="1596654"/>
                  <a:ext cx="12705" cy="50570"/>
                </a:xfrm>
                <a:custGeom>
                  <a:avLst/>
                  <a:gdLst>
                    <a:gd name="connsiteX0" fmla="*/ 12705 w 12705"/>
                    <a:gd name="connsiteY0" fmla="*/ 50570 h 50570"/>
                    <a:gd name="connsiteX1" fmla="*/ 6477 w 12705"/>
                    <a:gd name="connsiteY1" fmla="*/ 32883 h 50570"/>
                    <a:gd name="connsiteX2" fmla="*/ 5855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5" y="15445"/>
                      </a:cubicBezTo>
                      <a:cubicBezTo>
                        <a:pt x="4733"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3" name="Freeform 7264">
                  <a:extLst>
                    <a:ext uri="{FF2B5EF4-FFF2-40B4-BE49-F238E27FC236}">
                      <a16:creationId xmlns:a16="http://schemas.microsoft.com/office/drawing/2014/main" id="{B80B3BDE-B12C-4CAB-137B-18F3ABF291E7}"/>
                    </a:ext>
                  </a:extLst>
                </p:cNvPr>
                <p:cNvSpPr/>
                <p:nvPr/>
              </p:nvSpPr>
              <p:spPr>
                <a:xfrm>
                  <a:off x="8504329" y="1582195"/>
                  <a:ext cx="26263" cy="26551"/>
                </a:xfrm>
                <a:custGeom>
                  <a:avLst/>
                  <a:gdLst>
                    <a:gd name="connsiteX0" fmla="*/ 25879 w 26263"/>
                    <a:gd name="connsiteY0" fmla="*/ 10100 h 26551"/>
                    <a:gd name="connsiteX1" fmla="*/ 16163 w 26263"/>
                    <a:gd name="connsiteY1" fmla="*/ 26168 h 26551"/>
                    <a:gd name="connsiteX2" fmla="*/ 344 w 26263"/>
                    <a:gd name="connsiteY2" fmla="*/ 16452 h 26551"/>
                    <a:gd name="connsiteX3" fmla="*/ 10060 w 26263"/>
                    <a:gd name="connsiteY3" fmla="*/ 384 h 26551"/>
                    <a:gd name="connsiteX4" fmla="*/ 25879 w 2626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3" h="26551">
                      <a:moveTo>
                        <a:pt x="25879" y="10100"/>
                      </a:moveTo>
                      <a:cubicBezTo>
                        <a:pt x="27622" y="17199"/>
                        <a:pt x="23263" y="24424"/>
                        <a:pt x="16163" y="26168"/>
                      </a:cubicBezTo>
                      <a:cubicBezTo>
                        <a:pt x="9063" y="27911"/>
                        <a:pt x="1964" y="23552"/>
                        <a:pt x="344" y="16452"/>
                      </a:cubicBezTo>
                      <a:cubicBezTo>
                        <a:pt x="-1275" y="9352"/>
                        <a:pt x="2960" y="2128"/>
                        <a:pt x="10060" y="384"/>
                      </a:cubicBezTo>
                      <a:cubicBezTo>
                        <a:pt x="17160" y="-1360"/>
                        <a:pt x="24260" y="3000"/>
                        <a:pt x="2587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5" name="Graphic 2987">
                <a:extLst>
                  <a:ext uri="{FF2B5EF4-FFF2-40B4-BE49-F238E27FC236}">
                    <a16:creationId xmlns:a16="http://schemas.microsoft.com/office/drawing/2014/main" id="{6B5913DA-DA94-5C35-8ADC-CAD35D2CC69E}"/>
                  </a:ext>
                </a:extLst>
              </p:cNvPr>
              <p:cNvGrpSpPr/>
              <p:nvPr/>
            </p:nvGrpSpPr>
            <p:grpSpPr>
              <a:xfrm>
                <a:off x="8475812" y="1589295"/>
                <a:ext cx="54398" cy="145753"/>
                <a:chOff x="8475812" y="1589295"/>
                <a:chExt cx="54398" cy="145753"/>
              </a:xfrm>
              <a:grpFill/>
            </p:grpSpPr>
            <p:sp>
              <p:nvSpPr>
                <p:cNvPr id="6822" name="Freeform 7266">
                  <a:extLst>
                    <a:ext uri="{FF2B5EF4-FFF2-40B4-BE49-F238E27FC236}">
                      <a16:creationId xmlns:a16="http://schemas.microsoft.com/office/drawing/2014/main" id="{E75D1F2E-2409-936D-80AE-BC347D26E8C7}"/>
                    </a:ext>
                  </a:extLst>
                </p:cNvPr>
                <p:cNvSpPr/>
                <p:nvPr/>
              </p:nvSpPr>
              <p:spPr>
                <a:xfrm>
                  <a:off x="8507346" y="1663044"/>
                  <a:ext cx="11546" cy="50944"/>
                </a:xfrm>
                <a:custGeom>
                  <a:avLst/>
                  <a:gdLst>
                    <a:gd name="connsiteX0" fmla="*/ 11402 w 11546"/>
                    <a:gd name="connsiteY0" fmla="*/ 50944 h 50944"/>
                    <a:gd name="connsiteX1" fmla="*/ 9035 w 11546"/>
                    <a:gd name="connsiteY1" fmla="*/ 32260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4" y="42474"/>
                        <a:pt x="10530" y="36371"/>
                        <a:pt x="9035" y="32260"/>
                      </a:cubicBezTo>
                      <a:cubicBezTo>
                        <a:pt x="6668" y="25659"/>
                        <a:pt x="3929"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3" name="Freeform 7267">
                  <a:extLst>
                    <a:ext uri="{FF2B5EF4-FFF2-40B4-BE49-F238E27FC236}">
                      <a16:creationId xmlns:a16="http://schemas.microsoft.com/office/drawing/2014/main" id="{793DA169-DE90-CD9D-F796-0BEB8910E1B0}"/>
                    </a:ext>
                  </a:extLst>
                </p:cNvPr>
                <p:cNvSpPr/>
                <p:nvPr/>
              </p:nvSpPr>
              <p:spPr>
                <a:xfrm>
                  <a:off x="8500438" y="1670019"/>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2" y="41976"/>
                        <a:pt x="10587"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4" name="Freeform 7268">
                  <a:extLst>
                    <a:ext uri="{FF2B5EF4-FFF2-40B4-BE49-F238E27FC236}">
                      <a16:creationId xmlns:a16="http://schemas.microsoft.com/office/drawing/2014/main" id="{6EBF5E88-5C71-18A7-8C86-842815537CFE}"/>
                    </a:ext>
                  </a:extLst>
                </p:cNvPr>
                <p:cNvSpPr/>
                <p:nvPr/>
              </p:nvSpPr>
              <p:spPr>
                <a:xfrm>
                  <a:off x="8503588" y="1708497"/>
                  <a:ext cx="26621" cy="26551"/>
                </a:xfrm>
                <a:custGeom>
                  <a:avLst/>
                  <a:gdLst>
                    <a:gd name="connsiteX0" fmla="*/ 337 w 26621"/>
                    <a:gd name="connsiteY0" fmla="*/ 16452 h 26551"/>
                    <a:gd name="connsiteX1" fmla="*/ 10302 w 26621"/>
                    <a:gd name="connsiteY1" fmla="*/ 384 h 26551"/>
                    <a:gd name="connsiteX2" fmla="*/ 26245 w 26621"/>
                    <a:gd name="connsiteY2" fmla="*/ 10100 h 26551"/>
                    <a:gd name="connsiteX3" fmla="*/ 16281 w 26621"/>
                    <a:gd name="connsiteY3" fmla="*/ 26168 h 26551"/>
                    <a:gd name="connsiteX4" fmla="*/ 337 w 26621"/>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1" h="26551">
                      <a:moveTo>
                        <a:pt x="337" y="16452"/>
                      </a:moveTo>
                      <a:cubicBezTo>
                        <a:pt x="-1282" y="9352"/>
                        <a:pt x="3078" y="2128"/>
                        <a:pt x="10302" y="384"/>
                      </a:cubicBezTo>
                      <a:cubicBezTo>
                        <a:pt x="17401" y="-1360"/>
                        <a:pt x="24626" y="3000"/>
                        <a:pt x="26245" y="10100"/>
                      </a:cubicBezTo>
                      <a:cubicBezTo>
                        <a:pt x="27989" y="17199"/>
                        <a:pt x="23505" y="24424"/>
                        <a:pt x="16281" y="26168"/>
                      </a:cubicBezTo>
                      <a:cubicBezTo>
                        <a:pt x="9056" y="27911"/>
                        <a:pt x="1956" y="23552"/>
                        <a:pt x="33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5" name="Freeform 7269">
                  <a:extLst>
                    <a:ext uri="{FF2B5EF4-FFF2-40B4-BE49-F238E27FC236}">
                      <a16:creationId xmlns:a16="http://schemas.microsoft.com/office/drawing/2014/main" id="{7720E351-0AEA-8A6B-C4AC-30CEFE5331D4}"/>
                    </a:ext>
                  </a:extLst>
                </p:cNvPr>
                <p:cNvSpPr/>
                <p:nvPr/>
              </p:nvSpPr>
              <p:spPr>
                <a:xfrm>
                  <a:off x="8486882" y="1610356"/>
                  <a:ext cx="11506" cy="50944"/>
                </a:xfrm>
                <a:custGeom>
                  <a:avLst/>
                  <a:gdLst>
                    <a:gd name="connsiteX0" fmla="*/ 104 w 11506"/>
                    <a:gd name="connsiteY0" fmla="*/ 0 h 50944"/>
                    <a:gd name="connsiteX1" fmla="*/ 2471 w 11506"/>
                    <a:gd name="connsiteY1" fmla="*/ 18684 h 50944"/>
                    <a:gd name="connsiteX2" fmla="*/ 9695 w 11506"/>
                    <a:gd name="connsiteY2" fmla="*/ 34502 h 50944"/>
                    <a:gd name="connsiteX3" fmla="*/ 11315 w 1150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06" h="50944">
                      <a:moveTo>
                        <a:pt x="104" y="0"/>
                      </a:moveTo>
                      <a:cubicBezTo>
                        <a:pt x="-394" y="8470"/>
                        <a:pt x="976" y="14573"/>
                        <a:pt x="2471" y="18684"/>
                      </a:cubicBezTo>
                      <a:cubicBezTo>
                        <a:pt x="4837" y="25285"/>
                        <a:pt x="7577" y="27776"/>
                        <a:pt x="9695" y="34502"/>
                      </a:cubicBezTo>
                      <a:cubicBezTo>
                        <a:pt x="11688" y="41104"/>
                        <a:pt x="11688" y="46958"/>
                        <a:pt x="1131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6" name="Freeform 7270">
                  <a:extLst>
                    <a:ext uri="{FF2B5EF4-FFF2-40B4-BE49-F238E27FC236}">
                      <a16:creationId xmlns:a16="http://schemas.microsoft.com/office/drawing/2014/main" id="{F4CD5D3F-C7DC-F767-BBCA-C54DF59E3FE2}"/>
                    </a:ext>
                  </a:extLst>
                </p:cNvPr>
                <p:cNvSpPr/>
                <p:nvPr/>
              </p:nvSpPr>
              <p:spPr>
                <a:xfrm>
                  <a:off x="8492591" y="1603754"/>
                  <a:ext cx="12705" cy="50570"/>
                </a:xfrm>
                <a:custGeom>
                  <a:avLst/>
                  <a:gdLst>
                    <a:gd name="connsiteX0" fmla="*/ 12705 w 12705"/>
                    <a:gd name="connsiteY0" fmla="*/ 50570 h 50570"/>
                    <a:gd name="connsiteX1" fmla="*/ 6477 w 12705"/>
                    <a:gd name="connsiteY1" fmla="*/ 32883 h 50570"/>
                    <a:gd name="connsiteX2" fmla="*/ 5854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4" y="15445"/>
                      </a:cubicBezTo>
                      <a:cubicBezTo>
                        <a:pt x="4733"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7" name="Freeform 7271">
                  <a:extLst>
                    <a:ext uri="{FF2B5EF4-FFF2-40B4-BE49-F238E27FC236}">
                      <a16:creationId xmlns:a16="http://schemas.microsoft.com/office/drawing/2014/main" id="{C76A44B1-8A17-C5C1-DFEB-86279E27BD45}"/>
                    </a:ext>
                  </a:extLst>
                </p:cNvPr>
                <p:cNvSpPr/>
                <p:nvPr/>
              </p:nvSpPr>
              <p:spPr>
                <a:xfrm>
                  <a:off x="8475812" y="1589295"/>
                  <a:ext cx="26249" cy="26551"/>
                </a:xfrm>
                <a:custGeom>
                  <a:avLst/>
                  <a:gdLst>
                    <a:gd name="connsiteX0" fmla="*/ 25872 w 26249"/>
                    <a:gd name="connsiteY0" fmla="*/ 10100 h 26551"/>
                    <a:gd name="connsiteX1" fmla="*/ 16157 w 26249"/>
                    <a:gd name="connsiteY1" fmla="*/ 26168 h 26551"/>
                    <a:gd name="connsiteX2" fmla="*/ 338 w 26249"/>
                    <a:gd name="connsiteY2" fmla="*/ 16452 h 26551"/>
                    <a:gd name="connsiteX3" fmla="*/ 10054 w 26249"/>
                    <a:gd name="connsiteY3" fmla="*/ 384 h 26551"/>
                    <a:gd name="connsiteX4" fmla="*/ 25872 w 262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51">
                      <a:moveTo>
                        <a:pt x="25872" y="10100"/>
                      </a:moveTo>
                      <a:cubicBezTo>
                        <a:pt x="27616" y="17199"/>
                        <a:pt x="23132" y="24424"/>
                        <a:pt x="16157" y="26168"/>
                      </a:cubicBezTo>
                      <a:cubicBezTo>
                        <a:pt x="9057" y="27911"/>
                        <a:pt x="1957" y="23552"/>
                        <a:pt x="338" y="16452"/>
                      </a:cubicBezTo>
                      <a:cubicBezTo>
                        <a:pt x="-1281" y="9352"/>
                        <a:pt x="3078" y="2128"/>
                        <a:pt x="10054" y="384"/>
                      </a:cubicBezTo>
                      <a:cubicBezTo>
                        <a:pt x="17029" y="-1360"/>
                        <a:pt x="24128" y="3000"/>
                        <a:pt x="2587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6" name="Graphic 2987">
                <a:extLst>
                  <a:ext uri="{FF2B5EF4-FFF2-40B4-BE49-F238E27FC236}">
                    <a16:creationId xmlns:a16="http://schemas.microsoft.com/office/drawing/2014/main" id="{3DE01C49-96E1-E046-4CBF-F9BB8F335EA4}"/>
                  </a:ext>
                </a:extLst>
              </p:cNvPr>
              <p:cNvGrpSpPr/>
              <p:nvPr/>
            </p:nvGrpSpPr>
            <p:grpSpPr>
              <a:xfrm>
                <a:off x="8447039" y="1596118"/>
                <a:ext cx="54102" cy="145684"/>
                <a:chOff x="8447039" y="1596118"/>
                <a:chExt cx="54102" cy="145684"/>
              </a:xfrm>
              <a:grpFill/>
            </p:grpSpPr>
            <p:sp>
              <p:nvSpPr>
                <p:cNvPr id="6816" name="Freeform 7273">
                  <a:extLst>
                    <a:ext uri="{FF2B5EF4-FFF2-40B4-BE49-F238E27FC236}">
                      <a16:creationId xmlns:a16="http://schemas.microsoft.com/office/drawing/2014/main" id="{C4DBB853-F3C1-4941-07CD-D8B96567A965}"/>
                    </a:ext>
                  </a:extLst>
                </p:cNvPr>
                <p:cNvSpPr/>
                <p:nvPr/>
              </p:nvSpPr>
              <p:spPr>
                <a:xfrm>
                  <a:off x="8478449" y="1669770"/>
                  <a:ext cx="11423" cy="51068"/>
                </a:xfrm>
                <a:custGeom>
                  <a:avLst/>
                  <a:gdLst>
                    <a:gd name="connsiteX0" fmla="*/ 11278 w 11423"/>
                    <a:gd name="connsiteY0" fmla="*/ 51069 h 51068"/>
                    <a:gd name="connsiteX1" fmla="*/ 9035 w 11423"/>
                    <a:gd name="connsiteY1" fmla="*/ 32385 h 51068"/>
                    <a:gd name="connsiteX2" fmla="*/ 1811 w 11423"/>
                    <a:gd name="connsiteY2" fmla="*/ 16442 h 51068"/>
                    <a:gd name="connsiteX3" fmla="*/ 192 w 11423"/>
                    <a:gd name="connsiteY3" fmla="*/ 0 h 51068"/>
                  </a:gdLst>
                  <a:ahLst/>
                  <a:cxnLst>
                    <a:cxn ang="0">
                      <a:pos x="connsiteX0" y="connsiteY0"/>
                    </a:cxn>
                    <a:cxn ang="0">
                      <a:pos x="connsiteX1" y="connsiteY1"/>
                    </a:cxn>
                    <a:cxn ang="0">
                      <a:pos x="connsiteX2" y="connsiteY2"/>
                    </a:cxn>
                    <a:cxn ang="0">
                      <a:pos x="connsiteX3" y="connsiteY3"/>
                    </a:cxn>
                  </a:cxnLst>
                  <a:rect l="l" t="t" r="r" b="b"/>
                  <a:pathLst>
                    <a:path w="11423" h="51068">
                      <a:moveTo>
                        <a:pt x="11278" y="51069"/>
                      </a:moveTo>
                      <a:cubicBezTo>
                        <a:pt x="11900" y="42723"/>
                        <a:pt x="10406" y="36495"/>
                        <a:pt x="9035" y="32385"/>
                      </a:cubicBezTo>
                      <a:cubicBezTo>
                        <a:pt x="6668" y="25783"/>
                        <a:pt x="3929" y="23292"/>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7" name="Freeform 7274">
                  <a:extLst>
                    <a:ext uri="{FF2B5EF4-FFF2-40B4-BE49-F238E27FC236}">
                      <a16:creationId xmlns:a16="http://schemas.microsoft.com/office/drawing/2014/main" id="{6B98F896-2F55-4F14-A5C4-4FDC3D5C87DD}"/>
                    </a:ext>
                  </a:extLst>
                </p:cNvPr>
                <p:cNvSpPr/>
                <p:nvPr/>
              </p:nvSpPr>
              <p:spPr>
                <a:xfrm>
                  <a:off x="8471541" y="1676620"/>
                  <a:ext cx="12455" cy="50570"/>
                </a:xfrm>
                <a:custGeom>
                  <a:avLst/>
                  <a:gdLst>
                    <a:gd name="connsiteX0" fmla="*/ 0 w 12455"/>
                    <a:gd name="connsiteY0" fmla="*/ 0 h 50570"/>
                    <a:gd name="connsiteX1" fmla="*/ 6103 w 12455"/>
                    <a:gd name="connsiteY1" fmla="*/ 17812 h 50570"/>
                    <a:gd name="connsiteX2" fmla="*/ 6601 w 12455"/>
                    <a:gd name="connsiteY2" fmla="*/ 35125 h 50570"/>
                    <a:gd name="connsiteX3" fmla="*/ 12456 w 12455"/>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55" h="50570">
                      <a:moveTo>
                        <a:pt x="0" y="0"/>
                      </a:moveTo>
                      <a:cubicBezTo>
                        <a:pt x="4235" y="7349"/>
                        <a:pt x="5605" y="13452"/>
                        <a:pt x="6103" y="17812"/>
                      </a:cubicBezTo>
                      <a:cubicBezTo>
                        <a:pt x="6851" y="24787"/>
                        <a:pt x="5481" y="28150"/>
                        <a:pt x="6601" y="35125"/>
                      </a:cubicBezTo>
                      <a:cubicBezTo>
                        <a:pt x="7723" y="41976"/>
                        <a:pt x="10339" y="47207"/>
                        <a:pt x="1245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8" name="Freeform 7275">
                  <a:extLst>
                    <a:ext uri="{FF2B5EF4-FFF2-40B4-BE49-F238E27FC236}">
                      <a16:creationId xmlns:a16="http://schemas.microsoft.com/office/drawing/2014/main" id="{E9536519-C935-3FBC-5742-2F8497F1EEEB}"/>
                    </a:ext>
                  </a:extLst>
                </p:cNvPr>
                <p:cNvSpPr/>
                <p:nvPr/>
              </p:nvSpPr>
              <p:spPr>
                <a:xfrm>
                  <a:off x="8474324" y="1715282"/>
                  <a:ext cx="26817" cy="26519"/>
                </a:xfrm>
                <a:custGeom>
                  <a:avLst/>
                  <a:gdLst>
                    <a:gd name="connsiteX0" fmla="*/ 331 w 26817"/>
                    <a:gd name="connsiteY0" fmla="*/ 16143 h 26519"/>
                    <a:gd name="connsiteX1" fmla="*/ 10420 w 26817"/>
                    <a:gd name="connsiteY1" fmla="*/ 324 h 26519"/>
                    <a:gd name="connsiteX2" fmla="*/ 26487 w 26817"/>
                    <a:gd name="connsiteY2" fmla="*/ 10414 h 26519"/>
                    <a:gd name="connsiteX3" fmla="*/ 16398 w 26817"/>
                    <a:gd name="connsiteY3" fmla="*/ 26232 h 26519"/>
                    <a:gd name="connsiteX4" fmla="*/ 331 w 2681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7" h="26519">
                      <a:moveTo>
                        <a:pt x="331" y="16143"/>
                      </a:moveTo>
                      <a:cubicBezTo>
                        <a:pt x="-1289" y="9044"/>
                        <a:pt x="3195" y="1944"/>
                        <a:pt x="10420" y="324"/>
                      </a:cubicBezTo>
                      <a:cubicBezTo>
                        <a:pt x="17644" y="-1295"/>
                        <a:pt x="24744" y="3314"/>
                        <a:pt x="26487" y="10414"/>
                      </a:cubicBezTo>
                      <a:cubicBezTo>
                        <a:pt x="28107" y="17513"/>
                        <a:pt x="23623" y="24613"/>
                        <a:pt x="16398" y="26232"/>
                      </a:cubicBezTo>
                      <a:cubicBezTo>
                        <a:pt x="9174" y="27727"/>
                        <a:pt x="2075"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9" name="Freeform 7276">
                  <a:extLst>
                    <a:ext uri="{FF2B5EF4-FFF2-40B4-BE49-F238E27FC236}">
                      <a16:creationId xmlns:a16="http://schemas.microsoft.com/office/drawing/2014/main" id="{15B8514C-D7C4-D648-94AE-8E64C352A619}"/>
                    </a:ext>
                  </a:extLst>
                </p:cNvPr>
                <p:cNvSpPr/>
                <p:nvPr/>
              </p:nvSpPr>
              <p:spPr>
                <a:xfrm>
                  <a:off x="8458192" y="1616957"/>
                  <a:ext cx="11422" cy="51068"/>
                </a:xfrm>
                <a:custGeom>
                  <a:avLst/>
                  <a:gdLst>
                    <a:gd name="connsiteX0" fmla="*/ 145 w 11422"/>
                    <a:gd name="connsiteY0" fmla="*/ 0 h 51068"/>
                    <a:gd name="connsiteX1" fmla="*/ 2387 w 11422"/>
                    <a:gd name="connsiteY1" fmla="*/ 18684 h 51068"/>
                    <a:gd name="connsiteX2" fmla="*/ 9612 w 11422"/>
                    <a:gd name="connsiteY2" fmla="*/ 34627 h 51068"/>
                    <a:gd name="connsiteX3" fmla="*/ 11231 w 1142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422" h="51068">
                      <a:moveTo>
                        <a:pt x="145" y="0"/>
                      </a:moveTo>
                      <a:cubicBezTo>
                        <a:pt x="-477" y="8345"/>
                        <a:pt x="1017" y="14573"/>
                        <a:pt x="2387" y="18684"/>
                      </a:cubicBezTo>
                      <a:cubicBezTo>
                        <a:pt x="4754" y="25285"/>
                        <a:pt x="7494" y="27776"/>
                        <a:pt x="9612" y="34627"/>
                      </a:cubicBezTo>
                      <a:cubicBezTo>
                        <a:pt x="11605" y="41229"/>
                        <a:pt x="11605" y="47083"/>
                        <a:pt x="1123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0" name="Freeform 7277">
                  <a:extLst>
                    <a:ext uri="{FF2B5EF4-FFF2-40B4-BE49-F238E27FC236}">
                      <a16:creationId xmlns:a16="http://schemas.microsoft.com/office/drawing/2014/main" id="{0C2D7DD2-2943-7C72-22A6-44BBF820BCB2}"/>
                    </a:ext>
                  </a:extLst>
                </p:cNvPr>
                <p:cNvSpPr/>
                <p:nvPr/>
              </p:nvSpPr>
              <p:spPr>
                <a:xfrm>
                  <a:off x="8464068" y="1610605"/>
                  <a:ext cx="12331" cy="50570"/>
                </a:xfrm>
                <a:custGeom>
                  <a:avLst/>
                  <a:gdLst>
                    <a:gd name="connsiteX0" fmla="*/ 12331 w 12331"/>
                    <a:gd name="connsiteY0" fmla="*/ 50570 h 50570"/>
                    <a:gd name="connsiteX1" fmla="*/ 6228 w 12331"/>
                    <a:gd name="connsiteY1" fmla="*/ 32759 h 50570"/>
                    <a:gd name="connsiteX2" fmla="*/ 5729 w 12331"/>
                    <a:gd name="connsiteY2" fmla="*/ 15445 h 50570"/>
                    <a:gd name="connsiteX3" fmla="*/ 0 w 12331"/>
                    <a:gd name="connsiteY3" fmla="*/ 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50570"/>
                      </a:moveTo>
                      <a:cubicBezTo>
                        <a:pt x="8096" y="43222"/>
                        <a:pt x="6726" y="37118"/>
                        <a:pt x="6228" y="32759"/>
                      </a:cubicBezTo>
                      <a:cubicBezTo>
                        <a:pt x="5480" y="25783"/>
                        <a:pt x="6851" y="22420"/>
                        <a:pt x="5729" y="15445"/>
                      </a:cubicBezTo>
                      <a:cubicBezTo>
                        <a:pt x="4609"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1" name="Freeform 7278">
                  <a:extLst>
                    <a:ext uri="{FF2B5EF4-FFF2-40B4-BE49-F238E27FC236}">
                      <a16:creationId xmlns:a16="http://schemas.microsoft.com/office/drawing/2014/main" id="{0EB2AA98-EE65-BC52-83A2-59B0E9159060}"/>
                    </a:ext>
                  </a:extLst>
                </p:cNvPr>
                <p:cNvSpPr/>
                <p:nvPr/>
              </p:nvSpPr>
              <p:spPr>
                <a:xfrm>
                  <a:off x="8447039" y="1596118"/>
                  <a:ext cx="26333" cy="26357"/>
                </a:xfrm>
                <a:custGeom>
                  <a:avLst/>
                  <a:gdLst>
                    <a:gd name="connsiteX0" fmla="*/ 25996 w 26333"/>
                    <a:gd name="connsiteY0" fmla="*/ 10376 h 26357"/>
                    <a:gd name="connsiteX1" fmla="*/ 16157 w 26333"/>
                    <a:gd name="connsiteY1" fmla="*/ 26071 h 26357"/>
                    <a:gd name="connsiteX2" fmla="*/ 337 w 26333"/>
                    <a:gd name="connsiteY2" fmla="*/ 15981 h 26357"/>
                    <a:gd name="connsiteX3" fmla="*/ 10177 w 26333"/>
                    <a:gd name="connsiteY3" fmla="*/ 287 h 26357"/>
                    <a:gd name="connsiteX4" fmla="*/ 25996 w 26333"/>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356">
                      <a:moveTo>
                        <a:pt x="25996" y="10376"/>
                      </a:moveTo>
                      <a:cubicBezTo>
                        <a:pt x="27616" y="17476"/>
                        <a:pt x="23256" y="24576"/>
                        <a:pt x="16157" y="26071"/>
                      </a:cubicBezTo>
                      <a:cubicBezTo>
                        <a:pt x="9057" y="27565"/>
                        <a:pt x="1957" y="23081"/>
                        <a:pt x="337" y="15981"/>
                      </a:cubicBezTo>
                      <a:cubicBezTo>
                        <a:pt x="-1282" y="8882"/>
                        <a:pt x="3077" y="1782"/>
                        <a:pt x="10177" y="287"/>
                      </a:cubicBezTo>
                      <a:cubicBezTo>
                        <a:pt x="17277" y="-1207"/>
                        <a:pt x="24377" y="3277"/>
                        <a:pt x="25996"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7" name="Graphic 2987">
                <a:extLst>
                  <a:ext uri="{FF2B5EF4-FFF2-40B4-BE49-F238E27FC236}">
                    <a16:creationId xmlns:a16="http://schemas.microsoft.com/office/drawing/2014/main" id="{035C64E7-3B97-5AE1-8733-9E62273BBBDD}"/>
                  </a:ext>
                </a:extLst>
              </p:cNvPr>
              <p:cNvGrpSpPr/>
              <p:nvPr/>
            </p:nvGrpSpPr>
            <p:grpSpPr>
              <a:xfrm>
                <a:off x="8418148" y="1602346"/>
                <a:ext cx="53723" cy="145845"/>
                <a:chOff x="8418148" y="1602346"/>
                <a:chExt cx="53723" cy="145845"/>
              </a:xfrm>
              <a:grpFill/>
            </p:grpSpPr>
            <p:sp>
              <p:nvSpPr>
                <p:cNvPr id="6810" name="Freeform 7280">
                  <a:extLst>
                    <a:ext uri="{FF2B5EF4-FFF2-40B4-BE49-F238E27FC236}">
                      <a16:creationId xmlns:a16="http://schemas.microsoft.com/office/drawing/2014/main" id="{541807EE-9094-7AF4-4002-88A7FACD2D4E}"/>
                    </a:ext>
                  </a:extLst>
                </p:cNvPr>
                <p:cNvSpPr/>
                <p:nvPr/>
              </p:nvSpPr>
              <p:spPr>
                <a:xfrm>
                  <a:off x="8449522" y="1676122"/>
                  <a:ext cx="11211" cy="51068"/>
                </a:xfrm>
                <a:custGeom>
                  <a:avLst/>
                  <a:gdLst>
                    <a:gd name="connsiteX0" fmla="*/ 11058 w 11211"/>
                    <a:gd name="connsiteY0" fmla="*/ 51069 h 51068"/>
                    <a:gd name="connsiteX1" fmla="*/ 8816 w 11211"/>
                    <a:gd name="connsiteY1" fmla="*/ 32385 h 51068"/>
                    <a:gd name="connsiteX2" fmla="*/ 1716 w 11211"/>
                    <a:gd name="connsiteY2" fmla="*/ 16442 h 51068"/>
                    <a:gd name="connsiteX3" fmla="*/ 222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9"/>
                      </a:moveTo>
                      <a:cubicBezTo>
                        <a:pt x="11681" y="42723"/>
                        <a:pt x="10311" y="36495"/>
                        <a:pt x="8816" y="32385"/>
                      </a:cubicBezTo>
                      <a:cubicBezTo>
                        <a:pt x="6449" y="25783"/>
                        <a:pt x="3709" y="23292"/>
                        <a:pt x="1716" y="16442"/>
                      </a:cubicBezTo>
                      <a:cubicBezTo>
                        <a:pt x="-276" y="9840"/>
                        <a:pt x="-152" y="3986"/>
                        <a:pt x="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1" name="Freeform 7281">
                  <a:extLst>
                    <a:ext uri="{FF2B5EF4-FFF2-40B4-BE49-F238E27FC236}">
                      <a16:creationId xmlns:a16="http://schemas.microsoft.com/office/drawing/2014/main" id="{3B3482B1-18F5-D169-B749-2996A3473008}"/>
                    </a:ext>
                  </a:extLst>
                </p:cNvPr>
                <p:cNvSpPr/>
                <p:nvPr/>
              </p:nvSpPr>
              <p:spPr>
                <a:xfrm>
                  <a:off x="8442519" y="1682973"/>
                  <a:ext cx="12207" cy="50694"/>
                </a:xfrm>
                <a:custGeom>
                  <a:avLst/>
                  <a:gdLst>
                    <a:gd name="connsiteX0" fmla="*/ 0 w 12207"/>
                    <a:gd name="connsiteY0" fmla="*/ 0 h 50694"/>
                    <a:gd name="connsiteX1" fmla="*/ 6103 w 12207"/>
                    <a:gd name="connsiteY1" fmla="*/ 17812 h 50694"/>
                    <a:gd name="connsiteX2" fmla="*/ 6477 w 12207"/>
                    <a:gd name="connsiteY2" fmla="*/ 35250 h 50694"/>
                    <a:gd name="connsiteX3" fmla="*/ 12207 w 1220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7" h="50694">
                      <a:moveTo>
                        <a:pt x="0" y="0"/>
                      </a:moveTo>
                      <a:cubicBezTo>
                        <a:pt x="4235" y="7349"/>
                        <a:pt x="5605" y="13452"/>
                        <a:pt x="6103" y="17812"/>
                      </a:cubicBezTo>
                      <a:cubicBezTo>
                        <a:pt x="6851" y="24787"/>
                        <a:pt x="5481" y="28150"/>
                        <a:pt x="6477" y="35250"/>
                      </a:cubicBezTo>
                      <a:cubicBezTo>
                        <a:pt x="7474" y="42101"/>
                        <a:pt x="10214" y="47332"/>
                        <a:pt x="1220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2" name="Freeform 7282">
                  <a:extLst>
                    <a:ext uri="{FF2B5EF4-FFF2-40B4-BE49-F238E27FC236}">
                      <a16:creationId xmlns:a16="http://schemas.microsoft.com/office/drawing/2014/main" id="{13F1D33A-77F3-FB42-A5EC-A9A850750446}"/>
                    </a:ext>
                  </a:extLst>
                </p:cNvPr>
                <p:cNvSpPr/>
                <p:nvPr/>
              </p:nvSpPr>
              <p:spPr>
                <a:xfrm>
                  <a:off x="8445177" y="1721635"/>
                  <a:ext cx="26693" cy="26556"/>
                </a:xfrm>
                <a:custGeom>
                  <a:avLst/>
                  <a:gdLst>
                    <a:gd name="connsiteX0" fmla="*/ 331 w 26693"/>
                    <a:gd name="connsiteY0" fmla="*/ 16143 h 26556"/>
                    <a:gd name="connsiteX1" fmla="*/ 10420 w 26693"/>
                    <a:gd name="connsiteY1" fmla="*/ 324 h 26556"/>
                    <a:gd name="connsiteX2" fmla="*/ 26363 w 26693"/>
                    <a:gd name="connsiteY2" fmla="*/ 10414 h 26556"/>
                    <a:gd name="connsiteX3" fmla="*/ 16274 w 26693"/>
                    <a:gd name="connsiteY3" fmla="*/ 26232 h 26556"/>
                    <a:gd name="connsiteX4" fmla="*/ 331 w 26693"/>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56">
                      <a:moveTo>
                        <a:pt x="331" y="16143"/>
                      </a:moveTo>
                      <a:cubicBezTo>
                        <a:pt x="-1289" y="9044"/>
                        <a:pt x="3196" y="1944"/>
                        <a:pt x="10420" y="324"/>
                      </a:cubicBezTo>
                      <a:cubicBezTo>
                        <a:pt x="17644" y="-1295"/>
                        <a:pt x="24744" y="3314"/>
                        <a:pt x="26363" y="10414"/>
                      </a:cubicBezTo>
                      <a:cubicBezTo>
                        <a:pt x="27983" y="17513"/>
                        <a:pt x="23499" y="24613"/>
                        <a:pt x="16274"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3" name="Freeform 7283">
                  <a:extLst>
                    <a:ext uri="{FF2B5EF4-FFF2-40B4-BE49-F238E27FC236}">
                      <a16:creationId xmlns:a16="http://schemas.microsoft.com/office/drawing/2014/main" id="{95C15FDD-2814-83D1-0399-767F51F34F01}"/>
                    </a:ext>
                  </a:extLst>
                </p:cNvPr>
                <p:cNvSpPr/>
                <p:nvPr/>
              </p:nvSpPr>
              <p:spPr>
                <a:xfrm>
                  <a:off x="8429286" y="1623185"/>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5"/>
                        <a:pt x="901" y="14573"/>
                        <a:pt x="2396" y="18684"/>
                      </a:cubicBezTo>
                      <a:cubicBezTo>
                        <a:pt x="4638" y="25285"/>
                        <a:pt x="7503" y="27776"/>
                        <a:pt x="9496" y="34627"/>
                      </a:cubicBezTo>
                      <a:cubicBezTo>
                        <a:pt x="11488"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4" name="Freeform 7284">
                  <a:extLst>
                    <a:ext uri="{FF2B5EF4-FFF2-40B4-BE49-F238E27FC236}">
                      <a16:creationId xmlns:a16="http://schemas.microsoft.com/office/drawing/2014/main" id="{5A3A4324-6D9B-DCA5-59CA-B7CF1E6357DB}"/>
                    </a:ext>
                  </a:extLst>
                </p:cNvPr>
                <p:cNvSpPr/>
                <p:nvPr/>
              </p:nvSpPr>
              <p:spPr>
                <a:xfrm>
                  <a:off x="8435170" y="1616833"/>
                  <a:ext cx="12331" cy="50694"/>
                </a:xfrm>
                <a:custGeom>
                  <a:avLst/>
                  <a:gdLst>
                    <a:gd name="connsiteX0" fmla="*/ 12331 w 12331"/>
                    <a:gd name="connsiteY0" fmla="*/ 50695 h 50694"/>
                    <a:gd name="connsiteX1" fmla="*/ 6228 w 12331"/>
                    <a:gd name="connsiteY1" fmla="*/ 32883 h 50694"/>
                    <a:gd name="connsiteX2" fmla="*/ 5729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1" y="25908"/>
                        <a:pt x="6851" y="22545"/>
                        <a:pt x="5729"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5" name="Freeform 7285">
                  <a:extLst>
                    <a:ext uri="{FF2B5EF4-FFF2-40B4-BE49-F238E27FC236}">
                      <a16:creationId xmlns:a16="http://schemas.microsoft.com/office/drawing/2014/main" id="{38A180BA-2E78-B556-2CC9-983EB940EE93}"/>
                    </a:ext>
                  </a:extLst>
                </p:cNvPr>
                <p:cNvSpPr/>
                <p:nvPr/>
              </p:nvSpPr>
              <p:spPr>
                <a:xfrm>
                  <a:off x="8418148" y="1602346"/>
                  <a:ext cx="26445" cy="26357"/>
                </a:xfrm>
                <a:custGeom>
                  <a:avLst/>
                  <a:gdLst>
                    <a:gd name="connsiteX0" fmla="*/ 26114 w 26445"/>
                    <a:gd name="connsiteY0" fmla="*/ 10376 h 26357"/>
                    <a:gd name="connsiteX1" fmla="*/ 16150 w 26445"/>
                    <a:gd name="connsiteY1" fmla="*/ 26071 h 26357"/>
                    <a:gd name="connsiteX2" fmla="*/ 331 w 26445"/>
                    <a:gd name="connsiteY2" fmla="*/ 15981 h 26357"/>
                    <a:gd name="connsiteX3" fmla="*/ 10295 w 26445"/>
                    <a:gd name="connsiteY3" fmla="*/ 287 h 26357"/>
                    <a:gd name="connsiteX4" fmla="*/ 26114 w 26445"/>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356">
                      <a:moveTo>
                        <a:pt x="26114" y="10376"/>
                      </a:moveTo>
                      <a:cubicBezTo>
                        <a:pt x="27734" y="17476"/>
                        <a:pt x="23250" y="24576"/>
                        <a:pt x="16150" y="26071"/>
                      </a:cubicBezTo>
                      <a:cubicBezTo>
                        <a:pt x="9050" y="27565"/>
                        <a:pt x="1950" y="23081"/>
                        <a:pt x="331" y="15981"/>
                      </a:cubicBezTo>
                      <a:cubicBezTo>
                        <a:pt x="-1288" y="8882"/>
                        <a:pt x="3195" y="1782"/>
                        <a:pt x="10295" y="287"/>
                      </a:cubicBezTo>
                      <a:cubicBezTo>
                        <a:pt x="17395" y="-1207"/>
                        <a:pt x="24495" y="3277"/>
                        <a:pt x="26114"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8" name="Graphic 2987">
                <a:extLst>
                  <a:ext uri="{FF2B5EF4-FFF2-40B4-BE49-F238E27FC236}">
                    <a16:creationId xmlns:a16="http://schemas.microsoft.com/office/drawing/2014/main" id="{C60E112F-2486-5F74-5A2E-C24A359AEF83}"/>
                  </a:ext>
                </a:extLst>
              </p:cNvPr>
              <p:cNvGrpSpPr/>
              <p:nvPr/>
            </p:nvGrpSpPr>
            <p:grpSpPr>
              <a:xfrm>
                <a:off x="8389375" y="1608655"/>
                <a:ext cx="53467" cy="145889"/>
                <a:chOff x="8389375" y="1608655"/>
                <a:chExt cx="53467" cy="145889"/>
              </a:xfrm>
              <a:grpFill/>
            </p:grpSpPr>
            <p:sp>
              <p:nvSpPr>
                <p:cNvPr id="6804" name="Freeform 7287">
                  <a:extLst>
                    <a:ext uri="{FF2B5EF4-FFF2-40B4-BE49-F238E27FC236}">
                      <a16:creationId xmlns:a16="http://schemas.microsoft.com/office/drawing/2014/main" id="{4EFC3815-3723-84D9-7557-145839CFC512}"/>
                    </a:ext>
                  </a:extLst>
                </p:cNvPr>
                <p:cNvSpPr/>
                <p:nvPr/>
              </p:nvSpPr>
              <p:spPr>
                <a:xfrm>
                  <a:off x="8420500" y="1682475"/>
                  <a:ext cx="11087" cy="51068"/>
                </a:xfrm>
                <a:custGeom>
                  <a:avLst/>
                  <a:gdLst>
                    <a:gd name="connsiteX0" fmla="*/ 10933 w 11087"/>
                    <a:gd name="connsiteY0" fmla="*/ 51069 h 51068"/>
                    <a:gd name="connsiteX1" fmla="*/ 8816 w 11087"/>
                    <a:gd name="connsiteY1" fmla="*/ 32385 h 51068"/>
                    <a:gd name="connsiteX2" fmla="*/ 1716 w 11087"/>
                    <a:gd name="connsiteY2" fmla="*/ 16442 h 51068"/>
                    <a:gd name="connsiteX3" fmla="*/ 221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51069"/>
                      </a:moveTo>
                      <a:cubicBezTo>
                        <a:pt x="11556" y="42723"/>
                        <a:pt x="10186" y="36495"/>
                        <a:pt x="8816" y="32385"/>
                      </a:cubicBezTo>
                      <a:cubicBezTo>
                        <a:pt x="6574" y="25783"/>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5" name="Freeform 7288">
                  <a:extLst>
                    <a:ext uri="{FF2B5EF4-FFF2-40B4-BE49-F238E27FC236}">
                      <a16:creationId xmlns:a16="http://schemas.microsoft.com/office/drawing/2014/main" id="{92BAB0C3-5882-15A1-1D36-5E807AB2283F}"/>
                    </a:ext>
                  </a:extLst>
                </p:cNvPr>
                <p:cNvSpPr/>
                <p:nvPr/>
              </p:nvSpPr>
              <p:spPr>
                <a:xfrm>
                  <a:off x="8413497" y="1689201"/>
                  <a:ext cx="12082" cy="50694"/>
                </a:xfrm>
                <a:custGeom>
                  <a:avLst/>
                  <a:gdLst>
                    <a:gd name="connsiteX0" fmla="*/ 0 w 12082"/>
                    <a:gd name="connsiteY0" fmla="*/ 0 h 50694"/>
                    <a:gd name="connsiteX1" fmla="*/ 5979 w 12082"/>
                    <a:gd name="connsiteY1" fmla="*/ 17812 h 50694"/>
                    <a:gd name="connsiteX2" fmla="*/ 6353 w 12082"/>
                    <a:gd name="connsiteY2" fmla="*/ 35250 h 50694"/>
                    <a:gd name="connsiteX3" fmla="*/ 12082 w 1208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082" h="50694">
                      <a:moveTo>
                        <a:pt x="0" y="0"/>
                      </a:moveTo>
                      <a:cubicBezTo>
                        <a:pt x="4235" y="7349"/>
                        <a:pt x="5605" y="13452"/>
                        <a:pt x="5979" y="17812"/>
                      </a:cubicBezTo>
                      <a:cubicBezTo>
                        <a:pt x="6727" y="24787"/>
                        <a:pt x="5357" y="28150"/>
                        <a:pt x="6353" y="35250"/>
                      </a:cubicBezTo>
                      <a:cubicBezTo>
                        <a:pt x="7349" y="42101"/>
                        <a:pt x="9965" y="47332"/>
                        <a:pt x="1208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6" name="Freeform 7289">
                  <a:extLst>
                    <a:ext uri="{FF2B5EF4-FFF2-40B4-BE49-F238E27FC236}">
                      <a16:creationId xmlns:a16="http://schemas.microsoft.com/office/drawing/2014/main" id="{72A1866E-B919-DDDE-CDC4-AFDE501A52B9}"/>
                    </a:ext>
                  </a:extLst>
                </p:cNvPr>
                <p:cNvSpPr/>
                <p:nvPr/>
              </p:nvSpPr>
              <p:spPr>
                <a:xfrm>
                  <a:off x="8416038" y="1727987"/>
                  <a:ext cx="26805" cy="26556"/>
                </a:xfrm>
                <a:custGeom>
                  <a:avLst/>
                  <a:gdLst>
                    <a:gd name="connsiteX0" fmla="*/ 324 w 26805"/>
                    <a:gd name="connsiteY0" fmla="*/ 16143 h 26556"/>
                    <a:gd name="connsiteX1" fmla="*/ 10538 w 26805"/>
                    <a:gd name="connsiteY1" fmla="*/ 324 h 26556"/>
                    <a:gd name="connsiteX2" fmla="*/ 26481 w 26805"/>
                    <a:gd name="connsiteY2" fmla="*/ 10414 h 26556"/>
                    <a:gd name="connsiteX3" fmla="*/ 16267 w 26805"/>
                    <a:gd name="connsiteY3" fmla="*/ 26233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4"/>
                        <a:pt x="3313" y="1944"/>
                        <a:pt x="10538" y="324"/>
                      </a:cubicBezTo>
                      <a:cubicBezTo>
                        <a:pt x="17762" y="-1295"/>
                        <a:pt x="24862" y="3314"/>
                        <a:pt x="26481" y="10414"/>
                      </a:cubicBezTo>
                      <a:cubicBezTo>
                        <a:pt x="28100" y="17513"/>
                        <a:pt x="23492" y="24613"/>
                        <a:pt x="16267" y="26233"/>
                      </a:cubicBezTo>
                      <a:cubicBezTo>
                        <a:pt x="9043" y="27852"/>
                        <a:pt x="1944"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7" name="Freeform 7290">
                  <a:extLst>
                    <a:ext uri="{FF2B5EF4-FFF2-40B4-BE49-F238E27FC236}">
                      <a16:creationId xmlns:a16="http://schemas.microsoft.com/office/drawing/2014/main" id="{C7D63612-4490-F062-FF3D-FBF525BD08FA}"/>
                    </a:ext>
                  </a:extLst>
                </p:cNvPr>
                <p:cNvSpPr/>
                <p:nvPr/>
              </p:nvSpPr>
              <p:spPr>
                <a:xfrm>
                  <a:off x="8400513" y="162953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6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5"/>
                        <a:pt x="902" y="14573"/>
                        <a:pt x="2272" y="18684"/>
                      </a:cubicBezTo>
                      <a:cubicBezTo>
                        <a:pt x="4514" y="25285"/>
                        <a:pt x="7254" y="27776"/>
                        <a:pt x="9372" y="34627"/>
                      </a:cubicBezTo>
                      <a:cubicBezTo>
                        <a:pt x="11365" y="41229"/>
                        <a:pt x="11240" y="47083"/>
                        <a:pt x="1086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8" name="Freeform 7291">
                  <a:extLst>
                    <a:ext uri="{FF2B5EF4-FFF2-40B4-BE49-F238E27FC236}">
                      <a16:creationId xmlns:a16="http://schemas.microsoft.com/office/drawing/2014/main" id="{55420C33-A805-32FE-7676-F4F0BF9ABC71}"/>
                    </a:ext>
                  </a:extLst>
                </p:cNvPr>
                <p:cNvSpPr/>
                <p:nvPr/>
              </p:nvSpPr>
              <p:spPr>
                <a:xfrm>
                  <a:off x="8406397" y="1623061"/>
                  <a:ext cx="12081" cy="50819"/>
                </a:xfrm>
                <a:custGeom>
                  <a:avLst/>
                  <a:gdLst>
                    <a:gd name="connsiteX0" fmla="*/ 12082 w 12081"/>
                    <a:gd name="connsiteY0" fmla="*/ 50820 h 50819"/>
                    <a:gd name="connsiteX1" fmla="*/ 6103 w 12081"/>
                    <a:gd name="connsiteY1" fmla="*/ 33008 h 50819"/>
                    <a:gd name="connsiteX2" fmla="*/ 5729 w 12081"/>
                    <a:gd name="connsiteY2" fmla="*/ 15570 h 50819"/>
                    <a:gd name="connsiteX3" fmla="*/ 0 w 12081"/>
                    <a:gd name="connsiteY3" fmla="*/ 0 h 50819"/>
                  </a:gdLst>
                  <a:ahLst/>
                  <a:cxnLst>
                    <a:cxn ang="0">
                      <a:pos x="connsiteX0" y="connsiteY0"/>
                    </a:cxn>
                    <a:cxn ang="0">
                      <a:pos x="connsiteX1" y="connsiteY1"/>
                    </a:cxn>
                    <a:cxn ang="0">
                      <a:pos x="connsiteX2" y="connsiteY2"/>
                    </a:cxn>
                    <a:cxn ang="0">
                      <a:pos x="connsiteX3" y="connsiteY3"/>
                    </a:cxn>
                  </a:cxnLst>
                  <a:rect l="l" t="t" r="r" b="b"/>
                  <a:pathLst>
                    <a:path w="12081" h="50818">
                      <a:moveTo>
                        <a:pt x="12082" y="50820"/>
                      </a:moveTo>
                      <a:cubicBezTo>
                        <a:pt x="7847" y="43471"/>
                        <a:pt x="6476" y="37367"/>
                        <a:pt x="6103" y="33008"/>
                      </a:cubicBezTo>
                      <a:cubicBezTo>
                        <a:pt x="5356" y="26033"/>
                        <a:pt x="6726" y="22669"/>
                        <a:pt x="5729" y="15570"/>
                      </a:cubicBezTo>
                      <a:cubicBezTo>
                        <a:pt x="4733" y="8719"/>
                        <a:pt x="2117"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9" name="Freeform 7292">
                  <a:extLst>
                    <a:ext uri="{FF2B5EF4-FFF2-40B4-BE49-F238E27FC236}">
                      <a16:creationId xmlns:a16="http://schemas.microsoft.com/office/drawing/2014/main" id="{0C55BE0F-8D75-E314-9126-B93E8883D1D2}"/>
                    </a:ext>
                  </a:extLst>
                </p:cNvPr>
                <p:cNvSpPr/>
                <p:nvPr/>
              </p:nvSpPr>
              <p:spPr>
                <a:xfrm>
                  <a:off x="8389375" y="1608655"/>
                  <a:ext cx="26445" cy="26401"/>
                </a:xfrm>
                <a:custGeom>
                  <a:avLst/>
                  <a:gdLst>
                    <a:gd name="connsiteX0" fmla="*/ 26114 w 26445"/>
                    <a:gd name="connsiteY0" fmla="*/ 10420 h 26401"/>
                    <a:gd name="connsiteX1" fmla="*/ 16150 w 26445"/>
                    <a:gd name="connsiteY1" fmla="*/ 26114 h 26401"/>
                    <a:gd name="connsiteX2" fmla="*/ 331 w 26445"/>
                    <a:gd name="connsiteY2" fmla="*/ 16025 h 26401"/>
                    <a:gd name="connsiteX3" fmla="*/ 10295 w 26445"/>
                    <a:gd name="connsiteY3" fmla="*/ 331 h 26401"/>
                    <a:gd name="connsiteX4" fmla="*/ 26114 w 26445"/>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01">
                      <a:moveTo>
                        <a:pt x="26114" y="10420"/>
                      </a:moveTo>
                      <a:cubicBezTo>
                        <a:pt x="27734" y="17519"/>
                        <a:pt x="23250" y="24619"/>
                        <a:pt x="16150" y="26114"/>
                      </a:cubicBezTo>
                      <a:cubicBezTo>
                        <a:pt x="9050" y="27609"/>
                        <a:pt x="1950" y="23125"/>
                        <a:pt x="331" y="16025"/>
                      </a:cubicBezTo>
                      <a:cubicBezTo>
                        <a:pt x="-1288" y="8925"/>
                        <a:pt x="3195" y="1825"/>
                        <a:pt x="10295" y="331"/>
                      </a:cubicBezTo>
                      <a:cubicBezTo>
                        <a:pt x="17520" y="-1289"/>
                        <a:pt x="24495" y="3195"/>
                        <a:pt x="26114"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9" name="Graphic 2987">
                <a:extLst>
                  <a:ext uri="{FF2B5EF4-FFF2-40B4-BE49-F238E27FC236}">
                    <a16:creationId xmlns:a16="http://schemas.microsoft.com/office/drawing/2014/main" id="{C840D2AE-70D2-2A77-2892-4A82B884651E}"/>
                  </a:ext>
                </a:extLst>
              </p:cNvPr>
              <p:cNvGrpSpPr/>
              <p:nvPr/>
            </p:nvGrpSpPr>
            <p:grpSpPr>
              <a:xfrm>
                <a:off x="8360765" y="1614883"/>
                <a:ext cx="52931" cy="146013"/>
                <a:chOff x="8360765" y="1614883"/>
                <a:chExt cx="52931" cy="146013"/>
              </a:xfrm>
              <a:grpFill/>
            </p:grpSpPr>
            <p:sp>
              <p:nvSpPr>
                <p:cNvPr id="6798" name="Freeform 7294">
                  <a:extLst>
                    <a:ext uri="{FF2B5EF4-FFF2-40B4-BE49-F238E27FC236}">
                      <a16:creationId xmlns:a16="http://schemas.microsoft.com/office/drawing/2014/main" id="{024D8BE2-D9FD-04C0-C3B8-E684230D7E69}"/>
                    </a:ext>
                  </a:extLst>
                </p:cNvPr>
                <p:cNvSpPr/>
                <p:nvPr/>
              </p:nvSpPr>
              <p:spPr>
                <a:xfrm>
                  <a:off x="8391388" y="1688827"/>
                  <a:ext cx="11109" cy="51068"/>
                </a:xfrm>
                <a:custGeom>
                  <a:avLst/>
                  <a:gdLst>
                    <a:gd name="connsiteX0" fmla="*/ 10899 w 11109"/>
                    <a:gd name="connsiteY0" fmla="*/ 51069 h 51068"/>
                    <a:gd name="connsiteX1" fmla="*/ 8782 w 11109"/>
                    <a:gd name="connsiteY1" fmla="*/ 32385 h 51068"/>
                    <a:gd name="connsiteX2" fmla="*/ 1682 w 11109"/>
                    <a:gd name="connsiteY2" fmla="*/ 16442 h 51068"/>
                    <a:gd name="connsiteX3" fmla="*/ 311 w 11109"/>
                    <a:gd name="connsiteY3" fmla="*/ 0 h 51068"/>
                  </a:gdLst>
                  <a:ahLst/>
                  <a:cxnLst>
                    <a:cxn ang="0">
                      <a:pos x="connsiteX0" y="connsiteY0"/>
                    </a:cxn>
                    <a:cxn ang="0">
                      <a:pos x="connsiteX1" y="connsiteY1"/>
                    </a:cxn>
                    <a:cxn ang="0">
                      <a:pos x="connsiteX2" y="connsiteY2"/>
                    </a:cxn>
                    <a:cxn ang="0">
                      <a:pos x="connsiteX3" y="connsiteY3"/>
                    </a:cxn>
                  </a:cxnLst>
                  <a:rect l="l" t="t" r="r" b="b"/>
                  <a:pathLst>
                    <a:path w="11109" h="51068">
                      <a:moveTo>
                        <a:pt x="10899" y="51069"/>
                      </a:moveTo>
                      <a:cubicBezTo>
                        <a:pt x="11646" y="42723"/>
                        <a:pt x="10276" y="36495"/>
                        <a:pt x="8782" y="32385"/>
                      </a:cubicBezTo>
                      <a:cubicBezTo>
                        <a:pt x="6539" y="25783"/>
                        <a:pt x="3799" y="23292"/>
                        <a:pt x="1682" y="16442"/>
                      </a:cubicBezTo>
                      <a:cubicBezTo>
                        <a:pt x="-311" y="9840"/>
                        <a:pt x="-187" y="3986"/>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9" name="Freeform 7295">
                  <a:extLst>
                    <a:ext uri="{FF2B5EF4-FFF2-40B4-BE49-F238E27FC236}">
                      <a16:creationId xmlns:a16="http://schemas.microsoft.com/office/drawing/2014/main" id="{B387EFE8-41C4-0009-6FF0-C768D9EE78DA}"/>
                    </a:ext>
                  </a:extLst>
                </p:cNvPr>
                <p:cNvSpPr/>
                <p:nvPr/>
              </p:nvSpPr>
              <p:spPr>
                <a:xfrm>
                  <a:off x="8384600" y="1695553"/>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577"/>
                        <a:pt x="5979" y="17812"/>
                      </a:cubicBezTo>
                      <a:cubicBezTo>
                        <a:pt x="6726" y="24787"/>
                        <a:pt x="5231" y="28150"/>
                        <a:pt x="6352" y="35250"/>
                      </a:cubicBezTo>
                      <a:cubicBezTo>
                        <a:pt x="7348"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0" name="Freeform 7296">
                  <a:extLst>
                    <a:ext uri="{FF2B5EF4-FFF2-40B4-BE49-F238E27FC236}">
                      <a16:creationId xmlns:a16="http://schemas.microsoft.com/office/drawing/2014/main" id="{5AB9A8A7-20EB-DA91-0512-5BE401530E56}"/>
                    </a:ext>
                  </a:extLst>
                </p:cNvPr>
                <p:cNvSpPr/>
                <p:nvPr/>
              </p:nvSpPr>
              <p:spPr>
                <a:xfrm>
                  <a:off x="8386891" y="1734340"/>
                  <a:ext cx="26805" cy="26556"/>
                </a:xfrm>
                <a:custGeom>
                  <a:avLst/>
                  <a:gdLst>
                    <a:gd name="connsiteX0" fmla="*/ 324 w 26805"/>
                    <a:gd name="connsiteY0" fmla="*/ 16143 h 26556"/>
                    <a:gd name="connsiteX1" fmla="*/ 10538 w 26805"/>
                    <a:gd name="connsiteY1" fmla="*/ 324 h 26556"/>
                    <a:gd name="connsiteX2" fmla="*/ 26482 w 26805"/>
                    <a:gd name="connsiteY2" fmla="*/ 10414 h 26556"/>
                    <a:gd name="connsiteX3" fmla="*/ 16268 w 26805"/>
                    <a:gd name="connsiteY3" fmla="*/ 26232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3"/>
                        <a:pt x="3313" y="1944"/>
                        <a:pt x="10538" y="324"/>
                      </a:cubicBezTo>
                      <a:cubicBezTo>
                        <a:pt x="17763" y="-1295"/>
                        <a:pt x="24862" y="3314"/>
                        <a:pt x="26482" y="10414"/>
                      </a:cubicBezTo>
                      <a:cubicBezTo>
                        <a:pt x="28101" y="17513"/>
                        <a:pt x="23492" y="24613"/>
                        <a:pt x="16268" y="26232"/>
                      </a:cubicBezTo>
                      <a:cubicBezTo>
                        <a:pt x="8919" y="27852"/>
                        <a:pt x="1819"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1" name="Freeform 7297">
                  <a:extLst>
                    <a:ext uri="{FF2B5EF4-FFF2-40B4-BE49-F238E27FC236}">
                      <a16:creationId xmlns:a16="http://schemas.microsoft.com/office/drawing/2014/main" id="{5C12F6FC-20A3-0BC0-6CC5-6B6F096EEF36}"/>
                    </a:ext>
                  </a:extLst>
                </p:cNvPr>
                <p:cNvSpPr/>
                <p:nvPr/>
              </p:nvSpPr>
              <p:spPr>
                <a:xfrm>
                  <a:off x="8371740" y="1635765"/>
                  <a:ext cx="10928" cy="51068"/>
                </a:xfrm>
                <a:custGeom>
                  <a:avLst/>
                  <a:gdLst>
                    <a:gd name="connsiteX0" fmla="*/ 155 w 10928"/>
                    <a:gd name="connsiteY0" fmla="*/ 0 h 51068"/>
                    <a:gd name="connsiteX1" fmla="*/ 2272 w 10928"/>
                    <a:gd name="connsiteY1" fmla="*/ 18684 h 51068"/>
                    <a:gd name="connsiteX2" fmla="*/ 9247 w 10928"/>
                    <a:gd name="connsiteY2" fmla="*/ 34627 h 51068"/>
                    <a:gd name="connsiteX3" fmla="*/ 10617 w 1092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28" h="51068">
                      <a:moveTo>
                        <a:pt x="155" y="0"/>
                      </a:moveTo>
                      <a:cubicBezTo>
                        <a:pt x="-468" y="8345"/>
                        <a:pt x="902" y="14573"/>
                        <a:pt x="2272" y="18684"/>
                      </a:cubicBezTo>
                      <a:cubicBezTo>
                        <a:pt x="4514" y="25285"/>
                        <a:pt x="7254" y="27776"/>
                        <a:pt x="9247" y="34627"/>
                      </a:cubicBezTo>
                      <a:cubicBezTo>
                        <a:pt x="11240" y="41229"/>
                        <a:pt x="11116" y="47083"/>
                        <a:pt x="1061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2" name="Freeform 7298">
                  <a:extLst>
                    <a:ext uri="{FF2B5EF4-FFF2-40B4-BE49-F238E27FC236}">
                      <a16:creationId xmlns:a16="http://schemas.microsoft.com/office/drawing/2014/main" id="{4ACE925A-1D3D-819C-1BA3-A8118E25DC7C}"/>
                    </a:ext>
                  </a:extLst>
                </p:cNvPr>
                <p:cNvSpPr/>
                <p:nvPr/>
              </p:nvSpPr>
              <p:spPr>
                <a:xfrm>
                  <a:off x="8377625" y="1629288"/>
                  <a:ext cx="11957" cy="50819"/>
                </a:xfrm>
                <a:custGeom>
                  <a:avLst/>
                  <a:gdLst>
                    <a:gd name="connsiteX0" fmla="*/ 11957 w 11957"/>
                    <a:gd name="connsiteY0" fmla="*/ 50820 h 50819"/>
                    <a:gd name="connsiteX1" fmla="*/ 5979 w 11957"/>
                    <a:gd name="connsiteY1" fmla="*/ 33008 h 50819"/>
                    <a:gd name="connsiteX2" fmla="*/ 5604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20"/>
                      </a:moveTo>
                      <a:cubicBezTo>
                        <a:pt x="7846" y="43471"/>
                        <a:pt x="6476" y="37243"/>
                        <a:pt x="5979" y="33008"/>
                      </a:cubicBezTo>
                      <a:cubicBezTo>
                        <a:pt x="5231"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3" name="Freeform 7299">
                  <a:extLst>
                    <a:ext uri="{FF2B5EF4-FFF2-40B4-BE49-F238E27FC236}">
                      <a16:creationId xmlns:a16="http://schemas.microsoft.com/office/drawing/2014/main" id="{8C48F41A-21C1-6A3F-351C-75B81767ECAA}"/>
                    </a:ext>
                  </a:extLst>
                </p:cNvPr>
                <p:cNvSpPr/>
                <p:nvPr/>
              </p:nvSpPr>
              <p:spPr>
                <a:xfrm>
                  <a:off x="8360765" y="1614883"/>
                  <a:ext cx="26282" cy="26401"/>
                </a:xfrm>
                <a:custGeom>
                  <a:avLst/>
                  <a:gdLst>
                    <a:gd name="connsiteX0" fmla="*/ 25952 w 26282"/>
                    <a:gd name="connsiteY0" fmla="*/ 10420 h 26401"/>
                    <a:gd name="connsiteX1" fmla="*/ 15987 w 26282"/>
                    <a:gd name="connsiteY1" fmla="*/ 26114 h 26401"/>
                    <a:gd name="connsiteX2" fmla="*/ 293 w 26282"/>
                    <a:gd name="connsiteY2" fmla="*/ 16025 h 26401"/>
                    <a:gd name="connsiteX3" fmla="*/ 10258 w 26282"/>
                    <a:gd name="connsiteY3" fmla="*/ 331 h 26401"/>
                    <a:gd name="connsiteX4" fmla="*/ 25952 w 26282"/>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401">
                      <a:moveTo>
                        <a:pt x="25952" y="10420"/>
                      </a:moveTo>
                      <a:cubicBezTo>
                        <a:pt x="27571" y="17519"/>
                        <a:pt x="23087" y="24619"/>
                        <a:pt x="15987" y="26114"/>
                      </a:cubicBezTo>
                      <a:cubicBezTo>
                        <a:pt x="8888" y="27609"/>
                        <a:pt x="1788" y="23125"/>
                        <a:pt x="293" y="16025"/>
                      </a:cubicBezTo>
                      <a:cubicBezTo>
                        <a:pt x="-1202" y="8925"/>
                        <a:pt x="3158" y="1825"/>
                        <a:pt x="10258" y="331"/>
                      </a:cubicBezTo>
                      <a:cubicBezTo>
                        <a:pt x="17357" y="-1289"/>
                        <a:pt x="24457" y="3195"/>
                        <a:pt x="25952"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0" name="Graphic 2987">
                <a:extLst>
                  <a:ext uri="{FF2B5EF4-FFF2-40B4-BE49-F238E27FC236}">
                    <a16:creationId xmlns:a16="http://schemas.microsoft.com/office/drawing/2014/main" id="{9EC51FE0-09D0-E38D-E417-D2214C05132E}"/>
                  </a:ext>
                </a:extLst>
              </p:cNvPr>
              <p:cNvGrpSpPr/>
              <p:nvPr/>
            </p:nvGrpSpPr>
            <p:grpSpPr>
              <a:xfrm>
                <a:off x="8331874" y="1621117"/>
                <a:ext cx="52389" cy="146132"/>
                <a:chOff x="8331874" y="1621117"/>
                <a:chExt cx="52389" cy="146132"/>
              </a:xfrm>
              <a:grpFill/>
            </p:grpSpPr>
            <p:sp>
              <p:nvSpPr>
                <p:cNvPr id="6792" name="Freeform 7301">
                  <a:extLst>
                    <a:ext uri="{FF2B5EF4-FFF2-40B4-BE49-F238E27FC236}">
                      <a16:creationId xmlns:a16="http://schemas.microsoft.com/office/drawing/2014/main" id="{21E44459-C88E-712A-00CA-F39652ACB98F}"/>
                    </a:ext>
                  </a:extLst>
                </p:cNvPr>
                <p:cNvSpPr/>
                <p:nvPr/>
              </p:nvSpPr>
              <p:spPr>
                <a:xfrm>
                  <a:off x="8362545" y="1695179"/>
                  <a:ext cx="10805" cy="51068"/>
                </a:xfrm>
                <a:custGeom>
                  <a:avLst/>
                  <a:gdLst>
                    <a:gd name="connsiteX0" fmla="*/ 10594 w 10805"/>
                    <a:gd name="connsiteY0" fmla="*/ 51069 h 51068"/>
                    <a:gd name="connsiteX1" fmla="*/ 8602 w 10805"/>
                    <a:gd name="connsiteY1" fmla="*/ 32385 h 51068"/>
                    <a:gd name="connsiteX2" fmla="*/ 1627 w 10805"/>
                    <a:gd name="connsiteY2" fmla="*/ 16442 h 51068"/>
                    <a:gd name="connsiteX3" fmla="*/ 257 w 10805"/>
                    <a:gd name="connsiteY3" fmla="*/ 0 h 51068"/>
                  </a:gdLst>
                  <a:ahLst/>
                  <a:cxnLst>
                    <a:cxn ang="0">
                      <a:pos x="connsiteX0" y="connsiteY0"/>
                    </a:cxn>
                    <a:cxn ang="0">
                      <a:pos x="connsiteX1" y="connsiteY1"/>
                    </a:cxn>
                    <a:cxn ang="0">
                      <a:pos x="connsiteX2" y="connsiteY2"/>
                    </a:cxn>
                    <a:cxn ang="0">
                      <a:pos x="connsiteX3" y="connsiteY3"/>
                    </a:cxn>
                  </a:cxnLst>
                  <a:rect l="l" t="t" r="r" b="b"/>
                  <a:pathLst>
                    <a:path w="10805" h="51068">
                      <a:moveTo>
                        <a:pt x="10594" y="51069"/>
                      </a:moveTo>
                      <a:cubicBezTo>
                        <a:pt x="11342" y="42723"/>
                        <a:pt x="9972" y="36495"/>
                        <a:pt x="8602" y="32385"/>
                      </a:cubicBezTo>
                      <a:cubicBezTo>
                        <a:pt x="6360" y="25783"/>
                        <a:pt x="3619" y="23292"/>
                        <a:pt x="1627" y="16442"/>
                      </a:cubicBezTo>
                      <a:cubicBezTo>
                        <a:pt x="-367" y="9840"/>
                        <a:pt x="-117" y="3861"/>
                        <a:pt x="2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3" name="Freeform 7302">
                  <a:extLst>
                    <a:ext uri="{FF2B5EF4-FFF2-40B4-BE49-F238E27FC236}">
                      <a16:creationId xmlns:a16="http://schemas.microsoft.com/office/drawing/2014/main" id="{AC6ECD44-E8DA-34AB-C8CE-11081C40181C}"/>
                    </a:ext>
                  </a:extLst>
                </p:cNvPr>
                <p:cNvSpPr/>
                <p:nvPr/>
              </p:nvSpPr>
              <p:spPr>
                <a:xfrm>
                  <a:off x="8355578" y="1701906"/>
                  <a:ext cx="11708" cy="50819"/>
                </a:xfrm>
                <a:custGeom>
                  <a:avLst/>
                  <a:gdLst>
                    <a:gd name="connsiteX0" fmla="*/ 0 w 11708"/>
                    <a:gd name="connsiteY0" fmla="*/ 0 h 50819"/>
                    <a:gd name="connsiteX1" fmla="*/ 5854 w 11708"/>
                    <a:gd name="connsiteY1" fmla="*/ 17812 h 50819"/>
                    <a:gd name="connsiteX2" fmla="*/ 6103 w 11708"/>
                    <a:gd name="connsiteY2" fmla="*/ 35250 h 50819"/>
                    <a:gd name="connsiteX3" fmla="*/ 11708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0" y="0"/>
                      </a:moveTo>
                      <a:cubicBezTo>
                        <a:pt x="4111" y="7349"/>
                        <a:pt x="5481" y="13577"/>
                        <a:pt x="5854" y="17812"/>
                      </a:cubicBezTo>
                      <a:cubicBezTo>
                        <a:pt x="6601" y="24787"/>
                        <a:pt x="5107" y="28150"/>
                        <a:pt x="6103" y="35250"/>
                      </a:cubicBezTo>
                      <a:cubicBezTo>
                        <a:pt x="7100" y="42101"/>
                        <a:pt x="9715" y="47332"/>
                        <a:pt x="11708"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4" name="Freeform 7303">
                  <a:extLst>
                    <a:ext uri="{FF2B5EF4-FFF2-40B4-BE49-F238E27FC236}">
                      <a16:creationId xmlns:a16="http://schemas.microsoft.com/office/drawing/2014/main" id="{D3361A56-5F0F-071F-05EA-ACB91E7DB8C3}"/>
                    </a:ext>
                  </a:extLst>
                </p:cNvPr>
                <p:cNvSpPr/>
                <p:nvPr/>
              </p:nvSpPr>
              <p:spPr>
                <a:xfrm>
                  <a:off x="8357657" y="1740692"/>
                  <a:ext cx="26605" cy="26556"/>
                </a:xfrm>
                <a:custGeom>
                  <a:avLst/>
                  <a:gdLst>
                    <a:gd name="connsiteX0" fmla="*/ 287 w 26605"/>
                    <a:gd name="connsiteY0" fmla="*/ 16143 h 26556"/>
                    <a:gd name="connsiteX1" fmla="*/ 10501 w 26605"/>
                    <a:gd name="connsiteY1" fmla="*/ 324 h 26556"/>
                    <a:gd name="connsiteX2" fmla="*/ 26319 w 26605"/>
                    <a:gd name="connsiteY2" fmla="*/ 10414 h 26556"/>
                    <a:gd name="connsiteX3" fmla="*/ 16106 w 26605"/>
                    <a:gd name="connsiteY3" fmla="*/ 26233 h 26556"/>
                    <a:gd name="connsiteX4" fmla="*/ 287 w 266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5" h="26556">
                      <a:moveTo>
                        <a:pt x="287" y="16143"/>
                      </a:moveTo>
                      <a:cubicBezTo>
                        <a:pt x="-1208" y="9044"/>
                        <a:pt x="3276" y="1944"/>
                        <a:pt x="10501" y="324"/>
                      </a:cubicBezTo>
                      <a:cubicBezTo>
                        <a:pt x="17725" y="-1295"/>
                        <a:pt x="24824" y="3314"/>
                        <a:pt x="26319" y="10414"/>
                      </a:cubicBezTo>
                      <a:cubicBezTo>
                        <a:pt x="27814" y="17513"/>
                        <a:pt x="23330" y="24613"/>
                        <a:pt x="16106" y="26233"/>
                      </a:cubicBezTo>
                      <a:cubicBezTo>
                        <a:pt x="9006" y="27852"/>
                        <a:pt x="1906" y="23243"/>
                        <a:pt x="28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5" name="Freeform 7304">
                  <a:extLst>
                    <a:ext uri="{FF2B5EF4-FFF2-40B4-BE49-F238E27FC236}">
                      <a16:creationId xmlns:a16="http://schemas.microsoft.com/office/drawing/2014/main" id="{E81532CA-AA19-16E5-619B-8CA9A649F422}"/>
                    </a:ext>
                  </a:extLst>
                </p:cNvPr>
                <p:cNvSpPr/>
                <p:nvPr/>
              </p:nvSpPr>
              <p:spPr>
                <a:xfrm>
                  <a:off x="8342911" y="1641993"/>
                  <a:ext cx="10806" cy="51068"/>
                </a:xfrm>
                <a:custGeom>
                  <a:avLst/>
                  <a:gdLst>
                    <a:gd name="connsiteX0" fmla="*/ 211 w 10806"/>
                    <a:gd name="connsiteY0" fmla="*/ 0 h 51068"/>
                    <a:gd name="connsiteX1" fmla="*/ 2204 w 10806"/>
                    <a:gd name="connsiteY1" fmla="*/ 18684 h 51068"/>
                    <a:gd name="connsiteX2" fmla="*/ 9179 w 10806"/>
                    <a:gd name="connsiteY2" fmla="*/ 34627 h 51068"/>
                    <a:gd name="connsiteX3" fmla="*/ 10550 w 108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0"/>
                      </a:moveTo>
                      <a:cubicBezTo>
                        <a:pt x="-536" y="8345"/>
                        <a:pt x="834" y="14573"/>
                        <a:pt x="2204" y="18684"/>
                      </a:cubicBezTo>
                      <a:cubicBezTo>
                        <a:pt x="4446" y="25285"/>
                        <a:pt x="7187" y="27901"/>
                        <a:pt x="9179" y="34627"/>
                      </a:cubicBezTo>
                      <a:cubicBezTo>
                        <a:pt x="11172"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6" name="Freeform 7305">
                  <a:extLst>
                    <a:ext uri="{FF2B5EF4-FFF2-40B4-BE49-F238E27FC236}">
                      <a16:creationId xmlns:a16="http://schemas.microsoft.com/office/drawing/2014/main" id="{33D1FED8-E235-B888-DDA8-BA525F9F792F}"/>
                    </a:ext>
                  </a:extLst>
                </p:cNvPr>
                <p:cNvSpPr/>
                <p:nvPr/>
              </p:nvSpPr>
              <p:spPr>
                <a:xfrm>
                  <a:off x="8348852" y="1635641"/>
                  <a:ext cx="11707" cy="50819"/>
                </a:xfrm>
                <a:custGeom>
                  <a:avLst/>
                  <a:gdLst>
                    <a:gd name="connsiteX0" fmla="*/ 11708 w 11707"/>
                    <a:gd name="connsiteY0" fmla="*/ 50820 h 50819"/>
                    <a:gd name="connsiteX1" fmla="*/ 5854 w 11707"/>
                    <a:gd name="connsiteY1" fmla="*/ 33008 h 50819"/>
                    <a:gd name="connsiteX2" fmla="*/ 5604 w 11707"/>
                    <a:gd name="connsiteY2" fmla="*/ 15570 h 50819"/>
                    <a:gd name="connsiteX3" fmla="*/ 0 w 11707"/>
                    <a:gd name="connsiteY3" fmla="*/ 0 h 50819"/>
                  </a:gdLst>
                  <a:ahLst/>
                  <a:cxnLst>
                    <a:cxn ang="0">
                      <a:pos x="connsiteX0" y="connsiteY0"/>
                    </a:cxn>
                    <a:cxn ang="0">
                      <a:pos x="connsiteX1" y="connsiteY1"/>
                    </a:cxn>
                    <a:cxn ang="0">
                      <a:pos x="connsiteX2" y="connsiteY2"/>
                    </a:cxn>
                    <a:cxn ang="0">
                      <a:pos x="connsiteX3" y="connsiteY3"/>
                    </a:cxn>
                  </a:cxnLst>
                  <a:rect l="l" t="t" r="r" b="b"/>
                  <a:pathLst>
                    <a:path w="11707" h="50818">
                      <a:moveTo>
                        <a:pt x="11708" y="50820"/>
                      </a:moveTo>
                      <a:cubicBezTo>
                        <a:pt x="7598" y="43471"/>
                        <a:pt x="6228" y="37243"/>
                        <a:pt x="5854" y="33008"/>
                      </a:cubicBezTo>
                      <a:cubicBezTo>
                        <a:pt x="5107"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7" name="Freeform 7306">
                  <a:extLst>
                    <a:ext uri="{FF2B5EF4-FFF2-40B4-BE49-F238E27FC236}">
                      <a16:creationId xmlns:a16="http://schemas.microsoft.com/office/drawing/2014/main" id="{CAEAF70F-B4B5-A9AD-C811-1B1F337E24AC}"/>
                    </a:ext>
                  </a:extLst>
                </p:cNvPr>
                <p:cNvSpPr/>
                <p:nvPr/>
              </p:nvSpPr>
              <p:spPr>
                <a:xfrm>
                  <a:off x="8331874" y="1621117"/>
                  <a:ext cx="26395" cy="26395"/>
                </a:xfrm>
                <a:custGeom>
                  <a:avLst/>
                  <a:gdLst>
                    <a:gd name="connsiteX0" fmla="*/ 26071 w 26395"/>
                    <a:gd name="connsiteY0" fmla="*/ 10414 h 26395"/>
                    <a:gd name="connsiteX1" fmla="*/ 15982 w 26395"/>
                    <a:gd name="connsiteY1" fmla="*/ 26108 h 26395"/>
                    <a:gd name="connsiteX2" fmla="*/ 287 w 26395"/>
                    <a:gd name="connsiteY2" fmla="*/ 16019 h 26395"/>
                    <a:gd name="connsiteX3" fmla="*/ 10376 w 26395"/>
                    <a:gd name="connsiteY3" fmla="*/ 324 h 26395"/>
                    <a:gd name="connsiteX4" fmla="*/ 26071 w 26395"/>
                    <a:gd name="connsiteY4" fmla="*/ 10414 h 26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395">
                      <a:moveTo>
                        <a:pt x="26071" y="10414"/>
                      </a:moveTo>
                      <a:cubicBezTo>
                        <a:pt x="27690" y="17513"/>
                        <a:pt x="23081" y="24613"/>
                        <a:pt x="15982" y="26108"/>
                      </a:cubicBezTo>
                      <a:cubicBezTo>
                        <a:pt x="8882" y="27603"/>
                        <a:pt x="1782" y="23119"/>
                        <a:pt x="287" y="16019"/>
                      </a:cubicBezTo>
                      <a:cubicBezTo>
                        <a:pt x="-1207" y="8919"/>
                        <a:pt x="3276" y="1819"/>
                        <a:pt x="10376" y="324"/>
                      </a:cubicBezTo>
                      <a:cubicBezTo>
                        <a:pt x="17476" y="-1295"/>
                        <a:pt x="24576" y="3314"/>
                        <a:pt x="2607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1" name="Graphic 2987">
                <a:extLst>
                  <a:ext uri="{FF2B5EF4-FFF2-40B4-BE49-F238E27FC236}">
                    <a16:creationId xmlns:a16="http://schemas.microsoft.com/office/drawing/2014/main" id="{8A68FDB4-772E-613B-2CD0-12FD423E23D7}"/>
                  </a:ext>
                </a:extLst>
              </p:cNvPr>
              <p:cNvGrpSpPr/>
              <p:nvPr/>
            </p:nvGrpSpPr>
            <p:grpSpPr>
              <a:xfrm>
                <a:off x="8303101" y="1627263"/>
                <a:ext cx="52135" cy="146338"/>
                <a:chOff x="8303101" y="1627263"/>
                <a:chExt cx="52135" cy="146338"/>
              </a:xfrm>
              <a:grpFill/>
            </p:grpSpPr>
            <p:sp>
              <p:nvSpPr>
                <p:cNvPr id="6786" name="Freeform 7308">
                  <a:extLst>
                    <a:ext uri="{FF2B5EF4-FFF2-40B4-BE49-F238E27FC236}">
                      <a16:creationId xmlns:a16="http://schemas.microsoft.com/office/drawing/2014/main" id="{6A4803D2-9B97-1B97-A896-A887AC8E5F05}"/>
                    </a:ext>
                  </a:extLst>
                </p:cNvPr>
                <p:cNvSpPr/>
                <p:nvPr/>
              </p:nvSpPr>
              <p:spPr>
                <a:xfrm>
                  <a:off x="8333429" y="1701532"/>
                  <a:ext cx="10775" cy="51068"/>
                </a:xfrm>
                <a:custGeom>
                  <a:avLst/>
                  <a:gdLst>
                    <a:gd name="connsiteX0" fmla="*/ 10564 w 10775"/>
                    <a:gd name="connsiteY0" fmla="*/ 51069 h 51068"/>
                    <a:gd name="connsiteX1" fmla="*/ 8571 w 10775"/>
                    <a:gd name="connsiteY1" fmla="*/ 32385 h 51068"/>
                    <a:gd name="connsiteX2" fmla="*/ 1596 w 10775"/>
                    <a:gd name="connsiteY2" fmla="*/ 16442 h 51068"/>
                    <a:gd name="connsiteX3" fmla="*/ 226 w 10775"/>
                    <a:gd name="connsiteY3" fmla="*/ 0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51069"/>
                      </a:moveTo>
                      <a:cubicBezTo>
                        <a:pt x="11312" y="42723"/>
                        <a:pt x="9942" y="36495"/>
                        <a:pt x="8571" y="32385"/>
                      </a:cubicBezTo>
                      <a:cubicBezTo>
                        <a:pt x="6329" y="25783"/>
                        <a:pt x="3589" y="23168"/>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7" name="Freeform 7309">
                  <a:extLst>
                    <a:ext uri="{FF2B5EF4-FFF2-40B4-BE49-F238E27FC236}">
                      <a16:creationId xmlns:a16="http://schemas.microsoft.com/office/drawing/2014/main" id="{A9EE5E08-5F38-6B02-9DB8-4D83DFF6B61B}"/>
                    </a:ext>
                  </a:extLst>
                </p:cNvPr>
                <p:cNvSpPr/>
                <p:nvPr/>
              </p:nvSpPr>
              <p:spPr>
                <a:xfrm>
                  <a:off x="8326556" y="1708133"/>
                  <a:ext cx="11583" cy="50819"/>
                </a:xfrm>
                <a:custGeom>
                  <a:avLst/>
                  <a:gdLst>
                    <a:gd name="connsiteX0" fmla="*/ 0 w 11583"/>
                    <a:gd name="connsiteY0" fmla="*/ 0 h 50819"/>
                    <a:gd name="connsiteX1" fmla="*/ 5855 w 11583"/>
                    <a:gd name="connsiteY1" fmla="*/ 17812 h 50819"/>
                    <a:gd name="connsiteX2" fmla="*/ 6103 w 11583"/>
                    <a:gd name="connsiteY2" fmla="*/ 35250 h 50819"/>
                    <a:gd name="connsiteX3" fmla="*/ 11584 w 11583"/>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583" h="50818">
                      <a:moveTo>
                        <a:pt x="0" y="0"/>
                      </a:moveTo>
                      <a:cubicBezTo>
                        <a:pt x="4111" y="7349"/>
                        <a:pt x="5356" y="13577"/>
                        <a:pt x="5855" y="17812"/>
                      </a:cubicBezTo>
                      <a:cubicBezTo>
                        <a:pt x="6602" y="24787"/>
                        <a:pt x="5107" y="28275"/>
                        <a:pt x="6103" y="35250"/>
                      </a:cubicBezTo>
                      <a:cubicBezTo>
                        <a:pt x="7100" y="42101"/>
                        <a:pt x="9591" y="47456"/>
                        <a:pt x="11584"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8" name="Freeform 7310">
                  <a:extLst>
                    <a:ext uri="{FF2B5EF4-FFF2-40B4-BE49-F238E27FC236}">
                      <a16:creationId xmlns:a16="http://schemas.microsoft.com/office/drawing/2014/main" id="{64965946-B45F-9BDA-B0F8-FB55467439B6}"/>
                    </a:ext>
                  </a:extLst>
                </p:cNvPr>
                <p:cNvSpPr/>
                <p:nvPr/>
              </p:nvSpPr>
              <p:spPr>
                <a:xfrm>
                  <a:off x="8328516" y="1747045"/>
                  <a:ext cx="26720" cy="26556"/>
                </a:xfrm>
                <a:custGeom>
                  <a:avLst/>
                  <a:gdLst>
                    <a:gd name="connsiteX0" fmla="*/ 281 w 26720"/>
                    <a:gd name="connsiteY0" fmla="*/ 16143 h 26556"/>
                    <a:gd name="connsiteX1" fmla="*/ 10620 w 26720"/>
                    <a:gd name="connsiteY1" fmla="*/ 324 h 26556"/>
                    <a:gd name="connsiteX2" fmla="*/ 26439 w 26720"/>
                    <a:gd name="connsiteY2" fmla="*/ 10414 h 26556"/>
                    <a:gd name="connsiteX3" fmla="*/ 16100 w 26720"/>
                    <a:gd name="connsiteY3" fmla="*/ 26232 h 26556"/>
                    <a:gd name="connsiteX4" fmla="*/ 281 w 2672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56">
                      <a:moveTo>
                        <a:pt x="281" y="16143"/>
                      </a:moveTo>
                      <a:cubicBezTo>
                        <a:pt x="-1213" y="9043"/>
                        <a:pt x="3395" y="1944"/>
                        <a:pt x="10620" y="324"/>
                      </a:cubicBezTo>
                      <a:cubicBezTo>
                        <a:pt x="17844" y="-1295"/>
                        <a:pt x="24944" y="3314"/>
                        <a:pt x="26439" y="10414"/>
                      </a:cubicBezTo>
                      <a:cubicBezTo>
                        <a:pt x="27933" y="17513"/>
                        <a:pt x="23325"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9" name="Freeform 7311">
                  <a:extLst>
                    <a:ext uri="{FF2B5EF4-FFF2-40B4-BE49-F238E27FC236}">
                      <a16:creationId xmlns:a16="http://schemas.microsoft.com/office/drawing/2014/main" id="{08F8C233-5DD3-0BC5-DA52-34C2ACA5B67A}"/>
                    </a:ext>
                  </a:extLst>
                </p:cNvPr>
                <p:cNvSpPr/>
                <p:nvPr/>
              </p:nvSpPr>
              <p:spPr>
                <a:xfrm>
                  <a:off x="8314013" y="1648346"/>
                  <a:ext cx="10617" cy="51068"/>
                </a:xfrm>
                <a:custGeom>
                  <a:avLst/>
                  <a:gdLst>
                    <a:gd name="connsiteX0" fmla="*/ 211 w 10617"/>
                    <a:gd name="connsiteY0" fmla="*/ 0 h 51068"/>
                    <a:gd name="connsiteX1" fmla="*/ 2204 w 10617"/>
                    <a:gd name="connsiteY1" fmla="*/ 18684 h 51068"/>
                    <a:gd name="connsiteX2" fmla="*/ 9055 w 10617"/>
                    <a:gd name="connsiteY2" fmla="*/ 34627 h 51068"/>
                    <a:gd name="connsiteX3" fmla="*/ 10300 w 1061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0"/>
                      </a:moveTo>
                      <a:cubicBezTo>
                        <a:pt x="-536" y="8345"/>
                        <a:pt x="834" y="14573"/>
                        <a:pt x="2204" y="18684"/>
                      </a:cubicBezTo>
                      <a:cubicBezTo>
                        <a:pt x="4447" y="25285"/>
                        <a:pt x="7187" y="27901"/>
                        <a:pt x="9055" y="34627"/>
                      </a:cubicBezTo>
                      <a:cubicBezTo>
                        <a:pt x="10923" y="41229"/>
                        <a:pt x="10798" y="47207"/>
                        <a:pt x="1030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0" name="Freeform 7312">
                  <a:extLst>
                    <a:ext uri="{FF2B5EF4-FFF2-40B4-BE49-F238E27FC236}">
                      <a16:creationId xmlns:a16="http://schemas.microsoft.com/office/drawing/2014/main" id="{0216C699-3A8B-345B-3EC3-70063DA5113E}"/>
                    </a:ext>
                  </a:extLst>
                </p:cNvPr>
                <p:cNvSpPr/>
                <p:nvPr/>
              </p:nvSpPr>
              <p:spPr>
                <a:xfrm>
                  <a:off x="8320078" y="1641869"/>
                  <a:ext cx="11584" cy="50819"/>
                </a:xfrm>
                <a:custGeom>
                  <a:avLst/>
                  <a:gdLst>
                    <a:gd name="connsiteX0" fmla="*/ 11585 w 11584"/>
                    <a:gd name="connsiteY0" fmla="*/ 50820 h 50819"/>
                    <a:gd name="connsiteX1" fmla="*/ 5730 w 11584"/>
                    <a:gd name="connsiteY1" fmla="*/ 33008 h 50819"/>
                    <a:gd name="connsiteX2" fmla="*/ 5481 w 11584"/>
                    <a:gd name="connsiteY2" fmla="*/ 15570 h 50819"/>
                    <a:gd name="connsiteX3" fmla="*/ 0 w 11584"/>
                    <a:gd name="connsiteY3" fmla="*/ 0 h 50819"/>
                  </a:gdLst>
                  <a:ahLst/>
                  <a:cxnLst>
                    <a:cxn ang="0">
                      <a:pos x="connsiteX0" y="connsiteY0"/>
                    </a:cxn>
                    <a:cxn ang="0">
                      <a:pos x="connsiteX1" y="connsiteY1"/>
                    </a:cxn>
                    <a:cxn ang="0">
                      <a:pos x="connsiteX2" y="connsiteY2"/>
                    </a:cxn>
                    <a:cxn ang="0">
                      <a:pos x="connsiteX3" y="connsiteY3"/>
                    </a:cxn>
                  </a:cxnLst>
                  <a:rect l="l" t="t" r="r" b="b"/>
                  <a:pathLst>
                    <a:path w="11584" h="50818">
                      <a:moveTo>
                        <a:pt x="11585" y="50820"/>
                      </a:moveTo>
                      <a:cubicBezTo>
                        <a:pt x="7474" y="43471"/>
                        <a:pt x="6228" y="37243"/>
                        <a:pt x="5730" y="33008"/>
                      </a:cubicBezTo>
                      <a:cubicBezTo>
                        <a:pt x="4983" y="26033"/>
                        <a:pt x="6477" y="22669"/>
                        <a:pt x="5481" y="15570"/>
                      </a:cubicBezTo>
                      <a:cubicBezTo>
                        <a:pt x="4485"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1" name="Freeform 7313">
                  <a:extLst>
                    <a:ext uri="{FF2B5EF4-FFF2-40B4-BE49-F238E27FC236}">
                      <a16:creationId xmlns:a16="http://schemas.microsoft.com/office/drawing/2014/main" id="{213A2330-B436-CEEE-1D74-30E0CA2723E3}"/>
                    </a:ext>
                  </a:extLst>
                </p:cNvPr>
                <p:cNvSpPr/>
                <p:nvPr/>
              </p:nvSpPr>
              <p:spPr>
                <a:xfrm>
                  <a:off x="8303101" y="1627263"/>
                  <a:ext cx="26357" cy="26601"/>
                </a:xfrm>
                <a:custGeom>
                  <a:avLst/>
                  <a:gdLst>
                    <a:gd name="connsiteX0" fmla="*/ 26071 w 26357"/>
                    <a:gd name="connsiteY0" fmla="*/ 10495 h 26601"/>
                    <a:gd name="connsiteX1" fmla="*/ 15982 w 26357"/>
                    <a:gd name="connsiteY1" fmla="*/ 26314 h 26601"/>
                    <a:gd name="connsiteX2" fmla="*/ 287 w 26357"/>
                    <a:gd name="connsiteY2" fmla="*/ 16100 h 26601"/>
                    <a:gd name="connsiteX3" fmla="*/ 10376 w 26357"/>
                    <a:gd name="connsiteY3" fmla="*/ 282 h 26601"/>
                    <a:gd name="connsiteX4" fmla="*/ 26071 w 26357"/>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601">
                      <a:moveTo>
                        <a:pt x="26071" y="10495"/>
                      </a:moveTo>
                      <a:cubicBezTo>
                        <a:pt x="27565" y="17595"/>
                        <a:pt x="23081" y="24695"/>
                        <a:pt x="15982" y="26314"/>
                      </a:cubicBezTo>
                      <a:cubicBezTo>
                        <a:pt x="8882" y="27809"/>
                        <a:pt x="1906" y="23325"/>
                        <a:pt x="287" y="16100"/>
                      </a:cubicBezTo>
                      <a:cubicBezTo>
                        <a:pt x="-1207" y="9001"/>
                        <a:pt x="3276" y="1901"/>
                        <a:pt x="10376" y="282"/>
                      </a:cubicBezTo>
                      <a:cubicBezTo>
                        <a:pt x="17601" y="-1213"/>
                        <a:pt x="24576" y="3395"/>
                        <a:pt x="2607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2" name="Graphic 2987">
                <a:extLst>
                  <a:ext uri="{FF2B5EF4-FFF2-40B4-BE49-F238E27FC236}">
                    <a16:creationId xmlns:a16="http://schemas.microsoft.com/office/drawing/2014/main" id="{2E66452B-DB8F-B39E-34B0-296E24743A4C}"/>
                  </a:ext>
                </a:extLst>
              </p:cNvPr>
              <p:cNvGrpSpPr/>
              <p:nvPr/>
            </p:nvGrpSpPr>
            <p:grpSpPr>
              <a:xfrm>
                <a:off x="8274334" y="1633610"/>
                <a:ext cx="51755" cy="146343"/>
                <a:chOff x="8274334" y="1633610"/>
                <a:chExt cx="51755" cy="146343"/>
              </a:xfrm>
              <a:grpFill/>
            </p:grpSpPr>
            <p:sp>
              <p:nvSpPr>
                <p:cNvPr id="6780" name="Freeform 7315">
                  <a:extLst>
                    <a:ext uri="{FF2B5EF4-FFF2-40B4-BE49-F238E27FC236}">
                      <a16:creationId xmlns:a16="http://schemas.microsoft.com/office/drawing/2014/main" id="{B47852E1-3263-C05E-3854-A89CF0B291E7}"/>
                    </a:ext>
                  </a:extLst>
                </p:cNvPr>
                <p:cNvSpPr/>
                <p:nvPr/>
              </p:nvSpPr>
              <p:spPr>
                <a:xfrm>
                  <a:off x="8304565" y="1707884"/>
                  <a:ext cx="10506" cy="51068"/>
                </a:xfrm>
                <a:custGeom>
                  <a:avLst/>
                  <a:gdLst>
                    <a:gd name="connsiteX0" fmla="*/ 10282 w 10506"/>
                    <a:gd name="connsiteY0" fmla="*/ 51069 h 51068"/>
                    <a:gd name="connsiteX1" fmla="*/ 8414 w 10506"/>
                    <a:gd name="connsiteY1" fmla="*/ 32385 h 51068"/>
                    <a:gd name="connsiteX2" fmla="*/ 1563 w 10506"/>
                    <a:gd name="connsiteY2" fmla="*/ 16442 h 51068"/>
                    <a:gd name="connsiteX3" fmla="*/ 317 w 10506"/>
                    <a:gd name="connsiteY3" fmla="*/ 0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51069"/>
                      </a:moveTo>
                      <a:cubicBezTo>
                        <a:pt x="11029" y="42723"/>
                        <a:pt x="9784" y="36495"/>
                        <a:pt x="8414" y="32385"/>
                      </a:cubicBezTo>
                      <a:cubicBezTo>
                        <a:pt x="6171" y="25783"/>
                        <a:pt x="3556" y="23168"/>
                        <a:pt x="1563" y="16442"/>
                      </a:cubicBezTo>
                      <a:cubicBezTo>
                        <a:pt x="-305" y="9840"/>
                        <a:pt x="-181" y="3861"/>
                        <a:pt x="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1" name="Freeform 7316">
                  <a:extLst>
                    <a:ext uri="{FF2B5EF4-FFF2-40B4-BE49-F238E27FC236}">
                      <a16:creationId xmlns:a16="http://schemas.microsoft.com/office/drawing/2014/main" id="{23A14CEF-6F50-A4AC-7ACA-E7A6C90278E7}"/>
                    </a:ext>
                  </a:extLst>
                </p:cNvPr>
                <p:cNvSpPr/>
                <p:nvPr/>
              </p:nvSpPr>
              <p:spPr>
                <a:xfrm>
                  <a:off x="8297533" y="1714486"/>
                  <a:ext cx="11335" cy="50944"/>
                </a:xfrm>
                <a:custGeom>
                  <a:avLst/>
                  <a:gdLst>
                    <a:gd name="connsiteX0" fmla="*/ 0 w 11335"/>
                    <a:gd name="connsiteY0" fmla="*/ 0 h 50944"/>
                    <a:gd name="connsiteX1" fmla="*/ 5730 w 11335"/>
                    <a:gd name="connsiteY1" fmla="*/ 17936 h 50944"/>
                    <a:gd name="connsiteX2" fmla="*/ 5855 w 11335"/>
                    <a:gd name="connsiteY2" fmla="*/ 35374 h 50944"/>
                    <a:gd name="connsiteX3" fmla="*/ 11335 w 1133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5" h="50944">
                      <a:moveTo>
                        <a:pt x="0" y="0"/>
                      </a:moveTo>
                      <a:cubicBezTo>
                        <a:pt x="4111" y="7349"/>
                        <a:pt x="5357" y="13577"/>
                        <a:pt x="5730" y="17936"/>
                      </a:cubicBezTo>
                      <a:cubicBezTo>
                        <a:pt x="6353" y="24912"/>
                        <a:pt x="4983" y="28399"/>
                        <a:pt x="5855" y="35374"/>
                      </a:cubicBezTo>
                      <a:cubicBezTo>
                        <a:pt x="6727"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2" name="Freeform 7317">
                  <a:extLst>
                    <a:ext uri="{FF2B5EF4-FFF2-40B4-BE49-F238E27FC236}">
                      <a16:creationId xmlns:a16="http://schemas.microsoft.com/office/drawing/2014/main" id="{0A4986DC-DDC3-0FC1-3A43-57380FF176F7}"/>
                    </a:ext>
                  </a:extLst>
                </p:cNvPr>
                <p:cNvSpPr/>
                <p:nvPr/>
              </p:nvSpPr>
              <p:spPr>
                <a:xfrm>
                  <a:off x="8299370" y="1753397"/>
                  <a:ext cx="26719" cy="26556"/>
                </a:xfrm>
                <a:custGeom>
                  <a:avLst/>
                  <a:gdLst>
                    <a:gd name="connsiteX0" fmla="*/ 281 w 26719"/>
                    <a:gd name="connsiteY0" fmla="*/ 16143 h 26556"/>
                    <a:gd name="connsiteX1" fmla="*/ 10619 w 26719"/>
                    <a:gd name="connsiteY1" fmla="*/ 324 h 26556"/>
                    <a:gd name="connsiteX2" fmla="*/ 26438 w 26719"/>
                    <a:gd name="connsiteY2" fmla="*/ 10414 h 26556"/>
                    <a:gd name="connsiteX3" fmla="*/ 16100 w 26719"/>
                    <a:gd name="connsiteY3" fmla="*/ 26232 h 26556"/>
                    <a:gd name="connsiteX4" fmla="*/ 281 w 26719"/>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56">
                      <a:moveTo>
                        <a:pt x="281" y="16143"/>
                      </a:moveTo>
                      <a:cubicBezTo>
                        <a:pt x="-1213" y="8919"/>
                        <a:pt x="3395" y="1944"/>
                        <a:pt x="10619" y="324"/>
                      </a:cubicBezTo>
                      <a:cubicBezTo>
                        <a:pt x="17844" y="-1295"/>
                        <a:pt x="24943" y="3314"/>
                        <a:pt x="26438" y="10414"/>
                      </a:cubicBezTo>
                      <a:cubicBezTo>
                        <a:pt x="27933" y="17513"/>
                        <a:pt x="23324"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3" name="Freeform 7318">
                  <a:extLst>
                    <a:ext uri="{FF2B5EF4-FFF2-40B4-BE49-F238E27FC236}">
                      <a16:creationId xmlns:a16="http://schemas.microsoft.com/office/drawing/2014/main" id="{5C1F0381-0F26-0B9F-A2B3-612C2B7AFE32}"/>
                    </a:ext>
                  </a:extLst>
                </p:cNvPr>
                <p:cNvSpPr/>
                <p:nvPr/>
              </p:nvSpPr>
              <p:spPr>
                <a:xfrm>
                  <a:off x="8285227" y="1654574"/>
                  <a:ext cx="10506" cy="51068"/>
                </a:xfrm>
                <a:custGeom>
                  <a:avLst/>
                  <a:gdLst>
                    <a:gd name="connsiteX0" fmla="*/ 225 w 10506"/>
                    <a:gd name="connsiteY0" fmla="*/ 0 h 51068"/>
                    <a:gd name="connsiteX1" fmla="*/ 2093 w 10506"/>
                    <a:gd name="connsiteY1" fmla="*/ 18684 h 51068"/>
                    <a:gd name="connsiteX2" fmla="*/ 8944 w 10506"/>
                    <a:gd name="connsiteY2" fmla="*/ 34627 h 51068"/>
                    <a:gd name="connsiteX3" fmla="*/ 10189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225" y="0"/>
                      </a:moveTo>
                      <a:cubicBezTo>
                        <a:pt x="-523" y="8345"/>
                        <a:pt x="722" y="14573"/>
                        <a:pt x="2093" y="18684"/>
                      </a:cubicBezTo>
                      <a:cubicBezTo>
                        <a:pt x="4335" y="25285"/>
                        <a:pt x="6950" y="27901"/>
                        <a:pt x="8944" y="34627"/>
                      </a:cubicBezTo>
                      <a:cubicBezTo>
                        <a:pt x="10812" y="41229"/>
                        <a:pt x="10688" y="47207"/>
                        <a:pt x="10189"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4" name="Freeform 7319">
                  <a:extLst>
                    <a:ext uri="{FF2B5EF4-FFF2-40B4-BE49-F238E27FC236}">
                      <a16:creationId xmlns:a16="http://schemas.microsoft.com/office/drawing/2014/main" id="{F7322BAA-786B-4654-9B17-A0B43339917C}"/>
                    </a:ext>
                  </a:extLst>
                </p:cNvPr>
                <p:cNvSpPr/>
                <p:nvPr/>
              </p:nvSpPr>
              <p:spPr>
                <a:xfrm>
                  <a:off x="8291182" y="1648097"/>
                  <a:ext cx="11459" cy="50944"/>
                </a:xfrm>
                <a:custGeom>
                  <a:avLst/>
                  <a:gdLst>
                    <a:gd name="connsiteX0" fmla="*/ 11459 w 11459"/>
                    <a:gd name="connsiteY0" fmla="*/ 50944 h 50944"/>
                    <a:gd name="connsiteX1" fmla="*/ 5729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8" y="43595"/>
                        <a:pt x="6103" y="37367"/>
                        <a:pt x="5729" y="33008"/>
                      </a:cubicBezTo>
                      <a:cubicBezTo>
                        <a:pt x="5107" y="26033"/>
                        <a:pt x="6476" y="22545"/>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5" name="Freeform 7320">
                  <a:extLst>
                    <a:ext uri="{FF2B5EF4-FFF2-40B4-BE49-F238E27FC236}">
                      <a16:creationId xmlns:a16="http://schemas.microsoft.com/office/drawing/2014/main" id="{276C2528-B365-BC2B-6663-9BB1A0059DBA}"/>
                    </a:ext>
                  </a:extLst>
                </p:cNvPr>
                <p:cNvSpPr/>
                <p:nvPr/>
              </p:nvSpPr>
              <p:spPr>
                <a:xfrm>
                  <a:off x="8274334" y="1633610"/>
                  <a:ext cx="26351" cy="26606"/>
                </a:xfrm>
                <a:custGeom>
                  <a:avLst/>
                  <a:gdLst>
                    <a:gd name="connsiteX0" fmla="*/ 26065 w 26351"/>
                    <a:gd name="connsiteY0" fmla="*/ 10501 h 26606"/>
                    <a:gd name="connsiteX1" fmla="*/ 15851 w 26351"/>
                    <a:gd name="connsiteY1" fmla="*/ 26319 h 26606"/>
                    <a:gd name="connsiteX2" fmla="*/ 282 w 26351"/>
                    <a:gd name="connsiteY2" fmla="*/ 16106 h 26606"/>
                    <a:gd name="connsiteX3" fmla="*/ 10495 w 26351"/>
                    <a:gd name="connsiteY3" fmla="*/ 287 h 26606"/>
                    <a:gd name="connsiteX4" fmla="*/ 26065 w 26351"/>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6">
                      <a:moveTo>
                        <a:pt x="26065" y="10501"/>
                      </a:moveTo>
                      <a:cubicBezTo>
                        <a:pt x="27560" y="17600"/>
                        <a:pt x="23076"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3" name="Graphic 2987">
                <a:extLst>
                  <a:ext uri="{FF2B5EF4-FFF2-40B4-BE49-F238E27FC236}">
                    <a16:creationId xmlns:a16="http://schemas.microsoft.com/office/drawing/2014/main" id="{4B6EE1EC-B4B6-A47E-58F1-42F62A8CDF65}"/>
                  </a:ext>
                </a:extLst>
              </p:cNvPr>
              <p:cNvGrpSpPr/>
              <p:nvPr/>
            </p:nvGrpSpPr>
            <p:grpSpPr>
              <a:xfrm>
                <a:off x="8245561" y="1639838"/>
                <a:ext cx="51257" cy="146468"/>
                <a:chOff x="8245561" y="1639838"/>
                <a:chExt cx="51257" cy="146468"/>
              </a:xfrm>
              <a:grpFill/>
            </p:grpSpPr>
            <p:sp>
              <p:nvSpPr>
                <p:cNvPr id="6774" name="Freeform 7322">
                  <a:extLst>
                    <a:ext uri="{FF2B5EF4-FFF2-40B4-BE49-F238E27FC236}">
                      <a16:creationId xmlns:a16="http://schemas.microsoft.com/office/drawing/2014/main" id="{B3E8283F-1055-4D57-26DF-1157F8A83AC7}"/>
                    </a:ext>
                  </a:extLst>
                </p:cNvPr>
                <p:cNvSpPr/>
                <p:nvPr/>
              </p:nvSpPr>
              <p:spPr>
                <a:xfrm>
                  <a:off x="8275473" y="1714237"/>
                  <a:ext cx="10452" cy="51068"/>
                </a:xfrm>
                <a:custGeom>
                  <a:avLst/>
                  <a:gdLst>
                    <a:gd name="connsiteX0" fmla="*/ 10228 w 10452"/>
                    <a:gd name="connsiteY0" fmla="*/ 51069 h 51068"/>
                    <a:gd name="connsiteX1" fmla="*/ 8359 w 10452"/>
                    <a:gd name="connsiteY1" fmla="*/ 32385 h 51068"/>
                    <a:gd name="connsiteX2" fmla="*/ 1509 w 10452"/>
                    <a:gd name="connsiteY2" fmla="*/ 16442 h 51068"/>
                    <a:gd name="connsiteX3" fmla="*/ 263 w 10452"/>
                    <a:gd name="connsiteY3" fmla="*/ 0 h 51068"/>
                  </a:gdLst>
                  <a:ahLst/>
                  <a:cxnLst>
                    <a:cxn ang="0">
                      <a:pos x="connsiteX0" y="connsiteY0"/>
                    </a:cxn>
                    <a:cxn ang="0">
                      <a:pos x="connsiteX1" y="connsiteY1"/>
                    </a:cxn>
                    <a:cxn ang="0">
                      <a:pos x="connsiteX2" y="connsiteY2"/>
                    </a:cxn>
                    <a:cxn ang="0">
                      <a:pos x="connsiteX3" y="connsiteY3"/>
                    </a:cxn>
                  </a:cxnLst>
                  <a:rect l="l" t="t" r="r" b="b"/>
                  <a:pathLst>
                    <a:path w="10452" h="51068">
                      <a:moveTo>
                        <a:pt x="10228" y="51069"/>
                      </a:moveTo>
                      <a:cubicBezTo>
                        <a:pt x="10975" y="42723"/>
                        <a:pt x="9729" y="36495"/>
                        <a:pt x="8359" y="32385"/>
                      </a:cubicBezTo>
                      <a:cubicBezTo>
                        <a:pt x="6242" y="25783"/>
                        <a:pt x="3501" y="23168"/>
                        <a:pt x="1509" y="16442"/>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5" name="Freeform 7323">
                  <a:extLst>
                    <a:ext uri="{FF2B5EF4-FFF2-40B4-BE49-F238E27FC236}">
                      <a16:creationId xmlns:a16="http://schemas.microsoft.com/office/drawing/2014/main" id="{37416A71-17B6-19F7-1F3B-B20629A58E7C}"/>
                    </a:ext>
                  </a:extLst>
                </p:cNvPr>
                <p:cNvSpPr/>
                <p:nvPr/>
              </p:nvSpPr>
              <p:spPr>
                <a:xfrm>
                  <a:off x="8268512" y="1720838"/>
                  <a:ext cx="11334" cy="50944"/>
                </a:xfrm>
                <a:custGeom>
                  <a:avLst/>
                  <a:gdLst>
                    <a:gd name="connsiteX0" fmla="*/ 0 w 11334"/>
                    <a:gd name="connsiteY0" fmla="*/ 0 h 50944"/>
                    <a:gd name="connsiteX1" fmla="*/ 5729 w 11334"/>
                    <a:gd name="connsiteY1" fmla="*/ 17936 h 50944"/>
                    <a:gd name="connsiteX2" fmla="*/ 5854 w 11334"/>
                    <a:gd name="connsiteY2" fmla="*/ 35374 h 50944"/>
                    <a:gd name="connsiteX3" fmla="*/ 11334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29" y="17936"/>
                      </a:cubicBezTo>
                      <a:cubicBezTo>
                        <a:pt x="6353" y="24912"/>
                        <a:pt x="4857" y="28399"/>
                        <a:pt x="5854" y="35374"/>
                      </a:cubicBezTo>
                      <a:cubicBezTo>
                        <a:pt x="6726" y="42225"/>
                        <a:pt x="9342" y="47581"/>
                        <a:pt x="1133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6" name="Freeform 7324">
                  <a:extLst>
                    <a:ext uri="{FF2B5EF4-FFF2-40B4-BE49-F238E27FC236}">
                      <a16:creationId xmlns:a16="http://schemas.microsoft.com/office/drawing/2014/main" id="{3A294BE0-04C2-3BF2-08AE-8F9DBC492A2F}"/>
                    </a:ext>
                  </a:extLst>
                </p:cNvPr>
                <p:cNvSpPr/>
                <p:nvPr/>
              </p:nvSpPr>
              <p:spPr>
                <a:xfrm>
                  <a:off x="8270228" y="1759749"/>
                  <a:ext cx="26590" cy="26556"/>
                </a:xfrm>
                <a:custGeom>
                  <a:avLst/>
                  <a:gdLst>
                    <a:gd name="connsiteX0" fmla="*/ 276 w 26590"/>
                    <a:gd name="connsiteY0" fmla="*/ 16143 h 26556"/>
                    <a:gd name="connsiteX1" fmla="*/ 10615 w 26590"/>
                    <a:gd name="connsiteY1" fmla="*/ 324 h 26556"/>
                    <a:gd name="connsiteX2" fmla="*/ 26309 w 26590"/>
                    <a:gd name="connsiteY2" fmla="*/ 10414 h 26556"/>
                    <a:gd name="connsiteX3" fmla="*/ 15970 w 26590"/>
                    <a:gd name="connsiteY3" fmla="*/ 26232 h 26556"/>
                    <a:gd name="connsiteX4" fmla="*/ 276 w 2659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0" h="26556">
                      <a:moveTo>
                        <a:pt x="276" y="16143"/>
                      </a:moveTo>
                      <a:cubicBezTo>
                        <a:pt x="-1219" y="8919"/>
                        <a:pt x="3515" y="1944"/>
                        <a:pt x="10615" y="324"/>
                      </a:cubicBezTo>
                      <a:cubicBezTo>
                        <a:pt x="17839" y="-1295"/>
                        <a:pt x="24814" y="3314"/>
                        <a:pt x="26309" y="10414"/>
                      </a:cubicBezTo>
                      <a:cubicBezTo>
                        <a:pt x="27804" y="17638"/>
                        <a:pt x="23195" y="24613"/>
                        <a:pt x="15970" y="26232"/>
                      </a:cubicBezTo>
                      <a:cubicBezTo>
                        <a:pt x="8746" y="27852"/>
                        <a:pt x="1646" y="23243"/>
                        <a:pt x="276"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7" name="Freeform 7325">
                  <a:extLst>
                    <a:ext uri="{FF2B5EF4-FFF2-40B4-BE49-F238E27FC236}">
                      <a16:creationId xmlns:a16="http://schemas.microsoft.com/office/drawing/2014/main" id="{A2E9C742-4C7E-A973-D954-D7C89B07F615}"/>
                    </a:ext>
                  </a:extLst>
                </p:cNvPr>
                <p:cNvSpPr/>
                <p:nvPr/>
              </p:nvSpPr>
              <p:spPr>
                <a:xfrm>
                  <a:off x="8256454" y="1660802"/>
                  <a:ext cx="10327" cy="51068"/>
                </a:xfrm>
                <a:custGeom>
                  <a:avLst/>
                  <a:gdLst>
                    <a:gd name="connsiteX0" fmla="*/ 225 w 10327"/>
                    <a:gd name="connsiteY0" fmla="*/ 0 h 51068"/>
                    <a:gd name="connsiteX1" fmla="*/ 2093 w 10327"/>
                    <a:gd name="connsiteY1" fmla="*/ 18684 h 51068"/>
                    <a:gd name="connsiteX2" fmla="*/ 8819 w 10327"/>
                    <a:gd name="connsiteY2" fmla="*/ 34627 h 51068"/>
                    <a:gd name="connsiteX3" fmla="*/ 10064 w 1032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327" h="51068">
                      <a:moveTo>
                        <a:pt x="225" y="0"/>
                      </a:moveTo>
                      <a:cubicBezTo>
                        <a:pt x="-523" y="8345"/>
                        <a:pt x="722" y="14573"/>
                        <a:pt x="2093" y="18684"/>
                      </a:cubicBezTo>
                      <a:cubicBezTo>
                        <a:pt x="4210" y="25285"/>
                        <a:pt x="6950" y="27901"/>
                        <a:pt x="8819" y="34627"/>
                      </a:cubicBezTo>
                      <a:cubicBezTo>
                        <a:pt x="10687" y="41229"/>
                        <a:pt x="10438" y="47207"/>
                        <a:pt x="10064"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8" name="Freeform 7326">
                  <a:extLst>
                    <a:ext uri="{FF2B5EF4-FFF2-40B4-BE49-F238E27FC236}">
                      <a16:creationId xmlns:a16="http://schemas.microsoft.com/office/drawing/2014/main" id="{E2E6B151-1BC1-A151-B8CC-48469337D725}"/>
                    </a:ext>
                  </a:extLst>
                </p:cNvPr>
                <p:cNvSpPr/>
                <p:nvPr/>
              </p:nvSpPr>
              <p:spPr>
                <a:xfrm>
                  <a:off x="8262533" y="1654449"/>
                  <a:ext cx="11210" cy="50944"/>
                </a:xfrm>
                <a:custGeom>
                  <a:avLst/>
                  <a:gdLst>
                    <a:gd name="connsiteX0" fmla="*/ 11210 w 11210"/>
                    <a:gd name="connsiteY0" fmla="*/ 50944 h 50944"/>
                    <a:gd name="connsiteX1" fmla="*/ 5481 w 11210"/>
                    <a:gd name="connsiteY1" fmla="*/ 33008 h 50944"/>
                    <a:gd name="connsiteX2" fmla="*/ 5357 w 11210"/>
                    <a:gd name="connsiteY2" fmla="*/ 15570 h 50944"/>
                    <a:gd name="connsiteX3" fmla="*/ 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50944"/>
                      </a:moveTo>
                      <a:cubicBezTo>
                        <a:pt x="7100" y="43595"/>
                        <a:pt x="5855" y="37367"/>
                        <a:pt x="5481" y="33008"/>
                      </a:cubicBezTo>
                      <a:cubicBezTo>
                        <a:pt x="4858" y="26033"/>
                        <a:pt x="6353" y="22545"/>
                        <a:pt x="5357" y="15570"/>
                      </a:cubicBezTo>
                      <a:cubicBezTo>
                        <a:pt x="4485" y="8719"/>
                        <a:pt x="1869"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9" name="Freeform 7327">
                  <a:extLst>
                    <a:ext uri="{FF2B5EF4-FFF2-40B4-BE49-F238E27FC236}">
                      <a16:creationId xmlns:a16="http://schemas.microsoft.com/office/drawing/2014/main" id="{9323F6DF-877D-24D8-CA15-B87700F91D42}"/>
                    </a:ext>
                  </a:extLst>
                </p:cNvPr>
                <p:cNvSpPr/>
                <p:nvPr/>
              </p:nvSpPr>
              <p:spPr>
                <a:xfrm>
                  <a:off x="8245561" y="1639838"/>
                  <a:ext cx="26346" cy="26606"/>
                </a:xfrm>
                <a:custGeom>
                  <a:avLst/>
                  <a:gdLst>
                    <a:gd name="connsiteX0" fmla="*/ 26065 w 26346"/>
                    <a:gd name="connsiteY0" fmla="*/ 10501 h 26606"/>
                    <a:gd name="connsiteX1" fmla="*/ 15851 w 26346"/>
                    <a:gd name="connsiteY1" fmla="*/ 26319 h 26606"/>
                    <a:gd name="connsiteX2" fmla="*/ 282 w 26346"/>
                    <a:gd name="connsiteY2" fmla="*/ 16106 h 26606"/>
                    <a:gd name="connsiteX3" fmla="*/ 10495 w 26346"/>
                    <a:gd name="connsiteY3" fmla="*/ 287 h 26606"/>
                    <a:gd name="connsiteX4" fmla="*/ 26065 w 26346"/>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0501"/>
                      </a:moveTo>
                      <a:cubicBezTo>
                        <a:pt x="27560" y="17725"/>
                        <a:pt x="22951"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4" name="Graphic 2987">
                <a:extLst>
                  <a:ext uri="{FF2B5EF4-FFF2-40B4-BE49-F238E27FC236}">
                    <a16:creationId xmlns:a16="http://schemas.microsoft.com/office/drawing/2014/main" id="{4D1C97A9-BA26-C253-0121-609332DE8288}"/>
                  </a:ext>
                </a:extLst>
              </p:cNvPr>
              <p:cNvGrpSpPr/>
              <p:nvPr/>
            </p:nvGrpSpPr>
            <p:grpSpPr>
              <a:xfrm>
                <a:off x="8216794" y="1646071"/>
                <a:ext cx="50872" cy="146499"/>
                <a:chOff x="8216794" y="1646071"/>
                <a:chExt cx="50872" cy="146499"/>
              </a:xfrm>
              <a:grpFill/>
            </p:grpSpPr>
            <p:sp>
              <p:nvSpPr>
                <p:cNvPr id="6768" name="Freeform 7329">
                  <a:extLst>
                    <a:ext uri="{FF2B5EF4-FFF2-40B4-BE49-F238E27FC236}">
                      <a16:creationId xmlns:a16="http://schemas.microsoft.com/office/drawing/2014/main" id="{8CED8549-B98E-2AAF-6AB7-BB26527461D5}"/>
                    </a:ext>
                  </a:extLst>
                </p:cNvPr>
                <p:cNvSpPr/>
                <p:nvPr/>
              </p:nvSpPr>
              <p:spPr>
                <a:xfrm>
                  <a:off x="8246604" y="1720340"/>
                  <a:ext cx="10224" cy="51317"/>
                </a:xfrm>
                <a:custGeom>
                  <a:avLst/>
                  <a:gdLst>
                    <a:gd name="connsiteX0" fmla="*/ 9950 w 10224"/>
                    <a:gd name="connsiteY0" fmla="*/ 51318 h 51317"/>
                    <a:gd name="connsiteX1" fmla="*/ 8206 w 10224"/>
                    <a:gd name="connsiteY1" fmla="*/ 32510 h 51317"/>
                    <a:gd name="connsiteX2" fmla="*/ 1480 w 10224"/>
                    <a:gd name="connsiteY2" fmla="*/ 16442 h 51317"/>
                    <a:gd name="connsiteX3" fmla="*/ 359 w 10224"/>
                    <a:gd name="connsiteY3" fmla="*/ 0 h 51317"/>
                  </a:gdLst>
                  <a:ahLst/>
                  <a:cxnLst>
                    <a:cxn ang="0">
                      <a:pos x="connsiteX0" y="connsiteY0"/>
                    </a:cxn>
                    <a:cxn ang="0">
                      <a:pos x="connsiteX1" y="connsiteY1"/>
                    </a:cxn>
                    <a:cxn ang="0">
                      <a:pos x="connsiteX2" y="connsiteY2"/>
                    </a:cxn>
                    <a:cxn ang="0">
                      <a:pos x="connsiteX3" y="connsiteY3"/>
                    </a:cxn>
                  </a:cxnLst>
                  <a:rect l="l" t="t" r="r" b="b"/>
                  <a:pathLst>
                    <a:path w="10224" h="51317">
                      <a:moveTo>
                        <a:pt x="9950" y="51318"/>
                      </a:moveTo>
                      <a:cubicBezTo>
                        <a:pt x="10822" y="42848"/>
                        <a:pt x="9452" y="36745"/>
                        <a:pt x="8206" y="32510"/>
                      </a:cubicBezTo>
                      <a:cubicBezTo>
                        <a:pt x="6089" y="25908"/>
                        <a:pt x="3349"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9" name="Freeform 7330">
                  <a:extLst>
                    <a:ext uri="{FF2B5EF4-FFF2-40B4-BE49-F238E27FC236}">
                      <a16:creationId xmlns:a16="http://schemas.microsoft.com/office/drawing/2014/main" id="{E3C5F699-0080-F774-2B49-687B0CE871B0}"/>
                    </a:ext>
                  </a:extLst>
                </p:cNvPr>
                <p:cNvSpPr/>
                <p:nvPr/>
              </p:nvSpPr>
              <p:spPr>
                <a:xfrm>
                  <a:off x="8239490" y="1727066"/>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1" y="13577"/>
                        <a:pt x="5605" y="17936"/>
                      </a:cubicBezTo>
                      <a:cubicBezTo>
                        <a:pt x="6228" y="24912"/>
                        <a:pt x="4733" y="28275"/>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0" name="Freeform 7331">
                  <a:extLst>
                    <a:ext uri="{FF2B5EF4-FFF2-40B4-BE49-F238E27FC236}">
                      <a16:creationId xmlns:a16="http://schemas.microsoft.com/office/drawing/2014/main" id="{AC6F282B-D9A9-C0E8-56C4-96B92A35D57B}"/>
                    </a:ext>
                  </a:extLst>
                </p:cNvPr>
                <p:cNvSpPr/>
                <p:nvPr/>
              </p:nvSpPr>
              <p:spPr>
                <a:xfrm>
                  <a:off x="8240958" y="1766102"/>
                  <a:ext cx="26708" cy="26468"/>
                </a:xfrm>
                <a:custGeom>
                  <a:avLst/>
                  <a:gdLst>
                    <a:gd name="connsiteX0" fmla="*/ 276 w 26708"/>
                    <a:gd name="connsiteY0" fmla="*/ 15770 h 26468"/>
                    <a:gd name="connsiteX1" fmla="*/ 10738 w 26708"/>
                    <a:gd name="connsiteY1" fmla="*/ 324 h 26468"/>
                    <a:gd name="connsiteX2" fmla="*/ 26433 w 26708"/>
                    <a:gd name="connsiteY2" fmla="*/ 10414 h 26468"/>
                    <a:gd name="connsiteX3" fmla="*/ 15970 w 26708"/>
                    <a:gd name="connsiteY3" fmla="*/ 26232 h 26468"/>
                    <a:gd name="connsiteX4" fmla="*/ 276 w 26708"/>
                    <a:gd name="connsiteY4" fmla="*/ 15770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8">
                      <a:moveTo>
                        <a:pt x="276" y="15770"/>
                      </a:moveTo>
                      <a:cubicBezTo>
                        <a:pt x="-1219" y="8545"/>
                        <a:pt x="3514" y="1695"/>
                        <a:pt x="10738" y="324"/>
                      </a:cubicBezTo>
                      <a:cubicBezTo>
                        <a:pt x="17963" y="-1295"/>
                        <a:pt x="24938" y="3314"/>
                        <a:pt x="26433" y="10414"/>
                      </a:cubicBezTo>
                      <a:cubicBezTo>
                        <a:pt x="27927" y="17638"/>
                        <a:pt x="23194" y="24613"/>
                        <a:pt x="15970" y="26232"/>
                      </a:cubicBezTo>
                      <a:cubicBezTo>
                        <a:pt x="8746" y="27603"/>
                        <a:pt x="1646" y="22869"/>
                        <a:pt x="276" y="15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1" name="Freeform 7332">
                  <a:extLst>
                    <a:ext uri="{FF2B5EF4-FFF2-40B4-BE49-F238E27FC236}">
                      <a16:creationId xmlns:a16="http://schemas.microsoft.com/office/drawing/2014/main" id="{FE015B7A-00C2-E4C9-EA80-FD7A209C015E}"/>
                    </a:ext>
                  </a:extLst>
                </p:cNvPr>
                <p:cNvSpPr/>
                <p:nvPr/>
              </p:nvSpPr>
              <p:spPr>
                <a:xfrm>
                  <a:off x="8227506" y="1667029"/>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5"/>
                        <a:pt x="773" y="14573"/>
                        <a:pt x="2019" y="18684"/>
                      </a:cubicBezTo>
                      <a:cubicBezTo>
                        <a:pt x="4136" y="25410"/>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2" name="Freeform 7333">
                  <a:extLst>
                    <a:ext uri="{FF2B5EF4-FFF2-40B4-BE49-F238E27FC236}">
                      <a16:creationId xmlns:a16="http://schemas.microsoft.com/office/drawing/2014/main" id="{44D6ACB3-5F1D-3EE4-B0EC-82F9BBE07669}"/>
                    </a:ext>
                  </a:extLst>
                </p:cNvPr>
                <p:cNvSpPr/>
                <p:nvPr/>
              </p:nvSpPr>
              <p:spPr>
                <a:xfrm>
                  <a:off x="8233636" y="1660677"/>
                  <a:ext cx="11085" cy="50944"/>
                </a:xfrm>
                <a:custGeom>
                  <a:avLst/>
                  <a:gdLst>
                    <a:gd name="connsiteX0" fmla="*/ 11085 w 11085"/>
                    <a:gd name="connsiteY0" fmla="*/ 50944 h 50944"/>
                    <a:gd name="connsiteX1" fmla="*/ 5480 w 11085"/>
                    <a:gd name="connsiteY1" fmla="*/ 33008 h 50944"/>
                    <a:gd name="connsiteX2" fmla="*/ 5356 w 11085"/>
                    <a:gd name="connsiteY2" fmla="*/ 15570 h 50944"/>
                    <a:gd name="connsiteX3" fmla="*/ 0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11085" y="50944"/>
                      </a:moveTo>
                      <a:cubicBezTo>
                        <a:pt x="7099" y="43595"/>
                        <a:pt x="5854" y="37367"/>
                        <a:pt x="5480" y="33008"/>
                      </a:cubicBezTo>
                      <a:cubicBezTo>
                        <a:pt x="4857" y="26033"/>
                        <a:pt x="6352" y="22545"/>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3" name="Freeform 7334">
                  <a:extLst>
                    <a:ext uri="{FF2B5EF4-FFF2-40B4-BE49-F238E27FC236}">
                      <a16:creationId xmlns:a16="http://schemas.microsoft.com/office/drawing/2014/main" id="{53F4983C-27E6-0793-58F0-D4DC6B5ACEFD}"/>
                    </a:ext>
                  </a:extLst>
                </p:cNvPr>
                <p:cNvSpPr/>
                <p:nvPr/>
              </p:nvSpPr>
              <p:spPr>
                <a:xfrm>
                  <a:off x="8216794" y="1646071"/>
                  <a:ext cx="26341" cy="26550"/>
                </a:xfrm>
                <a:custGeom>
                  <a:avLst/>
                  <a:gdLst>
                    <a:gd name="connsiteX0" fmla="*/ 26060 w 26341"/>
                    <a:gd name="connsiteY0" fmla="*/ 10495 h 26550"/>
                    <a:gd name="connsiteX1" fmla="*/ 15846 w 26341"/>
                    <a:gd name="connsiteY1" fmla="*/ 26314 h 26550"/>
                    <a:gd name="connsiteX2" fmla="*/ 276 w 26341"/>
                    <a:gd name="connsiteY2" fmla="*/ 15727 h 26550"/>
                    <a:gd name="connsiteX3" fmla="*/ 10615 w 26341"/>
                    <a:gd name="connsiteY3" fmla="*/ 282 h 26550"/>
                    <a:gd name="connsiteX4" fmla="*/ 26060 w 26341"/>
                    <a:gd name="connsiteY4" fmla="*/ 10495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1" h="26549">
                      <a:moveTo>
                        <a:pt x="26060" y="10495"/>
                      </a:moveTo>
                      <a:cubicBezTo>
                        <a:pt x="27554" y="17720"/>
                        <a:pt x="22946" y="24695"/>
                        <a:pt x="15846" y="26314"/>
                      </a:cubicBezTo>
                      <a:cubicBezTo>
                        <a:pt x="8746" y="27684"/>
                        <a:pt x="1646" y="22951"/>
                        <a:pt x="276" y="15727"/>
                      </a:cubicBezTo>
                      <a:cubicBezTo>
                        <a:pt x="-1219" y="8502"/>
                        <a:pt x="3515" y="1652"/>
                        <a:pt x="10615" y="282"/>
                      </a:cubicBezTo>
                      <a:cubicBezTo>
                        <a:pt x="17590" y="-1213"/>
                        <a:pt x="24565" y="3396"/>
                        <a:pt x="26060"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5" name="Graphic 2987">
                <a:extLst>
                  <a:ext uri="{FF2B5EF4-FFF2-40B4-BE49-F238E27FC236}">
                    <a16:creationId xmlns:a16="http://schemas.microsoft.com/office/drawing/2014/main" id="{A1D4BC15-1E0D-3680-00F0-87DF77B3F595}"/>
                  </a:ext>
                </a:extLst>
              </p:cNvPr>
              <p:cNvGrpSpPr/>
              <p:nvPr/>
            </p:nvGrpSpPr>
            <p:grpSpPr>
              <a:xfrm>
                <a:off x="8187806" y="1651634"/>
                <a:ext cx="50429" cy="146456"/>
                <a:chOff x="8187806" y="1651634"/>
                <a:chExt cx="50429" cy="146456"/>
              </a:xfrm>
              <a:grpFill/>
            </p:grpSpPr>
            <p:sp>
              <p:nvSpPr>
                <p:cNvPr id="6762" name="Freeform 7336">
                  <a:extLst>
                    <a:ext uri="{FF2B5EF4-FFF2-40B4-BE49-F238E27FC236}">
                      <a16:creationId xmlns:a16="http://schemas.microsoft.com/office/drawing/2014/main" id="{3A719A64-41DD-3388-7D37-8DF7F277501E}"/>
                    </a:ext>
                  </a:extLst>
                </p:cNvPr>
                <p:cNvSpPr/>
                <p:nvPr/>
              </p:nvSpPr>
              <p:spPr>
                <a:xfrm>
                  <a:off x="8217209" y="1726070"/>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9" y="25783"/>
                        <a:pt x="3348"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3" name="Freeform 7337">
                  <a:extLst>
                    <a:ext uri="{FF2B5EF4-FFF2-40B4-BE49-F238E27FC236}">
                      <a16:creationId xmlns:a16="http://schemas.microsoft.com/office/drawing/2014/main" id="{C7FBCDBE-8123-4241-A799-38A17EA79794}"/>
                    </a:ext>
                  </a:extLst>
                </p:cNvPr>
                <p:cNvSpPr/>
                <p:nvPr/>
              </p:nvSpPr>
              <p:spPr>
                <a:xfrm>
                  <a:off x="8210343" y="1732547"/>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2" y="13701"/>
                        <a:pt x="5605" y="17936"/>
                      </a:cubicBezTo>
                      <a:cubicBezTo>
                        <a:pt x="6228" y="24912"/>
                        <a:pt x="4733" y="28275"/>
                        <a:pt x="5605" y="35374"/>
                      </a:cubicBezTo>
                      <a:cubicBezTo>
                        <a:pt x="6477" y="42225"/>
                        <a:pt x="8969"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4" name="Freeform 7338">
                  <a:extLst>
                    <a:ext uri="{FF2B5EF4-FFF2-40B4-BE49-F238E27FC236}">
                      <a16:creationId xmlns:a16="http://schemas.microsoft.com/office/drawing/2014/main" id="{78FFE05C-5A26-ED3F-3F9F-6805A84465F1}"/>
                    </a:ext>
                  </a:extLst>
                </p:cNvPr>
                <p:cNvSpPr/>
                <p:nvPr/>
              </p:nvSpPr>
              <p:spPr>
                <a:xfrm>
                  <a:off x="8211597" y="1771671"/>
                  <a:ext cx="26638" cy="26420"/>
                </a:xfrm>
                <a:custGeom>
                  <a:avLst/>
                  <a:gdLst>
                    <a:gd name="connsiteX0" fmla="*/ 241 w 26638"/>
                    <a:gd name="connsiteY0" fmla="*/ 15681 h 26420"/>
                    <a:gd name="connsiteX1" fmla="*/ 10703 w 26638"/>
                    <a:gd name="connsiteY1" fmla="*/ 236 h 26420"/>
                    <a:gd name="connsiteX2" fmla="*/ 26398 w 26638"/>
                    <a:gd name="connsiteY2" fmla="*/ 10699 h 26420"/>
                    <a:gd name="connsiteX3" fmla="*/ 15935 w 26638"/>
                    <a:gd name="connsiteY3" fmla="*/ 26144 h 26420"/>
                    <a:gd name="connsiteX4" fmla="*/ 241 w 26638"/>
                    <a:gd name="connsiteY4" fmla="*/ 15681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8" h="26420">
                      <a:moveTo>
                        <a:pt x="241" y="15681"/>
                      </a:moveTo>
                      <a:cubicBezTo>
                        <a:pt x="-1130" y="8457"/>
                        <a:pt x="3479" y="1606"/>
                        <a:pt x="10703" y="236"/>
                      </a:cubicBezTo>
                      <a:cubicBezTo>
                        <a:pt x="17928" y="-1134"/>
                        <a:pt x="25028" y="3599"/>
                        <a:pt x="26398" y="10699"/>
                      </a:cubicBezTo>
                      <a:cubicBezTo>
                        <a:pt x="27768" y="17799"/>
                        <a:pt x="23159" y="24774"/>
                        <a:pt x="15935" y="26144"/>
                      </a:cubicBezTo>
                      <a:cubicBezTo>
                        <a:pt x="8711" y="27639"/>
                        <a:pt x="1736" y="22906"/>
                        <a:pt x="24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5" name="Freeform 7339">
                  <a:extLst>
                    <a:ext uri="{FF2B5EF4-FFF2-40B4-BE49-F238E27FC236}">
                      <a16:creationId xmlns:a16="http://schemas.microsoft.com/office/drawing/2014/main" id="{F6C61EAF-96AE-1324-B31F-E67E3E454538}"/>
                    </a:ext>
                  </a:extLst>
                </p:cNvPr>
                <p:cNvSpPr/>
                <p:nvPr/>
              </p:nvSpPr>
              <p:spPr>
                <a:xfrm>
                  <a:off x="8198594" y="1672510"/>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6" name="Freeform 7340">
                  <a:extLst>
                    <a:ext uri="{FF2B5EF4-FFF2-40B4-BE49-F238E27FC236}">
                      <a16:creationId xmlns:a16="http://schemas.microsoft.com/office/drawing/2014/main" id="{D06C2DF3-554A-C80E-E8B0-992B39E220DD}"/>
                    </a:ext>
                  </a:extLst>
                </p:cNvPr>
                <p:cNvSpPr/>
                <p:nvPr/>
              </p:nvSpPr>
              <p:spPr>
                <a:xfrm>
                  <a:off x="8204739" y="1666157"/>
                  <a:ext cx="10961" cy="51068"/>
                </a:xfrm>
                <a:custGeom>
                  <a:avLst/>
                  <a:gdLst>
                    <a:gd name="connsiteX0" fmla="*/ 10961 w 10961"/>
                    <a:gd name="connsiteY0" fmla="*/ 51069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9"/>
                      </a:moveTo>
                      <a:cubicBezTo>
                        <a:pt x="6975" y="43595"/>
                        <a:pt x="5729" y="37367"/>
                        <a:pt x="5356" y="33132"/>
                      </a:cubicBezTo>
                      <a:cubicBezTo>
                        <a:pt x="4733" y="26157"/>
                        <a:pt x="6228" y="22794"/>
                        <a:pt x="5356" y="15694"/>
                      </a:cubicBezTo>
                      <a:cubicBezTo>
                        <a:pt x="4484"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7" name="Freeform 7341">
                  <a:extLst>
                    <a:ext uri="{FF2B5EF4-FFF2-40B4-BE49-F238E27FC236}">
                      <a16:creationId xmlns:a16="http://schemas.microsoft.com/office/drawing/2014/main" id="{16C0C237-F883-9086-3E65-5F88A95BB4A5}"/>
                    </a:ext>
                  </a:extLst>
                </p:cNvPr>
                <p:cNvSpPr/>
                <p:nvPr/>
              </p:nvSpPr>
              <p:spPr>
                <a:xfrm>
                  <a:off x="8187806" y="1651634"/>
                  <a:ext cx="26425" cy="26467"/>
                </a:xfrm>
                <a:custGeom>
                  <a:avLst/>
                  <a:gdLst>
                    <a:gd name="connsiteX0" fmla="*/ 26149 w 26425"/>
                    <a:gd name="connsiteY0" fmla="*/ 10786 h 26467"/>
                    <a:gd name="connsiteX1" fmla="*/ 15811 w 26425"/>
                    <a:gd name="connsiteY1" fmla="*/ 26231 h 26467"/>
                    <a:gd name="connsiteX2" fmla="*/ 241 w 26425"/>
                    <a:gd name="connsiteY2" fmla="*/ 15644 h 26467"/>
                    <a:gd name="connsiteX3" fmla="*/ 10579 w 26425"/>
                    <a:gd name="connsiteY3" fmla="*/ 199 h 26467"/>
                    <a:gd name="connsiteX4" fmla="*/ 26149 w 26425"/>
                    <a:gd name="connsiteY4" fmla="*/ 1078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467">
                      <a:moveTo>
                        <a:pt x="26149" y="10786"/>
                      </a:moveTo>
                      <a:cubicBezTo>
                        <a:pt x="27644" y="18011"/>
                        <a:pt x="22911" y="24861"/>
                        <a:pt x="15811" y="26231"/>
                      </a:cubicBezTo>
                      <a:cubicBezTo>
                        <a:pt x="8586" y="27602"/>
                        <a:pt x="1736" y="22868"/>
                        <a:pt x="241" y="15644"/>
                      </a:cubicBezTo>
                      <a:cubicBezTo>
                        <a:pt x="-1129" y="8420"/>
                        <a:pt x="3480" y="1569"/>
                        <a:pt x="10579" y="199"/>
                      </a:cubicBezTo>
                      <a:cubicBezTo>
                        <a:pt x="17804" y="-1047"/>
                        <a:pt x="24779" y="3687"/>
                        <a:pt x="26149" y="107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6" name="Graphic 2987">
                <a:extLst>
                  <a:ext uri="{FF2B5EF4-FFF2-40B4-BE49-F238E27FC236}">
                    <a16:creationId xmlns:a16="http://schemas.microsoft.com/office/drawing/2014/main" id="{D3A09F4C-95A5-20ED-9630-48A52BD4FC96}"/>
                  </a:ext>
                </a:extLst>
              </p:cNvPr>
              <p:cNvGrpSpPr/>
              <p:nvPr/>
            </p:nvGrpSpPr>
            <p:grpSpPr>
              <a:xfrm>
                <a:off x="8158909" y="1657078"/>
                <a:ext cx="50175" cy="146702"/>
                <a:chOff x="8158909" y="1657078"/>
                <a:chExt cx="50175" cy="146702"/>
              </a:xfrm>
              <a:grpFill/>
            </p:grpSpPr>
            <p:sp>
              <p:nvSpPr>
                <p:cNvPr id="6756" name="Freeform 7343">
                  <a:extLst>
                    <a:ext uri="{FF2B5EF4-FFF2-40B4-BE49-F238E27FC236}">
                      <a16:creationId xmlns:a16="http://schemas.microsoft.com/office/drawing/2014/main" id="{CFADA226-84A1-C66A-2319-8C89980428B8}"/>
                    </a:ext>
                  </a:extLst>
                </p:cNvPr>
                <p:cNvSpPr/>
                <p:nvPr/>
              </p:nvSpPr>
              <p:spPr>
                <a:xfrm>
                  <a:off x="8188140" y="1731675"/>
                  <a:ext cx="10038" cy="51193"/>
                </a:xfrm>
                <a:custGeom>
                  <a:avLst/>
                  <a:gdLst>
                    <a:gd name="connsiteX0" fmla="*/ 9747 w 10038"/>
                    <a:gd name="connsiteY0" fmla="*/ 51193 h 51193"/>
                    <a:gd name="connsiteX1" fmla="*/ 8128 w 10038"/>
                    <a:gd name="connsiteY1" fmla="*/ 32510 h 51193"/>
                    <a:gd name="connsiteX2" fmla="*/ 1402 w 10038"/>
                    <a:gd name="connsiteY2" fmla="*/ 16442 h 51193"/>
                    <a:gd name="connsiteX3" fmla="*/ 405 w 10038"/>
                    <a:gd name="connsiteY3" fmla="*/ 0 h 51193"/>
                  </a:gdLst>
                  <a:ahLst/>
                  <a:cxnLst>
                    <a:cxn ang="0">
                      <a:pos x="connsiteX0" y="connsiteY0"/>
                    </a:cxn>
                    <a:cxn ang="0">
                      <a:pos x="connsiteX1" y="connsiteY1"/>
                    </a:cxn>
                    <a:cxn ang="0">
                      <a:pos x="connsiteX2" y="connsiteY2"/>
                    </a:cxn>
                    <a:cxn ang="0">
                      <a:pos x="connsiteX3" y="connsiteY3"/>
                    </a:cxn>
                  </a:cxnLst>
                  <a:rect l="l" t="t" r="r" b="b"/>
                  <a:pathLst>
                    <a:path w="10038" h="51193">
                      <a:moveTo>
                        <a:pt x="9747" y="51193"/>
                      </a:moveTo>
                      <a:cubicBezTo>
                        <a:pt x="10619" y="42848"/>
                        <a:pt x="9373" y="36620"/>
                        <a:pt x="8128" y="32510"/>
                      </a:cubicBezTo>
                      <a:cubicBezTo>
                        <a:pt x="6010" y="25783"/>
                        <a:pt x="3270" y="23292"/>
                        <a:pt x="1402" y="16442"/>
                      </a:cubicBezTo>
                      <a:cubicBezTo>
                        <a:pt x="-466" y="9715"/>
                        <a:pt x="-93" y="3861"/>
                        <a:pt x="4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7" name="Freeform 7344">
                  <a:extLst>
                    <a:ext uri="{FF2B5EF4-FFF2-40B4-BE49-F238E27FC236}">
                      <a16:creationId xmlns:a16="http://schemas.microsoft.com/office/drawing/2014/main" id="{09518558-351A-AC20-6134-C1B5F7A4E520}"/>
                    </a:ext>
                  </a:extLst>
                </p:cNvPr>
                <p:cNvSpPr/>
                <p:nvPr/>
              </p:nvSpPr>
              <p:spPr>
                <a:xfrm>
                  <a:off x="8181197" y="1738027"/>
                  <a:ext cx="10711" cy="51068"/>
                </a:xfrm>
                <a:custGeom>
                  <a:avLst/>
                  <a:gdLst>
                    <a:gd name="connsiteX0" fmla="*/ 0 w 10711"/>
                    <a:gd name="connsiteY0" fmla="*/ 0 h 51068"/>
                    <a:gd name="connsiteX1" fmla="*/ 5605 w 10711"/>
                    <a:gd name="connsiteY1" fmla="*/ 17936 h 51068"/>
                    <a:gd name="connsiteX2" fmla="*/ 5481 w 10711"/>
                    <a:gd name="connsiteY2" fmla="*/ 35374 h 51068"/>
                    <a:gd name="connsiteX3" fmla="*/ 10712 w 107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11" h="51068">
                      <a:moveTo>
                        <a:pt x="0" y="0"/>
                      </a:moveTo>
                      <a:cubicBezTo>
                        <a:pt x="3986" y="7473"/>
                        <a:pt x="5231" y="13701"/>
                        <a:pt x="5605" y="17936"/>
                      </a:cubicBezTo>
                      <a:cubicBezTo>
                        <a:pt x="6228" y="24912"/>
                        <a:pt x="4609" y="28275"/>
                        <a:pt x="5481" y="35374"/>
                      </a:cubicBezTo>
                      <a:cubicBezTo>
                        <a:pt x="6353" y="42225"/>
                        <a:pt x="8844" y="47581"/>
                        <a:pt x="107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8" name="Freeform 7345">
                  <a:extLst>
                    <a:ext uri="{FF2B5EF4-FFF2-40B4-BE49-F238E27FC236}">
                      <a16:creationId xmlns:a16="http://schemas.microsoft.com/office/drawing/2014/main" id="{C1F3A277-59FD-2C14-2015-677657419C66}"/>
                    </a:ext>
                  </a:extLst>
                </p:cNvPr>
                <p:cNvSpPr/>
                <p:nvPr/>
              </p:nvSpPr>
              <p:spPr>
                <a:xfrm>
                  <a:off x="8182331" y="1777276"/>
                  <a:ext cx="26753" cy="26504"/>
                </a:xfrm>
                <a:custGeom>
                  <a:avLst/>
                  <a:gdLst>
                    <a:gd name="connsiteX0" fmla="*/ 236 w 26753"/>
                    <a:gd name="connsiteY0" fmla="*/ 15681 h 26504"/>
                    <a:gd name="connsiteX1" fmla="*/ 10824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4" y="236"/>
                      </a:cubicBezTo>
                      <a:cubicBezTo>
                        <a:pt x="18048" y="-1134"/>
                        <a:pt x="25023" y="3599"/>
                        <a:pt x="26517" y="10823"/>
                      </a:cubicBezTo>
                      <a:cubicBezTo>
                        <a:pt x="27888" y="18048"/>
                        <a:pt x="23155" y="24898"/>
                        <a:pt x="15930" y="26269"/>
                      </a:cubicBezTo>
                      <a:cubicBezTo>
                        <a:pt x="8706" y="27639"/>
                        <a:pt x="1606"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9" name="Freeform 7346">
                  <a:extLst>
                    <a:ext uri="{FF2B5EF4-FFF2-40B4-BE49-F238E27FC236}">
                      <a16:creationId xmlns:a16="http://schemas.microsoft.com/office/drawing/2014/main" id="{F64C2395-7AD0-FF5A-F7B1-4BAAA14DCA89}"/>
                    </a:ext>
                  </a:extLst>
                </p:cNvPr>
                <p:cNvSpPr/>
                <p:nvPr/>
              </p:nvSpPr>
              <p:spPr>
                <a:xfrm>
                  <a:off x="8169571" y="1677990"/>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0" y="8345"/>
                        <a:pt x="665" y="14573"/>
                        <a:pt x="1910" y="18684"/>
                      </a:cubicBezTo>
                      <a:cubicBezTo>
                        <a:pt x="4028" y="25410"/>
                        <a:pt x="6644" y="27901"/>
                        <a:pt x="8512" y="34752"/>
                      </a:cubicBezTo>
                      <a:cubicBezTo>
                        <a:pt x="10380"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0" name="Freeform 7347">
                  <a:extLst>
                    <a:ext uri="{FF2B5EF4-FFF2-40B4-BE49-F238E27FC236}">
                      <a16:creationId xmlns:a16="http://schemas.microsoft.com/office/drawing/2014/main" id="{63D4C570-8BA5-8D1A-B3FF-C2619E08C341}"/>
                    </a:ext>
                  </a:extLst>
                </p:cNvPr>
                <p:cNvSpPr/>
                <p:nvPr/>
              </p:nvSpPr>
              <p:spPr>
                <a:xfrm>
                  <a:off x="8175716" y="1671638"/>
                  <a:ext cx="10836" cy="51068"/>
                </a:xfrm>
                <a:custGeom>
                  <a:avLst/>
                  <a:gdLst>
                    <a:gd name="connsiteX0" fmla="*/ 10836 w 10836"/>
                    <a:gd name="connsiteY0" fmla="*/ 51069 h 51068"/>
                    <a:gd name="connsiteX1" fmla="*/ 5231 w 10836"/>
                    <a:gd name="connsiteY1" fmla="*/ 33132 h 51068"/>
                    <a:gd name="connsiteX2" fmla="*/ 5231 w 10836"/>
                    <a:gd name="connsiteY2" fmla="*/ 15694 h 51068"/>
                    <a:gd name="connsiteX3" fmla="*/ 0 w 10836"/>
                    <a:gd name="connsiteY3" fmla="*/ 0 h 51068"/>
                  </a:gdLst>
                  <a:ahLst/>
                  <a:cxnLst>
                    <a:cxn ang="0">
                      <a:pos x="connsiteX0" y="connsiteY0"/>
                    </a:cxn>
                    <a:cxn ang="0">
                      <a:pos x="connsiteX1" y="connsiteY1"/>
                    </a:cxn>
                    <a:cxn ang="0">
                      <a:pos x="connsiteX2" y="connsiteY2"/>
                    </a:cxn>
                    <a:cxn ang="0">
                      <a:pos x="connsiteX3" y="connsiteY3"/>
                    </a:cxn>
                  </a:cxnLst>
                  <a:rect l="l" t="t" r="r" b="b"/>
                  <a:pathLst>
                    <a:path w="10836" h="51068">
                      <a:moveTo>
                        <a:pt x="10836" y="51069"/>
                      </a:moveTo>
                      <a:cubicBezTo>
                        <a:pt x="6851" y="43595"/>
                        <a:pt x="5605" y="37367"/>
                        <a:pt x="5231" y="33132"/>
                      </a:cubicBezTo>
                      <a:cubicBezTo>
                        <a:pt x="4609" y="26157"/>
                        <a:pt x="6103" y="22794"/>
                        <a:pt x="5231" y="15694"/>
                      </a:cubicBezTo>
                      <a:cubicBezTo>
                        <a:pt x="4359"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1" name="Freeform 7348">
                  <a:extLst>
                    <a:ext uri="{FF2B5EF4-FFF2-40B4-BE49-F238E27FC236}">
                      <a16:creationId xmlns:a16="http://schemas.microsoft.com/office/drawing/2014/main" id="{4005AE03-7558-43CB-DDE2-29D30295467D}"/>
                    </a:ext>
                  </a:extLst>
                </p:cNvPr>
                <p:cNvSpPr/>
                <p:nvPr/>
              </p:nvSpPr>
              <p:spPr>
                <a:xfrm>
                  <a:off x="8158909" y="1657078"/>
                  <a:ext cx="26390" cy="26504"/>
                </a:xfrm>
                <a:custGeom>
                  <a:avLst/>
                  <a:gdLst>
                    <a:gd name="connsiteX0" fmla="*/ 26149 w 26390"/>
                    <a:gd name="connsiteY0" fmla="*/ 10823 h 26504"/>
                    <a:gd name="connsiteX1" fmla="*/ 15811 w 26390"/>
                    <a:gd name="connsiteY1" fmla="*/ 26269 h 26504"/>
                    <a:gd name="connsiteX2" fmla="*/ 241 w 26390"/>
                    <a:gd name="connsiteY2" fmla="*/ 15681 h 26504"/>
                    <a:gd name="connsiteX3" fmla="*/ 10579 w 26390"/>
                    <a:gd name="connsiteY3" fmla="*/ 236 h 26504"/>
                    <a:gd name="connsiteX4" fmla="*/ 26149 w 2639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0" h="26504">
                      <a:moveTo>
                        <a:pt x="26149" y="10823"/>
                      </a:moveTo>
                      <a:cubicBezTo>
                        <a:pt x="27519" y="18048"/>
                        <a:pt x="22911" y="24899"/>
                        <a:pt x="15811" y="26269"/>
                      </a:cubicBezTo>
                      <a:cubicBezTo>
                        <a:pt x="8586" y="27639"/>
                        <a:pt x="1736" y="22906"/>
                        <a:pt x="241" y="15681"/>
                      </a:cubicBezTo>
                      <a:cubicBezTo>
                        <a:pt x="-1129" y="8457"/>
                        <a:pt x="3480" y="1606"/>
                        <a:pt x="10579" y="236"/>
                      </a:cubicBezTo>
                      <a:cubicBezTo>
                        <a:pt x="17679" y="-1134"/>
                        <a:pt x="24655"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7" name="Graphic 2987">
                <a:extLst>
                  <a:ext uri="{FF2B5EF4-FFF2-40B4-BE49-F238E27FC236}">
                    <a16:creationId xmlns:a16="http://schemas.microsoft.com/office/drawing/2014/main" id="{79B46B46-8F56-E7D7-4A6E-6531A919ED53}"/>
                  </a:ext>
                </a:extLst>
              </p:cNvPr>
              <p:cNvGrpSpPr/>
              <p:nvPr/>
            </p:nvGrpSpPr>
            <p:grpSpPr>
              <a:xfrm>
                <a:off x="8129887" y="1662558"/>
                <a:ext cx="49801" cy="146702"/>
                <a:chOff x="8129887" y="1662558"/>
                <a:chExt cx="49801" cy="146702"/>
              </a:xfrm>
              <a:grpFill/>
            </p:grpSpPr>
            <p:sp>
              <p:nvSpPr>
                <p:cNvPr id="6750" name="Freeform 7350">
                  <a:extLst>
                    <a:ext uri="{FF2B5EF4-FFF2-40B4-BE49-F238E27FC236}">
                      <a16:creationId xmlns:a16="http://schemas.microsoft.com/office/drawing/2014/main" id="{C4BFEAA9-0145-F803-9E47-B5DFC484EFD9}"/>
                    </a:ext>
                  </a:extLst>
                </p:cNvPr>
                <p:cNvSpPr/>
                <p:nvPr/>
              </p:nvSpPr>
              <p:spPr>
                <a:xfrm>
                  <a:off x="8159032" y="1737031"/>
                  <a:ext cx="9891" cy="51317"/>
                </a:xfrm>
                <a:custGeom>
                  <a:avLst/>
                  <a:gdLst>
                    <a:gd name="connsiteX0" fmla="*/ 9584 w 9891"/>
                    <a:gd name="connsiteY0" fmla="*/ 51318 h 51317"/>
                    <a:gd name="connsiteX1" fmla="*/ 7965 w 9891"/>
                    <a:gd name="connsiteY1" fmla="*/ 32634 h 51317"/>
                    <a:gd name="connsiteX2" fmla="*/ 1364 w 9891"/>
                    <a:gd name="connsiteY2" fmla="*/ 16442 h 51317"/>
                    <a:gd name="connsiteX3" fmla="*/ 367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51318"/>
                      </a:moveTo>
                      <a:cubicBezTo>
                        <a:pt x="10456" y="42972"/>
                        <a:pt x="9335" y="36745"/>
                        <a:pt x="7965" y="32634"/>
                      </a:cubicBezTo>
                      <a:cubicBezTo>
                        <a:pt x="5847" y="25908"/>
                        <a:pt x="3231" y="23417"/>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1" name="Freeform 7351">
                  <a:extLst>
                    <a:ext uri="{FF2B5EF4-FFF2-40B4-BE49-F238E27FC236}">
                      <a16:creationId xmlns:a16="http://schemas.microsoft.com/office/drawing/2014/main" id="{006050CC-1351-30E6-E52A-FA2FC8917DFE}"/>
                    </a:ext>
                  </a:extLst>
                </p:cNvPr>
                <p:cNvSpPr/>
                <p:nvPr/>
              </p:nvSpPr>
              <p:spPr>
                <a:xfrm>
                  <a:off x="8152050" y="1743508"/>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8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5" y="28275"/>
                        <a:pt x="5356" y="35374"/>
                      </a:cubicBezTo>
                      <a:cubicBezTo>
                        <a:pt x="6228" y="42225"/>
                        <a:pt x="8595" y="47581"/>
                        <a:pt x="1058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2" name="Freeform 7352">
                  <a:extLst>
                    <a:ext uri="{FF2B5EF4-FFF2-40B4-BE49-F238E27FC236}">
                      <a16:creationId xmlns:a16="http://schemas.microsoft.com/office/drawing/2014/main" id="{C0BA3C44-6D7A-2262-29E6-B1A4948B89D2}"/>
                    </a:ext>
                  </a:extLst>
                </p:cNvPr>
                <p:cNvSpPr/>
                <p:nvPr/>
              </p:nvSpPr>
              <p:spPr>
                <a:xfrm>
                  <a:off x="8152935" y="1782757"/>
                  <a:ext cx="26753" cy="26504"/>
                </a:xfrm>
                <a:custGeom>
                  <a:avLst/>
                  <a:gdLst>
                    <a:gd name="connsiteX0" fmla="*/ 236 w 26753"/>
                    <a:gd name="connsiteY0" fmla="*/ 15681 h 26504"/>
                    <a:gd name="connsiteX1" fmla="*/ 10823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3" y="236"/>
                      </a:cubicBezTo>
                      <a:cubicBezTo>
                        <a:pt x="18048" y="-1134"/>
                        <a:pt x="25023" y="3599"/>
                        <a:pt x="26517" y="10823"/>
                      </a:cubicBezTo>
                      <a:cubicBezTo>
                        <a:pt x="27887" y="18048"/>
                        <a:pt x="23154" y="24898"/>
                        <a:pt x="15930" y="26269"/>
                      </a:cubicBezTo>
                      <a:cubicBezTo>
                        <a:pt x="8706" y="27639"/>
                        <a:pt x="1731"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3" name="Freeform 7353">
                  <a:extLst>
                    <a:ext uri="{FF2B5EF4-FFF2-40B4-BE49-F238E27FC236}">
                      <a16:creationId xmlns:a16="http://schemas.microsoft.com/office/drawing/2014/main" id="{FA3E2453-14E3-59A5-2376-3BFAFAE208DE}"/>
                    </a:ext>
                  </a:extLst>
                </p:cNvPr>
                <p:cNvSpPr/>
                <p:nvPr/>
              </p:nvSpPr>
              <p:spPr>
                <a:xfrm>
                  <a:off x="8140549" y="1683471"/>
                  <a:ext cx="9875" cy="51317"/>
                </a:xfrm>
                <a:custGeom>
                  <a:avLst/>
                  <a:gdLst>
                    <a:gd name="connsiteX0" fmla="*/ 291 w 9875"/>
                    <a:gd name="connsiteY0" fmla="*/ 0 h 51317"/>
                    <a:gd name="connsiteX1" fmla="*/ 1911 w 9875"/>
                    <a:gd name="connsiteY1" fmla="*/ 18684 h 51317"/>
                    <a:gd name="connsiteX2" fmla="*/ 8512 w 9875"/>
                    <a:gd name="connsiteY2" fmla="*/ 34876 h 51317"/>
                    <a:gd name="connsiteX3" fmla="*/ 9509 w 9875"/>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75" h="51317">
                      <a:moveTo>
                        <a:pt x="291" y="0"/>
                      </a:moveTo>
                      <a:cubicBezTo>
                        <a:pt x="-581" y="8345"/>
                        <a:pt x="665" y="14573"/>
                        <a:pt x="1911" y="18684"/>
                      </a:cubicBezTo>
                      <a:cubicBezTo>
                        <a:pt x="4028" y="25410"/>
                        <a:pt x="6644" y="28025"/>
                        <a:pt x="8512" y="34876"/>
                      </a:cubicBezTo>
                      <a:cubicBezTo>
                        <a:pt x="10256" y="41602"/>
                        <a:pt x="10007" y="47456"/>
                        <a:pt x="9509"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4" name="Freeform 7354">
                  <a:extLst>
                    <a:ext uri="{FF2B5EF4-FFF2-40B4-BE49-F238E27FC236}">
                      <a16:creationId xmlns:a16="http://schemas.microsoft.com/office/drawing/2014/main" id="{A3990F9E-EA5D-7DB8-F01E-B4EE584657E4}"/>
                    </a:ext>
                  </a:extLst>
                </p:cNvPr>
                <p:cNvSpPr/>
                <p:nvPr/>
              </p:nvSpPr>
              <p:spPr>
                <a:xfrm>
                  <a:off x="8146819" y="1677243"/>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3" y="22794"/>
                        <a:pt x="5231" y="15694"/>
                      </a:cubicBezTo>
                      <a:cubicBezTo>
                        <a:pt x="4359"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5" name="Freeform 7355">
                  <a:extLst>
                    <a:ext uri="{FF2B5EF4-FFF2-40B4-BE49-F238E27FC236}">
                      <a16:creationId xmlns:a16="http://schemas.microsoft.com/office/drawing/2014/main" id="{2437FF14-EA5A-0E83-9B44-9A30A5A9AB18}"/>
                    </a:ext>
                  </a:extLst>
                </p:cNvPr>
                <p:cNvSpPr/>
                <p:nvPr/>
              </p:nvSpPr>
              <p:spPr>
                <a:xfrm>
                  <a:off x="8129887" y="1662558"/>
                  <a:ext cx="26389" cy="26504"/>
                </a:xfrm>
                <a:custGeom>
                  <a:avLst/>
                  <a:gdLst>
                    <a:gd name="connsiteX0" fmla="*/ 26149 w 26389"/>
                    <a:gd name="connsiteY0" fmla="*/ 10823 h 26504"/>
                    <a:gd name="connsiteX1" fmla="*/ 15687 w 26389"/>
                    <a:gd name="connsiteY1" fmla="*/ 26269 h 26504"/>
                    <a:gd name="connsiteX2" fmla="*/ 241 w 26389"/>
                    <a:gd name="connsiteY2" fmla="*/ 15681 h 26504"/>
                    <a:gd name="connsiteX3" fmla="*/ 10704 w 26389"/>
                    <a:gd name="connsiteY3" fmla="*/ 236 h 26504"/>
                    <a:gd name="connsiteX4" fmla="*/ 26149 w 2638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4">
                      <a:moveTo>
                        <a:pt x="26149" y="10823"/>
                      </a:moveTo>
                      <a:cubicBezTo>
                        <a:pt x="27519" y="18048"/>
                        <a:pt x="22910" y="24898"/>
                        <a:pt x="15687" y="26269"/>
                      </a:cubicBezTo>
                      <a:cubicBezTo>
                        <a:pt x="8462" y="27639"/>
                        <a:pt x="1611" y="22906"/>
                        <a:pt x="241" y="15681"/>
                      </a:cubicBezTo>
                      <a:cubicBezTo>
                        <a:pt x="-1129" y="8457"/>
                        <a:pt x="3479" y="1606"/>
                        <a:pt x="10704" y="236"/>
                      </a:cubicBezTo>
                      <a:cubicBezTo>
                        <a:pt x="17804" y="-1134"/>
                        <a:pt x="24779"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8" name="Graphic 2987">
                <a:extLst>
                  <a:ext uri="{FF2B5EF4-FFF2-40B4-BE49-F238E27FC236}">
                    <a16:creationId xmlns:a16="http://schemas.microsoft.com/office/drawing/2014/main" id="{D035B38F-BB36-3298-68B6-B51B330E0335}"/>
                  </a:ext>
                </a:extLst>
              </p:cNvPr>
              <p:cNvGrpSpPr/>
              <p:nvPr/>
            </p:nvGrpSpPr>
            <p:grpSpPr>
              <a:xfrm>
                <a:off x="8100995" y="1668039"/>
                <a:ext cx="49298" cy="146794"/>
                <a:chOff x="8100995" y="1668039"/>
                <a:chExt cx="49298" cy="146794"/>
              </a:xfrm>
              <a:grpFill/>
            </p:grpSpPr>
            <p:sp>
              <p:nvSpPr>
                <p:cNvPr id="6744" name="Freeform 7357">
                  <a:extLst>
                    <a:ext uri="{FF2B5EF4-FFF2-40B4-BE49-F238E27FC236}">
                      <a16:creationId xmlns:a16="http://schemas.microsoft.com/office/drawing/2014/main" id="{108FFB82-8C23-7559-C0C5-C01119F8D7A3}"/>
                    </a:ext>
                  </a:extLst>
                </p:cNvPr>
                <p:cNvSpPr/>
                <p:nvPr/>
              </p:nvSpPr>
              <p:spPr>
                <a:xfrm>
                  <a:off x="8129886" y="1742636"/>
                  <a:ext cx="9821" cy="51317"/>
                </a:xfrm>
                <a:custGeom>
                  <a:avLst/>
                  <a:gdLst>
                    <a:gd name="connsiteX0" fmla="*/ 9460 w 9821"/>
                    <a:gd name="connsiteY0" fmla="*/ 51318 h 51317"/>
                    <a:gd name="connsiteX1" fmla="*/ 7965 w 9821"/>
                    <a:gd name="connsiteY1" fmla="*/ 32634 h 51317"/>
                    <a:gd name="connsiteX2" fmla="*/ 1364 w 9821"/>
                    <a:gd name="connsiteY2" fmla="*/ 16442 h 51317"/>
                    <a:gd name="connsiteX3" fmla="*/ 367 w 9821"/>
                    <a:gd name="connsiteY3" fmla="*/ 0 h 51317"/>
                  </a:gdLst>
                  <a:ahLst/>
                  <a:cxnLst>
                    <a:cxn ang="0">
                      <a:pos x="connsiteX0" y="connsiteY0"/>
                    </a:cxn>
                    <a:cxn ang="0">
                      <a:pos x="connsiteX1" y="connsiteY1"/>
                    </a:cxn>
                    <a:cxn ang="0">
                      <a:pos x="connsiteX2" y="connsiteY2"/>
                    </a:cxn>
                    <a:cxn ang="0">
                      <a:pos x="connsiteX3" y="connsiteY3"/>
                    </a:cxn>
                  </a:cxnLst>
                  <a:rect l="l" t="t" r="r" b="b"/>
                  <a:pathLst>
                    <a:path w="9821" h="51317">
                      <a:moveTo>
                        <a:pt x="9460" y="51318"/>
                      </a:moveTo>
                      <a:cubicBezTo>
                        <a:pt x="10456" y="42972"/>
                        <a:pt x="9211" y="36745"/>
                        <a:pt x="7965" y="32634"/>
                      </a:cubicBezTo>
                      <a:cubicBezTo>
                        <a:pt x="5847" y="25908"/>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5" name="Freeform 7358">
                  <a:extLst>
                    <a:ext uri="{FF2B5EF4-FFF2-40B4-BE49-F238E27FC236}">
                      <a16:creationId xmlns:a16="http://schemas.microsoft.com/office/drawing/2014/main" id="{2B8A9491-5E2D-4DD6-BD81-AF13CEA675A3}"/>
                    </a:ext>
                  </a:extLst>
                </p:cNvPr>
                <p:cNvSpPr/>
                <p:nvPr/>
              </p:nvSpPr>
              <p:spPr>
                <a:xfrm>
                  <a:off x="8122904" y="1749113"/>
                  <a:ext cx="10462" cy="51193"/>
                </a:xfrm>
                <a:custGeom>
                  <a:avLst/>
                  <a:gdLst>
                    <a:gd name="connsiteX0" fmla="*/ 0 w 10462"/>
                    <a:gd name="connsiteY0" fmla="*/ 0 h 51193"/>
                    <a:gd name="connsiteX1" fmla="*/ 5481 w 10462"/>
                    <a:gd name="connsiteY1" fmla="*/ 18061 h 51193"/>
                    <a:gd name="connsiteX2" fmla="*/ 5231 w 10462"/>
                    <a:gd name="connsiteY2" fmla="*/ 35499 h 51193"/>
                    <a:gd name="connsiteX3" fmla="*/ 10462 w 10462"/>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62" h="51193">
                      <a:moveTo>
                        <a:pt x="0" y="0"/>
                      </a:moveTo>
                      <a:cubicBezTo>
                        <a:pt x="3986" y="7473"/>
                        <a:pt x="5107" y="13701"/>
                        <a:pt x="5481" y="18061"/>
                      </a:cubicBezTo>
                      <a:cubicBezTo>
                        <a:pt x="5979" y="25036"/>
                        <a:pt x="4484" y="28399"/>
                        <a:pt x="5231" y="35499"/>
                      </a:cubicBezTo>
                      <a:cubicBezTo>
                        <a:pt x="5979" y="42350"/>
                        <a:pt x="8470" y="47706"/>
                        <a:pt x="10462"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6" name="Freeform 7359">
                  <a:extLst>
                    <a:ext uri="{FF2B5EF4-FFF2-40B4-BE49-F238E27FC236}">
                      <a16:creationId xmlns:a16="http://schemas.microsoft.com/office/drawing/2014/main" id="{4F54D213-D0A3-8423-12B9-40222E407AB9}"/>
                    </a:ext>
                  </a:extLst>
                </p:cNvPr>
                <p:cNvSpPr/>
                <p:nvPr/>
              </p:nvSpPr>
              <p:spPr>
                <a:xfrm>
                  <a:off x="8123664" y="1788362"/>
                  <a:ext cx="26629" cy="26471"/>
                </a:xfrm>
                <a:custGeom>
                  <a:avLst/>
                  <a:gdLst>
                    <a:gd name="connsiteX0" fmla="*/ 236 w 26629"/>
                    <a:gd name="connsiteY0" fmla="*/ 15681 h 26471"/>
                    <a:gd name="connsiteX1" fmla="*/ 10824 w 26629"/>
                    <a:gd name="connsiteY1" fmla="*/ 236 h 26471"/>
                    <a:gd name="connsiteX2" fmla="*/ 26394 w 26629"/>
                    <a:gd name="connsiteY2" fmla="*/ 10824 h 26471"/>
                    <a:gd name="connsiteX3" fmla="*/ 15806 w 26629"/>
                    <a:gd name="connsiteY3" fmla="*/ 26269 h 26471"/>
                    <a:gd name="connsiteX4" fmla="*/ 236 w 26629"/>
                    <a:gd name="connsiteY4" fmla="*/ 15681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36" y="15681"/>
                      </a:moveTo>
                      <a:cubicBezTo>
                        <a:pt x="-1134" y="8457"/>
                        <a:pt x="3599" y="1606"/>
                        <a:pt x="10824" y="236"/>
                      </a:cubicBezTo>
                      <a:cubicBezTo>
                        <a:pt x="18048" y="-1134"/>
                        <a:pt x="25024" y="3599"/>
                        <a:pt x="26394" y="10824"/>
                      </a:cubicBezTo>
                      <a:cubicBezTo>
                        <a:pt x="27764" y="18048"/>
                        <a:pt x="23030" y="24898"/>
                        <a:pt x="15806" y="26269"/>
                      </a:cubicBezTo>
                      <a:cubicBezTo>
                        <a:pt x="8582" y="27514"/>
                        <a:pt x="1607"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7" name="Freeform 7360">
                  <a:extLst>
                    <a:ext uri="{FF2B5EF4-FFF2-40B4-BE49-F238E27FC236}">
                      <a16:creationId xmlns:a16="http://schemas.microsoft.com/office/drawing/2014/main" id="{727B02E8-82E2-5439-F2EA-AABCE3396F19}"/>
                    </a:ext>
                  </a:extLst>
                </p:cNvPr>
                <p:cNvSpPr/>
                <p:nvPr/>
              </p:nvSpPr>
              <p:spPr>
                <a:xfrm>
                  <a:off x="8111633" y="1688952"/>
                  <a:ext cx="9620" cy="51317"/>
                </a:xfrm>
                <a:custGeom>
                  <a:avLst/>
                  <a:gdLst>
                    <a:gd name="connsiteX0" fmla="*/ 309 w 9620"/>
                    <a:gd name="connsiteY0" fmla="*/ 0 h 51317"/>
                    <a:gd name="connsiteX1" fmla="*/ 1804 w 9620"/>
                    <a:gd name="connsiteY1" fmla="*/ 18684 h 51317"/>
                    <a:gd name="connsiteX2" fmla="*/ 8281 w 9620"/>
                    <a:gd name="connsiteY2" fmla="*/ 34876 h 51317"/>
                    <a:gd name="connsiteX3" fmla="*/ 9153 w 9620"/>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0" h="51317">
                      <a:moveTo>
                        <a:pt x="309" y="0"/>
                      </a:moveTo>
                      <a:cubicBezTo>
                        <a:pt x="-563" y="8345"/>
                        <a:pt x="559" y="14573"/>
                        <a:pt x="1804" y="18684"/>
                      </a:cubicBezTo>
                      <a:cubicBezTo>
                        <a:pt x="3921" y="25410"/>
                        <a:pt x="6537" y="28025"/>
                        <a:pt x="8281" y="34876"/>
                      </a:cubicBezTo>
                      <a:cubicBezTo>
                        <a:pt x="10025" y="41602"/>
                        <a:pt x="9776" y="47456"/>
                        <a:pt x="9153"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8" name="Freeform 7361">
                  <a:extLst>
                    <a:ext uri="{FF2B5EF4-FFF2-40B4-BE49-F238E27FC236}">
                      <a16:creationId xmlns:a16="http://schemas.microsoft.com/office/drawing/2014/main" id="{ECDDB251-8623-A497-2546-01815B0A8380}"/>
                    </a:ext>
                  </a:extLst>
                </p:cNvPr>
                <p:cNvSpPr/>
                <p:nvPr/>
              </p:nvSpPr>
              <p:spPr>
                <a:xfrm>
                  <a:off x="8117672" y="1682599"/>
                  <a:ext cx="10587" cy="51193"/>
                </a:xfrm>
                <a:custGeom>
                  <a:avLst/>
                  <a:gdLst>
                    <a:gd name="connsiteX0" fmla="*/ 10588 w 10587"/>
                    <a:gd name="connsiteY0" fmla="*/ 51193 h 51193"/>
                    <a:gd name="connsiteX1" fmla="*/ 5107 w 10587"/>
                    <a:gd name="connsiteY1" fmla="*/ 33132 h 51193"/>
                    <a:gd name="connsiteX2" fmla="*/ 5232 w 10587"/>
                    <a:gd name="connsiteY2" fmla="*/ 15694 h 51193"/>
                    <a:gd name="connsiteX3" fmla="*/ 0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10588" y="51193"/>
                      </a:moveTo>
                      <a:cubicBezTo>
                        <a:pt x="6602" y="43720"/>
                        <a:pt x="5481" y="37492"/>
                        <a:pt x="5107" y="33132"/>
                      </a:cubicBezTo>
                      <a:cubicBezTo>
                        <a:pt x="4609" y="26157"/>
                        <a:pt x="6104" y="22794"/>
                        <a:pt x="5232" y="15694"/>
                      </a:cubicBezTo>
                      <a:cubicBezTo>
                        <a:pt x="4485"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9" name="Freeform 7362">
                  <a:extLst>
                    <a:ext uri="{FF2B5EF4-FFF2-40B4-BE49-F238E27FC236}">
                      <a16:creationId xmlns:a16="http://schemas.microsoft.com/office/drawing/2014/main" id="{C7CDFCD7-8547-9DEB-D2F3-C935D9D966F1}"/>
                    </a:ext>
                  </a:extLst>
                </p:cNvPr>
                <p:cNvSpPr/>
                <p:nvPr/>
              </p:nvSpPr>
              <p:spPr>
                <a:xfrm>
                  <a:off x="8100995" y="1668039"/>
                  <a:ext cx="26380" cy="26504"/>
                </a:xfrm>
                <a:custGeom>
                  <a:avLst/>
                  <a:gdLst>
                    <a:gd name="connsiteX0" fmla="*/ 26144 w 26380"/>
                    <a:gd name="connsiteY0" fmla="*/ 10824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4"/>
                      </a:moveTo>
                      <a:cubicBezTo>
                        <a:pt x="27515" y="18048"/>
                        <a:pt x="22781" y="24898"/>
                        <a:pt x="15681" y="26269"/>
                      </a:cubicBezTo>
                      <a:cubicBezTo>
                        <a:pt x="8457" y="27639"/>
                        <a:pt x="1606" y="22906"/>
                        <a:pt x="236" y="15681"/>
                      </a:cubicBezTo>
                      <a:cubicBezTo>
                        <a:pt x="-1134" y="8457"/>
                        <a:pt x="3599" y="1606"/>
                        <a:pt x="10699" y="236"/>
                      </a:cubicBezTo>
                      <a:cubicBezTo>
                        <a:pt x="17799" y="-1134"/>
                        <a:pt x="24774" y="3599"/>
                        <a:pt x="26144"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9" name="Graphic 2987">
                <a:extLst>
                  <a:ext uri="{FF2B5EF4-FFF2-40B4-BE49-F238E27FC236}">
                    <a16:creationId xmlns:a16="http://schemas.microsoft.com/office/drawing/2014/main" id="{BF9FEAB3-65CC-6AD6-FCBC-14A49C4B1682}"/>
                  </a:ext>
                </a:extLst>
              </p:cNvPr>
              <p:cNvGrpSpPr/>
              <p:nvPr/>
            </p:nvGrpSpPr>
            <p:grpSpPr>
              <a:xfrm>
                <a:off x="8071973" y="1673519"/>
                <a:ext cx="49169" cy="146827"/>
                <a:chOff x="8071973" y="1673519"/>
                <a:chExt cx="49169" cy="146827"/>
              </a:xfrm>
              <a:grpFill/>
            </p:grpSpPr>
            <p:sp>
              <p:nvSpPr>
                <p:cNvPr id="6738" name="Freeform 7364">
                  <a:extLst>
                    <a:ext uri="{FF2B5EF4-FFF2-40B4-BE49-F238E27FC236}">
                      <a16:creationId xmlns:a16="http://schemas.microsoft.com/office/drawing/2014/main" id="{2D04E00B-8230-FA55-99AF-ACCCD668E15D}"/>
                    </a:ext>
                  </a:extLst>
                </p:cNvPr>
                <p:cNvSpPr/>
                <p:nvPr/>
              </p:nvSpPr>
              <p:spPr>
                <a:xfrm>
                  <a:off x="8100691" y="1747992"/>
                  <a:ext cx="9621" cy="51442"/>
                </a:xfrm>
                <a:custGeom>
                  <a:avLst/>
                  <a:gdLst>
                    <a:gd name="connsiteX0" fmla="*/ 9259 w 9621"/>
                    <a:gd name="connsiteY0" fmla="*/ 51442 h 51442"/>
                    <a:gd name="connsiteX1" fmla="*/ 7764 w 9621"/>
                    <a:gd name="connsiteY1" fmla="*/ 32634 h 51442"/>
                    <a:gd name="connsiteX2" fmla="*/ 1288 w 9621"/>
                    <a:gd name="connsiteY2" fmla="*/ 16442 h 51442"/>
                    <a:gd name="connsiteX3" fmla="*/ 416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51442"/>
                      </a:moveTo>
                      <a:cubicBezTo>
                        <a:pt x="10256" y="43097"/>
                        <a:pt x="9010" y="36869"/>
                        <a:pt x="7764" y="32634"/>
                      </a:cubicBezTo>
                      <a:cubicBezTo>
                        <a:pt x="5772"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9" name="Freeform 7365">
                  <a:extLst>
                    <a:ext uri="{FF2B5EF4-FFF2-40B4-BE49-F238E27FC236}">
                      <a16:creationId xmlns:a16="http://schemas.microsoft.com/office/drawing/2014/main" id="{52504028-D9C1-0E2E-A1CF-6A4E86D5561F}"/>
                    </a:ext>
                  </a:extLst>
                </p:cNvPr>
                <p:cNvSpPr/>
                <p:nvPr/>
              </p:nvSpPr>
              <p:spPr>
                <a:xfrm>
                  <a:off x="8093757" y="1754593"/>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5107" y="13701"/>
                        <a:pt x="5356" y="18061"/>
                      </a:cubicBezTo>
                      <a:cubicBezTo>
                        <a:pt x="5855" y="25036"/>
                        <a:pt x="4360" y="28399"/>
                        <a:pt x="5107" y="35499"/>
                      </a:cubicBezTo>
                      <a:cubicBezTo>
                        <a:pt x="5855"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0" name="Freeform 7366">
                  <a:extLst>
                    <a:ext uri="{FF2B5EF4-FFF2-40B4-BE49-F238E27FC236}">
                      <a16:creationId xmlns:a16="http://schemas.microsoft.com/office/drawing/2014/main" id="{0746558F-7A20-839E-3EC4-C269C84E0B0C}"/>
                    </a:ext>
                  </a:extLst>
                </p:cNvPr>
                <p:cNvSpPr/>
                <p:nvPr/>
              </p:nvSpPr>
              <p:spPr>
                <a:xfrm>
                  <a:off x="8094398" y="1793842"/>
                  <a:ext cx="26744" cy="26504"/>
                </a:xfrm>
                <a:custGeom>
                  <a:avLst/>
                  <a:gdLst>
                    <a:gd name="connsiteX0" fmla="*/ 231 w 26744"/>
                    <a:gd name="connsiteY0" fmla="*/ 15681 h 26504"/>
                    <a:gd name="connsiteX1" fmla="*/ 10943 w 26744"/>
                    <a:gd name="connsiteY1" fmla="*/ 236 h 26504"/>
                    <a:gd name="connsiteX2" fmla="*/ 26513 w 26744"/>
                    <a:gd name="connsiteY2" fmla="*/ 10823 h 26504"/>
                    <a:gd name="connsiteX3" fmla="*/ 15801 w 26744"/>
                    <a:gd name="connsiteY3" fmla="*/ 26269 h 26504"/>
                    <a:gd name="connsiteX4" fmla="*/ 231 w 26744"/>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04">
                      <a:moveTo>
                        <a:pt x="231" y="15681"/>
                      </a:moveTo>
                      <a:cubicBezTo>
                        <a:pt x="-1139" y="8457"/>
                        <a:pt x="3719" y="1482"/>
                        <a:pt x="10943" y="236"/>
                      </a:cubicBezTo>
                      <a:cubicBezTo>
                        <a:pt x="18168" y="-1134"/>
                        <a:pt x="25143" y="3599"/>
                        <a:pt x="26513" y="10823"/>
                      </a:cubicBezTo>
                      <a:cubicBezTo>
                        <a:pt x="27884" y="18048"/>
                        <a:pt x="23026" y="24898"/>
                        <a:pt x="15801" y="26269"/>
                      </a:cubicBezTo>
                      <a:cubicBezTo>
                        <a:pt x="8453" y="27639"/>
                        <a:pt x="1477" y="22906"/>
                        <a:pt x="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1" name="Freeform 7367">
                  <a:extLst>
                    <a:ext uri="{FF2B5EF4-FFF2-40B4-BE49-F238E27FC236}">
                      <a16:creationId xmlns:a16="http://schemas.microsoft.com/office/drawing/2014/main" id="{B5746061-836F-8957-C6A6-987B4D3E93A3}"/>
                    </a:ext>
                  </a:extLst>
                </p:cNvPr>
                <p:cNvSpPr/>
                <p:nvPr/>
              </p:nvSpPr>
              <p:spPr>
                <a:xfrm>
                  <a:off x="8082559" y="1694432"/>
                  <a:ext cx="9621" cy="51442"/>
                </a:xfrm>
                <a:custGeom>
                  <a:avLst/>
                  <a:gdLst>
                    <a:gd name="connsiteX0" fmla="*/ 362 w 9621"/>
                    <a:gd name="connsiteY0" fmla="*/ 0 h 51442"/>
                    <a:gd name="connsiteX1" fmla="*/ 1857 w 9621"/>
                    <a:gd name="connsiteY1" fmla="*/ 18808 h 51442"/>
                    <a:gd name="connsiteX2" fmla="*/ 8334 w 9621"/>
                    <a:gd name="connsiteY2" fmla="*/ 35001 h 51442"/>
                    <a:gd name="connsiteX3" fmla="*/ 9206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362" y="0"/>
                      </a:moveTo>
                      <a:cubicBezTo>
                        <a:pt x="-635" y="8345"/>
                        <a:pt x="612" y="14573"/>
                        <a:pt x="1857" y="18808"/>
                      </a:cubicBezTo>
                      <a:cubicBezTo>
                        <a:pt x="3850" y="25534"/>
                        <a:pt x="6590" y="28150"/>
                        <a:pt x="8334" y="35001"/>
                      </a:cubicBezTo>
                      <a:cubicBezTo>
                        <a:pt x="10078" y="41727"/>
                        <a:pt x="9704" y="47581"/>
                        <a:pt x="920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2" name="Freeform 7368">
                  <a:extLst>
                    <a:ext uri="{FF2B5EF4-FFF2-40B4-BE49-F238E27FC236}">
                      <a16:creationId xmlns:a16="http://schemas.microsoft.com/office/drawing/2014/main" id="{A0686964-D3F1-FC97-DBC7-CA0BF1EAB70A}"/>
                    </a:ext>
                  </a:extLst>
                </p:cNvPr>
                <p:cNvSpPr/>
                <p:nvPr/>
              </p:nvSpPr>
              <p:spPr>
                <a:xfrm>
                  <a:off x="8089024" y="1688080"/>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5" y="22794"/>
                        <a:pt x="5107" y="15694"/>
                      </a:cubicBezTo>
                      <a:cubicBezTo>
                        <a:pt x="4360"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3" name="Freeform 7369">
                  <a:extLst>
                    <a:ext uri="{FF2B5EF4-FFF2-40B4-BE49-F238E27FC236}">
                      <a16:creationId xmlns:a16="http://schemas.microsoft.com/office/drawing/2014/main" id="{1263BCDD-9F68-0A0C-F389-DA6E83A1AD23}"/>
                    </a:ext>
                  </a:extLst>
                </p:cNvPr>
                <p:cNvSpPr/>
                <p:nvPr/>
              </p:nvSpPr>
              <p:spPr>
                <a:xfrm>
                  <a:off x="8071973" y="1673519"/>
                  <a:ext cx="26380" cy="26504"/>
                </a:xfrm>
                <a:custGeom>
                  <a:avLst/>
                  <a:gdLst>
                    <a:gd name="connsiteX0" fmla="*/ 26144 w 26380"/>
                    <a:gd name="connsiteY0" fmla="*/ 10823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3"/>
                      </a:moveTo>
                      <a:cubicBezTo>
                        <a:pt x="27514" y="18048"/>
                        <a:pt x="22781" y="24899"/>
                        <a:pt x="15681" y="26269"/>
                      </a:cubicBezTo>
                      <a:cubicBezTo>
                        <a:pt x="8457" y="27639"/>
                        <a:pt x="1606" y="22906"/>
                        <a:pt x="236" y="15681"/>
                      </a:cubicBezTo>
                      <a:cubicBezTo>
                        <a:pt x="-1134" y="8457"/>
                        <a:pt x="3600" y="1606"/>
                        <a:pt x="10699" y="236"/>
                      </a:cubicBezTo>
                      <a:cubicBezTo>
                        <a:pt x="17923" y="-1134"/>
                        <a:pt x="24774" y="3599"/>
                        <a:pt x="26144"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0" name="Graphic 2987">
                <a:extLst>
                  <a:ext uri="{FF2B5EF4-FFF2-40B4-BE49-F238E27FC236}">
                    <a16:creationId xmlns:a16="http://schemas.microsoft.com/office/drawing/2014/main" id="{3C8E60A6-8547-96A2-B1D9-CF7B9AC85A83}"/>
                  </a:ext>
                </a:extLst>
              </p:cNvPr>
              <p:cNvGrpSpPr/>
              <p:nvPr/>
            </p:nvGrpSpPr>
            <p:grpSpPr>
              <a:xfrm>
                <a:off x="8043109" y="1679000"/>
                <a:ext cx="48637" cy="146951"/>
                <a:chOff x="8043109" y="1679000"/>
                <a:chExt cx="48637" cy="146951"/>
              </a:xfrm>
              <a:grpFill/>
            </p:grpSpPr>
            <p:sp>
              <p:nvSpPr>
                <p:cNvPr id="6732" name="Freeform 7371">
                  <a:extLst>
                    <a:ext uri="{FF2B5EF4-FFF2-40B4-BE49-F238E27FC236}">
                      <a16:creationId xmlns:a16="http://schemas.microsoft.com/office/drawing/2014/main" id="{02ABE921-FCBC-38DE-D8BB-E0D64087D49A}"/>
                    </a:ext>
                  </a:extLst>
                </p:cNvPr>
                <p:cNvSpPr/>
                <p:nvPr/>
              </p:nvSpPr>
              <p:spPr>
                <a:xfrm>
                  <a:off x="8071419" y="1753472"/>
                  <a:ext cx="9640" cy="51442"/>
                </a:xfrm>
                <a:custGeom>
                  <a:avLst/>
                  <a:gdLst>
                    <a:gd name="connsiteX0" fmla="*/ 9259 w 9640"/>
                    <a:gd name="connsiteY0" fmla="*/ 51442 h 51442"/>
                    <a:gd name="connsiteX1" fmla="*/ 7765 w 9640"/>
                    <a:gd name="connsiteY1" fmla="*/ 32634 h 51442"/>
                    <a:gd name="connsiteX2" fmla="*/ 1287 w 9640"/>
                    <a:gd name="connsiteY2" fmla="*/ 16442 h 51442"/>
                    <a:gd name="connsiteX3" fmla="*/ 415 w 9640"/>
                    <a:gd name="connsiteY3" fmla="*/ 0 h 51442"/>
                  </a:gdLst>
                  <a:ahLst/>
                  <a:cxnLst>
                    <a:cxn ang="0">
                      <a:pos x="connsiteX0" y="connsiteY0"/>
                    </a:cxn>
                    <a:cxn ang="0">
                      <a:pos x="connsiteX1" y="connsiteY1"/>
                    </a:cxn>
                    <a:cxn ang="0">
                      <a:pos x="connsiteX2" y="connsiteY2"/>
                    </a:cxn>
                    <a:cxn ang="0">
                      <a:pos x="connsiteX3" y="connsiteY3"/>
                    </a:cxn>
                  </a:cxnLst>
                  <a:rect l="l" t="t" r="r" b="b"/>
                  <a:pathLst>
                    <a:path w="9640" h="51442">
                      <a:moveTo>
                        <a:pt x="9259" y="51442"/>
                      </a:moveTo>
                      <a:cubicBezTo>
                        <a:pt x="10256" y="43097"/>
                        <a:pt x="9135" y="36869"/>
                        <a:pt x="7765" y="32634"/>
                      </a:cubicBezTo>
                      <a:cubicBezTo>
                        <a:pt x="5771" y="25908"/>
                        <a:pt x="3031" y="23292"/>
                        <a:pt x="1287" y="16442"/>
                      </a:cubicBezTo>
                      <a:cubicBezTo>
                        <a:pt x="-457" y="9715"/>
                        <a:pt x="-82" y="3861"/>
                        <a:pt x="4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3" name="Freeform 7372">
                  <a:extLst>
                    <a:ext uri="{FF2B5EF4-FFF2-40B4-BE49-F238E27FC236}">
                      <a16:creationId xmlns:a16="http://schemas.microsoft.com/office/drawing/2014/main" id="{F5A3AF6C-4D81-38A4-48CB-E07DD4169DDE}"/>
                    </a:ext>
                  </a:extLst>
                </p:cNvPr>
                <p:cNvSpPr/>
                <p:nvPr/>
              </p:nvSpPr>
              <p:spPr>
                <a:xfrm>
                  <a:off x="8064486" y="1760074"/>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4982" y="13701"/>
                        <a:pt x="5356" y="18061"/>
                      </a:cubicBezTo>
                      <a:cubicBezTo>
                        <a:pt x="5854" y="25036"/>
                        <a:pt x="4235" y="28399"/>
                        <a:pt x="5107" y="35499"/>
                      </a:cubicBezTo>
                      <a:cubicBezTo>
                        <a:pt x="5854" y="42350"/>
                        <a:pt x="8220"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4" name="Freeform 7373">
                  <a:extLst>
                    <a:ext uri="{FF2B5EF4-FFF2-40B4-BE49-F238E27FC236}">
                      <a16:creationId xmlns:a16="http://schemas.microsoft.com/office/drawing/2014/main" id="{31A5920E-3401-3BA3-39DB-E6E9105221FE}"/>
                    </a:ext>
                  </a:extLst>
                </p:cNvPr>
                <p:cNvSpPr/>
                <p:nvPr/>
              </p:nvSpPr>
              <p:spPr>
                <a:xfrm>
                  <a:off x="8065002" y="1799323"/>
                  <a:ext cx="26744" cy="26629"/>
                </a:xfrm>
                <a:custGeom>
                  <a:avLst/>
                  <a:gdLst>
                    <a:gd name="connsiteX0" fmla="*/ 231 w 26744"/>
                    <a:gd name="connsiteY0" fmla="*/ 15806 h 26629"/>
                    <a:gd name="connsiteX1" fmla="*/ 10943 w 26744"/>
                    <a:gd name="connsiteY1" fmla="*/ 236 h 26629"/>
                    <a:gd name="connsiteX2" fmla="*/ 26513 w 26744"/>
                    <a:gd name="connsiteY2" fmla="*/ 10823 h 26629"/>
                    <a:gd name="connsiteX3" fmla="*/ 15801 w 26744"/>
                    <a:gd name="connsiteY3" fmla="*/ 26393 h 26629"/>
                    <a:gd name="connsiteX4" fmla="*/ 231 w 2674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629">
                      <a:moveTo>
                        <a:pt x="231" y="15806"/>
                      </a:moveTo>
                      <a:cubicBezTo>
                        <a:pt x="-1138" y="8581"/>
                        <a:pt x="3719" y="1606"/>
                        <a:pt x="10943" y="236"/>
                      </a:cubicBezTo>
                      <a:cubicBezTo>
                        <a:pt x="18168" y="-1134"/>
                        <a:pt x="25143" y="3599"/>
                        <a:pt x="26513" y="10823"/>
                      </a:cubicBezTo>
                      <a:cubicBezTo>
                        <a:pt x="27883" y="18048"/>
                        <a:pt x="23026" y="25023"/>
                        <a:pt x="15801" y="26393"/>
                      </a:cubicBezTo>
                      <a:cubicBezTo>
                        <a:pt x="8452" y="27763"/>
                        <a:pt x="1601" y="23030"/>
                        <a:pt x="23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5" name="Freeform 7374">
                  <a:extLst>
                    <a:ext uri="{FF2B5EF4-FFF2-40B4-BE49-F238E27FC236}">
                      <a16:creationId xmlns:a16="http://schemas.microsoft.com/office/drawing/2014/main" id="{9AD29D04-DDE0-BD9A-F866-41009B38A2B5}"/>
                    </a:ext>
                  </a:extLst>
                </p:cNvPr>
                <p:cNvSpPr/>
                <p:nvPr/>
              </p:nvSpPr>
              <p:spPr>
                <a:xfrm>
                  <a:off x="8053643" y="1699913"/>
                  <a:ext cx="9639" cy="51442"/>
                </a:xfrm>
                <a:custGeom>
                  <a:avLst/>
                  <a:gdLst>
                    <a:gd name="connsiteX0" fmla="*/ 381 w 9639"/>
                    <a:gd name="connsiteY0" fmla="*/ 0 h 51442"/>
                    <a:gd name="connsiteX1" fmla="*/ 1875 w 9639"/>
                    <a:gd name="connsiteY1" fmla="*/ 18808 h 51442"/>
                    <a:gd name="connsiteX2" fmla="*/ 8352 w 9639"/>
                    <a:gd name="connsiteY2" fmla="*/ 35001 h 51442"/>
                    <a:gd name="connsiteX3" fmla="*/ 9224 w 963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39" h="51442">
                      <a:moveTo>
                        <a:pt x="381" y="0"/>
                      </a:moveTo>
                      <a:cubicBezTo>
                        <a:pt x="-615" y="8345"/>
                        <a:pt x="505" y="14573"/>
                        <a:pt x="1875" y="18808"/>
                      </a:cubicBezTo>
                      <a:cubicBezTo>
                        <a:pt x="3869" y="25534"/>
                        <a:pt x="6484" y="28150"/>
                        <a:pt x="8352" y="35001"/>
                      </a:cubicBezTo>
                      <a:cubicBezTo>
                        <a:pt x="10096" y="41727"/>
                        <a:pt x="9722" y="47581"/>
                        <a:pt x="922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6" name="Freeform 7375">
                  <a:extLst>
                    <a:ext uri="{FF2B5EF4-FFF2-40B4-BE49-F238E27FC236}">
                      <a16:creationId xmlns:a16="http://schemas.microsoft.com/office/drawing/2014/main" id="{B745BEE9-56F6-835B-CD44-611B37626248}"/>
                    </a:ext>
                  </a:extLst>
                </p:cNvPr>
                <p:cNvSpPr/>
                <p:nvPr/>
              </p:nvSpPr>
              <p:spPr>
                <a:xfrm>
                  <a:off x="8059878" y="1693560"/>
                  <a:ext cx="10213" cy="51193"/>
                </a:xfrm>
                <a:custGeom>
                  <a:avLst/>
                  <a:gdLst>
                    <a:gd name="connsiteX0" fmla="*/ 10214 w 10213"/>
                    <a:gd name="connsiteY0" fmla="*/ 51193 h 51193"/>
                    <a:gd name="connsiteX1" fmla="*/ 4857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1" y="37492"/>
                        <a:pt x="4857" y="33132"/>
                      </a:cubicBezTo>
                      <a:cubicBezTo>
                        <a:pt x="4359" y="26157"/>
                        <a:pt x="5854" y="22794"/>
                        <a:pt x="5107" y="15694"/>
                      </a:cubicBezTo>
                      <a:cubicBezTo>
                        <a:pt x="4359"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7" name="Freeform 7376">
                  <a:extLst>
                    <a:ext uri="{FF2B5EF4-FFF2-40B4-BE49-F238E27FC236}">
                      <a16:creationId xmlns:a16="http://schemas.microsoft.com/office/drawing/2014/main" id="{D56D6E87-198F-0115-9822-C93E43A606E8}"/>
                    </a:ext>
                  </a:extLst>
                </p:cNvPr>
                <p:cNvSpPr/>
                <p:nvPr/>
              </p:nvSpPr>
              <p:spPr>
                <a:xfrm>
                  <a:off x="8043109" y="1679000"/>
                  <a:ext cx="26346" cy="26504"/>
                </a:xfrm>
                <a:custGeom>
                  <a:avLst/>
                  <a:gdLst>
                    <a:gd name="connsiteX0" fmla="*/ 26111 w 26346"/>
                    <a:gd name="connsiteY0" fmla="*/ 10823 h 26504"/>
                    <a:gd name="connsiteX1" fmla="*/ 15523 w 26346"/>
                    <a:gd name="connsiteY1" fmla="*/ 26269 h 26504"/>
                    <a:gd name="connsiteX2" fmla="*/ 203 w 26346"/>
                    <a:gd name="connsiteY2" fmla="*/ 15681 h 26504"/>
                    <a:gd name="connsiteX3" fmla="*/ 10790 w 26346"/>
                    <a:gd name="connsiteY3" fmla="*/ 236 h 26504"/>
                    <a:gd name="connsiteX4" fmla="*/ 26111 w 2634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4">
                      <a:moveTo>
                        <a:pt x="26111" y="10823"/>
                      </a:moveTo>
                      <a:cubicBezTo>
                        <a:pt x="27481" y="18048"/>
                        <a:pt x="22748" y="24898"/>
                        <a:pt x="15523" y="26269"/>
                      </a:cubicBezTo>
                      <a:cubicBezTo>
                        <a:pt x="8299" y="27639"/>
                        <a:pt x="1448" y="22906"/>
                        <a:pt x="203" y="15681"/>
                      </a:cubicBezTo>
                      <a:cubicBezTo>
                        <a:pt x="-1043" y="8457"/>
                        <a:pt x="3566" y="1606"/>
                        <a:pt x="10790" y="236"/>
                      </a:cubicBezTo>
                      <a:cubicBezTo>
                        <a:pt x="17890" y="-1134"/>
                        <a:pt x="24740" y="3599"/>
                        <a:pt x="2611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1" name="Graphic 2987">
                <a:extLst>
                  <a:ext uri="{FF2B5EF4-FFF2-40B4-BE49-F238E27FC236}">
                    <a16:creationId xmlns:a16="http://schemas.microsoft.com/office/drawing/2014/main" id="{BC2DDAB0-008C-03CA-88D3-AB4A37A2357E}"/>
                  </a:ext>
                </a:extLst>
              </p:cNvPr>
              <p:cNvGrpSpPr/>
              <p:nvPr/>
            </p:nvGrpSpPr>
            <p:grpSpPr>
              <a:xfrm>
                <a:off x="8014091" y="1684514"/>
                <a:ext cx="48260" cy="146918"/>
                <a:chOff x="8014091" y="1684514"/>
                <a:chExt cx="48260" cy="146918"/>
              </a:xfrm>
              <a:grpFill/>
            </p:grpSpPr>
            <p:sp>
              <p:nvSpPr>
                <p:cNvPr id="6726" name="Freeform 7378">
                  <a:extLst>
                    <a:ext uri="{FF2B5EF4-FFF2-40B4-BE49-F238E27FC236}">
                      <a16:creationId xmlns:a16="http://schemas.microsoft.com/office/drawing/2014/main" id="{6896E366-314B-AEF9-2D26-E8BE7895713B}"/>
                    </a:ext>
                  </a:extLst>
                </p:cNvPr>
                <p:cNvSpPr/>
                <p:nvPr/>
              </p:nvSpPr>
              <p:spPr>
                <a:xfrm>
                  <a:off x="8042418" y="1759078"/>
                  <a:ext cx="9372" cy="51442"/>
                </a:xfrm>
                <a:custGeom>
                  <a:avLst/>
                  <a:gdLst>
                    <a:gd name="connsiteX0" fmla="*/ 8990 w 9372"/>
                    <a:gd name="connsiteY0" fmla="*/ 51442 h 51442"/>
                    <a:gd name="connsiteX1" fmla="*/ 7619 w 9372"/>
                    <a:gd name="connsiteY1" fmla="*/ 32634 h 51442"/>
                    <a:gd name="connsiteX2" fmla="*/ 1267 w 9372"/>
                    <a:gd name="connsiteY2" fmla="*/ 16442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0" y="23292"/>
                        <a:pt x="1267" y="16442"/>
                      </a:cubicBezTo>
                      <a:cubicBezTo>
                        <a:pt x="-477" y="9715"/>
                        <a:pt x="-104"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7" name="Freeform 7379">
                  <a:extLst>
                    <a:ext uri="{FF2B5EF4-FFF2-40B4-BE49-F238E27FC236}">
                      <a16:creationId xmlns:a16="http://schemas.microsoft.com/office/drawing/2014/main" id="{C1F4F378-CDBA-952E-7159-E0F1A3BF8131}"/>
                    </a:ext>
                  </a:extLst>
                </p:cNvPr>
                <p:cNvSpPr/>
                <p:nvPr/>
              </p:nvSpPr>
              <p:spPr>
                <a:xfrm>
                  <a:off x="8035340" y="1765555"/>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1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1" y="7473"/>
                        <a:pt x="4983" y="13701"/>
                        <a:pt x="5232" y="18061"/>
                      </a:cubicBezTo>
                      <a:cubicBezTo>
                        <a:pt x="5730" y="25036"/>
                        <a:pt x="4111" y="28399"/>
                        <a:pt x="4858" y="35499"/>
                      </a:cubicBezTo>
                      <a:cubicBezTo>
                        <a:pt x="5605" y="42350"/>
                        <a:pt x="7972" y="47706"/>
                        <a:pt x="984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8" name="Freeform 7380">
                  <a:extLst>
                    <a:ext uri="{FF2B5EF4-FFF2-40B4-BE49-F238E27FC236}">
                      <a16:creationId xmlns:a16="http://schemas.microsoft.com/office/drawing/2014/main" id="{0C5CA722-412F-9428-E988-9847682B924D}"/>
                    </a:ext>
                  </a:extLst>
                </p:cNvPr>
                <p:cNvSpPr/>
                <p:nvPr/>
              </p:nvSpPr>
              <p:spPr>
                <a:xfrm>
                  <a:off x="8035764" y="1804803"/>
                  <a:ext cx="26587" cy="26629"/>
                </a:xfrm>
                <a:custGeom>
                  <a:avLst/>
                  <a:gdLst>
                    <a:gd name="connsiteX0" fmla="*/ 199 w 26587"/>
                    <a:gd name="connsiteY0" fmla="*/ 15806 h 26629"/>
                    <a:gd name="connsiteX1" fmla="*/ 10911 w 26587"/>
                    <a:gd name="connsiteY1" fmla="*/ 236 h 26629"/>
                    <a:gd name="connsiteX2" fmla="*/ 26356 w 26587"/>
                    <a:gd name="connsiteY2" fmla="*/ 10824 h 26629"/>
                    <a:gd name="connsiteX3" fmla="*/ 15644 w 26587"/>
                    <a:gd name="connsiteY3" fmla="*/ 26393 h 26629"/>
                    <a:gd name="connsiteX4" fmla="*/ 199 w 26587"/>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629">
                      <a:moveTo>
                        <a:pt x="199" y="15806"/>
                      </a:moveTo>
                      <a:cubicBezTo>
                        <a:pt x="-1047" y="8581"/>
                        <a:pt x="3687" y="1606"/>
                        <a:pt x="10911" y="236"/>
                      </a:cubicBezTo>
                      <a:cubicBezTo>
                        <a:pt x="18135" y="-1134"/>
                        <a:pt x="25110" y="3599"/>
                        <a:pt x="26356" y="10824"/>
                      </a:cubicBezTo>
                      <a:cubicBezTo>
                        <a:pt x="27726" y="18048"/>
                        <a:pt x="22868" y="25023"/>
                        <a:pt x="15644" y="26393"/>
                      </a:cubicBezTo>
                      <a:cubicBezTo>
                        <a:pt x="8420" y="27763"/>
                        <a:pt x="1445" y="23030"/>
                        <a:pt x="199"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9" name="Freeform 7381">
                  <a:extLst>
                    <a:ext uri="{FF2B5EF4-FFF2-40B4-BE49-F238E27FC236}">
                      <a16:creationId xmlns:a16="http://schemas.microsoft.com/office/drawing/2014/main" id="{A4A283C2-548F-39CB-00E8-D5D11DE982CE}"/>
                    </a:ext>
                  </a:extLst>
                </p:cNvPr>
                <p:cNvSpPr/>
                <p:nvPr/>
              </p:nvSpPr>
              <p:spPr>
                <a:xfrm>
                  <a:off x="8024618" y="1705393"/>
                  <a:ext cx="9372" cy="51566"/>
                </a:xfrm>
                <a:custGeom>
                  <a:avLst/>
                  <a:gdLst>
                    <a:gd name="connsiteX0" fmla="*/ 383 w 9372"/>
                    <a:gd name="connsiteY0" fmla="*/ 0 h 51566"/>
                    <a:gd name="connsiteX1" fmla="*/ 1753 w 9372"/>
                    <a:gd name="connsiteY1" fmla="*/ 18808 h 51566"/>
                    <a:gd name="connsiteX2" fmla="*/ 8106 w 9372"/>
                    <a:gd name="connsiteY2" fmla="*/ 35001 h 51566"/>
                    <a:gd name="connsiteX3" fmla="*/ 8853 w 937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72" h="51566">
                      <a:moveTo>
                        <a:pt x="383" y="0"/>
                      </a:moveTo>
                      <a:cubicBezTo>
                        <a:pt x="-613" y="8345"/>
                        <a:pt x="507" y="14573"/>
                        <a:pt x="1753" y="18808"/>
                      </a:cubicBezTo>
                      <a:cubicBezTo>
                        <a:pt x="3746" y="25534"/>
                        <a:pt x="6362" y="28150"/>
                        <a:pt x="8106" y="35001"/>
                      </a:cubicBezTo>
                      <a:cubicBezTo>
                        <a:pt x="9849" y="41727"/>
                        <a:pt x="9476"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0" name="Freeform 7382">
                  <a:extLst>
                    <a:ext uri="{FF2B5EF4-FFF2-40B4-BE49-F238E27FC236}">
                      <a16:creationId xmlns:a16="http://schemas.microsoft.com/office/drawing/2014/main" id="{2A82B89F-B995-B876-309F-27CFAC067BE0}"/>
                    </a:ext>
                  </a:extLst>
                </p:cNvPr>
                <p:cNvSpPr/>
                <p:nvPr/>
              </p:nvSpPr>
              <p:spPr>
                <a:xfrm>
                  <a:off x="8030980" y="1699041"/>
                  <a:ext cx="9964" cy="51193"/>
                </a:xfrm>
                <a:custGeom>
                  <a:avLst/>
                  <a:gdLst>
                    <a:gd name="connsiteX0" fmla="*/ 9964 w 9964"/>
                    <a:gd name="connsiteY0" fmla="*/ 51193 h 51193"/>
                    <a:gd name="connsiteX1" fmla="*/ 4733 w 9964"/>
                    <a:gd name="connsiteY1" fmla="*/ 33132 h 51193"/>
                    <a:gd name="connsiteX2" fmla="*/ 4982 w 9964"/>
                    <a:gd name="connsiteY2" fmla="*/ 15694 h 51193"/>
                    <a:gd name="connsiteX3" fmla="*/ 0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9964" y="51193"/>
                      </a:moveTo>
                      <a:cubicBezTo>
                        <a:pt x="6103" y="43720"/>
                        <a:pt x="4982" y="37492"/>
                        <a:pt x="4733" y="33132"/>
                      </a:cubicBezTo>
                      <a:cubicBezTo>
                        <a:pt x="4235" y="26157"/>
                        <a:pt x="5854" y="22794"/>
                        <a:pt x="4982" y="15694"/>
                      </a:cubicBezTo>
                      <a:cubicBezTo>
                        <a:pt x="4235"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1" name="Freeform 7383">
                  <a:extLst>
                    <a:ext uri="{FF2B5EF4-FFF2-40B4-BE49-F238E27FC236}">
                      <a16:creationId xmlns:a16="http://schemas.microsoft.com/office/drawing/2014/main" id="{B7704D14-93CF-99B0-BAC5-32F1DE28C94E}"/>
                    </a:ext>
                  </a:extLst>
                </p:cNvPr>
                <p:cNvSpPr/>
                <p:nvPr/>
              </p:nvSpPr>
              <p:spPr>
                <a:xfrm>
                  <a:off x="8014091" y="1684514"/>
                  <a:ext cx="26338" cy="26471"/>
                </a:xfrm>
                <a:custGeom>
                  <a:avLst/>
                  <a:gdLst>
                    <a:gd name="connsiteX0" fmla="*/ 26107 w 26338"/>
                    <a:gd name="connsiteY0" fmla="*/ 10790 h 26471"/>
                    <a:gd name="connsiteX1" fmla="*/ 15520 w 26338"/>
                    <a:gd name="connsiteY1" fmla="*/ 26235 h 26471"/>
                    <a:gd name="connsiteX2" fmla="*/ 199 w 26338"/>
                    <a:gd name="connsiteY2" fmla="*/ 15648 h 26471"/>
                    <a:gd name="connsiteX3" fmla="*/ 10787 w 26338"/>
                    <a:gd name="connsiteY3" fmla="*/ 203 h 26471"/>
                    <a:gd name="connsiteX4" fmla="*/ 26107 w 26338"/>
                    <a:gd name="connsiteY4" fmla="*/ 10790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70">
                      <a:moveTo>
                        <a:pt x="26107" y="10790"/>
                      </a:moveTo>
                      <a:cubicBezTo>
                        <a:pt x="27477" y="18015"/>
                        <a:pt x="22619" y="24865"/>
                        <a:pt x="15520" y="26235"/>
                      </a:cubicBezTo>
                      <a:cubicBezTo>
                        <a:pt x="8295" y="27606"/>
                        <a:pt x="1445" y="22872"/>
                        <a:pt x="199" y="15648"/>
                      </a:cubicBezTo>
                      <a:cubicBezTo>
                        <a:pt x="-1046" y="8424"/>
                        <a:pt x="3687" y="1448"/>
                        <a:pt x="10787" y="203"/>
                      </a:cubicBezTo>
                      <a:cubicBezTo>
                        <a:pt x="17887" y="-1043"/>
                        <a:pt x="24862" y="3566"/>
                        <a:pt x="26107" y="1079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2" name="Graphic 2987">
                <a:extLst>
                  <a:ext uri="{FF2B5EF4-FFF2-40B4-BE49-F238E27FC236}">
                    <a16:creationId xmlns:a16="http://schemas.microsoft.com/office/drawing/2014/main" id="{0B8CD9E7-4237-0C16-1B1E-42A5DAFBA028}"/>
                  </a:ext>
                </a:extLst>
              </p:cNvPr>
              <p:cNvGrpSpPr/>
              <p:nvPr/>
            </p:nvGrpSpPr>
            <p:grpSpPr>
              <a:xfrm>
                <a:off x="7985160" y="1689841"/>
                <a:ext cx="47886" cy="147196"/>
                <a:chOff x="7985160" y="1689841"/>
                <a:chExt cx="47886" cy="147196"/>
              </a:xfrm>
              <a:grpFill/>
            </p:grpSpPr>
            <p:sp>
              <p:nvSpPr>
                <p:cNvPr id="6720" name="Freeform 7385">
                  <a:extLst>
                    <a:ext uri="{FF2B5EF4-FFF2-40B4-BE49-F238E27FC236}">
                      <a16:creationId xmlns:a16="http://schemas.microsoft.com/office/drawing/2014/main" id="{567C7440-E3EC-6F5D-FABF-C13271306D8A}"/>
                    </a:ext>
                  </a:extLst>
                </p:cNvPr>
                <p:cNvSpPr/>
                <p:nvPr/>
              </p:nvSpPr>
              <p:spPr>
                <a:xfrm>
                  <a:off x="8013023" y="1764433"/>
                  <a:ext cx="9372" cy="51566"/>
                </a:xfrm>
                <a:custGeom>
                  <a:avLst/>
                  <a:gdLst>
                    <a:gd name="connsiteX0" fmla="*/ 8989 w 9372"/>
                    <a:gd name="connsiteY0" fmla="*/ 51567 h 51566"/>
                    <a:gd name="connsiteX1" fmla="*/ 7619 w 9372"/>
                    <a:gd name="connsiteY1" fmla="*/ 32759 h 51566"/>
                    <a:gd name="connsiteX2" fmla="*/ 1267 w 9372"/>
                    <a:gd name="connsiteY2" fmla="*/ 16566 h 51566"/>
                    <a:gd name="connsiteX3" fmla="*/ 519 w 9372"/>
                    <a:gd name="connsiteY3" fmla="*/ 0 h 51566"/>
                  </a:gdLst>
                  <a:ahLst/>
                  <a:cxnLst>
                    <a:cxn ang="0">
                      <a:pos x="connsiteX0" y="connsiteY0"/>
                    </a:cxn>
                    <a:cxn ang="0">
                      <a:pos x="connsiteX1" y="connsiteY1"/>
                    </a:cxn>
                    <a:cxn ang="0">
                      <a:pos x="connsiteX2" y="connsiteY2"/>
                    </a:cxn>
                    <a:cxn ang="0">
                      <a:pos x="connsiteX3" y="connsiteY3"/>
                    </a:cxn>
                  </a:cxnLst>
                  <a:rect l="l" t="t" r="r" b="b"/>
                  <a:pathLst>
                    <a:path w="9372" h="51566">
                      <a:moveTo>
                        <a:pt x="8989" y="51567"/>
                      </a:moveTo>
                      <a:cubicBezTo>
                        <a:pt x="9986" y="43221"/>
                        <a:pt x="8865" y="36994"/>
                        <a:pt x="7619" y="32759"/>
                      </a:cubicBezTo>
                      <a:cubicBezTo>
                        <a:pt x="5626" y="26033"/>
                        <a:pt x="3011" y="23417"/>
                        <a:pt x="1267" y="16566"/>
                      </a:cubicBezTo>
                      <a:cubicBezTo>
                        <a:pt x="-477" y="9840"/>
                        <a:pt x="-103" y="3986"/>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1" name="Freeform 7386">
                  <a:extLst>
                    <a:ext uri="{FF2B5EF4-FFF2-40B4-BE49-F238E27FC236}">
                      <a16:creationId xmlns:a16="http://schemas.microsoft.com/office/drawing/2014/main" id="{B0D2E2C5-9484-2C77-1CCC-7A4B66240FC2}"/>
                    </a:ext>
                  </a:extLst>
                </p:cNvPr>
                <p:cNvSpPr/>
                <p:nvPr/>
              </p:nvSpPr>
              <p:spPr>
                <a:xfrm>
                  <a:off x="8006194" y="1771035"/>
                  <a:ext cx="9839" cy="51193"/>
                </a:xfrm>
                <a:custGeom>
                  <a:avLst/>
                  <a:gdLst>
                    <a:gd name="connsiteX0" fmla="*/ 0 w 9839"/>
                    <a:gd name="connsiteY0" fmla="*/ 0 h 51193"/>
                    <a:gd name="connsiteX1" fmla="*/ 5231 w 9839"/>
                    <a:gd name="connsiteY1" fmla="*/ 18061 h 51193"/>
                    <a:gd name="connsiteX2" fmla="*/ 4857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3"/>
                        <a:pt x="4982" y="13701"/>
                        <a:pt x="5231" y="18061"/>
                      </a:cubicBezTo>
                      <a:cubicBezTo>
                        <a:pt x="5729" y="25036"/>
                        <a:pt x="4110" y="28399"/>
                        <a:pt x="4857" y="35499"/>
                      </a:cubicBezTo>
                      <a:cubicBezTo>
                        <a:pt x="5604"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2" name="Freeform 7387">
                  <a:extLst>
                    <a:ext uri="{FF2B5EF4-FFF2-40B4-BE49-F238E27FC236}">
                      <a16:creationId xmlns:a16="http://schemas.microsoft.com/office/drawing/2014/main" id="{FEDC20EC-11F0-A20D-E933-43D6C3989A0F}"/>
                    </a:ext>
                  </a:extLst>
                </p:cNvPr>
                <p:cNvSpPr/>
                <p:nvPr/>
              </p:nvSpPr>
              <p:spPr>
                <a:xfrm>
                  <a:off x="8006372" y="1810408"/>
                  <a:ext cx="26674" cy="26629"/>
                </a:xfrm>
                <a:custGeom>
                  <a:avLst/>
                  <a:gdLst>
                    <a:gd name="connsiteX0" fmla="*/ 195 w 26674"/>
                    <a:gd name="connsiteY0" fmla="*/ 15806 h 26629"/>
                    <a:gd name="connsiteX1" fmla="*/ 11031 w 26674"/>
                    <a:gd name="connsiteY1" fmla="*/ 236 h 26629"/>
                    <a:gd name="connsiteX2" fmla="*/ 26476 w 26674"/>
                    <a:gd name="connsiteY2" fmla="*/ 10823 h 26629"/>
                    <a:gd name="connsiteX3" fmla="*/ 15640 w 26674"/>
                    <a:gd name="connsiteY3" fmla="*/ 26393 h 26629"/>
                    <a:gd name="connsiteX4" fmla="*/ 195 w 2667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29">
                      <a:moveTo>
                        <a:pt x="195" y="15806"/>
                      </a:moveTo>
                      <a:cubicBezTo>
                        <a:pt x="-1051" y="8581"/>
                        <a:pt x="3807" y="1606"/>
                        <a:pt x="11031" y="236"/>
                      </a:cubicBezTo>
                      <a:cubicBezTo>
                        <a:pt x="18256" y="-1134"/>
                        <a:pt x="25231" y="3599"/>
                        <a:pt x="26476" y="10823"/>
                      </a:cubicBezTo>
                      <a:cubicBezTo>
                        <a:pt x="27722" y="18048"/>
                        <a:pt x="22989" y="25023"/>
                        <a:pt x="15640" y="26393"/>
                      </a:cubicBezTo>
                      <a:cubicBezTo>
                        <a:pt x="8416" y="27763"/>
                        <a:pt x="1441" y="23030"/>
                        <a:pt x="195"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3" name="Freeform 7388">
                  <a:extLst>
                    <a:ext uri="{FF2B5EF4-FFF2-40B4-BE49-F238E27FC236}">
                      <a16:creationId xmlns:a16="http://schemas.microsoft.com/office/drawing/2014/main" id="{E0F03949-DBFE-6AAD-35B0-17B4192CC8E5}"/>
                    </a:ext>
                  </a:extLst>
                </p:cNvPr>
                <p:cNvSpPr/>
                <p:nvPr/>
              </p:nvSpPr>
              <p:spPr>
                <a:xfrm>
                  <a:off x="7995596" y="1710749"/>
                  <a:ext cx="9322" cy="51566"/>
                </a:xfrm>
                <a:custGeom>
                  <a:avLst/>
                  <a:gdLst>
                    <a:gd name="connsiteX0" fmla="*/ 383 w 9322"/>
                    <a:gd name="connsiteY0" fmla="*/ 0 h 51566"/>
                    <a:gd name="connsiteX1" fmla="*/ 1753 w 9322"/>
                    <a:gd name="connsiteY1" fmla="*/ 18808 h 51566"/>
                    <a:gd name="connsiteX2" fmla="*/ 8106 w 9322"/>
                    <a:gd name="connsiteY2" fmla="*/ 35001 h 51566"/>
                    <a:gd name="connsiteX3" fmla="*/ 8853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383" y="0"/>
                      </a:moveTo>
                      <a:cubicBezTo>
                        <a:pt x="-613" y="8345"/>
                        <a:pt x="508" y="14573"/>
                        <a:pt x="1753" y="18808"/>
                      </a:cubicBezTo>
                      <a:cubicBezTo>
                        <a:pt x="3746" y="25534"/>
                        <a:pt x="6362" y="28150"/>
                        <a:pt x="8106" y="35001"/>
                      </a:cubicBezTo>
                      <a:cubicBezTo>
                        <a:pt x="9850" y="41727"/>
                        <a:pt x="9351"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4" name="Freeform 7389">
                  <a:extLst>
                    <a:ext uri="{FF2B5EF4-FFF2-40B4-BE49-F238E27FC236}">
                      <a16:creationId xmlns:a16="http://schemas.microsoft.com/office/drawing/2014/main" id="{B0A3A5FA-BF39-CB6E-4629-B5B21B1E3224}"/>
                    </a:ext>
                  </a:extLst>
                </p:cNvPr>
                <p:cNvSpPr/>
                <p:nvPr/>
              </p:nvSpPr>
              <p:spPr>
                <a:xfrm>
                  <a:off x="8001958" y="1704521"/>
                  <a:ext cx="9839" cy="51193"/>
                </a:xfrm>
                <a:custGeom>
                  <a:avLst/>
                  <a:gdLst>
                    <a:gd name="connsiteX0" fmla="*/ 9840 w 9839"/>
                    <a:gd name="connsiteY0" fmla="*/ 51193 h 51193"/>
                    <a:gd name="connsiteX1" fmla="*/ 4609 w 9839"/>
                    <a:gd name="connsiteY1" fmla="*/ 33132 h 51193"/>
                    <a:gd name="connsiteX2" fmla="*/ 4983 w 9839"/>
                    <a:gd name="connsiteY2" fmla="*/ 15694 h 51193"/>
                    <a:gd name="connsiteX3" fmla="*/ 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5" name="Freeform 7390">
                  <a:extLst>
                    <a:ext uri="{FF2B5EF4-FFF2-40B4-BE49-F238E27FC236}">
                      <a16:creationId xmlns:a16="http://schemas.microsoft.com/office/drawing/2014/main" id="{18278100-CEB3-6CA1-A13A-84AA302A7CD6}"/>
                    </a:ext>
                  </a:extLst>
                </p:cNvPr>
                <p:cNvSpPr/>
                <p:nvPr/>
              </p:nvSpPr>
              <p:spPr>
                <a:xfrm>
                  <a:off x="7985160" y="1689841"/>
                  <a:ext cx="26338" cy="26500"/>
                </a:xfrm>
                <a:custGeom>
                  <a:avLst/>
                  <a:gdLst>
                    <a:gd name="connsiteX0" fmla="*/ 26140 w 26338"/>
                    <a:gd name="connsiteY0" fmla="*/ 10819 h 26500"/>
                    <a:gd name="connsiteX1" fmla="*/ 15553 w 26338"/>
                    <a:gd name="connsiteY1" fmla="*/ 26264 h 26500"/>
                    <a:gd name="connsiteX2" fmla="*/ 232 w 26338"/>
                    <a:gd name="connsiteY2" fmla="*/ 15677 h 26500"/>
                    <a:gd name="connsiteX3" fmla="*/ 10819 w 26338"/>
                    <a:gd name="connsiteY3" fmla="*/ 232 h 26500"/>
                    <a:gd name="connsiteX4" fmla="*/ 26140 w 26338"/>
                    <a:gd name="connsiteY4" fmla="*/ 108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99">
                      <a:moveTo>
                        <a:pt x="26140" y="10819"/>
                      </a:moveTo>
                      <a:cubicBezTo>
                        <a:pt x="27386" y="18043"/>
                        <a:pt x="22653" y="25019"/>
                        <a:pt x="15553" y="26264"/>
                      </a:cubicBezTo>
                      <a:cubicBezTo>
                        <a:pt x="8328" y="27634"/>
                        <a:pt x="1602" y="22901"/>
                        <a:pt x="232" y="15677"/>
                      </a:cubicBezTo>
                      <a:cubicBezTo>
                        <a:pt x="-1138" y="8452"/>
                        <a:pt x="3720" y="1477"/>
                        <a:pt x="10819" y="232"/>
                      </a:cubicBezTo>
                      <a:cubicBezTo>
                        <a:pt x="18044" y="-1138"/>
                        <a:pt x="24895" y="3719"/>
                        <a:pt x="26140" y="108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3" name="Graphic 2987">
                <a:extLst>
                  <a:ext uri="{FF2B5EF4-FFF2-40B4-BE49-F238E27FC236}">
                    <a16:creationId xmlns:a16="http://schemas.microsoft.com/office/drawing/2014/main" id="{EC8F9A5E-A911-F565-8468-BEDCE03AA5FC}"/>
                  </a:ext>
                </a:extLst>
              </p:cNvPr>
              <p:cNvGrpSpPr/>
              <p:nvPr/>
            </p:nvGrpSpPr>
            <p:grpSpPr>
              <a:xfrm>
                <a:off x="7956051" y="1695172"/>
                <a:ext cx="47721" cy="147146"/>
                <a:chOff x="7956051" y="1695172"/>
                <a:chExt cx="47721" cy="147146"/>
              </a:xfrm>
              <a:grpFill/>
            </p:grpSpPr>
            <p:sp>
              <p:nvSpPr>
                <p:cNvPr id="6714" name="Freeform 7392">
                  <a:extLst>
                    <a:ext uri="{FF2B5EF4-FFF2-40B4-BE49-F238E27FC236}">
                      <a16:creationId xmlns:a16="http://schemas.microsoft.com/office/drawing/2014/main" id="{5036C0E9-B774-4DB3-BEA2-99C834ED4767}"/>
                    </a:ext>
                  </a:extLst>
                </p:cNvPr>
                <p:cNvSpPr/>
                <p:nvPr/>
              </p:nvSpPr>
              <p:spPr>
                <a:xfrm>
                  <a:off x="7983988" y="1770039"/>
                  <a:ext cx="9214" cy="51442"/>
                </a:xfrm>
                <a:custGeom>
                  <a:avLst/>
                  <a:gdLst>
                    <a:gd name="connsiteX0" fmla="*/ 8753 w 9214"/>
                    <a:gd name="connsiteY0" fmla="*/ 51442 h 51442"/>
                    <a:gd name="connsiteX1" fmla="*/ 7508 w 9214"/>
                    <a:gd name="connsiteY1" fmla="*/ 32759 h 51442"/>
                    <a:gd name="connsiteX2" fmla="*/ 1155 w 9214"/>
                    <a:gd name="connsiteY2" fmla="*/ 16442 h 51442"/>
                    <a:gd name="connsiteX3" fmla="*/ 532 w 9214"/>
                    <a:gd name="connsiteY3" fmla="*/ 0 h 51442"/>
                  </a:gdLst>
                  <a:ahLst/>
                  <a:cxnLst>
                    <a:cxn ang="0">
                      <a:pos x="connsiteX0" y="connsiteY0"/>
                    </a:cxn>
                    <a:cxn ang="0">
                      <a:pos x="connsiteX1" y="connsiteY1"/>
                    </a:cxn>
                    <a:cxn ang="0">
                      <a:pos x="connsiteX2" y="connsiteY2"/>
                    </a:cxn>
                    <a:cxn ang="0">
                      <a:pos x="connsiteX3" y="connsiteY3"/>
                    </a:cxn>
                  </a:cxnLst>
                  <a:rect l="l" t="t" r="r" b="b"/>
                  <a:pathLst>
                    <a:path w="9214" h="51442">
                      <a:moveTo>
                        <a:pt x="8753" y="51442"/>
                      </a:moveTo>
                      <a:cubicBezTo>
                        <a:pt x="9874" y="43097"/>
                        <a:pt x="8753" y="36869"/>
                        <a:pt x="7508" y="32759"/>
                      </a:cubicBezTo>
                      <a:cubicBezTo>
                        <a:pt x="5514" y="26033"/>
                        <a:pt x="2898"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5" name="Freeform 7393">
                  <a:extLst>
                    <a:ext uri="{FF2B5EF4-FFF2-40B4-BE49-F238E27FC236}">
                      <a16:creationId xmlns:a16="http://schemas.microsoft.com/office/drawing/2014/main" id="{3CC86F7B-B434-7FB4-CD87-2828B40D7B7D}"/>
                    </a:ext>
                  </a:extLst>
                </p:cNvPr>
                <p:cNvSpPr/>
                <p:nvPr/>
              </p:nvSpPr>
              <p:spPr>
                <a:xfrm>
                  <a:off x="7976922" y="1776266"/>
                  <a:ext cx="9591" cy="51317"/>
                </a:xfrm>
                <a:custGeom>
                  <a:avLst/>
                  <a:gdLst>
                    <a:gd name="connsiteX0" fmla="*/ 0 w 9591"/>
                    <a:gd name="connsiteY0" fmla="*/ 0 h 51317"/>
                    <a:gd name="connsiteX1" fmla="*/ 5107 w 9591"/>
                    <a:gd name="connsiteY1" fmla="*/ 18061 h 51317"/>
                    <a:gd name="connsiteX2" fmla="*/ 4609 w 9591"/>
                    <a:gd name="connsiteY2" fmla="*/ 35499 h 51317"/>
                    <a:gd name="connsiteX3" fmla="*/ 9591 w 95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591" h="51317">
                      <a:moveTo>
                        <a:pt x="0" y="0"/>
                      </a:moveTo>
                      <a:cubicBezTo>
                        <a:pt x="3861" y="7473"/>
                        <a:pt x="4858" y="13826"/>
                        <a:pt x="5107" y="18061"/>
                      </a:cubicBezTo>
                      <a:cubicBezTo>
                        <a:pt x="5481" y="25036"/>
                        <a:pt x="3986" y="28399"/>
                        <a:pt x="4609" y="35499"/>
                      </a:cubicBezTo>
                      <a:cubicBezTo>
                        <a:pt x="5356" y="42350"/>
                        <a:pt x="7723" y="47830"/>
                        <a:pt x="9591"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6" name="Freeform 7394">
                  <a:extLst>
                    <a:ext uri="{FF2B5EF4-FFF2-40B4-BE49-F238E27FC236}">
                      <a16:creationId xmlns:a16="http://schemas.microsoft.com/office/drawing/2014/main" id="{67493223-76B2-3638-FA4B-77A13A38C314}"/>
                    </a:ext>
                  </a:extLst>
                </p:cNvPr>
                <p:cNvSpPr/>
                <p:nvPr/>
              </p:nvSpPr>
              <p:spPr>
                <a:xfrm>
                  <a:off x="7976977" y="1815836"/>
                  <a:ext cx="26795" cy="26481"/>
                </a:xfrm>
                <a:custGeom>
                  <a:avLst/>
                  <a:gdLst>
                    <a:gd name="connsiteX0" fmla="*/ 195 w 26795"/>
                    <a:gd name="connsiteY0" fmla="*/ 15360 h 26481"/>
                    <a:gd name="connsiteX1" fmla="*/ 11156 w 26795"/>
                    <a:gd name="connsiteY1" fmla="*/ 164 h 26481"/>
                    <a:gd name="connsiteX2" fmla="*/ 26601 w 26795"/>
                    <a:gd name="connsiteY2" fmla="*/ 11001 h 26481"/>
                    <a:gd name="connsiteX3" fmla="*/ 15764 w 26795"/>
                    <a:gd name="connsiteY3" fmla="*/ 26321 h 26481"/>
                    <a:gd name="connsiteX4" fmla="*/ 195 w 26795"/>
                    <a:gd name="connsiteY4" fmla="*/ 15360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5" h="26481">
                      <a:moveTo>
                        <a:pt x="195" y="15360"/>
                      </a:moveTo>
                      <a:cubicBezTo>
                        <a:pt x="-1051" y="8136"/>
                        <a:pt x="3807" y="1410"/>
                        <a:pt x="11156" y="164"/>
                      </a:cubicBezTo>
                      <a:cubicBezTo>
                        <a:pt x="18380" y="-957"/>
                        <a:pt x="25355" y="3776"/>
                        <a:pt x="26601" y="11001"/>
                      </a:cubicBezTo>
                      <a:cubicBezTo>
                        <a:pt x="27846" y="18225"/>
                        <a:pt x="22989" y="25200"/>
                        <a:pt x="15764" y="26321"/>
                      </a:cubicBezTo>
                      <a:cubicBezTo>
                        <a:pt x="8291" y="27442"/>
                        <a:pt x="1440" y="22584"/>
                        <a:pt x="195" y="153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7" name="Freeform 7395">
                  <a:extLst>
                    <a:ext uri="{FF2B5EF4-FFF2-40B4-BE49-F238E27FC236}">
                      <a16:creationId xmlns:a16="http://schemas.microsoft.com/office/drawing/2014/main" id="{72BB6CE7-77D2-ED73-A4BB-B9EB42D0DCBB}"/>
                    </a:ext>
                  </a:extLst>
                </p:cNvPr>
                <p:cNvSpPr/>
                <p:nvPr/>
              </p:nvSpPr>
              <p:spPr>
                <a:xfrm>
                  <a:off x="7966496" y="1715981"/>
                  <a:ext cx="9214" cy="51442"/>
                </a:xfrm>
                <a:custGeom>
                  <a:avLst/>
                  <a:gdLst>
                    <a:gd name="connsiteX0" fmla="*/ 461 w 9214"/>
                    <a:gd name="connsiteY0" fmla="*/ 0 h 51442"/>
                    <a:gd name="connsiteX1" fmla="*/ 1706 w 9214"/>
                    <a:gd name="connsiteY1" fmla="*/ 18684 h 51442"/>
                    <a:gd name="connsiteX2" fmla="*/ 8059 w 9214"/>
                    <a:gd name="connsiteY2" fmla="*/ 35001 h 51442"/>
                    <a:gd name="connsiteX3" fmla="*/ 8682 w 921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4" h="51442">
                      <a:moveTo>
                        <a:pt x="461" y="0"/>
                      </a:moveTo>
                      <a:cubicBezTo>
                        <a:pt x="-660" y="8345"/>
                        <a:pt x="461" y="14573"/>
                        <a:pt x="1706" y="18684"/>
                      </a:cubicBezTo>
                      <a:cubicBezTo>
                        <a:pt x="3700" y="25410"/>
                        <a:pt x="6316" y="28025"/>
                        <a:pt x="8059" y="35001"/>
                      </a:cubicBezTo>
                      <a:cubicBezTo>
                        <a:pt x="9678" y="41727"/>
                        <a:pt x="9305" y="47581"/>
                        <a:pt x="868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8" name="Freeform 7396">
                  <a:extLst>
                    <a:ext uri="{FF2B5EF4-FFF2-40B4-BE49-F238E27FC236}">
                      <a16:creationId xmlns:a16="http://schemas.microsoft.com/office/drawing/2014/main" id="{D487FD43-8734-D447-AA62-6B23563EE415}"/>
                    </a:ext>
                  </a:extLst>
                </p:cNvPr>
                <p:cNvSpPr/>
                <p:nvPr/>
              </p:nvSpPr>
              <p:spPr>
                <a:xfrm>
                  <a:off x="7972936" y="1710002"/>
                  <a:ext cx="9715" cy="51193"/>
                </a:xfrm>
                <a:custGeom>
                  <a:avLst/>
                  <a:gdLst>
                    <a:gd name="connsiteX0" fmla="*/ 9716 w 9715"/>
                    <a:gd name="connsiteY0" fmla="*/ 51193 h 51193"/>
                    <a:gd name="connsiteX1" fmla="*/ 4609 w 9715"/>
                    <a:gd name="connsiteY1" fmla="*/ 33132 h 51193"/>
                    <a:gd name="connsiteX2" fmla="*/ 4983 w 9715"/>
                    <a:gd name="connsiteY2" fmla="*/ 15819 h 51193"/>
                    <a:gd name="connsiteX3" fmla="*/ 0 w 9715"/>
                    <a:gd name="connsiteY3" fmla="*/ 0 h 51193"/>
                  </a:gdLst>
                  <a:ahLst/>
                  <a:cxnLst>
                    <a:cxn ang="0">
                      <a:pos x="connsiteX0" y="connsiteY0"/>
                    </a:cxn>
                    <a:cxn ang="0">
                      <a:pos x="connsiteX1" y="connsiteY1"/>
                    </a:cxn>
                    <a:cxn ang="0">
                      <a:pos x="connsiteX2" y="connsiteY2"/>
                    </a:cxn>
                    <a:cxn ang="0">
                      <a:pos x="connsiteX3" y="connsiteY3"/>
                    </a:cxn>
                  </a:cxnLst>
                  <a:rect l="l" t="t" r="r" b="b"/>
                  <a:pathLst>
                    <a:path w="9715" h="51193">
                      <a:moveTo>
                        <a:pt x="9716" y="51193"/>
                      </a:moveTo>
                      <a:cubicBezTo>
                        <a:pt x="5855" y="43720"/>
                        <a:pt x="4858" y="37367"/>
                        <a:pt x="4609" y="33132"/>
                      </a:cubicBezTo>
                      <a:cubicBezTo>
                        <a:pt x="4235" y="26157"/>
                        <a:pt x="5730" y="22794"/>
                        <a:pt x="4983"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9" name="Freeform 7397">
                  <a:extLst>
                    <a:ext uri="{FF2B5EF4-FFF2-40B4-BE49-F238E27FC236}">
                      <a16:creationId xmlns:a16="http://schemas.microsoft.com/office/drawing/2014/main" id="{F21AF4E9-48C8-A479-DDB8-17021E84A984}"/>
                    </a:ext>
                  </a:extLst>
                </p:cNvPr>
                <p:cNvSpPr/>
                <p:nvPr/>
              </p:nvSpPr>
              <p:spPr>
                <a:xfrm>
                  <a:off x="7956051" y="1695172"/>
                  <a:ext cx="26426" cy="26450"/>
                </a:xfrm>
                <a:custGeom>
                  <a:avLst/>
                  <a:gdLst>
                    <a:gd name="connsiteX0" fmla="*/ 26227 w 26426"/>
                    <a:gd name="connsiteY0" fmla="*/ 10969 h 26450"/>
                    <a:gd name="connsiteX1" fmla="*/ 15515 w 26426"/>
                    <a:gd name="connsiteY1" fmla="*/ 26289 h 26450"/>
                    <a:gd name="connsiteX2" fmla="*/ 195 w 26426"/>
                    <a:gd name="connsiteY2" fmla="*/ 15328 h 26450"/>
                    <a:gd name="connsiteX3" fmla="*/ 10907 w 26426"/>
                    <a:gd name="connsiteY3" fmla="*/ 132 h 26450"/>
                    <a:gd name="connsiteX4" fmla="*/ 26227 w 26426"/>
                    <a:gd name="connsiteY4" fmla="*/ 10969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49">
                      <a:moveTo>
                        <a:pt x="26227" y="10969"/>
                      </a:moveTo>
                      <a:cubicBezTo>
                        <a:pt x="27473" y="18193"/>
                        <a:pt x="22740" y="25168"/>
                        <a:pt x="15515" y="26289"/>
                      </a:cubicBezTo>
                      <a:cubicBezTo>
                        <a:pt x="8291" y="27410"/>
                        <a:pt x="1440" y="22553"/>
                        <a:pt x="195" y="15328"/>
                      </a:cubicBezTo>
                      <a:cubicBezTo>
                        <a:pt x="-1051" y="8104"/>
                        <a:pt x="3807" y="1378"/>
                        <a:pt x="10907" y="132"/>
                      </a:cubicBezTo>
                      <a:cubicBezTo>
                        <a:pt x="18256" y="-864"/>
                        <a:pt x="24982" y="3869"/>
                        <a:pt x="26227" y="10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4" name="Graphic 2987">
                <a:extLst>
                  <a:ext uri="{FF2B5EF4-FFF2-40B4-BE49-F238E27FC236}">
                    <a16:creationId xmlns:a16="http://schemas.microsoft.com/office/drawing/2014/main" id="{F77B03A8-49E5-5A76-457D-41487D92113C}"/>
                  </a:ext>
                </a:extLst>
              </p:cNvPr>
              <p:cNvGrpSpPr/>
              <p:nvPr/>
            </p:nvGrpSpPr>
            <p:grpSpPr>
              <a:xfrm>
                <a:off x="7927029" y="1699876"/>
                <a:ext cx="47223" cy="147175"/>
                <a:chOff x="7927029" y="1699876"/>
                <a:chExt cx="47223" cy="147175"/>
              </a:xfrm>
              <a:grpFill/>
            </p:grpSpPr>
            <p:sp>
              <p:nvSpPr>
                <p:cNvPr id="6708" name="Freeform 7399">
                  <a:extLst>
                    <a:ext uri="{FF2B5EF4-FFF2-40B4-BE49-F238E27FC236}">
                      <a16:creationId xmlns:a16="http://schemas.microsoft.com/office/drawing/2014/main" id="{DA9E0C04-98A6-9EA1-D142-D69E05F0B06D}"/>
                    </a:ext>
                  </a:extLst>
                </p:cNvPr>
                <p:cNvSpPr/>
                <p:nvPr/>
              </p:nvSpPr>
              <p:spPr>
                <a:xfrm>
                  <a:off x="7954717" y="1774647"/>
                  <a:ext cx="9089" cy="51566"/>
                </a:xfrm>
                <a:custGeom>
                  <a:avLst/>
                  <a:gdLst>
                    <a:gd name="connsiteX0" fmla="*/ 8629 w 9089"/>
                    <a:gd name="connsiteY0" fmla="*/ 51567 h 51566"/>
                    <a:gd name="connsiteX1" fmla="*/ 7383 w 9089"/>
                    <a:gd name="connsiteY1" fmla="*/ 32759 h 51566"/>
                    <a:gd name="connsiteX2" fmla="*/ 1155 w 9089"/>
                    <a:gd name="connsiteY2" fmla="*/ 16442 h 51566"/>
                    <a:gd name="connsiteX3" fmla="*/ 532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8629" y="51567"/>
                      </a:moveTo>
                      <a:cubicBezTo>
                        <a:pt x="9749" y="43222"/>
                        <a:pt x="8629" y="36994"/>
                        <a:pt x="7383" y="32759"/>
                      </a:cubicBezTo>
                      <a:cubicBezTo>
                        <a:pt x="5390"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9" name="Freeform 7400">
                  <a:extLst>
                    <a:ext uri="{FF2B5EF4-FFF2-40B4-BE49-F238E27FC236}">
                      <a16:creationId xmlns:a16="http://schemas.microsoft.com/office/drawing/2014/main" id="{1EB42F02-69F8-C978-5C04-A7C06696897D}"/>
                    </a:ext>
                  </a:extLst>
                </p:cNvPr>
                <p:cNvSpPr/>
                <p:nvPr/>
              </p:nvSpPr>
              <p:spPr>
                <a:xfrm>
                  <a:off x="7947651" y="1781000"/>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861" y="28399"/>
                        <a:pt x="4609" y="35499"/>
                      </a:cubicBezTo>
                      <a:cubicBezTo>
                        <a:pt x="5231"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0" name="Freeform 7401">
                  <a:extLst>
                    <a:ext uri="{FF2B5EF4-FFF2-40B4-BE49-F238E27FC236}">
                      <a16:creationId xmlns:a16="http://schemas.microsoft.com/office/drawing/2014/main" id="{7901F4D6-00FA-8E3D-D086-B55A44F5EBDE}"/>
                    </a:ext>
                  </a:extLst>
                </p:cNvPr>
                <p:cNvSpPr/>
                <p:nvPr/>
              </p:nvSpPr>
              <p:spPr>
                <a:xfrm>
                  <a:off x="7947460" y="1820573"/>
                  <a:ext cx="26791" cy="26478"/>
                </a:xfrm>
                <a:custGeom>
                  <a:avLst/>
                  <a:gdLst>
                    <a:gd name="connsiteX0" fmla="*/ 191 w 26791"/>
                    <a:gd name="connsiteY0" fmla="*/ 15357 h 26478"/>
                    <a:gd name="connsiteX1" fmla="*/ 11152 w 26791"/>
                    <a:gd name="connsiteY1" fmla="*/ 161 h 26478"/>
                    <a:gd name="connsiteX2" fmla="*/ 26597 w 26791"/>
                    <a:gd name="connsiteY2" fmla="*/ 11122 h 26478"/>
                    <a:gd name="connsiteX3" fmla="*/ 15636 w 26791"/>
                    <a:gd name="connsiteY3" fmla="*/ 26318 h 26478"/>
                    <a:gd name="connsiteX4" fmla="*/ 191 w 2679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1" h="26477">
                      <a:moveTo>
                        <a:pt x="191" y="15357"/>
                      </a:moveTo>
                      <a:cubicBezTo>
                        <a:pt x="-1055" y="8132"/>
                        <a:pt x="3928" y="1282"/>
                        <a:pt x="11152" y="161"/>
                      </a:cubicBezTo>
                      <a:cubicBezTo>
                        <a:pt x="18377" y="-960"/>
                        <a:pt x="25352" y="3897"/>
                        <a:pt x="26597" y="11122"/>
                      </a:cubicBezTo>
                      <a:cubicBezTo>
                        <a:pt x="27843" y="18346"/>
                        <a:pt x="22985" y="25197"/>
                        <a:pt x="15636" y="26318"/>
                      </a:cubicBezTo>
                      <a:cubicBezTo>
                        <a:pt x="8412"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1" name="Freeform 7402">
                  <a:extLst>
                    <a:ext uri="{FF2B5EF4-FFF2-40B4-BE49-F238E27FC236}">
                      <a16:creationId xmlns:a16="http://schemas.microsoft.com/office/drawing/2014/main" id="{D3EAB029-EBEE-2C4A-BA0A-C74751CAB999}"/>
                    </a:ext>
                  </a:extLst>
                </p:cNvPr>
                <p:cNvSpPr/>
                <p:nvPr/>
              </p:nvSpPr>
              <p:spPr>
                <a:xfrm>
                  <a:off x="7937350" y="1720714"/>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7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699" y="25534"/>
                        <a:pt x="6315" y="28150"/>
                        <a:pt x="7935" y="35125"/>
                      </a:cubicBezTo>
                      <a:cubicBezTo>
                        <a:pt x="9554" y="41851"/>
                        <a:pt x="9180" y="47706"/>
                        <a:pt x="855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2" name="Freeform 7403">
                  <a:extLst>
                    <a:ext uri="{FF2B5EF4-FFF2-40B4-BE49-F238E27FC236}">
                      <a16:creationId xmlns:a16="http://schemas.microsoft.com/office/drawing/2014/main" id="{9AC1B325-97F9-3208-B031-D784F01FBC99}"/>
                    </a:ext>
                  </a:extLst>
                </p:cNvPr>
                <p:cNvSpPr/>
                <p:nvPr/>
              </p:nvSpPr>
              <p:spPr>
                <a:xfrm>
                  <a:off x="7943915" y="1714610"/>
                  <a:ext cx="9466" cy="51317"/>
                </a:xfrm>
                <a:custGeom>
                  <a:avLst/>
                  <a:gdLst>
                    <a:gd name="connsiteX0" fmla="*/ 9467 w 9466"/>
                    <a:gd name="connsiteY0" fmla="*/ 51318 h 51317"/>
                    <a:gd name="connsiteX1" fmla="*/ 4359 w 9466"/>
                    <a:gd name="connsiteY1" fmla="*/ 33257 h 51317"/>
                    <a:gd name="connsiteX2" fmla="*/ 4857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51318"/>
                      </a:moveTo>
                      <a:cubicBezTo>
                        <a:pt x="5604" y="43844"/>
                        <a:pt x="4609" y="37492"/>
                        <a:pt x="4359" y="33257"/>
                      </a:cubicBezTo>
                      <a:cubicBezTo>
                        <a:pt x="3986" y="26282"/>
                        <a:pt x="5481" y="22919"/>
                        <a:pt x="4857"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3" name="Freeform 7404">
                  <a:extLst>
                    <a:ext uri="{FF2B5EF4-FFF2-40B4-BE49-F238E27FC236}">
                      <a16:creationId xmlns:a16="http://schemas.microsoft.com/office/drawing/2014/main" id="{64BD1354-389C-08A4-0D3F-332A53B824FA}"/>
                    </a:ext>
                  </a:extLst>
                </p:cNvPr>
                <p:cNvSpPr/>
                <p:nvPr/>
              </p:nvSpPr>
              <p:spPr>
                <a:xfrm>
                  <a:off x="7927029" y="1699876"/>
                  <a:ext cx="26422" cy="26478"/>
                </a:xfrm>
                <a:custGeom>
                  <a:avLst/>
                  <a:gdLst>
                    <a:gd name="connsiteX0" fmla="*/ 26228 w 26422"/>
                    <a:gd name="connsiteY0" fmla="*/ 11122 h 26478"/>
                    <a:gd name="connsiteX1" fmla="*/ 15391 w 26422"/>
                    <a:gd name="connsiteY1" fmla="*/ 26318 h 26478"/>
                    <a:gd name="connsiteX2" fmla="*/ 195 w 26422"/>
                    <a:gd name="connsiteY2" fmla="*/ 15357 h 26478"/>
                    <a:gd name="connsiteX3" fmla="*/ 11031 w 26422"/>
                    <a:gd name="connsiteY3" fmla="*/ 161 h 26478"/>
                    <a:gd name="connsiteX4" fmla="*/ 26228 w 2642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8" y="11122"/>
                      </a:moveTo>
                      <a:cubicBezTo>
                        <a:pt x="27473" y="18346"/>
                        <a:pt x="22615" y="25072"/>
                        <a:pt x="15391" y="26318"/>
                      </a:cubicBezTo>
                      <a:cubicBezTo>
                        <a:pt x="8167" y="27439"/>
                        <a:pt x="1316" y="22581"/>
                        <a:pt x="195" y="15357"/>
                      </a:cubicBezTo>
                      <a:cubicBezTo>
                        <a:pt x="-1051" y="8132"/>
                        <a:pt x="3807" y="1406"/>
                        <a:pt x="11031" y="161"/>
                      </a:cubicBezTo>
                      <a:cubicBezTo>
                        <a:pt x="18131" y="-960"/>
                        <a:pt x="24982" y="3898"/>
                        <a:pt x="2622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5" name="Graphic 2987">
                <a:extLst>
                  <a:ext uri="{FF2B5EF4-FFF2-40B4-BE49-F238E27FC236}">
                    <a16:creationId xmlns:a16="http://schemas.microsoft.com/office/drawing/2014/main" id="{E3912559-AF3A-31F3-5358-F191FC0D019E}"/>
                  </a:ext>
                </a:extLst>
              </p:cNvPr>
              <p:cNvGrpSpPr/>
              <p:nvPr/>
            </p:nvGrpSpPr>
            <p:grpSpPr>
              <a:xfrm>
                <a:off x="7897883" y="1704610"/>
                <a:ext cx="46845" cy="147175"/>
                <a:chOff x="7897883" y="1704610"/>
                <a:chExt cx="46845" cy="147175"/>
              </a:xfrm>
              <a:grpFill/>
            </p:grpSpPr>
            <p:sp>
              <p:nvSpPr>
                <p:cNvPr id="6702" name="Freeform 7406">
                  <a:extLst>
                    <a:ext uri="{FF2B5EF4-FFF2-40B4-BE49-F238E27FC236}">
                      <a16:creationId xmlns:a16="http://schemas.microsoft.com/office/drawing/2014/main" id="{861DFF1E-2680-15D1-1815-B396903EFF7D}"/>
                    </a:ext>
                  </a:extLst>
                </p:cNvPr>
                <p:cNvSpPr/>
                <p:nvPr/>
              </p:nvSpPr>
              <p:spPr>
                <a:xfrm>
                  <a:off x="7925322" y="1779380"/>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1"/>
                        <a:pt x="8504" y="36994"/>
                        <a:pt x="7383" y="32759"/>
                      </a:cubicBezTo>
                      <a:cubicBezTo>
                        <a:pt x="5514"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3" name="Freeform 7407">
                  <a:extLst>
                    <a:ext uri="{FF2B5EF4-FFF2-40B4-BE49-F238E27FC236}">
                      <a16:creationId xmlns:a16="http://schemas.microsoft.com/office/drawing/2014/main" id="{E2B04481-FBD7-10E1-AD95-65442ACC119E}"/>
                    </a:ext>
                  </a:extLst>
                </p:cNvPr>
                <p:cNvSpPr/>
                <p:nvPr/>
              </p:nvSpPr>
              <p:spPr>
                <a:xfrm>
                  <a:off x="7918380" y="1785733"/>
                  <a:ext cx="9341" cy="51442"/>
                </a:xfrm>
                <a:custGeom>
                  <a:avLst/>
                  <a:gdLst>
                    <a:gd name="connsiteX0" fmla="*/ 0 w 9341"/>
                    <a:gd name="connsiteY0" fmla="*/ 0 h 51442"/>
                    <a:gd name="connsiteX1" fmla="*/ 5107 w 9341"/>
                    <a:gd name="connsiteY1" fmla="*/ 18185 h 51442"/>
                    <a:gd name="connsiteX2" fmla="*/ 4485 w 9341"/>
                    <a:gd name="connsiteY2" fmla="*/ 35624 h 51442"/>
                    <a:gd name="connsiteX3" fmla="*/ 9342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0" y="0"/>
                      </a:moveTo>
                      <a:cubicBezTo>
                        <a:pt x="3737" y="7473"/>
                        <a:pt x="4858" y="13826"/>
                        <a:pt x="5107" y="18185"/>
                      </a:cubicBezTo>
                      <a:cubicBezTo>
                        <a:pt x="5481" y="25161"/>
                        <a:pt x="3862" y="28524"/>
                        <a:pt x="4485" y="35624"/>
                      </a:cubicBezTo>
                      <a:cubicBezTo>
                        <a:pt x="5107" y="42474"/>
                        <a:pt x="7474" y="47955"/>
                        <a:pt x="934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4" name="Freeform 7408">
                  <a:extLst>
                    <a:ext uri="{FF2B5EF4-FFF2-40B4-BE49-F238E27FC236}">
                      <a16:creationId xmlns:a16="http://schemas.microsoft.com/office/drawing/2014/main" id="{BBB83005-2237-A16A-1B1A-DF02E4C58886}"/>
                    </a:ext>
                  </a:extLst>
                </p:cNvPr>
                <p:cNvSpPr/>
                <p:nvPr/>
              </p:nvSpPr>
              <p:spPr>
                <a:xfrm>
                  <a:off x="7918065" y="1825306"/>
                  <a:ext cx="26663" cy="26478"/>
                </a:xfrm>
                <a:custGeom>
                  <a:avLst/>
                  <a:gdLst>
                    <a:gd name="connsiteX0" fmla="*/ 191 w 26663"/>
                    <a:gd name="connsiteY0" fmla="*/ 15357 h 26478"/>
                    <a:gd name="connsiteX1" fmla="*/ 11152 w 26663"/>
                    <a:gd name="connsiteY1" fmla="*/ 161 h 26478"/>
                    <a:gd name="connsiteX2" fmla="*/ 26473 w 26663"/>
                    <a:gd name="connsiteY2" fmla="*/ 11122 h 26478"/>
                    <a:gd name="connsiteX3" fmla="*/ 15511 w 26663"/>
                    <a:gd name="connsiteY3" fmla="*/ 26318 h 26478"/>
                    <a:gd name="connsiteX4" fmla="*/ 191 w 2666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77">
                      <a:moveTo>
                        <a:pt x="191" y="15357"/>
                      </a:moveTo>
                      <a:cubicBezTo>
                        <a:pt x="-1055" y="8132"/>
                        <a:pt x="3928" y="1282"/>
                        <a:pt x="11152" y="161"/>
                      </a:cubicBezTo>
                      <a:cubicBezTo>
                        <a:pt x="18376" y="-960"/>
                        <a:pt x="25351" y="3898"/>
                        <a:pt x="26473" y="11122"/>
                      </a:cubicBezTo>
                      <a:cubicBezTo>
                        <a:pt x="27718" y="18346"/>
                        <a:pt x="22736" y="25197"/>
                        <a:pt x="15511" y="26318"/>
                      </a:cubicBezTo>
                      <a:cubicBezTo>
                        <a:pt x="8287"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5" name="Freeform 7409">
                  <a:extLst>
                    <a:ext uri="{FF2B5EF4-FFF2-40B4-BE49-F238E27FC236}">
                      <a16:creationId xmlns:a16="http://schemas.microsoft.com/office/drawing/2014/main" id="{955DCFA7-2BD2-96C9-91F3-18FF27096AD9}"/>
                    </a:ext>
                  </a:extLst>
                </p:cNvPr>
                <p:cNvSpPr/>
                <p:nvPr/>
              </p:nvSpPr>
              <p:spPr>
                <a:xfrm>
                  <a:off x="7908325" y="1725322"/>
                  <a:ext cx="8968" cy="51566"/>
                </a:xfrm>
                <a:custGeom>
                  <a:avLst/>
                  <a:gdLst>
                    <a:gd name="connsiteX0" fmla="*/ 464 w 8968"/>
                    <a:gd name="connsiteY0" fmla="*/ 0 h 51566"/>
                    <a:gd name="connsiteX1" fmla="*/ 1585 w 8968"/>
                    <a:gd name="connsiteY1" fmla="*/ 18808 h 51566"/>
                    <a:gd name="connsiteX2" fmla="*/ 7813 w 8968"/>
                    <a:gd name="connsiteY2" fmla="*/ 35125 h 51566"/>
                    <a:gd name="connsiteX3" fmla="*/ 8436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464" y="0"/>
                      </a:moveTo>
                      <a:cubicBezTo>
                        <a:pt x="-657" y="8345"/>
                        <a:pt x="464" y="14573"/>
                        <a:pt x="1585" y="18808"/>
                      </a:cubicBezTo>
                      <a:cubicBezTo>
                        <a:pt x="3454" y="25534"/>
                        <a:pt x="6070" y="28150"/>
                        <a:pt x="7813" y="35125"/>
                      </a:cubicBezTo>
                      <a:cubicBezTo>
                        <a:pt x="9432" y="41851"/>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6" name="Freeform 7410">
                  <a:extLst>
                    <a:ext uri="{FF2B5EF4-FFF2-40B4-BE49-F238E27FC236}">
                      <a16:creationId xmlns:a16="http://schemas.microsoft.com/office/drawing/2014/main" id="{F8B90B0C-AD72-4BDC-53B3-FB2D76B05D9A}"/>
                    </a:ext>
                  </a:extLst>
                </p:cNvPr>
                <p:cNvSpPr/>
                <p:nvPr/>
              </p:nvSpPr>
              <p:spPr>
                <a:xfrm>
                  <a:off x="7914643" y="1719219"/>
                  <a:ext cx="9466" cy="51442"/>
                </a:xfrm>
                <a:custGeom>
                  <a:avLst/>
                  <a:gdLst>
                    <a:gd name="connsiteX0" fmla="*/ 9467 w 9466"/>
                    <a:gd name="connsiteY0" fmla="*/ 51442 h 51442"/>
                    <a:gd name="connsiteX1" fmla="*/ 4360 w 9466"/>
                    <a:gd name="connsiteY1" fmla="*/ 33257 h 51442"/>
                    <a:gd name="connsiteX2" fmla="*/ 4858 w 9466"/>
                    <a:gd name="connsiteY2" fmla="*/ 15819 h 51442"/>
                    <a:gd name="connsiteX3" fmla="*/ 0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9467" y="51442"/>
                      </a:moveTo>
                      <a:cubicBezTo>
                        <a:pt x="5730" y="43969"/>
                        <a:pt x="4609" y="37616"/>
                        <a:pt x="4360" y="33257"/>
                      </a:cubicBezTo>
                      <a:cubicBezTo>
                        <a:pt x="3986" y="26282"/>
                        <a:pt x="5605" y="22919"/>
                        <a:pt x="4858"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7" name="Freeform 7411">
                  <a:extLst>
                    <a:ext uri="{FF2B5EF4-FFF2-40B4-BE49-F238E27FC236}">
                      <a16:creationId xmlns:a16="http://schemas.microsoft.com/office/drawing/2014/main" id="{A8BBC782-9B28-3688-A614-FD3DAED59AB4}"/>
                    </a:ext>
                  </a:extLst>
                </p:cNvPr>
                <p:cNvSpPr/>
                <p:nvPr/>
              </p:nvSpPr>
              <p:spPr>
                <a:xfrm>
                  <a:off x="7897883" y="1704610"/>
                  <a:ext cx="26422" cy="26508"/>
                </a:xfrm>
                <a:custGeom>
                  <a:avLst/>
                  <a:gdLst>
                    <a:gd name="connsiteX0" fmla="*/ 26227 w 26422"/>
                    <a:gd name="connsiteY0" fmla="*/ 11122 h 26508"/>
                    <a:gd name="connsiteX1" fmla="*/ 15391 w 26422"/>
                    <a:gd name="connsiteY1" fmla="*/ 26318 h 26508"/>
                    <a:gd name="connsiteX2" fmla="*/ 195 w 26422"/>
                    <a:gd name="connsiteY2" fmla="*/ 15357 h 26508"/>
                    <a:gd name="connsiteX3" fmla="*/ 11031 w 26422"/>
                    <a:gd name="connsiteY3" fmla="*/ 161 h 26508"/>
                    <a:gd name="connsiteX4" fmla="*/ 26227 w 26422"/>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1122"/>
                      </a:moveTo>
                      <a:cubicBezTo>
                        <a:pt x="27473" y="18346"/>
                        <a:pt x="22615" y="25072"/>
                        <a:pt x="15391" y="26318"/>
                      </a:cubicBezTo>
                      <a:cubicBezTo>
                        <a:pt x="8166" y="27563"/>
                        <a:pt x="1316" y="22581"/>
                        <a:pt x="195" y="15357"/>
                      </a:cubicBezTo>
                      <a:cubicBezTo>
                        <a:pt x="-1051" y="8132"/>
                        <a:pt x="3807" y="1282"/>
                        <a:pt x="11031" y="161"/>
                      </a:cubicBezTo>
                      <a:cubicBezTo>
                        <a:pt x="18255" y="-960"/>
                        <a:pt x="25106" y="3897"/>
                        <a:pt x="26227"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6" name="Graphic 2987">
                <a:extLst>
                  <a:ext uri="{FF2B5EF4-FFF2-40B4-BE49-F238E27FC236}">
                    <a16:creationId xmlns:a16="http://schemas.microsoft.com/office/drawing/2014/main" id="{C35307EE-CE1E-DD2A-59F2-DD095B88DA0C}"/>
                  </a:ext>
                </a:extLst>
              </p:cNvPr>
              <p:cNvGrpSpPr/>
              <p:nvPr/>
            </p:nvGrpSpPr>
            <p:grpSpPr>
              <a:xfrm>
                <a:off x="7868894" y="1709313"/>
                <a:ext cx="46313" cy="147235"/>
                <a:chOff x="7868894" y="1709313"/>
                <a:chExt cx="46313" cy="147235"/>
              </a:xfrm>
              <a:grpFill/>
            </p:grpSpPr>
            <p:sp>
              <p:nvSpPr>
                <p:cNvPr id="6696" name="Freeform 7413">
                  <a:extLst>
                    <a:ext uri="{FF2B5EF4-FFF2-40B4-BE49-F238E27FC236}">
                      <a16:creationId xmlns:a16="http://schemas.microsoft.com/office/drawing/2014/main" id="{8992279B-DDE6-BE1B-245A-FA0F63BD76F7}"/>
                    </a:ext>
                  </a:extLst>
                </p:cNvPr>
                <p:cNvSpPr/>
                <p:nvPr/>
              </p:nvSpPr>
              <p:spPr>
                <a:xfrm>
                  <a:off x="7895991" y="1784114"/>
                  <a:ext cx="8926" cy="51566"/>
                </a:xfrm>
                <a:custGeom>
                  <a:avLst/>
                  <a:gdLst>
                    <a:gd name="connsiteX0" fmla="*/ 8439 w 8926"/>
                    <a:gd name="connsiteY0" fmla="*/ 51567 h 51566"/>
                    <a:gd name="connsiteX1" fmla="*/ 7318 w 8926"/>
                    <a:gd name="connsiteY1" fmla="*/ 32759 h 51566"/>
                    <a:gd name="connsiteX2" fmla="*/ 1090 w 8926"/>
                    <a:gd name="connsiteY2" fmla="*/ 16442 h 51566"/>
                    <a:gd name="connsiteX3" fmla="*/ 591 w 8926"/>
                    <a:gd name="connsiteY3" fmla="*/ 0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51567"/>
                      </a:moveTo>
                      <a:cubicBezTo>
                        <a:pt x="9560" y="43222"/>
                        <a:pt x="8563" y="36994"/>
                        <a:pt x="7318" y="32759"/>
                      </a:cubicBezTo>
                      <a:cubicBezTo>
                        <a:pt x="5449" y="26033"/>
                        <a:pt x="2834" y="23417"/>
                        <a:pt x="1090" y="16442"/>
                      </a:cubicBezTo>
                      <a:cubicBezTo>
                        <a:pt x="-529" y="9716"/>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7" name="Freeform 7414">
                  <a:extLst>
                    <a:ext uri="{FF2B5EF4-FFF2-40B4-BE49-F238E27FC236}">
                      <a16:creationId xmlns:a16="http://schemas.microsoft.com/office/drawing/2014/main" id="{1719CEA7-5B36-57C9-4915-A97495688A59}"/>
                    </a:ext>
                  </a:extLst>
                </p:cNvPr>
                <p:cNvSpPr/>
                <p:nvPr/>
              </p:nvSpPr>
              <p:spPr>
                <a:xfrm>
                  <a:off x="7889109" y="1790466"/>
                  <a:ext cx="9217" cy="51442"/>
                </a:xfrm>
                <a:custGeom>
                  <a:avLst/>
                  <a:gdLst>
                    <a:gd name="connsiteX0" fmla="*/ 0 w 9217"/>
                    <a:gd name="connsiteY0" fmla="*/ 0 h 51442"/>
                    <a:gd name="connsiteX1" fmla="*/ 4983 w 9217"/>
                    <a:gd name="connsiteY1" fmla="*/ 18185 h 51442"/>
                    <a:gd name="connsiteX2" fmla="*/ 4359 w 9217"/>
                    <a:gd name="connsiteY2" fmla="*/ 35624 h 51442"/>
                    <a:gd name="connsiteX3" fmla="*/ 9217 w 92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7" h="51442">
                      <a:moveTo>
                        <a:pt x="0" y="0"/>
                      </a:moveTo>
                      <a:cubicBezTo>
                        <a:pt x="3737" y="7598"/>
                        <a:pt x="4733" y="13826"/>
                        <a:pt x="4983" y="18185"/>
                      </a:cubicBezTo>
                      <a:cubicBezTo>
                        <a:pt x="5356" y="25161"/>
                        <a:pt x="3737" y="28524"/>
                        <a:pt x="4359" y="35624"/>
                      </a:cubicBezTo>
                      <a:cubicBezTo>
                        <a:pt x="4983" y="42474"/>
                        <a:pt x="7349" y="47955"/>
                        <a:pt x="921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8" name="Freeform 7415">
                  <a:extLst>
                    <a:ext uri="{FF2B5EF4-FFF2-40B4-BE49-F238E27FC236}">
                      <a16:creationId xmlns:a16="http://schemas.microsoft.com/office/drawing/2014/main" id="{CA3CB609-0887-5D94-3B58-20B24DF8385E}"/>
                    </a:ext>
                  </a:extLst>
                </p:cNvPr>
                <p:cNvSpPr/>
                <p:nvPr/>
              </p:nvSpPr>
              <p:spPr>
                <a:xfrm>
                  <a:off x="7888575" y="1830039"/>
                  <a:ext cx="26633" cy="26508"/>
                </a:xfrm>
                <a:custGeom>
                  <a:avLst/>
                  <a:gdLst>
                    <a:gd name="connsiteX0" fmla="*/ 161 w 26633"/>
                    <a:gd name="connsiteY0" fmla="*/ 15357 h 26508"/>
                    <a:gd name="connsiteX1" fmla="*/ 11121 w 26633"/>
                    <a:gd name="connsiteY1" fmla="*/ 161 h 26508"/>
                    <a:gd name="connsiteX2" fmla="*/ 26442 w 26633"/>
                    <a:gd name="connsiteY2" fmla="*/ 11122 h 26508"/>
                    <a:gd name="connsiteX3" fmla="*/ 15481 w 26633"/>
                    <a:gd name="connsiteY3" fmla="*/ 26318 h 26508"/>
                    <a:gd name="connsiteX4" fmla="*/ 161 w 26633"/>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08">
                      <a:moveTo>
                        <a:pt x="161" y="15357"/>
                      </a:moveTo>
                      <a:cubicBezTo>
                        <a:pt x="-961" y="8132"/>
                        <a:pt x="3897" y="1282"/>
                        <a:pt x="11121" y="161"/>
                      </a:cubicBezTo>
                      <a:cubicBezTo>
                        <a:pt x="18346" y="-960"/>
                        <a:pt x="25196" y="3897"/>
                        <a:pt x="26442" y="11122"/>
                      </a:cubicBezTo>
                      <a:cubicBezTo>
                        <a:pt x="27688" y="18346"/>
                        <a:pt x="22706" y="25197"/>
                        <a:pt x="15481" y="26318"/>
                      </a:cubicBezTo>
                      <a:cubicBezTo>
                        <a:pt x="8257" y="27563"/>
                        <a:pt x="1406"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9" name="Freeform 7416">
                  <a:extLst>
                    <a:ext uri="{FF2B5EF4-FFF2-40B4-BE49-F238E27FC236}">
                      <a16:creationId xmlns:a16="http://schemas.microsoft.com/office/drawing/2014/main" id="{12BEFC0E-B2DD-6E93-FC76-14312BDAA121}"/>
                    </a:ext>
                  </a:extLst>
                </p:cNvPr>
                <p:cNvSpPr/>
                <p:nvPr/>
              </p:nvSpPr>
              <p:spPr>
                <a:xfrm>
                  <a:off x="7879155" y="1730056"/>
                  <a:ext cx="8802" cy="51566"/>
                </a:xfrm>
                <a:custGeom>
                  <a:avLst/>
                  <a:gdLst>
                    <a:gd name="connsiteX0" fmla="*/ 488 w 8802"/>
                    <a:gd name="connsiteY0" fmla="*/ 0 h 51566"/>
                    <a:gd name="connsiteX1" fmla="*/ 1609 w 8802"/>
                    <a:gd name="connsiteY1" fmla="*/ 18808 h 51566"/>
                    <a:gd name="connsiteX2" fmla="*/ 7712 w 8802"/>
                    <a:gd name="connsiteY2" fmla="*/ 35125 h 51566"/>
                    <a:gd name="connsiteX3" fmla="*/ 8210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488" y="0"/>
                      </a:moveTo>
                      <a:cubicBezTo>
                        <a:pt x="-633" y="8345"/>
                        <a:pt x="363" y="14573"/>
                        <a:pt x="1609" y="18808"/>
                      </a:cubicBezTo>
                      <a:cubicBezTo>
                        <a:pt x="3477" y="25534"/>
                        <a:pt x="6093" y="28275"/>
                        <a:pt x="7712" y="35125"/>
                      </a:cubicBezTo>
                      <a:cubicBezTo>
                        <a:pt x="9332" y="41851"/>
                        <a:pt x="8834" y="47706"/>
                        <a:pt x="821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0" name="Freeform 7417">
                  <a:extLst>
                    <a:ext uri="{FF2B5EF4-FFF2-40B4-BE49-F238E27FC236}">
                      <a16:creationId xmlns:a16="http://schemas.microsoft.com/office/drawing/2014/main" id="{8FD09DD1-C044-10E1-C5D7-683E37877DDA}"/>
                    </a:ext>
                  </a:extLst>
                </p:cNvPr>
                <p:cNvSpPr/>
                <p:nvPr/>
              </p:nvSpPr>
              <p:spPr>
                <a:xfrm>
                  <a:off x="7885870" y="1723828"/>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4"/>
                        <a:pt x="4360" y="37616"/>
                        <a:pt x="4111" y="33257"/>
                      </a:cubicBezTo>
                      <a:cubicBezTo>
                        <a:pt x="3737" y="26282"/>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1" name="Freeform 7418">
                  <a:extLst>
                    <a:ext uri="{FF2B5EF4-FFF2-40B4-BE49-F238E27FC236}">
                      <a16:creationId xmlns:a16="http://schemas.microsoft.com/office/drawing/2014/main" id="{412E1CF4-BD10-B9D7-7624-F3EA753C4CFC}"/>
                    </a:ext>
                  </a:extLst>
                </p:cNvPr>
                <p:cNvSpPr/>
                <p:nvPr/>
              </p:nvSpPr>
              <p:spPr>
                <a:xfrm>
                  <a:off x="7868894" y="1709313"/>
                  <a:ext cx="26388" cy="26508"/>
                </a:xfrm>
                <a:custGeom>
                  <a:avLst/>
                  <a:gdLst>
                    <a:gd name="connsiteX0" fmla="*/ 26193 w 26388"/>
                    <a:gd name="connsiteY0" fmla="*/ 11152 h 26508"/>
                    <a:gd name="connsiteX1" fmla="*/ 15357 w 26388"/>
                    <a:gd name="connsiteY1" fmla="*/ 26348 h 26508"/>
                    <a:gd name="connsiteX2" fmla="*/ 161 w 26388"/>
                    <a:gd name="connsiteY2" fmla="*/ 15387 h 26508"/>
                    <a:gd name="connsiteX3" fmla="*/ 10997 w 26388"/>
                    <a:gd name="connsiteY3" fmla="*/ 191 h 26508"/>
                    <a:gd name="connsiteX4" fmla="*/ 26193 w 26388"/>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8">
                      <a:moveTo>
                        <a:pt x="26193" y="11152"/>
                      </a:moveTo>
                      <a:cubicBezTo>
                        <a:pt x="27439" y="18376"/>
                        <a:pt x="22581" y="25227"/>
                        <a:pt x="15357" y="26348"/>
                      </a:cubicBezTo>
                      <a:cubicBezTo>
                        <a:pt x="8133" y="27469"/>
                        <a:pt x="1406" y="22611"/>
                        <a:pt x="161" y="15387"/>
                      </a:cubicBezTo>
                      <a:cubicBezTo>
                        <a:pt x="-960" y="8163"/>
                        <a:pt x="3898" y="1312"/>
                        <a:pt x="10997" y="191"/>
                      </a:cubicBezTo>
                      <a:cubicBezTo>
                        <a:pt x="18097" y="-1055"/>
                        <a:pt x="24948"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7" name="Graphic 2987">
                <a:extLst>
                  <a:ext uri="{FF2B5EF4-FFF2-40B4-BE49-F238E27FC236}">
                    <a16:creationId xmlns:a16="http://schemas.microsoft.com/office/drawing/2014/main" id="{0F0D295B-775F-8FB4-AE0B-627AEED927C2}"/>
                  </a:ext>
                </a:extLst>
              </p:cNvPr>
              <p:cNvGrpSpPr/>
              <p:nvPr/>
            </p:nvGrpSpPr>
            <p:grpSpPr>
              <a:xfrm>
                <a:off x="7839623" y="1713951"/>
                <a:ext cx="46313" cy="147329"/>
                <a:chOff x="7839623" y="1713951"/>
                <a:chExt cx="46313" cy="147329"/>
              </a:xfrm>
              <a:grpFill/>
            </p:grpSpPr>
            <p:sp>
              <p:nvSpPr>
                <p:cNvPr id="6690" name="Freeform 7420">
                  <a:extLst>
                    <a:ext uri="{FF2B5EF4-FFF2-40B4-BE49-F238E27FC236}">
                      <a16:creationId xmlns:a16="http://schemas.microsoft.com/office/drawing/2014/main" id="{38CCD12D-A472-1751-AC36-67B319805156}"/>
                    </a:ext>
                  </a:extLst>
                </p:cNvPr>
                <p:cNvSpPr/>
                <p:nvPr/>
              </p:nvSpPr>
              <p:spPr>
                <a:xfrm>
                  <a:off x="7866844" y="1788847"/>
                  <a:ext cx="8681" cy="51566"/>
                </a:xfrm>
                <a:custGeom>
                  <a:avLst/>
                  <a:gdLst>
                    <a:gd name="connsiteX0" fmla="*/ 8190 w 8681"/>
                    <a:gd name="connsiteY0" fmla="*/ 51567 h 51566"/>
                    <a:gd name="connsiteX1" fmla="*/ 7193 w 8681"/>
                    <a:gd name="connsiteY1" fmla="*/ 32759 h 51566"/>
                    <a:gd name="connsiteX2" fmla="*/ 1090 w 8681"/>
                    <a:gd name="connsiteY2" fmla="*/ 16442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1" y="43222"/>
                        <a:pt x="8314" y="36994"/>
                        <a:pt x="7193" y="32759"/>
                      </a:cubicBezTo>
                      <a:cubicBezTo>
                        <a:pt x="5325" y="26033"/>
                        <a:pt x="2709" y="23292"/>
                        <a:pt x="1090" y="16442"/>
                      </a:cubicBezTo>
                      <a:cubicBezTo>
                        <a:pt x="-530"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1" name="Freeform 7421">
                  <a:extLst>
                    <a:ext uri="{FF2B5EF4-FFF2-40B4-BE49-F238E27FC236}">
                      <a16:creationId xmlns:a16="http://schemas.microsoft.com/office/drawing/2014/main" id="{05BCEAF9-6A2E-D125-0A39-09333DF461FE}"/>
                    </a:ext>
                  </a:extLst>
                </p:cNvPr>
                <p:cNvSpPr/>
                <p:nvPr/>
              </p:nvSpPr>
              <p:spPr>
                <a:xfrm>
                  <a:off x="7859838" y="1795199"/>
                  <a:ext cx="9092" cy="51442"/>
                </a:xfrm>
                <a:custGeom>
                  <a:avLst/>
                  <a:gdLst>
                    <a:gd name="connsiteX0" fmla="*/ 0 w 9092"/>
                    <a:gd name="connsiteY0" fmla="*/ 0 h 51442"/>
                    <a:gd name="connsiteX1" fmla="*/ 4982 w 9092"/>
                    <a:gd name="connsiteY1" fmla="*/ 18185 h 51442"/>
                    <a:gd name="connsiteX2" fmla="*/ 4359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598"/>
                        <a:pt x="4733" y="13826"/>
                        <a:pt x="4982" y="18185"/>
                      </a:cubicBezTo>
                      <a:cubicBezTo>
                        <a:pt x="5356" y="25161"/>
                        <a:pt x="3737" y="28524"/>
                        <a:pt x="4359" y="35624"/>
                      </a:cubicBezTo>
                      <a:cubicBezTo>
                        <a:pt x="4982" y="42474"/>
                        <a:pt x="7224"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2" name="Freeform 7422">
                  <a:extLst>
                    <a:ext uri="{FF2B5EF4-FFF2-40B4-BE49-F238E27FC236}">
                      <a16:creationId xmlns:a16="http://schemas.microsoft.com/office/drawing/2014/main" id="{9C2C9504-CCF6-8DAA-1C81-72160A85D531}"/>
                    </a:ext>
                  </a:extLst>
                </p:cNvPr>
                <p:cNvSpPr/>
                <p:nvPr/>
              </p:nvSpPr>
              <p:spPr>
                <a:xfrm>
                  <a:off x="7859179" y="1834772"/>
                  <a:ext cx="26757" cy="26508"/>
                </a:xfrm>
                <a:custGeom>
                  <a:avLst/>
                  <a:gdLst>
                    <a:gd name="connsiteX0" fmla="*/ 161 w 26757"/>
                    <a:gd name="connsiteY0" fmla="*/ 15357 h 26508"/>
                    <a:gd name="connsiteX1" fmla="*/ 11246 w 26757"/>
                    <a:gd name="connsiteY1" fmla="*/ 161 h 26508"/>
                    <a:gd name="connsiteX2" fmla="*/ 26567 w 26757"/>
                    <a:gd name="connsiteY2" fmla="*/ 11122 h 26508"/>
                    <a:gd name="connsiteX3" fmla="*/ 15482 w 26757"/>
                    <a:gd name="connsiteY3" fmla="*/ 26318 h 26508"/>
                    <a:gd name="connsiteX4" fmla="*/ 161 w 26757"/>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508">
                      <a:moveTo>
                        <a:pt x="161" y="15357"/>
                      </a:moveTo>
                      <a:cubicBezTo>
                        <a:pt x="-960" y="8132"/>
                        <a:pt x="3898" y="1282"/>
                        <a:pt x="11246" y="161"/>
                      </a:cubicBezTo>
                      <a:cubicBezTo>
                        <a:pt x="18471" y="-960"/>
                        <a:pt x="25321" y="3897"/>
                        <a:pt x="26567" y="11122"/>
                      </a:cubicBezTo>
                      <a:cubicBezTo>
                        <a:pt x="27813" y="18346"/>
                        <a:pt x="22830" y="25197"/>
                        <a:pt x="15482" y="26318"/>
                      </a:cubicBezTo>
                      <a:cubicBezTo>
                        <a:pt x="8132" y="27563"/>
                        <a:pt x="1282"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3" name="Freeform 7423">
                  <a:extLst>
                    <a:ext uri="{FF2B5EF4-FFF2-40B4-BE49-F238E27FC236}">
                      <a16:creationId xmlns:a16="http://schemas.microsoft.com/office/drawing/2014/main" id="{6E5B3C36-7BDB-FE1A-1ACF-74152ADF2008}"/>
                    </a:ext>
                  </a:extLst>
                </p:cNvPr>
                <p:cNvSpPr/>
                <p:nvPr/>
              </p:nvSpPr>
              <p:spPr>
                <a:xfrm>
                  <a:off x="7850005" y="1734789"/>
                  <a:ext cx="8680" cy="51566"/>
                </a:xfrm>
                <a:custGeom>
                  <a:avLst/>
                  <a:gdLst>
                    <a:gd name="connsiteX0" fmla="*/ 492 w 8680"/>
                    <a:gd name="connsiteY0" fmla="*/ 0 h 51566"/>
                    <a:gd name="connsiteX1" fmla="*/ 1488 w 8680"/>
                    <a:gd name="connsiteY1" fmla="*/ 18808 h 51566"/>
                    <a:gd name="connsiteX2" fmla="*/ 7592 w 8680"/>
                    <a:gd name="connsiteY2" fmla="*/ 35125 h 51566"/>
                    <a:gd name="connsiteX3" fmla="*/ 8089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492" y="0"/>
                      </a:moveTo>
                      <a:cubicBezTo>
                        <a:pt x="-630" y="8345"/>
                        <a:pt x="367" y="14573"/>
                        <a:pt x="1488" y="18808"/>
                      </a:cubicBezTo>
                      <a:cubicBezTo>
                        <a:pt x="3356" y="25534"/>
                        <a:pt x="5972" y="28275"/>
                        <a:pt x="7592" y="35125"/>
                      </a:cubicBezTo>
                      <a:cubicBezTo>
                        <a:pt x="9210" y="41851"/>
                        <a:pt x="8712" y="47706"/>
                        <a:pt x="808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4" name="Freeform 7424">
                  <a:extLst>
                    <a:ext uri="{FF2B5EF4-FFF2-40B4-BE49-F238E27FC236}">
                      <a16:creationId xmlns:a16="http://schemas.microsoft.com/office/drawing/2014/main" id="{A9F6C0EB-64B5-BEFB-AAE1-C1C400B7D563}"/>
                    </a:ext>
                  </a:extLst>
                </p:cNvPr>
                <p:cNvSpPr/>
                <p:nvPr/>
              </p:nvSpPr>
              <p:spPr>
                <a:xfrm>
                  <a:off x="7856600" y="1728561"/>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844"/>
                        <a:pt x="4359" y="37616"/>
                        <a:pt x="4111" y="33257"/>
                      </a:cubicBezTo>
                      <a:cubicBezTo>
                        <a:pt x="3737" y="26282"/>
                        <a:pt x="5356" y="22919"/>
                        <a:pt x="4733" y="15819"/>
                      </a:cubicBezTo>
                      <a:cubicBezTo>
                        <a:pt x="4111"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5" name="Freeform 7425">
                  <a:extLst>
                    <a:ext uri="{FF2B5EF4-FFF2-40B4-BE49-F238E27FC236}">
                      <a16:creationId xmlns:a16="http://schemas.microsoft.com/office/drawing/2014/main" id="{43D7F910-53B5-158C-B91E-85E54E42E555}"/>
                    </a:ext>
                  </a:extLst>
                </p:cNvPr>
                <p:cNvSpPr/>
                <p:nvPr/>
              </p:nvSpPr>
              <p:spPr>
                <a:xfrm>
                  <a:off x="7839623" y="1713951"/>
                  <a:ext cx="26478" cy="26478"/>
                </a:xfrm>
                <a:custGeom>
                  <a:avLst/>
                  <a:gdLst>
                    <a:gd name="connsiteX0" fmla="*/ 26318 w 26478"/>
                    <a:gd name="connsiteY0" fmla="*/ 11122 h 26478"/>
                    <a:gd name="connsiteX1" fmla="*/ 15357 w 26478"/>
                    <a:gd name="connsiteY1" fmla="*/ 26318 h 26478"/>
                    <a:gd name="connsiteX2" fmla="*/ 161 w 26478"/>
                    <a:gd name="connsiteY2" fmla="*/ 15357 h 26478"/>
                    <a:gd name="connsiteX3" fmla="*/ 11122 w 26478"/>
                    <a:gd name="connsiteY3" fmla="*/ 161 h 26478"/>
                    <a:gd name="connsiteX4" fmla="*/ 26318 w 2647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477">
                      <a:moveTo>
                        <a:pt x="26318" y="11122"/>
                      </a:moveTo>
                      <a:cubicBezTo>
                        <a:pt x="27439" y="18346"/>
                        <a:pt x="22582" y="25197"/>
                        <a:pt x="15357" y="26318"/>
                      </a:cubicBezTo>
                      <a:cubicBezTo>
                        <a:pt x="8133" y="27439"/>
                        <a:pt x="1407" y="22581"/>
                        <a:pt x="161" y="15357"/>
                      </a:cubicBezTo>
                      <a:cubicBezTo>
                        <a:pt x="-960" y="8132"/>
                        <a:pt x="3898" y="1282"/>
                        <a:pt x="11122" y="161"/>
                      </a:cubicBezTo>
                      <a:cubicBezTo>
                        <a:pt x="18346" y="-960"/>
                        <a:pt x="25197" y="3897"/>
                        <a:pt x="2631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8" name="Graphic 2987">
                <a:extLst>
                  <a:ext uri="{FF2B5EF4-FFF2-40B4-BE49-F238E27FC236}">
                    <a16:creationId xmlns:a16="http://schemas.microsoft.com/office/drawing/2014/main" id="{4F39C6FD-EDB4-D99B-3786-3EAB6000AAE7}"/>
                  </a:ext>
                </a:extLst>
              </p:cNvPr>
              <p:cNvGrpSpPr/>
              <p:nvPr/>
            </p:nvGrpSpPr>
            <p:grpSpPr>
              <a:xfrm>
                <a:off x="7810602" y="1718654"/>
                <a:ext cx="45781" cy="147333"/>
                <a:chOff x="7810602" y="1718654"/>
                <a:chExt cx="45781" cy="147333"/>
              </a:xfrm>
              <a:grpFill/>
            </p:grpSpPr>
            <p:sp>
              <p:nvSpPr>
                <p:cNvPr id="6684" name="Freeform 7427">
                  <a:extLst>
                    <a:ext uri="{FF2B5EF4-FFF2-40B4-BE49-F238E27FC236}">
                      <a16:creationId xmlns:a16="http://schemas.microsoft.com/office/drawing/2014/main" id="{87C8F7A2-6092-C6B9-0306-9035C5BE77B0}"/>
                    </a:ext>
                  </a:extLst>
                </p:cNvPr>
                <p:cNvSpPr/>
                <p:nvPr/>
              </p:nvSpPr>
              <p:spPr>
                <a:xfrm>
                  <a:off x="7837324" y="1793705"/>
                  <a:ext cx="8736" cy="51566"/>
                </a:xfrm>
                <a:custGeom>
                  <a:avLst/>
                  <a:gdLst>
                    <a:gd name="connsiteX0" fmla="*/ 8190 w 8736"/>
                    <a:gd name="connsiteY0" fmla="*/ 51567 h 51566"/>
                    <a:gd name="connsiteX1" fmla="*/ 7193 w 8736"/>
                    <a:gd name="connsiteY1" fmla="*/ 32759 h 51566"/>
                    <a:gd name="connsiteX2" fmla="*/ 1090 w 8736"/>
                    <a:gd name="connsiteY2" fmla="*/ 16442 h 51566"/>
                    <a:gd name="connsiteX3" fmla="*/ 592 w 8736"/>
                    <a:gd name="connsiteY3" fmla="*/ 0 h 51566"/>
                  </a:gdLst>
                  <a:ahLst/>
                  <a:cxnLst>
                    <a:cxn ang="0">
                      <a:pos x="connsiteX0" y="connsiteY0"/>
                    </a:cxn>
                    <a:cxn ang="0">
                      <a:pos x="connsiteX1" y="connsiteY1"/>
                    </a:cxn>
                    <a:cxn ang="0">
                      <a:pos x="connsiteX2" y="connsiteY2"/>
                    </a:cxn>
                    <a:cxn ang="0">
                      <a:pos x="connsiteX3" y="connsiteY3"/>
                    </a:cxn>
                  </a:cxnLst>
                  <a:rect l="l" t="t" r="r" b="b"/>
                  <a:pathLst>
                    <a:path w="8736" h="51566">
                      <a:moveTo>
                        <a:pt x="8190" y="51567"/>
                      </a:moveTo>
                      <a:cubicBezTo>
                        <a:pt x="9435" y="43222"/>
                        <a:pt x="8314" y="36994"/>
                        <a:pt x="7193" y="32759"/>
                      </a:cubicBezTo>
                      <a:cubicBezTo>
                        <a:pt x="5325" y="26033"/>
                        <a:pt x="2709" y="23292"/>
                        <a:pt x="1090" y="16442"/>
                      </a:cubicBezTo>
                      <a:cubicBezTo>
                        <a:pt x="-530" y="9716"/>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5" name="Freeform 7428">
                  <a:extLst>
                    <a:ext uri="{FF2B5EF4-FFF2-40B4-BE49-F238E27FC236}">
                      <a16:creationId xmlns:a16="http://schemas.microsoft.com/office/drawing/2014/main" id="{557DA5F8-FC09-0EAC-7ADF-E51DEBF052D0}"/>
                    </a:ext>
                  </a:extLst>
                </p:cNvPr>
                <p:cNvSpPr/>
                <p:nvPr/>
              </p:nvSpPr>
              <p:spPr>
                <a:xfrm>
                  <a:off x="7830442" y="1799932"/>
                  <a:ext cx="8843" cy="51442"/>
                </a:xfrm>
                <a:custGeom>
                  <a:avLst/>
                  <a:gdLst>
                    <a:gd name="connsiteX0" fmla="*/ 0 w 8843"/>
                    <a:gd name="connsiteY0" fmla="*/ 0 h 51442"/>
                    <a:gd name="connsiteX1" fmla="*/ 4858 w 8843"/>
                    <a:gd name="connsiteY1" fmla="*/ 18185 h 51442"/>
                    <a:gd name="connsiteX2" fmla="*/ 4111 w 8843"/>
                    <a:gd name="connsiteY2" fmla="*/ 35624 h 51442"/>
                    <a:gd name="connsiteX3" fmla="*/ 8844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0" y="0"/>
                      </a:moveTo>
                      <a:cubicBezTo>
                        <a:pt x="3737" y="7598"/>
                        <a:pt x="4733" y="13826"/>
                        <a:pt x="4858" y="18185"/>
                      </a:cubicBezTo>
                      <a:cubicBezTo>
                        <a:pt x="5232" y="25161"/>
                        <a:pt x="3488" y="28524"/>
                        <a:pt x="4111" y="35624"/>
                      </a:cubicBezTo>
                      <a:cubicBezTo>
                        <a:pt x="4733" y="42474"/>
                        <a:pt x="6975" y="47955"/>
                        <a:pt x="884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6" name="Freeform 7429">
                  <a:extLst>
                    <a:ext uri="{FF2B5EF4-FFF2-40B4-BE49-F238E27FC236}">
                      <a16:creationId xmlns:a16="http://schemas.microsoft.com/office/drawing/2014/main" id="{7CBDDDB4-714B-D87A-6B77-0D3595684B08}"/>
                    </a:ext>
                  </a:extLst>
                </p:cNvPr>
                <p:cNvSpPr/>
                <p:nvPr/>
              </p:nvSpPr>
              <p:spPr>
                <a:xfrm>
                  <a:off x="7829662" y="1839506"/>
                  <a:ext cx="26721" cy="26481"/>
                </a:xfrm>
                <a:custGeom>
                  <a:avLst/>
                  <a:gdLst>
                    <a:gd name="connsiteX0" fmla="*/ 157 w 26721"/>
                    <a:gd name="connsiteY0" fmla="*/ 15357 h 26481"/>
                    <a:gd name="connsiteX1" fmla="*/ 11243 w 26721"/>
                    <a:gd name="connsiteY1" fmla="*/ 161 h 26481"/>
                    <a:gd name="connsiteX2" fmla="*/ 26564 w 26721"/>
                    <a:gd name="connsiteY2" fmla="*/ 11122 h 26481"/>
                    <a:gd name="connsiteX3" fmla="*/ 15479 w 26721"/>
                    <a:gd name="connsiteY3" fmla="*/ 26318 h 26481"/>
                    <a:gd name="connsiteX4" fmla="*/ 157 w 26721"/>
                    <a:gd name="connsiteY4" fmla="*/ 15357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81">
                      <a:moveTo>
                        <a:pt x="157" y="15357"/>
                      </a:moveTo>
                      <a:cubicBezTo>
                        <a:pt x="-963" y="8132"/>
                        <a:pt x="4019" y="1282"/>
                        <a:pt x="11243" y="161"/>
                      </a:cubicBezTo>
                      <a:cubicBezTo>
                        <a:pt x="18468" y="-960"/>
                        <a:pt x="25318" y="3897"/>
                        <a:pt x="26564" y="11122"/>
                      </a:cubicBezTo>
                      <a:cubicBezTo>
                        <a:pt x="27685" y="18346"/>
                        <a:pt x="22702" y="25197"/>
                        <a:pt x="15479" y="26318"/>
                      </a:cubicBezTo>
                      <a:cubicBezTo>
                        <a:pt x="8254" y="27439"/>
                        <a:pt x="1403" y="22706"/>
                        <a:pt x="15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7" name="Freeform 7430">
                  <a:extLst>
                    <a:ext uri="{FF2B5EF4-FFF2-40B4-BE49-F238E27FC236}">
                      <a16:creationId xmlns:a16="http://schemas.microsoft.com/office/drawing/2014/main" id="{5E9A1A06-D47E-0AA5-D247-1C6E71B33029}"/>
                    </a:ext>
                  </a:extLst>
                </p:cNvPr>
                <p:cNvSpPr/>
                <p:nvPr/>
              </p:nvSpPr>
              <p:spPr>
                <a:xfrm>
                  <a:off x="7820858" y="1739522"/>
                  <a:ext cx="8666" cy="51691"/>
                </a:xfrm>
                <a:custGeom>
                  <a:avLst/>
                  <a:gdLst>
                    <a:gd name="connsiteX0" fmla="*/ 491 w 8666"/>
                    <a:gd name="connsiteY0" fmla="*/ 0 h 51691"/>
                    <a:gd name="connsiteX1" fmla="*/ 1488 w 8666"/>
                    <a:gd name="connsiteY1" fmla="*/ 18808 h 51691"/>
                    <a:gd name="connsiteX2" fmla="*/ 7591 w 8666"/>
                    <a:gd name="connsiteY2" fmla="*/ 35125 h 51691"/>
                    <a:gd name="connsiteX3" fmla="*/ 7965 w 86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666" h="51690">
                      <a:moveTo>
                        <a:pt x="491" y="0"/>
                      </a:moveTo>
                      <a:cubicBezTo>
                        <a:pt x="-629" y="8345"/>
                        <a:pt x="367" y="14573"/>
                        <a:pt x="1488" y="18808"/>
                      </a:cubicBezTo>
                      <a:cubicBezTo>
                        <a:pt x="3356" y="25534"/>
                        <a:pt x="5972" y="28275"/>
                        <a:pt x="7591" y="35125"/>
                      </a:cubicBezTo>
                      <a:cubicBezTo>
                        <a:pt x="9210" y="41851"/>
                        <a:pt x="8713" y="47706"/>
                        <a:pt x="796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8" name="Freeform 7431">
                  <a:extLst>
                    <a:ext uri="{FF2B5EF4-FFF2-40B4-BE49-F238E27FC236}">
                      <a16:creationId xmlns:a16="http://schemas.microsoft.com/office/drawing/2014/main" id="{A822298F-9ADE-4FDB-8E88-22012A8825AC}"/>
                    </a:ext>
                  </a:extLst>
                </p:cNvPr>
                <p:cNvSpPr/>
                <p:nvPr/>
              </p:nvSpPr>
              <p:spPr>
                <a:xfrm>
                  <a:off x="7827453" y="1733294"/>
                  <a:ext cx="8968" cy="51442"/>
                </a:xfrm>
                <a:custGeom>
                  <a:avLst/>
                  <a:gdLst>
                    <a:gd name="connsiteX0" fmla="*/ 8969 w 8968"/>
                    <a:gd name="connsiteY0" fmla="*/ 51442 h 51442"/>
                    <a:gd name="connsiteX1" fmla="*/ 4111 w 8968"/>
                    <a:gd name="connsiteY1" fmla="*/ 33257 h 51442"/>
                    <a:gd name="connsiteX2" fmla="*/ 4733 w 8968"/>
                    <a:gd name="connsiteY2" fmla="*/ 15819 h 51442"/>
                    <a:gd name="connsiteX3" fmla="*/ 0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8969" y="51442"/>
                      </a:moveTo>
                      <a:cubicBezTo>
                        <a:pt x="5232" y="43844"/>
                        <a:pt x="4235" y="37616"/>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9" name="Freeform 7432">
                  <a:extLst>
                    <a:ext uri="{FF2B5EF4-FFF2-40B4-BE49-F238E27FC236}">
                      <a16:creationId xmlns:a16="http://schemas.microsoft.com/office/drawing/2014/main" id="{784C1194-190F-93F2-47DC-287280F29892}"/>
                    </a:ext>
                  </a:extLst>
                </p:cNvPr>
                <p:cNvSpPr/>
                <p:nvPr/>
              </p:nvSpPr>
              <p:spPr>
                <a:xfrm>
                  <a:off x="7810602" y="1718654"/>
                  <a:ext cx="26353" cy="26508"/>
                </a:xfrm>
                <a:custGeom>
                  <a:avLst/>
                  <a:gdLst>
                    <a:gd name="connsiteX0" fmla="*/ 26193 w 26353"/>
                    <a:gd name="connsiteY0" fmla="*/ 11152 h 26508"/>
                    <a:gd name="connsiteX1" fmla="*/ 15232 w 26353"/>
                    <a:gd name="connsiteY1" fmla="*/ 26348 h 26508"/>
                    <a:gd name="connsiteX2" fmla="*/ 161 w 26353"/>
                    <a:gd name="connsiteY2" fmla="*/ 15387 h 26508"/>
                    <a:gd name="connsiteX3" fmla="*/ 11122 w 26353"/>
                    <a:gd name="connsiteY3" fmla="*/ 191 h 26508"/>
                    <a:gd name="connsiteX4" fmla="*/ 26193 w 2635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08">
                      <a:moveTo>
                        <a:pt x="26193" y="11152"/>
                      </a:moveTo>
                      <a:cubicBezTo>
                        <a:pt x="27314" y="18376"/>
                        <a:pt x="22456" y="25227"/>
                        <a:pt x="15232" y="26348"/>
                      </a:cubicBezTo>
                      <a:cubicBezTo>
                        <a:pt x="8008" y="27469"/>
                        <a:pt x="1281" y="22611"/>
                        <a:pt x="161" y="15387"/>
                      </a:cubicBezTo>
                      <a:cubicBezTo>
                        <a:pt x="-961" y="8163"/>
                        <a:pt x="3897" y="1312"/>
                        <a:pt x="11122" y="191"/>
                      </a:cubicBezTo>
                      <a:cubicBezTo>
                        <a:pt x="18346" y="-1055"/>
                        <a:pt x="25072"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9" name="Graphic 2987">
                <a:extLst>
                  <a:ext uri="{FF2B5EF4-FFF2-40B4-BE49-F238E27FC236}">
                    <a16:creationId xmlns:a16="http://schemas.microsoft.com/office/drawing/2014/main" id="{B744E26F-9945-4B0F-665C-0AEE3798B354}"/>
                  </a:ext>
                </a:extLst>
              </p:cNvPr>
              <p:cNvGrpSpPr/>
              <p:nvPr/>
            </p:nvGrpSpPr>
            <p:grpSpPr>
              <a:xfrm>
                <a:off x="7781580" y="1723388"/>
                <a:ext cx="45283" cy="147454"/>
                <a:chOff x="7781580" y="1723388"/>
                <a:chExt cx="45283" cy="147454"/>
              </a:xfrm>
              <a:grpFill/>
            </p:grpSpPr>
            <p:sp>
              <p:nvSpPr>
                <p:cNvPr id="6678" name="Freeform 7434">
                  <a:extLst>
                    <a:ext uri="{FF2B5EF4-FFF2-40B4-BE49-F238E27FC236}">
                      <a16:creationId xmlns:a16="http://schemas.microsoft.com/office/drawing/2014/main" id="{F8ADE50D-E9CA-90DB-4152-58C1E3C1CC8A}"/>
                    </a:ext>
                  </a:extLst>
                </p:cNvPr>
                <p:cNvSpPr/>
                <p:nvPr/>
              </p:nvSpPr>
              <p:spPr>
                <a:xfrm>
                  <a:off x="7808286" y="1798313"/>
                  <a:ext cx="8408" cy="51691"/>
                </a:xfrm>
                <a:custGeom>
                  <a:avLst/>
                  <a:gdLst>
                    <a:gd name="connsiteX0" fmla="*/ 7832 w 8408"/>
                    <a:gd name="connsiteY0" fmla="*/ 51691 h 51691"/>
                    <a:gd name="connsiteX1" fmla="*/ 6960 w 8408"/>
                    <a:gd name="connsiteY1" fmla="*/ 32883 h 51691"/>
                    <a:gd name="connsiteX2" fmla="*/ 982 w 8408"/>
                    <a:gd name="connsiteY2" fmla="*/ 16566 h 51691"/>
                    <a:gd name="connsiteX3" fmla="*/ 608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7832" y="51691"/>
                      </a:moveTo>
                      <a:cubicBezTo>
                        <a:pt x="9077" y="43346"/>
                        <a:pt x="8082" y="37118"/>
                        <a:pt x="6960" y="32883"/>
                      </a:cubicBezTo>
                      <a:cubicBezTo>
                        <a:pt x="5092" y="26157"/>
                        <a:pt x="2476"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9" name="Freeform 7435">
                  <a:extLst>
                    <a:ext uri="{FF2B5EF4-FFF2-40B4-BE49-F238E27FC236}">
                      <a16:creationId xmlns:a16="http://schemas.microsoft.com/office/drawing/2014/main" id="{25FD6C1E-1E81-3117-1009-A58EB91CB534}"/>
                    </a:ext>
                  </a:extLst>
                </p:cNvPr>
                <p:cNvSpPr/>
                <p:nvPr/>
              </p:nvSpPr>
              <p:spPr>
                <a:xfrm>
                  <a:off x="7801171" y="1804666"/>
                  <a:ext cx="8719" cy="51442"/>
                </a:xfrm>
                <a:custGeom>
                  <a:avLst/>
                  <a:gdLst>
                    <a:gd name="connsiteX0" fmla="*/ 0 w 8719"/>
                    <a:gd name="connsiteY0" fmla="*/ 0 h 51442"/>
                    <a:gd name="connsiteX1" fmla="*/ 4858 w 8719"/>
                    <a:gd name="connsiteY1" fmla="*/ 18185 h 51442"/>
                    <a:gd name="connsiteX2" fmla="*/ 4111 w 8719"/>
                    <a:gd name="connsiteY2" fmla="*/ 35624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107" y="25161"/>
                        <a:pt x="3488" y="28524"/>
                        <a:pt x="4111" y="35624"/>
                      </a:cubicBezTo>
                      <a:cubicBezTo>
                        <a:pt x="4733" y="42474"/>
                        <a:pt x="6975" y="47955"/>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0" name="Freeform 7436">
                  <a:extLst>
                    <a:ext uri="{FF2B5EF4-FFF2-40B4-BE49-F238E27FC236}">
                      <a16:creationId xmlns:a16="http://schemas.microsoft.com/office/drawing/2014/main" id="{5434495B-2FDF-D64D-87BC-46A75592411F}"/>
                    </a:ext>
                  </a:extLst>
                </p:cNvPr>
                <p:cNvSpPr/>
                <p:nvPr/>
              </p:nvSpPr>
              <p:spPr>
                <a:xfrm>
                  <a:off x="7800266" y="1844363"/>
                  <a:ext cx="26596" cy="26478"/>
                </a:xfrm>
                <a:custGeom>
                  <a:avLst/>
                  <a:gdLst>
                    <a:gd name="connsiteX0" fmla="*/ 158 w 26596"/>
                    <a:gd name="connsiteY0" fmla="*/ 15357 h 26478"/>
                    <a:gd name="connsiteX1" fmla="*/ 11243 w 26596"/>
                    <a:gd name="connsiteY1" fmla="*/ 161 h 26478"/>
                    <a:gd name="connsiteX2" fmla="*/ 26439 w 26596"/>
                    <a:gd name="connsiteY2" fmla="*/ 11122 h 26478"/>
                    <a:gd name="connsiteX3" fmla="*/ 15353 w 26596"/>
                    <a:gd name="connsiteY3" fmla="*/ 26318 h 26478"/>
                    <a:gd name="connsiteX4" fmla="*/ 158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158" y="15357"/>
                      </a:moveTo>
                      <a:cubicBezTo>
                        <a:pt x="-964" y="8132"/>
                        <a:pt x="4019" y="1282"/>
                        <a:pt x="11243" y="161"/>
                      </a:cubicBezTo>
                      <a:cubicBezTo>
                        <a:pt x="18467" y="-960"/>
                        <a:pt x="25319" y="3897"/>
                        <a:pt x="26439" y="11122"/>
                      </a:cubicBezTo>
                      <a:cubicBezTo>
                        <a:pt x="27560" y="18346"/>
                        <a:pt x="22578" y="25197"/>
                        <a:pt x="15353" y="26318"/>
                      </a:cubicBezTo>
                      <a:cubicBezTo>
                        <a:pt x="8130" y="27439"/>
                        <a:pt x="1279"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1" name="Freeform 7437">
                  <a:extLst>
                    <a:ext uri="{FF2B5EF4-FFF2-40B4-BE49-F238E27FC236}">
                      <a16:creationId xmlns:a16="http://schemas.microsoft.com/office/drawing/2014/main" id="{67F7149B-1470-7D19-7DC7-395E47391506}"/>
                    </a:ext>
                  </a:extLst>
                </p:cNvPr>
                <p:cNvSpPr/>
                <p:nvPr/>
              </p:nvSpPr>
              <p:spPr>
                <a:xfrm>
                  <a:off x="7791627" y="1744131"/>
                  <a:ext cx="8408" cy="51691"/>
                </a:xfrm>
                <a:custGeom>
                  <a:avLst/>
                  <a:gdLst>
                    <a:gd name="connsiteX0" fmla="*/ 577 w 8408"/>
                    <a:gd name="connsiteY0" fmla="*/ 0 h 51691"/>
                    <a:gd name="connsiteX1" fmla="*/ 1448 w 8408"/>
                    <a:gd name="connsiteY1" fmla="*/ 18808 h 51691"/>
                    <a:gd name="connsiteX2" fmla="*/ 7428 w 8408"/>
                    <a:gd name="connsiteY2" fmla="*/ 35125 h 51691"/>
                    <a:gd name="connsiteX3" fmla="*/ 7801 w 840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8" h="51690">
                      <a:moveTo>
                        <a:pt x="577" y="0"/>
                      </a:moveTo>
                      <a:cubicBezTo>
                        <a:pt x="-669" y="8345"/>
                        <a:pt x="328" y="14573"/>
                        <a:pt x="1448" y="18808"/>
                      </a:cubicBezTo>
                      <a:cubicBezTo>
                        <a:pt x="3317" y="25534"/>
                        <a:pt x="5808" y="28275"/>
                        <a:pt x="7428" y="35125"/>
                      </a:cubicBezTo>
                      <a:cubicBezTo>
                        <a:pt x="8922" y="41851"/>
                        <a:pt x="8423" y="47706"/>
                        <a:pt x="78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2" name="Freeform 7438">
                  <a:extLst>
                    <a:ext uri="{FF2B5EF4-FFF2-40B4-BE49-F238E27FC236}">
                      <a16:creationId xmlns:a16="http://schemas.microsoft.com/office/drawing/2014/main" id="{86727BE5-9D19-9C63-D864-B656C3E09ED8}"/>
                    </a:ext>
                  </a:extLst>
                </p:cNvPr>
                <p:cNvSpPr/>
                <p:nvPr/>
              </p:nvSpPr>
              <p:spPr>
                <a:xfrm>
                  <a:off x="7798431" y="1738027"/>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2"/>
                        <a:pt x="5231" y="22919"/>
                        <a:pt x="4609" y="15819"/>
                      </a:cubicBezTo>
                      <a:cubicBezTo>
                        <a:pt x="3985"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3" name="Freeform 7439">
                  <a:extLst>
                    <a:ext uri="{FF2B5EF4-FFF2-40B4-BE49-F238E27FC236}">
                      <a16:creationId xmlns:a16="http://schemas.microsoft.com/office/drawing/2014/main" id="{25C9B2F6-6F3F-658C-449D-FA7E5989D36B}"/>
                    </a:ext>
                  </a:extLst>
                </p:cNvPr>
                <p:cNvSpPr/>
                <p:nvPr/>
              </p:nvSpPr>
              <p:spPr>
                <a:xfrm>
                  <a:off x="7781580" y="1723388"/>
                  <a:ext cx="26354" cy="26508"/>
                </a:xfrm>
                <a:custGeom>
                  <a:avLst/>
                  <a:gdLst>
                    <a:gd name="connsiteX0" fmla="*/ 26194 w 26354"/>
                    <a:gd name="connsiteY0" fmla="*/ 11152 h 26508"/>
                    <a:gd name="connsiteX1" fmla="*/ 15233 w 26354"/>
                    <a:gd name="connsiteY1" fmla="*/ 26348 h 26508"/>
                    <a:gd name="connsiteX2" fmla="*/ 161 w 26354"/>
                    <a:gd name="connsiteY2" fmla="*/ 15387 h 26508"/>
                    <a:gd name="connsiteX3" fmla="*/ 11122 w 26354"/>
                    <a:gd name="connsiteY3" fmla="*/ 191 h 26508"/>
                    <a:gd name="connsiteX4" fmla="*/ 26194 w 26354"/>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08">
                      <a:moveTo>
                        <a:pt x="26194" y="11152"/>
                      </a:moveTo>
                      <a:cubicBezTo>
                        <a:pt x="27314" y="18376"/>
                        <a:pt x="22456" y="25227"/>
                        <a:pt x="15233" y="26348"/>
                      </a:cubicBezTo>
                      <a:cubicBezTo>
                        <a:pt x="8008" y="27469"/>
                        <a:pt x="1282" y="22611"/>
                        <a:pt x="161" y="15387"/>
                      </a:cubicBezTo>
                      <a:cubicBezTo>
                        <a:pt x="-961" y="8163"/>
                        <a:pt x="3897" y="1312"/>
                        <a:pt x="11122" y="191"/>
                      </a:cubicBezTo>
                      <a:cubicBezTo>
                        <a:pt x="18222" y="-1055"/>
                        <a:pt x="25072" y="3928"/>
                        <a:pt x="26194"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0" name="Graphic 2987">
                <a:extLst>
                  <a:ext uri="{FF2B5EF4-FFF2-40B4-BE49-F238E27FC236}">
                    <a16:creationId xmlns:a16="http://schemas.microsoft.com/office/drawing/2014/main" id="{8DDBD73E-7AB7-34FA-21A1-F55016B79E2F}"/>
                  </a:ext>
                </a:extLst>
              </p:cNvPr>
              <p:cNvGrpSpPr/>
              <p:nvPr/>
            </p:nvGrpSpPr>
            <p:grpSpPr>
              <a:xfrm>
                <a:off x="7752436" y="1728026"/>
                <a:ext cx="45031" cy="147548"/>
                <a:chOff x="7752436" y="1728026"/>
                <a:chExt cx="45031" cy="147548"/>
              </a:xfrm>
              <a:grpFill/>
            </p:grpSpPr>
            <p:sp>
              <p:nvSpPr>
                <p:cNvPr id="6672" name="Freeform 7441">
                  <a:extLst>
                    <a:ext uri="{FF2B5EF4-FFF2-40B4-BE49-F238E27FC236}">
                      <a16:creationId xmlns:a16="http://schemas.microsoft.com/office/drawing/2014/main" id="{51E786A7-F68A-846B-21F2-BD2974A6FC26}"/>
                    </a:ext>
                  </a:extLst>
                </p:cNvPr>
                <p:cNvSpPr/>
                <p:nvPr/>
              </p:nvSpPr>
              <p:spPr>
                <a:xfrm>
                  <a:off x="7778890" y="1803046"/>
                  <a:ext cx="8409" cy="51691"/>
                </a:xfrm>
                <a:custGeom>
                  <a:avLst/>
                  <a:gdLst>
                    <a:gd name="connsiteX0" fmla="*/ 7833 w 8409"/>
                    <a:gd name="connsiteY0" fmla="*/ 51691 h 51691"/>
                    <a:gd name="connsiteX1" fmla="*/ 6961 w 8409"/>
                    <a:gd name="connsiteY1" fmla="*/ 32883 h 51691"/>
                    <a:gd name="connsiteX2" fmla="*/ 981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3" y="51691"/>
                      </a:moveTo>
                      <a:cubicBezTo>
                        <a:pt x="9078" y="43346"/>
                        <a:pt x="8081" y="37118"/>
                        <a:pt x="6961" y="32883"/>
                      </a:cubicBezTo>
                      <a:cubicBezTo>
                        <a:pt x="5092" y="26157"/>
                        <a:pt x="2601" y="23417"/>
                        <a:pt x="981"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3" name="Freeform 7442">
                  <a:extLst>
                    <a:ext uri="{FF2B5EF4-FFF2-40B4-BE49-F238E27FC236}">
                      <a16:creationId xmlns:a16="http://schemas.microsoft.com/office/drawing/2014/main" id="{057D33A6-124E-EB17-93C6-D999724AF217}"/>
                    </a:ext>
                  </a:extLst>
                </p:cNvPr>
                <p:cNvSpPr/>
                <p:nvPr/>
              </p:nvSpPr>
              <p:spPr>
                <a:xfrm>
                  <a:off x="7771901" y="1809399"/>
                  <a:ext cx="8469" cy="51442"/>
                </a:xfrm>
                <a:custGeom>
                  <a:avLst/>
                  <a:gdLst>
                    <a:gd name="connsiteX0" fmla="*/ 0 w 8469"/>
                    <a:gd name="connsiteY0" fmla="*/ 0 h 51442"/>
                    <a:gd name="connsiteX1" fmla="*/ 4733 w 8469"/>
                    <a:gd name="connsiteY1" fmla="*/ 18185 h 51442"/>
                    <a:gd name="connsiteX2" fmla="*/ 3861 w 8469"/>
                    <a:gd name="connsiteY2" fmla="*/ 35623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2" y="7598"/>
                        <a:pt x="4609" y="13826"/>
                        <a:pt x="4733" y="18185"/>
                      </a:cubicBezTo>
                      <a:cubicBezTo>
                        <a:pt x="4982" y="25161"/>
                        <a:pt x="3363" y="28524"/>
                        <a:pt x="3861" y="35623"/>
                      </a:cubicBezTo>
                      <a:cubicBezTo>
                        <a:pt x="4359" y="42474"/>
                        <a:pt x="6726"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4" name="Freeform 7443">
                  <a:extLst>
                    <a:ext uri="{FF2B5EF4-FFF2-40B4-BE49-F238E27FC236}">
                      <a16:creationId xmlns:a16="http://schemas.microsoft.com/office/drawing/2014/main" id="{6B2F9BDE-C381-DFB9-9173-0D7526AFA6FB}"/>
                    </a:ext>
                  </a:extLst>
                </p:cNvPr>
                <p:cNvSpPr/>
                <p:nvPr/>
              </p:nvSpPr>
              <p:spPr>
                <a:xfrm>
                  <a:off x="7770746" y="1849096"/>
                  <a:ext cx="26721" cy="26478"/>
                </a:xfrm>
                <a:custGeom>
                  <a:avLst/>
                  <a:gdLst>
                    <a:gd name="connsiteX0" fmla="*/ 158 w 26721"/>
                    <a:gd name="connsiteY0" fmla="*/ 15357 h 26478"/>
                    <a:gd name="connsiteX1" fmla="*/ 11368 w 26721"/>
                    <a:gd name="connsiteY1" fmla="*/ 161 h 26478"/>
                    <a:gd name="connsiteX2" fmla="*/ 26564 w 26721"/>
                    <a:gd name="connsiteY2" fmla="*/ 11122 h 26478"/>
                    <a:gd name="connsiteX3" fmla="*/ 15353 w 26721"/>
                    <a:gd name="connsiteY3" fmla="*/ 26318 h 26478"/>
                    <a:gd name="connsiteX4" fmla="*/ 158 w 2672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77">
                      <a:moveTo>
                        <a:pt x="158" y="15357"/>
                      </a:moveTo>
                      <a:cubicBezTo>
                        <a:pt x="-964" y="8132"/>
                        <a:pt x="4019" y="1282"/>
                        <a:pt x="11368" y="161"/>
                      </a:cubicBezTo>
                      <a:cubicBezTo>
                        <a:pt x="18717" y="-960"/>
                        <a:pt x="25442" y="3898"/>
                        <a:pt x="26564" y="11122"/>
                      </a:cubicBezTo>
                      <a:cubicBezTo>
                        <a:pt x="27685" y="18346"/>
                        <a:pt x="22702" y="25197"/>
                        <a:pt x="15353" y="26318"/>
                      </a:cubicBezTo>
                      <a:cubicBezTo>
                        <a:pt x="8129" y="27439"/>
                        <a:pt x="1278"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5" name="Freeform 7444">
                  <a:extLst>
                    <a:ext uri="{FF2B5EF4-FFF2-40B4-BE49-F238E27FC236}">
                      <a16:creationId xmlns:a16="http://schemas.microsoft.com/office/drawing/2014/main" id="{2F003A9B-8A0F-07C9-26FB-784D69958B5F}"/>
                    </a:ext>
                  </a:extLst>
                </p:cNvPr>
                <p:cNvSpPr/>
                <p:nvPr/>
              </p:nvSpPr>
              <p:spPr>
                <a:xfrm>
                  <a:off x="7762604" y="1748864"/>
                  <a:ext cx="8409" cy="51691"/>
                </a:xfrm>
                <a:custGeom>
                  <a:avLst/>
                  <a:gdLst>
                    <a:gd name="connsiteX0" fmla="*/ 577 w 8409"/>
                    <a:gd name="connsiteY0" fmla="*/ 0 h 51691"/>
                    <a:gd name="connsiteX1" fmla="*/ 1449 w 8409"/>
                    <a:gd name="connsiteY1" fmla="*/ 18808 h 51691"/>
                    <a:gd name="connsiteX2" fmla="*/ 7428 w 8409"/>
                    <a:gd name="connsiteY2" fmla="*/ 35125 h 51691"/>
                    <a:gd name="connsiteX3" fmla="*/ 7802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577" y="0"/>
                      </a:moveTo>
                      <a:cubicBezTo>
                        <a:pt x="-669" y="8345"/>
                        <a:pt x="328" y="14573"/>
                        <a:pt x="1449" y="18808"/>
                      </a:cubicBezTo>
                      <a:cubicBezTo>
                        <a:pt x="3317" y="25534"/>
                        <a:pt x="5808" y="28275"/>
                        <a:pt x="7428" y="35125"/>
                      </a:cubicBezTo>
                      <a:cubicBezTo>
                        <a:pt x="8922" y="41851"/>
                        <a:pt x="8424" y="47706"/>
                        <a:pt x="780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6" name="Freeform 7445">
                  <a:extLst>
                    <a:ext uri="{FF2B5EF4-FFF2-40B4-BE49-F238E27FC236}">
                      <a16:creationId xmlns:a16="http://schemas.microsoft.com/office/drawing/2014/main" id="{172C23B3-71EC-329C-B54D-F0E4F7C14171}"/>
                    </a:ext>
                  </a:extLst>
                </p:cNvPr>
                <p:cNvSpPr/>
                <p:nvPr/>
              </p:nvSpPr>
              <p:spPr>
                <a:xfrm>
                  <a:off x="7769285" y="1742760"/>
                  <a:ext cx="8594" cy="51442"/>
                </a:xfrm>
                <a:custGeom>
                  <a:avLst/>
                  <a:gdLst>
                    <a:gd name="connsiteX0" fmla="*/ 8595 w 8594"/>
                    <a:gd name="connsiteY0" fmla="*/ 51442 h 51442"/>
                    <a:gd name="connsiteX1" fmla="*/ 3861 w 8594"/>
                    <a:gd name="connsiteY1" fmla="*/ 33257 h 51442"/>
                    <a:gd name="connsiteX2" fmla="*/ 4609 w 8594"/>
                    <a:gd name="connsiteY2" fmla="*/ 15819 h 51442"/>
                    <a:gd name="connsiteX3" fmla="*/ 0 w 8594"/>
                    <a:gd name="connsiteY3" fmla="*/ 0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51442"/>
                      </a:moveTo>
                      <a:cubicBezTo>
                        <a:pt x="4983" y="43844"/>
                        <a:pt x="3986" y="37616"/>
                        <a:pt x="3861" y="33257"/>
                      </a:cubicBezTo>
                      <a:cubicBezTo>
                        <a:pt x="3612" y="26282"/>
                        <a:pt x="5231" y="22919"/>
                        <a:pt x="4609" y="15819"/>
                      </a:cubicBezTo>
                      <a:cubicBezTo>
                        <a:pt x="3986"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7" name="Freeform 7446">
                  <a:extLst>
                    <a:ext uri="{FF2B5EF4-FFF2-40B4-BE49-F238E27FC236}">
                      <a16:creationId xmlns:a16="http://schemas.microsoft.com/office/drawing/2014/main" id="{7AC08444-7D22-323A-8901-1680AC1F2974}"/>
                    </a:ext>
                  </a:extLst>
                </p:cNvPr>
                <p:cNvSpPr/>
                <p:nvPr/>
              </p:nvSpPr>
              <p:spPr>
                <a:xfrm>
                  <a:off x="7752436" y="1728026"/>
                  <a:ext cx="26348" cy="26478"/>
                </a:xfrm>
                <a:custGeom>
                  <a:avLst/>
                  <a:gdLst>
                    <a:gd name="connsiteX0" fmla="*/ 26190 w 26348"/>
                    <a:gd name="connsiteY0" fmla="*/ 11122 h 26478"/>
                    <a:gd name="connsiteX1" fmla="*/ 15229 w 26348"/>
                    <a:gd name="connsiteY1" fmla="*/ 26318 h 26478"/>
                    <a:gd name="connsiteX2" fmla="*/ 158 w 26348"/>
                    <a:gd name="connsiteY2" fmla="*/ 15357 h 26478"/>
                    <a:gd name="connsiteX3" fmla="*/ 11119 w 26348"/>
                    <a:gd name="connsiteY3" fmla="*/ 161 h 26478"/>
                    <a:gd name="connsiteX4" fmla="*/ 26190 w 2634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8" h="26477">
                      <a:moveTo>
                        <a:pt x="26190" y="11122"/>
                      </a:moveTo>
                      <a:cubicBezTo>
                        <a:pt x="27312" y="18346"/>
                        <a:pt x="22329" y="25197"/>
                        <a:pt x="15229" y="26318"/>
                      </a:cubicBezTo>
                      <a:cubicBezTo>
                        <a:pt x="8129" y="27439"/>
                        <a:pt x="1279" y="22581"/>
                        <a:pt x="158" y="15357"/>
                      </a:cubicBezTo>
                      <a:cubicBezTo>
                        <a:pt x="-963" y="8132"/>
                        <a:pt x="4019" y="1282"/>
                        <a:pt x="11119" y="161"/>
                      </a:cubicBezTo>
                      <a:cubicBezTo>
                        <a:pt x="18343" y="-960"/>
                        <a:pt x="25069" y="3897"/>
                        <a:pt x="26190"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1" name="Graphic 2987">
                <a:extLst>
                  <a:ext uri="{FF2B5EF4-FFF2-40B4-BE49-F238E27FC236}">
                    <a16:creationId xmlns:a16="http://schemas.microsoft.com/office/drawing/2014/main" id="{B7F4803B-8CB7-5BB0-7EB3-34CD6DF458AF}"/>
                  </a:ext>
                </a:extLst>
              </p:cNvPr>
              <p:cNvGrpSpPr/>
              <p:nvPr/>
            </p:nvGrpSpPr>
            <p:grpSpPr>
              <a:xfrm>
                <a:off x="7723443" y="1732729"/>
                <a:ext cx="44629" cy="147609"/>
                <a:chOff x="7723443" y="1732729"/>
                <a:chExt cx="44629" cy="147609"/>
              </a:xfrm>
              <a:grpFill/>
            </p:grpSpPr>
            <p:sp>
              <p:nvSpPr>
                <p:cNvPr id="6666" name="Freeform 7448">
                  <a:extLst>
                    <a:ext uri="{FF2B5EF4-FFF2-40B4-BE49-F238E27FC236}">
                      <a16:creationId xmlns:a16="http://schemas.microsoft.com/office/drawing/2014/main" id="{524B4D26-5696-285F-B17F-C0ED0BE16AF1}"/>
                    </a:ext>
                  </a:extLst>
                </p:cNvPr>
                <p:cNvSpPr/>
                <p:nvPr/>
              </p:nvSpPr>
              <p:spPr>
                <a:xfrm>
                  <a:off x="7749384" y="1807780"/>
                  <a:ext cx="8395" cy="51691"/>
                </a:xfrm>
                <a:custGeom>
                  <a:avLst/>
                  <a:gdLst>
                    <a:gd name="connsiteX0" fmla="*/ 7819 w 8395"/>
                    <a:gd name="connsiteY0" fmla="*/ 51691 h 51691"/>
                    <a:gd name="connsiteX1" fmla="*/ 6947 w 8395"/>
                    <a:gd name="connsiteY1" fmla="*/ 32883 h 51691"/>
                    <a:gd name="connsiteX2" fmla="*/ 968 w 8395"/>
                    <a:gd name="connsiteY2" fmla="*/ 16566 h 51691"/>
                    <a:gd name="connsiteX3" fmla="*/ 719 w 8395"/>
                    <a:gd name="connsiteY3" fmla="*/ 0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51691"/>
                      </a:moveTo>
                      <a:cubicBezTo>
                        <a:pt x="9064" y="43346"/>
                        <a:pt x="8067" y="37118"/>
                        <a:pt x="6947" y="32883"/>
                      </a:cubicBezTo>
                      <a:cubicBezTo>
                        <a:pt x="5078" y="26157"/>
                        <a:pt x="2587"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7" name="Freeform 7449">
                  <a:extLst>
                    <a:ext uri="{FF2B5EF4-FFF2-40B4-BE49-F238E27FC236}">
                      <a16:creationId xmlns:a16="http://schemas.microsoft.com/office/drawing/2014/main" id="{BA73EDFF-58E3-8596-92B0-AC008B0AC93F}"/>
                    </a:ext>
                  </a:extLst>
                </p:cNvPr>
                <p:cNvSpPr/>
                <p:nvPr/>
              </p:nvSpPr>
              <p:spPr>
                <a:xfrm>
                  <a:off x="7742629" y="1814132"/>
                  <a:ext cx="8469" cy="51442"/>
                </a:xfrm>
                <a:custGeom>
                  <a:avLst/>
                  <a:gdLst>
                    <a:gd name="connsiteX0" fmla="*/ 0 w 8469"/>
                    <a:gd name="connsiteY0" fmla="*/ 0 h 51442"/>
                    <a:gd name="connsiteX1" fmla="*/ 4733 w 8469"/>
                    <a:gd name="connsiteY1" fmla="*/ 18185 h 51442"/>
                    <a:gd name="connsiteX2" fmla="*/ 3861 w 8469"/>
                    <a:gd name="connsiteY2" fmla="*/ 35624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3" y="7598"/>
                        <a:pt x="4609" y="13826"/>
                        <a:pt x="4733" y="18185"/>
                      </a:cubicBezTo>
                      <a:cubicBezTo>
                        <a:pt x="4983" y="25161"/>
                        <a:pt x="3363" y="28524"/>
                        <a:pt x="3861" y="35624"/>
                      </a:cubicBezTo>
                      <a:cubicBezTo>
                        <a:pt x="4360" y="42474"/>
                        <a:pt x="6602"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8" name="Freeform 7450">
                  <a:extLst>
                    <a:ext uri="{FF2B5EF4-FFF2-40B4-BE49-F238E27FC236}">
                      <a16:creationId xmlns:a16="http://schemas.microsoft.com/office/drawing/2014/main" id="{0040ACDD-64F7-28FE-335C-E9C4B738363C}"/>
                    </a:ext>
                  </a:extLst>
                </p:cNvPr>
                <p:cNvSpPr/>
                <p:nvPr/>
              </p:nvSpPr>
              <p:spPr>
                <a:xfrm>
                  <a:off x="7741354" y="1853830"/>
                  <a:ext cx="26718" cy="26508"/>
                </a:xfrm>
                <a:custGeom>
                  <a:avLst/>
                  <a:gdLst>
                    <a:gd name="connsiteX0" fmla="*/ 155 w 26718"/>
                    <a:gd name="connsiteY0" fmla="*/ 15357 h 26508"/>
                    <a:gd name="connsiteX1" fmla="*/ 11364 w 26718"/>
                    <a:gd name="connsiteY1" fmla="*/ 161 h 26508"/>
                    <a:gd name="connsiteX2" fmla="*/ 26561 w 26718"/>
                    <a:gd name="connsiteY2" fmla="*/ 11122 h 26508"/>
                    <a:gd name="connsiteX3" fmla="*/ 15350 w 26718"/>
                    <a:gd name="connsiteY3" fmla="*/ 26318 h 26508"/>
                    <a:gd name="connsiteX4" fmla="*/ 155 w 26718"/>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8">
                      <a:moveTo>
                        <a:pt x="155" y="15357"/>
                      </a:moveTo>
                      <a:cubicBezTo>
                        <a:pt x="-967" y="8132"/>
                        <a:pt x="4140" y="1282"/>
                        <a:pt x="11364" y="161"/>
                      </a:cubicBezTo>
                      <a:cubicBezTo>
                        <a:pt x="18589" y="-960"/>
                        <a:pt x="25439" y="3897"/>
                        <a:pt x="26561" y="11122"/>
                      </a:cubicBezTo>
                      <a:cubicBezTo>
                        <a:pt x="27681" y="18346"/>
                        <a:pt x="22699" y="25197"/>
                        <a:pt x="15350" y="26318"/>
                      </a:cubicBezTo>
                      <a:cubicBezTo>
                        <a:pt x="8002" y="27563"/>
                        <a:pt x="1275" y="22581"/>
                        <a:pt x="155"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9" name="Freeform 7451">
                  <a:extLst>
                    <a:ext uri="{FF2B5EF4-FFF2-40B4-BE49-F238E27FC236}">
                      <a16:creationId xmlns:a16="http://schemas.microsoft.com/office/drawing/2014/main" id="{837FC7CF-88A6-FE38-EDA9-977419D9353D}"/>
                    </a:ext>
                  </a:extLst>
                </p:cNvPr>
                <p:cNvSpPr/>
                <p:nvPr/>
              </p:nvSpPr>
              <p:spPr>
                <a:xfrm>
                  <a:off x="7733458" y="1753597"/>
                  <a:ext cx="8270" cy="51691"/>
                </a:xfrm>
                <a:custGeom>
                  <a:avLst/>
                  <a:gdLst>
                    <a:gd name="connsiteX0" fmla="*/ 576 w 8270"/>
                    <a:gd name="connsiteY0" fmla="*/ 0 h 51691"/>
                    <a:gd name="connsiteX1" fmla="*/ 1448 w 8270"/>
                    <a:gd name="connsiteY1" fmla="*/ 18808 h 51691"/>
                    <a:gd name="connsiteX2" fmla="*/ 7303 w 8270"/>
                    <a:gd name="connsiteY2" fmla="*/ 35125 h 51691"/>
                    <a:gd name="connsiteX3" fmla="*/ 7552 w 827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270" h="51690">
                      <a:moveTo>
                        <a:pt x="576" y="0"/>
                      </a:moveTo>
                      <a:cubicBezTo>
                        <a:pt x="-669" y="8345"/>
                        <a:pt x="328" y="14573"/>
                        <a:pt x="1448" y="18808"/>
                      </a:cubicBezTo>
                      <a:cubicBezTo>
                        <a:pt x="3192" y="25534"/>
                        <a:pt x="5808" y="28275"/>
                        <a:pt x="7303" y="35125"/>
                      </a:cubicBezTo>
                      <a:cubicBezTo>
                        <a:pt x="8798" y="41851"/>
                        <a:pt x="8299" y="47706"/>
                        <a:pt x="755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0" name="Freeform 7452">
                  <a:extLst>
                    <a:ext uri="{FF2B5EF4-FFF2-40B4-BE49-F238E27FC236}">
                      <a16:creationId xmlns:a16="http://schemas.microsoft.com/office/drawing/2014/main" id="{9ECECED3-0E28-4AF2-BEF4-56ED609FE638}"/>
                    </a:ext>
                  </a:extLst>
                </p:cNvPr>
                <p:cNvSpPr/>
                <p:nvPr/>
              </p:nvSpPr>
              <p:spPr>
                <a:xfrm>
                  <a:off x="7740138" y="1747494"/>
                  <a:ext cx="8470" cy="51442"/>
                </a:xfrm>
                <a:custGeom>
                  <a:avLst/>
                  <a:gdLst>
                    <a:gd name="connsiteX0" fmla="*/ 8471 w 8470"/>
                    <a:gd name="connsiteY0" fmla="*/ 51442 h 51442"/>
                    <a:gd name="connsiteX1" fmla="*/ 3737 w 8470"/>
                    <a:gd name="connsiteY1" fmla="*/ 33257 h 51442"/>
                    <a:gd name="connsiteX2" fmla="*/ 4609 w 8470"/>
                    <a:gd name="connsiteY2" fmla="*/ 15819 h 51442"/>
                    <a:gd name="connsiteX3" fmla="*/ 0 w 8470"/>
                    <a:gd name="connsiteY3" fmla="*/ 0 h 51442"/>
                  </a:gdLst>
                  <a:ahLst/>
                  <a:cxnLst>
                    <a:cxn ang="0">
                      <a:pos x="connsiteX0" y="connsiteY0"/>
                    </a:cxn>
                    <a:cxn ang="0">
                      <a:pos x="connsiteX1" y="connsiteY1"/>
                    </a:cxn>
                    <a:cxn ang="0">
                      <a:pos x="connsiteX2" y="connsiteY2"/>
                    </a:cxn>
                    <a:cxn ang="0">
                      <a:pos x="connsiteX3" y="connsiteY3"/>
                    </a:cxn>
                  </a:cxnLst>
                  <a:rect l="l" t="t" r="r" b="b"/>
                  <a:pathLst>
                    <a:path w="8470" h="51442">
                      <a:moveTo>
                        <a:pt x="8471" y="51442"/>
                      </a:moveTo>
                      <a:cubicBezTo>
                        <a:pt x="4858" y="43844"/>
                        <a:pt x="3861" y="37616"/>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1" name="Freeform 7453">
                  <a:extLst>
                    <a:ext uri="{FF2B5EF4-FFF2-40B4-BE49-F238E27FC236}">
                      <a16:creationId xmlns:a16="http://schemas.microsoft.com/office/drawing/2014/main" id="{7E833DC3-3799-63AC-FBFD-6BD30BA506AB}"/>
                    </a:ext>
                  </a:extLst>
                </p:cNvPr>
                <p:cNvSpPr/>
                <p:nvPr/>
              </p:nvSpPr>
              <p:spPr>
                <a:xfrm>
                  <a:off x="7723443" y="1732729"/>
                  <a:ext cx="26319" cy="26508"/>
                </a:xfrm>
                <a:custGeom>
                  <a:avLst/>
                  <a:gdLst>
                    <a:gd name="connsiteX0" fmla="*/ 26162 w 26319"/>
                    <a:gd name="connsiteY0" fmla="*/ 11152 h 26508"/>
                    <a:gd name="connsiteX1" fmla="*/ 15077 w 26319"/>
                    <a:gd name="connsiteY1" fmla="*/ 26348 h 26508"/>
                    <a:gd name="connsiteX2" fmla="*/ 129 w 26319"/>
                    <a:gd name="connsiteY2" fmla="*/ 15387 h 26508"/>
                    <a:gd name="connsiteX3" fmla="*/ 11215 w 26319"/>
                    <a:gd name="connsiteY3" fmla="*/ 191 h 26508"/>
                    <a:gd name="connsiteX4" fmla="*/ 26162 w 26319"/>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508">
                      <a:moveTo>
                        <a:pt x="26162" y="11152"/>
                      </a:moveTo>
                      <a:cubicBezTo>
                        <a:pt x="27283" y="18376"/>
                        <a:pt x="22300" y="25227"/>
                        <a:pt x="15077" y="26348"/>
                      </a:cubicBezTo>
                      <a:cubicBezTo>
                        <a:pt x="7852" y="27469"/>
                        <a:pt x="1125" y="22611"/>
                        <a:pt x="129" y="15387"/>
                      </a:cubicBezTo>
                      <a:cubicBezTo>
                        <a:pt x="-867" y="8163"/>
                        <a:pt x="3991" y="1312"/>
                        <a:pt x="11215" y="191"/>
                      </a:cubicBezTo>
                      <a:cubicBezTo>
                        <a:pt x="18314" y="-1055"/>
                        <a:pt x="25041" y="3928"/>
                        <a:pt x="2616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2" name="Graphic 2987">
                <a:extLst>
                  <a:ext uri="{FF2B5EF4-FFF2-40B4-BE49-F238E27FC236}">
                    <a16:creationId xmlns:a16="http://schemas.microsoft.com/office/drawing/2014/main" id="{A3EF50DC-404A-1A1A-A5CB-C5B2A1ABA204}"/>
                  </a:ext>
                </a:extLst>
              </p:cNvPr>
              <p:cNvGrpSpPr/>
              <p:nvPr/>
            </p:nvGrpSpPr>
            <p:grpSpPr>
              <a:xfrm>
                <a:off x="7694298" y="1737278"/>
                <a:ext cx="44375" cy="147383"/>
                <a:chOff x="7694298" y="1737278"/>
                <a:chExt cx="44375" cy="147383"/>
              </a:xfrm>
              <a:grpFill/>
            </p:grpSpPr>
            <p:sp>
              <p:nvSpPr>
                <p:cNvPr id="6660" name="Freeform 7455">
                  <a:extLst>
                    <a:ext uri="{FF2B5EF4-FFF2-40B4-BE49-F238E27FC236}">
                      <a16:creationId xmlns:a16="http://schemas.microsoft.com/office/drawing/2014/main" id="{9600C5B9-1343-1AB5-A469-0B7692F7C692}"/>
                    </a:ext>
                  </a:extLst>
                </p:cNvPr>
                <p:cNvSpPr/>
                <p:nvPr/>
              </p:nvSpPr>
              <p:spPr>
                <a:xfrm>
                  <a:off x="7720238" y="1812388"/>
                  <a:ext cx="8179" cy="51691"/>
                </a:xfrm>
                <a:custGeom>
                  <a:avLst/>
                  <a:gdLst>
                    <a:gd name="connsiteX0" fmla="*/ 7569 w 8179"/>
                    <a:gd name="connsiteY0" fmla="*/ 51691 h 51691"/>
                    <a:gd name="connsiteX1" fmla="*/ 6822 w 8179"/>
                    <a:gd name="connsiteY1" fmla="*/ 32883 h 51691"/>
                    <a:gd name="connsiteX2" fmla="*/ 968 w 8179"/>
                    <a:gd name="connsiteY2" fmla="*/ 16442 h 51691"/>
                    <a:gd name="connsiteX3" fmla="*/ 719 w 8179"/>
                    <a:gd name="connsiteY3" fmla="*/ 0 h 51691"/>
                  </a:gdLst>
                  <a:ahLst/>
                  <a:cxnLst>
                    <a:cxn ang="0">
                      <a:pos x="connsiteX0" y="connsiteY0"/>
                    </a:cxn>
                    <a:cxn ang="0">
                      <a:pos x="connsiteX1" y="connsiteY1"/>
                    </a:cxn>
                    <a:cxn ang="0">
                      <a:pos x="connsiteX2" y="connsiteY2"/>
                    </a:cxn>
                    <a:cxn ang="0">
                      <a:pos x="connsiteX3" y="connsiteY3"/>
                    </a:cxn>
                  </a:cxnLst>
                  <a:rect l="l" t="t" r="r" b="b"/>
                  <a:pathLst>
                    <a:path w="8179" h="51690">
                      <a:moveTo>
                        <a:pt x="7569" y="51691"/>
                      </a:moveTo>
                      <a:cubicBezTo>
                        <a:pt x="8815" y="43346"/>
                        <a:pt x="7943" y="37118"/>
                        <a:pt x="6822" y="32883"/>
                      </a:cubicBezTo>
                      <a:cubicBezTo>
                        <a:pt x="5078" y="26157"/>
                        <a:pt x="2463" y="23417"/>
                        <a:pt x="968" y="16442"/>
                      </a:cubicBezTo>
                      <a:cubicBezTo>
                        <a:pt x="-527" y="9716"/>
                        <a:pt x="-29" y="3861"/>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1" name="Freeform 7456">
                  <a:extLst>
                    <a:ext uri="{FF2B5EF4-FFF2-40B4-BE49-F238E27FC236}">
                      <a16:creationId xmlns:a16="http://schemas.microsoft.com/office/drawing/2014/main" id="{0114C4C8-30C9-A824-F379-BCC05A814A5F}"/>
                    </a:ext>
                  </a:extLst>
                </p:cNvPr>
                <p:cNvSpPr/>
                <p:nvPr/>
              </p:nvSpPr>
              <p:spPr>
                <a:xfrm>
                  <a:off x="7713234" y="1818492"/>
                  <a:ext cx="8345" cy="51442"/>
                </a:xfrm>
                <a:custGeom>
                  <a:avLst/>
                  <a:gdLst>
                    <a:gd name="connsiteX0" fmla="*/ 0 w 8345"/>
                    <a:gd name="connsiteY0" fmla="*/ 0 h 51442"/>
                    <a:gd name="connsiteX1" fmla="*/ 4733 w 8345"/>
                    <a:gd name="connsiteY1" fmla="*/ 18185 h 51442"/>
                    <a:gd name="connsiteX2" fmla="*/ 3861 w 8345"/>
                    <a:gd name="connsiteY2" fmla="*/ 35499 h 51442"/>
                    <a:gd name="connsiteX3" fmla="*/ 8345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2" y="7598"/>
                        <a:pt x="4484" y="13950"/>
                        <a:pt x="4733" y="18185"/>
                      </a:cubicBezTo>
                      <a:cubicBezTo>
                        <a:pt x="4983" y="25161"/>
                        <a:pt x="3239" y="28524"/>
                        <a:pt x="3861" y="35499"/>
                      </a:cubicBezTo>
                      <a:cubicBezTo>
                        <a:pt x="4359" y="42350"/>
                        <a:pt x="6602" y="47830"/>
                        <a:pt x="834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2" name="Freeform 7457">
                  <a:extLst>
                    <a:ext uri="{FF2B5EF4-FFF2-40B4-BE49-F238E27FC236}">
                      <a16:creationId xmlns:a16="http://schemas.microsoft.com/office/drawing/2014/main" id="{ACC883E6-6828-CE62-AAB3-5BAA9223F5E5}"/>
                    </a:ext>
                  </a:extLst>
                </p:cNvPr>
                <p:cNvSpPr/>
                <p:nvPr/>
              </p:nvSpPr>
              <p:spPr>
                <a:xfrm>
                  <a:off x="7711862" y="1858226"/>
                  <a:ext cx="26811" cy="26435"/>
                </a:xfrm>
                <a:custGeom>
                  <a:avLst/>
                  <a:gdLst>
                    <a:gd name="connsiteX0" fmla="*/ 127 w 26811"/>
                    <a:gd name="connsiteY0" fmla="*/ 15071 h 26435"/>
                    <a:gd name="connsiteX1" fmla="*/ 11461 w 26811"/>
                    <a:gd name="connsiteY1" fmla="*/ 124 h 26435"/>
                    <a:gd name="connsiteX2" fmla="*/ 26658 w 26811"/>
                    <a:gd name="connsiteY2" fmla="*/ 11335 h 26435"/>
                    <a:gd name="connsiteX3" fmla="*/ 15322 w 26811"/>
                    <a:gd name="connsiteY3" fmla="*/ 26281 h 26435"/>
                    <a:gd name="connsiteX4" fmla="*/ 127 w 26811"/>
                    <a:gd name="connsiteY4" fmla="*/ 1507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0" h="26435">
                      <a:moveTo>
                        <a:pt x="127" y="15071"/>
                      </a:moveTo>
                      <a:cubicBezTo>
                        <a:pt x="-870" y="7847"/>
                        <a:pt x="4112" y="1121"/>
                        <a:pt x="11461" y="124"/>
                      </a:cubicBezTo>
                      <a:cubicBezTo>
                        <a:pt x="18810" y="-872"/>
                        <a:pt x="25536" y="4235"/>
                        <a:pt x="26658" y="11335"/>
                      </a:cubicBezTo>
                      <a:cubicBezTo>
                        <a:pt x="27778" y="18559"/>
                        <a:pt x="22672" y="25285"/>
                        <a:pt x="15322" y="26281"/>
                      </a:cubicBezTo>
                      <a:cubicBezTo>
                        <a:pt x="7974"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3" name="Freeform 7458">
                  <a:extLst>
                    <a:ext uri="{FF2B5EF4-FFF2-40B4-BE49-F238E27FC236}">
                      <a16:creationId xmlns:a16="http://schemas.microsoft.com/office/drawing/2014/main" id="{C339DC94-AA7E-0486-25DA-26E0AAA83559}"/>
                    </a:ext>
                  </a:extLst>
                </p:cNvPr>
                <p:cNvSpPr/>
                <p:nvPr/>
              </p:nvSpPr>
              <p:spPr>
                <a:xfrm>
                  <a:off x="7704154" y="1757956"/>
                  <a:ext cx="8135" cy="51691"/>
                </a:xfrm>
                <a:custGeom>
                  <a:avLst/>
                  <a:gdLst>
                    <a:gd name="connsiteX0" fmla="*/ 610 w 8135"/>
                    <a:gd name="connsiteY0" fmla="*/ 0 h 51691"/>
                    <a:gd name="connsiteX1" fmla="*/ 1357 w 8135"/>
                    <a:gd name="connsiteY1" fmla="*/ 18808 h 51691"/>
                    <a:gd name="connsiteX2" fmla="*/ 7211 w 8135"/>
                    <a:gd name="connsiteY2" fmla="*/ 35250 h 51691"/>
                    <a:gd name="connsiteX3" fmla="*/ 7461 w 81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5" h="51690">
                      <a:moveTo>
                        <a:pt x="610" y="0"/>
                      </a:moveTo>
                      <a:cubicBezTo>
                        <a:pt x="-636" y="8345"/>
                        <a:pt x="236" y="14573"/>
                        <a:pt x="1357" y="18808"/>
                      </a:cubicBezTo>
                      <a:cubicBezTo>
                        <a:pt x="3101" y="25534"/>
                        <a:pt x="5717" y="28275"/>
                        <a:pt x="7211" y="35250"/>
                      </a:cubicBezTo>
                      <a:cubicBezTo>
                        <a:pt x="8706" y="41976"/>
                        <a:pt x="8083"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4" name="Freeform 7459">
                  <a:extLst>
                    <a:ext uri="{FF2B5EF4-FFF2-40B4-BE49-F238E27FC236}">
                      <a16:creationId xmlns:a16="http://schemas.microsoft.com/office/drawing/2014/main" id="{05854565-EDDB-3ACB-0389-34D11D183F82}"/>
                    </a:ext>
                  </a:extLst>
                </p:cNvPr>
                <p:cNvSpPr/>
                <p:nvPr/>
              </p:nvSpPr>
              <p:spPr>
                <a:xfrm>
                  <a:off x="7710992" y="1752102"/>
                  <a:ext cx="8345" cy="51442"/>
                </a:xfrm>
                <a:custGeom>
                  <a:avLst/>
                  <a:gdLst>
                    <a:gd name="connsiteX0" fmla="*/ 8345 w 8345"/>
                    <a:gd name="connsiteY0" fmla="*/ 51442 h 51442"/>
                    <a:gd name="connsiteX1" fmla="*/ 3612 w 8345"/>
                    <a:gd name="connsiteY1" fmla="*/ 33257 h 51442"/>
                    <a:gd name="connsiteX2" fmla="*/ 4484 w 8345"/>
                    <a:gd name="connsiteY2" fmla="*/ 15943 h 51442"/>
                    <a:gd name="connsiteX3" fmla="*/ 0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8345" y="51442"/>
                      </a:moveTo>
                      <a:cubicBezTo>
                        <a:pt x="4733" y="43844"/>
                        <a:pt x="3861" y="37492"/>
                        <a:pt x="3612" y="33257"/>
                      </a:cubicBezTo>
                      <a:cubicBezTo>
                        <a:pt x="3363" y="26282"/>
                        <a:pt x="4982" y="22919"/>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5" name="Freeform 7460">
                  <a:extLst>
                    <a:ext uri="{FF2B5EF4-FFF2-40B4-BE49-F238E27FC236}">
                      <a16:creationId xmlns:a16="http://schemas.microsoft.com/office/drawing/2014/main" id="{DE6C692D-4A78-5F2D-29F2-21CA6BDBC978}"/>
                    </a:ext>
                  </a:extLst>
                </p:cNvPr>
                <p:cNvSpPr/>
                <p:nvPr/>
              </p:nvSpPr>
              <p:spPr>
                <a:xfrm>
                  <a:off x="7694298" y="1737278"/>
                  <a:ext cx="26317" cy="26408"/>
                </a:xfrm>
                <a:custGeom>
                  <a:avLst/>
                  <a:gdLst>
                    <a:gd name="connsiteX0" fmla="*/ 26160 w 26317"/>
                    <a:gd name="connsiteY0" fmla="*/ 11337 h 26408"/>
                    <a:gd name="connsiteX1" fmla="*/ 15074 w 26317"/>
                    <a:gd name="connsiteY1" fmla="*/ 26284 h 26408"/>
                    <a:gd name="connsiteX2" fmla="*/ 127 w 26317"/>
                    <a:gd name="connsiteY2" fmla="*/ 14949 h 26408"/>
                    <a:gd name="connsiteX3" fmla="*/ 11213 w 26317"/>
                    <a:gd name="connsiteY3" fmla="*/ 127 h 26408"/>
                    <a:gd name="connsiteX4" fmla="*/ 26160 w 26317"/>
                    <a:gd name="connsiteY4" fmla="*/ 11337 h 2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08">
                      <a:moveTo>
                        <a:pt x="26160" y="11337"/>
                      </a:moveTo>
                      <a:cubicBezTo>
                        <a:pt x="27280" y="18561"/>
                        <a:pt x="22299" y="25287"/>
                        <a:pt x="15074" y="26284"/>
                      </a:cubicBezTo>
                      <a:cubicBezTo>
                        <a:pt x="7849" y="27280"/>
                        <a:pt x="1124" y="22174"/>
                        <a:pt x="127" y="14949"/>
                      </a:cubicBezTo>
                      <a:cubicBezTo>
                        <a:pt x="-870" y="7725"/>
                        <a:pt x="4113" y="999"/>
                        <a:pt x="11213" y="127"/>
                      </a:cubicBezTo>
                      <a:cubicBezTo>
                        <a:pt x="18313" y="-870"/>
                        <a:pt x="25038" y="4113"/>
                        <a:pt x="26160"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3" name="Graphic 2987">
                <a:extLst>
                  <a:ext uri="{FF2B5EF4-FFF2-40B4-BE49-F238E27FC236}">
                    <a16:creationId xmlns:a16="http://schemas.microsoft.com/office/drawing/2014/main" id="{B83F4D31-54BE-C005-60DF-ECDA95C91904}"/>
                  </a:ext>
                </a:extLst>
              </p:cNvPr>
              <p:cNvGrpSpPr/>
              <p:nvPr/>
            </p:nvGrpSpPr>
            <p:grpSpPr>
              <a:xfrm>
                <a:off x="7664903" y="1741141"/>
                <a:ext cx="44098" cy="147600"/>
                <a:chOff x="7664903" y="1741141"/>
                <a:chExt cx="44098" cy="147600"/>
              </a:xfrm>
              <a:grpFill/>
            </p:grpSpPr>
            <p:sp>
              <p:nvSpPr>
                <p:cNvPr id="6654" name="Freeform 7462">
                  <a:extLst>
                    <a:ext uri="{FF2B5EF4-FFF2-40B4-BE49-F238E27FC236}">
                      <a16:creationId xmlns:a16="http://schemas.microsoft.com/office/drawing/2014/main" id="{A2D4F55E-D872-B7FF-9B6D-6592A958CECA}"/>
                    </a:ext>
                  </a:extLst>
                </p:cNvPr>
                <p:cNvSpPr/>
                <p:nvPr/>
              </p:nvSpPr>
              <p:spPr>
                <a:xfrm>
                  <a:off x="7690761" y="1816374"/>
                  <a:ext cx="8190" cy="51691"/>
                </a:xfrm>
                <a:custGeom>
                  <a:avLst/>
                  <a:gdLst>
                    <a:gd name="connsiteX0" fmla="*/ 7526 w 8190"/>
                    <a:gd name="connsiteY0" fmla="*/ 51691 h 51691"/>
                    <a:gd name="connsiteX1" fmla="*/ 6779 w 8190"/>
                    <a:gd name="connsiteY1" fmla="*/ 32883 h 51691"/>
                    <a:gd name="connsiteX2" fmla="*/ 925 w 8190"/>
                    <a:gd name="connsiteY2" fmla="*/ 16442 h 51691"/>
                    <a:gd name="connsiteX3" fmla="*/ 675 w 8190"/>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7526" y="51691"/>
                      </a:moveTo>
                      <a:cubicBezTo>
                        <a:pt x="8896" y="43346"/>
                        <a:pt x="7900" y="37118"/>
                        <a:pt x="6779" y="32883"/>
                      </a:cubicBezTo>
                      <a:cubicBezTo>
                        <a:pt x="5035" y="26157"/>
                        <a:pt x="2419" y="23417"/>
                        <a:pt x="925" y="16442"/>
                      </a:cubicBezTo>
                      <a:cubicBezTo>
                        <a:pt x="-570" y="9716"/>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5" name="Freeform 7463">
                  <a:extLst>
                    <a:ext uri="{FF2B5EF4-FFF2-40B4-BE49-F238E27FC236}">
                      <a16:creationId xmlns:a16="http://schemas.microsoft.com/office/drawing/2014/main" id="{4C63C517-4A2F-4962-5303-41B357A83357}"/>
                    </a:ext>
                  </a:extLst>
                </p:cNvPr>
                <p:cNvSpPr/>
                <p:nvPr/>
              </p:nvSpPr>
              <p:spPr>
                <a:xfrm>
                  <a:off x="7683838" y="1822477"/>
                  <a:ext cx="8095" cy="51442"/>
                </a:xfrm>
                <a:custGeom>
                  <a:avLst/>
                  <a:gdLst>
                    <a:gd name="connsiteX0" fmla="*/ 0 w 8095"/>
                    <a:gd name="connsiteY0" fmla="*/ 0 h 51442"/>
                    <a:gd name="connsiteX1" fmla="*/ 4609 w 8095"/>
                    <a:gd name="connsiteY1" fmla="*/ 18185 h 51442"/>
                    <a:gd name="connsiteX2" fmla="*/ 3612 w 8095"/>
                    <a:gd name="connsiteY2" fmla="*/ 35499 h 51442"/>
                    <a:gd name="connsiteX3" fmla="*/ 8096 w 809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095" h="51442">
                      <a:moveTo>
                        <a:pt x="0" y="0"/>
                      </a:moveTo>
                      <a:cubicBezTo>
                        <a:pt x="3612" y="7598"/>
                        <a:pt x="4484" y="13950"/>
                        <a:pt x="4609" y="18185"/>
                      </a:cubicBezTo>
                      <a:cubicBezTo>
                        <a:pt x="4858" y="25161"/>
                        <a:pt x="3114" y="28524"/>
                        <a:pt x="3612" y="35499"/>
                      </a:cubicBezTo>
                      <a:cubicBezTo>
                        <a:pt x="4110" y="42350"/>
                        <a:pt x="6353" y="47830"/>
                        <a:pt x="809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6" name="Freeform 7464">
                  <a:extLst>
                    <a:ext uri="{FF2B5EF4-FFF2-40B4-BE49-F238E27FC236}">
                      <a16:creationId xmlns:a16="http://schemas.microsoft.com/office/drawing/2014/main" id="{70FDC2B6-D463-0AFD-FEA0-BF995EF9CCBF}"/>
                    </a:ext>
                  </a:extLst>
                </p:cNvPr>
                <p:cNvSpPr/>
                <p:nvPr/>
              </p:nvSpPr>
              <p:spPr>
                <a:xfrm>
                  <a:off x="7682341" y="1862212"/>
                  <a:ext cx="26659" cy="26530"/>
                </a:xfrm>
                <a:custGeom>
                  <a:avLst/>
                  <a:gdLst>
                    <a:gd name="connsiteX0" fmla="*/ 127 w 26659"/>
                    <a:gd name="connsiteY0" fmla="*/ 15071 h 26530"/>
                    <a:gd name="connsiteX1" fmla="*/ 11461 w 26659"/>
                    <a:gd name="connsiteY1" fmla="*/ 124 h 26530"/>
                    <a:gd name="connsiteX2" fmla="*/ 26533 w 26659"/>
                    <a:gd name="connsiteY2" fmla="*/ 11459 h 26530"/>
                    <a:gd name="connsiteX3" fmla="*/ 15198 w 26659"/>
                    <a:gd name="connsiteY3" fmla="*/ 26406 h 26530"/>
                    <a:gd name="connsiteX4" fmla="*/ 127 w 2665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0">
                      <a:moveTo>
                        <a:pt x="127" y="15071"/>
                      </a:moveTo>
                      <a:cubicBezTo>
                        <a:pt x="-870" y="7847"/>
                        <a:pt x="4112" y="1121"/>
                        <a:pt x="11461" y="124"/>
                      </a:cubicBezTo>
                      <a:cubicBezTo>
                        <a:pt x="18810" y="-872"/>
                        <a:pt x="25536" y="4235"/>
                        <a:pt x="26533" y="11459"/>
                      </a:cubicBezTo>
                      <a:cubicBezTo>
                        <a:pt x="27529" y="18683"/>
                        <a:pt x="22547" y="25409"/>
                        <a:pt x="15198" y="26406"/>
                      </a:cubicBezTo>
                      <a:cubicBezTo>
                        <a:pt x="7849"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7" name="Freeform 7465">
                  <a:extLst>
                    <a:ext uri="{FF2B5EF4-FFF2-40B4-BE49-F238E27FC236}">
                      <a16:creationId xmlns:a16="http://schemas.microsoft.com/office/drawing/2014/main" id="{0DF6565E-E42A-5AD1-D967-D79CA14587B6}"/>
                    </a:ext>
                  </a:extLst>
                </p:cNvPr>
                <p:cNvSpPr/>
                <p:nvPr/>
              </p:nvSpPr>
              <p:spPr>
                <a:xfrm>
                  <a:off x="7675007" y="1761818"/>
                  <a:ext cx="8136" cy="51691"/>
                </a:xfrm>
                <a:custGeom>
                  <a:avLst/>
                  <a:gdLst>
                    <a:gd name="connsiteX0" fmla="*/ 610 w 8136"/>
                    <a:gd name="connsiteY0" fmla="*/ 0 h 51691"/>
                    <a:gd name="connsiteX1" fmla="*/ 1357 w 8136"/>
                    <a:gd name="connsiteY1" fmla="*/ 18808 h 51691"/>
                    <a:gd name="connsiteX2" fmla="*/ 7212 w 8136"/>
                    <a:gd name="connsiteY2" fmla="*/ 35250 h 51691"/>
                    <a:gd name="connsiteX3" fmla="*/ 7461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610" y="0"/>
                      </a:moveTo>
                      <a:cubicBezTo>
                        <a:pt x="-636" y="8345"/>
                        <a:pt x="236" y="14573"/>
                        <a:pt x="1357" y="18808"/>
                      </a:cubicBezTo>
                      <a:cubicBezTo>
                        <a:pt x="3101" y="25534"/>
                        <a:pt x="5717" y="28275"/>
                        <a:pt x="7212" y="35250"/>
                      </a:cubicBezTo>
                      <a:cubicBezTo>
                        <a:pt x="8706" y="41976"/>
                        <a:pt x="8084"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8" name="Freeform 7466">
                  <a:extLst>
                    <a:ext uri="{FF2B5EF4-FFF2-40B4-BE49-F238E27FC236}">
                      <a16:creationId xmlns:a16="http://schemas.microsoft.com/office/drawing/2014/main" id="{808BEFDB-C73B-57CE-3A08-BFEA3DBDDBE8}"/>
                    </a:ext>
                  </a:extLst>
                </p:cNvPr>
                <p:cNvSpPr/>
                <p:nvPr/>
              </p:nvSpPr>
              <p:spPr>
                <a:xfrm>
                  <a:off x="7681720" y="1755964"/>
                  <a:ext cx="8221" cy="51442"/>
                </a:xfrm>
                <a:custGeom>
                  <a:avLst/>
                  <a:gdLst>
                    <a:gd name="connsiteX0" fmla="*/ 8221 w 8221"/>
                    <a:gd name="connsiteY0" fmla="*/ 51442 h 51442"/>
                    <a:gd name="connsiteX1" fmla="*/ 3613 w 8221"/>
                    <a:gd name="connsiteY1" fmla="*/ 33257 h 51442"/>
                    <a:gd name="connsiteX2" fmla="*/ 4485 w 8221"/>
                    <a:gd name="connsiteY2" fmla="*/ 15943 h 51442"/>
                    <a:gd name="connsiteX3" fmla="*/ 0 w 8221"/>
                    <a:gd name="connsiteY3" fmla="*/ 0 h 51442"/>
                  </a:gdLst>
                  <a:ahLst/>
                  <a:cxnLst>
                    <a:cxn ang="0">
                      <a:pos x="connsiteX0" y="connsiteY0"/>
                    </a:cxn>
                    <a:cxn ang="0">
                      <a:pos x="connsiteX1" y="connsiteY1"/>
                    </a:cxn>
                    <a:cxn ang="0">
                      <a:pos x="connsiteX2" y="connsiteY2"/>
                    </a:cxn>
                    <a:cxn ang="0">
                      <a:pos x="connsiteX3" y="connsiteY3"/>
                    </a:cxn>
                  </a:cxnLst>
                  <a:rect l="l" t="t" r="r" b="b"/>
                  <a:pathLst>
                    <a:path w="8221" h="51442">
                      <a:moveTo>
                        <a:pt x="8221" y="51442"/>
                      </a:moveTo>
                      <a:cubicBezTo>
                        <a:pt x="4609" y="43844"/>
                        <a:pt x="3737" y="37492"/>
                        <a:pt x="3613" y="33257"/>
                      </a:cubicBezTo>
                      <a:cubicBezTo>
                        <a:pt x="3363" y="26282"/>
                        <a:pt x="5107" y="22919"/>
                        <a:pt x="4485"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9" name="Freeform 7467">
                  <a:extLst>
                    <a:ext uri="{FF2B5EF4-FFF2-40B4-BE49-F238E27FC236}">
                      <a16:creationId xmlns:a16="http://schemas.microsoft.com/office/drawing/2014/main" id="{E59BF793-0555-BB79-7674-F3971F28EAAD}"/>
                    </a:ext>
                  </a:extLst>
                </p:cNvPr>
                <p:cNvSpPr/>
                <p:nvPr/>
              </p:nvSpPr>
              <p:spPr>
                <a:xfrm>
                  <a:off x="7664903" y="1741141"/>
                  <a:ext cx="26410" cy="26380"/>
                </a:xfrm>
                <a:custGeom>
                  <a:avLst/>
                  <a:gdLst>
                    <a:gd name="connsiteX0" fmla="*/ 26284 w 26410"/>
                    <a:gd name="connsiteY0" fmla="*/ 11459 h 26380"/>
                    <a:gd name="connsiteX1" fmla="*/ 15074 w 26410"/>
                    <a:gd name="connsiteY1" fmla="*/ 26281 h 26380"/>
                    <a:gd name="connsiteX2" fmla="*/ 127 w 26410"/>
                    <a:gd name="connsiteY2" fmla="*/ 14947 h 26380"/>
                    <a:gd name="connsiteX3" fmla="*/ 11337 w 26410"/>
                    <a:gd name="connsiteY3" fmla="*/ 124 h 26380"/>
                    <a:gd name="connsiteX4" fmla="*/ 26284 w 26410"/>
                    <a:gd name="connsiteY4" fmla="*/ 11459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380">
                      <a:moveTo>
                        <a:pt x="26284" y="11459"/>
                      </a:moveTo>
                      <a:cubicBezTo>
                        <a:pt x="27280" y="18683"/>
                        <a:pt x="22298" y="25409"/>
                        <a:pt x="15074" y="26281"/>
                      </a:cubicBezTo>
                      <a:cubicBezTo>
                        <a:pt x="7849" y="27153"/>
                        <a:pt x="1124" y="22171"/>
                        <a:pt x="127" y="14947"/>
                      </a:cubicBezTo>
                      <a:cubicBezTo>
                        <a:pt x="-870" y="7722"/>
                        <a:pt x="4113" y="996"/>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4" name="Graphic 2987">
                <a:extLst>
                  <a:ext uri="{FF2B5EF4-FFF2-40B4-BE49-F238E27FC236}">
                    <a16:creationId xmlns:a16="http://schemas.microsoft.com/office/drawing/2014/main" id="{7F0B80D6-335F-6CFC-F71F-86EAFCA9878C}"/>
                  </a:ext>
                </a:extLst>
              </p:cNvPr>
              <p:cNvGrpSpPr/>
              <p:nvPr/>
            </p:nvGrpSpPr>
            <p:grpSpPr>
              <a:xfrm>
                <a:off x="7635756" y="1745127"/>
                <a:ext cx="43597" cy="147602"/>
                <a:chOff x="7635756" y="1745127"/>
                <a:chExt cx="43597" cy="147602"/>
              </a:xfrm>
              <a:grpFill/>
            </p:grpSpPr>
            <p:sp>
              <p:nvSpPr>
                <p:cNvPr id="6648" name="Freeform 7469">
                  <a:extLst>
                    <a:ext uri="{FF2B5EF4-FFF2-40B4-BE49-F238E27FC236}">
                      <a16:creationId xmlns:a16="http://schemas.microsoft.com/office/drawing/2014/main" id="{0A87A8AD-FCEA-31E8-9B32-B7FC39AAC133}"/>
                    </a:ext>
                  </a:extLst>
                </p:cNvPr>
                <p:cNvSpPr/>
                <p:nvPr/>
              </p:nvSpPr>
              <p:spPr>
                <a:xfrm>
                  <a:off x="7661252" y="1820360"/>
                  <a:ext cx="8060" cy="51691"/>
                </a:xfrm>
                <a:custGeom>
                  <a:avLst/>
                  <a:gdLst>
                    <a:gd name="connsiteX0" fmla="*/ 7390 w 8060"/>
                    <a:gd name="connsiteY0" fmla="*/ 51691 h 51691"/>
                    <a:gd name="connsiteX1" fmla="*/ 6767 w 8060"/>
                    <a:gd name="connsiteY1" fmla="*/ 32883 h 51691"/>
                    <a:gd name="connsiteX2" fmla="*/ 913 w 8060"/>
                    <a:gd name="connsiteY2" fmla="*/ 16442 h 51691"/>
                    <a:gd name="connsiteX3" fmla="*/ 788 w 8060"/>
                    <a:gd name="connsiteY3" fmla="*/ 0 h 51691"/>
                  </a:gdLst>
                  <a:ahLst/>
                  <a:cxnLst>
                    <a:cxn ang="0">
                      <a:pos x="connsiteX0" y="connsiteY0"/>
                    </a:cxn>
                    <a:cxn ang="0">
                      <a:pos x="connsiteX1" y="connsiteY1"/>
                    </a:cxn>
                    <a:cxn ang="0">
                      <a:pos x="connsiteX2" y="connsiteY2"/>
                    </a:cxn>
                    <a:cxn ang="0">
                      <a:pos x="connsiteX3" y="connsiteY3"/>
                    </a:cxn>
                  </a:cxnLst>
                  <a:rect l="l" t="t" r="r" b="b"/>
                  <a:pathLst>
                    <a:path w="8060" h="51690">
                      <a:moveTo>
                        <a:pt x="7390" y="51691"/>
                      </a:moveTo>
                      <a:cubicBezTo>
                        <a:pt x="8760" y="43346"/>
                        <a:pt x="7764" y="37118"/>
                        <a:pt x="6767" y="32883"/>
                      </a:cubicBezTo>
                      <a:cubicBezTo>
                        <a:pt x="5023" y="26157"/>
                        <a:pt x="2408" y="23417"/>
                        <a:pt x="913" y="16442"/>
                      </a:cubicBezTo>
                      <a:cubicBezTo>
                        <a:pt x="-582" y="9716"/>
                        <a:pt x="41" y="3861"/>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9" name="Freeform 7470">
                  <a:extLst>
                    <a:ext uri="{FF2B5EF4-FFF2-40B4-BE49-F238E27FC236}">
                      <a16:creationId xmlns:a16="http://schemas.microsoft.com/office/drawing/2014/main" id="{40D39FBB-5782-4069-FBD8-791E1BDE4511}"/>
                    </a:ext>
                  </a:extLst>
                </p:cNvPr>
                <p:cNvSpPr/>
                <p:nvPr/>
              </p:nvSpPr>
              <p:spPr>
                <a:xfrm>
                  <a:off x="7654443" y="1826463"/>
                  <a:ext cx="8095" cy="51566"/>
                </a:xfrm>
                <a:custGeom>
                  <a:avLst/>
                  <a:gdLst>
                    <a:gd name="connsiteX0" fmla="*/ 0 w 8095"/>
                    <a:gd name="connsiteY0" fmla="*/ 0 h 51566"/>
                    <a:gd name="connsiteX1" fmla="*/ 4609 w 8095"/>
                    <a:gd name="connsiteY1" fmla="*/ 18310 h 51566"/>
                    <a:gd name="connsiteX2" fmla="*/ 3612 w 8095"/>
                    <a:gd name="connsiteY2" fmla="*/ 35624 h 51566"/>
                    <a:gd name="connsiteX3" fmla="*/ 8096 w 809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5" h="51566">
                      <a:moveTo>
                        <a:pt x="0" y="0"/>
                      </a:moveTo>
                      <a:cubicBezTo>
                        <a:pt x="3612" y="7598"/>
                        <a:pt x="4484" y="13950"/>
                        <a:pt x="4609" y="18310"/>
                      </a:cubicBezTo>
                      <a:cubicBezTo>
                        <a:pt x="4857" y="25285"/>
                        <a:pt x="3114" y="28648"/>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0" name="Freeform 7471">
                  <a:extLst>
                    <a:ext uri="{FF2B5EF4-FFF2-40B4-BE49-F238E27FC236}">
                      <a16:creationId xmlns:a16="http://schemas.microsoft.com/office/drawing/2014/main" id="{DCF12A81-9136-8203-124B-51ADAB417517}"/>
                    </a:ext>
                  </a:extLst>
                </p:cNvPr>
                <p:cNvSpPr/>
                <p:nvPr/>
              </p:nvSpPr>
              <p:spPr>
                <a:xfrm>
                  <a:off x="7652699" y="1866197"/>
                  <a:ext cx="26654" cy="26532"/>
                </a:xfrm>
                <a:custGeom>
                  <a:avLst/>
                  <a:gdLst>
                    <a:gd name="connsiteX0" fmla="*/ 124 w 26654"/>
                    <a:gd name="connsiteY0" fmla="*/ 15071 h 26532"/>
                    <a:gd name="connsiteX1" fmla="*/ 11459 w 26654"/>
                    <a:gd name="connsiteY1" fmla="*/ 124 h 26532"/>
                    <a:gd name="connsiteX2" fmla="*/ 26530 w 26654"/>
                    <a:gd name="connsiteY2" fmla="*/ 11459 h 26532"/>
                    <a:gd name="connsiteX3" fmla="*/ 15195 w 26654"/>
                    <a:gd name="connsiteY3" fmla="*/ 26406 h 26532"/>
                    <a:gd name="connsiteX4" fmla="*/ 124 w 26654"/>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1">
                      <a:moveTo>
                        <a:pt x="124" y="15071"/>
                      </a:moveTo>
                      <a:cubicBezTo>
                        <a:pt x="-872" y="7847"/>
                        <a:pt x="4234" y="1121"/>
                        <a:pt x="11459" y="124"/>
                      </a:cubicBezTo>
                      <a:cubicBezTo>
                        <a:pt x="18808" y="-872"/>
                        <a:pt x="25534" y="4235"/>
                        <a:pt x="26530" y="11459"/>
                      </a:cubicBezTo>
                      <a:cubicBezTo>
                        <a:pt x="27526" y="18683"/>
                        <a:pt x="22420" y="25409"/>
                        <a:pt x="15195" y="26406"/>
                      </a:cubicBezTo>
                      <a:cubicBezTo>
                        <a:pt x="7972"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1" name="Freeform 7472">
                  <a:extLst>
                    <a:ext uri="{FF2B5EF4-FFF2-40B4-BE49-F238E27FC236}">
                      <a16:creationId xmlns:a16="http://schemas.microsoft.com/office/drawing/2014/main" id="{C8815F51-93F1-3595-5723-84050A9A6BB0}"/>
                    </a:ext>
                  </a:extLst>
                </p:cNvPr>
                <p:cNvSpPr/>
                <p:nvPr/>
              </p:nvSpPr>
              <p:spPr>
                <a:xfrm>
                  <a:off x="7645676" y="1765804"/>
                  <a:ext cx="7936" cy="51691"/>
                </a:xfrm>
                <a:custGeom>
                  <a:avLst/>
                  <a:gdLst>
                    <a:gd name="connsiteX0" fmla="*/ 670 w 7936"/>
                    <a:gd name="connsiteY0" fmla="*/ 0 h 51691"/>
                    <a:gd name="connsiteX1" fmla="*/ 1293 w 7936"/>
                    <a:gd name="connsiteY1" fmla="*/ 18808 h 51691"/>
                    <a:gd name="connsiteX2" fmla="*/ 7023 w 7936"/>
                    <a:gd name="connsiteY2" fmla="*/ 35250 h 51691"/>
                    <a:gd name="connsiteX3" fmla="*/ 7148 w 79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6" h="51690">
                      <a:moveTo>
                        <a:pt x="670" y="0"/>
                      </a:moveTo>
                      <a:cubicBezTo>
                        <a:pt x="-700" y="8345"/>
                        <a:pt x="296" y="14573"/>
                        <a:pt x="1293" y="18808"/>
                      </a:cubicBezTo>
                      <a:cubicBezTo>
                        <a:pt x="3037" y="25534"/>
                        <a:pt x="5528" y="28275"/>
                        <a:pt x="7023" y="35250"/>
                      </a:cubicBezTo>
                      <a:cubicBezTo>
                        <a:pt x="8518" y="41976"/>
                        <a:pt x="7895" y="47830"/>
                        <a:pt x="71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2" name="Freeform 7473">
                  <a:extLst>
                    <a:ext uri="{FF2B5EF4-FFF2-40B4-BE49-F238E27FC236}">
                      <a16:creationId xmlns:a16="http://schemas.microsoft.com/office/drawing/2014/main" id="{41D58455-D6A1-74F4-145C-E91D6C06719A}"/>
                    </a:ext>
                  </a:extLst>
                </p:cNvPr>
                <p:cNvSpPr/>
                <p:nvPr/>
              </p:nvSpPr>
              <p:spPr>
                <a:xfrm>
                  <a:off x="7652449" y="1759825"/>
                  <a:ext cx="8096" cy="51566"/>
                </a:xfrm>
                <a:custGeom>
                  <a:avLst/>
                  <a:gdLst>
                    <a:gd name="connsiteX0" fmla="*/ 8097 w 8096"/>
                    <a:gd name="connsiteY0" fmla="*/ 51567 h 51566"/>
                    <a:gd name="connsiteX1" fmla="*/ 3488 w 8096"/>
                    <a:gd name="connsiteY1" fmla="*/ 33257 h 51566"/>
                    <a:gd name="connsiteX2" fmla="*/ 4484 w 8096"/>
                    <a:gd name="connsiteY2" fmla="*/ 15943 h 51566"/>
                    <a:gd name="connsiteX3" fmla="*/ 0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51567"/>
                      </a:moveTo>
                      <a:cubicBezTo>
                        <a:pt x="4484" y="43969"/>
                        <a:pt x="3612" y="37616"/>
                        <a:pt x="3488" y="33257"/>
                      </a:cubicBezTo>
                      <a:cubicBezTo>
                        <a:pt x="3239" y="26282"/>
                        <a:pt x="4983" y="22919"/>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3" name="Freeform 7474">
                  <a:extLst>
                    <a:ext uri="{FF2B5EF4-FFF2-40B4-BE49-F238E27FC236}">
                      <a16:creationId xmlns:a16="http://schemas.microsoft.com/office/drawing/2014/main" id="{4D6086D7-95F2-7A74-31D2-7DB4AD15DDB2}"/>
                    </a:ext>
                  </a:extLst>
                </p:cNvPr>
                <p:cNvSpPr/>
                <p:nvPr/>
              </p:nvSpPr>
              <p:spPr>
                <a:xfrm>
                  <a:off x="7635756" y="1745127"/>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3" y="22296"/>
                        <a:pt x="127" y="15071"/>
                      </a:cubicBezTo>
                      <a:cubicBezTo>
                        <a:pt x="-869" y="7847"/>
                        <a:pt x="4113" y="1121"/>
                        <a:pt x="11337" y="124"/>
                      </a:cubicBezTo>
                      <a:cubicBezTo>
                        <a:pt x="18562" y="-872"/>
                        <a:pt x="25163"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5" name="Graphic 2987">
                <a:extLst>
                  <a:ext uri="{FF2B5EF4-FFF2-40B4-BE49-F238E27FC236}">
                    <a16:creationId xmlns:a16="http://schemas.microsoft.com/office/drawing/2014/main" id="{40E07234-4F65-8D8E-AC35-7597949A2E8B}"/>
                  </a:ext>
                </a:extLst>
              </p:cNvPr>
              <p:cNvGrpSpPr/>
              <p:nvPr/>
            </p:nvGrpSpPr>
            <p:grpSpPr>
              <a:xfrm>
                <a:off x="7606485" y="1748989"/>
                <a:ext cx="43472" cy="147727"/>
                <a:chOff x="7606485" y="1748989"/>
                <a:chExt cx="43472" cy="147727"/>
              </a:xfrm>
              <a:grpFill/>
            </p:grpSpPr>
            <p:sp>
              <p:nvSpPr>
                <p:cNvPr id="6642" name="Freeform 7476">
                  <a:extLst>
                    <a:ext uri="{FF2B5EF4-FFF2-40B4-BE49-F238E27FC236}">
                      <a16:creationId xmlns:a16="http://schemas.microsoft.com/office/drawing/2014/main" id="{58099C95-6E6B-0064-E943-EFD1449294D6}"/>
                    </a:ext>
                  </a:extLst>
                </p:cNvPr>
                <p:cNvSpPr/>
                <p:nvPr/>
              </p:nvSpPr>
              <p:spPr>
                <a:xfrm>
                  <a:off x="7631856" y="1824346"/>
                  <a:ext cx="7966" cy="51691"/>
                </a:xfrm>
                <a:custGeom>
                  <a:avLst/>
                  <a:gdLst>
                    <a:gd name="connsiteX0" fmla="*/ 7266 w 7966"/>
                    <a:gd name="connsiteY0" fmla="*/ 51691 h 51691"/>
                    <a:gd name="connsiteX1" fmla="*/ 6643 w 7966"/>
                    <a:gd name="connsiteY1" fmla="*/ 32883 h 51691"/>
                    <a:gd name="connsiteX2" fmla="*/ 913 w 7966"/>
                    <a:gd name="connsiteY2" fmla="*/ 16442 h 51691"/>
                    <a:gd name="connsiteX3" fmla="*/ 789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51691"/>
                      </a:moveTo>
                      <a:cubicBezTo>
                        <a:pt x="8636" y="43346"/>
                        <a:pt x="7764" y="37118"/>
                        <a:pt x="6643" y="32883"/>
                      </a:cubicBezTo>
                      <a:cubicBezTo>
                        <a:pt x="4899" y="26157"/>
                        <a:pt x="2408" y="23417"/>
                        <a:pt x="913" y="16442"/>
                      </a:cubicBezTo>
                      <a:cubicBezTo>
                        <a:pt x="-582" y="9716"/>
                        <a:pt x="41" y="3861"/>
                        <a:pt x="7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3" name="Freeform 7477">
                  <a:extLst>
                    <a:ext uri="{FF2B5EF4-FFF2-40B4-BE49-F238E27FC236}">
                      <a16:creationId xmlns:a16="http://schemas.microsoft.com/office/drawing/2014/main" id="{6C7A971C-9547-D488-D35C-1084CD797A2E}"/>
                    </a:ext>
                  </a:extLst>
                </p:cNvPr>
                <p:cNvSpPr/>
                <p:nvPr/>
              </p:nvSpPr>
              <p:spPr>
                <a:xfrm>
                  <a:off x="7625047" y="1830449"/>
                  <a:ext cx="7722" cy="51691"/>
                </a:xfrm>
                <a:custGeom>
                  <a:avLst/>
                  <a:gdLst>
                    <a:gd name="connsiteX0" fmla="*/ 0 w 7722"/>
                    <a:gd name="connsiteY0" fmla="*/ 0 h 51691"/>
                    <a:gd name="connsiteX1" fmla="*/ 4485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613" y="7598"/>
                        <a:pt x="4360" y="13950"/>
                        <a:pt x="4485" y="18310"/>
                      </a:cubicBezTo>
                      <a:cubicBezTo>
                        <a:pt x="4609" y="25285"/>
                        <a:pt x="2989" y="28648"/>
                        <a:pt x="3363" y="35748"/>
                      </a:cubicBezTo>
                      <a:cubicBezTo>
                        <a:pt x="3861"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4" name="Freeform 7478">
                  <a:extLst>
                    <a:ext uri="{FF2B5EF4-FFF2-40B4-BE49-F238E27FC236}">
                      <a16:creationId xmlns:a16="http://schemas.microsoft.com/office/drawing/2014/main" id="{98BFBAD1-C95D-C960-2A24-12F602E39E5D}"/>
                    </a:ext>
                  </a:extLst>
                </p:cNvPr>
                <p:cNvSpPr/>
                <p:nvPr/>
              </p:nvSpPr>
              <p:spPr>
                <a:xfrm>
                  <a:off x="7623179" y="1870183"/>
                  <a:ext cx="26778" cy="26532"/>
                </a:xfrm>
                <a:custGeom>
                  <a:avLst/>
                  <a:gdLst>
                    <a:gd name="connsiteX0" fmla="*/ 124 w 26778"/>
                    <a:gd name="connsiteY0" fmla="*/ 15071 h 26532"/>
                    <a:gd name="connsiteX1" fmla="*/ 11583 w 26778"/>
                    <a:gd name="connsiteY1" fmla="*/ 124 h 26532"/>
                    <a:gd name="connsiteX2" fmla="*/ 26654 w 26778"/>
                    <a:gd name="connsiteY2" fmla="*/ 11459 h 26532"/>
                    <a:gd name="connsiteX3" fmla="*/ 15195 w 26778"/>
                    <a:gd name="connsiteY3" fmla="*/ 26406 h 26532"/>
                    <a:gd name="connsiteX4" fmla="*/ 124 w 26778"/>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531">
                      <a:moveTo>
                        <a:pt x="124" y="15071"/>
                      </a:moveTo>
                      <a:cubicBezTo>
                        <a:pt x="-872" y="7847"/>
                        <a:pt x="4234" y="1121"/>
                        <a:pt x="11583" y="124"/>
                      </a:cubicBezTo>
                      <a:cubicBezTo>
                        <a:pt x="18932" y="-872"/>
                        <a:pt x="25658" y="4235"/>
                        <a:pt x="26654" y="11459"/>
                      </a:cubicBezTo>
                      <a:cubicBezTo>
                        <a:pt x="27651" y="18683"/>
                        <a:pt x="22544" y="25409"/>
                        <a:pt x="15195" y="26406"/>
                      </a:cubicBezTo>
                      <a:cubicBezTo>
                        <a:pt x="7847"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5" name="Freeform 7479">
                  <a:extLst>
                    <a:ext uri="{FF2B5EF4-FFF2-40B4-BE49-F238E27FC236}">
                      <a16:creationId xmlns:a16="http://schemas.microsoft.com/office/drawing/2014/main" id="{4C924EE0-68BB-9205-C206-975BD29912A4}"/>
                    </a:ext>
                  </a:extLst>
                </p:cNvPr>
                <p:cNvSpPr/>
                <p:nvPr/>
              </p:nvSpPr>
              <p:spPr>
                <a:xfrm>
                  <a:off x="7616374" y="1769789"/>
                  <a:ext cx="7915" cy="51691"/>
                </a:xfrm>
                <a:custGeom>
                  <a:avLst/>
                  <a:gdLst>
                    <a:gd name="connsiteX0" fmla="*/ 702 w 7915"/>
                    <a:gd name="connsiteY0" fmla="*/ 0 h 51691"/>
                    <a:gd name="connsiteX1" fmla="*/ 1324 w 7915"/>
                    <a:gd name="connsiteY1" fmla="*/ 18808 h 51691"/>
                    <a:gd name="connsiteX2" fmla="*/ 7053 w 7915"/>
                    <a:gd name="connsiteY2" fmla="*/ 35250 h 51691"/>
                    <a:gd name="connsiteX3" fmla="*/ 7178 w 791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15" h="51690">
                      <a:moveTo>
                        <a:pt x="702" y="0"/>
                      </a:moveTo>
                      <a:cubicBezTo>
                        <a:pt x="-669" y="8345"/>
                        <a:pt x="203" y="14573"/>
                        <a:pt x="1324" y="18808"/>
                      </a:cubicBezTo>
                      <a:cubicBezTo>
                        <a:pt x="3067" y="25659"/>
                        <a:pt x="5559" y="28275"/>
                        <a:pt x="7053" y="35250"/>
                      </a:cubicBezTo>
                      <a:cubicBezTo>
                        <a:pt x="8424" y="41976"/>
                        <a:pt x="7925" y="47830"/>
                        <a:pt x="717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6" name="Freeform 7480">
                  <a:extLst>
                    <a:ext uri="{FF2B5EF4-FFF2-40B4-BE49-F238E27FC236}">
                      <a16:creationId xmlns:a16="http://schemas.microsoft.com/office/drawing/2014/main" id="{03F6B86E-30C8-0043-836F-BF2592340710}"/>
                    </a:ext>
                  </a:extLst>
                </p:cNvPr>
                <p:cNvSpPr/>
                <p:nvPr/>
              </p:nvSpPr>
              <p:spPr>
                <a:xfrm>
                  <a:off x="7623427" y="1763686"/>
                  <a:ext cx="7847" cy="51691"/>
                </a:xfrm>
                <a:custGeom>
                  <a:avLst/>
                  <a:gdLst>
                    <a:gd name="connsiteX0" fmla="*/ 7847 w 7847"/>
                    <a:gd name="connsiteY0" fmla="*/ 51691 h 51691"/>
                    <a:gd name="connsiteX1" fmla="*/ 3363 w 7847"/>
                    <a:gd name="connsiteY1" fmla="*/ 33381 h 51691"/>
                    <a:gd name="connsiteX2" fmla="*/ 4360 w 7847"/>
                    <a:gd name="connsiteY2" fmla="*/ 15943 h 51691"/>
                    <a:gd name="connsiteX3" fmla="*/ 0 w 7847"/>
                    <a:gd name="connsiteY3" fmla="*/ 0 h 51691"/>
                  </a:gdLst>
                  <a:ahLst/>
                  <a:cxnLst>
                    <a:cxn ang="0">
                      <a:pos x="connsiteX0" y="connsiteY0"/>
                    </a:cxn>
                    <a:cxn ang="0">
                      <a:pos x="connsiteX1" y="connsiteY1"/>
                    </a:cxn>
                    <a:cxn ang="0">
                      <a:pos x="connsiteX2" y="connsiteY2"/>
                    </a:cxn>
                    <a:cxn ang="0">
                      <a:pos x="connsiteX3" y="connsiteY3"/>
                    </a:cxn>
                  </a:cxnLst>
                  <a:rect l="l" t="t" r="r" b="b"/>
                  <a:pathLst>
                    <a:path w="7847" h="51690">
                      <a:moveTo>
                        <a:pt x="7847" y="51691"/>
                      </a:moveTo>
                      <a:cubicBezTo>
                        <a:pt x="4235" y="44093"/>
                        <a:pt x="3488" y="37741"/>
                        <a:pt x="3363" y="33381"/>
                      </a:cubicBezTo>
                      <a:cubicBezTo>
                        <a:pt x="3239"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7" name="Freeform 7481">
                  <a:extLst>
                    <a:ext uri="{FF2B5EF4-FFF2-40B4-BE49-F238E27FC236}">
                      <a16:creationId xmlns:a16="http://schemas.microsoft.com/office/drawing/2014/main" id="{92EDBB40-2BC8-3079-2462-BF530CDC4874}"/>
                    </a:ext>
                  </a:extLst>
                </p:cNvPr>
                <p:cNvSpPr/>
                <p:nvPr/>
              </p:nvSpPr>
              <p:spPr>
                <a:xfrm>
                  <a:off x="7606485" y="1748989"/>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4" y="22296"/>
                        <a:pt x="127" y="15071"/>
                      </a:cubicBezTo>
                      <a:cubicBezTo>
                        <a:pt x="-870" y="7847"/>
                        <a:pt x="4113" y="1121"/>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6" name="Graphic 2987">
                <a:extLst>
                  <a:ext uri="{FF2B5EF4-FFF2-40B4-BE49-F238E27FC236}">
                    <a16:creationId xmlns:a16="http://schemas.microsoft.com/office/drawing/2014/main" id="{0EE432BB-C083-C6EC-AF93-FF26006C38A6}"/>
                  </a:ext>
                </a:extLst>
              </p:cNvPr>
              <p:cNvGrpSpPr/>
              <p:nvPr/>
            </p:nvGrpSpPr>
            <p:grpSpPr>
              <a:xfrm>
                <a:off x="7577341" y="1752974"/>
                <a:ext cx="43096" cy="147727"/>
                <a:chOff x="7577341" y="1752974"/>
                <a:chExt cx="43096" cy="147727"/>
              </a:xfrm>
              <a:grpFill/>
            </p:grpSpPr>
            <p:sp>
              <p:nvSpPr>
                <p:cNvPr id="6636" name="Freeform 7483">
                  <a:extLst>
                    <a:ext uri="{FF2B5EF4-FFF2-40B4-BE49-F238E27FC236}">
                      <a16:creationId xmlns:a16="http://schemas.microsoft.com/office/drawing/2014/main" id="{0A3155AD-38DA-C5FA-C3DB-004D812B94F4}"/>
                    </a:ext>
                  </a:extLst>
                </p:cNvPr>
                <p:cNvSpPr/>
                <p:nvPr/>
              </p:nvSpPr>
              <p:spPr>
                <a:xfrm>
                  <a:off x="7602553" y="1828332"/>
                  <a:ext cx="7755" cy="51691"/>
                </a:xfrm>
                <a:custGeom>
                  <a:avLst/>
                  <a:gdLst>
                    <a:gd name="connsiteX0" fmla="*/ 7049 w 7755"/>
                    <a:gd name="connsiteY0" fmla="*/ 51691 h 51691"/>
                    <a:gd name="connsiteX1" fmla="*/ 6551 w 7755"/>
                    <a:gd name="connsiteY1" fmla="*/ 32883 h 51691"/>
                    <a:gd name="connsiteX2" fmla="*/ 821 w 7755"/>
                    <a:gd name="connsiteY2" fmla="*/ 16442 h 51691"/>
                    <a:gd name="connsiteX3" fmla="*/ 696 w 7755"/>
                    <a:gd name="connsiteY3" fmla="*/ 0 h 51691"/>
                  </a:gdLst>
                  <a:ahLst/>
                  <a:cxnLst>
                    <a:cxn ang="0">
                      <a:pos x="connsiteX0" y="connsiteY0"/>
                    </a:cxn>
                    <a:cxn ang="0">
                      <a:pos x="connsiteX1" y="connsiteY1"/>
                    </a:cxn>
                    <a:cxn ang="0">
                      <a:pos x="connsiteX2" y="connsiteY2"/>
                    </a:cxn>
                    <a:cxn ang="0">
                      <a:pos x="connsiteX3" y="connsiteY3"/>
                    </a:cxn>
                  </a:cxnLst>
                  <a:rect l="l" t="t" r="r" b="b"/>
                  <a:pathLst>
                    <a:path w="7755" h="51690">
                      <a:moveTo>
                        <a:pt x="7049" y="51691"/>
                      </a:moveTo>
                      <a:cubicBezTo>
                        <a:pt x="8419" y="43346"/>
                        <a:pt x="7547" y="37118"/>
                        <a:pt x="6551" y="32883"/>
                      </a:cubicBezTo>
                      <a:cubicBezTo>
                        <a:pt x="4807" y="26033"/>
                        <a:pt x="2315" y="23417"/>
                        <a:pt x="821" y="16442"/>
                      </a:cubicBezTo>
                      <a:cubicBezTo>
                        <a:pt x="-549" y="9715"/>
                        <a:pt x="73" y="3861"/>
                        <a:pt x="6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7" name="Freeform 7484">
                  <a:extLst>
                    <a:ext uri="{FF2B5EF4-FFF2-40B4-BE49-F238E27FC236}">
                      <a16:creationId xmlns:a16="http://schemas.microsoft.com/office/drawing/2014/main" id="{09EA1E5C-270C-4602-C3DD-8EBF1D6A0383}"/>
                    </a:ext>
                  </a:extLst>
                </p:cNvPr>
                <p:cNvSpPr/>
                <p:nvPr/>
              </p:nvSpPr>
              <p:spPr>
                <a:xfrm>
                  <a:off x="7595651" y="1834310"/>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8" y="7598"/>
                        <a:pt x="4359" y="13950"/>
                        <a:pt x="4484" y="18310"/>
                      </a:cubicBezTo>
                      <a:cubicBezTo>
                        <a:pt x="4609" y="25285"/>
                        <a:pt x="2989"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8" name="Freeform 7485">
                  <a:extLst>
                    <a:ext uri="{FF2B5EF4-FFF2-40B4-BE49-F238E27FC236}">
                      <a16:creationId xmlns:a16="http://schemas.microsoft.com/office/drawing/2014/main" id="{02E17BCF-2768-3CA4-C457-E899817D06DB}"/>
                    </a:ext>
                  </a:extLst>
                </p:cNvPr>
                <p:cNvSpPr/>
                <p:nvPr/>
              </p:nvSpPr>
              <p:spPr>
                <a:xfrm>
                  <a:off x="7593658" y="1874169"/>
                  <a:ext cx="26779" cy="26532"/>
                </a:xfrm>
                <a:custGeom>
                  <a:avLst/>
                  <a:gdLst>
                    <a:gd name="connsiteX0" fmla="*/ 124 w 26779"/>
                    <a:gd name="connsiteY0" fmla="*/ 15071 h 26532"/>
                    <a:gd name="connsiteX1" fmla="*/ 11584 w 26779"/>
                    <a:gd name="connsiteY1" fmla="*/ 124 h 26532"/>
                    <a:gd name="connsiteX2" fmla="*/ 26655 w 26779"/>
                    <a:gd name="connsiteY2" fmla="*/ 11459 h 26532"/>
                    <a:gd name="connsiteX3" fmla="*/ 15196 w 26779"/>
                    <a:gd name="connsiteY3" fmla="*/ 26406 h 26532"/>
                    <a:gd name="connsiteX4" fmla="*/ 124 w 26779"/>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1">
                      <a:moveTo>
                        <a:pt x="124" y="15071"/>
                      </a:moveTo>
                      <a:cubicBezTo>
                        <a:pt x="-872" y="7847"/>
                        <a:pt x="4235" y="1121"/>
                        <a:pt x="11584" y="124"/>
                      </a:cubicBezTo>
                      <a:cubicBezTo>
                        <a:pt x="18932" y="-872"/>
                        <a:pt x="25659" y="4235"/>
                        <a:pt x="26655" y="11459"/>
                      </a:cubicBezTo>
                      <a:cubicBezTo>
                        <a:pt x="27652" y="18683"/>
                        <a:pt x="22545" y="25409"/>
                        <a:pt x="15196" y="26406"/>
                      </a:cubicBezTo>
                      <a:cubicBezTo>
                        <a:pt x="7847" y="27402"/>
                        <a:pt x="996"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9" name="Freeform 7486">
                  <a:extLst>
                    <a:ext uri="{FF2B5EF4-FFF2-40B4-BE49-F238E27FC236}">
                      <a16:creationId xmlns:a16="http://schemas.microsoft.com/office/drawing/2014/main" id="{E6F6DE87-C754-24EE-C436-504C03A054EF}"/>
                    </a:ext>
                  </a:extLst>
                </p:cNvPr>
                <p:cNvSpPr/>
                <p:nvPr/>
              </p:nvSpPr>
              <p:spPr>
                <a:xfrm>
                  <a:off x="7587097" y="1773651"/>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0" y="28275"/>
                        <a:pt x="6935" y="35250"/>
                      </a:cubicBezTo>
                      <a:cubicBezTo>
                        <a:pt x="8305" y="41976"/>
                        <a:pt x="7682"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0" name="Freeform 7487">
                  <a:extLst>
                    <a:ext uri="{FF2B5EF4-FFF2-40B4-BE49-F238E27FC236}">
                      <a16:creationId xmlns:a16="http://schemas.microsoft.com/office/drawing/2014/main" id="{7CB1EB7B-DE04-29E8-D60C-3D76B747FF33}"/>
                    </a:ext>
                  </a:extLst>
                </p:cNvPr>
                <p:cNvSpPr/>
                <p:nvPr/>
              </p:nvSpPr>
              <p:spPr>
                <a:xfrm>
                  <a:off x="7594157" y="1767672"/>
                  <a:ext cx="7722" cy="51691"/>
                </a:xfrm>
                <a:custGeom>
                  <a:avLst/>
                  <a:gdLst>
                    <a:gd name="connsiteX0" fmla="*/ 7723 w 7722"/>
                    <a:gd name="connsiteY0" fmla="*/ 51691 h 51691"/>
                    <a:gd name="connsiteX1" fmla="*/ 3239 w 7722"/>
                    <a:gd name="connsiteY1" fmla="*/ 33381 h 51691"/>
                    <a:gd name="connsiteX2" fmla="*/ 4359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3"/>
                        <a:pt x="3363" y="37741"/>
                        <a:pt x="3239" y="33381"/>
                      </a:cubicBezTo>
                      <a:cubicBezTo>
                        <a:pt x="3114" y="26406"/>
                        <a:pt x="4733" y="23043"/>
                        <a:pt x="4359"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1" name="Freeform 7488">
                  <a:extLst>
                    <a:ext uri="{FF2B5EF4-FFF2-40B4-BE49-F238E27FC236}">
                      <a16:creationId xmlns:a16="http://schemas.microsoft.com/office/drawing/2014/main" id="{343AFA9F-999C-FE5A-CB7F-AFEA7183E963}"/>
                    </a:ext>
                  </a:extLst>
                </p:cNvPr>
                <p:cNvSpPr/>
                <p:nvPr/>
              </p:nvSpPr>
              <p:spPr>
                <a:xfrm>
                  <a:off x="7577341" y="1752974"/>
                  <a:ext cx="26406" cy="26530"/>
                </a:xfrm>
                <a:custGeom>
                  <a:avLst/>
                  <a:gdLst>
                    <a:gd name="connsiteX0" fmla="*/ 26282 w 26406"/>
                    <a:gd name="connsiteY0" fmla="*/ 11459 h 26530"/>
                    <a:gd name="connsiteX1" fmla="*/ 14947 w 26406"/>
                    <a:gd name="connsiteY1" fmla="*/ 26406 h 26530"/>
                    <a:gd name="connsiteX2" fmla="*/ 124 w 26406"/>
                    <a:gd name="connsiteY2" fmla="*/ 15071 h 26530"/>
                    <a:gd name="connsiteX3" fmla="*/ 11459 w 26406"/>
                    <a:gd name="connsiteY3" fmla="*/ 124 h 26530"/>
                    <a:gd name="connsiteX4" fmla="*/ 26282 w 26406"/>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26282" y="11459"/>
                      </a:moveTo>
                      <a:cubicBezTo>
                        <a:pt x="27278" y="18683"/>
                        <a:pt x="22171" y="25409"/>
                        <a:pt x="14947" y="26406"/>
                      </a:cubicBezTo>
                      <a:cubicBezTo>
                        <a:pt x="7723" y="27402"/>
                        <a:pt x="1121" y="22296"/>
                        <a:pt x="124" y="15071"/>
                      </a:cubicBezTo>
                      <a:cubicBezTo>
                        <a:pt x="-872" y="7847"/>
                        <a:pt x="4235" y="1121"/>
                        <a:pt x="11459" y="124"/>
                      </a:cubicBezTo>
                      <a:cubicBezTo>
                        <a:pt x="18559" y="-872"/>
                        <a:pt x="25285" y="4235"/>
                        <a:pt x="2628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7" name="Graphic 2987">
                <a:extLst>
                  <a:ext uri="{FF2B5EF4-FFF2-40B4-BE49-F238E27FC236}">
                    <a16:creationId xmlns:a16="http://schemas.microsoft.com/office/drawing/2014/main" id="{FF03CD79-033D-8179-7186-70B2BE849C57}"/>
                  </a:ext>
                </a:extLst>
              </p:cNvPr>
              <p:cNvGrpSpPr/>
              <p:nvPr/>
            </p:nvGrpSpPr>
            <p:grpSpPr>
              <a:xfrm>
                <a:off x="7548070" y="1756960"/>
                <a:ext cx="42598" cy="147727"/>
                <a:chOff x="7548070" y="1756960"/>
                <a:chExt cx="42598" cy="147727"/>
              </a:xfrm>
              <a:grpFill/>
            </p:grpSpPr>
            <p:sp>
              <p:nvSpPr>
                <p:cNvPr id="6630" name="Freeform 7490">
                  <a:extLst>
                    <a:ext uri="{FF2B5EF4-FFF2-40B4-BE49-F238E27FC236}">
                      <a16:creationId xmlns:a16="http://schemas.microsoft.com/office/drawing/2014/main" id="{918AFB94-B594-29BB-010D-70FF09BD62FE}"/>
                    </a:ext>
                  </a:extLst>
                </p:cNvPr>
                <p:cNvSpPr/>
                <p:nvPr/>
              </p:nvSpPr>
              <p:spPr>
                <a:xfrm>
                  <a:off x="7573168" y="1832193"/>
                  <a:ext cx="7620" cy="51815"/>
                </a:xfrm>
                <a:custGeom>
                  <a:avLst/>
                  <a:gdLst>
                    <a:gd name="connsiteX0" fmla="*/ 6914 w 7620"/>
                    <a:gd name="connsiteY0" fmla="*/ 51816 h 51815"/>
                    <a:gd name="connsiteX1" fmla="*/ 6416 w 7620"/>
                    <a:gd name="connsiteY1" fmla="*/ 33008 h 51815"/>
                    <a:gd name="connsiteX2" fmla="*/ 810 w 7620"/>
                    <a:gd name="connsiteY2" fmla="*/ 16566 h 51815"/>
                    <a:gd name="connsiteX3" fmla="*/ 810 w 7620"/>
                    <a:gd name="connsiteY3" fmla="*/ 0 h 51815"/>
                  </a:gdLst>
                  <a:ahLst/>
                  <a:cxnLst>
                    <a:cxn ang="0">
                      <a:pos x="connsiteX0" y="connsiteY0"/>
                    </a:cxn>
                    <a:cxn ang="0">
                      <a:pos x="connsiteX1" y="connsiteY1"/>
                    </a:cxn>
                    <a:cxn ang="0">
                      <a:pos x="connsiteX2" y="connsiteY2"/>
                    </a:cxn>
                    <a:cxn ang="0">
                      <a:pos x="connsiteX3" y="connsiteY3"/>
                    </a:cxn>
                  </a:cxnLst>
                  <a:rect l="l" t="t" r="r" b="b"/>
                  <a:pathLst>
                    <a:path w="7620" h="51815">
                      <a:moveTo>
                        <a:pt x="6914" y="51816"/>
                      </a:moveTo>
                      <a:cubicBezTo>
                        <a:pt x="8284" y="43471"/>
                        <a:pt x="7412" y="37243"/>
                        <a:pt x="6416" y="33008"/>
                      </a:cubicBezTo>
                      <a:cubicBezTo>
                        <a:pt x="4672"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1" name="Freeform 7491">
                  <a:extLst>
                    <a:ext uri="{FF2B5EF4-FFF2-40B4-BE49-F238E27FC236}">
                      <a16:creationId xmlns:a16="http://schemas.microsoft.com/office/drawing/2014/main" id="{1EBFEFA3-ED19-0BE7-3F85-2E524DB6C783}"/>
                    </a:ext>
                  </a:extLst>
                </p:cNvPr>
                <p:cNvSpPr/>
                <p:nvPr/>
              </p:nvSpPr>
              <p:spPr>
                <a:xfrm>
                  <a:off x="7566131" y="1838296"/>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7" y="7598"/>
                        <a:pt x="4359" y="13950"/>
                        <a:pt x="4484" y="18310"/>
                      </a:cubicBezTo>
                      <a:cubicBezTo>
                        <a:pt x="4609" y="25285"/>
                        <a:pt x="2865"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2" name="Freeform 7492">
                  <a:extLst>
                    <a:ext uri="{FF2B5EF4-FFF2-40B4-BE49-F238E27FC236}">
                      <a16:creationId xmlns:a16="http://schemas.microsoft.com/office/drawing/2014/main" id="{98B1A8C8-22DE-487B-C557-71CB086BCB2E}"/>
                    </a:ext>
                  </a:extLst>
                </p:cNvPr>
                <p:cNvSpPr/>
                <p:nvPr/>
              </p:nvSpPr>
              <p:spPr>
                <a:xfrm>
                  <a:off x="7564017" y="1878155"/>
                  <a:ext cx="26652" cy="26532"/>
                </a:xfrm>
                <a:custGeom>
                  <a:avLst/>
                  <a:gdLst>
                    <a:gd name="connsiteX0" fmla="*/ 122 w 26652"/>
                    <a:gd name="connsiteY0" fmla="*/ 15071 h 26532"/>
                    <a:gd name="connsiteX1" fmla="*/ 11581 w 26652"/>
                    <a:gd name="connsiteY1" fmla="*/ 124 h 26532"/>
                    <a:gd name="connsiteX2" fmla="*/ 26528 w 26652"/>
                    <a:gd name="connsiteY2" fmla="*/ 11459 h 26532"/>
                    <a:gd name="connsiteX3" fmla="*/ 15068 w 26652"/>
                    <a:gd name="connsiteY3" fmla="*/ 26406 h 26532"/>
                    <a:gd name="connsiteX4" fmla="*/ 122 w 26652"/>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531">
                      <a:moveTo>
                        <a:pt x="122" y="15071"/>
                      </a:moveTo>
                      <a:cubicBezTo>
                        <a:pt x="-875" y="7847"/>
                        <a:pt x="4356" y="1121"/>
                        <a:pt x="11581" y="124"/>
                      </a:cubicBezTo>
                      <a:cubicBezTo>
                        <a:pt x="18929" y="-872"/>
                        <a:pt x="25531" y="4235"/>
                        <a:pt x="26528" y="11459"/>
                      </a:cubicBezTo>
                      <a:cubicBezTo>
                        <a:pt x="27524" y="18683"/>
                        <a:pt x="22417" y="25409"/>
                        <a:pt x="15068" y="26406"/>
                      </a:cubicBezTo>
                      <a:cubicBezTo>
                        <a:pt x="7720" y="27402"/>
                        <a:pt x="1118" y="22420"/>
                        <a:pt x="122"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3" name="Freeform 7493">
                  <a:extLst>
                    <a:ext uri="{FF2B5EF4-FFF2-40B4-BE49-F238E27FC236}">
                      <a16:creationId xmlns:a16="http://schemas.microsoft.com/office/drawing/2014/main" id="{51C506D3-9777-C012-6D5A-F9DA5C9F4BDC}"/>
                    </a:ext>
                  </a:extLst>
                </p:cNvPr>
                <p:cNvSpPr/>
                <p:nvPr/>
              </p:nvSpPr>
              <p:spPr>
                <a:xfrm>
                  <a:off x="7557950" y="1777637"/>
                  <a:ext cx="7621" cy="51815"/>
                </a:xfrm>
                <a:custGeom>
                  <a:avLst/>
                  <a:gdLst>
                    <a:gd name="connsiteX0" fmla="*/ 708 w 7621"/>
                    <a:gd name="connsiteY0" fmla="*/ 0 h 51815"/>
                    <a:gd name="connsiteX1" fmla="*/ 1206 w 7621"/>
                    <a:gd name="connsiteY1" fmla="*/ 18808 h 51815"/>
                    <a:gd name="connsiteX2" fmla="*/ 6811 w 7621"/>
                    <a:gd name="connsiteY2" fmla="*/ 35250 h 51815"/>
                    <a:gd name="connsiteX3" fmla="*/ 6811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708" y="0"/>
                      </a:moveTo>
                      <a:cubicBezTo>
                        <a:pt x="-663" y="8345"/>
                        <a:pt x="209" y="14573"/>
                        <a:pt x="1206" y="18808"/>
                      </a:cubicBezTo>
                      <a:cubicBezTo>
                        <a:pt x="2950" y="25659"/>
                        <a:pt x="5440" y="28275"/>
                        <a:pt x="6811" y="35250"/>
                      </a:cubicBezTo>
                      <a:cubicBezTo>
                        <a:pt x="8181" y="41976"/>
                        <a:pt x="7558" y="47830"/>
                        <a:pt x="681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4" name="Freeform 7494">
                  <a:extLst>
                    <a:ext uri="{FF2B5EF4-FFF2-40B4-BE49-F238E27FC236}">
                      <a16:creationId xmlns:a16="http://schemas.microsoft.com/office/drawing/2014/main" id="{DB3CB0AE-AEA9-CFB4-EAC6-BDC891984493}"/>
                    </a:ext>
                  </a:extLst>
                </p:cNvPr>
                <p:cNvSpPr/>
                <p:nvPr/>
              </p:nvSpPr>
              <p:spPr>
                <a:xfrm>
                  <a:off x="7564886" y="1771658"/>
                  <a:ext cx="7597" cy="51691"/>
                </a:xfrm>
                <a:custGeom>
                  <a:avLst/>
                  <a:gdLst>
                    <a:gd name="connsiteX0" fmla="*/ 7598 w 7597"/>
                    <a:gd name="connsiteY0" fmla="*/ 51691 h 51691"/>
                    <a:gd name="connsiteX1" fmla="*/ 3114 w 7597"/>
                    <a:gd name="connsiteY1" fmla="*/ 33381 h 51691"/>
                    <a:gd name="connsiteX2" fmla="*/ 4235 w 7597"/>
                    <a:gd name="connsiteY2" fmla="*/ 15943 h 51691"/>
                    <a:gd name="connsiteX3" fmla="*/ 0 w 7597"/>
                    <a:gd name="connsiteY3" fmla="*/ 0 h 51691"/>
                  </a:gdLst>
                  <a:ahLst/>
                  <a:cxnLst>
                    <a:cxn ang="0">
                      <a:pos x="connsiteX0" y="connsiteY0"/>
                    </a:cxn>
                    <a:cxn ang="0">
                      <a:pos x="connsiteX1" y="connsiteY1"/>
                    </a:cxn>
                    <a:cxn ang="0">
                      <a:pos x="connsiteX2" y="connsiteY2"/>
                    </a:cxn>
                    <a:cxn ang="0">
                      <a:pos x="connsiteX3" y="connsiteY3"/>
                    </a:cxn>
                  </a:cxnLst>
                  <a:rect l="l" t="t" r="r" b="b"/>
                  <a:pathLst>
                    <a:path w="7597" h="51690">
                      <a:moveTo>
                        <a:pt x="7598" y="51691"/>
                      </a:moveTo>
                      <a:cubicBezTo>
                        <a:pt x="4110" y="44093"/>
                        <a:pt x="3238" y="37741"/>
                        <a:pt x="3114" y="33381"/>
                      </a:cubicBezTo>
                      <a:cubicBezTo>
                        <a:pt x="2989" y="26406"/>
                        <a:pt x="4732" y="23043"/>
                        <a:pt x="4235" y="15943"/>
                      </a:cubicBezTo>
                      <a:cubicBezTo>
                        <a:pt x="3861" y="9093"/>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5" name="Freeform 7495">
                  <a:extLst>
                    <a:ext uri="{FF2B5EF4-FFF2-40B4-BE49-F238E27FC236}">
                      <a16:creationId xmlns:a16="http://schemas.microsoft.com/office/drawing/2014/main" id="{B1B559BA-4F70-B6E6-C778-20A64D5D4F10}"/>
                    </a:ext>
                  </a:extLst>
                </p:cNvPr>
                <p:cNvSpPr/>
                <p:nvPr/>
              </p:nvSpPr>
              <p:spPr>
                <a:xfrm>
                  <a:off x="7548070" y="1756960"/>
                  <a:ext cx="26405" cy="26530"/>
                </a:xfrm>
                <a:custGeom>
                  <a:avLst/>
                  <a:gdLst>
                    <a:gd name="connsiteX0" fmla="*/ 26281 w 26405"/>
                    <a:gd name="connsiteY0" fmla="*/ 11459 h 26530"/>
                    <a:gd name="connsiteX1" fmla="*/ 14947 w 26405"/>
                    <a:gd name="connsiteY1" fmla="*/ 26406 h 26530"/>
                    <a:gd name="connsiteX2" fmla="*/ 124 w 26405"/>
                    <a:gd name="connsiteY2" fmla="*/ 15071 h 26530"/>
                    <a:gd name="connsiteX3" fmla="*/ 11459 w 26405"/>
                    <a:gd name="connsiteY3" fmla="*/ 124 h 26530"/>
                    <a:gd name="connsiteX4" fmla="*/ 26281 w 26405"/>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0">
                      <a:moveTo>
                        <a:pt x="26281" y="11459"/>
                      </a:moveTo>
                      <a:cubicBezTo>
                        <a:pt x="27278" y="18683"/>
                        <a:pt x="22171" y="25409"/>
                        <a:pt x="14947" y="26406"/>
                      </a:cubicBezTo>
                      <a:cubicBezTo>
                        <a:pt x="7722" y="27402"/>
                        <a:pt x="1121" y="22296"/>
                        <a:pt x="124" y="15071"/>
                      </a:cubicBezTo>
                      <a:cubicBezTo>
                        <a:pt x="-872" y="7847"/>
                        <a:pt x="4235" y="1121"/>
                        <a:pt x="11459" y="124"/>
                      </a:cubicBezTo>
                      <a:cubicBezTo>
                        <a:pt x="18683" y="-872"/>
                        <a:pt x="25285" y="4235"/>
                        <a:pt x="26281"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8" name="Graphic 2987">
                <a:extLst>
                  <a:ext uri="{FF2B5EF4-FFF2-40B4-BE49-F238E27FC236}">
                    <a16:creationId xmlns:a16="http://schemas.microsoft.com/office/drawing/2014/main" id="{43EF715B-87CB-DC85-08CB-B5264698CCB1}"/>
                  </a:ext>
                </a:extLst>
              </p:cNvPr>
              <p:cNvGrpSpPr/>
              <p:nvPr/>
            </p:nvGrpSpPr>
            <p:grpSpPr>
              <a:xfrm>
                <a:off x="7518825" y="1760822"/>
                <a:ext cx="42321" cy="147973"/>
                <a:chOff x="7518825" y="1760822"/>
                <a:chExt cx="42321" cy="147973"/>
              </a:xfrm>
              <a:grpFill/>
            </p:grpSpPr>
            <p:sp>
              <p:nvSpPr>
                <p:cNvPr id="6624" name="Freeform 7497">
                  <a:extLst>
                    <a:ext uri="{FF2B5EF4-FFF2-40B4-BE49-F238E27FC236}">
                      <a16:creationId xmlns:a16="http://schemas.microsoft.com/office/drawing/2014/main" id="{9942FC0D-187F-EB9F-177F-5AEAE3C6009A}"/>
                    </a:ext>
                  </a:extLst>
                </p:cNvPr>
                <p:cNvSpPr/>
                <p:nvPr/>
              </p:nvSpPr>
              <p:spPr>
                <a:xfrm>
                  <a:off x="7543648" y="1836179"/>
                  <a:ext cx="7708" cy="51815"/>
                </a:xfrm>
                <a:custGeom>
                  <a:avLst/>
                  <a:gdLst>
                    <a:gd name="connsiteX0" fmla="*/ 6914 w 7708"/>
                    <a:gd name="connsiteY0" fmla="*/ 51816 h 51815"/>
                    <a:gd name="connsiteX1" fmla="*/ 6416 w 7708"/>
                    <a:gd name="connsiteY1" fmla="*/ 33008 h 51815"/>
                    <a:gd name="connsiteX2" fmla="*/ 810 w 7708"/>
                    <a:gd name="connsiteY2" fmla="*/ 16566 h 51815"/>
                    <a:gd name="connsiteX3" fmla="*/ 810 w 7708"/>
                    <a:gd name="connsiteY3" fmla="*/ 0 h 51815"/>
                  </a:gdLst>
                  <a:ahLst/>
                  <a:cxnLst>
                    <a:cxn ang="0">
                      <a:pos x="connsiteX0" y="connsiteY0"/>
                    </a:cxn>
                    <a:cxn ang="0">
                      <a:pos x="connsiteX1" y="connsiteY1"/>
                    </a:cxn>
                    <a:cxn ang="0">
                      <a:pos x="connsiteX2" y="connsiteY2"/>
                    </a:cxn>
                    <a:cxn ang="0">
                      <a:pos x="connsiteX3" y="connsiteY3"/>
                    </a:cxn>
                  </a:cxnLst>
                  <a:rect l="l" t="t" r="r" b="b"/>
                  <a:pathLst>
                    <a:path w="7708" h="51815">
                      <a:moveTo>
                        <a:pt x="6914" y="51816"/>
                      </a:moveTo>
                      <a:cubicBezTo>
                        <a:pt x="8408" y="43471"/>
                        <a:pt x="7536" y="37243"/>
                        <a:pt x="6416" y="33008"/>
                      </a:cubicBezTo>
                      <a:cubicBezTo>
                        <a:pt x="4796"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5" name="Freeform 7498">
                  <a:extLst>
                    <a:ext uri="{FF2B5EF4-FFF2-40B4-BE49-F238E27FC236}">
                      <a16:creationId xmlns:a16="http://schemas.microsoft.com/office/drawing/2014/main" id="{EBB4377B-468C-AA2A-4D10-CFF3E03DB32E}"/>
                    </a:ext>
                  </a:extLst>
                </p:cNvPr>
                <p:cNvSpPr/>
                <p:nvPr/>
              </p:nvSpPr>
              <p:spPr>
                <a:xfrm>
                  <a:off x="7536736" y="184228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598"/>
                        <a:pt x="4235" y="13950"/>
                        <a:pt x="4359" y="18310"/>
                      </a:cubicBezTo>
                      <a:cubicBezTo>
                        <a:pt x="4484" y="25285"/>
                        <a:pt x="2740" y="28648"/>
                        <a:pt x="3114" y="35748"/>
                      </a:cubicBezTo>
                      <a:cubicBezTo>
                        <a:pt x="3487" y="42599"/>
                        <a:pt x="5605" y="48079"/>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6" name="Freeform 7499">
                  <a:extLst>
                    <a:ext uri="{FF2B5EF4-FFF2-40B4-BE49-F238E27FC236}">
                      <a16:creationId xmlns:a16="http://schemas.microsoft.com/office/drawing/2014/main" id="{C07F927F-FB3A-4760-9C35-55C3E80C7EB0}"/>
                    </a:ext>
                  </a:extLst>
                </p:cNvPr>
                <p:cNvSpPr/>
                <p:nvPr/>
              </p:nvSpPr>
              <p:spPr>
                <a:xfrm>
                  <a:off x="7534521" y="1882265"/>
                  <a:ext cx="26625" cy="26530"/>
                </a:xfrm>
                <a:custGeom>
                  <a:avLst/>
                  <a:gdLst>
                    <a:gd name="connsiteX0" fmla="*/ 97 w 26625"/>
                    <a:gd name="connsiteY0" fmla="*/ 15071 h 26530"/>
                    <a:gd name="connsiteX1" fmla="*/ 11557 w 26625"/>
                    <a:gd name="connsiteY1" fmla="*/ 124 h 26530"/>
                    <a:gd name="connsiteX2" fmla="*/ 26504 w 26625"/>
                    <a:gd name="connsiteY2" fmla="*/ 11459 h 26530"/>
                    <a:gd name="connsiteX3" fmla="*/ 15044 w 26625"/>
                    <a:gd name="connsiteY3" fmla="*/ 26406 h 26530"/>
                    <a:gd name="connsiteX4" fmla="*/ 97 w 26625"/>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30">
                      <a:moveTo>
                        <a:pt x="97" y="15071"/>
                      </a:moveTo>
                      <a:cubicBezTo>
                        <a:pt x="-774" y="7847"/>
                        <a:pt x="4332" y="1121"/>
                        <a:pt x="11557" y="124"/>
                      </a:cubicBezTo>
                      <a:cubicBezTo>
                        <a:pt x="18905" y="-872"/>
                        <a:pt x="25507" y="4235"/>
                        <a:pt x="26504" y="11459"/>
                      </a:cubicBezTo>
                      <a:cubicBezTo>
                        <a:pt x="27500" y="18683"/>
                        <a:pt x="22268" y="25410"/>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7" name="Freeform 7500">
                  <a:extLst>
                    <a:ext uri="{FF2B5EF4-FFF2-40B4-BE49-F238E27FC236}">
                      <a16:creationId xmlns:a16="http://schemas.microsoft.com/office/drawing/2014/main" id="{AF6E6A6A-2B7B-4F81-B74C-9E66BC9F8E47}"/>
                    </a:ext>
                  </a:extLst>
                </p:cNvPr>
                <p:cNvSpPr/>
                <p:nvPr/>
              </p:nvSpPr>
              <p:spPr>
                <a:xfrm>
                  <a:off x="7528646" y="1781622"/>
                  <a:ext cx="7654" cy="51815"/>
                </a:xfrm>
                <a:custGeom>
                  <a:avLst/>
                  <a:gdLst>
                    <a:gd name="connsiteX0" fmla="*/ 740 w 7654"/>
                    <a:gd name="connsiteY0" fmla="*/ 0 h 51815"/>
                    <a:gd name="connsiteX1" fmla="*/ 1239 w 7654"/>
                    <a:gd name="connsiteY1" fmla="*/ 18808 h 51815"/>
                    <a:gd name="connsiteX2" fmla="*/ 6843 w 7654"/>
                    <a:gd name="connsiteY2" fmla="*/ 35250 h 51815"/>
                    <a:gd name="connsiteX3" fmla="*/ 6843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740" y="0"/>
                      </a:moveTo>
                      <a:cubicBezTo>
                        <a:pt x="-630" y="8345"/>
                        <a:pt x="118" y="14573"/>
                        <a:pt x="1239" y="18808"/>
                      </a:cubicBezTo>
                      <a:cubicBezTo>
                        <a:pt x="2858" y="25659"/>
                        <a:pt x="5349" y="28275"/>
                        <a:pt x="6843" y="35250"/>
                      </a:cubicBezTo>
                      <a:cubicBezTo>
                        <a:pt x="8214" y="41976"/>
                        <a:pt x="7591" y="47830"/>
                        <a:pt x="684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8" name="Freeform 7501">
                  <a:extLst>
                    <a:ext uri="{FF2B5EF4-FFF2-40B4-BE49-F238E27FC236}">
                      <a16:creationId xmlns:a16="http://schemas.microsoft.com/office/drawing/2014/main" id="{B79CF0A3-75B6-F43D-55A5-A71E6063E251}"/>
                    </a:ext>
                  </a:extLst>
                </p:cNvPr>
                <p:cNvSpPr/>
                <p:nvPr/>
              </p:nvSpPr>
              <p:spPr>
                <a:xfrm>
                  <a:off x="7535614" y="1775644"/>
                  <a:ext cx="7473" cy="51691"/>
                </a:xfrm>
                <a:custGeom>
                  <a:avLst/>
                  <a:gdLst>
                    <a:gd name="connsiteX0" fmla="*/ 7474 w 7473"/>
                    <a:gd name="connsiteY0" fmla="*/ 51691 h 51691"/>
                    <a:gd name="connsiteX1" fmla="*/ 3114 w 7473"/>
                    <a:gd name="connsiteY1" fmla="*/ 33381 h 51691"/>
                    <a:gd name="connsiteX2" fmla="*/ 4235 w 7473"/>
                    <a:gd name="connsiteY2" fmla="*/ 15943 h 51691"/>
                    <a:gd name="connsiteX3" fmla="*/ 0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7474" y="51691"/>
                      </a:moveTo>
                      <a:cubicBezTo>
                        <a:pt x="3986" y="44093"/>
                        <a:pt x="3239" y="37741"/>
                        <a:pt x="3114" y="33381"/>
                      </a:cubicBezTo>
                      <a:cubicBezTo>
                        <a:pt x="2989" y="26406"/>
                        <a:pt x="4733" y="23043"/>
                        <a:pt x="4235"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9" name="Freeform 7502">
                  <a:extLst>
                    <a:ext uri="{FF2B5EF4-FFF2-40B4-BE49-F238E27FC236}">
                      <a16:creationId xmlns:a16="http://schemas.microsoft.com/office/drawing/2014/main" id="{064EDCAF-C506-D472-47EE-07AB7A54AE07}"/>
                    </a:ext>
                  </a:extLst>
                </p:cNvPr>
                <p:cNvSpPr/>
                <p:nvPr/>
              </p:nvSpPr>
              <p:spPr>
                <a:xfrm>
                  <a:off x="7518825" y="1760822"/>
                  <a:ext cx="26380" cy="26530"/>
                </a:xfrm>
                <a:custGeom>
                  <a:avLst/>
                  <a:gdLst>
                    <a:gd name="connsiteX0" fmla="*/ 26256 w 26380"/>
                    <a:gd name="connsiteY0" fmla="*/ 11459 h 26530"/>
                    <a:gd name="connsiteX1" fmla="*/ 14921 w 26380"/>
                    <a:gd name="connsiteY1" fmla="*/ 26406 h 26530"/>
                    <a:gd name="connsiteX2" fmla="*/ 99 w 26380"/>
                    <a:gd name="connsiteY2" fmla="*/ 15071 h 26530"/>
                    <a:gd name="connsiteX3" fmla="*/ 11433 w 26380"/>
                    <a:gd name="connsiteY3" fmla="*/ 124 h 26530"/>
                    <a:gd name="connsiteX4" fmla="*/ 26256 w 2638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30">
                      <a:moveTo>
                        <a:pt x="26256" y="11459"/>
                      </a:moveTo>
                      <a:cubicBezTo>
                        <a:pt x="27252" y="18683"/>
                        <a:pt x="22145" y="25410"/>
                        <a:pt x="14921" y="26406"/>
                      </a:cubicBezTo>
                      <a:cubicBezTo>
                        <a:pt x="7697" y="27402"/>
                        <a:pt x="1095" y="22296"/>
                        <a:pt x="99" y="15071"/>
                      </a:cubicBezTo>
                      <a:cubicBezTo>
                        <a:pt x="-773" y="7847"/>
                        <a:pt x="4209" y="1121"/>
                        <a:pt x="11433" y="124"/>
                      </a:cubicBezTo>
                      <a:cubicBezTo>
                        <a:pt x="18783" y="-872"/>
                        <a:pt x="25384" y="4235"/>
                        <a:pt x="26256"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9" name="Graphic 2987">
                <a:extLst>
                  <a:ext uri="{FF2B5EF4-FFF2-40B4-BE49-F238E27FC236}">
                    <a16:creationId xmlns:a16="http://schemas.microsoft.com/office/drawing/2014/main" id="{69E8D961-AADB-CB3E-4CD2-1050FBD37FB6}"/>
                  </a:ext>
                </a:extLst>
              </p:cNvPr>
              <p:cNvGrpSpPr/>
              <p:nvPr/>
            </p:nvGrpSpPr>
            <p:grpSpPr>
              <a:xfrm>
                <a:off x="7489680" y="1764807"/>
                <a:ext cx="42069" cy="147973"/>
                <a:chOff x="7489680" y="1764807"/>
                <a:chExt cx="42069" cy="147973"/>
              </a:xfrm>
              <a:grpFill/>
            </p:grpSpPr>
            <p:sp>
              <p:nvSpPr>
                <p:cNvPr id="6618" name="Freeform 7504">
                  <a:extLst>
                    <a:ext uri="{FF2B5EF4-FFF2-40B4-BE49-F238E27FC236}">
                      <a16:creationId xmlns:a16="http://schemas.microsoft.com/office/drawing/2014/main" id="{F6EA0192-9C7D-AAFA-E72A-9A423F4D4111}"/>
                    </a:ext>
                  </a:extLst>
                </p:cNvPr>
                <p:cNvSpPr/>
                <p:nvPr/>
              </p:nvSpPr>
              <p:spPr>
                <a:xfrm>
                  <a:off x="7514262" y="1840165"/>
                  <a:ext cx="7581" cy="51815"/>
                </a:xfrm>
                <a:custGeom>
                  <a:avLst/>
                  <a:gdLst>
                    <a:gd name="connsiteX0" fmla="*/ 6780 w 7581"/>
                    <a:gd name="connsiteY0" fmla="*/ 51816 h 51815"/>
                    <a:gd name="connsiteX1" fmla="*/ 6406 w 7581"/>
                    <a:gd name="connsiteY1" fmla="*/ 33008 h 51815"/>
                    <a:gd name="connsiteX2" fmla="*/ 801 w 7581"/>
                    <a:gd name="connsiteY2" fmla="*/ 16566 h 51815"/>
                    <a:gd name="connsiteX3" fmla="*/ 925 w 7581"/>
                    <a:gd name="connsiteY3" fmla="*/ 0 h 51815"/>
                  </a:gdLst>
                  <a:ahLst/>
                  <a:cxnLst>
                    <a:cxn ang="0">
                      <a:pos x="connsiteX0" y="connsiteY0"/>
                    </a:cxn>
                    <a:cxn ang="0">
                      <a:pos x="connsiteX1" y="connsiteY1"/>
                    </a:cxn>
                    <a:cxn ang="0">
                      <a:pos x="connsiteX2" y="connsiteY2"/>
                    </a:cxn>
                    <a:cxn ang="0">
                      <a:pos x="connsiteX3" y="connsiteY3"/>
                    </a:cxn>
                  </a:cxnLst>
                  <a:rect l="l" t="t" r="r" b="b"/>
                  <a:pathLst>
                    <a:path w="7581" h="51815">
                      <a:moveTo>
                        <a:pt x="6780" y="51816"/>
                      </a:moveTo>
                      <a:cubicBezTo>
                        <a:pt x="8274" y="43471"/>
                        <a:pt x="7402" y="37243"/>
                        <a:pt x="6406" y="33008"/>
                      </a:cubicBezTo>
                      <a:cubicBezTo>
                        <a:pt x="4786" y="26157"/>
                        <a:pt x="2296" y="23417"/>
                        <a:pt x="801" y="16566"/>
                      </a:cubicBezTo>
                      <a:cubicBezTo>
                        <a:pt x="-570" y="9840"/>
                        <a:pt x="54" y="3986"/>
                        <a:pt x="9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9" name="Freeform 7505">
                  <a:extLst>
                    <a:ext uri="{FF2B5EF4-FFF2-40B4-BE49-F238E27FC236}">
                      <a16:creationId xmlns:a16="http://schemas.microsoft.com/office/drawing/2014/main" id="{639C3988-D85A-927E-EB99-5FFC1EA18493}"/>
                    </a:ext>
                  </a:extLst>
                </p:cNvPr>
                <p:cNvSpPr/>
                <p:nvPr/>
              </p:nvSpPr>
              <p:spPr>
                <a:xfrm>
                  <a:off x="7507339" y="1846268"/>
                  <a:ext cx="7349" cy="51691"/>
                </a:xfrm>
                <a:custGeom>
                  <a:avLst/>
                  <a:gdLst>
                    <a:gd name="connsiteX0" fmla="*/ 0 w 7349"/>
                    <a:gd name="connsiteY0" fmla="*/ 0 h 51691"/>
                    <a:gd name="connsiteX1" fmla="*/ 4360 w 7349"/>
                    <a:gd name="connsiteY1" fmla="*/ 18310 h 51691"/>
                    <a:gd name="connsiteX2" fmla="*/ 3114 w 7349"/>
                    <a:gd name="connsiteY2" fmla="*/ 35748 h 51691"/>
                    <a:gd name="connsiteX3" fmla="*/ 7349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0" y="0"/>
                      </a:moveTo>
                      <a:cubicBezTo>
                        <a:pt x="3488" y="7598"/>
                        <a:pt x="4235" y="13950"/>
                        <a:pt x="4360" y="18310"/>
                      </a:cubicBezTo>
                      <a:cubicBezTo>
                        <a:pt x="4485" y="25285"/>
                        <a:pt x="2741" y="28648"/>
                        <a:pt x="3114" y="35748"/>
                      </a:cubicBezTo>
                      <a:cubicBezTo>
                        <a:pt x="3488" y="42599"/>
                        <a:pt x="5605" y="48204"/>
                        <a:pt x="734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0" name="Freeform 7506">
                  <a:extLst>
                    <a:ext uri="{FF2B5EF4-FFF2-40B4-BE49-F238E27FC236}">
                      <a16:creationId xmlns:a16="http://schemas.microsoft.com/office/drawing/2014/main" id="{C36C0180-7279-D678-E5AA-B1BE2EDC9BE2}"/>
                    </a:ext>
                  </a:extLst>
                </p:cNvPr>
                <p:cNvSpPr/>
                <p:nvPr/>
              </p:nvSpPr>
              <p:spPr>
                <a:xfrm>
                  <a:off x="7505001" y="1886251"/>
                  <a:ext cx="26749" cy="26530"/>
                </a:xfrm>
                <a:custGeom>
                  <a:avLst/>
                  <a:gdLst>
                    <a:gd name="connsiteX0" fmla="*/ 97 w 26749"/>
                    <a:gd name="connsiteY0" fmla="*/ 15071 h 26530"/>
                    <a:gd name="connsiteX1" fmla="*/ 11681 w 26749"/>
                    <a:gd name="connsiteY1" fmla="*/ 124 h 26530"/>
                    <a:gd name="connsiteX2" fmla="*/ 26628 w 26749"/>
                    <a:gd name="connsiteY2" fmla="*/ 11459 h 26530"/>
                    <a:gd name="connsiteX3" fmla="*/ 15044 w 26749"/>
                    <a:gd name="connsiteY3" fmla="*/ 26406 h 26530"/>
                    <a:gd name="connsiteX4" fmla="*/ 97 w 2674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0">
                      <a:moveTo>
                        <a:pt x="97" y="15071"/>
                      </a:moveTo>
                      <a:cubicBezTo>
                        <a:pt x="-775" y="7847"/>
                        <a:pt x="4332" y="1121"/>
                        <a:pt x="11681" y="124"/>
                      </a:cubicBezTo>
                      <a:cubicBezTo>
                        <a:pt x="19030" y="-872"/>
                        <a:pt x="25632" y="4235"/>
                        <a:pt x="26628" y="11459"/>
                      </a:cubicBezTo>
                      <a:cubicBezTo>
                        <a:pt x="27624" y="18683"/>
                        <a:pt x="22393" y="25409"/>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1" name="Freeform 7507">
                  <a:extLst>
                    <a:ext uri="{FF2B5EF4-FFF2-40B4-BE49-F238E27FC236}">
                      <a16:creationId xmlns:a16="http://schemas.microsoft.com/office/drawing/2014/main" id="{967A79A3-52FD-2CE1-476B-00520DDB8540}"/>
                    </a:ext>
                  </a:extLst>
                </p:cNvPr>
                <p:cNvSpPr/>
                <p:nvPr/>
              </p:nvSpPr>
              <p:spPr>
                <a:xfrm>
                  <a:off x="7499314" y="1785608"/>
                  <a:ext cx="7456" cy="51815"/>
                </a:xfrm>
                <a:custGeom>
                  <a:avLst/>
                  <a:gdLst>
                    <a:gd name="connsiteX0" fmla="*/ 802 w 7456"/>
                    <a:gd name="connsiteY0" fmla="*/ 0 h 51815"/>
                    <a:gd name="connsiteX1" fmla="*/ 1175 w 7456"/>
                    <a:gd name="connsiteY1" fmla="*/ 18808 h 51815"/>
                    <a:gd name="connsiteX2" fmla="*/ 6656 w 7456"/>
                    <a:gd name="connsiteY2" fmla="*/ 35250 h 51815"/>
                    <a:gd name="connsiteX3" fmla="*/ 6531 w 745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6" h="51815">
                      <a:moveTo>
                        <a:pt x="802" y="0"/>
                      </a:moveTo>
                      <a:cubicBezTo>
                        <a:pt x="-693" y="8345"/>
                        <a:pt x="179" y="14573"/>
                        <a:pt x="1175" y="18808"/>
                      </a:cubicBezTo>
                      <a:cubicBezTo>
                        <a:pt x="2795" y="25659"/>
                        <a:pt x="5286" y="28399"/>
                        <a:pt x="6656" y="35250"/>
                      </a:cubicBezTo>
                      <a:cubicBezTo>
                        <a:pt x="8026" y="41976"/>
                        <a:pt x="7403" y="47830"/>
                        <a:pt x="65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2" name="Freeform 7508">
                  <a:extLst>
                    <a:ext uri="{FF2B5EF4-FFF2-40B4-BE49-F238E27FC236}">
                      <a16:creationId xmlns:a16="http://schemas.microsoft.com/office/drawing/2014/main" id="{C32C7972-E1B0-7F38-08F4-9AF632A105D6}"/>
                    </a:ext>
                  </a:extLst>
                </p:cNvPr>
                <p:cNvSpPr/>
                <p:nvPr/>
              </p:nvSpPr>
              <p:spPr>
                <a:xfrm>
                  <a:off x="7506344" y="1779630"/>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3" name="Freeform 7509">
                  <a:extLst>
                    <a:ext uri="{FF2B5EF4-FFF2-40B4-BE49-F238E27FC236}">
                      <a16:creationId xmlns:a16="http://schemas.microsoft.com/office/drawing/2014/main" id="{717F177D-73B9-484D-3797-707B229E3EDE}"/>
                    </a:ext>
                  </a:extLst>
                </p:cNvPr>
                <p:cNvSpPr/>
                <p:nvPr/>
              </p:nvSpPr>
              <p:spPr>
                <a:xfrm>
                  <a:off x="7489680" y="1764807"/>
                  <a:ext cx="26377" cy="26530"/>
                </a:xfrm>
                <a:custGeom>
                  <a:avLst/>
                  <a:gdLst>
                    <a:gd name="connsiteX0" fmla="*/ 26254 w 26377"/>
                    <a:gd name="connsiteY0" fmla="*/ 11459 h 26530"/>
                    <a:gd name="connsiteX1" fmla="*/ 14795 w 26377"/>
                    <a:gd name="connsiteY1" fmla="*/ 26406 h 26530"/>
                    <a:gd name="connsiteX2" fmla="*/ 97 w 26377"/>
                    <a:gd name="connsiteY2" fmla="*/ 15071 h 26530"/>
                    <a:gd name="connsiteX3" fmla="*/ 11556 w 26377"/>
                    <a:gd name="connsiteY3" fmla="*/ 124 h 26530"/>
                    <a:gd name="connsiteX4" fmla="*/ 26254 w 26377"/>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0">
                      <a:moveTo>
                        <a:pt x="26254" y="11459"/>
                      </a:moveTo>
                      <a:cubicBezTo>
                        <a:pt x="27250" y="18683"/>
                        <a:pt x="22144" y="25409"/>
                        <a:pt x="14795" y="26406"/>
                      </a:cubicBezTo>
                      <a:cubicBezTo>
                        <a:pt x="7570" y="27402"/>
                        <a:pt x="969" y="22296"/>
                        <a:pt x="97" y="15071"/>
                      </a:cubicBezTo>
                      <a:cubicBezTo>
                        <a:pt x="-775" y="7847"/>
                        <a:pt x="4332" y="1121"/>
                        <a:pt x="11556" y="124"/>
                      </a:cubicBezTo>
                      <a:cubicBezTo>
                        <a:pt x="18656" y="-872"/>
                        <a:pt x="25258" y="4235"/>
                        <a:pt x="262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0" name="Graphic 2987">
                <a:extLst>
                  <a:ext uri="{FF2B5EF4-FFF2-40B4-BE49-F238E27FC236}">
                    <a16:creationId xmlns:a16="http://schemas.microsoft.com/office/drawing/2014/main" id="{FC88B351-3D95-178E-D996-91A80ECAC99F}"/>
                  </a:ext>
                </a:extLst>
              </p:cNvPr>
              <p:cNvGrpSpPr/>
              <p:nvPr/>
            </p:nvGrpSpPr>
            <p:grpSpPr>
              <a:xfrm>
                <a:off x="7460409" y="1768791"/>
                <a:ext cx="41546" cy="147976"/>
                <a:chOff x="7460409" y="1768791"/>
                <a:chExt cx="41546" cy="147976"/>
              </a:xfrm>
              <a:grpFill/>
            </p:grpSpPr>
            <p:sp>
              <p:nvSpPr>
                <p:cNvPr id="6612" name="Freeform 7511">
                  <a:extLst>
                    <a:ext uri="{FF2B5EF4-FFF2-40B4-BE49-F238E27FC236}">
                      <a16:creationId xmlns:a16="http://schemas.microsoft.com/office/drawing/2014/main" id="{CDD41A46-CE77-0016-2E43-5085BF5C9D93}"/>
                    </a:ext>
                  </a:extLst>
                </p:cNvPr>
                <p:cNvSpPr/>
                <p:nvPr/>
              </p:nvSpPr>
              <p:spPr>
                <a:xfrm>
                  <a:off x="7484779" y="1844150"/>
                  <a:ext cx="7419" cy="51815"/>
                </a:xfrm>
                <a:custGeom>
                  <a:avLst/>
                  <a:gdLst>
                    <a:gd name="connsiteX0" fmla="*/ 6618 w 7419"/>
                    <a:gd name="connsiteY0" fmla="*/ 51816 h 51815"/>
                    <a:gd name="connsiteX1" fmla="*/ 6244 w 7419"/>
                    <a:gd name="connsiteY1" fmla="*/ 33008 h 51815"/>
                    <a:gd name="connsiteX2" fmla="*/ 763 w 7419"/>
                    <a:gd name="connsiteY2" fmla="*/ 16566 h 51815"/>
                    <a:gd name="connsiteX3" fmla="*/ 888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51816"/>
                      </a:moveTo>
                      <a:cubicBezTo>
                        <a:pt x="8113" y="43471"/>
                        <a:pt x="7241" y="37243"/>
                        <a:pt x="6244" y="33008"/>
                      </a:cubicBezTo>
                      <a:cubicBezTo>
                        <a:pt x="4625" y="26157"/>
                        <a:pt x="2134" y="23417"/>
                        <a:pt x="763" y="16566"/>
                      </a:cubicBezTo>
                      <a:cubicBezTo>
                        <a:pt x="-607" y="9840"/>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3" name="Freeform 7512">
                  <a:extLst>
                    <a:ext uri="{FF2B5EF4-FFF2-40B4-BE49-F238E27FC236}">
                      <a16:creationId xmlns:a16="http://schemas.microsoft.com/office/drawing/2014/main" id="{1735B8B9-C83C-4FE9-1456-624A6F852D69}"/>
                    </a:ext>
                  </a:extLst>
                </p:cNvPr>
                <p:cNvSpPr/>
                <p:nvPr/>
              </p:nvSpPr>
              <p:spPr>
                <a:xfrm>
                  <a:off x="7477944" y="1850254"/>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598"/>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4" name="Freeform 7513">
                  <a:extLst>
                    <a:ext uri="{FF2B5EF4-FFF2-40B4-BE49-F238E27FC236}">
                      <a16:creationId xmlns:a16="http://schemas.microsoft.com/office/drawing/2014/main" id="{34703C7E-9A78-63E5-6D6E-23B64B88E8DE}"/>
                    </a:ext>
                  </a:extLst>
                </p:cNvPr>
                <p:cNvSpPr/>
                <p:nvPr/>
              </p:nvSpPr>
              <p:spPr>
                <a:xfrm>
                  <a:off x="7475356" y="1890237"/>
                  <a:ext cx="26600" cy="26530"/>
                </a:xfrm>
                <a:custGeom>
                  <a:avLst/>
                  <a:gdLst>
                    <a:gd name="connsiteX0" fmla="*/ 97 w 26600"/>
                    <a:gd name="connsiteY0" fmla="*/ 15071 h 26530"/>
                    <a:gd name="connsiteX1" fmla="*/ 11681 w 26600"/>
                    <a:gd name="connsiteY1" fmla="*/ 124 h 26530"/>
                    <a:gd name="connsiteX2" fmla="*/ 26504 w 26600"/>
                    <a:gd name="connsiteY2" fmla="*/ 11459 h 26530"/>
                    <a:gd name="connsiteX3" fmla="*/ 14919 w 26600"/>
                    <a:gd name="connsiteY3" fmla="*/ 26406 h 26530"/>
                    <a:gd name="connsiteX4" fmla="*/ 97 w 26600"/>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0">
                      <a:moveTo>
                        <a:pt x="97" y="15071"/>
                      </a:moveTo>
                      <a:cubicBezTo>
                        <a:pt x="-775" y="7847"/>
                        <a:pt x="4332" y="1121"/>
                        <a:pt x="11681" y="124"/>
                      </a:cubicBezTo>
                      <a:cubicBezTo>
                        <a:pt x="19030" y="-872"/>
                        <a:pt x="25632" y="4235"/>
                        <a:pt x="26504" y="11459"/>
                      </a:cubicBezTo>
                      <a:cubicBezTo>
                        <a:pt x="27375" y="18683"/>
                        <a:pt x="22268" y="25409"/>
                        <a:pt x="14919" y="26406"/>
                      </a:cubicBezTo>
                      <a:cubicBezTo>
                        <a:pt x="7571"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5" name="Freeform 7514">
                  <a:extLst>
                    <a:ext uri="{FF2B5EF4-FFF2-40B4-BE49-F238E27FC236}">
                      <a16:creationId xmlns:a16="http://schemas.microsoft.com/office/drawing/2014/main" id="{C85381B4-D14B-047A-8625-6001CAE2C5F1}"/>
                    </a:ext>
                  </a:extLst>
                </p:cNvPr>
                <p:cNvSpPr/>
                <p:nvPr/>
              </p:nvSpPr>
              <p:spPr>
                <a:xfrm>
                  <a:off x="7470042" y="1789470"/>
                  <a:ext cx="7419" cy="51815"/>
                </a:xfrm>
                <a:custGeom>
                  <a:avLst/>
                  <a:gdLst>
                    <a:gd name="connsiteX0" fmla="*/ 802 w 7419"/>
                    <a:gd name="connsiteY0" fmla="*/ 0 h 51815"/>
                    <a:gd name="connsiteX1" fmla="*/ 1176 w 7419"/>
                    <a:gd name="connsiteY1" fmla="*/ 18808 h 51815"/>
                    <a:gd name="connsiteX2" fmla="*/ 6656 w 7419"/>
                    <a:gd name="connsiteY2" fmla="*/ 35250 h 51815"/>
                    <a:gd name="connsiteX3" fmla="*/ 6532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802" y="0"/>
                      </a:moveTo>
                      <a:cubicBezTo>
                        <a:pt x="-693" y="8345"/>
                        <a:pt x="179" y="14573"/>
                        <a:pt x="1176" y="18808"/>
                      </a:cubicBezTo>
                      <a:cubicBezTo>
                        <a:pt x="2795" y="25659"/>
                        <a:pt x="5287" y="28399"/>
                        <a:pt x="6656" y="35250"/>
                      </a:cubicBezTo>
                      <a:cubicBezTo>
                        <a:pt x="8026" y="41976"/>
                        <a:pt x="7279" y="47955"/>
                        <a:pt x="653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6" name="Freeform 7515">
                  <a:extLst>
                    <a:ext uri="{FF2B5EF4-FFF2-40B4-BE49-F238E27FC236}">
                      <a16:creationId xmlns:a16="http://schemas.microsoft.com/office/drawing/2014/main" id="{62874129-7A0C-66E8-A413-1C7E437009C2}"/>
                    </a:ext>
                  </a:extLst>
                </p:cNvPr>
                <p:cNvSpPr/>
                <p:nvPr/>
              </p:nvSpPr>
              <p:spPr>
                <a:xfrm>
                  <a:off x="7477197" y="1783491"/>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3" y="44093"/>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7" name="Freeform 7516">
                  <a:extLst>
                    <a:ext uri="{FF2B5EF4-FFF2-40B4-BE49-F238E27FC236}">
                      <a16:creationId xmlns:a16="http://schemas.microsoft.com/office/drawing/2014/main" id="{6B3F831F-5D4D-6F26-84DC-34CA6A208DED}"/>
                    </a:ext>
                  </a:extLst>
                </p:cNvPr>
                <p:cNvSpPr/>
                <p:nvPr/>
              </p:nvSpPr>
              <p:spPr>
                <a:xfrm>
                  <a:off x="7460409" y="1768791"/>
                  <a:ext cx="26350" cy="26532"/>
                </a:xfrm>
                <a:custGeom>
                  <a:avLst/>
                  <a:gdLst>
                    <a:gd name="connsiteX0" fmla="*/ 26254 w 26350"/>
                    <a:gd name="connsiteY0" fmla="*/ 11461 h 26532"/>
                    <a:gd name="connsiteX1" fmla="*/ 14795 w 26350"/>
                    <a:gd name="connsiteY1" fmla="*/ 26408 h 26532"/>
                    <a:gd name="connsiteX2" fmla="*/ 97 w 26350"/>
                    <a:gd name="connsiteY2" fmla="*/ 15074 h 26532"/>
                    <a:gd name="connsiteX3" fmla="*/ 11556 w 26350"/>
                    <a:gd name="connsiteY3" fmla="*/ 127 h 26532"/>
                    <a:gd name="connsiteX4" fmla="*/ 26254 w 26350"/>
                    <a:gd name="connsiteY4" fmla="*/ 1146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531">
                      <a:moveTo>
                        <a:pt x="26254" y="11461"/>
                      </a:moveTo>
                      <a:cubicBezTo>
                        <a:pt x="27126" y="18686"/>
                        <a:pt x="22018" y="25412"/>
                        <a:pt x="14795" y="26408"/>
                      </a:cubicBezTo>
                      <a:cubicBezTo>
                        <a:pt x="7570" y="27405"/>
                        <a:pt x="969" y="22298"/>
                        <a:pt x="97" y="15074"/>
                      </a:cubicBezTo>
                      <a:cubicBezTo>
                        <a:pt x="-775" y="7849"/>
                        <a:pt x="4331" y="1123"/>
                        <a:pt x="11556" y="127"/>
                      </a:cubicBezTo>
                      <a:cubicBezTo>
                        <a:pt x="18781" y="-870"/>
                        <a:pt x="25382" y="4113"/>
                        <a:pt x="26254" y="114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1" name="Graphic 2987">
                <a:extLst>
                  <a:ext uri="{FF2B5EF4-FFF2-40B4-BE49-F238E27FC236}">
                    <a16:creationId xmlns:a16="http://schemas.microsoft.com/office/drawing/2014/main" id="{0585EFBA-4226-517E-3A72-AE4C3A8B4867}"/>
                  </a:ext>
                </a:extLst>
              </p:cNvPr>
              <p:cNvGrpSpPr/>
              <p:nvPr/>
            </p:nvGrpSpPr>
            <p:grpSpPr>
              <a:xfrm>
                <a:off x="7431263" y="1772477"/>
                <a:ext cx="41171" cy="148201"/>
                <a:chOff x="7431263" y="1772477"/>
                <a:chExt cx="41171" cy="148201"/>
              </a:xfrm>
              <a:grpFill/>
            </p:grpSpPr>
            <p:sp>
              <p:nvSpPr>
                <p:cNvPr id="6606" name="Freeform 7518">
                  <a:extLst>
                    <a:ext uri="{FF2B5EF4-FFF2-40B4-BE49-F238E27FC236}">
                      <a16:creationId xmlns:a16="http://schemas.microsoft.com/office/drawing/2014/main" id="{8AD30897-3D34-B768-6806-624AC568FC65}"/>
                    </a:ext>
                  </a:extLst>
                </p:cNvPr>
                <p:cNvSpPr/>
                <p:nvPr/>
              </p:nvSpPr>
              <p:spPr>
                <a:xfrm>
                  <a:off x="7455383" y="1848012"/>
                  <a:ext cx="7338" cy="51815"/>
                </a:xfrm>
                <a:custGeom>
                  <a:avLst/>
                  <a:gdLst>
                    <a:gd name="connsiteX0" fmla="*/ 6493 w 7338"/>
                    <a:gd name="connsiteY0" fmla="*/ 51816 h 51815"/>
                    <a:gd name="connsiteX1" fmla="*/ 6244 w 7338"/>
                    <a:gd name="connsiteY1" fmla="*/ 33008 h 51815"/>
                    <a:gd name="connsiteX2" fmla="*/ 763 w 7338"/>
                    <a:gd name="connsiteY2" fmla="*/ 16442 h 51815"/>
                    <a:gd name="connsiteX3" fmla="*/ 888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6493" y="51816"/>
                      </a:moveTo>
                      <a:cubicBezTo>
                        <a:pt x="7988" y="43595"/>
                        <a:pt x="7241" y="37243"/>
                        <a:pt x="6244" y="33008"/>
                      </a:cubicBezTo>
                      <a:cubicBezTo>
                        <a:pt x="4625" y="26157"/>
                        <a:pt x="2133" y="23417"/>
                        <a:pt x="763" y="16442"/>
                      </a:cubicBezTo>
                      <a:cubicBezTo>
                        <a:pt x="-607" y="9715"/>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7" name="Freeform 7519">
                  <a:extLst>
                    <a:ext uri="{FF2B5EF4-FFF2-40B4-BE49-F238E27FC236}">
                      <a16:creationId xmlns:a16="http://schemas.microsoft.com/office/drawing/2014/main" id="{D9440FED-9B10-0EC7-DE64-FF0334346F37}"/>
                    </a:ext>
                  </a:extLst>
                </p:cNvPr>
                <p:cNvSpPr/>
                <p:nvPr/>
              </p:nvSpPr>
              <p:spPr>
                <a:xfrm>
                  <a:off x="7448549" y="1853990"/>
                  <a:ext cx="6975" cy="51691"/>
                </a:xfrm>
                <a:custGeom>
                  <a:avLst/>
                  <a:gdLst>
                    <a:gd name="connsiteX0" fmla="*/ 0 w 6975"/>
                    <a:gd name="connsiteY0" fmla="*/ 0 h 51691"/>
                    <a:gd name="connsiteX1" fmla="*/ 4235 w 6975"/>
                    <a:gd name="connsiteY1" fmla="*/ 18310 h 51691"/>
                    <a:gd name="connsiteX2" fmla="*/ 2865 w 6975"/>
                    <a:gd name="connsiteY2" fmla="*/ 35624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488" y="7723"/>
                        <a:pt x="4235" y="13950"/>
                        <a:pt x="4235" y="18310"/>
                      </a:cubicBezTo>
                      <a:cubicBezTo>
                        <a:pt x="4359" y="25285"/>
                        <a:pt x="2491" y="28524"/>
                        <a:pt x="2865" y="35624"/>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8" name="Freeform 7520">
                  <a:extLst>
                    <a:ext uri="{FF2B5EF4-FFF2-40B4-BE49-F238E27FC236}">
                      <a16:creationId xmlns:a16="http://schemas.microsoft.com/office/drawing/2014/main" id="{16C9F9D7-B159-8918-A778-5C73F0FC220E}"/>
                    </a:ext>
                  </a:extLst>
                </p:cNvPr>
                <p:cNvSpPr/>
                <p:nvPr/>
              </p:nvSpPr>
              <p:spPr>
                <a:xfrm>
                  <a:off x="7445714" y="1894149"/>
                  <a:ext cx="26720" cy="26530"/>
                </a:xfrm>
                <a:custGeom>
                  <a:avLst/>
                  <a:gdLst>
                    <a:gd name="connsiteX0" fmla="*/ 95 w 26720"/>
                    <a:gd name="connsiteY0" fmla="*/ 14647 h 26530"/>
                    <a:gd name="connsiteX1" fmla="*/ 11803 w 26720"/>
                    <a:gd name="connsiteY1" fmla="*/ 74 h 26530"/>
                    <a:gd name="connsiteX2" fmla="*/ 26625 w 26720"/>
                    <a:gd name="connsiteY2" fmla="*/ 11658 h 26530"/>
                    <a:gd name="connsiteX3" fmla="*/ 15041 w 26720"/>
                    <a:gd name="connsiteY3" fmla="*/ 26480 h 26530"/>
                    <a:gd name="connsiteX4" fmla="*/ 95 w 26720"/>
                    <a:gd name="connsiteY4" fmla="*/ 14647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30">
                      <a:moveTo>
                        <a:pt x="95" y="14647"/>
                      </a:moveTo>
                      <a:cubicBezTo>
                        <a:pt x="-777" y="7423"/>
                        <a:pt x="4454" y="821"/>
                        <a:pt x="11803" y="74"/>
                      </a:cubicBezTo>
                      <a:cubicBezTo>
                        <a:pt x="19152" y="-673"/>
                        <a:pt x="25754" y="4309"/>
                        <a:pt x="26625" y="11658"/>
                      </a:cubicBezTo>
                      <a:cubicBezTo>
                        <a:pt x="27497" y="18882"/>
                        <a:pt x="22266" y="25733"/>
                        <a:pt x="15041" y="26480"/>
                      </a:cubicBezTo>
                      <a:cubicBezTo>
                        <a:pt x="7693" y="27103"/>
                        <a:pt x="966" y="21872"/>
                        <a:pt x="95" y="146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9" name="Freeform 7521">
                  <a:extLst>
                    <a:ext uri="{FF2B5EF4-FFF2-40B4-BE49-F238E27FC236}">
                      <a16:creationId xmlns:a16="http://schemas.microsoft.com/office/drawing/2014/main" id="{F661F957-FEC3-E447-AF54-53F3A14D064F}"/>
                    </a:ext>
                  </a:extLst>
                </p:cNvPr>
                <p:cNvSpPr/>
                <p:nvPr/>
              </p:nvSpPr>
              <p:spPr>
                <a:xfrm>
                  <a:off x="7440728" y="1793206"/>
                  <a:ext cx="7338" cy="51815"/>
                </a:xfrm>
                <a:custGeom>
                  <a:avLst/>
                  <a:gdLst>
                    <a:gd name="connsiteX0" fmla="*/ 845 w 7338"/>
                    <a:gd name="connsiteY0" fmla="*/ 0 h 51815"/>
                    <a:gd name="connsiteX1" fmla="*/ 1095 w 7338"/>
                    <a:gd name="connsiteY1" fmla="*/ 18808 h 51815"/>
                    <a:gd name="connsiteX2" fmla="*/ 6575 w 7338"/>
                    <a:gd name="connsiteY2" fmla="*/ 35374 h 51815"/>
                    <a:gd name="connsiteX3" fmla="*/ 6450 w 73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38" h="51815">
                      <a:moveTo>
                        <a:pt x="845" y="0"/>
                      </a:moveTo>
                      <a:cubicBezTo>
                        <a:pt x="-649" y="8221"/>
                        <a:pt x="98" y="14573"/>
                        <a:pt x="1095" y="18808"/>
                      </a:cubicBezTo>
                      <a:cubicBezTo>
                        <a:pt x="2714" y="25659"/>
                        <a:pt x="5204" y="28399"/>
                        <a:pt x="6575" y="35374"/>
                      </a:cubicBezTo>
                      <a:cubicBezTo>
                        <a:pt x="7945" y="42101"/>
                        <a:pt x="7198" y="47955"/>
                        <a:pt x="645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0" name="Freeform 7522">
                  <a:extLst>
                    <a:ext uri="{FF2B5EF4-FFF2-40B4-BE49-F238E27FC236}">
                      <a16:creationId xmlns:a16="http://schemas.microsoft.com/office/drawing/2014/main" id="{2BABF40F-EE8A-52C1-EA1C-662E73C51961}"/>
                    </a:ext>
                  </a:extLst>
                </p:cNvPr>
                <p:cNvSpPr/>
                <p:nvPr/>
              </p:nvSpPr>
              <p:spPr>
                <a:xfrm>
                  <a:off x="7448051" y="1787477"/>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487" y="43969"/>
                        <a:pt x="2740" y="37741"/>
                        <a:pt x="2740" y="33381"/>
                      </a:cubicBezTo>
                      <a:cubicBezTo>
                        <a:pt x="2615" y="26406"/>
                        <a:pt x="4359" y="23168"/>
                        <a:pt x="4110"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1" name="Freeform 7523">
                  <a:extLst>
                    <a:ext uri="{FF2B5EF4-FFF2-40B4-BE49-F238E27FC236}">
                      <a16:creationId xmlns:a16="http://schemas.microsoft.com/office/drawing/2014/main" id="{ED78D1C9-7990-4196-DBEC-93A0B6FD2F93}"/>
                    </a:ext>
                  </a:extLst>
                </p:cNvPr>
                <p:cNvSpPr/>
                <p:nvPr/>
              </p:nvSpPr>
              <p:spPr>
                <a:xfrm>
                  <a:off x="7431263" y="1772477"/>
                  <a:ext cx="26350" cy="26405"/>
                </a:xfrm>
                <a:custGeom>
                  <a:avLst/>
                  <a:gdLst>
                    <a:gd name="connsiteX0" fmla="*/ 26254 w 26350"/>
                    <a:gd name="connsiteY0" fmla="*/ 11636 h 26405"/>
                    <a:gd name="connsiteX1" fmla="*/ 14795 w 26350"/>
                    <a:gd name="connsiteY1" fmla="*/ 26334 h 26405"/>
                    <a:gd name="connsiteX2" fmla="*/ 97 w 26350"/>
                    <a:gd name="connsiteY2" fmla="*/ 14626 h 26405"/>
                    <a:gd name="connsiteX3" fmla="*/ 11556 w 26350"/>
                    <a:gd name="connsiteY3" fmla="*/ 52 h 26405"/>
                    <a:gd name="connsiteX4" fmla="*/ 26254 w 26350"/>
                    <a:gd name="connsiteY4" fmla="*/ 1163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05">
                      <a:moveTo>
                        <a:pt x="26254" y="11636"/>
                      </a:moveTo>
                      <a:cubicBezTo>
                        <a:pt x="27126" y="18861"/>
                        <a:pt x="22019" y="25711"/>
                        <a:pt x="14795" y="26334"/>
                      </a:cubicBezTo>
                      <a:cubicBezTo>
                        <a:pt x="7570" y="27082"/>
                        <a:pt x="969" y="21850"/>
                        <a:pt x="97" y="14626"/>
                      </a:cubicBezTo>
                      <a:cubicBezTo>
                        <a:pt x="-775" y="7401"/>
                        <a:pt x="4332" y="800"/>
                        <a:pt x="11556" y="52"/>
                      </a:cubicBezTo>
                      <a:cubicBezTo>
                        <a:pt x="18781" y="-570"/>
                        <a:pt x="25258" y="4412"/>
                        <a:pt x="26254" y="116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2" name="Graphic 2987">
                <a:extLst>
                  <a:ext uri="{FF2B5EF4-FFF2-40B4-BE49-F238E27FC236}">
                    <a16:creationId xmlns:a16="http://schemas.microsoft.com/office/drawing/2014/main" id="{5F7D9A10-6787-A6F1-6784-DB9B647314BB}"/>
                  </a:ext>
                </a:extLst>
              </p:cNvPr>
              <p:cNvGrpSpPr/>
              <p:nvPr/>
            </p:nvGrpSpPr>
            <p:grpSpPr>
              <a:xfrm>
                <a:off x="7401744" y="1775820"/>
                <a:ext cx="41045" cy="147993"/>
                <a:chOff x="7401744" y="1775820"/>
                <a:chExt cx="41045" cy="147993"/>
              </a:xfrm>
              <a:grpFill/>
            </p:grpSpPr>
            <p:sp>
              <p:nvSpPr>
                <p:cNvPr id="6600" name="Freeform 7525">
                  <a:extLst>
                    <a:ext uri="{FF2B5EF4-FFF2-40B4-BE49-F238E27FC236}">
                      <a16:creationId xmlns:a16="http://schemas.microsoft.com/office/drawing/2014/main" id="{48DC2A30-3A88-BF25-8702-72DCCE94684E}"/>
                    </a:ext>
                  </a:extLst>
                </p:cNvPr>
                <p:cNvSpPr/>
                <p:nvPr/>
              </p:nvSpPr>
              <p:spPr>
                <a:xfrm>
                  <a:off x="7425800" y="1851250"/>
                  <a:ext cx="7276" cy="51816"/>
                </a:xfrm>
                <a:custGeom>
                  <a:avLst/>
                  <a:gdLst>
                    <a:gd name="connsiteX0" fmla="*/ 6431 w 7276"/>
                    <a:gd name="connsiteY0" fmla="*/ 51816 h 51816"/>
                    <a:gd name="connsiteX1" fmla="*/ 6182 w 7276"/>
                    <a:gd name="connsiteY1" fmla="*/ 33008 h 51816"/>
                    <a:gd name="connsiteX2" fmla="*/ 701 w 7276"/>
                    <a:gd name="connsiteY2" fmla="*/ 16442 h 51816"/>
                    <a:gd name="connsiteX3" fmla="*/ 951 w 7276"/>
                    <a:gd name="connsiteY3" fmla="*/ 0 h 51816"/>
                  </a:gdLst>
                  <a:ahLst/>
                  <a:cxnLst>
                    <a:cxn ang="0">
                      <a:pos x="connsiteX0" y="connsiteY0"/>
                    </a:cxn>
                    <a:cxn ang="0">
                      <a:pos x="connsiteX1" y="connsiteY1"/>
                    </a:cxn>
                    <a:cxn ang="0">
                      <a:pos x="connsiteX2" y="connsiteY2"/>
                    </a:cxn>
                    <a:cxn ang="0">
                      <a:pos x="connsiteX3" y="connsiteY3"/>
                    </a:cxn>
                  </a:cxnLst>
                  <a:rect l="l" t="t" r="r" b="b"/>
                  <a:pathLst>
                    <a:path w="7276" h="51816">
                      <a:moveTo>
                        <a:pt x="6431" y="51816"/>
                      </a:moveTo>
                      <a:cubicBezTo>
                        <a:pt x="7926" y="43595"/>
                        <a:pt x="7179" y="37243"/>
                        <a:pt x="6182" y="33008"/>
                      </a:cubicBezTo>
                      <a:cubicBezTo>
                        <a:pt x="4563" y="26157"/>
                        <a:pt x="2072" y="23417"/>
                        <a:pt x="701" y="16442"/>
                      </a:cubicBezTo>
                      <a:cubicBezTo>
                        <a:pt x="-544" y="9716"/>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1" name="Freeform 7526">
                  <a:extLst>
                    <a:ext uri="{FF2B5EF4-FFF2-40B4-BE49-F238E27FC236}">
                      <a16:creationId xmlns:a16="http://schemas.microsoft.com/office/drawing/2014/main" id="{69690B42-2DA1-C8C6-F20B-CE78D5D48C67}"/>
                    </a:ext>
                  </a:extLst>
                </p:cNvPr>
                <p:cNvSpPr/>
                <p:nvPr/>
              </p:nvSpPr>
              <p:spPr>
                <a:xfrm>
                  <a:off x="7419028" y="1857229"/>
                  <a:ext cx="6975" cy="51691"/>
                </a:xfrm>
                <a:custGeom>
                  <a:avLst/>
                  <a:gdLst>
                    <a:gd name="connsiteX0" fmla="*/ 0 w 6975"/>
                    <a:gd name="connsiteY0" fmla="*/ 0 h 51691"/>
                    <a:gd name="connsiteX1" fmla="*/ 4235 w 6975"/>
                    <a:gd name="connsiteY1" fmla="*/ 18310 h 51691"/>
                    <a:gd name="connsiteX2" fmla="*/ 2865 w 6975"/>
                    <a:gd name="connsiteY2" fmla="*/ 35623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363" y="7723"/>
                        <a:pt x="4111" y="14075"/>
                        <a:pt x="4235" y="18310"/>
                      </a:cubicBezTo>
                      <a:cubicBezTo>
                        <a:pt x="4235" y="25285"/>
                        <a:pt x="2491" y="28524"/>
                        <a:pt x="2865" y="35623"/>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2" name="Freeform 7527">
                  <a:extLst>
                    <a:ext uri="{FF2B5EF4-FFF2-40B4-BE49-F238E27FC236}">
                      <a16:creationId xmlns:a16="http://schemas.microsoft.com/office/drawing/2014/main" id="{E7DDBEF9-A6FE-1E48-22C8-8DE90FA4541E}"/>
                    </a:ext>
                  </a:extLst>
                </p:cNvPr>
                <p:cNvSpPr/>
                <p:nvPr/>
              </p:nvSpPr>
              <p:spPr>
                <a:xfrm>
                  <a:off x="7416069" y="1897390"/>
                  <a:ext cx="26720" cy="26423"/>
                </a:xfrm>
                <a:custGeom>
                  <a:avLst/>
                  <a:gdLst>
                    <a:gd name="connsiteX0" fmla="*/ 95 w 26720"/>
                    <a:gd name="connsiteY0" fmla="*/ 14644 h 26423"/>
                    <a:gd name="connsiteX1" fmla="*/ 11803 w 26720"/>
                    <a:gd name="connsiteY1" fmla="*/ 71 h 26423"/>
                    <a:gd name="connsiteX2" fmla="*/ 26626 w 26720"/>
                    <a:gd name="connsiteY2" fmla="*/ 11779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79"/>
                      </a:cubicBezTo>
                      <a:cubicBezTo>
                        <a:pt x="27497" y="19004"/>
                        <a:pt x="22266" y="25605"/>
                        <a:pt x="14917" y="26353"/>
                      </a:cubicBezTo>
                      <a:cubicBezTo>
                        <a:pt x="7568" y="27100"/>
                        <a:pt x="966"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3" name="Freeform 7528">
                  <a:extLst>
                    <a:ext uri="{FF2B5EF4-FFF2-40B4-BE49-F238E27FC236}">
                      <a16:creationId xmlns:a16="http://schemas.microsoft.com/office/drawing/2014/main" id="{76EF4AA5-C99B-BE24-0265-CEC2BB8B27F3}"/>
                    </a:ext>
                  </a:extLst>
                </p:cNvPr>
                <p:cNvSpPr/>
                <p:nvPr/>
              </p:nvSpPr>
              <p:spPr>
                <a:xfrm>
                  <a:off x="7411457" y="1796445"/>
                  <a:ext cx="7151" cy="51815"/>
                </a:xfrm>
                <a:custGeom>
                  <a:avLst/>
                  <a:gdLst>
                    <a:gd name="connsiteX0" fmla="*/ 846 w 7151"/>
                    <a:gd name="connsiteY0" fmla="*/ 0 h 51815"/>
                    <a:gd name="connsiteX1" fmla="*/ 1094 w 7151"/>
                    <a:gd name="connsiteY1" fmla="*/ 18808 h 51815"/>
                    <a:gd name="connsiteX2" fmla="*/ 6450 w 7151"/>
                    <a:gd name="connsiteY2" fmla="*/ 35374 h 51815"/>
                    <a:gd name="connsiteX3" fmla="*/ 620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846" y="0"/>
                      </a:moveTo>
                      <a:cubicBezTo>
                        <a:pt x="-650" y="8221"/>
                        <a:pt x="98" y="14573"/>
                        <a:pt x="1094" y="18808"/>
                      </a:cubicBezTo>
                      <a:cubicBezTo>
                        <a:pt x="2713" y="25659"/>
                        <a:pt x="5205"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4" name="Freeform 7529">
                  <a:extLst>
                    <a:ext uri="{FF2B5EF4-FFF2-40B4-BE49-F238E27FC236}">
                      <a16:creationId xmlns:a16="http://schemas.microsoft.com/office/drawing/2014/main" id="{61BCE5DF-2143-8751-88F0-E3FC316A080C}"/>
                    </a:ext>
                  </a:extLst>
                </p:cNvPr>
                <p:cNvSpPr/>
                <p:nvPr/>
              </p:nvSpPr>
              <p:spPr>
                <a:xfrm>
                  <a:off x="7418531" y="1790715"/>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612" y="43969"/>
                        <a:pt x="2865" y="37616"/>
                        <a:pt x="2740" y="33381"/>
                      </a:cubicBezTo>
                      <a:cubicBezTo>
                        <a:pt x="2740" y="26406"/>
                        <a:pt x="4484" y="23168"/>
                        <a:pt x="4110"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5" name="Freeform 7530">
                  <a:extLst>
                    <a:ext uri="{FF2B5EF4-FFF2-40B4-BE49-F238E27FC236}">
                      <a16:creationId xmlns:a16="http://schemas.microsoft.com/office/drawing/2014/main" id="{1A88D695-18AE-84F9-5487-6E9354D4B16A}"/>
                    </a:ext>
                  </a:extLst>
                </p:cNvPr>
                <p:cNvSpPr/>
                <p:nvPr/>
              </p:nvSpPr>
              <p:spPr>
                <a:xfrm>
                  <a:off x="7401744" y="1775820"/>
                  <a:ext cx="26471" cy="26425"/>
                </a:xfrm>
                <a:custGeom>
                  <a:avLst/>
                  <a:gdLst>
                    <a:gd name="connsiteX0" fmla="*/ 26376 w 26471"/>
                    <a:gd name="connsiteY0" fmla="*/ 11781 h 26425"/>
                    <a:gd name="connsiteX1" fmla="*/ 14793 w 26471"/>
                    <a:gd name="connsiteY1" fmla="*/ 26354 h 26425"/>
                    <a:gd name="connsiteX2" fmla="*/ 95 w 26471"/>
                    <a:gd name="connsiteY2" fmla="*/ 14646 h 26425"/>
                    <a:gd name="connsiteX3" fmla="*/ 11679 w 26471"/>
                    <a:gd name="connsiteY3" fmla="*/ 73 h 26425"/>
                    <a:gd name="connsiteX4" fmla="*/ 26376 w 26471"/>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4">
                      <a:moveTo>
                        <a:pt x="26376" y="11781"/>
                      </a:moveTo>
                      <a:cubicBezTo>
                        <a:pt x="27248" y="19005"/>
                        <a:pt x="22017" y="25607"/>
                        <a:pt x="14793" y="26354"/>
                      </a:cubicBezTo>
                      <a:cubicBezTo>
                        <a:pt x="7568" y="27102"/>
                        <a:pt x="967" y="21870"/>
                        <a:pt x="95" y="14646"/>
                      </a:cubicBezTo>
                      <a:cubicBezTo>
                        <a:pt x="-777" y="7421"/>
                        <a:pt x="4454" y="820"/>
                        <a:pt x="11679" y="73"/>
                      </a:cubicBezTo>
                      <a:cubicBezTo>
                        <a:pt x="18903" y="-675"/>
                        <a:pt x="25504" y="4432"/>
                        <a:pt x="26376"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3" name="Graphic 2987">
                <a:extLst>
                  <a:ext uri="{FF2B5EF4-FFF2-40B4-BE49-F238E27FC236}">
                    <a16:creationId xmlns:a16="http://schemas.microsoft.com/office/drawing/2014/main" id="{12B65D5B-4A02-1D07-5572-1F706C081337}"/>
                  </a:ext>
                </a:extLst>
              </p:cNvPr>
              <p:cNvGrpSpPr/>
              <p:nvPr/>
            </p:nvGrpSpPr>
            <p:grpSpPr>
              <a:xfrm>
                <a:off x="7372474" y="1778936"/>
                <a:ext cx="40671" cy="148116"/>
                <a:chOff x="7372474" y="1778936"/>
                <a:chExt cx="40671" cy="148116"/>
              </a:xfrm>
              <a:grpFill/>
            </p:grpSpPr>
            <p:sp>
              <p:nvSpPr>
                <p:cNvPr id="6594" name="Freeform 7532">
                  <a:extLst>
                    <a:ext uri="{FF2B5EF4-FFF2-40B4-BE49-F238E27FC236}">
                      <a16:creationId xmlns:a16="http://schemas.microsoft.com/office/drawing/2014/main" id="{EC17DBF0-4BD8-82C9-87F7-86EB41739CF3}"/>
                    </a:ext>
                  </a:extLst>
                </p:cNvPr>
                <p:cNvSpPr/>
                <p:nvPr/>
              </p:nvSpPr>
              <p:spPr>
                <a:xfrm>
                  <a:off x="7396440" y="1854489"/>
                  <a:ext cx="7116" cy="51815"/>
                </a:xfrm>
                <a:custGeom>
                  <a:avLst/>
                  <a:gdLst>
                    <a:gd name="connsiteX0" fmla="*/ 6271 w 7116"/>
                    <a:gd name="connsiteY0" fmla="*/ 51816 h 51815"/>
                    <a:gd name="connsiteX1" fmla="*/ 6022 w 7116"/>
                    <a:gd name="connsiteY1" fmla="*/ 33008 h 51815"/>
                    <a:gd name="connsiteX2" fmla="*/ 666 w 7116"/>
                    <a:gd name="connsiteY2" fmla="*/ 16442 h 51815"/>
                    <a:gd name="connsiteX3" fmla="*/ 915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6271" y="51816"/>
                      </a:moveTo>
                      <a:cubicBezTo>
                        <a:pt x="7766" y="43595"/>
                        <a:pt x="7019" y="37243"/>
                        <a:pt x="6022" y="33008"/>
                      </a:cubicBezTo>
                      <a:cubicBezTo>
                        <a:pt x="4403" y="26157"/>
                        <a:pt x="1911" y="23417"/>
                        <a:pt x="666" y="16442"/>
                      </a:cubicBezTo>
                      <a:cubicBezTo>
                        <a:pt x="-579" y="9715"/>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5" name="Freeform 7533">
                  <a:extLst>
                    <a:ext uri="{FF2B5EF4-FFF2-40B4-BE49-F238E27FC236}">
                      <a16:creationId xmlns:a16="http://schemas.microsoft.com/office/drawing/2014/main" id="{6CE27ACF-7A30-E077-1D49-EA26D0137A4B}"/>
                    </a:ext>
                  </a:extLst>
                </p:cNvPr>
                <p:cNvSpPr/>
                <p:nvPr/>
              </p:nvSpPr>
              <p:spPr>
                <a:xfrm>
                  <a:off x="7389508" y="1860343"/>
                  <a:ext cx="6601" cy="51691"/>
                </a:xfrm>
                <a:custGeom>
                  <a:avLst/>
                  <a:gdLst>
                    <a:gd name="connsiteX0" fmla="*/ 0 w 6601"/>
                    <a:gd name="connsiteY0" fmla="*/ 0 h 51691"/>
                    <a:gd name="connsiteX1" fmla="*/ 4111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1" y="14075"/>
                        <a:pt x="4111" y="18310"/>
                      </a:cubicBezTo>
                      <a:cubicBezTo>
                        <a:pt x="4111" y="25285"/>
                        <a:pt x="2367" y="28524"/>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6" name="Freeform 7534">
                  <a:extLst>
                    <a:ext uri="{FF2B5EF4-FFF2-40B4-BE49-F238E27FC236}">
                      <a16:creationId xmlns:a16="http://schemas.microsoft.com/office/drawing/2014/main" id="{AAAB678C-8B24-1313-4FF2-BBCCB0A449DE}"/>
                    </a:ext>
                  </a:extLst>
                </p:cNvPr>
                <p:cNvSpPr/>
                <p:nvPr/>
              </p:nvSpPr>
              <p:spPr>
                <a:xfrm>
                  <a:off x="7386424" y="1900629"/>
                  <a:ext cx="26720" cy="26423"/>
                </a:xfrm>
                <a:custGeom>
                  <a:avLst/>
                  <a:gdLst>
                    <a:gd name="connsiteX0" fmla="*/ 95 w 26720"/>
                    <a:gd name="connsiteY0" fmla="*/ 14644 h 26423"/>
                    <a:gd name="connsiteX1" fmla="*/ 11803 w 26720"/>
                    <a:gd name="connsiteY1" fmla="*/ 71 h 26423"/>
                    <a:gd name="connsiteX2" fmla="*/ 26626 w 26720"/>
                    <a:gd name="connsiteY2" fmla="*/ 11780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80"/>
                      </a:cubicBezTo>
                      <a:cubicBezTo>
                        <a:pt x="27497" y="19004"/>
                        <a:pt x="22266" y="25605"/>
                        <a:pt x="14917" y="26353"/>
                      </a:cubicBezTo>
                      <a:cubicBezTo>
                        <a:pt x="7568" y="27100"/>
                        <a:pt x="967"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7" name="Freeform 7535">
                  <a:extLst>
                    <a:ext uri="{FF2B5EF4-FFF2-40B4-BE49-F238E27FC236}">
                      <a16:creationId xmlns:a16="http://schemas.microsoft.com/office/drawing/2014/main" id="{0B5FF0CB-D862-6EEC-96FB-F147759A1D87}"/>
                    </a:ext>
                  </a:extLst>
                </p:cNvPr>
                <p:cNvSpPr/>
                <p:nvPr/>
              </p:nvSpPr>
              <p:spPr>
                <a:xfrm>
                  <a:off x="7382061" y="1799559"/>
                  <a:ext cx="7116" cy="51815"/>
                </a:xfrm>
                <a:custGeom>
                  <a:avLst/>
                  <a:gdLst>
                    <a:gd name="connsiteX0" fmla="*/ 845 w 7116"/>
                    <a:gd name="connsiteY0" fmla="*/ 0 h 51815"/>
                    <a:gd name="connsiteX1" fmla="*/ 1095 w 7116"/>
                    <a:gd name="connsiteY1" fmla="*/ 18808 h 51815"/>
                    <a:gd name="connsiteX2" fmla="*/ 6450 w 7116"/>
                    <a:gd name="connsiteY2" fmla="*/ 35374 h 51815"/>
                    <a:gd name="connsiteX3" fmla="*/ 6201 w 711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16" h="51815">
                      <a:moveTo>
                        <a:pt x="845" y="0"/>
                      </a:moveTo>
                      <a:cubicBezTo>
                        <a:pt x="-649" y="8221"/>
                        <a:pt x="98" y="14573"/>
                        <a:pt x="1095" y="18808"/>
                      </a:cubicBezTo>
                      <a:cubicBezTo>
                        <a:pt x="2714" y="25659"/>
                        <a:pt x="5080" y="28399"/>
                        <a:pt x="6450" y="35374"/>
                      </a:cubicBezTo>
                      <a:cubicBezTo>
                        <a:pt x="7696" y="42225"/>
                        <a:pt x="6948"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8" name="Freeform 7536">
                  <a:extLst>
                    <a:ext uri="{FF2B5EF4-FFF2-40B4-BE49-F238E27FC236}">
                      <a16:creationId xmlns:a16="http://schemas.microsoft.com/office/drawing/2014/main" id="{F44E6423-45EE-4EB2-B752-FA0E16638077}"/>
                    </a:ext>
                  </a:extLst>
                </p:cNvPr>
                <p:cNvSpPr/>
                <p:nvPr/>
              </p:nvSpPr>
              <p:spPr>
                <a:xfrm>
                  <a:off x="7389384" y="1793829"/>
                  <a:ext cx="6725" cy="51691"/>
                </a:xfrm>
                <a:custGeom>
                  <a:avLst/>
                  <a:gdLst>
                    <a:gd name="connsiteX0" fmla="*/ 6726 w 6725"/>
                    <a:gd name="connsiteY0" fmla="*/ 51691 h 51691"/>
                    <a:gd name="connsiteX1" fmla="*/ 2616 w 6725"/>
                    <a:gd name="connsiteY1" fmla="*/ 33381 h 51691"/>
                    <a:gd name="connsiteX2" fmla="*/ 3986 w 6725"/>
                    <a:gd name="connsiteY2" fmla="*/ 16068 h 51691"/>
                    <a:gd name="connsiteX3" fmla="*/ 0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6726" y="51691"/>
                      </a:moveTo>
                      <a:cubicBezTo>
                        <a:pt x="3363" y="43969"/>
                        <a:pt x="2616" y="37616"/>
                        <a:pt x="2616" y="33381"/>
                      </a:cubicBezTo>
                      <a:cubicBezTo>
                        <a:pt x="2616" y="26406"/>
                        <a:pt x="4359"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9" name="Freeform 7537">
                  <a:extLst>
                    <a:ext uri="{FF2B5EF4-FFF2-40B4-BE49-F238E27FC236}">
                      <a16:creationId xmlns:a16="http://schemas.microsoft.com/office/drawing/2014/main" id="{12AC067A-50E6-1B87-43F4-054950ACADB9}"/>
                    </a:ext>
                  </a:extLst>
                </p:cNvPr>
                <p:cNvSpPr/>
                <p:nvPr/>
              </p:nvSpPr>
              <p:spPr>
                <a:xfrm>
                  <a:off x="7372474" y="1778936"/>
                  <a:ext cx="26471" cy="26423"/>
                </a:xfrm>
                <a:custGeom>
                  <a:avLst/>
                  <a:gdLst>
                    <a:gd name="connsiteX0" fmla="*/ 26376 w 26471"/>
                    <a:gd name="connsiteY0" fmla="*/ 11780 h 26423"/>
                    <a:gd name="connsiteX1" fmla="*/ 14793 w 26471"/>
                    <a:gd name="connsiteY1" fmla="*/ 26353 h 26423"/>
                    <a:gd name="connsiteX2" fmla="*/ 95 w 26471"/>
                    <a:gd name="connsiteY2" fmla="*/ 14644 h 26423"/>
                    <a:gd name="connsiteX3" fmla="*/ 11679 w 26471"/>
                    <a:gd name="connsiteY3" fmla="*/ 71 h 26423"/>
                    <a:gd name="connsiteX4" fmla="*/ 26376 w 26471"/>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3">
                      <a:moveTo>
                        <a:pt x="26376" y="11780"/>
                      </a:moveTo>
                      <a:cubicBezTo>
                        <a:pt x="27248" y="19004"/>
                        <a:pt x="22017" y="25605"/>
                        <a:pt x="14793" y="26353"/>
                      </a:cubicBezTo>
                      <a:cubicBezTo>
                        <a:pt x="7568" y="27100"/>
                        <a:pt x="966" y="21869"/>
                        <a:pt x="95" y="14644"/>
                      </a:cubicBezTo>
                      <a:cubicBezTo>
                        <a:pt x="-777" y="7420"/>
                        <a:pt x="4454" y="818"/>
                        <a:pt x="11679" y="71"/>
                      </a:cubicBezTo>
                      <a:cubicBezTo>
                        <a:pt x="18903" y="-676"/>
                        <a:pt x="25504" y="4555"/>
                        <a:pt x="26376"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4" name="Graphic 2987">
                <a:extLst>
                  <a:ext uri="{FF2B5EF4-FFF2-40B4-BE49-F238E27FC236}">
                    <a16:creationId xmlns:a16="http://schemas.microsoft.com/office/drawing/2014/main" id="{C196EBA0-9660-B745-E3A0-28AB331518B3}"/>
                  </a:ext>
                </a:extLst>
              </p:cNvPr>
              <p:cNvGrpSpPr/>
              <p:nvPr/>
            </p:nvGrpSpPr>
            <p:grpSpPr>
              <a:xfrm>
                <a:off x="7343327" y="1782174"/>
                <a:ext cx="40171" cy="148116"/>
                <a:chOff x="7343327" y="1782174"/>
                <a:chExt cx="40171" cy="148116"/>
              </a:xfrm>
              <a:grpFill/>
            </p:grpSpPr>
            <p:sp>
              <p:nvSpPr>
                <p:cNvPr id="6588" name="Freeform 7539">
                  <a:extLst>
                    <a:ext uri="{FF2B5EF4-FFF2-40B4-BE49-F238E27FC236}">
                      <a16:creationId xmlns:a16="http://schemas.microsoft.com/office/drawing/2014/main" id="{9E3C95BD-9EA7-0F02-892D-19DB49E09566}"/>
                    </a:ext>
                  </a:extLst>
                </p:cNvPr>
                <p:cNvSpPr/>
                <p:nvPr/>
              </p:nvSpPr>
              <p:spPr>
                <a:xfrm>
                  <a:off x="7366920" y="1857727"/>
                  <a:ext cx="7091" cy="51815"/>
                </a:xfrm>
                <a:custGeom>
                  <a:avLst/>
                  <a:gdLst>
                    <a:gd name="connsiteX0" fmla="*/ 6147 w 7091"/>
                    <a:gd name="connsiteY0" fmla="*/ 51816 h 51815"/>
                    <a:gd name="connsiteX1" fmla="*/ 6022 w 7091"/>
                    <a:gd name="connsiteY1" fmla="*/ 33008 h 51815"/>
                    <a:gd name="connsiteX2" fmla="*/ 666 w 7091"/>
                    <a:gd name="connsiteY2" fmla="*/ 16442 h 51815"/>
                    <a:gd name="connsiteX3" fmla="*/ 915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6147" y="51816"/>
                      </a:moveTo>
                      <a:cubicBezTo>
                        <a:pt x="7766" y="43595"/>
                        <a:pt x="7019" y="37243"/>
                        <a:pt x="6022" y="33008"/>
                      </a:cubicBezTo>
                      <a:cubicBezTo>
                        <a:pt x="4403" y="26157"/>
                        <a:pt x="2036" y="23417"/>
                        <a:pt x="666" y="16442"/>
                      </a:cubicBezTo>
                      <a:cubicBezTo>
                        <a:pt x="-579" y="9591"/>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9" name="Freeform 7540">
                  <a:extLst>
                    <a:ext uri="{FF2B5EF4-FFF2-40B4-BE49-F238E27FC236}">
                      <a16:creationId xmlns:a16="http://schemas.microsoft.com/office/drawing/2014/main" id="{DAF96AF8-6BCA-17DC-3F06-F451FB7F2269}"/>
                    </a:ext>
                  </a:extLst>
                </p:cNvPr>
                <p:cNvSpPr/>
                <p:nvPr/>
              </p:nvSpPr>
              <p:spPr>
                <a:xfrm>
                  <a:off x="7359988" y="1863581"/>
                  <a:ext cx="6601" cy="51691"/>
                </a:xfrm>
                <a:custGeom>
                  <a:avLst/>
                  <a:gdLst>
                    <a:gd name="connsiteX0" fmla="*/ 0 w 6601"/>
                    <a:gd name="connsiteY0" fmla="*/ 0 h 51691"/>
                    <a:gd name="connsiteX1" fmla="*/ 4110 w 6601"/>
                    <a:gd name="connsiteY1" fmla="*/ 18310 h 51691"/>
                    <a:gd name="connsiteX2" fmla="*/ 2615 w 6601"/>
                    <a:gd name="connsiteY2" fmla="*/ 35624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4075"/>
                        <a:pt x="4110" y="18310"/>
                      </a:cubicBezTo>
                      <a:cubicBezTo>
                        <a:pt x="4110" y="25285"/>
                        <a:pt x="2367" y="28524"/>
                        <a:pt x="2615" y="35624"/>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0" name="Freeform 7541">
                  <a:extLst>
                    <a:ext uri="{FF2B5EF4-FFF2-40B4-BE49-F238E27FC236}">
                      <a16:creationId xmlns:a16="http://schemas.microsoft.com/office/drawing/2014/main" id="{639198E8-9757-867D-B616-25C9BA9E400B}"/>
                    </a:ext>
                  </a:extLst>
                </p:cNvPr>
                <p:cNvSpPr/>
                <p:nvPr/>
              </p:nvSpPr>
              <p:spPr>
                <a:xfrm>
                  <a:off x="7356781" y="1903867"/>
                  <a:ext cx="26716" cy="26423"/>
                </a:xfrm>
                <a:custGeom>
                  <a:avLst/>
                  <a:gdLst>
                    <a:gd name="connsiteX0" fmla="*/ 93 w 26716"/>
                    <a:gd name="connsiteY0" fmla="*/ 14644 h 26423"/>
                    <a:gd name="connsiteX1" fmla="*/ 11926 w 26716"/>
                    <a:gd name="connsiteY1" fmla="*/ 71 h 26423"/>
                    <a:gd name="connsiteX2" fmla="*/ 26624 w 26716"/>
                    <a:gd name="connsiteY2" fmla="*/ 11779 h 26423"/>
                    <a:gd name="connsiteX3" fmla="*/ 14791 w 26716"/>
                    <a:gd name="connsiteY3" fmla="*/ 26353 h 26423"/>
                    <a:gd name="connsiteX4" fmla="*/ 93 w 26716"/>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423">
                      <a:moveTo>
                        <a:pt x="93" y="14644"/>
                      </a:moveTo>
                      <a:cubicBezTo>
                        <a:pt x="-779" y="7420"/>
                        <a:pt x="4577" y="818"/>
                        <a:pt x="11926" y="71"/>
                      </a:cubicBezTo>
                      <a:cubicBezTo>
                        <a:pt x="19275" y="-676"/>
                        <a:pt x="25877" y="4555"/>
                        <a:pt x="26624" y="11779"/>
                      </a:cubicBezTo>
                      <a:cubicBezTo>
                        <a:pt x="27496" y="19004"/>
                        <a:pt x="22139" y="25605"/>
                        <a:pt x="14791" y="26353"/>
                      </a:cubicBezTo>
                      <a:cubicBezTo>
                        <a:pt x="7566" y="27100"/>
                        <a:pt x="965" y="21869"/>
                        <a:pt x="93"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1" name="Freeform 7542">
                  <a:extLst>
                    <a:ext uri="{FF2B5EF4-FFF2-40B4-BE49-F238E27FC236}">
                      <a16:creationId xmlns:a16="http://schemas.microsoft.com/office/drawing/2014/main" id="{8681C274-9D6D-D5E7-9EE8-C631C5179853}"/>
                    </a:ext>
                  </a:extLst>
                </p:cNvPr>
                <p:cNvSpPr/>
                <p:nvPr/>
              </p:nvSpPr>
              <p:spPr>
                <a:xfrm>
                  <a:off x="7352743" y="1802797"/>
                  <a:ext cx="7038" cy="51815"/>
                </a:xfrm>
                <a:custGeom>
                  <a:avLst/>
                  <a:gdLst>
                    <a:gd name="connsiteX0" fmla="*/ 892 w 7038"/>
                    <a:gd name="connsiteY0" fmla="*/ 0 h 51815"/>
                    <a:gd name="connsiteX1" fmla="*/ 1017 w 7038"/>
                    <a:gd name="connsiteY1" fmla="*/ 18808 h 51815"/>
                    <a:gd name="connsiteX2" fmla="*/ 6373 w 7038"/>
                    <a:gd name="connsiteY2" fmla="*/ 35374 h 51815"/>
                    <a:gd name="connsiteX3" fmla="*/ 6123 w 70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38" h="51815">
                      <a:moveTo>
                        <a:pt x="892" y="0"/>
                      </a:moveTo>
                      <a:cubicBezTo>
                        <a:pt x="-602" y="8221"/>
                        <a:pt x="20" y="14573"/>
                        <a:pt x="1017" y="18808"/>
                      </a:cubicBezTo>
                      <a:cubicBezTo>
                        <a:pt x="2512" y="25659"/>
                        <a:pt x="5003" y="28399"/>
                        <a:pt x="6373" y="35374"/>
                      </a:cubicBezTo>
                      <a:cubicBezTo>
                        <a:pt x="7618" y="42225"/>
                        <a:pt x="6871" y="47955"/>
                        <a:pt x="612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2" name="Freeform 7543">
                  <a:extLst>
                    <a:ext uri="{FF2B5EF4-FFF2-40B4-BE49-F238E27FC236}">
                      <a16:creationId xmlns:a16="http://schemas.microsoft.com/office/drawing/2014/main" id="{76307FDF-6090-1E6E-F3FD-5D62519C302E}"/>
                    </a:ext>
                  </a:extLst>
                </p:cNvPr>
                <p:cNvSpPr/>
                <p:nvPr/>
              </p:nvSpPr>
              <p:spPr>
                <a:xfrm>
                  <a:off x="7359988" y="1797068"/>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616"/>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3" name="Freeform 7544">
                  <a:extLst>
                    <a:ext uri="{FF2B5EF4-FFF2-40B4-BE49-F238E27FC236}">
                      <a16:creationId xmlns:a16="http://schemas.microsoft.com/office/drawing/2014/main" id="{096D5A1A-E086-FBE0-28FB-AD67389274BB}"/>
                    </a:ext>
                  </a:extLst>
                </p:cNvPr>
                <p:cNvSpPr/>
                <p:nvPr/>
              </p:nvSpPr>
              <p:spPr>
                <a:xfrm>
                  <a:off x="7343327" y="1782174"/>
                  <a:ext cx="26346" cy="26423"/>
                </a:xfrm>
                <a:custGeom>
                  <a:avLst/>
                  <a:gdLst>
                    <a:gd name="connsiteX0" fmla="*/ 26252 w 26346"/>
                    <a:gd name="connsiteY0" fmla="*/ 11779 h 26423"/>
                    <a:gd name="connsiteX1" fmla="*/ 14668 w 26346"/>
                    <a:gd name="connsiteY1" fmla="*/ 26353 h 26423"/>
                    <a:gd name="connsiteX2" fmla="*/ 95 w 26346"/>
                    <a:gd name="connsiteY2" fmla="*/ 14644 h 26423"/>
                    <a:gd name="connsiteX3" fmla="*/ 11679 w 26346"/>
                    <a:gd name="connsiteY3" fmla="*/ 71 h 26423"/>
                    <a:gd name="connsiteX4" fmla="*/ 26252 w 26346"/>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23">
                      <a:moveTo>
                        <a:pt x="26252" y="11779"/>
                      </a:moveTo>
                      <a:cubicBezTo>
                        <a:pt x="27124" y="19004"/>
                        <a:pt x="21893" y="25605"/>
                        <a:pt x="14668" y="26353"/>
                      </a:cubicBezTo>
                      <a:cubicBezTo>
                        <a:pt x="7444" y="27100"/>
                        <a:pt x="842" y="21869"/>
                        <a:pt x="95" y="14644"/>
                      </a:cubicBezTo>
                      <a:cubicBezTo>
                        <a:pt x="-777" y="7420"/>
                        <a:pt x="4454" y="818"/>
                        <a:pt x="11679" y="71"/>
                      </a:cubicBezTo>
                      <a:cubicBezTo>
                        <a:pt x="18779" y="-676"/>
                        <a:pt x="25381" y="4555"/>
                        <a:pt x="26252"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5" name="Graphic 2987">
                <a:extLst>
                  <a:ext uri="{FF2B5EF4-FFF2-40B4-BE49-F238E27FC236}">
                    <a16:creationId xmlns:a16="http://schemas.microsoft.com/office/drawing/2014/main" id="{E678CEB1-F9F4-8C43-6F95-2E62B540A2BF}"/>
                  </a:ext>
                </a:extLst>
              </p:cNvPr>
              <p:cNvGrpSpPr/>
              <p:nvPr/>
            </p:nvGrpSpPr>
            <p:grpSpPr>
              <a:xfrm>
                <a:off x="7313831" y="1785411"/>
                <a:ext cx="40000" cy="148118"/>
                <a:chOff x="7313831" y="1785411"/>
                <a:chExt cx="40000" cy="148118"/>
              </a:xfrm>
              <a:grpFill/>
            </p:grpSpPr>
            <p:sp>
              <p:nvSpPr>
                <p:cNvPr id="6582" name="Freeform 7546">
                  <a:extLst>
                    <a:ext uri="{FF2B5EF4-FFF2-40B4-BE49-F238E27FC236}">
                      <a16:creationId xmlns:a16="http://schemas.microsoft.com/office/drawing/2014/main" id="{23368C78-EB64-56B4-B26B-9F07AC64FB3B}"/>
                    </a:ext>
                  </a:extLst>
                </p:cNvPr>
                <p:cNvSpPr/>
                <p:nvPr/>
              </p:nvSpPr>
              <p:spPr>
                <a:xfrm>
                  <a:off x="7337407" y="1860966"/>
                  <a:ext cx="6959" cy="51815"/>
                </a:xfrm>
                <a:custGeom>
                  <a:avLst/>
                  <a:gdLst>
                    <a:gd name="connsiteX0" fmla="*/ 6015 w 6959"/>
                    <a:gd name="connsiteY0" fmla="*/ 51816 h 51815"/>
                    <a:gd name="connsiteX1" fmla="*/ 5890 w 6959"/>
                    <a:gd name="connsiteY1" fmla="*/ 33008 h 51815"/>
                    <a:gd name="connsiteX2" fmla="*/ 659 w 6959"/>
                    <a:gd name="connsiteY2" fmla="*/ 16442 h 51815"/>
                    <a:gd name="connsiteX3" fmla="*/ 1032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51816"/>
                      </a:moveTo>
                      <a:cubicBezTo>
                        <a:pt x="7634" y="43595"/>
                        <a:pt x="6887" y="37243"/>
                        <a:pt x="5890" y="33008"/>
                      </a:cubicBezTo>
                      <a:cubicBezTo>
                        <a:pt x="4396" y="26157"/>
                        <a:pt x="1904" y="23417"/>
                        <a:pt x="659" y="16442"/>
                      </a:cubicBezTo>
                      <a:cubicBezTo>
                        <a:pt x="-586" y="9591"/>
                        <a:pt x="161" y="3861"/>
                        <a:pt x="10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3" name="Freeform 7547">
                  <a:extLst>
                    <a:ext uri="{FF2B5EF4-FFF2-40B4-BE49-F238E27FC236}">
                      <a16:creationId xmlns:a16="http://schemas.microsoft.com/office/drawing/2014/main" id="{1F94332D-6294-8E6D-3C35-02E8044115CE}"/>
                    </a:ext>
                  </a:extLst>
                </p:cNvPr>
                <p:cNvSpPr/>
                <p:nvPr/>
              </p:nvSpPr>
              <p:spPr>
                <a:xfrm>
                  <a:off x="7330468" y="1866820"/>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4075"/>
                        <a:pt x="3986" y="18310"/>
                      </a:cubicBezTo>
                      <a:cubicBezTo>
                        <a:pt x="3986" y="25285"/>
                        <a:pt x="2117"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4" name="Freeform 7548">
                  <a:extLst>
                    <a:ext uri="{FF2B5EF4-FFF2-40B4-BE49-F238E27FC236}">
                      <a16:creationId xmlns:a16="http://schemas.microsoft.com/office/drawing/2014/main" id="{CB137FBE-11BE-A264-31A7-9388A6EF145C}"/>
                    </a:ext>
                  </a:extLst>
                </p:cNvPr>
                <p:cNvSpPr/>
                <p:nvPr/>
              </p:nvSpPr>
              <p:spPr>
                <a:xfrm>
                  <a:off x="7327159" y="1907106"/>
                  <a:ext cx="26672" cy="26423"/>
                </a:xfrm>
                <a:custGeom>
                  <a:avLst/>
                  <a:gdLst>
                    <a:gd name="connsiteX0" fmla="*/ 71 w 26672"/>
                    <a:gd name="connsiteY0" fmla="*/ 14644 h 26423"/>
                    <a:gd name="connsiteX1" fmla="*/ 11904 w 26672"/>
                    <a:gd name="connsiteY1" fmla="*/ 71 h 26423"/>
                    <a:gd name="connsiteX2" fmla="*/ 26602 w 26672"/>
                    <a:gd name="connsiteY2" fmla="*/ 11779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79"/>
                      </a:cubicBezTo>
                      <a:cubicBezTo>
                        <a:pt x="27349" y="19004"/>
                        <a:pt x="22118" y="25605"/>
                        <a:pt x="14769" y="26353"/>
                      </a:cubicBezTo>
                      <a:cubicBezTo>
                        <a:pt x="7544"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5" name="Freeform 7549">
                  <a:extLst>
                    <a:ext uri="{FF2B5EF4-FFF2-40B4-BE49-F238E27FC236}">
                      <a16:creationId xmlns:a16="http://schemas.microsoft.com/office/drawing/2014/main" id="{43A9D78D-DB43-2F1C-6E79-EEAE03502009}"/>
                    </a:ext>
                  </a:extLst>
                </p:cNvPr>
                <p:cNvSpPr/>
                <p:nvPr/>
              </p:nvSpPr>
              <p:spPr>
                <a:xfrm>
                  <a:off x="7323295" y="1806036"/>
                  <a:ext cx="6959" cy="51815"/>
                </a:xfrm>
                <a:custGeom>
                  <a:avLst/>
                  <a:gdLst>
                    <a:gd name="connsiteX0" fmla="*/ 945 w 6959"/>
                    <a:gd name="connsiteY0" fmla="*/ 0 h 51815"/>
                    <a:gd name="connsiteX1" fmla="*/ 1069 w 6959"/>
                    <a:gd name="connsiteY1" fmla="*/ 18808 h 51815"/>
                    <a:gd name="connsiteX2" fmla="*/ 6301 w 6959"/>
                    <a:gd name="connsiteY2" fmla="*/ 35374 h 51815"/>
                    <a:gd name="connsiteX3" fmla="*/ 5927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945" y="0"/>
                      </a:moveTo>
                      <a:cubicBezTo>
                        <a:pt x="-675" y="8221"/>
                        <a:pt x="73" y="14573"/>
                        <a:pt x="1069" y="18808"/>
                      </a:cubicBezTo>
                      <a:cubicBezTo>
                        <a:pt x="2564" y="25659"/>
                        <a:pt x="5055" y="28399"/>
                        <a:pt x="6301" y="35374"/>
                      </a:cubicBezTo>
                      <a:cubicBezTo>
                        <a:pt x="7546" y="42225"/>
                        <a:pt x="6799" y="47955"/>
                        <a:pt x="592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6" name="Freeform 7550">
                  <a:extLst>
                    <a:ext uri="{FF2B5EF4-FFF2-40B4-BE49-F238E27FC236}">
                      <a16:creationId xmlns:a16="http://schemas.microsoft.com/office/drawing/2014/main" id="{EAE8B200-B391-D568-39D0-7CAFAEB16369}"/>
                    </a:ext>
                  </a:extLst>
                </p:cNvPr>
                <p:cNvSpPr/>
                <p:nvPr/>
              </p:nvSpPr>
              <p:spPr>
                <a:xfrm>
                  <a:off x="7330593" y="1800306"/>
                  <a:ext cx="6476" cy="51691"/>
                </a:xfrm>
                <a:custGeom>
                  <a:avLst/>
                  <a:gdLst>
                    <a:gd name="connsiteX0" fmla="*/ 6476 w 6476"/>
                    <a:gd name="connsiteY0" fmla="*/ 51691 h 51691"/>
                    <a:gd name="connsiteX1" fmla="*/ 2491 w 6476"/>
                    <a:gd name="connsiteY1" fmla="*/ 33381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1"/>
                      </a:moveTo>
                      <a:cubicBezTo>
                        <a:pt x="3114" y="43969"/>
                        <a:pt x="2491" y="37616"/>
                        <a:pt x="2491" y="33381"/>
                      </a:cubicBezTo>
                      <a:cubicBezTo>
                        <a:pt x="2491" y="26406"/>
                        <a:pt x="4235" y="23168"/>
                        <a:pt x="3985"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7" name="Freeform 7551">
                  <a:extLst>
                    <a:ext uri="{FF2B5EF4-FFF2-40B4-BE49-F238E27FC236}">
                      <a16:creationId xmlns:a16="http://schemas.microsoft.com/office/drawing/2014/main" id="{4BE5CEB1-F99C-498B-190F-00FAFBDC8F59}"/>
                    </a:ext>
                  </a:extLst>
                </p:cNvPr>
                <p:cNvSpPr/>
                <p:nvPr/>
              </p:nvSpPr>
              <p:spPr>
                <a:xfrm>
                  <a:off x="7313831" y="1785411"/>
                  <a:ext cx="26447" cy="26425"/>
                </a:xfrm>
                <a:custGeom>
                  <a:avLst/>
                  <a:gdLst>
                    <a:gd name="connsiteX0" fmla="*/ 26353 w 26447"/>
                    <a:gd name="connsiteY0" fmla="*/ 11781 h 26425"/>
                    <a:gd name="connsiteX1" fmla="*/ 14644 w 26447"/>
                    <a:gd name="connsiteY1" fmla="*/ 26354 h 26425"/>
                    <a:gd name="connsiteX2" fmla="*/ 71 w 26447"/>
                    <a:gd name="connsiteY2" fmla="*/ 14646 h 26425"/>
                    <a:gd name="connsiteX3" fmla="*/ 11780 w 26447"/>
                    <a:gd name="connsiteY3" fmla="*/ 73 h 26425"/>
                    <a:gd name="connsiteX4" fmla="*/ 26353 w 26447"/>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24">
                      <a:moveTo>
                        <a:pt x="26353" y="11781"/>
                      </a:moveTo>
                      <a:cubicBezTo>
                        <a:pt x="27225" y="19005"/>
                        <a:pt x="21993" y="25607"/>
                        <a:pt x="14644" y="26354"/>
                      </a:cubicBezTo>
                      <a:cubicBezTo>
                        <a:pt x="7296" y="27102"/>
                        <a:pt x="818" y="21870"/>
                        <a:pt x="71" y="14646"/>
                      </a:cubicBezTo>
                      <a:cubicBezTo>
                        <a:pt x="-676" y="7421"/>
                        <a:pt x="4555" y="820"/>
                        <a:pt x="11780" y="73"/>
                      </a:cubicBezTo>
                      <a:cubicBezTo>
                        <a:pt x="19004" y="-675"/>
                        <a:pt x="25605" y="4432"/>
                        <a:pt x="26353"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6" name="Graphic 2987">
                <a:extLst>
                  <a:ext uri="{FF2B5EF4-FFF2-40B4-BE49-F238E27FC236}">
                    <a16:creationId xmlns:a16="http://schemas.microsoft.com/office/drawing/2014/main" id="{CB5B1A5E-0C32-CDE3-F3B2-C11D4AA88D0D}"/>
                  </a:ext>
                </a:extLst>
              </p:cNvPr>
              <p:cNvGrpSpPr/>
              <p:nvPr/>
            </p:nvGrpSpPr>
            <p:grpSpPr>
              <a:xfrm>
                <a:off x="7284560" y="1788627"/>
                <a:ext cx="39626" cy="148140"/>
                <a:chOff x="7284560" y="1788627"/>
                <a:chExt cx="39626" cy="148140"/>
              </a:xfrm>
              <a:grpFill/>
            </p:grpSpPr>
            <p:sp>
              <p:nvSpPr>
                <p:cNvPr id="6576" name="Freeform 7553">
                  <a:extLst>
                    <a:ext uri="{FF2B5EF4-FFF2-40B4-BE49-F238E27FC236}">
                      <a16:creationId xmlns:a16="http://schemas.microsoft.com/office/drawing/2014/main" id="{8B70C821-E5F1-E880-C2DB-EFFFAFFA179D}"/>
                    </a:ext>
                  </a:extLst>
                </p:cNvPr>
                <p:cNvSpPr/>
                <p:nvPr/>
              </p:nvSpPr>
              <p:spPr>
                <a:xfrm>
                  <a:off x="7307886" y="1864204"/>
                  <a:ext cx="6845" cy="51815"/>
                </a:xfrm>
                <a:custGeom>
                  <a:avLst/>
                  <a:gdLst>
                    <a:gd name="connsiteX0" fmla="*/ 5891 w 6845"/>
                    <a:gd name="connsiteY0" fmla="*/ 51816 h 51815"/>
                    <a:gd name="connsiteX1" fmla="*/ 5891 w 6845"/>
                    <a:gd name="connsiteY1" fmla="*/ 33008 h 51815"/>
                    <a:gd name="connsiteX2" fmla="*/ 659 w 6845"/>
                    <a:gd name="connsiteY2" fmla="*/ 16442 h 51815"/>
                    <a:gd name="connsiteX3" fmla="*/ 1033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5891" y="51816"/>
                      </a:moveTo>
                      <a:cubicBezTo>
                        <a:pt x="7510" y="43595"/>
                        <a:pt x="6763" y="37243"/>
                        <a:pt x="5891" y="33008"/>
                      </a:cubicBezTo>
                      <a:cubicBezTo>
                        <a:pt x="4396" y="26157"/>
                        <a:pt x="1905" y="23417"/>
                        <a:pt x="659" y="16442"/>
                      </a:cubicBezTo>
                      <a:cubicBezTo>
                        <a:pt x="-587" y="9591"/>
                        <a:pt x="161" y="3737"/>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7" name="Freeform 7554">
                  <a:extLst>
                    <a:ext uri="{FF2B5EF4-FFF2-40B4-BE49-F238E27FC236}">
                      <a16:creationId xmlns:a16="http://schemas.microsoft.com/office/drawing/2014/main" id="{F41FFDE0-EAB6-52A7-D6C0-413B653B69B2}"/>
                    </a:ext>
                  </a:extLst>
                </p:cNvPr>
                <p:cNvSpPr/>
                <p:nvPr/>
              </p:nvSpPr>
              <p:spPr>
                <a:xfrm>
                  <a:off x="7300948" y="1870058"/>
                  <a:ext cx="6227" cy="51815"/>
                </a:xfrm>
                <a:custGeom>
                  <a:avLst/>
                  <a:gdLst>
                    <a:gd name="connsiteX0" fmla="*/ 0 w 6227"/>
                    <a:gd name="connsiteY0" fmla="*/ 0 h 51815"/>
                    <a:gd name="connsiteX1" fmla="*/ 3985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5" y="14075"/>
                        <a:pt x="3985" y="18435"/>
                      </a:cubicBezTo>
                      <a:cubicBezTo>
                        <a:pt x="3985" y="25410"/>
                        <a:pt x="2117" y="28648"/>
                        <a:pt x="2367" y="35748"/>
                      </a:cubicBezTo>
                      <a:cubicBezTo>
                        <a:pt x="2615"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8" name="Freeform 7555">
                  <a:extLst>
                    <a:ext uri="{FF2B5EF4-FFF2-40B4-BE49-F238E27FC236}">
                      <a16:creationId xmlns:a16="http://schemas.microsoft.com/office/drawing/2014/main" id="{B18D42FC-7A2D-FEA2-0E46-E952B8DE9C57}"/>
                    </a:ext>
                  </a:extLst>
                </p:cNvPr>
                <p:cNvSpPr/>
                <p:nvPr/>
              </p:nvSpPr>
              <p:spPr>
                <a:xfrm>
                  <a:off x="7297514" y="1910344"/>
                  <a:ext cx="26672" cy="26423"/>
                </a:xfrm>
                <a:custGeom>
                  <a:avLst/>
                  <a:gdLst>
                    <a:gd name="connsiteX0" fmla="*/ 71 w 26672"/>
                    <a:gd name="connsiteY0" fmla="*/ 14644 h 26423"/>
                    <a:gd name="connsiteX1" fmla="*/ 11904 w 26672"/>
                    <a:gd name="connsiteY1" fmla="*/ 71 h 26423"/>
                    <a:gd name="connsiteX2" fmla="*/ 26602 w 26672"/>
                    <a:gd name="connsiteY2" fmla="*/ 11780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80"/>
                      </a:cubicBezTo>
                      <a:cubicBezTo>
                        <a:pt x="27349" y="19004"/>
                        <a:pt x="22118" y="25605"/>
                        <a:pt x="14769" y="26353"/>
                      </a:cubicBezTo>
                      <a:cubicBezTo>
                        <a:pt x="7420"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9" name="Freeform 7556">
                  <a:extLst>
                    <a:ext uri="{FF2B5EF4-FFF2-40B4-BE49-F238E27FC236}">
                      <a16:creationId xmlns:a16="http://schemas.microsoft.com/office/drawing/2014/main" id="{F69E58E0-AF3C-42A4-B6FF-20CF2F39B883}"/>
                    </a:ext>
                  </a:extLst>
                </p:cNvPr>
                <p:cNvSpPr/>
                <p:nvPr/>
              </p:nvSpPr>
              <p:spPr>
                <a:xfrm>
                  <a:off x="7294014" y="1809274"/>
                  <a:ext cx="6845" cy="51815"/>
                </a:xfrm>
                <a:custGeom>
                  <a:avLst/>
                  <a:gdLst>
                    <a:gd name="connsiteX0" fmla="*/ 954 w 6845"/>
                    <a:gd name="connsiteY0" fmla="*/ 0 h 51815"/>
                    <a:gd name="connsiteX1" fmla="*/ 954 w 6845"/>
                    <a:gd name="connsiteY1" fmla="*/ 18808 h 51815"/>
                    <a:gd name="connsiteX2" fmla="*/ 6186 w 6845"/>
                    <a:gd name="connsiteY2" fmla="*/ 35374 h 51815"/>
                    <a:gd name="connsiteX3" fmla="*/ 5812 w 684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845" h="51815">
                      <a:moveTo>
                        <a:pt x="954" y="0"/>
                      </a:moveTo>
                      <a:cubicBezTo>
                        <a:pt x="-665" y="8221"/>
                        <a:pt x="82" y="14573"/>
                        <a:pt x="954" y="18808"/>
                      </a:cubicBezTo>
                      <a:cubicBezTo>
                        <a:pt x="2449" y="25659"/>
                        <a:pt x="4940" y="28399"/>
                        <a:pt x="6186" y="35374"/>
                      </a:cubicBezTo>
                      <a:cubicBezTo>
                        <a:pt x="7432" y="42225"/>
                        <a:pt x="6684" y="48079"/>
                        <a:pt x="581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0" name="Freeform 7557">
                  <a:extLst>
                    <a:ext uri="{FF2B5EF4-FFF2-40B4-BE49-F238E27FC236}">
                      <a16:creationId xmlns:a16="http://schemas.microsoft.com/office/drawing/2014/main" id="{E5F6A996-2ACA-D613-F949-A56B091E3301}"/>
                    </a:ext>
                  </a:extLst>
                </p:cNvPr>
                <p:cNvSpPr/>
                <p:nvPr/>
              </p:nvSpPr>
              <p:spPr>
                <a:xfrm>
                  <a:off x="7301321" y="1803420"/>
                  <a:ext cx="6352" cy="51815"/>
                </a:xfrm>
                <a:custGeom>
                  <a:avLst/>
                  <a:gdLst>
                    <a:gd name="connsiteX0" fmla="*/ 6353 w 6352"/>
                    <a:gd name="connsiteY0" fmla="*/ 51816 h 51815"/>
                    <a:gd name="connsiteX1" fmla="*/ 2367 w 6352"/>
                    <a:gd name="connsiteY1" fmla="*/ 33381 h 51815"/>
                    <a:gd name="connsiteX2" fmla="*/ 3861 w 6352"/>
                    <a:gd name="connsiteY2" fmla="*/ 16068 h 51815"/>
                    <a:gd name="connsiteX3" fmla="*/ 0 w 6352"/>
                    <a:gd name="connsiteY3" fmla="*/ 0 h 51815"/>
                  </a:gdLst>
                  <a:ahLst/>
                  <a:cxnLst>
                    <a:cxn ang="0">
                      <a:pos x="connsiteX0" y="connsiteY0"/>
                    </a:cxn>
                    <a:cxn ang="0">
                      <a:pos x="connsiteX1" y="connsiteY1"/>
                    </a:cxn>
                    <a:cxn ang="0">
                      <a:pos x="connsiteX2" y="connsiteY2"/>
                    </a:cxn>
                    <a:cxn ang="0">
                      <a:pos x="connsiteX3" y="connsiteY3"/>
                    </a:cxn>
                  </a:cxnLst>
                  <a:rect l="l" t="t" r="r" b="b"/>
                  <a:pathLst>
                    <a:path w="6352" h="51815">
                      <a:moveTo>
                        <a:pt x="6353" y="51816"/>
                      </a:moveTo>
                      <a:cubicBezTo>
                        <a:pt x="2989" y="44093"/>
                        <a:pt x="2367" y="37741"/>
                        <a:pt x="2367" y="33381"/>
                      </a:cubicBezTo>
                      <a:cubicBezTo>
                        <a:pt x="2367" y="26406"/>
                        <a:pt x="4235"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1" name="Freeform 7558">
                  <a:extLst>
                    <a:ext uri="{FF2B5EF4-FFF2-40B4-BE49-F238E27FC236}">
                      <a16:creationId xmlns:a16="http://schemas.microsoft.com/office/drawing/2014/main" id="{E6C4CC13-3588-7117-AF87-BF97956712C3}"/>
                    </a:ext>
                  </a:extLst>
                </p:cNvPr>
                <p:cNvSpPr/>
                <p:nvPr/>
              </p:nvSpPr>
              <p:spPr>
                <a:xfrm>
                  <a:off x="7284560" y="1788627"/>
                  <a:ext cx="26423" cy="26447"/>
                </a:xfrm>
                <a:custGeom>
                  <a:avLst/>
                  <a:gdLst>
                    <a:gd name="connsiteX0" fmla="*/ 26353 w 26423"/>
                    <a:gd name="connsiteY0" fmla="*/ 11803 h 26447"/>
                    <a:gd name="connsiteX1" fmla="*/ 14644 w 26423"/>
                    <a:gd name="connsiteY1" fmla="*/ 26377 h 26447"/>
                    <a:gd name="connsiteX2" fmla="*/ 71 w 26423"/>
                    <a:gd name="connsiteY2" fmla="*/ 14668 h 26447"/>
                    <a:gd name="connsiteX3" fmla="*/ 11780 w 26423"/>
                    <a:gd name="connsiteY3" fmla="*/ 95 h 26447"/>
                    <a:gd name="connsiteX4" fmla="*/ 26353 w 26423"/>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47">
                      <a:moveTo>
                        <a:pt x="26353" y="11803"/>
                      </a:moveTo>
                      <a:cubicBezTo>
                        <a:pt x="27100" y="19028"/>
                        <a:pt x="21869" y="25629"/>
                        <a:pt x="14644" y="26377"/>
                      </a:cubicBezTo>
                      <a:cubicBezTo>
                        <a:pt x="7420" y="27124"/>
                        <a:pt x="818" y="21893"/>
                        <a:pt x="71" y="14668"/>
                      </a:cubicBezTo>
                      <a:cubicBezTo>
                        <a:pt x="-676" y="7444"/>
                        <a:pt x="4555" y="842"/>
                        <a:pt x="11780" y="95"/>
                      </a:cubicBezTo>
                      <a:cubicBezTo>
                        <a:pt x="19003" y="-777"/>
                        <a:pt x="25481" y="4454"/>
                        <a:pt x="26353"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7" name="Graphic 2987">
                <a:extLst>
                  <a:ext uri="{FF2B5EF4-FFF2-40B4-BE49-F238E27FC236}">
                    <a16:creationId xmlns:a16="http://schemas.microsoft.com/office/drawing/2014/main" id="{03A7BBF3-5795-9431-58B1-A866AAEB175D}"/>
                  </a:ext>
                </a:extLst>
              </p:cNvPr>
              <p:cNvGrpSpPr/>
              <p:nvPr/>
            </p:nvGrpSpPr>
            <p:grpSpPr>
              <a:xfrm>
                <a:off x="7255288" y="1791765"/>
                <a:ext cx="39253" cy="148263"/>
                <a:chOff x="7255288" y="1791765"/>
                <a:chExt cx="39253" cy="148263"/>
              </a:xfrm>
              <a:grpFill/>
            </p:grpSpPr>
            <p:sp>
              <p:nvSpPr>
                <p:cNvPr id="6570" name="Freeform 7560">
                  <a:extLst>
                    <a:ext uri="{FF2B5EF4-FFF2-40B4-BE49-F238E27FC236}">
                      <a16:creationId xmlns:a16="http://schemas.microsoft.com/office/drawing/2014/main" id="{CE7608EC-EEED-2D48-B9A9-C9A87696904C}"/>
                    </a:ext>
                  </a:extLst>
                </p:cNvPr>
                <p:cNvSpPr/>
                <p:nvPr/>
              </p:nvSpPr>
              <p:spPr>
                <a:xfrm>
                  <a:off x="7278274" y="1867443"/>
                  <a:ext cx="6852" cy="51940"/>
                </a:xfrm>
                <a:custGeom>
                  <a:avLst/>
                  <a:gdLst>
                    <a:gd name="connsiteX0" fmla="*/ 5858 w 6852"/>
                    <a:gd name="connsiteY0" fmla="*/ 51941 h 51940"/>
                    <a:gd name="connsiteX1" fmla="*/ 5858 w 6852"/>
                    <a:gd name="connsiteY1" fmla="*/ 33132 h 51940"/>
                    <a:gd name="connsiteX2" fmla="*/ 627 w 6852"/>
                    <a:gd name="connsiteY2" fmla="*/ 16566 h 51940"/>
                    <a:gd name="connsiteX3" fmla="*/ 1000 w 6852"/>
                    <a:gd name="connsiteY3" fmla="*/ 0 h 51940"/>
                  </a:gdLst>
                  <a:ahLst/>
                  <a:cxnLst>
                    <a:cxn ang="0">
                      <a:pos x="connsiteX0" y="connsiteY0"/>
                    </a:cxn>
                    <a:cxn ang="0">
                      <a:pos x="connsiteX1" y="connsiteY1"/>
                    </a:cxn>
                    <a:cxn ang="0">
                      <a:pos x="connsiteX2" y="connsiteY2"/>
                    </a:cxn>
                    <a:cxn ang="0">
                      <a:pos x="connsiteX3" y="connsiteY3"/>
                    </a:cxn>
                  </a:cxnLst>
                  <a:rect l="l" t="t" r="r" b="b"/>
                  <a:pathLst>
                    <a:path w="6851" h="51940">
                      <a:moveTo>
                        <a:pt x="5858" y="51941"/>
                      </a:moveTo>
                      <a:cubicBezTo>
                        <a:pt x="7477" y="43720"/>
                        <a:pt x="6854" y="37367"/>
                        <a:pt x="5858" y="33132"/>
                      </a:cubicBezTo>
                      <a:cubicBezTo>
                        <a:pt x="4363" y="26282"/>
                        <a:pt x="1872" y="23541"/>
                        <a:pt x="627" y="16566"/>
                      </a:cubicBezTo>
                      <a:cubicBezTo>
                        <a:pt x="-619" y="9715"/>
                        <a:pt x="253" y="3861"/>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1" name="Freeform 7561">
                  <a:extLst>
                    <a:ext uri="{FF2B5EF4-FFF2-40B4-BE49-F238E27FC236}">
                      <a16:creationId xmlns:a16="http://schemas.microsoft.com/office/drawing/2014/main" id="{3E73CE99-4CDB-610D-8FAC-604327A5B9C1}"/>
                    </a:ext>
                  </a:extLst>
                </p:cNvPr>
                <p:cNvSpPr/>
                <p:nvPr/>
              </p:nvSpPr>
              <p:spPr>
                <a:xfrm>
                  <a:off x="7271552" y="1873297"/>
                  <a:ext cx="6227" cy="51815"/>
                </a:xfrm>
                <a:custGeom>
                  <a:avLst/>
                  <a:gdLst>
                    <a:gd name="connsiteX0" fmla="*/ 0 w 6227"/>
                    <a:gd name="connsiteY0" fmla="*/ 0 h 51815"/>
                    <a:gd name="connsiteX1" fmla="*/ 3986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2" name="Freeform 7562">
                  <a:extLst>
                    <a:ext uri="{FF2B5EF4-FFF2-40B4-BE49-F238E27FC236}">
                      <a16:creationId xmlns:a16="http://schemas.microsoft.com/office/drawing/2014/main" id="{A0642E54-C373-DB01-83A8-FD096A45BBEA}"/>
                    </a:ext>
                  </a:extLst>
                </p:cNvPr>
                <p:cNvSpPr/>
                <p:nvPr/>
              </p:nvSpPr>
              <p:spPr>
                <a:xfrm>
                  <a:off x="7267870" y="1913583"/>
                  <a:ext cx="26671" cy="26445"/>
                </a:xfrm>
                <a:custGeom>
                  <a:avLst/>
                  <a:gdLst>
                    <a:gd name="connsiteX0" fmla="*/ 70 w 26671"/>
                    <a:gd name="connsiteY0" fmla="*/ 14644 h 26445"/>
                    <a:gd name="connsiteX1" fmla="*/ 11903 w 26671"/>
                    <a:gd name="connsiteY1" fmla="*/ 71 h 26445"/>
                    <a:gd name="connsiteX2" fmla="*/ 26600 w 26671"/>
                    <a:gd name="connsiteY2" fmla="*/ 11779 h 26445"/>
                    <a:gd name="connsiteX3" fmla="*/ 14767 w 26671"/>
                    <a:gd name="connsiteY3" fmla="*/ 26353 h 26445"/>
                    <a:gd name="connsiteX4" fmla="*/ 70 w 26671"/>
                    <a:gd name="connsiteY4" fmla="*/ 14644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45">
                      <a:moveTo>
                        <a:pt x="70" y="14644"/>
                      </a:moveTo>
                      <a:cubicBezTo>
                        <a:pt x="-678" y="7420"/>
                        <a:pt x="4678" y="818"/>
                        <a:pt x="11903" y="71"/>
                      </a:cubicBezTo>
                      <a:cubicBezTo>
                        <a:pt x="19251" y="-676"/>
                        <a:pt x="25728" y="4555"/>
                        <a:pt x="26600" y="11779"/>
                      </a:cubicBezTo>
                      <a:cubicBezTo>
                        <a:pt x="27348" y="19004"/>
                        <a:pt x="22117" y="25605"/>
                        <a:pt x="14767" y="26353"/>
                      </a:cubicBezTo>
                      <a:cubicBezTo>
                        <a:pt x="7419" y="27225"/>
                        <a:pt x="942" y="21869"/>
                        <a:pt x="70"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3" name="Freeform 7563">
                  <a:extLst>
                    <a:ext uri="{FF2B5EF4-FFF2-40B4-BE49-F238E27FC236}">
                      <a16:creationId xmlns:a16="http://schemas.microsoft.com/office/drawing/2014/main" id="{0A89B3B4-A0F4-D1B4-15E7-11BE80C7DD88}"/>
                    </a:ext>
                  </a:extLst>
                </p:cNvPr>
                <p:cNvSpPr/>
                <p:nvPr/>
              </p:nvSpPr>
              <p:spPr>
                <a:xfrm>
                  <a:off x="7264579" y="1812513"/>
                  <a:ext cx="6846" cy="51940"/>
                </a:xfrm>
                <a:custGeom>
                  <a:avLst/>
                  <a:gdLst>
                    <a:gd name="connsiteX0" fmla="*/ 995 w 6846"/>
                    <a:gd name="connsiteY0" fmla="*/ 0 h 51940"/>
                    <a:gd name="connsiteX1" fmla="*/ 995 w 6846"/>
                    <a:gd name="connsiteY1" fmla="*/ 18808 h 51940"/>
                    <a:gd name="connsiteX2" fmla="*/ 6226 w 6846"/>
                    <a:gd name="connsiteY2" fmla="*/ 35374 h 51940"/>
                    <a:gd name="connsiteX3" fmla="*/ 5728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995" y="0"/>
                      </a:moveTo>
                      <a:cubicBezTo>
                        <a:pt x="-625" y="8221"/>
                        <a:pt x="-2" y="14573"/>
                        <a:pt x="995" y="18808"/>
                      </a:cubicBezTo>
                      <a:cubicBezTo>
                        <a:pt x="2489" y="25659"/>
                        <a:pt x="4980" y="28399"/>
                        <a:pt x="6226" y="35374"/>
                      </a:cubicBezTo>
                      <a:cubicBezTo>
                        <a:pt x="7472" y="42225"/>
                        <a:pt x="6600" y="48079"/>
                        <a:pt x="572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4" name="Freeform 7564">
                  <a:extLst>
                    <a:ext uri="{FF2B5EF4-FFF2-40B4-BE49-F238E27FC236}">
                      <a16:creationId xmlns:a16="http://schemas.microsoft.com/office/drawing/2014/main" id="{007006B5-4DA8-6872-1F88-0C1D1EAE203F}"/>
                    </a:ext>
                  </a:extLst>
                </p:cNvPr>
                <p:cNvSpPr/>
                <p:nvPr/>
              </p:nvSpPr>
              <p:spPr>
                <a:xfrm>
                  <a:off x="7271926" y="1806659"/>
                  <a:ext cx="6227" cy="51815"/>
                </a:xfrm>
                <a:custGeom>
                  <a:avLst/>
                  <a:gdLst>
                    <a:gd name="connsiteX0" fmla="*/ 6228 w 6227"/>
                    <a:gd name="connsiteY0" fmla="*/ 51816 h 51815"/>
                    <a:gd name="connsiteX1" fmla="*/ 2242 w 6227"/>
                    <a:gd name="connsiteY1" fmla="*/ 33381 h 51815"/>
                    <a:gd name="connsiteX2" fmla="*/ 3861 w 6227"/>
                    <a:gd name="connsiteY2" fmla="*/ 16068 h 51815"/>
                    <a:gd name="connsiteX3" fmla="*/ 0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51816"/>
                      </a:moveTo>
                      <a:cubicBezTo>
                        <a:pt x="2865" y="44093"/>
                        <a:pt x="2242" y="37741"/>
                        <a:pt x="2242" y="33381"/>
                      </a:cubicBezTo>
                      <a:cubicBezTo>
                        <a:pt x="2242" y="26406"/>
                        <a:pt x="4111"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5" name="Freeform 7565">
                  <a:extLst>
                    <a:ext uri="{FF2B5EF4-FFF2-40B4-BE49-F238E27FC236}">
                      <a16:creationId xmlns:a16="http://schemas.microsoft.com/office/drawing/2014/main" id="{20DE62ED-5B69-5510-FB81-8946735CDE7B}"/>
                    </a:ext>
                  </a:extLst>
                </p:cNvPr>
                <p:cNvSpPr/>
                <p:nvPr/>
              </p:nvSpPr>
              <p:spPr>
                <a:xfrm>
                  <a:off x="7255288" y="1791765"/>
                  <a:ext cx="26299" cy="26423"/>
                </a:xfrm>
                <a:custGeom>
                  <a:avLst/>
                  <a:gdLst>
                    <a:gd name="connsiteX0" fmla="*/ 26229 w 26299"/>
                    <a:gd name="connsiteY0" fmla="*/ 11779 h 26423"/>
                    <a:gd name="connsiteX1" fmla="*/ 14520 w 26299"/>
                    <a:gd name="connsiteY1" fmla="*/ 26353 h 26423"/>
                    <a:gd name="connsiteX2" fmla="*/ 71 w 26299"/>
                    <a:gd name="connsiteY2" fmla="*/ 14644 h 26423"/>
                    <a:gd name="connsiteX3" fmla="*/ 11780 w 26299"/>
                    <a:gd name="connsiteY3" fmla="*/ 71 h 26423"/>
                    <a:gd name="connsiteX4" fmla="*/ 26229 w 26299"/>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23">
                      <a:moveTo>
                        <a:pt x="26229" y="11779"/>
                      </a:moveTo>
                      <a:cubicBezTo>
                        <a:pt x="26976" y="19004"/>
                        <a:pt x="21744" y="25605"/>
                        <a:pt x="14520" y="26353"/>
                      </a:cubicBezTo>
                      <a:cubicBezTo>
                        <a:pt x="7296" y="27100"/>
                        <a:pt x="818" y="21869"/>
                        <a:pt x="71" y="14644"/>
                      </a:cubicBezTo>
                      <a:cubicBezTo>
                        <a:pt x="-676" y="7420"/>
                        <a:pt x="4555" y="818"/>
                        <a:pt x="11780" y="71"/>
                      </a:cubicBezTo>
                      <a:cubicBezTo>
                        <a:pt x="19004" y="-676"/>
                        <a:pt x="25481" y="4555"/>
                        <a:pt x="26229"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8" name="Graphic 2987">
                <a:extLst>
                  <a:ext uri="{FF2B5EF4-FFF2-40B4-BE49-F238E27FC236}">
                    <a16:creationId xmlns:a16="http://schemas.microsoft.com/office/drawing/2014/main" id="{A2066346-1E2F-8EF3-C585-27A2D61F2693}"/>
                  </a:ext>
                </a:extLst>
              </p:cNvPr>
              <p:cNvGrpSpPr/>
              <p:nvPr/>
            </p:nvGrpSpPr>
            <p:grpSpPr>
              <a:xfrm>
                <a:off x="7226018" y="1795004"/>
                <a:ext cx="38877" cy="148263"/>
                <a:chOff x="7226018" y="1795004"/>
                <a:chExt cx="38877" cy="148263"/>
              </a:xfrm>
              <a:grpFill/>
            </p:grpSpPr>
            <p:sp>
              <p:nvSpPr>
                <p:cNvPr id="6564" name="Freeform 7567">
                  <a:extLst>
                    <a:ext uri="{FF2B5EF4-FFF2-40B4-BE49-F238E27FC236}">
                      <a16:creationId xmlns:a16="http://schemas.microsoft.com/office/drawing/2014/main" id="{92914C57-C9E6-ACCF-C33C-1440363ABB95}"/>
                    </a:ext>
                  </a:extLst>
                </p:cNvPr>
                <p:cNvSpPr/>
                <p:nvPr/>
              </p:nvSpPr>
              <p:spPr>
                <a:xfrm>
                  <a:off x="7248760" y="1870681"/>
                  <a:ext cx="6722" cy="51940"/>
                </a:xfrm>
                <a:custGeom>
                  <a:avLst/>
                  <a:gdLst>
                    <a:gd name="connsiteX0" fmla="*/ 5728 w 6722"/>
                    <a:gd name="connsiteY0" fmla="*/ 51941 h 51940"/>
                    <a:gd name="connsiteX1" fmla="*/ 5728 w 6722"/>
                    <a:gd name="connsiteY1" fmla="*/ 33132 h 51940"/>
                    <a:gd name="connsiteX2" fmla="*/ 621 w 6722"/>
                    <a:gd name="connsiteY2" fmla="*/ 16566 h 51940"/>
                    <a:gd name="connsiteX3" fmla="*/ 1119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51941"/>
                      </a:moveTo>
                      <a:cubicBezTo>
                        <a:pt x="7347" y="43720"/>
                        <a:pt x="6724" y="37367"/>
                        <a:pt x="5728" y="33132"/>
                      </a:cubicBezTo>
                      <a:cubicBezTo>
                        <a:pt x="4233" y="26282"/>
                        <a:pt x="1742" y="23541"/>
                        <a:pt x="621" y="16566"/>
                      </a:cubicBezTo>
                      <a:cubicBezTo>
                        <a:pt x="-625" y="9715"/>
                        <a:pt x="247" y="3861"/>
                        <a:pt x="11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5" name="Freeform 7568">
                  <a:extLst>
                    <a:ext uri="{FF2B5EF4-FFF2-40B4-BE49-F238E27FC236}">
                      <a16:creationId xmlns:a16="http://schemas.microsoft.com/office/drawing/2014/main" id="{605D638C-C567-4ACC-80A6-75E6EE7719B7}"/>
                    </a:ext>
                  </a:extLst>
                </p:cNvPr>
                <p:cNvSpPr/>
                <p:nvPr/>
              </p:nvSpPr>
              <p:spPr>
                <a:xfrm>
                  <a:off x="7242032" y="1876535"/>
                  <a:ext cx="6103" cy="51815"/>
                </a:xfrm>
                <a:custGeom>
                  <a:avLst/>
                  <a:gdLst>
                    <a:gd name="connsiteX0" fmla="*/ 0 w 6103"/>
                    <a:gd name="connsiteY0" fmla="*/ 0 h 51815"/>
                    <a:gd name="connsiteX1" fmla="*/ 3861 w 6103"/>
                    <a:gd name="connsiteY1" fmla="*/ 18435 h 51815"/>
                    <a:gd name="connsiteX2" fmla="*/ 2242 w 6103"/>
                    <a:gd name="connsiteY2" fmla="*/ 35748 h 51815"/>
                    <a:gd name="connsiteX3" fmla="*/ 6103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0" y="0"/>
                      </a:moveTo>
                      <a:cubicBezTo>
                        <a:pt x="3239" y="7723"/>
                        <a:pt x="3861" y="14075"/>
                        <a:pt x="3861" y="18435"/>
                      </a:cubicBezTo>
                      <a:cubicBezTo>
                        <a:pt x="3737" y="25410"/>
                        <a:pt x="1993" y="28648"/>
                        <a:pt x="2242" y="35748"/>
                      </a:cubicBezTo>
                      <a:cubicBezTo>
                        <a:pt x="2491" y="42599"/>
                        <a:pt x="4485" y="48204"/>
                        <a:pt x="610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6" name="Freeform 7569">
                  <a:extLst>
                    <a:ext uri="{FF2B5EF4-FFF2-40B4-BE49-F238E27FC236}">
                      <a16:creationId xmlns:a16="http://schemas.microsoft.com/office/drawing/2014/main" id="{C83E91DF-63C9-DB94-96D6-EAA2EB477F4C}"/>
                    </a:ext>
                  </a:extLst>
                </p:cNvPr>
                <p:cNvSpPr/>
                <p:nvPr/>
              </p:nvSpPr>
              <p:spPr>
                <a:xfrm>
                  <a:off x="7238226" y="1916696"/>
                  <a:ext cx="26670" cy="26570"/>
                </a:xfrm>
                <a:custGeom>
                  <a:avLst/>
                  <a:gdLst>
                    <a:gd name="connsiteX0" fmla="*/ 70 w 26670"/>
                    <a:gd name="connsiteY0" fmla="*/ 14769 h 26570"/>
                    <a:gd name="connsiteX1" fmla="*/ 12027 w 26670"/>
                    <a:gd name="connsiteY1" fmla="*/ 71 h 26570"/>
                    <a:gd name="connsiteX2" fmla="*/ 26600 w 26670"/>
                    <a:gd name="connsiteY2" fmla="*/ 11779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79"/>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7" name="Freeform 7570">
                  <a:extLst>
                    <a:ext uri="{FF2B5EF4-FFF2-40B4-BE49-F238E27FC236}">
                      <a16:creationId xmlns:a16="http://schemas.microsoft.com/office/drawing/2014/main" id="{D682A4ED-A7DD-DD82-5185-50C35A882F3E}"/>
                    </a:ext>
                  </a:extLst>
                </p:cNvPr>
                <p:cNvSpPr/>
                <p:nvPr/>
              </p:nvSpPr>
              <p:spPr>
                <a:xfrm>
                  <a:off x="7235308" y="1815627"/>
                  <a:ext cx="6721" cy="51940"/>
                </a:xfrm>
                <a:custGeom>
                  <a:avLst/>
                  <a:gdLst>
                    <a:gd name="connsiteX0" fmla="*/ 995 w 6721"/>
                    <a:gd name="connsiteY0" fmla="*/ 0 h 51940"/>
                    <a:gd name="connsiteX1" fmla="*/ 995 w 6721"/>
                    <a:gd name="connsiteY1" fmla="*/ 18808 h 51940"/>
                    <a:gd name="connsiteX2" fmla="*/ 6101 w 6721"/>
                    <a:gd name="connsiteY2" fmla="*/ 35374 h 51940"/>
                    <a:gd name="connsiteX3" fmla="*/ 5603 w 672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1" h="51940">
                      <a:moveTo>
                        <a:pt x="995" y="0"/>
                      </a:moveTo>
                      <a:cubicBezTo>
                        <a:pt x="-625" y="8221"/>
                        <a:pt x="-2" y="14573"/>
                        <a:pt x="995" y="18808"/>
                      </a:cubicBezTo>
                      <a:cubicBezTo>
                        <a:pt x="2489" y="25659"/>
                        <a:pt x="4856" y="28399"/>
                        <a:pt x="6101" y="35374"/>
                      </a:cubicBezTo>
                      <a:cubicBezTo>
                        <a:pt x="7346" y="42225"/>
                        <a:pt x="6475" y="48079"/>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8" name="Freeform 7571">
                  <a:extLst>
                    <a:ext uri="{FF2B5EF4-FFF2-40B4-BE49-F238E27FC236}">
                      <a16:creationId xmlns:a16="http://schemas.microsoft.com/office/drawing/2014/main" id="{FBBBDACE-FBFA-DAB4-E5CC-43F4540F2A6A}"/>
                    </a:ext>
                  </a:extLst>
                </p:cNvPr>
                <p:cNvSpPr/>
                <p:nvPr/>
              </p:nvSpPr>
              <p:spPr>
                <a:xfrm>
                  <a:off x="7242654" y="1809897"/>
                  <a:ext cx="6103" cy="51815"/>
                </a:xfrm>
                <a:custGeom>
                  <a:avLst/>
                  <a:gdLst>
                    <a:gd name="connsiteX0" fmla="*/ 6104 w 6103"/>
                    <a:gd name="connsiteY0" fmla="*/ 51816 h 51815"/>
                    <a:gd name="connsiteX1" fmla="*/ 2243 w 6103"/>
                    <a:gd name="connsiteY1" fmla="*/ 33381 h 51815"/>
                    <a:gd name="connsiteX2" fmla="*/ 3862 w 6103"/>
                    <a:gd name="connsiteY2" fmla="*/ 16068 h 51815"/>
                    <a:gd name="connsiteX3" fmla="*/ 0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51816"/>
                      </a:moveTo>
                      <a:cubicBezTo>
                        <a:pt x="2865" y="44093"/>
                        <a:pt x="2243" y="37741"/>
                        <a:pt x="2243" y="33381"/>
                      </a:cubicBezTo>
                      <a:cubicBezTo>
                        <a:pt x="2243" y="26406"/>
                        <a:pt x="4111" y="23168"/>
                        <a:pt x="3862" y="16068"/>
                      </a:cubicBezTo>
                      <a:cubicBezTo>
                        <a:pt x="3613"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9" name="Freeform 7572">
                  <a:extLst>
                    <a:ext uri="{FF2B5EF4-FFF2-40B4-BE49-F238E27FC236}">
                      <a16:creationId xmlns:a16="http://schemas.microsoft.com/office/drawing/2014/main" id="{DD406A57-1129-F1B3-E27D-883AD4307AE1}"/>
                    </a:ext>
                  </a:extLst>
                </p:cNvPr>
                <p:cNvSpPr/>
                <p:nvPr/>
              </p:nvSpPr>
              <p:spPr>
                <a:xfrm>
                  <a:off x="7226018" y="1795004"/>
                  <a:ext cx="26298" cy="26423"/>
                </a:xfrm>
                <a:custGeom>
                  <a:avLst/>
                  <a:gdLst>
                    <a:gd name="connsiteX0" fmla="*/ 26228 w 26298"/>
                    <a:gd name="connsiteY0" fmla="*/ 11779 h 26423"/>
                    <a:gd name="connsiteX1" fmla="*/ 14519 w 26298"/>
                    <a:gd name="connsiteY1" fmla="*/ 26353 h 26423"/>
                    <a:gd name="connsiteX2" fmla="*/ 71 w 26298"/>
                    <a:gd name="connsiteY2" fmla="*/ 14644 h 26423"/>
                    <a:gd name="connsiteX3" fmla="*/ 11780 w 26298"/>
                    <a:gd name="connsiteY3" fmla="*/ 71 h 26423"/>
                    <a:gd name="connsiteX4" fmla="*/ 26228 w 26298"/>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423">
                      <a:moveTo>
                        <a:pt x="26228" y="11779"/>
                      </a:moveTo>
                      <a:cubicBezTo>
                        <a:pt x="26975" y="19004"/>
                        <a:pt x="21744" y="25605"/>
                        <a:pt x="14519" y="26353"/>
                      </a:cubicBezTo>
                      <a:cubicBezTo>
                        <a:pt x="7295" y="27100"/>
                        <a:pt x="818" y="21869"/>
                        <a:pt x="71" y="14644"/>
                      </a:cubicBezTo>
                      <a:cubicBezTo>
                        <a:pt x="-676" y="7420"/>
                        <a:pt x="4555" y="818"/>
                        <a:pt x="11780" y="71"/>
                      </a:cubicBezTo>
                      <a:cubicBezTo>
                        <a:pt x="19003" y="-676"/>
                        <a:pt x="25481" y="4555"/>
                        <a:pt x="26228"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9" name="Graphic 2987">
                <a:extLst>
                  <a:ext uri="{FF2B5EF4-FFF2-40B4-BE49-F238E27FC236}">
                    <a16:creationId xmlns:a16="http://schemas.microsoft.com/office/drawing/2014/main" id="{35B6FDFF-B66B-3A8E-7E6C-F14332B07062}"/>
                  </a:ext>
                </a:extLst>
              </p:cNvPr>
              <p:cNvGrpSpPr/>
              <p:nvPr/>
            </p:nvGrpSpPr>
            <p:grpSpPr>
              <a:xfrm>
                <a:off x="7196624" y="1798218"/>
                <a:ext cx="38627" cy="148287"/>
                <a:chOff x="7196624" y="1798218"/>
                <a:chExt cx="38627" cy="148287"/>
              </a:xfrm>
              <a:grpFill/>
            </p:grpSpPr>
            <p:sp>
              <p:nvSpPr>
                <p:cNvPr id="6558" name="Freeform 7574">
                  <a:extLst>
                    <a:ext uri="{FF2B5EF4-FFF2-40B4-BE49-F238E27FC236}">
                      <a16:creationId xmlns:a16="http://schemas.microsoft.com/office/drawing/2014/main" id="{671B0026-A0AE-A5BF-6680-83F769BA6CC1}"/>
                    </a:ext>
                  </a:extLst>
                </p:cNvPr>
                <p:cNvSpPr/>
                <p:nvPr/>
              </p:nvSpPr>
              <p:spPr>
                <a:xfrm>
                  <a:off x="7219295" y="1873920"/>
                  <a:ext cx="6553" cy="51940"/>
                </a:xfrm>
                <a:custGeom>
                  <a:avLst/>
                  <a:gdLst>
                    <a:gd name="connsiteX0" fmla="*/ 5548 w 6553"/>
                    <a:gd name="connsiteY0" fmla="*/ 51941 h 51940"/>
                    <a:gd name="connsiteX1" fmla="*/ 5672 w 6553"/>
                    <a:gd name="connsiteY1" fmla="*/ 33132 h 51940"/>
                    <a:gd name="connsiteX2" fmla="*/ 566 w 6553"/>
                    <a:gd name="connsiteY2" fmla="*/ 16566 h 51940"/>
                    <a:gd name="connsiteX3" fmla="*/ 1064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2" y="33132"/>
                      </a:cubicBezTo>
                      <a:cubicBezTo>
                        <a:pt x="4178" y="26282"/>
                        <a:pt x="1811" y="23541"/>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9" name="Freeform 7575">
                  <a:extLst>
                    <a:ext uri="{FF2B5EF4-FFF2-40B4-BE49-F238E27FC236}">
                      <a16:creationId xmlns:a16="http://schemas.microsoft.com/office/drawing/2014/main" id="{D386A282-7E51-F569-B2E7-22AE150E71A4}"/>
                    </a:ext>
                  </a:extLst>
                </p:cNvPr>
                <p:cNvSpPr/>
                <p:nvPr/>
              </p:nvSpPr>
              <p:spPr>
                <a:xfrm>
                  <a:off x="7212512" y="1879774"/>
                  <a:ext cx="5854" cy="51815"/>
                </a:xfrm>
                <a:custGeom>
                  <a:avLst/>
                  <a:gdLst>
                    <a:gd name="connsiteX0" fmla="*/ 0 w 5854"/>
                    <a:gd name="connsiteY0" fmla="*/ 0 h 51815"/>
                    <a:gd name="connsiteX1" fmla="*/ 3861 w 5854"/>
                    <a:gd name="connsiteY1" fmla="*/ 18435 h 51815"/>
                    <a:gd name="connsiteX2" fmla="*/ 2117 w 5854"/>
                    <a:gd name="connsiteY2" fmla="*/ 35748 h 51815"/>
                    <a:gd name="connsiteX3" fmla="*/ 5855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0" y="0"/>
                      </a:moveTo>
                      <a:cubicBezTo>
                        <a:pt x="3239" y="7723"/>
                        <a:pt x="3861" y="14075"/>
                        <a:pt x="3861" y="18435"/>
                      </a:cubicBezTo>
                      <a:cubicBezTo>
                        <a:pt x="3737" y="25410"/>
                        <a:pt x="1993" y="28648"/>
                        <a:pt x="2117" y="35748"/>
                      </a:cubicBezTo>
                      <a:cubicBezTo>
                        <a:pt x="2367" y="42599"/>
                        <a:pt x="4235" y="48204"/>
                        <a:pt x="585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0" name="Freeform 7576">
                  <a:extLst>
                    <a:ext uri="{FF2B5EF4-FFF2-40B4-BE49-F238E27FC236}">
                      <a16:creationId xmlns:a16="http://schemas.microsoft.com/office/drawing/2014/main" id="{1F4D7012-451F-BF24-8FBC-19C904D4277D}"/>
                    </a:ext>
                  </a:extLst>
                </p:cNvPr>
                <p:cNvSpPr/>
                <p:nvPr/>
              </p:nvSpPr>
              <p:spPr>
                <a:xfrm>
                  <a:off x="7208581" y="1919935"/>
                  <a:ext cx="26670" cy="26570"/>
                </a:xfrm>
                <a:custGeom>
                  <a:avLst/>
                  <a:gdLst>
                    <a:gd name="connsiteX0" fmla="*/ 70 w 26670"/>
                    <a:gd name="connsiteY0" fmla="*/ 14769 h 26570"/>
                    <a:gd name="connsiteX1" fmla="*/ 12027 w 26670"/>
                    <a:gd name="connsiteY1" fmla="*/ 71 h 26570"/>
                    <a:gd name="connsiteX2" fmla="*/ 26600 w 26670"/>
                    <a:gd name="connsiteY2" fmla="*/ 11780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80"/>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1" name="Freeform 7577">
                  <a:extLst>
                    <a:ext uri="{FF2B5EF4-FFF2-40B4-BE49-F238E27FC236}">
                      <a16:creationId xmlns:a16="http://schemas.microsoft.com/office/drawing/2014/main" id="{4E27AC4B-B4B8-0AD1-52E6-800937164DC7}"/>
                    </a:ext>
                  </a:extLst>
                </p:cNvPr>
                <p:cNvSpPr/>
                <p:nvPr/>
              </p:nvSpPr>
              <p:spPr>
                <a:xfrm>
                  <a:off x="7205901" y="1818865"/>
                  <a:ext cx="6553" cy="51940"/>
                </a:xfrm>
                <a:custGeom>
                  <a:avLst/>
                  <a:gdLst>
                    <a:gd name="connsiteX0" fmla="*/ 1005 w 6553"/>
                    <a:gd name="connsiteY0" fmla="*/ 0 h 51940"/>
                    <a:gd name="connsiteX1" fmla="*/ 881 w 6553"/>
                    <a:gd name="connsiteY1" fmla="*/ 18808 h 51940"/>
                    <a:gd name="connsiteX2" fmla="*/ 5988 w 6553"/>
                    <a:gd name="connsiteY2" fmla="*/ 35374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5" y="0"/>
                      </a:moveTo>
                      <a:cubicBezTo>
                        <a:pt x="-614" y="8221"/>
                        <a:pt x="9" y="14573"/>
                        <a:pt x="881" y="18808"/>
                      </a:cubicBezTo>
                      <a:cubicBezTo>
                        <a:pt x="2376" y="25659"/>
                        <a:pt x="4743" y="28399"/>
                        <a:pt x="5988" y="35374"/>
                      </a:cubicBezTo>
                      <a:cubicBezTo>
                        <a:pt x="7109" y="42225"/>
                        <a:pt x="6362" y="48079"/>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2" name="Freeform 7578">
                  <a:extLst>
                    <a:ext uri="{FF2B5EF4-FFF2-40B4-BE49-F238E27FC236}">
                      <a16:creationId xmlns:a16="http://schemas.microsoft.com/office/drawing/2014/main" id="{72254204-F3F5-94F7-F6DE-4C101259CEE5}"/>
                    </a:ext>
                  </a:extLst>
                </p:cNvPr>
                <p:cNvSpPr/>
                <p:nvPr/>
              </p:nvSpPr>
              <p:spPr>
                <a:xfrm>
                  <a:off x="7213384" y="1813136"/>
                  <a:ext cx="5854" cy="51815"/>
                </a:xfrm>
                <a:custGeom>
                  <a:avLst/>
                  <a:gdLst>
                    <a:gd name="connsiteX0" fmla="*/ 5855 w 5854"/>
                    <a:gd name="connsiteY0" fmla="*/ 51816 h 51815"/>
                    <a:gd name="connsiteX1" fmla="*/ 1993 w 5854"/>
                    <a:gd name="connsiteY1" fmla="*/ 33381 h 51815"/>
                    <a:gd name="connsiteX2" fmla="*/ 3737 w 5854"/>
                    <a:gd name="connsiteY2" fmla="*/ 16068 h 51815"/>
                    <a:gd name="connsiteX3" fmla="*/ 0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5855" y="51816"/>
                      </a:moveTo>
                      <a:cubicBezTo>
                        <a:pt x="2616" y="44093"/>
                        <a:pt x="1993" y="37741"/>
                        <a:pt x="1993" y="33381"/>
                      </a:cubicBezTo>
                      <a:cubicBezTo>
                        <a:pt x="2117" y="26406"/>
                        <a:pt x="3861" y="23168"/>
                        <a:pt x="3737"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3" name="Freeform 7579">
                  <a:extLst>
                    <a:ext uri="{FF2B5EF4-FFF2-40B4-BE49-F238E27FC236}">
                      <a16:creationId xmlns:a16="http://schemas.microsoft.com/office/drawing/2014/main" id="{A4C677A9-0FD6-3D07-FFC3-AF775AAB3D83}"/>
                    </a:ext>
                  </a:extLst>
                </p:cNvPr>
                <p:cNvSpPr/>
                <p:nvPr/>
              </p:nvSpPr>
              <p:spPr>
                <a:xfrm>
                  <a:off x="7196624" y="1798218"/>
                  <a:ext cx="26422" cy="26447"/>
                </a:xfrm>
                <a:custGeom>
                  <a:avLst/>
                  <a:gdLst>
                    <a:gd name="connsiteX0" fmla="*/ 26351 w 26422"/>
                    <a:gd name="connsiteY0" fmla="*/ 11803 h 26447"/>
                    <a:gd name="connsiteX1" fmla="*/ 14518 w 26422"/>
                    <a:gd name="connsiteY1" fmla="*/ 26377 h 26447"/>
                    <a:gd name="connsiteX2" fmla="*/ 70 w 26422"/>
                    <a:gd name="connsiteY2" fmla="*/ 14668 h 26447"/>
                    <a:gd name="connsiteX3" fmla="*/ 11902 w 26422"/>
                    <a:gd name="connsiteY3" fmla="*/ 95 h 26447"/>
                    <a:gd name="connsiteX4" fmla="*/ 26351 w 26422"/>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47">
                      <a:moveTo>
                        <a:pt x="26351" y="11803"/>
                      </a:moveTo>
                      <a:cubicBezTo>
                        <a:pt x="27099" y="19028"/>
                        <a:pt x="21867" y="25629"/>
                        <a:pt x="14518" y="26377"/>
                      </a:cubicBezTo>
                      <a:cubicBezTo>
                        <a:pt x="7294" y="27124"/>
                        <a:pt x="817" y="21893"/>
                        <a:pt x="70" y="14668"/>
                      </a:cubicBezTo>
                      <a:cubicBezTo>
                        <a:pt x="-678" y="7444"/>
                        <a:pt x="4678" y="842"/>
                        <a:pt x="11902" y="95"/>
                      </a:cubicBezTo>
                      <a:cubicBezTo>
                        <a:pt x="19127" y="-777"/>
                        <a:pt x="25604" y="4454"/>
                        <a:pt x="26351"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0" name="Graphic 2987">
                <a:extLst>
                  <a:ext uri="{FF2B5EF4-FFF2-40B4-BE49-F238E27FC236}">
                    <a16:creationId xmlns:a16="http://schemas.microsoft.com/office/drawing/2014/main" id="{60D83DC5-B671-B914-64BE-79AAA4B9C15F}"/>
                  </a:ext>
                </a:extLst>
              </p:cNvPr>
              <p:cNvGrpSpPr/>
              <p:nvPr/>
            </p:nvGrpSpPr>
            <p:grpSpPr>
              <a:xfrm>
                <a:off x="7167228" y="1801457"/>
                <a:ext cx="38378" cy="148262"/>
                <a:chOff x="7167228" y="1801457"/>
                <a:chExt cx="38378" cy="148262"/>
              </a:xfrm>
              <a:grpFill/>
            </p:grpSpPr>
            <p:sp>
              <p:nvSpPr>
                <p:cNvPr id="6552" name="Freeform 7581">
                  <a:extLst>
                    <a:ext uri="{FF2B5EF4-FFF2-40B4-BE49-F238E27FC236}">
                      <a16:creationId xmlns:a16="http://schemas.microsoft.com/office/drawing/2014/main" id="{F82D3AD7-329F-5F1A-C6E0-2D21485E5B56}"/>
                    </a:ext>
                  </a:extLst>
                </p:cNvPr>
                <p:cNvSpPr/>
                <p:nvPr/>
              </p:nvSpPr>
              <p:spPr>
                <a:xfrm>
                  <a:off x="7189781" y="1877034"/>
                  <a:ext cx="6640" cy="52065"/>
                </a:xfrm>
                <a:custGeom>
                  <a:avLst/>
                  <a:gdLst>
                    <a:gd name="connsiteX0" fmla="*/ 5542 w 6640"/>
                    <a:gd name="connsiteY0" fmla="*/ 52065 h 52065"/>
                    <a:gd name="connsiteX1" fmla="*/ 5667 w 6640"/>
                    <a:gd name="connsiteY1" fmla="*/ 33257 h 52065"/>
                    <a:gd name="connsiteX2" fmla="*/ 560 w 6640"/>
                    <a:gd name="connsiteY2" fmla="*/ 16566 h 52065"/>
                    <a:gd name="connsiteX3" fmla="*/ 1183 w 6640"/>
                    <a:gd name="connsiteY3" fmla="*/ 0 h 52065"/>
                  </a:gdLst>
                  <a:ahLst/>
                  <a:cxnLst>
                    <a:cxn ang="0">
                      <a:pos x="connsiteX0" y="connsiteY0"/>
                    </a:cxn>
                    <a:cxn ang="0">
                      <a:pos x="connsiteX1" y="connsiteY1"/>
                    </a:cxn>
                    <a:cxn ang="0">
                      <a:pos x="connsiteX2" y="connsiteY2"/>
                    </a:cxn>
                    <a:cxn ang="0">
                      <a:pos x="connsiteX3" y="connsiteY3"/>
                    </a:cxn>
                  </a:cxnLst>
                  <a:rect l="l" t="t" r="r" b="b"/>
                  <a:pathLst>
                    <a:path w="6640" h="52065">
                      <a:moveTo>
                        <a:pt x="5542" y="52065"/>
                      </a:moveTo>
                      <a:cubicBezTo>
                        <a:pt x="7286" y="43844"/>
                        <a:pt x="6663" y="37492"/>
                        <a:pt x="5667" y="33257"/>
                      </a:cubicBezTo>
                      <a:cubicBezTo>
                        <a:pt x="4172" y="26406"/>
                        <a:pt x="1805" y="23666"/>
                        <a:pt x="560" y="16566"/>
                      </a:cubicBezTo>
                      <a:cubicBezTo>
                        <a:pt x="-561" y="9715"/>
                        <a:pt x="186" y="3861"/>
                        <a:pt x="11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3" name="Freeform 7582">
                  <a:extLst>
                    <a:ext uri="{FF2B5EF4-FFF2-40B4-BE49-F238E27FC236}">
                      <a16:creationId xmlns:a16="http://schemas.microsoft.com/office/drawing/2014/main" id="{E3F425D2-3A95-88E6-3F75-503578377118}"/>
                    </a:ext>
                  </a:extLst>
                </p:cNvPr>
                <p:cNvSpPr/>
                <p:nvPr/>
              </p:nvSpPr>
              <p:spPr>
                <a:xfrm>
                  <a:off x="7182992" y="1883012"/>
                  <a:ext cx="5729" cy="51815"/>
                </a:xfrm>
                <a:custGeom>
                  <a:avLst/>
                  <a:gdLst>
                    <a:gd name="connsiteX0" fmla="*/ 0 w 5729"/>
                    <a:gd name="connsiteY0" fmla="*/ 0 h 51815"/>
                    <a:gd name="connsiteX1" fmla="*/ 3737 w 5729"/>
                    <a:gd name="connsiteY1" fmla="*/ 18435 h 51815"/>
                    <a:gd name="connsiteX2" fmla="*/ 1993 w 5729"/>
                    <a:gd name="connsiteY2" fmla="*/ 35748 h 51815"/>
                    <a:gd name="connsiteX3" fmla="*/ 573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0" y="0"/>
                      </a:moveTo>
                      <a:cubicBezTo>
                        <a:pt x="3239" y="7847"/>
                        <a:pt x="3861" y="14075"/>
                        <a:pt x="3737" y="18435"/>
                      </a:cubicBezTo>
                      <a:cubicBezTo>
                        <a:pt x="3612" y="25410"/>
                        <a:pt x="1744"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4" name="Freeform 7583">
                  <a:extLst>
                    <a:ext uri="{FF2B5EF4-FFF2-40B4-BE49-F238E27FC236}">
                      <a16:creationId xmlns:a16="http://schemas.microsoft.com/office/drawing/2014/main" id="{858AB4CE-1CA8-24CB-052F-7571D4A57606}"/>
                    </a:ext>
                  </a:extLst>
                </p:cNvPr>
                <p:cNvSpPr/>
                <p:nvPr/>
              </p:nvSpPr>
              <p:spPr>
                <a:xfrm>
                  <a:off x="7178937" y="1923173"/>
                  <a:ext cx="26668" cy="26545"/>
                </a:xfrm>
                <a:custGeom>
                  <a:avLst/>
                  <a:gdLst>
                    <a:gd name="connsiteX0" fmla="*/ 68 w 26668"/>
                    <a:gd name="connsiteY0" fmla="*/ 14520 h 26545"/>
                    <a:gd name="connsiteX1" fmla="*/ 12026 w 26668"/>
                    <a:gd name="connsiteY1" fmla="*/ 71 h 26545"/>
                    <a:gd name="connsiteX2" fmla="*/ 26599 w 26668"/>
                    <a:gd name="connsiteY2" fmla="*/ 11779 h 26545"/>
                    <a:gd name="connsiteX3" fmla="*/ 14642 w 26668"/>
                    <a:gd name="connsiteY3" fmla="*/ 26477 h 26545"/>
                    <a:gd name="connsiteX4" fmla="*/ 68 w 26668"/>
                    <a:gd name="connsiteY4" fmla="*/ 14520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45">
                      <a:moveTo>
                        <a:pt x="68" y="14520"/>
                      </a:moveTo>
                      <a:cubicBezTo>
                        <a:pt x="-679" y="7171"/>
                        <a:pt x="4802" y="943"/>
                        <a:pt x="12026" y="71"/>
                      </a:cubicBezTo>
                      <a:cubicBezTo>
                        <a:pt x="19375" y="-676"/>
                        <a:pt x="25852" y="4555"/>
                        <a:pt x="26599" y="11779"/>
                      </a:cubicBezTo>
                      <a:cubicBezTo>
                        <a:pt x="27346" y="19004"/>
                        <a:pt x="21991" y="25605"/>
                        <a:pt x="14642" y="26477"/>
                      </a:cubicBezTo>
                      <a:cubicBezTo>
                        <a:pt x="7293" y="27225"/>
                        <a:pt x="816" y="21744"/>
                        <a:pt x="68" y="145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5" name="Freeform 7584">
                  <a:extLst>
                    <a:ext uri="{FF2B5EF4-FFF2-40B4-BE49-F238E27FC236}">
                      <a16:creationId xmlns:a16="http://schemas.microsoft.com/office/drawing/2014/main" id="{AFCBD787-676E-0FAC-EFE2-7F22F6FC3ED6}"/>
                    </a:ext>
                  </a:extLst>
                </p:cNvPr>
                <p:cNvSpPr/>
                <p:nvPr/>
              </p:nvSpPr>
              <p:spPr>
                <a:xfrm>
                  <a:off x="7176413" y="1822104"/>
                  <a:ext cx="6640" cy="51940"/>
                </a:xfrm>
                <a:custGeom>
                  <a:avLst/>
                  <a:gdLst>
                    <a:gd name="connsiteX0" fmla="*/ 1098 w 6640"/>
                    <a:gd name="connsiteY0" fmla="*/ 0 h 51940"/>
                    <a:gd name="connsiteX1" fmla="*/ 973 w 6640"/>
                    <a:gd name="connsiteY1" fmla="*/ 18808 h 51940"/>
                    <a:gd name="connsiteX2" fmla="*/ 6081 w 6640"/>
                    <a:gd name="connsiteY2" fmla="*/ 35499 h 51940"/>
                    <a:gd name="connsiteX3" fmla="*/ 5458 w 664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40" h="51940">
                      <a:moveTo>
                        <a:pt x="1098" y="0"/>
                      </a:moveTo>
                      <a:cubicBezTo>
                        <a:pt x="-646" y="8221"/>
                        <a:pt x="-22" y="14573"/>
                        <a:pt x="973" y="18808"/>
                      </a:cubicBezTo>
                      <a:cubicBezTo>
                        <a:pt x="2468" y="25659"/>
                        <a:pt x="4835" y="28524"/>
                        <a:pt x="6081" y="35499"/>
                      </a:cubicBezTo>
                      <a:cubicBezTo>
                        <a:pt x="7201" y="42350"/>
                        <a:pt x="6454" y="48204"/>
                        <a:pt x="545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6" name="Freeform 7585">
                  <a:extLst>
                    <a:ext uri="{FF2B5EF4-FFF2-40B4-BE49-F238E27FC236}">
                      <a16:creationId xmlns:a16="http://schemas.microsoft.com/office/drawing/2014/main" id="{72812CDA-5A07-7E7C-9EF9-ECE2DD946F54}"/>
                    </a:ext>
                  </a:extLst>
                </p:cNvPr>
                <p:cNvSpPr/>
                <p:nvPr/>
              </p:nvSpPr>
              <p:spPr>
                <a:xfrm>
                  <a:off x="7184113" y="1816374"/>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4093"/>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7" name="Freeform 7586">
                  <a:extLst>
                    <a:ext uri="{FF2B5EF4-FFF2-40B4-BE49-F238E27FC236}">
                      <a16:creationId xmlns:a16="http://schemas.microsoft.com/office/drawing/2014/main" id="{22AD5532-E3B7-B9EC-84AA-DEFE1200FD4B}"/>
                    </a:ext>
                  </a:extLst>
                </p:cNvPr>
                <p:cNvSpPr/>
                <p:nvPr/>
              </p:nvSpPr>
              <p:spPr>
                <a:xfrm>
                  <a:off x="7167228" y="1801457"/>
                  <a:ext cx="26421" cy="26444"/>
                </a:xfrm>
                <a:custGeom>
                  <a:avLst/>
                  <a:gdLst>
                    <a:gd name="connsiteX0" fmla="*/ 26352 w 26421"/>
                    <a:gd name="connsiteY0" fmla="*/ 11803 h 26444"/>
                    <a:gd name="connsiteX1" fmla="*/ 14519 w 26421"/>
                    <a:gd name="connsiteY1" fmla="*/ 26377 h 26444"/>
                    <a:gd name="connsiteX2" fmla="*/ 70 w 26421"/>
                    <a:gd name="connsiteY2" fmla="*/ 14419 h 26444"/>
                    <a:gd name="connsiteX3" fmla="*/ 11903 w 26421"/>
                    <a:gd name="connsiteY3" fmla="*/ 95 h 26444"/>
                    <a:gd name="connsiteX4" fmla="*/ 26352 w 26421"/>
                    <a:gd name="connsiteY4" fmla="*/ 11803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44">
                      <a:moveTo>
                        <a:pt x="26352" y="11803"/>
                      </a:moveTo>
                      <a:cubicBezTo>
                        <a:pt x="27099" y="19028"/>
                        <a:pt x="21743" y="25629"/>
                        <a:pt x="14519" y="26377"/>
                      </a:cubicBezTo>
                      <a:cubicBezTo>
                        <a:pt x="7294" y="27124"/>
                        <a:pt x="817" y="21643"/>
                        <a:pt x="70" y="14419"/>
                      </a:cubicBezTo>
                      <a:cubicBezTo>
                        <a:pt x="-678" y="7070"/>
                        <a:pt x="4678" y="842"/>
                        <a:pt x="11903" y="95"/>
                      </a:cubicBezTo>
                      <a:cubicBezTo>
                        <a:pt x="19252" y="-777"/>
                        <a:pt x="25604" y="4454"/>
                        <a:pt x="26352"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1" name="Graphic 2987">
                <a:extLst>
                  <a:ext uri="{FF2B5EF4-FFF2-40B4-BE49-F238E27FC236}">
                    <a16:creationId xmlns:a16="http://schemas.microsoft.com/office/drawing/2014/main" id="{51D700B2-D727-89E7-85FA-B3C61ADFB6E0}"/>
                  </a:ext>
                </a:extLst>
              </p:cNvPr>
              <p:cNvGrpSpPr/>
              <p:nvPr/>
            </p:nvGrpSpPr>
            <p:grpSpPr>
              <a:xfrm>
                <a:off x="7137832" y="1803994"/>
                <a:ext cx="38252" cy="148322"/>
                <a:chOff x="7137832" y="1803994"/>
                <a:chExt cx="38252" cy="148322"/>
              </a:xfrm>
              <a:grpFill/>
            </p:grpSpPr>
            <p:sp>
              <p:nvSpPr>
                <p:cNvPr id="6546" name="Freeform 7588">
                  <a:extLst>
                    <a:ext uri="{FF2B5EF4-FFF2-40B4-BE49-F238E27FC236}">
                      <a16:creationId xmlns:a16="http://schemas.microsoft.com/office/drawing/2014/main" id="{3A584EAC-A05A-61EA-2275-4F64DF023425}"/>
                    </a:ext>
                  </a:extLst>
                </p:cNvPr>
                <p:cNvSpPr/>
                <p:nvPr/>
              </p:nvSpPr>
              <p:spPr>
                <a:xfrm>
                  <a:off x="7160290" y="1879774"/>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018"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7" name="Freeform 7589">
                  <a:extLst>
                    <a:ext uri="{FF2B5EF4-FFF2-40B4-BE49-F238E27FC236}">
                      <a16:creationId xmlns:a16="http://schemas.microsoft.com/office/drawing/2014/main" id="{BC481B8F-2BA8-C053-9F3C-609FE79DE60B}"/>
                    </a:ext>
                  </a:extLst>
                </p:cNvPr>
                <p:cNvSpPr/>
                <p:nvPr/>
              </p:nvSpPr>
              <p:spPr>
                <a:xfrm>
                  <a:off x="7153471" y="1885504"/>
                  <a:ext cx="5605" cy="51816"/>
                </a:xfrm>
                <a:custGeom>
                  <a:avLst/>
                  <a:gdLst>
                    <a:gd name="connsiteX0" fmla="*/ 0 w 5605"/>
                    <a:gd name="connsiteY0" fmla="*/ 0 h 51816"/>
                    <a:gd name="connsiteX1" fmla="*/ 3737 w 5605"/>
                    <a:gd name="connsiteY1" fmla="*/ 18435 h 51816"/>
                    <a:gd name="connsiteX2" fmla="*/ 1869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861" y="14075"/>
                        <a:pt x="3737" y="18435"/>
                      </a:cubicBezTo>
                      <a:cubicBezTo>
                        <a:pt x="3612" y="25410"/>
                        <a:pt x="1744" y="28648"/>
                        <a:pt x="1869" y="35748"/>
                      </a:cubicBezTo>
                      <a:cubicBezTo>
                        <a:pt x="1993" y="42599"/>
                        <a:pt x="3986"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8" name="Freeform 7590">
                  <a:extLst>
                    <a:ext uri="{FF2B5EF4-FFF2-40B4-BE49-F238E27FC236}">
                      <a16:creationId xmlns:a16="http://schemas.microsoft.com/office/drawing/2014/main" id="{1B888F99-528F-1026-D5FB-848E0686D7BB}"/>
                    </a:ext>
                  </a:extLst>
                </p:cNvPr>
                <p:cNvSpPr/>
                <p:nvPr/>
              </p:nvSpPr>
              <p:spPr>
                <a:xfrm>
                  <a:off x="7149312" y="1925811"/>
                  <a:ext cx="26772" cy="26504"/>
                </a:xfrm>
                <a:custGeom>
                  <a:avLst/>
                  <a:gdLst>
                    <a:gd name="connsiteX0" fmla="*/ 49 w 26772"/>
                    <a:gd name="connsiteY0" fmla="*/ 14373 h 26504"/>
                    <a:gd name="connsiteX1" fmla="*/ 12132 w 26772"/>
                    <a:gd name="connsiteY1" fmla="*/ 49 h 26504"/>
                    <a:gd name="connsiteX2" fmla="*/ 26705 w 26772"/>
                    <a:gd name="connsiteY2" fmla="*/ 12131 h 26504"/>
                    <a:gd name="connsiteX3" fmla="*/ 14623 w 26772"/>
                    <a:gd name="connsiteY3" fmla="*/ 26455 h 26504"/>
                    <a:gd name="connsiteX4" fmla="*/ 49 w 2677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2" h="26504">
                      <a:moveTo>
                        <a:pt x="49" y="14373"/>
                      </a:moveTo>
                      <a:cubicBezTo>
                        <a:pt x="-573" y="7024"/>
                        <a:pt x="4782" y="672"/>
                        <a:pt x="12132" y="49"/>
                      </a:cubicBezTo>
                      <a:cubicBezTo>
                        <a:pt x="19480" y="-574"/>
                        <a:pt x="25957" y="4782"/>
                        <a:pt x="26705" y="12131"/>
                      </a:cubicBezTo>
                      <a:cubicBezTo>
                        <a:pt x="27452" y="19480"/>
                        <a:pt x="21971" y="25833"/>
                        <a:pt x="14623" y="26455"/>
                      </a:cubicBezTo>
                      <a:cubicBezTo>
                        <a:pt x="7274"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9" name="Freeform 7591">
                  <a:extLst>
                    <a:ext uri="{FF2B5EF4-FFF2-40B4-BE49-F238E27FC236}">
                      <a16:creationId xmlns:a16="http://schemas.microsoft.com/office/drawing/2014/main" id="{B2CE0148-E119-E194-6FAF-A36615F181F1}"/>
                    </a:ext>
                  </a:extLst>
                </p:cNvPr>
                <p:cNvSpPr/>
                <p:nvPr/>
              </p:nvSpPr>
              <p:spPr>
                <a:xfrm>
                  <a:off x="7147005" y="1824595"/>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3" y="48079"/>
                        <a:pt x="522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0" name="Freeform 7592">
                  <a:extLst>
                    <a:ext uri="{FF2B5EF4-FFF2-40B4-BE49-F238E27FC236}">
                      <a16:creationId xmlns:a16="http://schemas.microsoft.com/office/drawing/2014/main" id="{1C25DDD5-6E5E-0CFE-0217-1D35AA3E2F0C}"/>
                    </a:ext>
                  </a:extLst>
                </p:cNvPr>
                <p:cNvSpPr/>
                <p:nvPr/>
              </p:nvSpPr>
              <p:spPr>
                <a:xfrm>
                  <a:off x="7154593" y="1818990"/>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3969"/>
                        <a:pt x="1868" y="37741"/>
                        <a:pt x="1993" y="33381"/>
                      </a:cubicBezTo>
                      <a:cubicBezTo>
                        <a:pt x="2117" y="26406"/>
                        <a:pt x="3985"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1" name="Freeform 7593">
                  <a:extLst>
                    <a:ext uri="{FF2B5EF4-FFF2-40B4-BE49-F238E27FC236}">
                      <a16:creationId xmlns:a16="http://schemas.microsoft.com/office/drawing/2014/main" id="{3951AE5F-9C54-0312-0921-5451A695FEB6}"/>
                    </a:ext>
                  </a:extLst>
                </p:cNvPr>
                <p:cNvSpPr/>
                <p:nvPr/>
              </p:nvSpPr>
              <p:spPr>
                <a:xfrm>
                  <a:off x="7137832" y="1803994"/>
                  <a:ext cx="26545" cy="26503"/>
                </a:xfrm>
                <a:custGeom>
                  <a:avLst/>
                  <a:gdLst>
                    <a:gd name="connsiteX0" fmla="*/ 26476 w 26545"/>
                    <a:gd name="connsiteY0" fmla="*/ 12131 h 26503"/>
                    <a:gd name="connsiteX1" fmla="*/ 14518 w 26545"/>
                    <a:gd name="connsiteY1" fmla="*/ 26455 h 26503"/>
                    <a:gd name="connsiteX2" fmla="*/ 70 w 26545"/>
                    <a:gd name="connsiteY2" fmla="*/ 14373 h 26503"/>
                    <a:gd name="connsiteX3" fmla="*/ 12027 w 26545"/>
                    <a:gd name="connsiteY3" fmla="*/ 49 h 26503"/>
                    <a:gd name="connsiteX4" fmla="*/ 26476 w 26545"/>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03">
                      <a:moveTo>
                        <a:pt x="26476" y="12131"/>
                      </a:moveTo>
                      <a:cubicBezTo>
                        <a:pt x="27223" y="19480"/>
                        <a:pt x="21867" y="25833"/>
                        <a:pt x="14518" y="26455"/>
                      </a:cubicBezTo>
                      <a:cubicBezTo>
                        <a:pt x="7294" y="27078"/>
                        <a:pt x="817" y="21598"/>
                        <a:pt x="70" y="14373"/>
                      </a:cubicBezTo>
                      <a:cubicBezTo>
                        <a:pt x="-678" y="7149"/>
                        <a:pt x="4678" y="672"/>
                        <a:pt x="12027" y="49"/>
                      </a:cubicBezTo>
                      <a:cubicBezTo>
                        <a:pt x="19251" y="-574"/>
                        <a:pt x="25728" y="4782"/>
                        <a:pt x="26476"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2" name="Graphic 2987">
                <a:extLst>
                  <a:ext uri="{FF2B5EF4-FFF2-40B4-BE49-F238E27FC236}">
                    <a16:creationId xmlns:a16="http://schemas.microsoft.com/office/drawing/2014/main" id="{1521B7F0-B4AA-35F4-5B49-8A8F41C5BC38}"/>
                  </a:ext>
                </a:extLst>
              </p:cNvPr>
              <p:cNvGrpSpPr/>
              <p:nvPr/>
            </p:nvGrpSpPr>
            <p:grpSpPr>
              <a:xfrm>
                <a:off x="7108582" y="1806485"/>
                <a:ext cx="37589" cy="148322"/>
                <a:chOff x="7108582" y="1806485"/>
                <a:chExt cx="37589" cy="148322"/>
              </a:xfrm>
              <a:grpFill/>
            </p:grpSpPr>
            <p:sp>
              <p:nvSpPr>
                <p:cNvPr id="6540" name="Freeform 7595">
                  <a:extLst>
                    <a:ext uri="{FF2B5EF4-FFF2-40B4-BE49-F238E27FC236}">
                      <a16:creationId xmlns:a16="http://schemas.microsoft.com/office/drawing/2014/main" id="{3BD666EB-6B67-C41B-A3D2-43386A6C1ED4}"/>
                    </a:ext>
                  </a:extLst>
                </p:cNvPr>
                <p:cNvSpPr/>
                <p:nvPr/>
              </p:nvSpPr>
              <p:spPr>
                <a:xfrm>
                  <a:off x="7130645" y="1882265"/>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143"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1" name="Freeform 7596">
                  <a:extLst>
                    <a:ext uri="{FF2B5EF4-FFF2-40B4-BE49-F238E27FC236}">
                      <a16:creationId xmlns:a16="http://schemas.microsoft.com/office/drawing/2014/main" id="{B1FD9E3E-BE32-EF5B-14DF-708896D6BCA6}"/>
                    </a:ext>
                  </a:extLst>
                </p:cNvPr>
                <p:cNvSpPr/>
                <p:nvPr/>
              </p:nvSpPr>
              <p:spPr>
                <a:xfrm>
                  <a:off x="7123827" y="1887995"/>
                  <a:ext cx="5480" cy="51815"/>
                </a:xfrm>
                <a:custGeom>
                  <a:avLst/>
                  <a:gdLst>
                    <a:gd name="connsiteX0" fmla="*/ 0 w 5480"/>
                    <a:gd name="connsiteY0" fmla="*/ 0 h 51815"/>
                    <a:gd name="connsiteX1" fmla="*/ 3737 w 5480"/>
                    <a:gd name="connsiteY1" fmla="*/ 18435 h 51815"/>
                    <a:gd name="connsiteX2" fmla="*/ 1869 w 5480"/>
                    <a:gd name="connsiteY2" fmla="*/ 35748 h 51815"/>
                    <a:gd name="connsiteX3" fmla="*/ 5481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0" y="0"/>
                      </a:moveTo>
                      <a:cubicBezTo>
                        <a:pt x="3239" y="7847"/>
                        <a:pt x="3737" y="14075"/>
                        <a:pt x="3737" y="18435"/>
                      </a:cubicBezTo>
                      <a:cubicBezTo>
                        <a:pt x="3612" y="25410"/>
                        <a:pt x="1744" y="28648"/>
                        <a:pt x="1869" y="35748"/>
                      </a:cubicBezTo>
                      <a:cubicBezTo>
                        <a:pt x="1993" y="42599"/>
                        <a:pt x="3986" y="48204"/>
                        <a:pt x="548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2" name="Freeform 7597">
                  <a:extLst>
                    <a:ext uri="{FF2B5EF4-FFF2-40B4-BE49-F238E27FC236}">
                      <a16:creationId xmlns:a16="http://schemas.microsoft.com/office/drawing/2014/main" id="{8C6E80FE-C570-E4AF-A29F-5CC80669CC1B}"/>
                    </a:ext>
                  </a:extLst>
                </p:cNvPr>
                <p:cNvSpPr/>
                <p:nvPr/>
              </p:nvSpPr>
              <p:spPr>
                <a:xfrm>
                  <a:off x="7119543" y="1928302"/>
                  <a:ext cx="26628" cy="26504"/>
                </a:xfrm>
                <a:custGeom>
                  <a:avLst/>
                  <a:gdLst>
                    <a:gd name="connsiteX0" fmla="*/ 49 w 26628"/>
                    <a:gd name="connsiteY0" fmla="*/ 14373 h 26504"/>
                    <a:gd name="connsiteX1" fmla="*/ 12131 w 26628"/>
                    <a:gd name="connsiteY1" fmla="*/ 49 h 26504"/>
                    <a:gd name="connsiteX2" fmla="*/ 26579 w 26628"/>
                    <a:gd name="connsiteY2" fmla="*/ 12131 h 26504"/>
                    <a:gd name="connsiteX3" fmla="*/ 14498 w 26628"/>
                    <a:gd name="connsiteY3" fmla="*/ 26455 h 26504"/>
                    <a:gd name="connsiteX4" fmla="*/ 49 w 2662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504">
                      <a:moveTo>
                        <a:pt x="49" y="14373"/>
                      </a:moveTo>
                      <a:cubicBezTo>
                        <a:pt x="-574" y="7024"/>
                        <a:pt x="4782" y="672"/>
                        <a:pt x="12131" y="49"/>
                      </a:cubicBezTo>
                      <a:cubicBezTo>
                        <a:pt x="19480" y="-574"/>
                        <a:pt x="25957" y="4782"/>
                        <a:pt x="26579" y="12131"/>
                      </a:cubicBezTo>
                      <a:cubicBezTo>
                        <a:pt x="27203" y="19480"/>
                        <a:pt x="21847" y="25833"/>
                        <a:pt x="14498" y="26455"/>
                      </a:cubicBezTo>
                      <a:cubicBezTo>
                        <a:pt x="7148" y="27078"/>
                        <a:pt x="797"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3" name="Freeform 7598">
                  <a:extLst>
                    <a:ext uri="{FF2B5EF4-FFF2-40B4-BE49-F238E27FC236}">
                      <a16:creationId xmlns:a16="http://schemas.microsoft.com/office/drawing/2014/main" id="{3C069B2C-76F4-7EE4-DACD-E4DBC7BFC06D}"/>
                    </a:ext>
                  </a:extLst>
                </p:cNvPr>
                <p:cNvSpPr/>
                <p:nvPr/>
              </p:nvSpPr>
              <p:spPr>
                <a:xfrm>
                  <a:off x="7117610" y="182708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0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2" y="48204"/>
                        <a:pt x="522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4" name="Freeform 7599">
                  <a:extLst>
                    <a:ext uri="{FF2B5EF4-FFF2-40B4-BE49-F238E27FC236}">
                      <a16:creationId xmlns:a16="http://schemas.microsoft.com/office/drawing/2014/main" id="{142238B3-99A4-C22B-A159-9A1DB856E055}"/>
                    </a:ext>
                  </a:extLst>
                </p:cNvPr>
                <p:cNvSpPr/>
                <p:nvPr/>
              </p:nvSpPr>
              <p:spPr>
                <a:xfrm>
                  <a:off x="7125321" y="1821481"/>
                  <a:ext cx="5480" cy="51815"/>
                </a:xfrm>
                <a:custGeom>
                  <a:avLst/>
                  <a:gdLst>
                    <a:gd name="connsiteX0" fmla="*/ 5481 w 5480"/>
                    <a:gd name="connsiteY0" fmla="*/ 51816 h 51815"/>
                    <a:gd name="connsiteX1" fmla="*/ 1744 w 5480"/>
                    <a:gd name="connsiteY1" fmla="*/ 33381 h 51815"/>
                    <a:gd name="connsiteX2" fmla="*/ 3613 w 5480"/>
                    <a:gd name="connsiteY2" fmla="*/ 16068 h 51815"/>
                    <a:gd name="connsiteX3" fmla="*/ 0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5481" y="51816"/>
                      </a:moveTo>
                      <a:cubicBezTo>
                        <a:pt x="2242" y="43969"/>
                        <a:pt x="1744" y="37741"/>
                        <a:pt x="1744" y="33381"/>
                      </a:cubicBezTo>
                      <a:cubicBezTo>
                        <a:pt x="1869" y="26406"/>
                        <a:pt x="3737" y="23168"/>
                        <a:pt x="3613" y="16068"/>
                      </a:cubicBezTo>
                      <a:cubicBezTo>
                        <a:pt x="3488"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5" name="Freeform 7600">
                  <a:extLst>
                    <a:ext uri="{FF2B5EF4-FFF2-40B4-BE49-F238E27FC236}">
                      <a16:creationId xmlns:a16="http://schemas.microsoft.com/office/drawing/2014/main" id="{5B9EC408-44CD-184A-B69D-BF96EEC89482}"/>
                    </a:ext>
                  </a:extLst>
                </p:cNvPr>
                <p:cNvSpPr/>
                <p:nvPr/>
              </p:nvSpPr>
              <p:spPr>
                <a:xfrm>
                  <a:off x="7108582" y="1806485"/>
                  <a:ext cx="26381" cy="26503"/>
                </a:xfrm>
                <a:custGeom>
                  <a:avLst/>
                  <a:gdLst>
                    <a:gd name="connsiteX0" fmla="*/ 26331 w 26381"/>
                    <a:gd name="connsiteY0" fmla="*/ 12131 h 26503"/>
                    <a:gd name="connsiteX1" fmla="*/ 14373 w 26381"/>
                    <a:gd name="connsiteY1" fmla="*/ 26455 h 26503"/>
                    <a:gd name="connsiteX2" fmla="*/ 49 w 26381"/>
                    <a:gd name="connsiteY2" fmla="*/ 14373 h 26503"/>
                    <a:gd name="connsiteX3" fmla="*/ 12006 w 26381"/>
                    <a:gd name="connsiteY3" fmla="*/ 49 h 26503"/>
                    <a:gd name="connsiteX4" fmla="*/ 26331 w 26381"/>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3">
                      <a:moveTo>
                        <a:pt x="26331" y="12131"/>
                      </a:moveTo>
                      <a:cubicBezTo>
                        <a:pt x="26953" y="19480"/>
                        <a:pt x="21722" y="25833"/>
                        <a:pt x="14373" y="26455"/>
                      </a:cubicBezTo>
                      <a:cubicBezTo>
                        <a:pt x="7149" y="27078"/>
                        <a:pt x="672" y="21598"/>
                        <a:pt x="49" y="14373"/>
                      </a:cubicBezTo>
                      <a:cubicBezTo>
                        <a:pt x="-574" y="7024"/>
                        <a:pt x="4783" y="672"/>
                        <a:pt x="12006" y="49"/>
                      </a:cubicBezTo>
                      <a:cubicBezTo>
                        <a:pt x="19106"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3" name="Graphic 2987">
                <a:extLst>
                  <a:ext uri="{FF2B5EF4-FFF2-40B4-BE49-F238E27FC236}">
                    <a16:creationId xmlns:a16="http://schemas.microsoft.com/office/drawing/2014/main" id="{E20F4544-83EC-9363-044B-FB866CDDD5E6}"/>
                  </a:ext>
                </a:extLst>
              </p:cNvPr>
              <p:cNvGrpSpPr/>
              <p:nvPr/>
            </p:nvGrpSpPr>
            <p:grpSpPr>
              <a:xfrm>
                <a:off x="7079186" y="1808976"/>
                <a:ext cx="37341" cy="148322"/>
                <a:chOff x="7079186" y="1808976"/>
                <a:chExt cx="37341" cy="148322"/>
              </a:xfrm>
              <a:grpFill/>
            </p:grpSpPr>
            <p:sp>
              <p:nvSpPr>
                <p:cNvPr id="6534" name="Freeform 7602">
                  <a:extLst>
                    <a:ext uri="{FF2B5EF4-FFF2-40B4-BE49-F238E27FC236}">
                      <a16:creationId xmlns:a16="http://schemas.microsoft.com/office/drawing/2014/main" id="{69FB1444-E8F5-4AEB-B33B-AF54FB90F05F}"/>
                    </a:ext>
                  </a:extLst>
                </p:cNvPr>
                <p:cNvSpPr/>
                <p:nvPr/>
              </p:nvSpPr>
              <p:spPr>
                <a:xfrm>
                  <a:off x="7101005" y="1884756"/>
                  <a:ext cx="6369" cy="51940"/>
                </a:xfrm>
                <a:custGeom>
                  <a:avLst/>
                  <a:gdLst>
                    <a:gd name="connsiteX0" fmla="*/ 5259 w 6369"/>
                    <a:gd name="connsiteY0" fmla="*/ 51941 h 51940"/>
                    <a:gd name="connsiteX1" fmla="*/ 5508 w 6369"/>
                    <a:gd name="connsiteY1" fmla="*/ 33132 h 51940"/>
                    <a:gd name="connsiteX2" fmla="*/ 526 w 6369"/>
                    <a:gd name="connsiteY2" fmla="*/ 16442 h 51940"/>
                    <a:gd name="connsiteX3" fmla="*/ 1273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5259" y="51941"/>
                      </a:moveTo>
                      <a:cubicBezTo>
                        <a:pt x="7003" y="43720"/>
                        <a:pt x="6380" y="37367"/>
                        <a:pt x="5508" y="33132"/>
                      </a:cubicBezTo>
                      <a:cubicBezTo>
                        <a:pt x="4138" y="26282"/>
                        <a:pt x="1647" y="23417"/>
                        <a:pt x="526" y="16442"/>
                      </a:cubicBezTo>
                      <a:cubicBezTo>
                        <a:pt x="-595" y="9591"/>
                        <a:pt x="277"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5" name="Freeform 7603">
                  <a:extLst>
                    <a:ext uri="{FF2B5EF4-FFF2-40B4-BE49-F238E27FC236}">
                      <a16:creationId xmlns:a16="http://schemas.microsoft.com/office/drawing/2014/main" id="{FD6A4A36-6185-CC61-6607-8633032BC17F}"/>
                    </a:ext>
                  </a:extLst>
                </p:cNvPr>
                <p:cNvSpPr/>
                <p:nvPr/>
              </p:nvSpPr>
              <p:spPr>
                <a:xfrm>
                  <a:off x="7094307" y="1890486"/>
                  <a:ext cx="5355" cy="51815"/>
                </a:xfrm>
                <a:custGeom>
                  <a:avLst/>
                  <a:gdLst>
                    <a:gd name="connsiteX0" fmla="*/ 0 w 5355"/>
                    <a:gd name="connsiteY0" fmla="*/ 0 h 51815"/>
                    <a:gd name="connsiteX1" fmla="*/ 3612 w 5355"/>
                    <a:gd name="connsiteY1" fmla="*/ 18435 h 51815"/>
                    <a:gd name="connsiteX2" fmla="*/ 1744 w 5355"/>
                    <a:gd name="connsiteY2" fmla="*/ 35748 h 51815"/>
                    <a:gd name="connsiteX3" fmla="*/ 5356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0" y="0"/>
                      </a:moveTo>
                      <a:cubicBezTo>
                        <a:pt x="3239" y="7847"/>
                        <a:pt x="3737" y="14075"/>
                        <a:pt x="3612" y="18435"/>
                      </a:cubicBezTo>
                      <a:cubicBezTo>
                        <a:pt x="3488" y="25410"/>
                        <a:pt x="1619" y="28648"/>
                        <a:pt x="1744" y="35748"/>
                      </a:cubicBezTo>
                      <a:cubicBezTo>
                        <a:pt x="1869"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6" name="Freeform 7604">
                  <a:extLst>
                    <a:ext uri="{FF2B5EF4-FFF2-40B4-BE49-F238E27FC236}">
                      <a16:creationId xmlns:a16="http://schemas.microsoft.com/office/drawing/2014/main" id="{502E3289-84D3-2892-A052-88B9A113DB9F}"/>
                    </a:ext>
                  </a:extLst>
                </p:cNvPr>
                <p:cNvSpPr/>
                <p:nvPr/>
              </p:nvSpPr>
              <p:spPr>
                <a:xfrm>
                  <a:off x="7089898" y="1930793"/>
                  <a:ext cx="26629" cy="26504"/>
                </a:xfrm>
                <a:custGeom>
                  <a:avLst/>
                  <a:gdLst>
                    <a:gd name="connsiteX0" fmla="*/ 49 w 26629"/>
                    <a:gd name="connsiteY0" fmla="*/ 14373 h 26504"/>
                    <a:gd name="connsiteX1" fmla="*/ 12131 w 26629"/>
                    <a:gd name="connsiteY1" fmla="*/ 49 h 26504"/>
                    <a:gd name="connsiteX2" fmla="*/ 26580 w 26629"/>
                    <a:gd name="connsiteY2" fmla="*/ 12131 h 26504"/>
                    <a:gd name="connsiteX3" fmla="*/ 14498 w 26629"/>
                    <a:gd name="connsiteY3" fmla="*/ 26455 h 26504"/>
                    <a:gd name="connsiteX4" fmla="*/ 49 w 2662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4373"/>
                      </a:moveTo>
                      <a:cubicBezTo>
                        <a:pt x="-574" y="7024"/>
                        <a:pt x="4783" y="672"/>
                        <a:pt x="12131" y="49"/>
                      </a:cubicBezTo>
                      <a:cubicBezTo>
                        <a:pt x="19480" y="-574"/>
                        <a:pt x="25957" y="4782"/>
                        <a:pt x="26580" y="12131"/>
                      </a:cubicBezTo>
                      <a:cubicBezTo>
                        <a:pt x="27203" y="19480"/>
                        <a:pt x="21847" y="25833"/>
                        <a:pt x="14498"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7" name="Freeform 7605">
                  <a:extLst>
                    <a:ext uri="{FF2B5EF4-FFF2-40B4-BE49-F238E27FC236}">
                      <a16:creationId xmlns:a16="http://schemas.microsoft.com/office/drawing/2014/main" id="{E0FCAE80-3FAC-732A-4FBB-8A1FE1A09E71}"/>
                    </a:ext>
                  </a:extLst>
                </p:cNvPr>
                <p:cNvSpPr/>
                <p:nvPr/>
              </p:nvSpPr>
              <p:spPr>
                <a:xfrm>
                  <a:off x="7088214" y="1829577"/>
                  <a:ext cx="6244" cy="51940"/>
                </a:xfrm>
                <a:custGeom>
                  <a:avLst/>
                  <a:gdLst>
                    <a:gd name="connsiteX0" fmla="*/ 1110 w 6244"/>
                    <a:gd name="connsiteY0" fmla="*/ 0 h 51940"/>
                    <a:gd name="connsiteX1" fmla="*/ 861 w 6244"/>
                    <a:gd name="connsiteY1" fmla="*/ 18808 h 51940"/>
                    <a:gd name="connsiteX2" fmla="*/ 5719 w 6244"/>
                    <a:gd name="connsiteY2" fmla="*/ 35499 h 51940"/>
                    <a:gd name="connsiteX3" fmla="*/ 4971 w 624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4" h="51940">
                      <a:moveTo>
                        <a:pt x="1110" y="0"/>
                      </a:moveTo>
                      <a:cubicBezTo>
                        <a:pt x="-633" y="8221"/>
                        <a:pt x="-11" y="14573"/>
                        <a:pt x="861" y="18808"/>
                      </a:cubicBezTo>
                      <a:cubicBezTo>
                        <a:pt x="2231" y="25659"/>
                        <a:pt x="4598" y="28524"/>
                        <a:pt x="5719" y="35499"/>
                      </a:cubicBezTo>
                      <a:cubicBezTo>
                        <a:pt x="6840" y="42350"/>
                        <a:pt x="5968" y="48204"/>
                        <a:pt x="497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8" name="Freeform 7606">
                  <a:extLst>
                    <a:ext uri="{FF2B5EF4-FFF2-40B4-BE49-F238E27FC236}">
                      <a16:creationId xmlns:a16="http://schemas.microsoft.com/office/drawing/2014/main" id="{7944CD3C-078A-3D34-A852-CE0D46669657}"/>
                    </a:ext>
                  </a:extLst>
                </p:cNvPr>
                <p:cNvSpPr/>
                <p:nvPr/>
              </p:nvSpPr>
              <p:spPr>
                <a:xfrm>
                  <a:off x="7095926" y="1823972"/>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117" y="43969"/>
                        <a:pt x="1619" y="37741"/>
                        <a:pt x="1744" y="33381"/>
                      </a:cubicBezTo>
                      <a:cubicBezTo>
                        <a:pt x="1869"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9" name="Freeform 7607">
                  <a:extLst>
                    <a:ext uri="{FF2B5EF4-FFF2-40B4-BE49-F238E27FC236}">
                      <a16:creationId xmlns:a16="http://schemas.microsoft.com/office/drawing/2014/main" id="{AD5FA607-F067-67FA-3046-7E9B928D7901}"/>
                    </a:ext>
                  </a:extLst>
                </p:cNvPr>
                <p:cNvSpPr/>
                <p:nvPr/>
              </p:nvSpPr>
              <p:spPr>
                <a:xfrm>
                  <a:off x="7079186" y="1808976"/>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8" y="25833"/>
                        <a:pt x="14374" y="26455"/>
                      </a:cubicBezTo>
                      <a:cubicBezTo>
                        <a:pt x="7149" y="27078"/>
                        <a:pt x="673" y="21598"/>
                        <a:pt x="49" y="14373"/>
                      </a:cubicBezTo>
                      <a:cubicBezTo>
                        <a:pt x="-573" y="7149"/>
                        <a:pt x="4782" y="672"/>
                        <a:pt x="12007" y="49"/>
                      </a:cubicBezTo>
                      <a:cubicBezTo>
                        <a:pt x="19232"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4" name="Graphic 2987">
                <a:extLst>
                  <a:ext uri="{FF2B5EF4-FFF2-40B4-BE49-F238E27FC236}">
                    <a16:creationId xmlns:a16="http://schemas.microsoft.com/office/drawing/2014/main" id="{310570B0-917B-8E7F-78DA-C753EC10B086}"/>
                  </a:ext>
                </a:extLst>
              </p:cNvPr>
              <p:cNvGrpSpPr/>
              <p:nvPr/>
            </p:nvGrpSpPr>
            <p:grpSpPr>
              <a:xfrm>
                <a:off x="7049790" y="1811467"/>
                <a:ext cx="37091" cy="148445"/>
                <a:chOff x="7049790" y="1811467"/>
                <a:chExt cx="37091" cy="148445"/>
              </a:xfrm>
              <a:grpFill/>
            </p:grpSpPr>
            <p:sp>
              <p:nvSpPr>
                <p:cNvPr id="6528" name="Freeform 7609">
                  <a:extLst>
                    <a:ext uri="{FF2B5EF4-FFF2-40B4-BE49-F238E27FC236}">
                      <a16:creationId xmlns:a16="http://schemas.microsoft.com/office/drawing/2014/main" id="{F8D8768F-4540-D2E7-807C-2FC1F24C4EAC}"/>
                    </a:ext>
                  </a:extLst>
                </p:cNvPr>
                <p:cNvSpPr/>
                <p:nvPr/>
              </p:nvSpPr>
              <p:spPr>
                <a:xfrm>
                  <a:off x="7071512" y="1887247"/>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9" name="Freeform 7610">
                  <a:extLst>
                    <a:ext uri="{FF2B5EF4-FFF2-40B4-BE49-F238E27FC236}">
                      <a16:creationId xmlns:a16="http://schemas.microsoft.com/office/drawing/2014/main" id="{B415536C-3B62-730E-FFA2-B0ED4902903E}"/>
                    </a:ext>
                  </a:extLst>
                </p:cNvPr>
                <p:cNvSpPr/>
                <p:nvPr/>
              </p:nvSpPr>
              <p:spPr>
                <a:xfrm>
                  <a:off x="7064662" y="1892977"/>
                  <a:ext cx="5231" cy="51815"/>
                </a:xfrm>
                <a:custGeom>
                  <a:avLst/>
                  <a:gdLst>
                    <a:gd name="connsiteX0" fmla="*/ 0 w 5231"/>
                    <a:gd name="connsiteY0" fmla="*/ 0 h 51815"/>
                    <a:gd name="connsiteX1" fmla="*/ 3612 w 5231"/>
                    <a:gd name="connsiteY1" fmla="*/ 18435 h 51815"/>
                    <a:gd name="connsiteX2" fmla="*/ 1619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5"/>
                      </a:cubicBezTo>
                      <a:cubicBezTo>
                        <a:pt x="3488" y="25410"/>
                        <a:pt x="1619" y="28648"/>
                        <a:pt x="1619" y="35748"/>
                      </a:cubicBezTo>
                      <a:cubicBezTo>
                        <a:pt x="1744" y="42599"/>
                        <a:pt x="3612"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0" name="Freeform 7611">
                  <a:extLst>
                    <a:ext uri="{FF2B5EF4-FFF2-40B4-BE49-F238E27FC236}">
                      <a16:creationId xmlns:a16="http://schemas.microsoft.com/office/drawing/2014/main" id="{60F9EB0F-EB04-385C-3EF2-D72738B898C6}"/>
                    </a:ext>
                  </a:extLst>
                </p:cNvPr>
                <p:cNvSpPr/>
                <p:nvPr/>
              </p:nvSpPr>
              <p:spPr>
                <a:xfrm>
                  <a:off x="7060130" y="1933409"/>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0" y="4782"/>
                        <a:pt x="26704" y="12131"/>
                      </a:cubicBezTo>
                      <a:cubicBezTo>
                        <a:pt x="27326" y="19480"/>
                        <a:pt x="21846" y="25833"/>
                        <a:pt x="14497" y="26455"/>
                      </a:cubicBezTo>
                      <a:cubicBezTo>
                        <a:pt x="7148"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1" name="Freeform 7612">
                  <a:extLst>
                    <a:ext uri="{FF2B5EF4-FFF2-40B4-BE49-F238E27FC236}">
                      <a16:creationId xmlns:a16="http://schemas.microsoft.com/office/drawing/2014/main" id="{2F49B06B-EB0A-8666-3551-93185F34E4D7}"/>
                    </a:ext>
                  </a:extLst>
                </p:cNvPr>
                <p:cNvSpPr/>
                <p:nvPr/>
              </p:nvSpPr>
              <p:spPr>
                <a:xfrm>
                  <a:off x="7058760" y="1832068"/>
                  <a:ext cx="6151" cy="51940"/>
                </a:xfrm>
                <a:custGeom>
                  <a:avLst/>
                  <a:gdLst>
                    <a:gd name="connsiteX0" fmla="*/ 1168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5" y="18808"/>
                      </a:cubicBezTo>
                      <a:cubicBezTo>
                        <a:pt x="2165" y="25659"/>
                        <a:pt x="4531" y="28524"/>
                        <a:pt x="5652" y="35499"/>
                      </a:cubicBezTo>
                      <a:cubicBezTo>
                        <a:pt x="6773"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2" name="Freeform 7613">
                  <a:extLst>
                    <a:ext uri="{FF2B5EF4-FFF2-40B4-BE49-F238E27FC236}">
                      <a16:creationId xmlns:a16="http://schemas.microsoft.com/office/drawing/2014/main" id="{8F5C1905-8B92-C1FF-ABA4-0377E77E2ED7}"/>
                    </a:ext>
                  </a:extLst>
                </p:cNvPr>
                <p:cNvSpPr/>
                <p:nvPr/>
              </p:nvSpPr>
              <p:spPr>
                <a:xfrm>
                  <a:off x="7066281" y="1826463"/>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242" y="43969"/>
                        <a:pt x="1619" y="37741"/>
                        <a:pt x="1744" y="33381"/>
                      </a:cubicBezTo>
                      <a:cubicBezTo>
                        <a:pt x="1869" y="26406"/>
                        <a:pt x="3737" y="23168"/>
                        <a:pt x="3612"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3" name="Freeform 7614">
                  <a:extLst>
                    <a:ext uri="{FF2B5EF4-FFF2-40B4-BE49-F238E27FC236}">
                      <a16:creationId xmlns:a16="http://schemas.microsoft.com/office/drawing/2014/main" id="{C825AD8B-FB91-C111-64BF-9440D91621C9}"/>
                    </a:ext>
                  </a:extLst>
                </p:cNvPr>
                <p:cNvSpPr/>
                <p:nvPr/>
              </p:nvSpPr>
              <p:spPr>
                <a:xfrm>
                  <a:off x="7049790" y="1811467"/>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7" y="25833"/>
                        <a:pt x="14374" y="26455"/>
                      </a:cubicBezTo>
                      <a:cubicBezTo>
                        <a:pt x="7149" y="27078"/>
                        <a:pt x="672" y="21598"/>
                        <a:pt x="49" y="14373"/>
                      </a:cubicBezTo>
                      <a:cubicBezTo>
                        <a:pt x="-573" y="7024"/>
                        <a:pt x="4782" y="672"/>
                        <a:pt x="12007" y="49"/>
                      </a:cubicBezTo>
                      <a:cubicBezTo>
                        <a:pt x="19232" y="-574"/>
                        <a:pt x="25583"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5" name="Graphic 2987">
                <a:extLst>
                  <a:ext uri="{FF2B5EF4-FFF2-40B4-BE49-F238E27FC236}">
                    <a16:creationId xmlns:a16="http://schemas.microsoft.com/office/drawing/2014/main" id="{294235B9-5675-8F75-74F0-F1FBDEC9C1D8}"/>
                  </a:ext>
                </a:extLst>
              </p:cNvPr>
              <p:cNvGrpSpPr/>
              <p:nvPr/>
            </p:nvGrpSpPr>
            <p:grpSpPr>
              <a:xfrm>
                <a:off x="7020270" y="1813958"/>
                <a:ext cx="36966" cy="148445"/>
                <a:chOff x="7020270" y="1813958"/>
                <a:chExt cx="36966" cy="148445"/>
              </a:xfrm>
              <a:grpFill/>
            </p:grpSpPr>
            <p:sp>
              <p:nvSpPr>
                <p:cNvPr id="6522" name="Freeform 7616">
                  <a:extLst>
                    <a:ext uri="{FF2B5EF4-FFF2-40B4-BE49-F238E27FC236}">
                      <a16:creationId xmlns:a16="http://schemas.microsoft.com/office/drawing/2014/main" id="{E3D4425C-0A60-3C51-41E3-573DEA3ED1E6}"/>
                    </a:ext>
                  </a:extLst>
                </p:cNvPr>
                <p:cNvSpPr/>
                <p:nvPr/>
              </p:nvSpPr>
              <p:spPr>
                <a:xfrm>
                  <a:off x="7041867" y="1889863"/>
                  <a:ext cx="6199" cy="51940"/>
                </a:xfrm>
                <a:custGeom>
                  <a:avLst/>
                  <a:gdLst>
                    <a:gd name="connsiteX0" fmla="*/ 4983 w 6199"/>
                    <a:gd name="connsiteY0" fmla="*/ 51941 h 51940"/>
                    <a:gd name="connsiteX1" fmla="*/ 5357 w 6199"/>
                    <a:gd name="connsiteY1" fmla="*/ 33132 h 51940"/>
                    <a:gd name="connsiteX2" fmla="*/ 499 w 6199"/>
                    <a:gd name="connsiteY2" fmla="*/ 16442 h 51940"/>
                    <a:gd name="connsiteX3" fmla="*/ 1247 w 6199"/>
                    <a:gd name="connsiteY3" fmla="*/ 0 h 51940"/>
                  </a:gdLst>
                  <a:ahLst/>
                  <a:cxnLst>
                    <a:cxn ang="0">
                      <a:pos x="connsiteX0" y="connsiteY0"/>
                    </a:cxn>
                    <a:cxn ang="0">
                      <a:pos x="connsiteX1" y="connsiteY1"/>
                    </a:cxn>
                    <a:cxn ang="0">
                      <a:pos x="connsiteX2" y="connsiteY2"/>
                    </a:cxn>
                    <a:cxn ang="0">
                      <a:pos x="connsiteX3" y="connsiteY3"/>
                    </a:cxn>
                  </a:cxnLst>
                  <a:rect l="l" t="t" r="r" b="b"/>
                  <a:pathLst>
                    <a:path w="6199" h="51940">
                      <a:moveTo>
                        <a:pt x="4983" y="51941"/>
                      </a:moveTo>
                      <a:cubicBezTo>
                        <a:pt x="6852"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3" name="Freeform 7617">
                  <a:extLst>
                    <a:ext uri="{FF2B5EF4-FFF2-40B4-BE49-F238E27FC236}">
                      <a16:creationId xmlns:a16="http://schemas.microsoft.com/office/drawing/2014/main" id="{2BFCD46C-F760-C53D-A0C1-543B70199641}"/>
                    </a:ext>
                  </a:extLst>
                </p:cNvPr>
                <p:cNvSpPr/>
                <p:nvPr/>
              </p:nvSpPr>
              <p:spPr>
                <a:xfrm>
                  <a:off x="7035142" y="1895468"/>
                  <a:ext cx="4982" cy="51815"/>
                </a:xfrm>
                <a:custGeom>
                  <a:avLst/>
                  <a:gdLst>
                    <a:gd name="connsiteX0" fmla="*/ 0 w 4982"/>
                    <a:gd name="connsiteY0" fmla="*/ 0 h 51815"/>
                    <a:gd name="connsiteX1" fmla="*/ 3488 w 4982"/>
                    <a:gd name="connsiteY1" fmla="*/ 18435 h 51815"/>
                    <a:gd name="connsiteX2" fmla="*/ 1495 w 4982"/>
                    <a:gd name="connsiteY2" fmla="*/ 35748 h 51815"/>
                    <a:gd name="connsiteX3" fmla="*/ 4983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0" y="0"/>
                      </a:moveTo>
                      <a:cubicBezTo>
                        <a:pt x="3114" y="7847"/>
                        <a:pt x="3612" y="14075"/>
                        <a:pt x="3488" y="18435"/>
                      </a:cubicBezTo>
                      <a:cubicBezTo>
                        <a:pt x="3239" y="25410"/>
                        <a:pt x="1370" y="28648"/>
                        <a:pt x="1495" y="35748"/>
                      </a:cubicBezTo>
                      <a:cubicBezTo>
                        <a:pt x="1619" y="42599"/>
                        <a:pt x="3488"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4" name="Freeform 7618">
                  <a:extLst>
                    <a:ext uri="{FF2B5EF4-FFF2-40B4-BE49-F238E27FC236}">
                      <a16:creationId xmlns:a16="http://schemas.microsoft.com/office/drawing/2014/main" id="{15FE61C2-D541-E0D2-AE8E-DE2D0D68BAF7}"/>
                    </a:ext>
                  </a:extLst>
                </p:cNvPr>
                <p:cNvSpPr/>
                <p:nvPr/>
              </p:nvSpPr>
              <p:spPr>
                <a:xfrm>
                  <a:off x="7030485" y="1935900"/>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1" y="4782"/>
                        <a:pt x="26704" y="12131"/>
                      </a:cubicBezTo>
                      <a:cubicBezTo>
                        <a:pt x="27326" y="19480"/>
                        <a:pt x="21846" y="25833"/>
                        <a:pt x="14497" y="26455"/>
                      </a:cubicBezTo>
                      <a:cubicBezTo>
                        <a:pt x="7023"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5" name="Freeform 7619">
                  <a:extLst>
                    <a:ext uri="{FF2B5EF4-FFF2-40B4-BE49-F238E27FC236}">
                      <a16:creationId xmlns:a16="http://schemas.microsoft.com/office/drawing/2014/main" id="{5666F26C-73A2-4949-F156-20D386C00DC1}"/>
                    </a:ext>
                  </a:extLst>
                </p:cNvPr>
                <p:cNvSpPr/>
                <p:nvPr/>
              </p:nvSpPr>
              <p:spPr>
                <a:xfrm>
                  <a:off x="7029365" y="1834559"/>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6" name="Freeform 7620">
                  <a:extLst>
                    <a:ext uri="{FF2B5EF4-FFF2-40B4-BE49-F238E27FC236}">
                      <a16:creationId xmlns:a16="http://schemas.microsoft.com/office/drawing/2014/main" id="{7E210FCF-F2E7-E453-4B9A-77B9802A9EB7}"/>
                    </a:ext>
                  </a:extLst>
                </p:cNvPr>
                <p:cNvSpPr/>
                <p:nvPr/>
              </p:nvSpPr>
              <p:spPr>
                <a:xfrm>
                  <a:off x="7037134" y="1828954"/>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488"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7" name="Freeform 7621">
                  <a:extLst>
                    <a:ext uri="{FF2B5EF4-FFF2-40B4-BE49-F238E27FC236}">
                      <a16:creationId xmlns:a16="http://schemas.microsoft.com/office/drawing/2014/main" id="{A74F1B07-0B64-1102-F426-DD71487679C6}"/>
                    </a:ext>
                  </a:extLst>
                </p:cNvPr>
                <p:cNvSpPr/>
                <p:nvPr/>
              </p:nvSpPr>
              <p:spPr>
                <a:xfrm>
                  <a:off x="7020270" y="1813958"/>
                  <a:ext cx="26504" cy="26503"/>
                </a:xfrm>
                <a:custGeom>
                  <a:avLst/>
                  <a:gdLst>
                    <a:gd name="connsiteX0" fmla="*/ 26455 w 26504"/>
                    <a:gd name="connsiteY0" fmla="*/ 12131 h 26503"/>
                    <a:gd name="connsiteX1" fmla="*/ 14374 w 26504"/>
                    <a:gd name="connsiteY1" fmla="*/ 26455 h 26503"/>
                    <a:gd name="connsiteX2" fmla="*/ 49 w 26504"/>
                    <a:gd name="connsiteY2" fmla="*/ 14373 h 26503"/>
                    <a:gd name="connsiteX3" fmla="*/ 12132 w 26504"/>
                    <a:gd name="connsiteY3" fmla="*/ 49 h 26503"/>
                    <a:gd name="connsiteX4" fmla="*/ 26455 w 26504"/>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4" h="26503">
                      <a:moveTo>
                        <a:pt x="26455" y="12131"/>
                      </a:moveTo>
                      <a:cubicBezTo>
                        <a:pt x="27078" y="19480"/>
                        <a:pt x="21722" y="25833"/>
                        <a:pt x="14374" y="26455"/>
                      </a:cubicBezTo>
                      <a:cubicBezTo>
                        <a:pt x="7149" y="27078"/>
                        <a:pt x="672" y="21598"/>
                        <a:pt x="49" y="14373"/>
                      </a:cubicBezTo>
                      <a:cubicBezTo>
                        <a:pt x="-573" y="7024"/>
                        <a:pt x="4782" y="672"/>
                        <a:pt x="12132" y="49"/>
                      </a:cubicBezTo>
                      <a:cubicBezTo>
                        <a:pt x="19356" y="-574"/>
                        <a:pt x="25833" y="4782"/>
                        <a:pt x="26455"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6" name="Graphic 2987">
                <a:extLst>
                  <a:ext uri="{FF2B5EF4-FFF2-40B4-BE49-F238E27FC236}">
                    <a16:creationId xmlns:a16="http://schemas.microsoft.com/office/drawing/2014/main" id="{CB6BAE12-B30E-67C4-50CF-F798B8EB3751}"/>
                  </a:ext>
                </a:extLst>
              </p:cNvPr>
              <p:cNvGrpSpPr/>
              <p:nvPr/>
            </p:nvGrpSpPr>
            <p:grpSpPr>
              <a:xfrm>
                <a:off x="6991000" y="1816326"/>
                <a:ext cx="36326" cy="148570"/>
                <a:chOff x="6991000" y="1816326"/>
                <a:chExt cx="36326" cy="148570"/>
              </a:xfrm>
              <a:grpFill/>
            </p:grpSpPr>
            <p:sp>
              <p:nvSpPr>
                <p:cNvPr id="6516" name="Freeform 7623">
                  <a:extLst>
                    <a:ext uri="{FF2B5EF4-FFF2-40B4-BE49-F238E27FC236}">
                      <a16:creationId xmlns:a16="http://schemas.microsoft.com/office/drawing/2014/main" id="{F10F50E3-844B-840F-2161-3594A14A8DF7}"/>
                    </a:ext>
                  </a:extLst>
                </p:cNvPr>
                <p:cNvSpPr/>
                <p:nvPr/>
              </p:nvSpPr>
              <p:spPr>
                <a:xfrm>
                  <a:off x="7012281" y="1892354"/>
                  <a:ext cx="6030" cy="51940"/>
                </a:xfrm>
                <a:custGeom>
                  <a:avLst/>
                  <a:gdLst>
                    <a:gd name="connsiteX0" fmla="*/ 4799 w 6030"/>
                    <a:gd name="connsiteY0" fmla="*/ 51941 h 51940"/>
                    <a:gd name="connsiteX1" fmla="*/ 5298 w 6030"/>
                    <a:gd name="connsiteY1" fmla="*/ 33132 h 51940"/>
                    <a:gd name="connsiteX2" fmla="*/ 440 w 6030"/>
                    <a:gd name="connsiteY2" fmla="*/ 16442 h 51940"/>
                    <a:gd name="connsiteX3" fmla="*/ 1312 w 6030"/>
                    <a:gd name="connsiteY3" fmla="*/ 0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51941"/>
                      </a:moveTo>
                      <a:cubicBezTo>
                        <a:pt x="6668" y="43720"/>
                        <a:pt x="6045" y="37367"/>
                        <a:pt x="5298" y="33132"/>
                      </a:cubicBezTo>
                      <a:cubicBezTo>
                        <a:pt x="3927" y="26282"/>
                        <a:pt x="1561"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7" name="Freeform 7624">
                  <a:extLst>
                    <a:ext uri="{FF2B5EF4-FFF2-40B4-BE49-F238E27FC236}">
                      <a16:creationId xmlns:a16="http://schemas.microsoft.com/office/drawing/2014/main" id="{7B42DF6C-E870-F3BA-D49C-36FCB328C3BA}"/>
                    </a:ext>
                  </a:extLst>
                </p:cNvPr>
                <p:cNvSpPr/>
                <p:nvPr/>
              </p:nvSpPr>
              <p:spPr>
                <a:xfrm>
                  <a:off x="7005622" y="1897959"/>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370"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8" name="Freeform 7625">
                  <a:extLst>
                    <a:ext uri="{FF2B5EF4-FFF2-40B4-BE49-F238E27FC236}">
                      <a16:creationId xmlns:a16="http://schemas.microsoft.com/office/drawing/2014/main" id="{83DCD2BA-AF1C-089B-4C3F-8E840DFF177D}"/>
                    </a:ext>
                  </a:extLst>
                </p:cNvPr>
                <p:cNvSpPr/>
                <p:nvPr/>
              </p:nvSpPr>
              <p:spPr>
                <a:xfrm>
                  <a:off x="7000715" y="1938391"/>
                  <a:ext cx="26611" cy="26504"/>
                </a:xfrm>
                <a:custGeom>
                  <a:avLst/>
                  <a:gdLst>
                    <a:gd name="connsiteX0" fmla="*/ 48 w 26611"/>
                    <a:gd name="connsiteY0" fmla="*/ 14373 h 26504"/>
                    <a:gd name="connsiteX1" fmla="*/ 12255 w 26611"/>
                    <a:gd name="connsiteY1" fmla="*/ 49 h 26504"/>
                    <a:gd name="connsiteX2" fmla="*/ 26579 w 26611"/>
                    <a:gd name="connsiteY2" fmla="*/ 12131 h 26504"/>
                    <a:gd name="connsiteX3" fmla="*/ 14373 w 26611"/>
                    <a:gd name="connsiteY3" fmla="*/ 26455 h 26504"/>
                    <a:gd name="connsiteX4" fmla="*/ 48 w 2661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1" h="26504">
                      <a:moveTo>
                        <a:pt x="48" y="14373"/>
                      </a:moveTo>
                      <a:cubicBezTo>
                        <a:pt x="-574" y="7024"/>
                        <a:pt x="4906" y="672"/>
                        <a:pt x="12255" y="49"/>
                      </a:cubicBezTo>
                      <a:cubicBezTo>
                        <a:pt x="19604" y="-574"/>
                        <a:pt x="26081" y="4782"/>
                        <a:pt x="26579" y="12131"/>
                      </a:cubicBezTo>
                      <a:cubicBezTo>
                        <a:pt x="27077" y="19480"/>
                        <a:pt x="21721" y="25833"/>
                        <a:pt x="14373" y="26455"/>
                      </a:cubicBezTo>
                      <a:cubicBezTo>
                        <a:pt x="7148" y="27078"/>
                        <a:pt x="671"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9" name="Freeform 7626">
                  <a:extLst>
                    <a:ext uri="{FF2B5EF4-FFF2-40B4-BE49-F238E27FC236}">
                      <a16:creationId xmlns:a16="http://schemas.microsoft.com/office/drawing/2014/main" id="{88E67C93-5FBC-1D39-905B-81F8E6422B41}"/>
                    </a:ext>
                  </a:extLst>
                </p:cNvPr>
                <p:cNvSpPr/>
                <p:nvPr/>
              </p:nvSpPr>
              <p:spPr>
                <a:xfrm>
                  <a:off x="6999907" y="1837051"/>
                  <a:ext cx="5905" cy="51940"/>
                </a:xfrm>
                <a:custGeom>
                  <a:avLst/>
                  <a:gdLst>
                    <a:gd name="connsiteX0" fmla="*/ 1231 w 5905"/>
                    <a:gd name="connsiteY0" fmla="*/ 0 h 51940"/>
                    <a:gd name="connsiteX1" fmla="*/ 732 w 5905"/>
                    <a:gd name="connsiteY1" fmla="*/ 18808 h 51940"/>
                    <a:gd name="connsiteX2" fmla="*/ 5465 w 5905"/>
                    <a:gd name="connsiteY2" fmla="*/ 35499 h 51940"/>
                    <a:gd name="connsiteX3" fmla="*/ 4593 w 590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0"/>
                      </a:moveTo>
                      <a:cubicBezTo>
                        <a:pt x="-638" y="8221"/>
                        <a:pt x="-15" y="14573"/>
                        <a:pt x="732" y="18808"/>
                      </a:cubicBezTo>
                      <a:cubicBezTo>
                        <a:pt x="2103" y="25659"/>
                        <a:pt x="4470" y="28524"/>
                        <a:pt x="5465" y="35499"/>
                      </a:cubicBezTo>
                      <a:cubicBezTo>
                        <a:pt x="6462" y="42350"/>
                        <a:pt x="5590" y="48204"/>
                        <a:pt x="459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0" name="Freeform 7627">
                  <a:extLst>
                    <a:ext uri="{FF2B5EF4-FFF2-40B4-BE49-F238E27FC236}">
                      <a16:creationId xmlns:a16="http://schemas.microsoft.com/office/drawing/2014/main" id="{20A9345F-C8E4-D1F3-F229-F28A48B66A65}"/>
                    </a:ext>
                  </a:extLst>
                </p:cNvPr>
                <p:cNvSpPr/>
                <p:nvPr/>
              </p:nvSpPr>
              <p:spPr>
                <a:xfrm>
                  <a:off x="7007614" y="1831446"/>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1" name="Freeform 7628">
                  <a:extLst>
                    <a:ext uri="{FF2B5EF4-FFF2-40B4-BE49-F238E27FC236}">
                      <a16:creationId xmlns:a16="http://schemas.microsoft.com/office/drawing/2014/main" id="{62D58B20-3153-38FE-83CE-9E35BF6841C6}"/>
                    </a:ext>
                  </a:extLst>
                </p:cNvPr>
                <p:cNvSpPr/>
                <p:nvPr/>
              </p:nvSpPr>
              <p:spPr>
                <a:xfrm>
                  <a:off x="6991000" y="1816326"/>
                  <a:ext cx="26378" cy="26502"/>
                </a:xfrm>
                <a:custGeom>
                  <a:avLst/>
                  <a:gdLst>
                    <a:gd name="connsiteX0" fmla="*/ 26330 w 26378"/>
                    <a:gd name="connsiteY0" fmla="*/ 12130 h 26502"/>
                    <a:gd name="connsiteX1" fmla="*/ 14247 w 26378"/>
                    <a:gd name="connsiteY1" fmla="*/ 26455 h 26502"/>
                    <a:gd name="connsiteX2" fmla="*/ 48 w 26378"/>
                    <a:gd name="connsiteY2" fmla="*/ 14372 h 26502"/>
                    <a:gd name="connsiteX3" fmla="*/ 12130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2" y="19479"/>
                        <a:pt x="21472" y="25832"/>
                        <a:pt x="14247" y="26455"/>
                      </a:cubicBezTo>
                      <a:cubicBezTo>
                        <a:pt x="7024" y="27077"/>
                        <a:pt x="546" y="21597"/>
                        <a:pt x="48" y="14372"/>
                      </a:cubicBezTo>
                      <a:cubicBezTo>
                        <a:pt x="-575" y="7024"/>
                        <a:pt x="4906" y="671"/>
                        <a:pt x="12130"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7" name="Graphic 2987">
                <a:extLst>
                  <a:ext uri="{FF2B5EF4-FFF2-40B4-BE49-F238E27FC236}">
                    <a16:creationId xmlns:a16="http://schemas.microsoft.com/office/drawing/2014/main" id="{6D4FC4AF-5BDA-F12D-AB9D-895B74E18120}"/>
                  </a:ext>
                </a:extLst>
              </p:cNvPr>
              <p:cNvGrpSpPr/>
              <p:nvPr/>
            </p:nvGrpSpPr>
            <p:grpSpPr>
              <a:xfrm>
                <a:off x="6961604" y="1818817"/>
                <a:ext cx="36093" cy="148570"/>
                <a:chOff x="6961604" y="1818817"/>
                <a:chExt cx="36093" cy="148570"/>
              </a:xfrm>
              <a:grpFill/>
            </p:grpSpPr>
            <p:sp>
              <p:nvSpPr>
                <p:cNvPr id="6510" name="Freeform 7630">
                  <a:extLst>
                    <a:ext uri="{FF2B5EF4-FFF2-40B4-BE49-F238E27FC236}">
                      <a16:creationId xmlns:a16="http://schemas.microsoft.com/office/drawing/2014/main" id="{A122FE30-A170-5423-685E-6282B7E8B123}"/>
                    </a:ext>
                  </a:extLst>
                </p:cNvPr>
                <p:cNvSpPr/>
                <p:nvPr/>
              </p:nvSpPr>
              <p:spPr>
                <a:xfrm>
                  <a:off x="6982761" y="1894845"/>
                  <a:ext cx="5951" cy="51940"/>
                </a:xfrm>
                <a:custGeom>
                  <a:avLst/>
                  <a:gdLst>
                    <a:gd name="connsiteX0" fmla="*/ 4675 w 5951"/>
                    <a:gd name="connsiteY0" fmla="*/ 51941 h 51940"/>
                    <a:gd name="connsiteX1" fmla="*/ 5173 w 5951"/>
                    <a:gd name="connsiteY1" fmla="*/ 33132 h 51940"/>
                    <a:gd name="connsiteX2" fmla="*/ 440 w 5951"/>
                    <a:gd name="connsiteY2" fmla="*/ 16442 h 51940"/>
                    <a:gd name="connsiteX3" fmla="*/ 1312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51941"/>
                      </a:moveTo>
                      <a:cubicBezTo>
                        <a:pt x="6543" y="43720"/>
                        <a:pt x="6045" y="37367"/>
                        <a:pt x="5173" y="33132"/>
                      </a:cubicBezTo>
                      <a:cubicBezTo>
                        <a:pt x="3803" y="26282"/>
                        <a:pt x="1436"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1" name="Freeform 7631">
                  <a:extLst>
                    <a:ext uri="{FF2B5EF4-FFF2-40B4-BE49-F238E27FC236}">
                      <a16:creationId xmlns:a16="http://schemas.microsoft.com/office/drawing/2014/main" id="{D353557C-D359-D925-1FA2-1059313B2B1F}"/>
                    </a:ext>
                  </a:extLst>
                </p:cNvPr>
                <p:cNvSpPr/>
                <p:nvPr/>
              </p:nvSpPr>
              <p:spPr>
                <a:xfrm>
                  <a:off x="6975977" y="1900450"/>
                  <a:ext cx="4857" cy="51815"/>
                </a:xfrm>
                <a:custGeom>
                  <a:avLst/>
                  <a:gdLst>
                    <a:gd name="connsiteX0" fmla="*/ 0 w 4857"/>
                    <a:gd name="connsiteY0" fmla="*/ 0 h 51815"/>
                    <a:gd name="connsiteX1" fmla="*/ 3488 w 4857"/>
                    <a:gd name="connsiteY1" fmla="*/ 18435 h 51815"/>
                    <a:gd name="connsiteX2" fmla="*/ 1370 w 4857"/>
                    <a:gd name="connsiteY2" fmla="*/ 35748 h 51815"/>
                    <a:gd name="connsiteX3" fmla="*/ 4858 w 485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857" h="51815">
                      <a:moveTo>
                        <a:pt x="0" y="0"/>
                      </a:moveTo>
                      <a:cubicBezTo>
                        <a:pt x="3114" y="7847"/>
                        <a:pt x="3612" y="14075"/>
                        <a:pt x="3488" y="18435"/>
                      </a:cubicBezTo>
                      <a:cubicBezTo>
                        <a:pt x="3239" y="25410"/>
                        <a:pt x="1370" y="28648"/>
                        <a:pt x="1370" y="35748"/>
                      </a:cubicBezTo>
                      <a:cubicBezTo>
                        <a:pt x="1370" y="42599"/>
                        <a:pt x="3239" y="48204"/>
                        <a:pt x="485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2" name="Freeform 7632">
                  <a:extLst>
                    <a:ext uri="{FF2B5EF4-FFF2-40B4-BE49-F238E27FC236}">
                      <a16:creationId xmlns:a16="http://schemas.microsoft.com/office/drawing/2014/main" id="{4FC22C9A-3D0C-2617-1FC2-3E7149025B89}"/>
                    </a:ext>
                  </a:extLst>
                </p:cNvPr>
                <p:cNvSpPr/>
                <p:nvPr/>
              </p:nvSpPr>
              <p:spPr>
                <a:xfrm>
                  <a:off x="6971071" y="1940882"/>
                  <a:ext cx="26627" cy="26504"/>
                </a:xfrm>
                <a:custGeom>
                  <a:avLst/>
                  <a:gdLst>
                    <a:gd name="connsiteX0" fmla="*/ 48 w 26627"/>
                    <a:gd name="connsiteY0" fmla="*/ 14373 h 26504"/>
                    <a:gd name="connsiteX1" fmla="*/ 12255 w 26627"/>
                    <a:gd name="connsiteY1" fmla="*/ 49 h 26504"/>
                    <a:gd name="connsiteX2" fmla="*/ 26579 w 26627"/>
                    <a:gd name="connsiteY2" fmla="*/ 12131 h 26504"/>
                    <a:gd name="connsiteX3" fmla="*/ 14373 w 26627"/>
                    <a:gd name="connsiteY3" fmla="*/ 26455 h 26504"/>
                    <a:gd name="connsiteX4" fmla="*/ 48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4373"/>
                      </a:moveTo>
                      <a:cubicBezTo>
                        <a:pt x="-574" y="7024"/>
                        <a:pt x="4906" y="672"/>
                        <a:pt x="12255" y="49"/>
                      </a:cubicBezTo>
                      <a:cubicBezTo>
                        <a:pt x="19604" y="-574"/>
                        <a:pt x="25956" y="4782"/>
                        <a:pt x="26579" y="12131"/>
                      </a:cubicBezTo>
                      <a:cubicBezTo>
                        <a:pt x="27202" y="19480"/>
                        <a:pt x="21721" y="25833"/>
                        <a:pt x="14373" y="26455"/>
                      </a:cubicBezTo>
                      <a:cubicBezTo>
                        <a:pt x="7023" y="27078"/>
                        <a:pt x="547"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3" name="Freeform 7633">
                  <a:extLst>
                    <a:ext uri="{FF2B5EF4-FFF2-40B4-BE49-F238E27FC236}">
                      <a16:creationId xmlns:a16="http://schemas.microsoft.com/office/drawing/2014/main" id="{3088B71D-A1D1-AB00-B548-3C98736F7820}"/>
                    </a:ext>
                  </a:extLst>
                </p:cNvPr>
                <p:cNvSpPr/>
                <p:nvPr/>
              </p:nvSpPr>
              <p:spPr>
                <a:xfrm>
                  <a:off x="6970340" y="1839417"/>
                  <a:ext cx="5951" cy="51940"/>
                </a:xfrm>
                <a:custGeom>
                  <a:avLst/>
                  <a:gdLst>
                    <a:gd name="connsiteX0" fmla="*/ 1277 w 5951"/>
                    <a:gd name="connsiteY0" fmla="*/ 0 h 51940"/>
                    <a:gd name="connsiteX1" fmla="*/ 778 w 5951"/>
                    <a:gd name="connsiteY1" fmla="*/ 18808 h 51940"/>
                    <a:gd name="connsiteX2" fmla="*/ 5512 w 5951"/>
                    <a:gd name="connsiteY2" fmla="*/ 35499 h 51940"/>
                    <a:gd name="connsiteX3" fmla="*/ 4640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0"/>
                      </a:moveTo>
                      <a:cubicBezTo>
                        <a:pt x="-592" y="8221"/>
                        <a:pt x="-94" y="14573"/>
                        <a:pt x="778" y="18808"/>
                      </a:cubicBezTo>
                      <a:cubicBezTo>
                        <a:pt x="2149" y="25659"/>
                        <a:pt x="4515" y="28524"/>
                        <a:pt x="5512" y="35499"/>
                      </a:cubicBezTo>
                      <a:cubicBezTo>
                        <a:pt x="6508" y="42350"/>
                        <a:pt x="5636"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4" name="Freeform 7634">
                  <a:extLst>
                    <a:ext uri="{FF2B5EF4-FFF2-40B4-BE49-F238E27FC236}">
                      <a16:creationId xmlns:a16="http://schemas.microsoft.com/office/drawing/2014/main" id="{A77D5C86-055F-9569-572E-4D61BB215E8F}"/>
                    </a:ext>
                  </a:extLst>
                </p:cNvPr>
                <p:cNvSpPr/>
                <p:nvPr/>
              </p:nvSpPr>
              <p:spPr>
                <a:xfrm>
                  <a:off x="6978094" y="1833812"/>
                  <a:ext cx="4982" cy="51940"/>
                </a:xfrm>
                <a:custGeom>
                  <a:avLst/>
                  <a:gdLst>
                    <a:gd name="connsiteX0" fmla="*/ 4983 w 4982"/>
                    <a:gd name="connsiteY0" fmla="*/ 51941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1"/>
                      </a:moveTo>
                      <a:cubicBezTo>
                        <a:pt x="1869" y="44093"/>
                        <a:pt x="1371" y="37866"/>
                        <a:pt x="1495" y="33506"/>
                      </a:cubicBezTo>
                      <a:cubicBezTo>
                        <a:pt x="1744" y="26531"/>
                        <a:pt x="3613" y="23292"/>
                        <a:pt x="3488" y="16192"/>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5" name="Freeform 7635">
                  <a:extLst>
                    <a:ext uri="{FF2B5EF4-FFF2-40B4-BE49-F238E27FC236}">
                      <a16:creationId xmlns:a16="http://schemas.microsoft.com/office/drawing/2014/main" id="{72C55C56-EC7A-D276-FD23-98A88E039159}"/>
                    </a:ext>
                  </a:extLst>
                </p:cNvPr>
                <p:cNvSpPr/>
                <p:nvPr/>
              </p:nvSpPr>
              <p:spPr>
                <a:xfrm>
                  <a:off x="6961604" y="1818817"/>
                  <a:ext cx="26378" cy="26502"/>
                </a:xfrm>
                <a:custGeom>
                  <a:avLst/>
                  <a:gdLst>
                    <a:gd name="connsiteX0" fmla="*/ 26330 w 26378"/>
                    <a:gd name="connsiteY0" fmla="*/ 12130 h 26502"/>
                    <a:gd name="connsiteX1" fmla="*/ 14248 w 26378"/>
                    <a:gd name="connsiteY1" fmla="*/ 26454 h 26502"/>
                    <a:gd name="connsiteX2" fmla="*/ 48 w 26378"/>
                    <a:gd name="connsiteY2" fmla="*/ 14372 h 26502"/>
                    <a:gd name="connsiteX3" fmla="*/ 12131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3" y="19479"/>
                        <a:pt x="21473" y="25832"/>
                        <a:pt x="14248" y="26454"/>
                      </a:cubicBezTo>
                      <a:cubicBezTo>
                        <a:pt x="7023" y="27077"/>
                        <a:pt x="672" y="21597"/>
                        <a:pt x="48" y="14372"/>
                      </a:cubicBezTo>
                      <a:cubicBezTo>
                        <a:pt x="-574" y="7024"/>
                        <a:pt x="4906" y="671"/>
                        <a:pt x="12131"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8" name="Graphic 2987">
                <a:extLst>
                  <a:ext uri="{FF2B5EF4-FFF2-40B4-BE49-F238E27FC236}">
                    <a16:creationId xmlns:a16="http://schemas.microsoft.com/office/drawing/2014/main" id="{F3C51CE7-D5AC-931E-986E-F96EADD7098C}"/>
                  </a:ext>
                </a:extLst>
              </p:cNvPr>
              <p:cNvGrpSpPr/>
              <p:nvPr/>
            </p:nvGrpSpPr>
            <p:grpSpPr>
              <a:xfrm>
                <a:off x="6932225" y="1821308"/>
                <a:ext cx="35827" cy="148570"/>
                <a:chOff x="6932225" y="1821308"/>
                <a:chExt cx="35827" cy="148570"/>
              </a:xfrm>
              <a:grpFill/>
            </p:grpSpPr>
            <p:sp>
              <p:nvSpPr>
                <p:cNvPr id="6504" name="Freeform 7637">
                  <a:extLst>
                    <a:ext uri="{FF2B5EF4-FFF2-40B4-BE49-F238E27FC236}">
                      <a16:creationId xmlns:a16="http://schemas.microsoft.com/office/drawing/2014/main" id="{B0FEF3EF-B84F-E2CB-E961-30B8397AF14C}"/>
                    </a:ext>
                  </a:extLst>
                </p:cNvPr>
                <p:cNvSpPr/>
                <p:nvPr/>
              </p:nvSpPr>
              <p:spPr>
                <a:xfrm>
                  <a:off x="6953140" y="1897337"/>
                  <a:ext cx="5927" cy="51940"/>
                </a:xfrm>
                <a:custGeom>
                  <a:avLst/>
                  <a:gdLst>
                    <a:gd name="connsiteX0" fmla="*/ 4651 w 5927"/>
                    <a:gd name="connsiteY0" fmla="*/ 51941 h 51940"/>
                    <a:gd name="connsiteX1" fmla="*/ 5149 w 5927"/>
                    <a:gd name="connsiteY1" fmla="*/ 33132 h 51940"/>
                    <a:gd name="connsiteX2" fmla="*/ 416 w 5927"/>
                    <a:gd name="connsiteY2" fmla="*/ 16442 h 51940"/>
                    <a:gd name="connsiteX3" fmla="*/ 1288 w 5927"/>
                    <a:gd name="connsiteY3" fmla="*/ 0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51941"/>
                      </a:moveTo>
                      <a:cubicBezTo>
                        <a:pt x="6519" y="43720"/>
                        <a:pt x="6021" y="37367"/>
                        <a:pt x="5149" y="33132"/>
                      </a:cubicBezTo>
                      <a:cubicBezTo>
                        <a:pt x="3779" y="26282"/>
                        <a:pt x="1413" y="23417"/>
                        <a:pt x="416" y="16442"/>
                      </a:cubicBezTo>
                      <a:cubicBezTo>
                        <a:pt x="-581"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5" name="Freeform 7638">
                  <a:extLst>
                    <a:ext uri="{FF2B5EF4-FFF2-40B4-BE49-F238E27FC236}">
                      <a16:creationId xmlns:a16="http://schemas.microsoft.com/office/drawing/2014/main" id="{4482BEB9-0581-F616-C204-4B93E6FE0832}"/>
                    </a:ext>
                  </a:extLst>
                </p:cNvPr>
                <p:cNvSpPr/>
                <p:nvPr/>
              </p:nvSpPr>
              <p:spPr>
                <a:xfrm>
                  <a:off x="6946457" y="1902942"/>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612"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6" name="Freeform 7639">
                  <a:extLst>
                    <a:ext uri="{FF2B5EF4-FFF2-40B4-BE49-F238E27FC236}">
                      <a16:creationId xmlns:a16="http://schemas.microsoft.com/office/drawing/2014/main" id="{8B069A54-0E2F-8D7F-4880-52E404687F18}"/>
                    </a:ext>
                  </a:extLst>
                </p:cNvPr>
                <p:cNvSpPr/>
                <p:nvPr/>
              </p:nvSpPr>
              <p:spPr>
                <a:xfrm>
                  <a:off x="6941319" y="1943374"/>
                  <a:ext cx="26733" cy="26504"/>
                </a:xfrm>
                <a:custGeom>
                  <a:avLst/>
                  <a:gdLst>
                    <a:gd name="connsiteX0" fmla="*/ 32 w 26733"/>
                    <a:gd name="connsiteY0" fmla="*/ 14373 h 26504"/>
                    <a:gd name="connsiteX1" fmla="*/ 12363 w 26733"/>
                    <a:gd name="connsiteY1" fmla="*/ 49 h 26504"/>
                    <a:gd name="connsiteX2" fmla="*/ 26686 w 26733"/>
                    <a:gd name="connsiteY2" fmla="*/ 12131 h 26504"/>
                    <a:gd name="connsiteX3" fmla="*/ 14355 w 26733"/>
                    <a:gd name="connsiteY3" fmla="*/ 26455 h 26504"/>
                    <a:gd name="connsiteX4" fmla="*/ 32 w 26733"/>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32" y="14373"/>
                      </a:moveTo>
                      <a:cubicBezTo>
                        <a:pt x="-467" y="7024"/>
                        <a:pt x="5013" y="672"/>
                        <a:pt x="12363" y="49"/>
                      </a:cubicBezTo>
                      <a:cubicBezTo>
                        <a:pt x="19711" y="-574"/>
                        <a:pt x="26064" y="4782"/>
                        <a:pt x="26686" y="12131"/>
                      </a:cubicBezTo>
                      <a:cubicBezTo>
                        <a:pt x="27309" y="19480"/>
                        <a:pt x="21704" y="25833"/>
                        <a:pt x="14355" y="26455"/>
                      </a:cubicBezTo>
                      <a:cubicBezTo>
                        <a:pt x="7007" y="27078"/>
                        <a:pt x="654" y="21722"/>
                        <a:pt x="32"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7" name="Freeform 7640">
                  <a:extLst>
                    <a:ext uri="{FF2B5EF4-FFF2-40B4-BE49-F238E27FC236}">
                      <a16:creationId xmlns:a16="http://schemas.microsoft.com/office/drawing/2014/main" id="{9EB068D9-3269-9FA3-01B6-C9F90897046F}"/>
                    </a:ext>
                  </a:extLst>
                </p:cNvPr>
                <p:cNvSpPr/>
                <p:nvPr/>
              </p:nvSpPr>
              <p:spPr>
                <a:xfrm>
                  <a:off x="6940945" y="1841908"/>
                  <a:ext cx="5927" cy="51940"/>
                </a:xfrm>
                <a:custGeom>
                  <a:avLst/>
                  <a:gdLst>
                    <a:gd name="connsiteX0" fmla="*/ 1276 w 5927"/>
                    <a:gd name="connsiteY0" fmla="*/ 0 h 51940"/>
                    <a:gd name="connsiteX1" fmla="*/ 778 w 5927"/>
                    <a:gd name="connsiteY1" fmla="*/ 18808 h 51940"/>
                    <a:gd name="connsiteX2" fmla="*/ 5512 w 5927"/>
                    <a:gd name="connsiteY2" fmla="*/ 35499 h 51940"/>
                    <a:gd name="connsiteX3" fmla="*/ 4640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1276" y="0"/>
                      </a:moveTo>
                      <a:cubicBezTo>
                        <a:pt x="-591" y="8221"/>
                        <a:pt x="-94" y="14573"/>
                        <a:pt x="778" y="18808"/>
                      </a:cubicBezTo>
                      <a:cubicBezTo>
                        <a:pt x="2024" y="25659"/>
                        <a:pt x="4390" y="28524"/>
                        <a:pt x="5512" y="35499"/>
                      </a:cubicBezTo>
                      <a:cubicBezTo>
                        <a:pt x="6508" y="42350"/>
                        <a:pt x="5512"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8" name="Freeform 7641">
                  <a:extLst>
                    <a:ext uri="{FF2B5EF4-FFF2-40B4-BE49-F238E27FC236}">
                      <a16:creationId xmlns:a16="http://schemas.microsoft.com/office/drawing/2014/main" id="{7BAF1209-415A-453B-390E-1E26358CA66F}"/>
                    </a:ext>
                  </a:extLst>
                </p:cNvPr>
                <p:cNvSpPr/>
                <p:nvPr/>
              </p:nvSpPr>
              <p:spPr>
                <a:xfrm>
                  <a:off x="6948948" y="1836303"/>
                  <a:ext cx="4608" cy="51940"/>
                </a:xfrm>
                <a:custGeom>
                  <a:avLst/>
                  <a:gdLst>
                    <a:gd name="connsiteX0" fmla="*/ 4609 w 4608"/>
                    <a:gd name="connsiteY0" fmla="*/ 51941 h 51940"/>
                    <a:gd name="connsiteX1" fmla="*/ 1245 w 4608"/>
                    <a:gd name="connsiteY1" fmla="*/ 33506 h 51940"/>
                    <a:gd name="connsiteX2" fmla="*/ 3363 w 4608"/>
                    <a:gd name="connsiteY2" fmla="*/ 16192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996" y="37865"/>
                        <a:pt x="1245" y="33506"/>
                      </a:cubicBezTo>
                      <a:cubicBezTo>
                        <a:pt x="1495" y="26531"/>
                        <a:pt x="3363" y="23292"/>
                        <a:pt x="3363" y="16192"/>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9" name="Freeform 7642">
                  <a:extLst>
                    <a:ext uri="{FF2B5EF4-FFF2-40B4-BE49-F238E27FC236}">
                      <a16:creationId xmlns:a16="http://schemas.microsoft.com/office/drawing/2014/main" id="{ED6DA833-A5DF-30C8-A6F8-5FEFBDF76906}"/>
                    </a:ext>
                  </a:extLst>
                </p:cNvPr>
                <p:cNvSpPr/>
                <p:nvPr/>
              </p:nvSpPr>
              <p:spPr>
                <a:xfrm>
                  <a:off x="6932225" y="1821308"/>
                  <a:ext cx="26361" cy="26502"/>
                </a:xfrm>
                <a:custGeom>
                  <a:avLst/>
                  <a:gdLst>
                    <a:gd name="connsiteX0" fmla="*/ 26314 w 26361"/>
                    <a:gd name="connsiteY0" fmla="*/ 12130 h 26502"/>
                    <a:gd name="connsiteX1" fmla="*/ 14232 w 26361"/>
                    <a:gd name="connsiteY1" fmla="*/ 26454 h 26502"/>
                    <a:gd name="connsiteX2" fmla="*/ 32 w 26361"/>
                    <a:gd name="connsiteY2" fmla="*/ 14372 h 26502"/>
                    <a:gd name="connsiteX3" fmla="*/ 12115 w 26361"/>
                    <a:gd name="connsiteY3" fmla="*/ 48 h 26502"/>
                    <a:gd name="connsiteX4" fmla="*/ 26314 w 26361"/>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2">
                      <a:moveTo>
                        <a:pt x="26314" y="12130"/>
                      </a:moveTo>
                      <a:cubicBezTo>
                        <a:pt x="26937" y="19479"/>
                        <a:pt x="21456" y="25832"/>
                        <a:pt x="14232" y="26454"/>
                      </a:cubicBezTo>
                      <a:cubicBezTo>
                        <a:pt x="7007" y="27077"/>
                        <a:pt x="655" y="21597"/>
                        <a:pt x="32" y="14372"/>
                      </a:cubicBezTo>
                      <a:cubicBezTo>
                        <a:pt x="-466" y="7024"/>
                        <a:pt x="4890" y="671"/>
                        <a:pt x="12115" y="48"/>
                      </a:cubicBezTo>
                      <a:cubicBezTo>
                        <a:pt x="19338" y="-575"/>
                        <a:pt x="25691" y="4906"/>
                        <a:pt x="26314"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9" name="Graphic 2987">
                <a:extLst>
                  <a:ext uri="{FF2B5EF4-FFF2-40B4-BE49-F238E27FC236}">
                    <a16:creationId xmlns:a16="http://schemas.microsoft.com/office/drawing/2014/main" id="{4B026315-F8BB-C54C-01D6-3BC776C58635}"/>
                  </a:ext>
                </a:extLst>
              </p:cNvPr>
              <p:cNvGrpSpPr/>
              <p:nvPr/>
            </p:nvGrpSpPr>
            <p:grpSpPr>
              <a:xfrm>
                <a:off x="6902830" y="1823799"/>
                <a:ext cx="35561" cy="148570"/>
                <a:chOff x="6902830" y="1823799"/>
                <a:chExt cx="35561" cy="148570"/>
              </a:xfrm>
              <a:grpFill/>
            </p:grpSpPr>
            <p:sp>
              <p:nvSpPr>
                <p:cNvPr id="6498" name="Freeform 7644">
                  <a:extLst>
                    <a:ext uri="{FF2B5EF4-FFF2-40B4-BE49-F238E27FC236}">
                      <a16:creationId xmlns:a16="http://schemas.microsoft.com/office/drawing/2014/main" id="{BB9A9216-8203-6654-5C90-2DBB8A148C54}"/>
                    </a:ext>
                  </a:extLst>
                </p:cNvPr>
                <p:cNvSpPr/>
                <p:nvPr/>
              </p:nvSpPr>
              <p:spPr>
                <a:xfrm>
                  <a:off x="6923499" y="1899828"/>
                  <a:ext cx="5816" cy="51940"/>
                </a:xfrm>
                <a:custGeom>
                  <a:avLst/>
                  <a:gdLst>
                    <a:gd name="connsiteX0" fmla="*/ 4523 w 5816"/>
                    <a:gd name="connsiteY0" fmla="*/ 51941 h 51940"/>
                    <a:gd name="connsiteX1" fmla="*/ 5146 w 5816"/>
                    <a:gd name="connsiteY1" fmla="*/ 33132 h 51940"/>
                    <a:gd name="connsiteX2" fmla="*/ 413 w 5816"/>
                    <a:gd name="connsiteY2" fmla="*/ 16442 h 51940"/>
                    <a:gd name="connsiteX3" fmla="*/ 1410 w 5816"/>
                    <a:gd name="connsiteY3" fmla="*/ 0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51941"/>
                      </a:moveTo>
                      <a:cubicBezTo>
                        <a:pt x="6391" y="43720"/>
                        <a:pt x="5893" y="37367"/>
                        <a:pt x="5146" y="33132"/>
                      </a:cubicBezTo>
                      <a:cubicBezTo>
                        <a:pt x="3900" y="26282"/>
                        <a:pt x="1533"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9" name="Freeform 7645">
                  <a:extLst>
                    <a:ext uri="{FF2B5EF4-FFF2-40B4-BE49-F238E27FC236}">
                      <a16:creationId xmlns:a16="http://schemas.microsoft.com/office/drawing/2014/main" id="{79BDAA97-105B-2D6A-9947-81D59D9A0B66}"/>
                    </a:ext>
                  </a:extLst>
                </p:cNvPr>
                <p:cNvSpPr/>
                <p:nvPr/>
              </p:nvSpPr>
              <p:spPr>
                <a:xfrm>
                  <a:off x="6916812" y="1905433"/>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0" name="Freeform 7646">
                  <a:extLst>
                    <a:ext uri="{FF2B5EF4-FFF2-40B4-BE49-F238E27FC236}">
                      <a16:creationId xmlns:a16="http://schemas.microsoft.com/office/drawing/2014/main" id="{956DBCBD-9D01-A986-E937-12CC10389938}"/>
                    </a:ext>
                  </a:extLst>
                </p:cNvPr>
                <p:cNvSpPr/>
                <p:nvPr/>
              </p:nvSpPr>
              <p:spPr>
                <a:xfrm>
                  <a:off x="6911674" y="1945866"/>
                  <a:ext cx="26717" cy="26503"/>
                </a:xfrm>
                <a:custGeom>
                  <a:avLst/>
                  <a:gdLst>
                    <a:gd name="connsiteX0" fmla="*/ 32 w 26717"/>
                    <a:gd name="connsiteY0" fmla="*/ 14372 h 26503"/>
                    <a:gd name="connsiteX1" fmla="*/ 12363 w 26717"/>
                    <a:gd name="connsiteY1" fmla="*/ 48 h 26503"/>
                    <a:gd name="connsiteX2" fmla="*/ 26686 w 26717"/>
                    <a:gd name="connsiteY2" fmla="*/ 12130 h 26503"/>
                    <a:gd name="connsiteX3" fmla="*/ 14355 w 26717"/>
                    <a:gd name="connsiteY3" fmla="*/ 26454 h 26503"/>
                    <a:gd name="connsiteX4" fmla="*/ 32 w 26717"/>
                    <a:gd name="connsiteY4" fmla="*/ 14372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3">
                      <a:moveTo>
                        <a:pt x="32" y="14372"/>
                      </a:moveTo>
                      <a:cubicBezTo>
                        <a:pt x="-467" y="7024"/>
                        <a:pt x="5013" y="671"/>
                        <a:pt x="12363" y="48"/>
                      </a:cubicBezTo>
                      <a:cubicBezTo>
                        <a:pt x="19711" y="-575"/>
                        <a:pt x="26064" y="4906"/>
                        <a:pt x="26686" y="12130"/>
                      </a:cubicBezTo>
                      <a:cubicBezTo>
                        <a:pt x="27185" y="19479"/>
                        <a:pt x="21704" y="25832"/>
                        <a:pt x="14355" y="26454"/>
                      </a:cubicBezTo>
                      <a:cubicBezTo>
                        <a:pt x="6882" y="27077"/>
                        <a:pt x="529" y="21721"/>
                        <a:pt x="32" y="143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1" name="Freeform 7647">
                  <a:extLst>
                    <a:ext uri="{FF2B5EF4-FFF2-40B4-BE49-F238E27FC236}">
                      <a16:creationId xmlns:a16="http://schemas.microsoft.com/office/drawing/2014/main" id="{7EF36CFF-891D-F43E-D152-38BA642EDB42}"/>
                    </a:ext>
                  </a:extLst>
                </p:cNvPr>
                <p:cNvSpPr/>
                <p:nvPr/>
              </p:nvSpPr>
              <p:spPr>
                <a:xfrm>
                  <a:off x="6911533" y="1844400"/>
                  <a:ext cx="5691" cy="51940"/>
                </a:xfrm>
                <a:custGeom>
                  <a:avLst/>
                  <a:gdLst>
                    <a:gd name="connsiteX0" fmla="*/ 1293 w 5691"/>
                    <a:gd name="connsiteY0" fmla="*/ 0 h 51940"/>
                    <a:gd name="connsiteX1" fmla="*/ 670 w 5691"/>
                    <a:gd name="connsiteY1" fmla="*/ 18808 h 51940"/>
                    <a:gd name="connsiteX2" fmla="*/ 5279 w 5691"/>
                    <a:gd name="connsiteY2" fmla="*/ 35499 h 51940"/>
                    <a:gd name="connsiteX3" fmla="*/ 4282 w 569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691" h="51940">
                      <a:moveTo>
                        <a:pt x="1293" y="0"/>
                      </a:moveTo>
                      <a:cubicBezTo>
                        <a:pt x="-575" y="8221"/>
                        <a:pt x="-77" y="14573"/>
                        <a:pt x="670" y="18808"/>
                      </a:cubicBezTo>
                      <a:cubicBezTo>
                        <a:pt x="1915" y="25659"/>
                        <a:pt x="4282" y="28524"/>
                        <a:pt x="5279" y="35499"/>
                      </a:cubicBezTo>
                      <a:cubicBezTo>
                        <a:pt x="6275" y="42350"/>
                        <a:pt x="5279" y="48204"/>
                        <a:pt x="428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2" name="Freeform 7648">
                  <a:extLst>
                    <a:ext uri="{FF2B5EF4-FFF2-40B4-BE49-F238E27FC236}">
                      <a16:creationId xmlns:a16="http://schemas.microsoft.com/office/drawing/2014/main" id="{B62D43E7-0D25-4A27-4173-799EBB18F520}"/>
                    </a:ext>
                  </a:extLst>
                </p:cNvPr>
                <p:cNvSpPr/>
                <p:nvPr/>
              </p:nvSpPr>
              <p:spPr>
                <a:xfrm>
                  <a:off x="6919428" y="1838794"/>
                  <a:ext cx="4608" cy="51940"/>
                </a:xfrm>
                <a:custGeom>
                  <a:avLst/>
                  <a:gdLst>
                    <a:gd name="connsiteX0" fmla="*/ 4609 w 4608"/>
                    <a:gd name="connsiteY0" fmla="*/ 51941 h 51940"/>
                    <a:gd name="connsiteX1" fmla="*/ 1245 w 4608"/>
                    <a:gd name="connsiteY1" fmla="*/ 33506 h 51940"/>
                    <a:gd name="connsiteX2" fmla="*/ 3363 w 4608"/>
                    <a:gd name="connsiteY2" fmla="*/ 16193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1121" y="37866"/>
                        <a:pt x="1245"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3" name="Freeform 7649">
                  <a:extLst>
                    <a:ext uri="{FF2B5EF4-FFF2-40B4-BE49-F238E27FC236}">
                      <a16:creationId xmlns:a16="http://schemas.microsoft.com/office/drawing/2014/main" id="{8C0F0608-1C88-3D71-CA29-FAAF51328837}"/>
                    </a:ext>
                  </a:extLst>
                </p:cNvPr>
                <p:cNvSpPr/>
                <p:nvPr/>
              </p:nvSpPr>
              <p:spPr>
                <a:xfrm>
                  <a:off x="6902830" y="1823799"/>
                  <a:ext cx="26345" cy="26502"/>
                </a:xfrm>
                <a:custGeom>
                  <a:avLst/>
                  <a:gdLst>
                    <a:gd name="connsiteX0" fmla="*/ 26313 w 26345"/>
                    <a:gd name="connsiteY0" fmla="*/ 12130 h 26502"/>
                    <a:gd name="connsiteX1" fmla="*/ 14106 w 26345"/>
                    <a:gd name="connsiteY1" fmla="*/ 26454 h 26502"/>
                    <a:gd name="connsiteX2" fmla="*/ 31 w 26345"/>
                    <a:gd name="connsiteY2" fmla="*/ 14372 h 26502"/>
                    <a:gd name="connsiteX3" fmla="*/ 12238 w 26345"/>
                    <a:gd name="connsiteY3" fmla="*/ 48 h 26502"/>
                    <a:gd name="connsiteX4" fmla="*/ 26313 w 26345"/>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2">
                      <a:moveTo>
                        <a:pt x="26313" y="12130"/>
                      </a:moveTo>
                      <a:cubicBezTo>
                        <a:pt x="26812" y="19479"/>
                        <a:pt x="21455" y="25832"/>
                        <a:pt x="14106" y="26454"/>
                      </a:cubicBezTo>
                      <a:cubicBezTo>
                        <a:pt x="6757" y="27077"/>
                        <a:pt x="529" y="21597"/>
                        <a:pt x="31" y="14372"/>
                      </a:cubicBezTo>
                      <a:cubicBezTo>
                        <a:pt x="-467" y="7023"/>
                        <a:pt x="5014" y="671"/>
                        <a:pt x="12238" y="48"/>
                      </a:cubicBezTo>
                      <a:cubicBezTo>
                        <a:pt x="19338" y="-575"/>
                        <a:pt x="25690" y="4906"/>
                        <a:pt x="26313"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0" name="Graphic 2987">
                <a:extLst>
                  <a:ext uri="{FF2B5EF4-FFF2-40B4-BE49-F238E27FC236}">
                    <a16:creationId xmlns:a16="http://schemas.microsoft.com/office/drawing/2014/main" id="{665C2B20-DF44-C377-A25A-29AA0CEC9373}"/>
                  </a:ext>
                </a:extLst>
              </p:cNvPr>
              <p:cNvGrpSpPr/>
              <p:nvPr/>
            </p:nvGrpSpPr>
            <p:grpSpPr>
              <a:xfrm>
                <a:off x="6873434" y="1826059"/>
                <a:ext cx="35063" cy="148534"/>
                <a:chOff x="6873434" y="1826059"/>
                <a:chExt cx="35063" cy="148534"/>
              </a:xfrm>
              <a:grpFill/>
            </p:grpSpPr>
            <p:sp>
              <p:nvSpPr>
                <p:cNvPr id="6492" name="Freeform 7651">
                  <a:extLst>
                    <a:ext uri="{FF2B5EF4-FFF2-40B4-BE49-F238E27FC236}">
                      <a16:creationId xmlns:a16="http://schemas.microsoft.com/office/drawing/2014/main" id="{927C9A7C-F064-8FFA-76E4-2E630E458D28}"/>
                    </a:ext>
                  </a:extLst>
                </p:cNvPr>
                <p:cNvSpPr/>
                <p:nvPr/>
              </p:nvSpPr>
              <p:spPr>
                <a:xfrm>
                  <a:off x="6893979" y="1902070"/>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1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6" y="26406"/>
                        <a:pt x="1410" y="23417"/>
                        <a:pt x="413" y="16442"/>
                      </a:cubicBezTo>
                      <a:cubicBezTo>
                        <a:pt x="-584" y="9591"/>
                        <a:pt x="413" y="3861"/>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3" name="Freeform 7652">
                  <a:extLst>
                    <a:ext uri="{FF2B5EF4-FFF2-40B4-BE49-F238E27FC236}">
                      <a16:creationId xmlns:a16="http://schemas.microsoft.com/office/drawing/2014/main" id="{358EACBA-6CD6-4749-664C-4FA807FC29B7}"/>
                    </a:ext>
                  </a:extLst>
                </p:cNvPr>
                <p:cNvSpPr/>
                <p:nvPr/>
              </p:nvSpPr>
              <p:spPr>
                <a:xfrm>
                  <a:off x="6887292" y="1907550"/>
                  <a:ext cx="4483" cy="51940"/>
                </a:xfrm>
                <a:custGeom>
                  <a:avLst/>
                  <a:gdLst>
                    <a:gd name="connsiteX0" fmla="*/ 0 w 4483"/>
                    <a:gd name="connsiteY0" fmla="*/ 0 h 51940"/>
                    <a:gd name="connsiteX1" fmla="*/ 3363 w 4483"/>
                    <a:gd name="connsiteY1" fmla="*/ 18559 h 51940"/>
                    <a:gd name="connsiteX2" fmla="*/ 1121 w 4483"/>
                    <a:gd name="connsiteY2" fmla="*/ 35748 h 51940"/>
                    <a:gd name="connsiteX3" fmla="*/ 4484 w 448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483" h="51940">
                      <a:moveTo>
                        <a:pt x="0" y="0"/>
                      </a:moveTo>
                      <a:cubicBezTo>
                        <a:pt x="2989" y="7847"/>
                        <a:pt x="3487" y="14200"/>
                        <a:pt x="3363" y="18559"/>
                      </a:cubicBezTo>
                      <a:cubicBezTo>
                        <a:pt x="3114" y="25534"/>
                        <a:pt x="1121" y="28648"/>
                        <a:pt x="1121" y="35748"/>
                      </a:cubicBezTo>
                      <a:cubicBezTo>
                        <a:pt x="1121" y="42599"/>
                        <a:pt x="2865" y="48328"/>
                        <a:pt x="448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4" name="Freeform 7653">
                  <a:extLst>
                    <a:ext uri="{FF2B5EF4-FFF2-40B4-BE49-F238E27FC236}">
                      <a16:creationId xmlns:a16="http://schemas.microsoft.com/office/drawing/2014/main" id="{000491C6-8CFB-C112-F501-03C4105BCAFE}"/>
                    </a:ext>
                  </a:extLst>
                </p:cNvPr>
                <p:cNvSpPr/>
                <p:nvPr/>
              </p:nvSpPr>
              <p:spPr>
                <a:xfrm>
                  <a:off x="6881904" y="1948125"/>
                  <a:ext cx="26593" cy="26467"/>
                </a:xfrm>
                <a:custGeom>
                  <a:avLst/>
                  <a:gdLst>
                    <a:gd name="connsiteX0" fmla="*/ 32 w 26593"/>
                    <a:gd name="connsiteY0" fmla="*/ 14106 h 26467"/>
                    <a:gd name="connsiteX1" fmla="*/ 12363 w 26593"/>
                    <a:gd name="connsiteY1" fmla="*/ 31 h 26467"/>
                    <a:gd name="connsiteX2" fmla="*/ 26562 w 26593"/>
                    <a:gd name="connsiteY2" fmla="*/ 12362 h 26467"/>
                    <a:gd name="connsiteX3" fmla="*/ 14231 w 26593"/>
                    <a:gd name="connsiteY3" fmla="*/ 26437 h 26467"/>
                    <a:gd name="connsiteX4" fmla="*/ 32 w 26593"/>
                    <a:gd name="connsiteY4" fmla="*/ 1410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7">
                      <a:moveTo>
                        <a:pt x="32" y="14106"/>
                      </a:moveTo>
                      <a:cubicBezTo>
                        <a:pt x="-467" y="6757"/>
                        <a:pt x="5013" y="529"/>
                        <a:pt x="12363" y="31"/>
                      </a:cubicBezTo>
                      <a:cubicBezTo>
                        <a:pt x="19712" y="-467"/>
                        <a:pt x="26064" y="5138"/>
                        <a:pt x="26562" y="12362"/>
                      </a:cubicBezTo>
                      <a:cubicBezTo>
                        <a:pt x="27060" y="19711"/>
                        <a:pt x="21580" y="25939"/>
                        <a:pt x="14231" y="26437"/>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5" name="Freeform 7654">
                  <a:extLst>
                    <a:ext uri="{FF2B5EF4-FFF2-40B4-BE49-F238E27FC236}">
                      <a16:creationId xmlns:a16="http://schemas.microsoft.com/office/drawing/2014/main" id="{6EBF080D-A301-77A2-F38B-8E5A11F90749}"/>
                    </a:ext>
                  </a:extLst>
                </p:cNvPr>
                <p:cNvSpPr/>
                <p:nvPr/>
              </p:nvSpPr>
              <p:spPr>
                <a:xfrm>
                  <a:off x="6882089" y="1846517"/>
                  <a:ext cx="5739" cy="52065"/>
                </a:xfrm>
                <a:custGeom>
                  <a:avLst/>
                  <a:gdLst>
                    <a:gd name="connsiteX0" fmla="*/ 1341 w 5739"/>
                    <a:gd name="connsiteY0" fmla="*/ 0 h 52065"/>
                    <a:gd name="connsiteX1" fmla="*/ 719 w 5739"/>
                    <a:gd name="connsiteY1" fmla="*/ 18808 h 52065"/>
                    <a:gd name="connsiteX2" fmla="*/ 5327 w 5739"/>
                    <a:gd name="connsiteY2" fmla="*/ 35624 h 52065"/>
                    <a:gd name="connsiteX3" fmla="*/ 4330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0"/>
                      </a:moveTo>
                      <a:cubicBezTo>
                        <a:pt x="-527" y="8221"/>
                        <a:pt x="-153" y="14449"/>
                        <a:pt x="719" y="18808"/>
                      </a:cubicBezTo>
                      <a:cubicBezTo>
                        <a:pt x="1964" y="25659"/>
                        <a:pt x="4330" y="28648"/>
                        <a:pt x="5327" y="35624"/>
                      </a:cubicBezTo>
                      <a:cubicBezTo>
                        <a:pt x="6324" y="42474"/>
                        <a:pt x="5327" y="48204"/>
                        <a:pt x="43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6" name="Freeform 7655">
                  <a:extLst>
                    <a:ext uri="{FF2B5EF4-FFF2-40B4-BE49-F238E27FC236}">
                      <a16:creationId xmlns:a16="http://schemas.microsoft.com/office/drawing/2014/main" id="{6AE2CF33-532D-EE8F-A0F7-9530E51254F6}"/>
                    </a:ext>
                  </a:extLst>
                </p:cNvPr>
                <p:cNvSpPr/>
                <p:nvPr/>
              </p:nvSpPr>
              <p:spPr>
                <a:xfrm>
                  <a:off x="6890032" y="1841161"/>
                  <a:ext cx="4484" cy="51940"/>
                </a:xfrm>
                <a:custGeom>
                  <a:avLst/>
                  <a:gdLst>
                    <a:gd name="connsiteX0" fmla="*/ 4485 w 4484"/>
                    <a:gd name="connsiteY0" fmla="*/ 51941 h 51940"/>
                    <a:gd name="connsiteX1" fmla="*/ 1121 w 4484"/>
                    <a:gd name="connsiteY1" fmla="*/ 33381 h 51940"/>
                    <a:gd name="connsiteX2" fmla="*/ 3363 w 4484"/>
                    <a:gd name="connsiteY2" fmla="*/ 16192 h 51940"/>
                    <a:gd name="connsiteX3" fmla="*/ 0 w 4484"/>
                    <a:gd name="connsiteY3" fmla="*/ 0 h 51940"/>
                  </a:gdLst>
                  <a:ahLst/>
                  <a:cxnLst>
                    <a:cxn ang="0">
                      <a:pos x="connsiteX0" y="connsiteY0"/>
                    </a:cxn>
                    <a:cxn ang="0">
                      <a:pos x="connsiteX1" y="connsiteY1"/>
                    </a:cxn>
                    <a:cxn ang="0">
                      <a:pos x="connsiteX2" y="connsiteY2"/>
                    </a:cxn>
                    <a:cxn ang="0">
                      <a:pos x="connsiteX3" y="connsiteY3"/>
                    </a:cxn>
                  </a:cxnLst>
                  <a:rect l="l" t="t" r="r" b="b"/>
                  <a:pathLst>
                    <a:path w="4484" h="51940">
                      <a:moveTo>
                        <a:pt x="4485" y="51941"/>
                      </a:moveTo>
                      <a:cubicBezTo>
                        <a:pt x="1495" y="44093"/>
                        <a:pt x="997" y="37741"/>
                        <a:pt x="1121" y="33381"/>
                      </a:cubicBezTo>
                      <a:cubicBezTo>
                        <a:pt x="1371" y="26406"/>
                        <a:pt x="3363" y="23292"/>
                        <a:pt x="3363" y="16192"/>
                      </a:cubicBezTo>
                      <a:cubicBezTo>
                        <a:pt x="3363"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7" name="Freeform 7656">
                  <a:extLst>
                    <a:ext uri="{FF2B5EF4-FFF2-40B4-BE49-F238E27FC236}">
                      <a16:creationId xmlns:a16="http://schemas.microsoft.com/office/drawing/2014/main" id="{F5F9AB3F-FF82-4C16-9CD4-3CB378BE41A1}"/>
                    </a:ext>
                  </a:extLst>
                </p:cNvPr>
                <p:cNvSpPr/>
                <p:nvPr/>
              </p:nvSpPr>
              <p:spPr>
                <a:xfrm>
                  <a:off x="6873434" y="1826059"/>
                  <a:ext cx="26344" cy="26467"/>
                </a:xfrm>
                <a:custGeom>
                  <a:avLst/>
                  <a:gdLst>
                    <a:gd name="connsiteX0" fmla="*/ 26313 w 26344"/>
                    <a:gd name="connsiteY0" fmla="*/ 12362 h 26467"/>
                    <a:gd name="connsiteX1" fmla="*/ 14107 w 26344"/>
                    <a:gd name="connsiteY1" fmla="*/ 26437 h 26467"/>
                    <a:gd name="connsiteX2" fmla="*/ 32 w 26344"/>
                    <a:gd name="connsiteY2" fmla="*/ 13981 h 26467"/>
                    <a:gd name="connsiteX3" fmla="*/ 12238 w 26344"/>
                    <a:gd name="connsiteY3" fmla="*/ 31 h 26467"/>
                    <a:gd name="connsiteX4" fmla="*/ 26313 w 26344"/>
                    <a:gd name="connsiteY4" fmla="*/ 1236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7">
                      <a:moveTo>
                        <a:pt x="26313" y="12362"/>
                      </a:moveTo>
                      <a:cubicBezTo>
                        <a:pt x="26811" y="19711"/>
                        <a:pt x="21330" y="25939"/>
                        <a:pt x="14107" y="26437"/>
                      </a:cubicBezTo>
                      <a:cubicBezTo>
                        <a:pt x="6757" y="26935"/>
                        <a:pt x="529" y="21330"/>
                        <a:pt x="32" y="13981"/>
                      </a:cubicBezTo>
                      <a:cubicBezTo>
                        <a:pt x="-467" y="6632"/>
                        <a:pt x="5013" y="404"/>
                        <a:pt x="12238" y="31"/>
                      </a:cubicBezTo>
                      <a:cubicBezTo>
                        <a:pt x="19462" y="-467"/>
                        <a:pt x="25690" y="5138"/>
                        <a:pt x="26313" y="123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1" name="Graphic 2987">
                <a:extLst>
                  <a:ext uri="{FF2B5EF4-FFF2-40B4-BE49-F238E27FC236}">
                    <a16:creationId xmlns:a16="http://schemas.microsoft.com/office/drawing/2014/main" id="{EE2153A2-D896-247A-9E38-8BA2506DC084}"/>
                  </a:ext>
                </a:extLst>
              </p:cNvPr>
              <p:cNvGrpSpPr/>
              <p:nvPr/>
            </p:nvGrpSpPr>
            <p:grpSpPr>
              <a:xfrm>
                <a:off x="6843914" y="1827803"/>
                <a:ext cx="34938" cy="148646"/>
                <a:chOff x="6843914" y="1827803"/>
                <a:chExt cx="34938" cy="148646"/>
              </a:xfrm>
              <a:grpFill/>
            </p:grpSpPr>
            <p:sp>
              <p:nvSpPr>
                <p:cNvPr id="6486" name="Freeform 7658">
                  <a:extLst>
                    <a:ext uri="{FF2B5EF4-FFF2-40B4-BE49-F238E27FC236}">
                      <a16:creationId xmlns:a16="http://schemas.microsoft.com/office/drawing/2014/main" id="{461EE0F0-6ADF-8DB9-8D8D-C951513B0184}"/>
                    </a:ext>
                  </a:extLst>
                </p:cNvPr>
                <p:cNvSpPr/>
                <p:nvPr/>
              </p:nvSpPr>
              <p:spPr>
                <a:xfrm>
                  <a:off x="6864334" y="1903814"/>
                  <a:ext cx="5677" cy="52065"/>
                </a:xfrm>
                <a:custGeom>
                  <a:avLst/>
                  <a:gdLst>
                    <a:gd name="connsiteX0" fmla="*/ 4274 w 5677"/>
                    <a:gd name="connsiteY0" fmla="*/ 52065 h 52065"/>
                    <a:gd name="connsiteX1" fmla="*/ 5021 w 5677"/>
                    <a:gd name="connsiteY1" fmla="*/ 33257 h 52065"/>
                    <a:gd name="connsiteX2" fmla="*/ 413 w 5677"/>
                    <a:gd name="connsiteY2" fmla="*/ 16442 h 52065"/>
                    <a:gd name="connsiteX3" fmla="*/ 1410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4274" y="52065"/>
                      </a:moveTo>
                      <a:cubicBezTo>
                        <a:pt x="6267" y="43844"/>
                        <a:pt x="5769" y="37616"/>
                        <a:pt x="5021" y="33257"/>
                      </a:cubicBezTo>
                      <a:cubicBezTo>
                        <a:pt x="3776" y="26406"/>
                        <a:pt x="1410"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7" name="Freeform 7659">
                  <a:extLst>
                    <a:ext uri="{FF2B5EF4-FFF2-40B4-BE49-F238E27FC236}">
                      <a16:creationId xmlns:a16="http://schemas.microsoft.com/office/drawing/2014/main" id="{B2DC1E49-0C4F-7D30-6CE5-2F5491321E37}"/>
                    </a:ext>
                  </a:extLst>
                </p:cNvPr>
                <p:cNvSpPr/>
                <p:nvPr/>
              </p:nvSpPr>
              <p:spPr>
                <a:xfrm>
                  <a:off x="6857647" y="1909419"/>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488" y="14200"/>
                        <a:pt x="3239" y="18559"/>
                      </a:cubicBezTo>
                      <a:cubicBezTo>
                        <a:pt x="2989"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8" name="Freeform 7660">
                  <a:extLst>
                    <a:ext uri="{FF2B5EF4-FFF2-40B4-BE49-F238E27FC236}">
                      <a16:creationId xmlns:a16="http://schemas.microsoft.com/office/drawing/2014/main" id="{511A27BA-7307-4CD1-36CE-8E3D9210875E}"/>
                    </a:ext>
                  </a:extLst>
                </p:cNvPr>
                <p:cNvSpPr/>
                <p:nvPr/>
              </p:nvSpPr>
              <p:spPr>
                <a:xfrm>
                  <a:off x="6852136" y="1949869"/>
                  <a:ext cx="26717" cy="26579"/>
                </a:xfrm>
                <a:custGeom>
                  <a:avLst/>
                  <a:gdLst>
                    <a:gd name="connsiteX0" fmla="*/ 31 w 26717"/>
                    <a:gd name="connsiteY0" fmla="*/ 14106 h 26579"/>
                    <a:gd name="connsiteX1" fmla="*/ 12487 w 26717"/>
                    <a:gd name="connsiteY1" fmla="*/ 31 h 26579"/>
                    <a:gd name="connsiteX2" fmla="*/ 26686 w 26717"/>
                    <a:gd name="connsiteY2" fmla="*/ 12487 h 26579"/>
                    <a:gd name="connsiteX3" fmla="*/ 14231 w 26717"/>
                    <a:gd name="connsiteY3" fmla="*/ 26562 h 26579"/>
                    <a:gd name="connsiteX4" fmla="*/ 31 w 26717"/>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79">
                      <a:moveTo>
                        <a:pt x="31" y="14106"/>
                      </a:moveTo>
                      <a:cubicBezTo>
                        <a:pt x="-467" y="6757"/>
                        <a:pt x="5138" y="529"/>
                        <a:pt x="12487" y="31"/>
                      </a:cubicBezTo>
                      <a:cubicBezTo>
                        <a:pt x="19836" y="-467"/>
                        <a:pt x="26188" y="5138"/>
                        <a:pt x="26686" y="12487"/>
                      </a:cubicBezTo>
                      <a:cubicBezTo>
                        <a:pt x="27184" y="19835"/>
                        <a:pt x="21704" y="26063"/>
                        <a:pt x="14231" y="26562"/>
                      </a:cubicBezTo>
                      <a:cubicBezTo>
                        <a:pt x="6881"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9" name="Freeform 7661">
                  <a:extLst>
                    <a:ext uri="{FF2B5EF4-FFF2-40B4-BE49-F238E27FC236}">
                      <a16:creationId xmlns:a16="http://schemas.microsoft.com/office/drawing/2014/main" id="{6705F4C7-CBBC-21A8-AC3B-567040259EC8}"/>
                    </a:ext>
                  </a:extLst>
                </p:cNvPr>
                <p:cNvSpPr/>
                <p:nvPr/>
              </p:nvSpPr>
              <p:spPr>
                <a:xfrm>
                  <a:off x="6852551" y="1848385"/>
                  <a:ext cx="5633" cy="52065"/>
                </a:xfrm>
                <a:custGeom>
                  <a:avLst/>
                  <a:gdLst>
                    <a:gd name="connsiteX0" fmla="*/ 1360 w 5633"/>
                    <a:gd name="connsiteY0" fmla="*/ 0 h 52065"/>
                    <a:gd name="connsiteX1" fmla="*/ 612 w 5633"/>
                    <a:gd name="connsiteY1" fmla="*/ 18808 h 52065"/>
                    <a:gd name="connsiteX2" fmla="*/ 5221 w 5633"/>
                    <a:gd name="connsiteY2" fmla="*/ 35624 h 52065"/>
                    <a:gd name="connsiteX3" fmla="*/ 4224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1360" y="0"/>
                      </a:moveTo>
                      <a:cubicBezTo>
                        <a:pt x="-509" y="8221"/>
                        <a:pt x="-135" y="14449"/>
                        <a:pt x="612" y="18808"/>
                      </a:cubicBezTo>
                      <a:cubicBezTo>
                        <a:pt x="1858" y="25659"/>
                        <a:pt x="4224" y="28648"/>
                        <a:pt x="5221" y="35624"/>
                      </a:cubicBezTo>
                      <a:cubicBezTo>
                        <a:pt x="6218" y="42474"/>
                        <a:pt x="5221" y="48328"/>
                        <a:pt x="42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0" name="Freeform 7662">
                  <a:extLst>
                    <a:ext uri="{FF2B5EF4-FFF2-40B4-BE49-F238E27FC236}">
                      <a16:creationId xmlns:a16="http://schemas.microsoft.com/office/drawing/2014/main" id="{190080A7-29C4-9289-9880-1F33CFD47A12}"/>
                    </a:ext>
                  </a:extLst>
                </p:cNvPr>
                <p:cNvSpPr/>
                <p:nvPr/>
              </p:nvSpPr>
              <p:spPr>
                <a:xfrm>
                  <a:off x="6860636" y="1842905"/>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747" y="37741"/>
                        <a:pt x="997" y="33381"/>
                      </a:cubicBezTo>
                      <a:cubicBezTo>
                        <a:pt x="1246" y="26406"/>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1" name="Freeform 7663">
                  <a:extLst>
                    <a:ext uri="{FF2B5EF4-FFF2-40B4-BE49-F238E27FC236}">
                      <a16:creationId xmlns:a16="http://schemas.microsoft.com/office/drawing/2014/main" id="{49BC71FD-BF1D-62A1-8C23-5EAE3E6AC335}"/>
                    </a:ext>
                  </a:extLst>
                </p:cNvPr>
                <p:cNvSpPr/>
                <p:nvPr/>
              </p:nvSpPr>
              <p:spPr>
                <a:xfrm>
                  <a:off x="6843914" y="1827803"/>
                  <a:ext cx="26344" cy="26592"/>
                </a:xfrm>
                <a:custGeom>
                  <a:avLst/>
                  <a:gdLst>
                    <a:gd name="connsiteX0" fmla="*/ 26313 w 26344"/>
                    <a:gd name="connsiteY0" fmla="*/ 12487 h 26592"/>
                    <a:gd name="connsiteX1" fmla="*/ 14107 w 26344"/>
                    <a:gd name="connsiteY1" fmla="*/ 26562 h 26592"/>
                    <a:gd name="connsiteX2" fmla="*/ 32 w 26344"/>
                    <a:gd name="connsiteY2" fmla="*/ 14106 h 26592"/>
                    <a:gd name="connsiteX3" fmla="*/ 12238 w 26344"/>
                    <a:gd name="connsiteY3" fmla="*/ 31 h 26592"/>
                    <a:gd name="connsiteX4" fmla="*/ 26313 w 26344"/>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92">
                      <a:moveTo>
                        <a:pt x="26313" y="12487"/>
                      </a:moveTo>
                      <a:cubicBezTo>
                        <a:pt x="26811" y="19835"/>
                        <a:pt x="21330" y="26063"/>
                        <a:pt x="14107" y="26562"/>
                      </a:cubicBezTo>
                      <a:cubicBezTo>
                        <a:pt x="6757" y="27060"/>
                        <a:pt x="529" y="21455"/>
                        <a:pt x="32" y="14106"/>
                      </a:cubicBezTo>
                      <a:cubicBezTo>
                        <a:pt x="-467" y="6757"/>
                        <a:pt x="5013" y="529"/>
                        <a:pt x="12238" y="31"/>
                      </a:cubicBezTo>
                      <a:cubicBezTo>
                        <a:pt x="19462" y="-467"/>
                        <a:pt x="25815" y="5138"/>
                        <a:pt x="2631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2" name="Graphic 2987">
                <a:extLst>
                  <a:ext uri="{FF2B5EF4-FFF2-40B4-BE49-F238E27FC236}">
                    <a16:creationId xmlns:a16="http://schemas.microsoft.com/office/drawing/2014/main" id="{1C5193E4-1C56-7B57-048B-9DC1060D9D2D}"/>
                  </a:ext>
                </a:extLst>
              </p:cNvPr>
              <p:cNvGrpSpPr/>
              <p:nvPr/>
            </p:nvGrpSpPr>
            <p:grpSpPr>
              <a:xfrm>
                <a:off x="6814394" y="1829546"/>
                <a:ext cx="34688" cy="148658"/>
                <a:chOff x="6814394" y="1829546"/>
                <a:chExt cx="34688" cy="148658"/>
              </a:xfrm>
              <a:grpFill/>
            </p:grpSpPr>
            <p:sp>
              <p:nvSpPr>
                <p:cNvPr id="6480" name="Freeform 7665">
                  <a:extLst>
                    <a:ext uri="{FF2B5EF4-FFF2-40B4-BE49-F238E27FC236}">
                      <a16:creationId xmlns:a16="http://schemas.microsoft.com/office/drawing/2014/main" id="{2396B51F-5BAA-C1BB-A656-078E4B98CB9C}"/>
                    </a:ext>
                  </a:extLst>
                </p:cNvPr>
                <p:cNvSpPr/>
                <p:nvPr/>
              </p:nvSpPr>
              <p:spPr>
                <a:xfrm>
                  <a:off x="6834589" y="1905557"/>
                  <a:ext cx="5653" cy="52065"/>
                </a:xfrm>
                <a:custGeom>
                  <a:avLst/>
                  <a:gdLst>
                    <a:gd name="connsiteX0" fmla="*/ 4250 w 5653"/>
                    <a:gd name="connsiteY0" fmla="*/ 52065 h 52065"/>
                    <a:gd name="connsiteX1" fmla="*/ 4997 w 5653"/>
                    <a:gd name="connsiteY1" fmla="*/ 33257 h 52065"/>
                    <a:gd name="connsiteX2" fmla="*/ 388 w 5653"/>
                    <a:gd name="connsiteY2" fmla="*/ 16442 h 52065"/>
                    <a:gd name="connsiteX3" fmla="*/ 1510 w 5653"/>
                    <a:gd name="connsiteY3" fmla="*/ 0 h 52065"/>
                  </a:gdLst>
                  <a:ahLst/>
                  <a:cxnLst>
                    <a:cxn ang="0">
                      <a:pos x="connsiteX0" y="connsiteY0"/>
                    </a:cxn>
                    <a:cxn ang="0">
                      <a:pos x="connsiteX1" y="connsiteY1"/>
                    </a:cxn>
                    <a:cxn ang="0">
                      <a:pos x="connsiteX2" y="connsiteY2"/>
                    </a:cxn>
                    <a:cxn ang="0">
                      <a:pos x="connsiteX3" y="connsiteY3"/>
                    </a:cxn>
                  </a:cxnLst>
                  <a:rect l="l" t="t" r="r" b="b"/>
                  <a:pathLst>
                    <a:path w="5653" h="52065">
                      <a:moveTo>
                        <a:pt x="4250" y="52065"/>
                      </a:moveTo>
                      <a:cubicBezTo>
                        <a:pt x="6243" y="43844"/>
                        <a:pt x="5744" y="37616"/>
                        <a:pt x="4997" y="33257"/>
                      </a:cubicBezTo>
                      <a:cubicBezTo>
                        <a:pt x="3752" y="26406"/>
                        <a:pt x="1385" y="23417"/>
                        <a:pt x="388" y="16442"/>
                      </a:cubicBezTo>
                      <a:cubicBezTo>
                        <a:pt x="-608" y="9591"/>
                        <a:pt x="513" y="3737"/>
                        <a:pt x="1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1" name="Freeform 7666">
                  <a:extLst>
                    <a:ext uri="{FF2B5EF4-FFF2-40B4-BE49-F238E27FC236}">
                      <a16:creationId xmlns:a16="http://schemas.microsoft.com/office/drawing/2014/main" id="{5DE0514C-AA73-FFCD-A62C-DB1E707CA287}"/>
                    </a:ext>
                  </a:extLst>
                </p:cNvPr>
                <p:cNvSpPr/>
                <p:nvPr/>
              </p:nvSpPr>
              <p:spPr>
                <a:xfrm>
                  <a:off x="6828002" y="1911162"/>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363" y="14200"/>
                        <a:pt x="3239" y="18559"/>
                      </a:cubicBezTo>
                      <a:cubicBezTo>
                        <a:pt x="2865"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2" name="Freeform 7667">
                  <a:extLst>
                    <a:ext uri="{FF2B5EF4-FFF2-40B4-BE49-F238E27FC236}">
                      <a16:creationId xmlns:a16="http://schemas.microsoft.com/office/drawing/2014/main" id="{B28C847F-914B-407D-82BA-8157995C4D74}"/>
                    </a:ext>
                  </a:extLst>
                </p:cNvPr>
                <p:cNvSpPr/>
                <p:nvPr/>
              </p:nvSpPr>
              <p:spPr>
                <a:xfrm>
                  <a:off x="6822366" y="1951613"/>
                  <a:ext cx="26717" cy="26592"/>
                </a:xfrm>
                <a:custGeom>
                  <a:avLst/>
                  <a:gdLst>
                    <a:gd name="connsiteX0" fmla="*/ 31 w 26717"/>
                    <a:gd name="connsiteY0" fmla="*/ 14106 h 26592"/>
                    <a:gd name="connsiteX1" fmla="*/ 12487 w 26717"/>
                    <a:gd name="connsiteY1" fmla="*/ 31 h 26592"/>
                    <a:gd name="connsiteX2" fmla="*/ 26686 w 26717"/>
                    <a:gd name="connsiteY2" fmla="*/ 12487 h 26592"/>
                    <a:gd name="connsiteX3" fmla="*/ 14231 w 26717"/>
                    <a:gd name="connsiteY3" fmla="*/ 26562 h 26592"/>
                    <a:gd name="connsiteX4" fmla="*/ 31 w 26717"/>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92">
                      <a:moveTo>
                        <a:pt x="31" y="14106"/>
                      </a:moveTo>
                      <a:cubicBezTo>
                        <a:pt x="-467" y="6757"/>
                        <a:pt x="5138" y="529"/>
                        <a:pt x="12487" y="31"/>
                      </a:cubicBezTo>
                      <a:cubicBezTo>
                        <a:pt x="19836" y="-467"/>
                        <a:pt x="26188" y="5138"/>
                        <a:pt x="26686" y="12487"/>
                      </a:cubicBezTo>
                      <a:cubicBezTo>
                        <a:pt x="27184" y="19835"/>
                        <a:pt x="21580" y="26063"/>
                        <a:pt x="14231" y="26562"/>
                      </a:cubicBezTo>
                      <a:cubicBezTo>
                        <a:pt x="6882"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3" name="Freeform 7668">
                  <a:extLst>
                    <a:ext uri="{FF2B5EF4-FFF2-40B4-BE49-F238E27FC236}">
                      <a16:creationId xmlns:a16="http://schemas.microsoft.com/office/drawing/2014/main" id="{FF18DDC2-D581-D6A0-9BD8-610D340E71D1}"/>
                    </a:ext>
                  </a:extLst>
                </p:cNvPr>
                <p:cNvSpPr/>
                <p:nvPr/>
              </p:nvSpPr>
              <p:spPr>
                <a:xfrm>
                  <a:off x="6823111" y="1850129"/>
                  <a:ext cx="5528" cy="52065"/>
                </a:xfrm>
                <a:custGeom>
                  <a:avLst/>
                  <a:gdLst>
                    <a:gd name="connsiteX0" fmla="*/ 1404 w 5528"/>
                    <a:gd name="connsiteY0" fmla="*/ 0 h 52065"/>
                    <a:gd name="connsiteX1" fmla="*/ 656 w 5528"/>
                    <a:gd name="connsiteY1" fmla="*/ 18808 h 52065"/>
                    <a:gd name="connsiteX2" fmla="*/ 5140 w 5528"/>
                    <a:gd name="connsiteY2" fmla="*/ 35623 h 52065"/>
                    <a:gd name="connsiteX3" fmla="*/ 4019 w 55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28" h="52065">
                      <a:moveTo>
                        <a:pt x="1404" y="0"/>
                      </a:moveTo>
                      <a:cubicBezTo>
                        <a:pt x="-590" y="8221"/>
                        <a:pt x="-91" y="14449"/>
                        <a:pt x="656" y="18808"/>
                      </a:cubicBezTo>
                      <a:cubicBezTo>
                        <a:pt x="1902" y="25659"/>
                        <a:pt x="4268" y="28648"/>
                        <a:pt x="5140" y="35623"/>
                      </a:cubicBezTo>
                      <a:cubicBezTo>
                        <a:pt x="6137" y="42474"/>
                        <a:pt x="5015"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4" name="Freeform 7669">
                  <a:extLst>
                    <a:ext uri="{FF2B5EF4-FFF2-40B4-BE49-F238E27FC236}">
                      <a16:creationId xmlns:a16="http://schemas.microsoft.com/office/drawing/2014/main" id="{365D00E0-7F65-788D-0B25-778CE0E91162}"/>
                    </a:ext>
                  </a:extLst>
                </p:cNvPr>
                <p:cNvSpPr/>
                <p:nvPr/>
              </p:nvSpPr>
              <p:spPr>
                <a:xfrm>
                  <a:off x="6831116" y="1844649"/>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872" y="37741"/>
                        <a:pt x="997" y="33381"/>
                      </a:cubicBezTo>
                      <a:cubicBezTo>
                        <a:pt x="1370" y="26406"/>
                        <a:pt x="3239" y="23168"/>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5" name="Freeform 7670">
                  <a:extLst>
                    <a:ext uri="{FF2B5EF4-FFF2-40B4-BE49-F238E27FC236}">
                      <a16:creationId xmlns:a16="http://schemas.microsoft.com/office/drawing/2014/main" id="{7AC148E8-B7C7-E40B-2AF2-93AC5997DCBB}"/>
                    </a:ext>
                  </a:extLst>
                </p:cNvPr>
                <p:cNvSpPr/>
                <p:nvPr/>
              </p:nvSpPr>
              <p:spPr>
                <a:xfrm>
                  <a:off x="6814394" y="1829546"/>
                  <a:ext cx="26469" cy="26592"/>
                </a:xfrm>
                <a:custGeom>
                  <a:avLst/>
                  <a:gdLst>
                    <a:gd name="connsiteX0" fmla="*/ 26438 w 26469"/>
                    <a:gd name="connsiteY0" fmla="*/ 12487 h 26592"/>
                    <a:gd name="connsiteX1" fmla="*/ 14106 w 26469"/>
                    <a:gd name="connsiteY1" fmla="*/ 26562 h 26592"/>
                    <a:gd name="connsiteX2" fmla="*/ 32 w 26469"/>
                    <a:gd name="connsiteY2" fmla="*/ 14106 h 26592"/>
                    <a:gd name="connsiteX3" fmla="*/ 12363 w 26469"/>
                    <a:gd name="connsiteY3" fmla="*/ 31 h 26592"/>
                    <a:gd name="connsiteX4" fmla="*/ 26438 w 26469"/>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92">
                      <a:moveTo>
                        <a:pt x="26438" y="12487"/>
                      </a:moveTo>
                      <a:cubicBezTo>
                        <a:pt x="26936" y="19835"/>
                        <a:pt x="21455" y="26063"/>
                        <a:pt x="14106" y="26562"/>
                      </a:cubicBezTo>
                      <a:cubicBezTo>
                        <a:pt x="6757" y="27060"/>
                        <a:pt x="529" y="21455"/>
                        <a:pt x="32" y="14106"/>
                      </a:cubicBezTo>
                      <a:cubicBezTo>
                        <a:pt x="-467" y="6757"/>
                        <a:pt x="5013" y="529"/>
                        <a:pt x="12363" y="31"/>
                      </a:cubicBezTo>
                      <a:cubicBezTo>
                        <a:pt x="19711" y="-467"/>
                        <a:pt x="25939" y="5138"/>
                        <a:pt x="26438"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3" name="Graphic 2987">
                <a:extLst>
                  <a:ext uri="{FF2B5EF4-FFF2-40B4-BE49-F238E27FC236}">
                    <a16:creationId xmlns:a16="http://schemas.microsoft.com/office/drawing/2014/main" id="{E112D854-0BE9-7B21-5ED0-14DCBA778723}"/>
                  </a:ext>
                </a:extLst>
              </p:cNvPr>
              <p:cNvGrpSpPr/>
              <p:nvPr/>
            </p:nvGrpSpPr>
            <p:grpSpPr>
              <a:xfrm>
                <a:off x="6784874" y="1831303"/>
                <a:ext cx="34439" cy="148757"/>
                <a:chOff x="6784874" y="1831303"/>
                <a:chExt cx="34439" cy="148757"/>
              </a:xfrm>
              <a:grpFill/>
            </p:grpSpPr>
            <p:sp>
              <p:nvSpPr>
                <p:cNvPr id="6474" name="Freeform 7672">
                  <a:extLst>
                    <a:ext uri="{FF2B5EF4-FFF2-40B4-BE49-F238E27FC236}">
                      <a16:creationId xmlns:a16="http://schemas.microsoft.com/office/drawing/2014/main" id="{933467F6-F376-118E-44A4-BF9EAE53D415}"/>
                    </a:ext>
                  </a:extLst>
                </p:cNvPr>
                <p:cNvSpPr/>
                <p:nvPr/>
              </p:nvSpPr>
              <p:spPr>
                <a:xfrm>
                  <a:off x="6805123" y="1907426"/>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6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206"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5" name="Freeform 7673">
                  <a:extLst>
                    <a:ext uri="{FF2B5EF4-FFF2-40B4-BE49-F238E27FC236}">
                      <a16:creationId xmlns:a16="http://schemas.microsoft.com/office/drawing/2014/main" id="{64C2818B-4072-D4A0-B6D6-F0C876D15339}"/>
                    </a:ext>
                  </a:extLst>
                </p:cNvPr>
                <p:cNvSpPr/>
                <p:nvPr/>
              </p:nvSpPr>
              <p:spPr>
                <a:xfrm>
                  <a:off x="6798357" y="1912906"/>
                  <a:ext cx="3985" cy="52065"/>
                </a:xfrm>
                <a:custGeom>
                  <a:avLst/>
                  <a:gdLst>
                    <a:gd name="connsiteX0" fmla="*/ 0 w 3985"/>
                    <a:gd name="connsiteY0" fmla="*/ 0 h 52065"/>
                    <a:gd name="connsiteX1" fmla="*/ 3114 w 3985"/>
                    <a:gd name="connsiteY1" fmla="*/ 18559 h 52065"/>
                    <a:gd name="connsiteX2" fmla="*/ 747 w 3985"/>
                    <a:gd name="connsiteY2" fmla="*/ 35873 h 52065"/>
                    <a:gd name="connsiteX3" fmla="*/ 3986 w 398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5" h="52065">
                      <a:moveTo>
                        <a:pt x="0" y="0"/>
                      </a:moveTo>
                      <a:cubicBezTo>
                        <a:pt x="2989" y="7847"/>
                        <a:pt x="3363" y="14200"/>
                        <a:pt x="3114" y="18559"/>
                      </a:cubicBezTo>
                      <a:cubicBezTo>
                        <a:pt x="2741" y="25534"/>
                        <a:pt x="872" y="28773"/>
                        <a:pt x="747" y="35873"/>
                      </a:cubicBezTo>
                      <a:cubicBezTo>
                        <a:pt x="747" y="42723"/>
                        <a:pt x="2491" y="48453"/>
                        <a:pt x="398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6" name="Freeform 7674">
                  <a:extLst>
                    <a:ext uri="{FF2B5EF4-FFF2-40B4-BE49-F238E27FC236}">
                      <a16:creationId xmlns:a16="http://schemas.microsoft.com/office/drawing/2014/main" id="{9EF939A9-59F1-1277-BA97-810E228DC492}"/>
                    </a:ext>
                  </a:extLst>
                </p:cNvPr>
                <p:cNvSpPr/>
                <p:nvPr/>
              </p:nvSpPr>
              <p:spPr>
                <a:xfrm>
                  <a:off x="6792597" y="1953481"/>
                  <a:ext cx="26716" cy="26579"/>
                </a:xfrm>
                <a:custGeom>
                  <a:avLst/>
                  <a:gdLst>
                    <a:gd name="connsiteX0" fmla="*/ 31 w 26716"/>
                    <a:gd name="connsiteY0" fmla="*/ 14106 h 26579"/>
                    <a:gd name="connsiteX1" fmla="*/ 12487 w 26716"/>
                    <a:gd name="connsiteY1" fmla="*/ 31 h 26579"/>
                    <a:gd name="connsiteX2" fmla="*/ 26686 w 26716"/>
                    <a:gd name="connsiteY2" fmla="*/ 12487 h 26579"/>
                    <a:gd name="connsiteX3" fmla="*/ 14230 w 26716"/>
                    <a:gd name="connsiteY3" fmla="*/ 26562 h 26579"/>
                    <a:gd name="connsiteX4" fmla="*/ 31 w 26716"/>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79">
                      <a:moveTo>
                        <a:pt x="31" y="14106"/>
                      </a:moveTo>
                      <a:cubicBezTo>
                        <a:pt x="-468" y="6757"/>
                        <a:pt x="5137" y="529"/>
                        <a:pt x="12487" y="31"/>
                      </a:cubicBezTo>
                      <a:cubicBezTo>
                        <a:pt x="19835" y="-467"/>
                        <a:pt x="26188" y="5138"/>
                        <a:pt x="26686" y="12487"/>
                      </a:cubicBezTo>
                      <a:cubicBezTo>
                        <a:pt x="27184" y="19835"/>
                        <a:pt x="21579" y="26063"/>
                        <a:pt x="14230" y="26562"/>
                      </a:cubicBezTo>
                      <a:cubicBezTo>
                        <a:pt x="6881"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7" name="Freeform 7675">
                  <a:extLst>
                    <a:ext uri="{FF2B5EF4-FFF2-40B4-BE49-F238E27FC236}">
                      <a16:creationId xmlns:a16="http://schemas.microsoft.com/office/drawing/2014/main" id="{23C15CB5-2933-5D52-775B-4D58B71666F4}"/>
                    </a:ext>
                  </a:extLst>
                </p:cNvPr>
                <p:cNvSpPr/>
                <p:nvPr/>
              </p:nvSpPr>
              <p:spPr>
                <a:xfrm>
                  <a:off x="6793591" y="1851873"/>
                  <a:ext cx="5474" cy="52065"/>
                </a:xfrm>
                <a:custGeom>
                  <a:avLst/>
                  <a:gdLst>
                    <a:gd name="connsiteX0" fmla="*/ 1404 w 5474"/>
                    <a:gd name="connsiteY0" fmla="*/ 0 h 52065"/>
                    <a:gd name="connsiteX1" fmla="*/ 656 w 5474"/>
                    <a:gd name="connsiteY1" fmla="*/ 18808 h 52065"/>
                    <a:gd name="connsiteX2" fmla="*/ 5141 w 5474"/>
                    <a:gd name="connsiteY2" fmla="*/ 35624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0"/>
                      </a:moveTo>
                      <a:cubicBezTo>
                        <a:pt x="-589" y="8221"/>
                        <a:pt x="-91" y="14449"/>
                        <a:pt x="656" y="18808"/>
                      </a:cubicBezTo>
                      <a:cubicBezTo>
                        <a:pt x="1902" y="25659"/>
                        <a:pt x="4144" y="28648"/>
                        <a:pt x="5141" y="35624"/>
                      </a:cubicBezTo>
                      <a:cubicBezTo>
                        <a:pt x="6013"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8" name="Freeform 7676">
                  <a:extLst>
                    <a:ext uri="{FF2B5EF4-FFF2-40B4-BE49-F238E27FC236}">
                      <a16:creationId xmlns:a16="http://schemas.microsoft.com/office/drawing/2014/main" id="{A7612E01-3C4E-8AC8-94E8-8860544B2498}"/>
                    </a:ext>
                  </a:extLst>
                </p:cNvPr>
                <p:cNvSpPr/>
                <p:nvPr/>
              </p:nvSpPr>
              <p:spPr>
                <a:xfrm>
                  <a:off x="6801721" y="1846392"/>
                  <a:ext cx="3985" cy="52065"/>
                </a:xfrm>
                <a:custGeom>
                  <a:avLst/>
                  <a:gdLst>
                    <a:gd name="connsiteX0" fmla="*/ 3986 w 3985"/>
                    <a:gd name="connsiteY0" fmla="*/ 52065 h 52065"/>
                    <a:gd name="connsiteX1" fmla="*/ 872 w 3985"/>
                    <a:gd name="connsiteY1" fmla="*/ 33506 h 52065"/>
                    <a:gd name="connsiteX2" fmla="*/ 3239 w 3985"/>
                    <a:gd name="connsiteY2" fmla="*/ 16193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6" y="52065"/>
                      </a:moveTo>
                      <a:cubicBezTo>
                        <a:pt x="997" y="44218"/>
                        <a:pt x="623" y="37866"/>
                        <a:pt x="872" y="33506"/>
                      </a:cubicBezTo>
                      <a:cubicBezTo>
                        <a:pt x="1245" y="26531"/>
                        <a:pt x="3114"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9" name="Freeform 7677">
                  <a:extLst>
                    <a:ext uri="{FF2B5EF4-FFF2-40B4-BE49-F238E27FC236}">
                      <a16:creationId xmlns:a16="http://schemas.microsoft.com/office/drawing/2014/main" id="{F50665CE-85E6-2024-9C4B-F814A5488B06}"/>
                    </a:ext>
                  </a:extLst>
                </p:cNvPr>
                <p:cNvSpPr/>
                <p:nvPr/>
              </p:nvSpPr>
              <p:spPr>
                <a:xfrm>
                  <a:off x="6784874" y="1831303"/>
                  <a:ext cx="26468" cy="26579"/>
                </a:xfrm>
                <a:custGeom>
                  <a:avLst/>
                  <a:gdLst>
                    <a:gd name="connsiteX0" fmla="*/ 26438 w 26468"/>
                    <a:gd name="connsiteY0" fmla="*/ 12473 h 26579"/>
                    <a:gd name="connsiteX1" fmla="*/ 14106 w 26468"/>
                    <a:gd name="connsiteY1" fmla="*/ 26548 h 26579"/>
                    <a:gd name="connsiteX2" fmla="*/ 31 w 26468"/>
                    <a:gd name="connsiteY2" fmla="*/ 14093 h 26579"/>
                    <a:gd name="connsiteX3" fmla="*/ 12363 w 26468"/>
                    <a:gd name="connsiteY3" fmla="*/ 18 h 26579"/>
                    <a:gd name="connsiteX4" fmla="*/ 26438 w 26468"/>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579">
                      <a:moveTo>
                        <a:pt x="26438" y="12473"/>
                      </a:moveTo>
                      <a:cubicBezTo>
                        <a:pt x="26936" y="19822"/>
                        <a:pt x="21330" y="26050"/>
                        <a:pt x="14106" y="26548"/>
                      </a:cubicBezTo>
                      <a:cubicBezTo>
                        <a:pt x="6882" y="27047"/>
                        <a:pt x="529" y="21442"/>
                        <a:pt x="31" y="14093"/>
                      </a:cubicBezTo>
                      <a:cubicBezTo>
                        <a:pt x="-467" y="6744"/>
                        <a:pt x="5138" y="516"/>
                        <a:pt x="12363" y="18"/>
                      </a:cubicBezTo>
                      <a:cubicBezTo>
                        <a:pt x="19711" y="-356"/>
                        <a:pt x="25939" y="5249"/>
                        <a:pt x="26438"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4" name="Graphic 2987">
                <a:extLst>
                  <a:ext uri="{FF2B5EF4-FFF2-40B4-BE49-F238E27FC236}">
                    <a16:creationId xmlns:a16="http://schemas.microsoft.com/office/drawing/2014/main" id="{C79051FB-CD2D-6819-2E33-313B8021D1A1}"/>
                  </a:ext>
                </a:extLst>
              </p:cNvPr>
              <p:cNvGrpSpPr/>
              <p:nvPr/>
            </p:nvGrpSpPr>
            <p:grpSpPr>
              <a:xfrm>
                <a:off x="6755603" y="1833047"/>
                <a:ext cx="33816" cy="148757"/>
                <a:chOff x="6755603" y="1833047"/>
                <a:chExt cx="33816" cy="148757"/>
              </a:xfrm>
              <a:grpFill/>
            </p:grpSpPr>
            <p:sp>
              <p:nvSpPr>
                <p:cNvPr id="6468" name="Freeform 7679">
                  <a:extLst>
                    <a:ext uri="{FF2B5EF4-FFF2-40B4-BE49-F238E27FC236}">
                      <a16:creationId xmlns:a16="http://schemas.microsoft.com/office/drawing/2014/main" id="{1ED0863E-26DB-CA01-15BE-446BC7760786}"/>
                    </a:ext>
                  </a:extLst>
                </p:cNvPr>
                <p:cNvSpPr/>
                <p:nvPr/>
              </p:nvSpPr>
              <p:spPr>
                <a:xfrm>
                  <a:off x="6775478" y="1909170"/>
                  <a:ext cx="5418" cy="52065"/>
                </a:xfrm>
                <a:custGeom>
                  <a:avLst/>
                  <a:gdLst>
                    <a:gd name="connsiteX0" fmla="*/ 3947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7"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9" name="Freeform 7680">
                  <a:extLst>
                    <a:ext uri="{FF2B5EF4-FFF2-40B4-BE49-F238E27FC236}">
                      <a16:creationId xmlns:a16="http://schemas.microsoft.com/office/drawing/2014/main" id="{ADF11708-B94C-BC1F-268B-A248C86E9F67}"/>
                    </a:ext>
                  </a:extLst>
                </p:cNvPr>
                <p:cNvSpPr/>
                <p:nvPr/>
              </p:nvSpPr>
              <p:spPr>
                <a:xfrm>
                  <a:off x="6768837" y="1914650"/>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0" name="Freeform 7681">
                  <a:extLst>
                    <a:ext uri="{FF2B5EF4-FFF2-40B4-BE49-F238E27FC236}">
                      <a16:creationId xmlns:a16="http://schemas.microsoft.com/office/drawing/2014/main" id="{4141651F-4E00-F75B-E558-B7AD8D986F6C}"/>
                    </a:ext>
                  </a:extLst>
                </p:cNvPr>
                <p:cNvSpPr/>
                <p:nvPr/>
              </p:nvSpPr>
              <p:spPr>
                <a:xfrm>
                  <a:off x="6762828" y="1955225"/>
                  <a:ext cx="26592" cy="26579"/>
                </a:xfrm>
                <a:custGeom>
                  <a:avLst/>
                  <a:gdLst>
                    <a:gd name="connsiteX0" fmla="*/ 31 w 26592"/>
                    <a:gd name="connsiteY0" fmla="*/ 14106 h 26579"/>
                    <a:gd name="connsiteX1" fmla="*/ 12487 w 26592"/>
                    <a:gd name="connsiteY1" fmla="*/ 31 h 26579"/>
                    <a:gd name="connsiteX2" fmla="*/ 26562 w 26592"/>
                    <a:gd name="connsiteY2" fmla="*/ 12487 h 26579"/>
                    <a:gd name="connsiteX3" fmla="*/ 14106 w 26592"/>
                    <a:gd name="connsiteY3" fmla="*/ 26562 h 26579"/>
                    <a:gd name="connsiteX4" fmla="*/ 31 w 2659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31" y="14106"/>
                      </a:moveTo>
                      <a:cubicBezTo>
                        <a:pt x="-468" y="6757"/>
                        <a:pt x="5137" y="529"/>
                        <a:pt x="12487" y="31"/>
                      </a:cubicBezTo>
                      <a:cubicBezTo>
                        <a:pt x="19835" y="-467"/>
                        <a:pt x="26188" y="5138"/>
                        <a:pt x="26562" y="12487"/>
                      </a:cubicBezTo>
                      <a:cubicBezTo>
                        <a:pt x="27060" y="19835"/>
                        <a:pt x="21454" y="26063"/>
                        <a:pt x="14106" y="26562"/>
                      </a:cubicBezTo>
                      <a:cubicBezTo>
                        <a:pt x="6757"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1" name="Freeform 7682">
                  <a:extLst>
                    <a:ext uri="{FF2B5EF4-FFF2-40B4-BE49-F238E27FC236}">
                      <a16:creationId xmlns:a16="http://schemas.microsoft.com/office/drawing/2014/main" id="{CEEC9479-1856-9928-F301-A6A0A1E2E157}"/>
                    </a:ext>
                  </a:extLst>
                </p:cNvPr>
                <p:cNvSpPr/>
                <p:nvPr/>
              </p:nvSpPr>
              <p:spPr>
                <a:xfrm>
                  <a:off x="6764002" y="1853617"/>
                  <a:ext cx="5418" cy="52065"/>
                </a:xfrm>
                <a:custGeom>
                  <a:avLst/>
                  <a:gdLst>
                    <a:gd name="connsiteX0" fmla="*/ 1472 w 5418"/>
                    <a:gd name="connsiteY0" fmla="*/ 0 h 52065"/>
                    <a:gd name="connsiteX1" fmla="*/ 601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1" y="8221"/>
                        <a:pt x="-147" y="14449"/>
                        <a:pt x="601"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2" name="Freeform 7683">
                  <a:extLst>
                    <a:ext uri="{FF2B5EF4-FFF2-40B4-BE49-F238E27FC236}">
                      <a16:creationId xmlns:a16="http://schemas.microsoft.com/office/drawing/2014/main" id="{FD7AE2E2-BE9C-FF6F-3630-E56C46243974}"/>
                    </a:ext>
                  </a:extLst>
                </p:cNvPr>
                <p:cNvSpPr/>
                <p:nvPr/>
              </p:nvSpPr>
              <p:spPr>
                <a:xfrm>
                  <a:off x="6772201" y="1848136"/>
                  <a:ext cx="3861" cy="52065"/>
                </a:xfrm>
                <a:custGeom>
                  <a:avLst/>
                  <a:gdLst>
                    <a:gd name="connsiteX0" fmla="*/ 3861 w 3861"/>
                    <a:gd name="connsiteY0" fmla="*/ 52065 h 52065"/>
                    <a:gd name="connsiteX1" fmla="*/ 747 w 3861"/>
                    <a:gd name="connsiteY1" fmla="*/ 33506 h 52065"/>
                    <a:gd name="connsiteX2" fmla="*/ 3114 w 3861"/>
                    <a:gd name="connsiteY2" fmla="*/ 16193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6"/>
                        <a:pt x="747" y="33506"/>
                      </a:cubicBezTo>
                      <a:cubicBezTo>
                        <a:pt x="1121" y="26531"/>
                        <a:pt x="2989" y="23292"/>
                        <a:pt x="3114" y="16193"/>
                      </a:cubicBezTo>
                      <a:cubicBezTo>
                        <a:pt x="323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3" name="Freeform 7684">
                  <a:extLst>
                    <a:ext uri="{FF2B5EF4-FFF2-40B4-BE49-F238E27FC236}">
                      <a16:creationId xmlns:a16="http://schemas.microsoft.com/office/drawing/2014/main" id="{B4045E8E-EAAB-F335-7CDF-7FD05B2500DD}"/>
                    </a:ext>
                  </a:extLst>
                </p:cNvPr>
                <p:cNvSpPr/>
                <p:nvPr/>
              </p:nvSpPr>
              <p:spPr>
                <a:xfrm>
                  <a:off x="6755603" y="1833047"/>
                  <a:ext cx="26343" cy="26579"/>
                </a:xfrm>
                <a:custGeom>
                  <a:avLst/>
                  <a:gdLst>
                    <a:gd name="connsiteX0" fmla="*/ 26312 w 26343"/>
                    <a:gd name="connsiteY0" fmla="*/ 12473 h 26579"/>
                    <a:gd name="connsiteX1" fmla="*/ 13981 w 26343"/>
                    <a:gd name="connsiteY1" fmla="*/ 26548 h 26579"/>
                    <a:gd name="connsiteX2" fmla="*/ 31 w 26343"/>
                    <a:gd name="connsiteY2" fmla="*/ 14093 h 26579"/>
                    <a:gd name="connsiteX3" fmla="*/ 12362 w 26343"/>
                    <a:gd name="connsiteY3" fmla="*/ 18 h 26579"/>
                    <a:gd name="connsiteX4" fmla="*/ 26312 w 26343"/>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79">
                      <a:moveTo>
                        <a:pt x="26312" y="12473"/>
                      </a:moveTo>
                      <a:cubicBezTo>
                        <a:pt x="26811" y="19822"/>
                        <a:pt x="21206" y="26050"/>
                        <a:pt x="13981" y="26548"/>
                      </a:cubicBezTo>
                      <a:cubicBezTo>
                        <a:pt x="6633" y="27047"/>
                        <a:pt x="405" y="21442"/>
                        <a:pt x="31" y="14093"/>
                      </a:cubicBezTo>
                      <a:cubicBezTo>
                        <a:pt x="-467" y="6744"/>
                        <a:pt x="5138" y="516"/>
                        <a:pt x="12362" y="18"/>
                      </a:cubicBezTo>
                      <a:cubicBezTo>
                        <a:pt x="19586" y="-356"/>
                        <a:pt x="25814" y="5249"/>
                        <a:pt x="2631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5" name="Graphic 2987">
                <a:extLst>
                  <a:ext uri="{FF2B5EF4-FFF2-40B4-BE49-F238E27FC236}">
                    <a16:creationId xmlns:a16="http://schemas.microsoft.com/office/drawing/2014/main" id="{EAB0778F-1E15-F6D6-F9E4-1F7B266450DA}"/>
                  </a:ext>
                </a:extLst>
              </p:cNvPr>
              <p:cNvGrpSpPr/>
              <p:nvPr/>
            </p:nvGrpSpPr>
            <p:grpSpPr>
              <a:xfrm>
                <a:off x="6725971" y="1834902"/>
                <a:ext cx="33803" cy="148658"/>
                <a:chOff x="6725971" y="1834902"/>
                <a:chExt cx="33803" cy="148658"/>
              </a:xfrm>
              <a:grpFill/>
            </p:grpSpPr>
            <p:sp>
              <p:nvSpPr>
                <p:cNvPr id="6462" name="Freeform 7686">
                  <a:extLst>
                    <a:ext uri="{FF2B5EF4-FFF2-40B4-BE49-F238E27FC236}">
                      <a16:creationId xmlns:a16="http://schemas.microsoft.com/office/drawing/2014/main" id="{8CA59B66-ABA0-7482-D2E5-0ACE8DFDDCF3}"/>
                    </a:ext>
                  </a:extLst>
                </p:cNvPr>
                <p:cNvSpPr/>
                <p:nvPr/>
              </p:nvSpPr>
              <p:spPr>
                <a:xfrm>
                  <a:off x="6745711" y="1910913"/>
                  <a:ext cx="5416" cy="52065"/>
                </a:xfrm>
                <a:custGeom>
                  <a:avLst/>
                  <a:gdLst>
                    <a:gd name="connsiteX0" fmla="*/ 3944 w 5416"/>
                    <a:gd name="connsiteY0" fmla="*/ 52065 h 52065"/>
                    <a:gd name="connsiteX1" fmla="*/ 4816 w 5416"/>
                    <a:gd name="connsiteY1" fmla="*/ 33257 h 52065"/>
                    <a:gd name="connsiteX2" fmla="*/ 332 w 5416"/>
                    <a:gd name="connsiteY2" fmla="*/ 16442 h 52065"/>
                    <a:gd name="connsiteX3" fmla="*/ 1578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3944" y="52065"/>
                      </a:moveTo>
                      <a:cubicBezTo>
                        <a:pt x="5937" y="43844"/>
                        <a:pt x="5564" y="37616"/>
                        <a:pt x="4816" y="33257"/>
                      </a:cubicBezTo>
                      <a:cubicBezTo>
                        <a:pt x="3570" y="26406"/>
                        <a:pt x="1328" y="23417"/>
                        <a:pt x="332" y="16442"/>
                      </a:cubicBezTo>
                      <a:cubicBezTo>
                        <a:pt x="-540" y="9591"/>
                        <a:pt x="456" y="3737"/>
                        <a:pt x="15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3" name="Freeform 7687">
                  <a:extLst>
                    <a:ext uri="{FF2B5EF4-FFF2-40B4-BE49-F238E27FC236}">
                      <a16:creationId xmlns:a16="http://schemas.microsoft.com/office/drawing/2014/main" id="{649474BC-7791-98BA-07EA-894030DD18BD}"/>
                    </a:ext>
                  </a:extLst>
                </p:cNvPr>
                <p:cNvSpPr/>
                <p:nvPr/>
              </p:nvSpPr>
              <p:spPr>
                <a:xfrm>
                  <a:off x="6739192" y="1916518"/>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4" name="Freeform 7688">
                  <a:extLst>
                    <a:ext uri="{FF2B5EF4-FFF2-40B4-BE49-F238E27FC236}">
                      <a16:creationId xmlns:a16="http://schemas.microsoft.com/office/drawing/2014/main" id="{BFD23501-CBA2-25C8-1532-0B5357510BCA}"/>
                    </a:ext>
                  </a:extLst>
                </p:cNvPr>
                <p:cNvSpPr/>
                <p:nvPr/>
              </p:nvSpPr>
              <p:spPr>
                <a:xfrm>
                  <a:off x="6733072" y="1956969"/>
                  <a:ext cx="26703" cy="26592"/>
                </a:xfrm>
                <a:custGeom>
                  <a:avLst/>
                  <a:gdLst>
                    <a:gd name="connsiteX0" fmla="*/ 18 w 26703"/>
                    <a:gd name="connsiteY0" fmla="*/ 14106 h 26592"/>
                    <a:gd name="connsiteX1" fmla="*/ 12598 w 26703"/>
                    <a:gd name="connsiteY1" fmla="*/ 31 h 26592"/>
                    <a:gd name="connsiteX2" fmla="*/ 26673 w 26703"/>
                    <a:gd name="connsiteY2" fmla="*/ 12487 h 26592"/>
                    <a:gd name="connsiteX3" fmla="*/ 14093 w 26703"/>
                    <a:gd name="connsiteY3" fmla="*/ 26562 h 26592"/>
                    <a:gd name="connsiteX4" fmla="*/ 18 w 2670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92">
                      <a:moveTo>
                        <a:pt x="18" y="14106"/>
                      </a:moveTo>
                      <a:cubicBezTo>
                        <a:pt x="-356" y="6757"/>
                        <a:pt x="5249" y="529"/>
                        <a:pt x="12598" y="31"/>
                      </a:cubicBezTo>
                      <a:cubicBezTo>
                        <a:pt x="19947" y="-467"/>
                        <a:pt x="26299" y="5138"/>
                        <a:pt x="26673" y="12487"/>
                      </a:cubicBezTo>
                      <a:cubicBezTo>
                        <a:pt x="27171" y="19835"/>
                        <a:pt x="21442" y="26063"/>
                        <a:pt x="14093" y="26562"/>
                      </a:cubicBezTo>
                      <a:cubicBezTo>
                        <a:pt x="6743" y="27060"/>
                        <a:pt x="51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5" name="Freeform 7689">
                  <a:extLst>
                    <a:ext uri="{FF2B5EF4-FFF2-40B4-BE49-F238E27FC236}">
                      <a16:creationId xmlns:a16="http://schemas.microsoft.com/office/drawing/2014/main" id="{8D75F946-1A7B-BDB1-AC24-03E6363E967B}"/>
                    </a:ext>
                  </a:extLst>
                </p:cNvPr>
                <p:cNvSpPr/>
                <p:nvPr/>
              </p:nvSpPr>
              <p:spPr>
                <a:xfrm>
                  <a:off x="6734606" y="1855361"/>
                  <a:ext cx="5292" cy="52065"/>
                </a:xfrm>
                <a:custGeom>
                  <a:avLst/>
                  <a:gdLst>
                    <a:gd name="connsiteX0" fmla="*/ 1472 w 5292"/>
                    <a:gd name="connsiteY0" fmla="*/ 0 h 52065"/>
                    <a:gd name="connsiteX1" fmla="*/ 600 w 5292"/>
                    <a:gd name="connsiteY1" fmla="*/ 18808 h 52065"/>
                    <a:gd name="connsiteX2" fmla="*/ 4960 w 5292"/>
                    <a:gd name="connsiteY2" fmla="*/ 35624 h 52065"/>
                    <a:gd name="connsiteX3" fmla="*/ 3714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1472" y="0"/>
                      </a:moveTo>
                      <a:cubicBezTo>
                        <a:pt x="-520" y="8221"/>
                        <a:pt x="-147" y="14449"/>
                        <a:pt x="600" y="18808"/>
                      </a:cubicBezTo>
                      <a:cubicBezTo>
                        <a:pt x="1722" y="25659"/>
                        <a:pt x="4088" y="28648"/>
                        <a:pt x="4960" y="35624"/>
                      </a:cubicBezTo>
                      <a:cubicBezTo>
                        <a:pt x="5832" y="42474"/>
                        <a:pt x="4835"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6" name="Freeform 7690">
                  <a:extLst>
                    <a:ext uri="{FF2B5EF4-FFF2-40B4-BE49-F238E27FC236}">
                      <a16:creationId xmlns:a16="http://schemas.microsoft.com/office/drawing/2014/main" id="{07477E41-3EEC-D6F8-55C1-7DB6A9001A01}"/>
                    </a:ext>
                  </a:extLst>
                </p:cNvPr>
                <p:cNvSpPr/>
                <p:nvPr/>
              </p:nvSpPr>
              <p:spPr>
                <a:xfrm>
                  <a:off x="6742680" y="1849880"/>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5"/>
                        <a:pt x="747" y="33506"/>
                      </a:cubicBezTo>
                      <a:cubicBezTo>
                        <a:pt x="1121" y="26531"/>
                        <a:pt x="3114"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7" name="Freeform 7691">
                  <a:extLst>
                    <a:ext uri="{FF2B5EF4-FFF2-40B4-BE49-F238E27FC236}">
                      <a16:creationId xmlns:a16="http://schemas.microsoft.com/office/drawing/2014/main" id="{3E03EAA6-9717-1FA0-7164-414AF0540FED}"/>
                    </a:ext>
                  </a:extLst>
                </p:cNvPr>
                <p:cNvSpPr/>
                <p:nvPr/>
              </p:nvSpPr>
              <p:spPr>
                <a:xfrm>
                  <a:off x="6725971" y="1834902"/>
                  <a:ext cx="26455" cy="26592"/>
                </a:xfrm>
                <a:custGeom>
                  <a:avLst/>
                  <a:gdLst>
                    <a:gd name="connsiteX0" fmla="*/ 26424 w 26455"/>
                    <a:gd name="connsiteY0" fmla="*/ 12487 h 26592"/>
                    <a:gd name="connsiteX1" fmla="*/ 13968 w 26455"/>
                    <a:gd name="connsiteY1" fmla="*/ 26562 h 26592"/>
                    <a:gd name="connsiteX2" fmla="*/ 18 w 26455"/>
                    <a:gd name="connsiteY2" fmla="*/ 14106 h 26592"/>
                    <a:gd name="connsiteX3" fmla="*/ 12474 w 26455"/>
                    <a:gd name="connsiteY3" fmla="*/ 31 h 26592"/>
                    <a:gd name="connsiteX4" fmla="*/ 26424 w 26455"/>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92">
                      <a:moveTo>
                        <a:pt x="26424" y="12487"/>
                      </a:moveTo>
                      <a:cubicBezTo>
                        <a:pt x="26923" y="19835"/>
                        <a:pt x="21318" y="26063"/>
                        <a:pt x="13968" y="26562"/>
                      </a:cubicBezTo>
                      <a:cubicBezTo>
                        <a:pt x="6620" y="27060"/>
                        <a:pt x="392" y="21455"/>
                        <a:pt x="18" y="14106"/>
                      </a:cubicBezTo>
                      <a:cubicBezTo>
                        <a:pt x="-355" y="6757"/>
                        <a:pt x="5125" y="529"/>
                        <a:pt x="12474" y="31"/>
                      </a:cubicBezTo>
                      <a:cubicBezTo>
                        <a:pt x="19823" y="-467"/>
                        <a:pt x="26051"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6" name="Graphic 2987">
                <a:extLst>
                  <a:ext uri="{FF2B5EF4-FFF2-40B4-BE49-F238E27FC236}">
                    <a16:creationId xmlns:a16="http://schemas.microsoft.com/office/drawing/2014/main" id="{35F0B922-9D15-7EA0-D7A0-251DBD13223C}"/>
                  </a:ext>
                </a:extLst>
              </p:cNvPr>
              <p:cNvGrpSpPr/>
              <p:nvPr/>
            </p:nvGrpSpPr>
            <p:grpSpPr>
              <a:xfrm>
                <a:off x="6696576" y="1836646"/>
                <a:ext cx="33429" cy="148770"/>
                <a:chOff x="6696576" y="1836646"/>
                <a:chExt cx="33429" cy="148770"/>
              </a:xfrm>
              <a:grpFill/>
            </p:grpSpPr>
            <p:sp>
              <p:nvSpPr>
                <p:cNvPr id="6456" name="Freeform 7693">
                  <a:extLst>
                    <a:ext uri="{FF2B5EF4-FFF2-40B4-BE49-F238E27FC236}">
                      <a16:creationId xmlns:a16="http://schemas.microsoft.com/office/drawing/2014/main" id="{61ED0708-594B-578B-CEDB-CF50BCD7F39B}"/>
                    </a:ext>
                  </a:extLst>
                </p:cNvPr>
                <p:cNvSpPr/>
                <p:nvPr/>
              </p:nvSpPr>
              <p:spPr>
                <a:xfrm>
                  <a:off x="6716085" y="1912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7" name="Freeform 7694">
                  <a:extLst>
                    <a:ext uri="{FF2B5EF4-FFF2-40B4-BE49-F238E27FC236}">
                      <a16:creationId xmlns:a16="http://schemas.microsoft.com/office/drawing/2014/main" id="{15CCE9B4-3211-807B-5242-4E6C25F87626}"/>
                    </a:ext>
                  </a:extLst>
                </p:cNvPr>
                <p:cNvSpPr/>
                <p:nvPr/>
              </p:nvSpPr>
              <p:spPr>
                <a:xfrm>
                  <a:off x="6709548" y="1918262"/>
                  <a:ext cx="3612" cy="52065"/>
                </a:xfrm>
                <a:custGeom>
                  <a:avLst/>
                  <a:gdLst>
                    <a:gd name="connsiteX0" fmla="*/ 0 w 3612"/>
                    <a:gd name="connsiteY0" fmla="*/ 0 h 52065"/>
                    <a:gd name="connsiteX1" fmla="*/ 2989 w 3612"/>
                    <a:gd name="connsiteY1" fmla="*/ 18559 h 52065"/>
                    <a:gd name="connsiteX2" fmla="*/ 499 w 3612"/>
                    <a:gd name="connsiteY2" fmla="*/ 35873 h 52065"/>
                    <a:gd name="connsiteX3" fmla="*/ 3613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0" y="0"/>
                      </a:moveTo>
                      <a:cubicBezTo>
                        <a:pt x="2989" y="7847"/>
                        <a:pt x="3239" y="14200"/>
                        <a:pt x="2989" y="18559"/>
                      </a:cubicBezTo>
                      <a:cubicBezTo>
                        <a:pt x="2616" y="25534"/>
                        <a:pt x="623" y="28773"/>
                        <a:pt x="499" y="35873"/>
                      </a:cubicBezTo>
                      <a:cubicBezTo>
                        <a:pt x="374" y="42723"/>
                        <a:pt x="2118" y="48453"/>
                        <a:pt x="361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8" name="Freeform 7695">
                  <a:extLst>
                    <a:ext uri="{FF2B5EF4-FFF2-40B4-BE49-F238E27FC236}">
                      <a16:creationId xmlns:a16="http://schemas.microsoft.com/office/drawing/2014/main" id="{33404897-2D20-743E-B1D9-63465902C030}"/>
                    </a:ext>
                  </a:extLst>
                </p:cNvPr>
                <p:cNvSpPr/>
                <p:nvPr/>
              </p:nvSpPr>
              <p:spPr>
                <a:xfrm>
                  <a:off x="6703302" y="1958837"/>
                  <a:ext cx="26703" cy="26579"/>
                </a:xfrm>
                <a:custGeom>
                  <a:avLst/>
                  <a:gdLst>
                    <a:gd name="connsiteX0" fmla="*/ 18 w 26703"/>
                    <a:gd name="connsiteY0" fmla="*/ 14106 h 26579"/>
                    <a:gd name="connsiteX1" fmla="*/ 12598 w 26703"/>
                    <a:gd name="connsiteY1" fmla="*/ 31 h 26579"/>
                    <a:gd name="connsiteX2" fmla="*/ 26673 w 26703"/>
                    <a:gd name="connsiteY2" fmla="*/ 12487 h 26579"/>
                    <a:gd name="connsiteX3" fmla="*/ 14093 w 26703"/>
                    <a:gd name="connsiteY3" fmla="*/ 26562 h 26579"/>
                    <a:gd name="connsiteX4" fmla="*/ 18 w 26703"/>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79">
                      <a:moveTo>
                        <a:pt x="18" y="14106"/>
                      </a:moveTo>
                      <a:cubicBezTo>
                        <a:pt x="-356" y="6757"/>
                        <a:pt x="5250" y="529"/>
                        <a:pt x="12598" y="31"/>
                      </a:cubicBezTo>
                      <a:cubicBezTo>
                        <a:pt x="19947" y="-467"/>
                        <a:pt x="26175" y="5138"/>
                        <a:pt x="26673" y="12487"/>
                      </a:cubicBezTo>
                      <a:cubicBezTo>
                        <a:pt x="27171" y="19835"/>
                        <a:pt x="21442" y="26063"/>
                        <a:pt x="14093" y="26562"/>
                      </a:cubicBezTo>
                      <a:cubicBezTo>
                        <a:pt x="6744" y="26935"/>
                        <a:pt x="516" y="21330"/>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9" name="Freeform 7696">
                  <a:extLst>
                    <a:ext uri="{FF2B5EF4-FFF2-40B4-BE49-F238E27FC236}">
                      <a16:creationId xmlns:a16="http://schemas.microsoft.com/office/drawing/2014/main" id="{7B159630-AB6E-2168-D319-39E8674AA76A}"/>
                    </a:ext>
                  </a:extLst>
                </p:cNvPr>
                <p:cNvSpPr/>
                <p:nvPr/>
              </p:nvSpPr>
              <p:spPr>
                <a:xfrm>
                  <a:off x="6705086" y="1857229"/>
                  <a:ext cx="5273" cy="52065"/>
                </a:xfrm>
                <a:custGeom>
                  <a:avLst/>
                  <a:gdLst>
                    <a:gd name="connsiteX0" fmla="*/ 1472 w 5273"/>
                    <a:gd name="connsiteY0" fmla="*/ 0 h 52065"/>
                    <a:gd name="connsiteX1" fmla="*/ 600 w 5273"/>
                    <a:gd name="connsiteY1" fmla="*/ 18808 h 52065"/>
                    <a:gd name="connsiteX2" fmla="*/ 4960 w 5273"/>
                    <a:gd name="connsiteY2" fmla="*/ 35623 h 52065"/>
                    <a:gd name="connsiteX3" fmla="*/ 3714 w 52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3" h="52065">
                      <a:moveTo>
                        <a:pt x="1472" y="0"/>
                      </a:moveTo>
                      <a:cubicBezTo>
                        <a:pt x="-520" y="8221"/>
                        <a:pt x="-147" y="14449"/>
                        <a:pt x="600" y="18808"/>
                      </a:cubicBezTo>
                      <a:cubicBezTo>
                        <a:pt x="1722" y="25659"/>
                        <a:pt x="4088" y="28648"/>
                        <a:pt x="4960" y="35623"/>
                      </a:cubicBezTo>
                      <a:cubicBezTo>
                        <a:pt x="5832"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0" name="Freeform 7697">
                  <a:extLst>
                    <a:ext uri="{FF2B5EF4-FFF2-40B4-BE49-F238E27FC236}">
                      <a16:creationId xmlns:a16="http://schemas.microsoft.com/office/drawing/2014/main" id="{76D24ED0-3A8A-0D2E-F2E8-0615F4E6642E}"/>
                    </a:ext>
                  </a:extLst>
                </p:cNvPr>
                <p:cNvSpPr/>
                <p:nvPr/>
              </p:nvSpPr>
              <p:spPr>
                <a:xfrm>
                  <a:off x="6713284" y="1851748"/>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623" y="44218"/>
                        <a:pt x="374" y="37866"/>
                        <a:pt x="623" y="33506"/>
                      </a:cubicBezTo>
                      <a:cubicBezTo>
                        <a:pt x="997"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1" name="Freeform 7698">
                  <a:extLst>
                    <a:ext uri="{FF2B5EF4-FFF2-40B4-BE49-F238E27FC236}">
                      <a16:creationId xmlns:a16="http://schemas.microsoft.com/office/drawing/2014/main" id="{5F471AAF-75E5-5E81-666D-53F1E713C232}"/>
                    </a:ext>
                  </a:extLst>
                </p:cNvPr>
                <p:cNvSpPr/>
                <p:nvPr/>
              </p:nvSpPr>
              <p:spPr>
                <a:xfrm>
                  <a:off x="6696576" y="1836646"/>
                  <a:ext cx="26442" cy="26592"/>
                </a:xfrm>
                <a:custGeom>
                  <a:avLst/>
                  <a:gdLst>
                    <a:gd name="connsiteX0" fmla="*/ 26424 w 26442"/>
                    <a:gd name="connsiteY0" fmla="*/ 12487 h 26592"/>
                    <a:gd name="connsiteX1" fmla="*/ 13968 w 26442"/>
                    <a:gd name="connsiteY1" fmla="*/ 26562 h 26592"/>
                    <a:gd name="connsiteX2" fmla="*/ 18 w 26442"/>
                    <a:gd name="connsiteY2" fmla="*/ 14106 h 26592"/>
                    <a:gd name="connsiteX3" fmla="*/ 12474 w 26442"/>
                    <a:gd name="connsiteY3" fmla="*/ 31 h 26592"/>
                    <a:gd name="connsiteX4" fmla="*/ 26424 w 26442"/>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92">
                      <a:moveTo>
                        <a:pt x="26424" y="12487"/>
                      </a:moveTo>
                      <a:cubicBezTo>
                        <a:pt x="26798" y="19835"/>
                        <a:pt x="21318" y="26063"/>
                        <a:pt x="13968" y="26562"/>
                      </a:cubicBezTo>
                      <a:cubicBezTo>
                        <a:pt x="6619" y="27060"/>
                        <a:pt x="391" y="21455"/>
                        <a:pt x="18" y="14106"/>
                      </a:cubicBezTo>
                      <a:cubicBezTo>
                        <a:pt x="-356" y="6757"/>
                        <a:pt x="5125" y="529"/>
                        <a:pt x="12474" y="31"/>
                      </a:cubicBezTo>
                      <a:cubicBezTo>
                        <a:pt x="19698" y="-467"/>
                        <a:pt x="25926"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7" name="Graphic 2987">
                <a:extLst>
                  <a:ext uri="{FF2B5EF4-FFF2-40B4-BE49-F238E27FC236}">
                    <a16:creationId xmlns:a16="http://schemas.microsoft.com/office/drawing/2014/main" id="{724B1B5D-8C0D-963D-C04B-AEC8AE457196}"/>
                  </a:ext>
                </a:extLst>
              </p:cNvPr>
              <p:cNvGrpSpPr/>
              <p:nvPr/>
            </p:nvGrpSpPr>
            <p:grpSpPr>
              <a:xfrm>
                <a:off x="6667056" y="1838403"/>
                <a:ext cx="33167" cy="148757"/>
                <a:chOff x="6667056" y="1838403"/>
                <a:chExt cx="33167" cy="148757"/>
              </a:xfrm>
              <a:grpFill/>
            </p:grpSpPr>
            <p:sp>
              <p:nvSpPr>
                <p:cNvPr id="6450" name="Freeform 7700">
                  <a:extLst>
                    <a:ext uri="{FF2B5EF4-FFF2-40B4-BE49-F238E27FC236}">
                      <a16:creationId xmlns:a16="http://schemas.microsoft.com/office/drawing/2014/main" id="{B8C88258-A8E6-5F6A-4EA7-F20729D9CD38}"/>
                    </a:ext>
                  </a:extLst>
                </p:cNvPr>
                <p:cNvSpPr/>
                <p:nvPr/>
              </p:nvSpPr>
              <p:spPr>
                <a:xfrm>
                  <a:off x="6686565" y="1914525"/>
                  <a:ext cx="5222" cy="52065"/>
                </a:xfrm>
                <a:custGeom>
                  <a:avLst/>
                  <a:gdLst>
                    <a:gd name="connsiteX0" fmla="*/ 3676 w 5222"/>
                    <a:gd name="connsiteY0" fmla="*/ 52065 h 52065"/>
                    <a:gd name="connsiteX1" fmla="*/ 4673 w 5222"/>
                    <a:gd name="connsiteY1" fmla="*/ 33257 h 52065"/>
                    <a:gd name="connsiteX2" fmla="*/ 313 w 5222"/>
                    <a:gd name="connsiteY2" fmla="*/ 16442 h 52065"/>
                    <a:gd name="connsiteX3" fmla="*/ 1559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52065"/>
                      </a:moveTo>
                      <a:cubicBezTo>
                        <a:pt x="5670"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1" name="Freeform 7701">
                  <a:extLst>
                    <a:ext uri="{FF2B5EF4-FFF2-40B4-BE49-F238E27FC236}">
                      <a16:creationId xmlns:a16="http://schemas.microsoft.com/office/drawing/2014/main" id="{4B484342-2262-DEE1-35FD-B401219B39D6}"/>
                    </a:ext>
                  </a:extLst>
                </p:cNvPr>
                <p:cNvSpPr/>
                <p:nvPr/>
              </p:nvSpPr>
              <p:spPr>
                <a:xfrm>
                  <a:off x="6679903" y="1920006"/>
                  <a:ext cx="3487" cy="52065"/>
                </a:xfrm>
                <a:custGeom>
                  <a:avLst/>
                  <a:gdLst>
                    <a:gd name="connsiteX0" fmla="*/ 0 w 3487"/>
                    <a:gd name="connsiteY0" fmla="*/ 0 h 52065"/>
                    <a:gd name="connsiteX1" fmla="*/ 2990 w 3487"/>
                    <a:gd name="connsiteY1" fmla="*/ 18559 h 52065"/>
                    <a:gd name="connsiteX2" fmla="*/ 499 w 3487"/>
                    <a:gd name="connsiteY2" fmla="*/ 35873 h 52065"/>
                    <a:gd name="connsiteX3" fmla="*/ 3488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0" y="0"/>
                      </a:moveTo>
                      <a:cubicBezTo>
                        <a:pt x="2865" y="7847"/>
                        <a:pt x="3239" y="14200"/>
                        <a:pt x="2990" y="18559"/>
                      </a:cubicBezTo>
                      <a:cubicBezTo>
                        <a:pt x="2616" y="25534"/>
                        <a:pt x="623" y="28773"/>
                        <a:pt x="499" y="35873"/>
                      </a:cubicBezTo>
                      <a:cubicBezTo>
                        <a:pt x="374" y="42723"/>
                        <a:pt x="2118" y="48453"/>
                        <a:pt x="34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2" name="Freeform 7702">
                  <a:extLst>
                    <a:ext uri="{FF2B5EF4-FFF2-40B4-BE49-F238E27FC236}">
                      <a16:creationId xmlns:a16="http://schemas.microsoft.com/office/drawing/2014/main" id="{B75CCFB4-9093-EFE3-1D58-B505FD209CCD}"/>
                    </a:ext>
                  </a:extLst>
                </p:cNvPr>
                <p:cNvSpPr/>
                <p:nvPr/>
              </p:nvSpPr>
              <p:spPr>
                <a:xfrm>
                  <a:off x="6673533" y="1960581"/>
                  <a:ext cx="26690" cy="26579"/>
                </a:xfrm>
                <a:custGeom>
                  <a:avLst/>
                  <a:gdLst>
                    <a:gd name="connsiteX0" fmla="*/ 18 w 26690"/>
                    <a:gd name="connsiteY0" fmla="*/ 14106 h 26579"/>
                    <a:gd name="connsiteX1" fmla="*/ 12597 w 26690"/>
                    <a:gd name="connsiteY1" fmla="*/ 31 h 26579"/>
                    <a:gd name="connsiteX2" fmla="*/ 26672 w 26690"/>
                    <a:gd name="connsiteY2" fmla="*/ 12487 h 26579"/>
                    <a:gd name="connsiteX3" fmla="*/ 14092 w 26690"/>
                    <a:gd name="connsiteY3" fmla="*/ 26562 h 26579"/>
                    <a:gd name="connsiteX4" fmla="*/ 18 w 2669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79">
                      <a:moveTo>
                        <a:pt x="18" y="14106"/>
                      </a:moveTo>
                      <a:cubicBezTo>
                        <a:pt x="-356" y="6757"/>
                        <a:pt x="5249" y="529"/>
                        <a:pt x="12597" y="31"/>
                      </a:cubicBezTo>
                      <a:cubicBezTo>
                        <a:pt x="19947" y="-467"/>
                        <a:pt x="26174" y="5138"/>
                        <a:pt x="26672" y="12487"/>
                      </a:cubicBezTo>
                      <a:cubicBezTo>
                        <a:pt x="27046" y="19835"/>
                        <a:pt x="21441" y="26063"/>
                        <a:pt x="14092" y="26562"/>
                      </a:cubicBezTo>
                      <a:cubicBezTo>
                        <a:pt x="6744"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3" name="Freeform 7703">
                  <a:extLst>
                    <a:ext uri="{FF2B5EF4-FFF2-40B4-BE49-F238E27FC236}">
                      <a16:creationId xmlns:a16="http://schemas.microsoft.com/office/drawing/2014/main" id="{A26779C1-BAC8-4B3A-A68D-29657D3DE222}"/>
                    </a:ext>
                  </a:extLst>
                </p:cNvPr>
                <p:cNvSpPr/>
                <p:nvPr/>
              </p:nvSpPr>
              <p:spPr>
                <a:xfrm>
                  <a:off x="6675617" y="1858973"/>
                  <a:ext cx="5222" cy="52065"/>
                </a:xfrm>
                <a:custGeom>
                  <a:avLst/>
                  <a:gdLst>
                    <a:gd name="connsiteX0" fmla="*/ 1546 w 5222"/>
                    <a:gd name="connsiteY0" fmla="*/ 0 h 52065"/>
                    <a:gd name="connsiteX1" fmla="*/ 549 w 5222"/>
                    <a:gd name="connsiteY1" fmla="*/ 18808 h 52065"/>
                    <a:gd name="connsiteX2" fmla="*/ 4909 w 5222"/>
                    <a:gd name="connsiteY2" fmla="*/ 35624 h 52065"/>
                    <a:gd name="connsiteX3" fmla="*/ 3663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0"/>
                      </a:moveTo>
                      <a:cubicBezTo>
                        <a:pt x="-448" y="8221"/>
                        <a:pt x="-198" y="14449"/>
                        <a:pt x="549" y="18808"/>
                      </a:cubicBezTo>
                      <a:cubicBezTo>
                        <a:pt x="1670" y="25659"/>
                        <a:pt x="4037" y="28648"/>
                        <a:pt x="4909" y="35624"/>
                      </a:cubicBezTo>
                      <a:cubicBezTo>
                        <a:pt x="5780" y="42474"/>
                        <a:pt x="4660" y="48328"/>
                        <a:pt x="36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4" name="Freeform 7704">
                  <a:extLst>
                    <a:ext uri="{FF2B5EF4-FFF2-40B4-BE49-F238E27FC236}">
                      <a16:creationId xmlns:a16="http://schemas.microsoft.com/office/drawing/2014/main" id="{F43AD81A-B906-FA7E-C174-A0A022F7E581}"/>
                    </a:ext>
                  </a:extLst>
                </p:cNvPr>
                <p:cNvSpPr/>
                <p:nvPr/>
              </p:nvSpPr>
              <p:spPr>
                <a:xfrm>
                  <a:off x="6683889" y="1853492"/>
                  <a:ext cx="3487" cy="52065"/>
                </a:xfrm>
                <a:custGeom>
                  <a:avLst/>
                  <a:gdLst>
                    <a:gd name="connsiteX0" fmla="*/ 3488 w 3487"/>
                    <a:gd name="connsiteY0" fmla="*/ 52065 h 52065"/>
                    <a:gd name="connsiteX1" fmla="*/ 499 w 3487"/>
                    <a:gd name="connsiteY1" fmla="*/ 33506 h 52065"/>
                    <a:gd name="connsiteX2" fmla="*/ 2989 w 3487"/>
                    <a:gd name="connsiteY2" fmla="*/ 16193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6"/>
                        <a:pt x="499" y="33506"/>
                      </a:cubicBezTo>
                      <a:cubicBezTo>
                        <a:pt x="872" y="26531"/>
                        <a:pt x="2865" y="23292"/>
                        <a:pt x="2989" y="16193"/>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5" name="Freeform 7705">
                  <a:extLst>
                    <a:ext uri="{FF2B5EF4-FFF2-40B4-BE49-F238E27FC236}">
                      <a16:creationId xmlns:a16="http://schemas.microsoft.com/office/drawing/2014/main" id="{A5588BB5-3FA6-802E-51DB-CC2E7D21707B}"/>
                    </a:ext>
                  </a:extLst>
                </p:cNvPr>
                <p:cNvSpPr/>
                <p:nvPr/>
              </p:nvSpPr>
              <p:spPr>
                <a:xfrm>
                  <a:off x="6667056" y="1838403"/>
                  <a:ext cx="26441" cy="26579"/>
                </a:xfrm>
                <a:custGeom>
                  <a:avLst/>
                  <a:gdLst>
                    <a:gd name="connsiteX0" fmla="*/ 26424 w 26441"/>
                    <a:gd name="connsiteY0" fmla="*/ 12474 h 26579"/>
                    <a:gd name="connsiteX1" fmla="*/ 13968 w 26441"/>
                    <a:gd name="connsiteY1" fmla="*/ 26549 h 26579"/>
                    <a:gd name="connsiteX2" fmla="*/ 18 w 26441"/>
                    <a:gd name="connsiteY2" fmla="*/ 14093 h 26579"/>
                    <a:gd name="connsiteX3" fmla="*/ 12473 w 26441"/>
                    <a:gd name="connsiteY3" fmla="*/ 18 h 26579"/>
                    <a:gd name="connsiteX4" fmla="*/ 26424 w 26441"/>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2474"/>
                      </a:moveTo>
                      <a:cubicBezTo>
                        <a:pt x="26797" y="19823"/>
                        <a:pt x="21193" y="26051"/>
                        <a:pt x="13968" y="26549"/>
                      </a:cubicBezTo>
                      <a:cubicBezTo>
                        <a:pt x="6619" y="27047"/>
                        <a:pt x="516" y="21442"/>
                        <a:pt x="18" y="14093"/>
                      </a:cubicBezTo>
                      <a:cubicBezTo>
                        <a:pt x="-356" y="6744"/>
                        <a:pt x="5249" y="516"/>
                        <a:pt x="12473" y="18"/>
                      </a:cubicBezTo>
                      <a:cubicBezTo>
                        <a:pt x="19822" y="-356"/>
                        <a:pt x="26050" y="5125"/>
                        <a:pt x="26424"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8" name="Graphic 2987">
                <a:extLst>
                  <a:ext uri="{FF2B5EF4-FFF2-40B4-BE49-F238E27FC236}">
                    <a16:creationId xmlns:a16="http://schemas.microsoft.com/office/drawing/2014/main" id="{F6FB3D64-488C-3FC6-FB73-8A77ED11FC97}"/>
                  </a:ext>
                </a:extLst>
              </p:cNvPr>
              <p:cNvGrpSpPr/>
              <p:nvPr/>
            </p:nvGrpSpPr>
            <p:grpSpPr>
              <a:xfrm>
                <a:off x="6637785" y="1840134"/>
                <a:ext cx="32670" cy="148783"/>
                <a:chOff x="6637785" y="1840134"/>
                <a:chExt cx="32670" cy="148783"/>
              </a:xfrm>
              <a:grpFill/>
            </p:grpSpPr>
            <p:sp>
              <p:nvSpPr>
                <p:cNvPr id="6444" name="Freeform 7707">
                  <a:extLst>
                    <a:ext uri="{FF2B5EF4-FFF2-40B4-BE49-F238E27FC236}">
                      <a16:creationId xmlns:a16="http://schemas.microsoft.com/office/drawing/2014/main" id="{7C16F665-195A-869D-289A-79C895E30941}"/>
                    </a:ext>
                  </a:extLst>
                </p:cNvPr>
                <p:cNvSpPr/>
                <p:nvPr/>
              </p:nvSpPr>
              <p:spPr>
                <a:xfrm>
                  <a:off x="6656798" y="1916269"/>
                  <a:ext cx="5259" cy="52065"/>
                </a:xfrm>
                <a:custGeom>
                  <a:avLst/>
                  <a:gdLst>
                    <a:gd name="connsiteX0" fmla="*/ 3674 w 5259"/>
                    <a:gd name="connsiteY0" fmla="*/ 52065 h 52065"/>
                    <a:gd name="connsiteX1" fmla="*/ 4671 w 5259"/>
                    <a:gd name="connsiteY1" fmla="*/ 33257 h 52065"/>
                    <a:gd name="connsiteX2" fmla="*/ 312 w 5259"/>
                    <a:gd name="connsiteY2" fmla="*/ 16442 h 52065"/>
                    <a:gd name="connsiteX3" fmla="*/ 1681 w 5259"/>
                    <a:gd name="connsiteY3" fmla="*/ 0 h 52065"/>
                  </a:gdLst>
                  <a:ahLst/>
                  <a:cxnLst>
                    <a:cxn ang="0">
                      <a:pos x="connsiteX0" y="connsiteY0"/>
                    </a:cxn>
                    <a:cxn ang="0">
                      <a:pos x="connsiteX1" y="connsiteY1"/>
                    </a:cxn>
                    <a:cxn ang="0">
                      <a:pos x="connsiteX2" y="connsiteY2"/>
                    </a:cxn>
                    <a:cxn ang="0">
                      <a:pos x="connsiteX3" y="connsiteY3"/>
                    </a:cxn>
                  </a:cxnLst>
                  <a:rect l="l" t="t" r="r" b="b"/>
                  <a:pathLst>
                    <a:path w="5259" h="52065">
                      <a:moveTo>
                        <a:pt x="3674" y="52065"/>
                      </a:moveTo>
                      <a:cubicBezTo>
                        <a:pt x="5792" y="43844"/>
                        <a:pt x="5418" y="37616"/>
                        <a:pt x="4671" y="33257"/>
                      </a:cubicBezTo>
                      <a:cubicBezTo>
                        <a:pt x="3549" y="26406"/>
                        <a:pt x="1184"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5" name="Freeform 7708">
                  <a:extLst>
                    <a:ext uri="{FF2B5EF4-FFF2-40B4-BE49-F238E27FC236}">
                      <a16:creationId xmlns:a16="http://schemas.microsoft.com/office/drawing/2014/main" id="{EC98D161-A559-05F9-7C6D-D6C38898AAB4}"/>
                    </a:ext>
                  </a:extLst>
                </p:cNvPr>
                <p:cNvSpPr/>
                <p:nvPr/>
              </p:nvSpPr>
              <p:spPr>
                <a:xfrm>
                  <a:off x="6650258" y="1921750"/>
                  <a:ext cx="3363" cy="52065"/>
                </a:xfrm>
                <a:custGeom>
                  <a:avLst/>
                  <a:gdLst>
                    <a:gd name="connsiteX0" fmla="*/ 0 w 3363"/>
                    <a:gd name="connsiteY0" fmla="*/ 0 h 52065"/>
                    <a:gd name="connsiteX1" fmla="*/ 2990 w 3363"/>
                    <a:gd name="connsiteY1" fmla="*/ 18559 h 52065"/>
                    <a:gd name="connsiteX2" fmla="*/ 374 w 3363"/>
                    <a:gd name="connsiteY2" fmla="*/ 35873 h 52065"/>
                    <a:gd name="connsiteX3" fmla="*/ 3363 w 33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0" y="0"/>
                      </a:moveTo>
                      <a:cubicBezTo>
                        <a:pt x="2865" y="7847"/>
                        <a:pt x="3239" y="14200"/>
                        <a:pt x="2990" y="18559"/>
                      </a:cubicBezTo>
                      <a:cubicBezTo>
                        <a:pt x="2616" y="25534"/>
                        <a:pt x="623" y="28773"/>
                        <a:pt x="374" y="35873"/>
                      </a:cubicBezTo>
                      <a:cubicBezTo>
                        <a:pt x="249" y="42723"/>
                        <a:pt x="1869" y="48453"/>
                        <a:pt x="33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6" name="Freeform 7709">
                  <a:extLst>
                    <a:ext uri="{FF2B5EF4-FFF2-40B4-BE49-F238E27FC236}">
                      <a16:creationId xmlns:a16="http://schemas.microsoft.com/office/drawing/2014/main" id="{694EAC7C-CE01-E0FB-B2E6-C7E628B7172F}"/>
                    </a:ext>
                  </a:extLst>
                </p:cNvPr>
                <p:cNvSpPr/>
                <p:nvPr/>
              </p:nvSpPr>
              <p:spPr>
                <a:xfrm>
                  <a:off x="6643889" y="1962325"/>
                  <a:ext cx="26566" cy="26592"/>
                </a:xfrm>
                <a:custGeom>
                  <a:avLst/>
                  <a:gdLst>
                    <a:gd name="connsiteX0" fmla="*/ 18 w 26566"/>
                    <a:gd name="connsiteY0" fmla="*/ 14106 h 26592"/>
                    <a:gd name="connsiteX1" fmla="*/ 12597 w 26566"/>
                    <a:gd name="connsiteY1" fmla="*/ 31 h 26592"/>
                    <a:gd name="connsiteX2" fmla="*/ 26549 w 26566"/>
                    <a:gd name="connsiteY2" fmla="*/ 12487 h 26592"/>
                    <a:gd name="connsiteX3" fmla="*/ 13968 w 26566"/>
                    <a:gd name="connsiteY3" fmla="*/ 26562 h 26592"/>
                    <a:gd name="connsiteX4" fmla="*/ 18 w 26566"/>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92">
                      <a:moveTo>
                        <a:pt x="18" y="14106"/>
                      </a:moveTo>
                      <a:cubicBezTo>
                        <a:pt x="-356" y="6757"/>
                        <a:pt x="5249" y="529"/>
                        <a:pt x="12597" y="31"/>
                      </a:cubicBezTo>
                      <a:cubicBezTo>
                        <a:pt x="19947" y="-467"/>
                        <a:pt x="26174" y="5138"/>
                        <a:pt x="26549" y="12487"/>
                      </a:cubicBezTo>
                      <a:cubicBezTo>
                        <a:pt x="26922" y="19835"/>
                        <a:pt x="21317" y="26063"/>
                        <a:pt x="13968" y="26562"/>
                      </a:cubicBezTo>
                      <a:cubicBezTo>
                        <a:pt x="6619" y="27060"/>
                        <a:pt x="26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7" name="Freeform 7710">
                  <a:extLst>
                    <a:ext uri="{FF2B5EF4-FFF2-40B4-BE49-F238E27FC236}">
                      <a16:creationId xmlns:a16="http://schemas.microsoft.com/office/drawing/2014/main" id="{CCAB521E-DD8C-EAAF-F409-70DD2BFDCF75}"/>
                    </a:ext>
                  </a:extLst>
                </p:cNvPr>
                <p:cNvSpPr/>
                <p:nvPr/>
              </p:nvSpPr>
              <p:spPr>
                <a:xfrm>
                  <a:off x="6646057" y="1860717"/>
                  <a:ext cx="5135" cy="52065"/>
                </a:xfrm>
                <a:custGeom>
                  <a:avLst/>
                  <a:gdLst>
                    <a:gd name="connsiteX0" fmla="*/ 1586 w 5135"/>
                    <a:gd name="connsiteY0" fmla="*/ 0 h 52065"/>
                    <a:gd name="connsiteX1" fmla="*/ 589 w 5135"/>
                    <a:gd name="connsiteY1" fmla="*/ 18808 h 52065"/>
                    <a:gd name="connsiteX2" fmla="*/ 4824 w 5135"/>
                    <a:gd name="connsiteY2" fmla="*/ 35624 h 52065"/>
                    <a:gd name="connsiteX3" fmla="*/ 3454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1586" y="0"/>
                      </a:moveTo>
                      <a:cubicBezTo>
                        <a:pt x="-532" y="8221"/>
                        <a:pt x="-158" y="14449"/>
                        <a:pt x="589" y="18808"/>
                      </a:cubicBezTo>
                      <a:cubicBezTo>
                        <a:pt x="1710" y="25659"/>
                        <a:pt x="3952" y="28648"/>
                        <a:pt x="4824" y="35624"/>
                      </a:cubicBezTo>
                      <a:cubicBezTo>
                        <a:pt x="5696" y="42474"/>
                        <a:pt x="4575" y="48328"/>
                        <a:pt x="34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8" name="Freeform 7711">
                  <a:extLst>
                    <a:ext uri="{FF2B5EF4-FFF2-40B4-BE49-F238E27FC236}">
                      <a16:creationId xmlns:a16="http://schemas.microsoft.com/office/drawing/2014/main" id="{474C9C60-4D9E-69BA-3B0E-3DBC96276D2B}"/>
                    </a:ext>
                  </a:extLst>
                </p:cNvPr>
                <p:cNvSpPr/>
                <p:nvPr/>
              </p:nvSpPr>
              <p:spPr>
                <a:xfrm>
                  <a:off x="6654244" y="1855236"/>
                  <a:ext cx="3487" cy="52065"/>
                </a:xfrm>
                <a:custGeom>
                  <a:avLst/>
                  <a:gdLst>
                    <a:gd name="connsiteX0" fmla="*/ 3488 w 3487"/>
                    <a:gd name="connsiteY0" fmla="*/ 52065 h 52065"/>
                    <a:gd name="connsiteX1" fmla="*/ 499 w 3487"/>
                    <a:gd name="connsiteY1" fmla="*/ 33506 h 52065"/>
                    <a:gd name="connsiteX2" fmla="*/ 2989 w 3487"/>
                    <a:gd name="connsiteY2" fmla="*/ 16192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5"/>
                        <a:pt x="499" y="33506"/>
                      </a:cubicBezTo>
                      <a:cubicBezTo>
                        <a:pt x="872" y="26531"/>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9" name="Freeform 7712">
                  <a:extLst>
                    <a:ext uri="{FF2B5EF4-FFF2-40B4-BE49-F238E27FC236}">
                      <a16:creationId xmlns:a16="http://schemas.microsoft.com/office/drawing/2014/main" id="{724E5225-3917-D8E8-A5D7-D1CD0650AF1E}"/>
                    </a:ext>
                  </a:extLst>
                </p:cNvPr>
                <p:cNvSpPr/>
                <p:nvPr/>
              </p:nvSpPr>
              <p:spPr>
                <a:xfrm>
                  <a:off x="6637785" y="1840134"/>
                  <a:ext cx="26317" cy="26592"/>
                </a:xfrm>
                <a:custGeom>
                  <a:avLst/>
                  <a:gdLst>
                    <a:gd name="connsiteX0" fmla="*/ 26300 w 26317"/>
                    <a:gd name="connsiteY0" fmla="*/ 12487 h 26592"/>
                    <a:gd name="connsiteX1" fmla="*/ 13844 w 26317"/>
                    <a:gd name="connsiteY1" fmla="*/ 26562 h 26592"/>
                    <a:gd name="connsiteX2" fmla="*/ 18 w 26317"/>
                    <a:gd name="connsiteY2" fmla="*/ 14106 h 26592"/>
                    <a:gd name="connsiteX3" fmla="*/ 12473 w 26317"/>
                    <a:gd name="connsiteY3" fmla="*/ 31 h 26592"/>
                    <a:gd name="connsiteX4" fmla="*/ 26300 w 26317"/>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92">
                      <a:moveTo>
                        <a:pt x="26300" y="12487"/>
                      </a:moveTo>
                      <a:cubicBezTo>
                        <a:pt x="26673" y="19835"/>
                        <a:pt x="21068" y="26063"/>
                        <a:pt x="13844" y="26562"/>
                      </a:cubicBezTo>
                      <a:cubicBezTo>
                        <a:pt x="6620" y="27060"/>
                        <a:pt x="392" y="21455"/>
                        <a:pt x="18" y="14106"/>
                      </a:cubicBezTo>
                      <a:cubicBezTo>
                        <a:pt x="-356" y="6757"/>
                        <a:pt x="5250" y="529"/>
                        <a:pt x="12473" y="31"/>
                      </a:cubicBezTo>
                      <a:cubicBezTo>
                        <a:pt x="19698" y="-467"/>
                        <a:pt x="25926" y="5138"/>
                        <a:pt x="26300"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9" name="Graphic 2987">
                <a:extLst>
                  <a:ext uri="{FF2B5EF4-FFF2-40B4-BE49-F238E27FC236}">
                    <a16:creationId xmlns:a16="http://schemas.microsoft.com/office/drawing/2014/main" id="{D9024C7C-D239-064C-B380-F8D031C51F7F}"/>
                  </a:ext>
                </a:extLst>
              </p:cNvPr>
              <p:cNvGrpSpPr/>
              <p:nvPr/>
            </p:nvGrpSpPr>
            <p:grpSpPr>
              <a:xfrm>
                <a:off x="6608265" y="1841891"/>
                <a:ext cx="32544" cy="148894"/>
                <a:chOff x="6608265" y="1841891"/>
                <a:chExt cx="32544" cy="148894"/>
              </a:xfrm>
              <a:grpFill/>
            </p:grpSpPr>
            <p:sp>
              <p:nvSpPr>
                <p:cNvPr id="6438" name="Freeform 7714">
                  <a:extLst>
                    <a:ext uri="{FF2B5EF4-FFF2-40B4-BE49-F238E27FC236}">
                      <a16:creationId xmlns:a16="http://schemas.microsoft.com/office/drawing/2014/main" id="{A1B11AE8-1A05-FDFF-1B60-E147671E8083}"/>
                    </a:ext>
                  </a:extLst>
                </p:cNvPr>
                <p:cNvSpPr/>
                <p:nvPr/>
              </p:nvSpPr>
              <p:spPr>
                <a:xfrm>
                  <a:off x="6627278" y="1918138"/>
                  <a:ext cx="5033" cy="52065"/>
                </a:xfrm>
                <a:custGeom>
                  <a:avLst/>
                  <a:gdLst>
                    <a:gd name="connsiteX0" fmla="*/ 3425 w 5033"/>
                    <a:gd name="connsiteY0" fmla="*/ 52065 h 52065"/>
                    <a:gd name="connsiteX1" fmla="*/ 4546 w 5033"/>
                    <a:gd name="connsiteY1" fmla="*/ 33257 h 52065"/>
                    <a:gd name="connsiteX2" fmla="*/ 312 w 5033"/>
                    <a:gd name="connsiteY2" fmla="*/ 16442 h 52065"/>
                    <a:gd name="connsiteX3" fmla="*/ 1681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52065"/>
                      </a:moveTo>
                      <a:cubicBezTo>
                        <a:pt x="5543" y="43844"/>
                        <a:pt x="5169" y="37492"/>
                        <a:pt x="4546" y="33257"/>
                      </a:cubicBezTo>
                      <a:cubicBezTo>
                        <a:pt x="3425" y="26406"/>
                        <a:pt x="1183"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9" name="Freeform 7715">
                  <a:extLst>
                    <a:ext uri="{FF2B5EF4-FFF2-40B4-BE49-F238E27FC236}">
                      <a16:creationId xmlns:a16="http://schemas.microsoft.com/office/drawing/2014/main" id="{937FB27E-F3F3-F798-41F7-40029B4BFB55}"/>
                    </a:ext>
                  </a:extLst>
                </p:cNvPr>
                <p:cNvSpPr/>
                <p:nvPr/>
              </p:nvSpPr>
              <p:spPr>
                <a:xfrm>
                  <a:off x="6620614" y="1923618"/>
                  <a:ext cx="3237" cy="52065"/>
                </a:xfrm>
                <a:custGeom>
                  <a:avLst/>
                  <a:gdLst>
                    <a:gd name="connsiteX0" fmla="*/ 0 w 3237"/>
                    <a:gd name="connsiteY0" fmla="*/ 0 h 52065"/>
                    <a:gd name="connsiteX1" fmla="*/ 2865 w 3237"/>
                    <a:gd name="connsiteY1" fmla="*/ 18559 h 52065"/>
                    <a:gd name="connsiteX2" fmla="*/ 249 w 3237"/>
                    <a:gd name="connsiteY2" fmla="*/ 35873 h 52065"/>
                    <a:gd name="connsiteX3" fmla="*/ 3238 w 323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7" h="52065">
                      <a:moveTo>
                        <a:pt x="0" y="0"/>
                      </a:moveTo>
                      <a:cubicBezTo>
                        <a:pt x="2865" y="7847"/>
                        <a:pt x="3114" y="14200"/>
                        <a:pt x="2865" y="18559"/>
                      </a:cubicBezTo>
                      <a:cubicBezTo>
                        <a:pt x="2366" y="25534"/>
                        <a:pt x="373" y="28773"/>
                        <a:pt x="249" y="35873"/>
                      </a:cubicBezTo>
                      <a:cubicBezTo>
                        <a:pt x="124" y="42723"/>
                        <a:pt x="1743" y="48453"/>
                        <a:pt x="323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0" name="Freeform 7716">
                  <a:extLst>
                    <a:ext uri="{FF2B5EF4-FFF2-40B4-BE49-F238E27FC236}">
                      <a16:creationId xmlns:a16="http://schemas.microsoft.com/office/drawing/2014/main" id="{F983377F-2E8B-D153-2A8F-92FBA0721E01}"/>
                    </a:ext>
                  </a:extLst>
                </p:cNvPr>
                <p:cNvSpPr/>
                <p:nvPr/>
              </p:nvSpPr>
              <p:spPr>
                <a:xfrm>
                  <a:off x="6614120" y="1964193"/>
                  <a:ext cx="26690" cy="26591"/>
                </a:xfrm>
                <a:custGeom>
                  <a:avLst/>
                  <a:gdLst>
                    <a:gd name="connsiteX0" fmla="*/ 17 w 26690"/>
                    <a:gd name="connsiteY0" fmla="*/ 13981 h 26591"/>
                    <a:gd name="connsiteX1" fmla="*/ 12722 w 26690"/>
                    <a:gd name="connsiteY1" fmla="*/ 31 h 26591"/>
                    <a:gd name="connsiteX2" fmla="*/ 26673 w 26690"/>
                    <a:gd name="connsiteY2" fmla="*/ 12487 h 26591"/>
                    <a:gd name="connsiteX3" fmla="*/ 13968 w 26690"/>
                    <a:gd name="connsiteY3" fmla="*/ 26562 h 26591"/>
                    <a:gd name="connsiteX4" fmla="*/ 17 w 26690"/>
                    <a:gd name="connsiteY4" fmla="*/ 13981 h 2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1">
                      <a:moveTo>
                        <a:pt x="17" y="13981"/>
                      </a:moveTo>
                      <a:cubicBezTo>
                        <a:pt x="-357" y="6632"/>
                        <a:pt x="5373" y="529"/>
                        <a:pt x="12722" y="31"/>
                      </a:cubicBezTo>
                      <a:cubicBezTo>
                        <a:pt x="20071" y="-467"/>
                        <a:pt x="26299" y="5138"/>
                        <a:pt x="26673" y="12487"/>
                      </a:cubicBezTo>
                      <a:cubicBezTo>
                        <a:pt x="27046" y="19835"/>
                        <a:pt x="21316" y="26063"/>
                        <a:pt x="13968" y="26562"/>
                      </a:cubicBezTo>
                      <a:cubicBezTo>
                        <a:pt x="6618" y="27060"/>
                        <a:pt x="267" y="21330"/>
                        <a:pt x="17" y="13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1" name="Freeform 7717">
                  <a:extLst>
                    <a:ext uri="{FF2B5EF4-FFF2-40B4-BE49-F238E27FC236}">
                      <a16:creationId xmlns:a16="http://schemas.microsoft.com/office/drawing/2014/main" id="{1E2A9E8A-30BC-82C7-16CF-2C79ED63E6D6}"/>
                    </a:ext>
                  </a:extLst>
                </p:cNvPr>
                <p:cNvSpPr/>
                <p:nvPr/>
              </p:nvSpPr>
              <p:spPr>
                <a:xfrm>
                  <a:off x="6616514" y="1862460"/>
                  <a:ext cx="5033" cy="52065"/>
                </a:xfrm>
                <a:custGeom>
                  <a:avLst/>
                  <a:gdLst>
                    <a:gd name="connsiteX0" fmla="*/ 1608 w 5033"/>
                    <a:gd name="connsiteY0" fmla="*/ 0 h 52065"/>
                    <a:gd name="connsiteX1" fmla="*/ 487 w 5033"/>
                    <a:gd name="connsiteY1" fmla="*/ 18808 h 52065"/>
                    <a:gd name="connsiteX2" fmla="*/ 4722 w 5033"/>
                    <a:gd name="connsiteY2" fmla="*/ 35624 h 52065"/>
                    <a:gd name="connsiteX3" fmla="*/ 335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0"/>
                      </a:moveTo>
                      <a:cubicBezTo>
                        <a:pt x="-510" y="8221"/>
                        <a:pt x="-136" y="14573"/>
                        <a:pt x="487" y="18808"/>
                      </a:cubicBezTo>
                      <a:cubicBezTo>
                        <a:pt x="1608" y="25659"/>
                        <a:pt x="3850" y="28648"/>
                        <a:pt x="4722" y="35624"/>
                      </a:cubicBezTo>
                      <a:cubicBezTo>
                        <a:pt x="5594" y="42474"/>
                        <a:pt x="4473" y="48328"/>
                        <a:pt x="335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2" name="Freeform 7718">
                  <a:extLst>
                    <a:ext uri="{FF2B5EF4-FFF2-40B4-BE49-F238E27FC236}">
                      <a16:creationId xmlns:a16="http://schemas.microsoft.com/office/drawing/2014/main" id="{1E160791-068B-A6ED-5C97-8F26DEE35D2D}"/>
                    </a:ext>
                  </a:extLst>
                </p:cNvPr>
                <p:cNvSpPr/>
                <p:nvPr/>
              </p:nvSpPr>
              <p:spPr>
                <a:xfrm>
                  <a:off x="6624973" y="1856980"/>
                  <a:ext cx="3238" cy="52065"/>
                </a:xfrm>
                <a:custGeom>
                  <a:avLst/>
                  <a:gdLst>
                    <a:gd name="connsiteX0" fmla="*/ 3239 w 3238"/>
                    <a:gd name="connsiteY0" fmla="*/ 52065 h 52065"/>
                    <a:gd name="connsiteX1" fmla="*/ 373 w 3238"/>
                    <a:gd name="connsiteY1" fmla="*/ 33506 h 52065"/>
                    <a:gd name="connsiteX2" fmla="*/ 2989 w 3238"/>
                    <a:gd name="connsiteY2" fmla="*/ 16192 h 52065"/>
                    <a:gd name="connsiteX3" fmla="*/ 0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3239" y="52065"/>
                      </a:moveTo>
                      <a:cubicBezTo>
                        <a:pt x="373" y="44218"/>
                        <a:pt x="125" y="37865"/>
                        <a:pt x="373" y="33506"/>
                      </a:cubicBezTo>
                      <a:cubicBezTo>
                        <a:pt x="872" y="26531"/>
                        <a:pt x="2740"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3" name="Freeform 7719">
                  <a:extLst>
                    <a:ext uri="{FF2B5EF4-FFF2-40B4-BE49-F238E27FC236}">
                      <a16:creationId xmlns:a16="http://schemas.microsoft.com/office/drawing/2014/main" id="{D26CD08F-6222-71F3-3697-E186EF7C19AF}"/>
                    </a:ext>
                  </a:extLst>
                </p:cNvPr>
                <p:cNvSpPr/>
                <p:nvPr/>
              </p:nvSpPr>
              <p:spPr>
                <a:xfrm>
                  <a:off x="6608265" y="1841891"/>
                  <a:ext cx="26441" cy="26578"/>
                </a:xfrm>
                <a:custGeom>
                  <a:avLst/>
                  <a:gdLst>
                    <a:gd name="connsiteX0" fmla="*/ 26424 w 26441"/>
                    <a:gd name="connsiteY0" fmla="*/ 12473 h 26578"/>
                    <a:gd name="connsiteX1" fmla="*/ 13844 w 26441"/>
                    <a:gd name="connsiteY1" fmla="*/ 26548 h 26578"/>
                    <a:gd name="connsiteX2" fmla="*/ 18 w 26441"/>
                    <a:gd name="connsiteY2" fmla="*/ 13968 h 26578"/>
                    <a:gd name="connsiteX3" fmla="*/ 12598 w 26441"/>
                    <a:gd name="connsiteY3" fmla="*/ 18 h 26578"/>
                    <a:gd name="connsiteX4" fmla="*/ 26424 w 26441"/>
                    <a:gd name="connsiteY4" fmla="*/ 12473 h 2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8">
                      <a:moveTo>
                        <a:pt x="26424" y="12473"/>
                      </a:moveTo>
                      <a:cubicBezTo>
                        <a:pt x="26798" y="19822"/>
                        <a:pt x="21193" y="26050"/>
                        <a:pt x="13844" y="26548"/>
                      </a:cubicBezTo>
                      <a:cubicBezTo>
                        <a:pt x="6620" y="27047"/>
                        <a:pt x="392" y="21317"/>
                        <a:pt x="18" y="13968"/>
                      </a:cubicBezTo>
                      <a:cubicBezTo>
                        <a:pt x="-356" y="6619"/>
                        <a:pt x="5250" y="516"/>
                        <a:pt x="12598" y="18"/>
                      </a:cubicBezTo>
                      <a:cubicBezTo>
                        <a:pt x="19823" y="-356"/>
                        <a:pt x="26051" y="5249"/>
                        <a:pt x="26424"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0" name="Graphic 2987">
                <a:extLst>
                  <a:ext uri="{FF2B5EF4-FFF2-40B4-BE49-F238E27FC236}">
                    <a16:creationId xmlns:a16="http://schemas.microsoft.com/office/drawing/2014/main" id="{276C25DD-0551-2245-7A4E-7AC8D40EFB85}"/>
                  </a:ext>
                </a:extLst>
              </p:cNvPr>
              <p:cNvGrpSpPr/>
              <p:nvPr/>
            </p:nvGrpSpPr>
            <p:grpSpPr>
              <a:xfrm>
                <a:off x="6578745" y="1843146"/>
                <a:ext cx="32170" cy="148746"/>
                <a:chOff x="6578745" y="1843146"/>
                <a:chExt cx="32170" cy="148746"/>
              </a:xfrm>
              <a:grpFill/>
            </p:grpSpPr>
            <p:sp>
              <p:nvSpPr>
                <p:cNvPr id="6432" name="Freeform 7721">
                  <a:extLst>
                    <a:ext uri="{FF2B5EF4-FFF2-40B4-BE49-F238E27FC236}">
                      <a16:creationId xmlns:a16="http://schemas.microsoft.com/office/drawing/2014/main" id="{F8A7082A-AC57-3E2E-7D55-92FC186D1899}"/>
                    </a:ext>
                  </a:extLst>
                </p:cNvPr>
                <p:cNvSpPr/>
                <p:nvPr/>
              </p:nvSpPr>
              <p:spPr>
                <a:xfrm>
                  <a:off x="6597525" y="1919383"/>
                  <a:ext cx="5016" cy="52189"/>
                </a:xfrm>
                <a:custGeom>
                  <a:avLst/>
                  <a:gdLst>
                    <a:gd name="connsiteX0" fmla="*/ 3409 w 5016"/>
                    <a:gd name="connsiteY0" fmla="*/ 52190 h 52189"/>
                    <a:gd name="connsiteX1" fmla="*/ 4529 w 5016"/>
                    <a:gd name="connsiteY1" fmla="*/ 33381 h 52189"/>
                    <a:gd name="connsiteX2" fmla="*/ 295 w 5016"/>
                    <a:gd name="connsiteY2" fmla="*/ 16442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90"/>
                      </a:moveTo>
                      <a:cubicBezTo>
                        <a:pt x="5526" y="44093"/>
                        <a:pt x="5153" y="37741"/>
                        <a:pt x="4529" y="33381"/>
                      </a:cubicBezTo>
                      <a:cubicBezTo>
                        <a:pt x="3409" y="26406"/>
                        <a:pt x="1167" y="23541"/>
                        <a:pt x="295" y="16442"/>
                      </a:cubicBezTo>
                      <a:cubicBezTo>
                        <a:pt x="-577" y="9591"/>
                        <a:pt x="668" y="3861"/>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3" name="Freeform 7722">
                  <a:extLst>
                    <a:ext uri="{FF2B5EF4-FFF2-40B4-BE49-F238E27FC236}">
                      <a16:creationId xmlns:a16="http://schemas.microsoft.com/office/drawing/2014/main" id="{FD4F505D-EFB7-1CDA-8ECF-444693182C9D}"/>
                    </a:ext>
                  </a:extLst>
                </p:cNvPr>
                <p:cNvSpPr/>
                <p:nvPr/>
              </p:nvSpPr>
              <p:spPr>
                <a:xfrm>
                  <a:off x="6590969" y="1924739"/>
                  <a:ext cx="3113" cy="52065"/>
                </a:xfrm>
                <a:custGeom>
                  <a:avLst/>
                  <a:gdLst>
                    <a:gd name="connsiteX0" fmla="*/ 0 w 3113"/>
                    <a:gd name="connsiteY0" fmla="*/ 0 h 52065"/>
                    <a:gd name="connsiteX1" fmla="*/ 2865 w 3113"/>
                    <a:gd name="connsiteY1" fmla="*/ 18559 h 52065"/>
                    <a:gd name="connsiteX2" fmla="*/ 249 w 3113"/>
                    <a:gd name="connsiteY2" fmla="*/ 35748 h 52065"/>
                    <a:gd name="connsiteX3" fmla="*/ 3114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0" y="0"/>
                      </a:moveTo>
                      <a:cubicBezTo>
                        <a:pt x="2865" y="7972"/>
                        <a:pt x="3114" y="14324"/>
                        <a:pt x="2865" y="18559"/>
                      </a:cubicBezTo>
                      <a:cubicBezTo>
                        <a:pt x="2367" y="25534"/>
                        <a:pt x="373" y="28648"/>
                        <a:pt x="249" y="35748"/>
                      </a:cubicBezTo>
                      <a:cubicBezTo>
                        <a:pt x="124" y="42599"/>
                        <a:pt x="1743" y="48328"/>
                        <a:pt x="31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4" name="Freeform 7723">
                  <a:extLst>
                    <a:ext uri="{FF2B5EF4-FFF2-40B4-BE49-F238E27FC236}">
                      <a16:creationId xmlns:a16="http://schemas.microsoft.com/office/drawing/2014/main" id="{7305B503-BC51-E796-BC23-8CE1BBC4006F}"/>
                    </a:ext>
                  </a:extLst>
                </p:cNvPr>
                <p:cNvSpPr/>
                <p:nvPr/>
              </p:nvSpPr>
              <p:spPr>
                <a:xfrm>
                  <a:off x="6584225" y="1965462"/>
                  <a:ext cx="26690" cy="26431"/>
                </a:xfrm>
                <a:custGeom>
                  <a:avLst/>
                  <a:gdLst>
                    <a:gd name="connsiteX0" fmla="*/ 17 w 26690"/>
                    <a:gd name="connsiteY0" fmla="*/ 13709 h 26431"/>
                    <a:gd name="connsiteX1" fmla="*/ 12722 w 26690"/>
                    <a:gd name="connsiteY1" fmla="*/ 8 h 26431"/>
                    <a:gd name="connsiteX2" fmla="*/ 26673 w 26690"/>
                    <a:gd name="connsiteY2" fmla="*/ 12713 h 26431"/>
                    <a:gd name="connsiteX3" fmla="*/ 13968 w 26690"/>
                    <a:gd name="connsiteY3" fmla="*/ 26414 h 26431"/>
                    <a:gd name="connsiteX4" fmla="*/ 17 w 26690"/>
                    <a:gd name="connsiteY4" fmla="*/ 13709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31">
                      <a:moveTo>
                        <a:pt x="17" y="13709"/>
                      </a:moveTo>
                      <a:cubicBezTo>
                        <a:pt x="-356" y="6360"/>
                        <a:pt x="5373" y="257"/>
                        <a:pt x="12722" y="8"/>
                      </a:cubicBezTo>
                      <a:cubicBezTo>
                        <a:pt x="20071" y="-241"/>
                        <a:pt x="26299" y="5488"/>
                        <a:pt x="26673" y="12713"/>
                      </a:cubicBezTo>
                      <a:cubicBezTo>
                        <a:pt x="27047" y="20062"/>
                        <a:pt x="21317" y="26165"/>
                        <a:pt x="13968" y="26414"/>
                      </a:cubicBezTo>
                      <a:cubicBezTo>
                        <a:pt x="6619" y="26788"/>
                        <a:pt x="391" y="21058"/>
                        <a:pt x="1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5" name="Freeform 7724">
                  <a:extLst>
                    <a:ext uri="{FF2B5EF4-FFF2-40B4-BE49-F238E27FC236}">
                      <a16:creationId xmlns:a16="http://schemas.microsoft.com/office/drawing/2014/main" id="{909A0C90-14D7-3E02-8168-FE769B177166}"/>
                    </a:ext>
                  </a:extLst>
                </p:cNvPr>
                <p:cNvSpPr/>
                <p:nvPr/>
              </p:nvSpPr>
              <p:spPr>
                <a:xfrm>
                  <a:off x="6587119" y="1863706"/>
                  <a:ext cx="4965" cy="52189"/>
                </a:xfrm>
                <a:custGeom>
                  <a:avLst/>
                  <a:gdLst>
                    <a:gd name="connsiteX0" fmla="*/ 1608 w 4965"/>
                    <a:gd name="connsiteY0" fmla="*/ 0 h 52189"/>
                    <a:gd name="connsiteX1" fmla="*/ 487 w 4965"/>
                    <a:gd name="connsiteY1" fmla="*/ 18808 h 52189"/>
                    <a:gd name="connsiteX2" fmla="*/ 4722 w 4965"/>
                    <a:gd name="connsiteY2" fmla="*/ 35748 h 52189"/>
                    <a:gd name="connsiteX3" fmla="*/ 3352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1608" y="0"/>
                      </a:moveTo>
                      <a:cubicBezTo>
                        <a:pt x="-510" y="8096"/>
                        <a:pt x="-136" y="14449"/>
                        <a:pt x="487" y="18808"/>
                      </a:cubicBezTo>
                      <a:cubicBezTo>
                        <a:pt x="1608" y="25783"/>
                        <a:pt x="3850" y="28648"/>
                        <a:pt x="4722" y="35748"/>
                      </a:cubicBezTo>
                      <a:cubicBezTo>
                        <a:pt x="5470" y="42599"/>
                        <a:pt x="4348" y="48328"/>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6" name="Freeform 7725">
                  <a:extLst>
                    <a:ext uri="{FF2B5EF4-FFF2-40B4-BE49-F238E27FC236}">
                      <a16:creationId xmlns:a16="http://schemas.microsoft.com/office/drawing/2014/main" id="{87D63DB8-22B2-0627-BC2A-89884E76FF24}"/>
                    </a:ext>
                  </a:extLst>
                </p:cNvPr>
                <p:cNvSpPr/>
                <p:nvPr/>
              </p:nvSpPr>
              <p:spPr>
                <a:xfrm>
                  <a:off x="6595453" y="1858350"/>
                  <a:ext cx="3113" cy="52065"/>
                </a:xfrm>
                <a:custGeom>
                  <a:avLst/>
                  <a:gdLst>
                    <a:gd name="connsiteX0" fmla="*/ 3114 w 3113"/>
                    <a:gd name="connsiteY0" fmla="*/ 52065 h 52065"/>
                    <a:gd name="connsiteX1" fmla="*/ 249 w 3113"/>
                    <a:gd name="connsiteY1" fmla="*/ 33506 h 52065"/>
                    <a:gd name="connsiteX2" fmla="*/ 2865 w 3113"/>
                    <a:gd name="connsiteY2" fmla="*/ 16317 h 52065"/>
                    <a:gd name="connsiteX3" fmla="*/ 0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52065"/>
                      </a:moveTo>
                      <a:cubicBezTo>
                        <a:pt x="249" y="44093"/>
                        <a:pt x="0"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7" name="Freeform 7726">
                  <a:extLst>
                    <a:ext uri="{FF2B5EF4-FFF2-40B4-BE49-F238E27FC236}">
                      <a16:creationId xmlns:a16="http://schemas.microsoft.com/office/drawing/2014/main" id="{B317593A-C908-7837-82E1-F7A033563D29}"/>
                    </a:ext>
                  </a:extLst>
                </p:cNvPr>
                <p:cNvSpPr/>
                <p:nvPr/>
              </p:nvSpPr>
              <p:spPr>
                <a:xfrm>
                  <a:off x="6578745" y="1843146"/>
                  <a:ext cx="26441" cy="26546"/>
                </a:xfrm>
                <a:custGeom>
                  <a:avLst/>
                  <a:gdLst>
                    <a:gd name="connsiteX0" fmla="*/ 26423 w 26441"/>
                    <a:gd name="connsiteY0" fmla="*/ 12837 h 26546"/>
                    <a:gd name="connsiteX1" fmla="*/ 13844 w 26441"/>
                    <a:gd name="connsiteY1" fmla="*/ 26539 h 26546"/>
                    <a:gd name="connsiteX2" fmla="*/ 17 w 26441"/>
                    <a:gd name="connsiteY2" fmla="*/ 13709 h 26546"/>
                    <a:gd name="connsiteX3" fmla="*/ 12598 w 26441"/>
                    <a:gd name="connsiteY3" fmla="*/ 8 h 26546"/>
                    <a:gd name="connsiteX4" fmla="*/ 26423 w 2644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3" y="12837"/>
                      </a:moveTo>
                      <a:cubicBezTo>
                        <a:pt x="26797" y="20186"/>
                        <a:pt x="21192" y="26290"/>
                        <a:pt x="13844" y="26539"/>
                      </a:cubicBezTo>
                      <a:cubicBezTo>
                        <a:pt x="6495" y="26788"/>
                        <a:pt x="391" y="21058"/>
                        <a:pt x="17" y="13709"/>
                      </a:cubicBezTo>
                      <a:cubicBezTo>
                        <a:pt x="-356" y="6360"/>
                        <a:pt x="5373" y="257"/>
                        <a:pt x="12598" y="8"/>
                      </a:cubicBezTo>
                      <a:cubicBezTo>
                        <a:pt x="19947" y="-241"/>
                        <a:pt x="26050"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1" name="Graphic 2987">
                <a:extLst>
                  <a:ext uri="{FF2B5EF4-FFF2-40B4-BE49-F238E27FC236}">
                    <a16:creationId xmlns:a16="http://schemas.microsoft.com/office/drawing/2014/main" id="{F6384B43-414E-D854-3702-4517C7218D0F}"/>
                  </a:ext>
                </a:extLst>
              </p:cNvPr>
              <p:cNvGrpSpPr/>
              <p:nvPr/>
            </p:nvGrpSpPr>
            <p:grpSpPr>
              <a:xfrm>
                <a:off x="6549225" y="1844267"/>
                <a:ext cx="31921" cy="148737"/>
                <a:chOff x="6549225" y="1844267"/>
                <a:chExt cx="31921" cy="148737"/>
              </a:xfrm>
              <a:grpFill/>
            </p:grpSpPr>
            <p:sp>
              <p:nvSpPr>
                <p:cNvPr id="6426" name="Freeform 7728">
                  <a:extLst>
                    <a:ext uri="{FF2B5EF4-FFF2-40B4-BE49-F238E27FC236}">
                      <a16:creationId xmlns:a16="http://schemas.microsoft.com/office/drawing/2014/main" id="{813B4039-C0FB-4D74-FBEC-0B1AA82F4073}"/>
                    </a:ext>
                  </a:extLst>
                </p:cNvPr>
                <p:cNvSpPr/>
                <p:nvPr/>
              </p:nvSpPr>
              <p:spPr>
                <a:xfrm>
                  <a:off x="6567808" y="1920380"/>
                  <a:ext cx="5016" cy="52189"/>
                </a:xfrm>
                <a:custGeom>
                  <a:avLst/>
                  <a:gdLst>
                    <a:gd name="connsiteX0" fmla="*/ 3356 w 5016"/>
                    <a:gd name="connsiteY0" fmla="*/ 52190 h 52189"/>
                    <a:gd name="connsiteX1" fmla="*/ 4477 w 5016"/>
                    <a:gd name="connsiteY1" fmla="*/ 33381 h 52189"/>
                    <a:gd name="connsiteX2" fmla="*/ 242 w 5016"/>
                    <a:gd name="connsiteY2" fmla="*/ 16442 h 52189"/>
                    <a:gd name="connsiteX3" fmla="*/ 1737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356" y="52190"/>
                      </a:moveTo>
                      <a:cubicBezTo>
                        <a:pt x="5473" y="44093"/>
                        <a:pt x="5225" y="37741"/>
                        <a:pt x="4477" y="33381"/>
                      </a:cubicBezTo>
                      <a:cubicBezTo>
                        <a:pt x="3356" y="26406"/>
                        <a:pt x="1114"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7" name="Freeform 7729">
                  <a:extLst>
                    <a:ext uri="{FF2B5EF4-FFF2-40B4-BE49-F238E27FC236}">
                      <a16:creationId xmlns:a16="http://schemas.microsoft.com/office/drawing/2014/main" id="{FEA99283-9006-FEAF-E64C-C56450B40529}"/>
                    </a:ext>
                  </a:extLst>
                </p:cNvPr>
                <p:cNvSpPr/>
                <p:nvPr/>
              </p:nvSpPr>
              <p:spPr>
                <a:xfrm>
                  <a:off x="6561300" y="1925860"/>
                  <a:ext cx="2899" cy="52065"/>
                </a:xfrm>
                <a:custGeom>
                  <a:avLst/>
                  <a:gdLst>
                    <a:gd name="connsiteX0" fmla="*/ 24 w 2899"/>
                    <a:gd name="connsiteY0" fmla="*/ 0 h 52065"/>
                    <a:gd name="connsiteX1" fmla="*/ 2764 w 2899"/>
                    <a:gd name="connsiteY1" fmla="*/ 18559 h 52065"/>
                    <a:gd name="connsiteX2" fmla="*/ 24 w 2899"/>
                    <a:gd name="connsiteY2" fmla="*/ 35748 h 52065"/>
                    <a:gd name="connsiteX3" fmla="*/ 2889 w 289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9" h="52065">
                      <a:moveTo>
                        <a:pt x="24" y="0"/>
                      </a:moveTo>
                      <a:cubicBezTo>
                        <a:pt x="2889" y="7972"/>
                        <a:pt x="3138" y="14324"/>
                        <a:pt x="2764" y="18559"/>
                      </a:cubicBezTo>
                      <a:cubicBezTo>
                        <a:pt x="2266" y="25534"/>
                        <a:pt x="273" y="28648"/>
                        <a:pt x="24" y="35748"/>
                      </a:cubicBezTo>
                      <a:cubicBezTo>
                        <a:pt x="-225" y="42599"/>
                        <a:pt x="1519" y="48328"/>
                        <a:pt x="288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8" name="Freeform 7730">
                  <a:extLst>
                    <a:ext uri="{FF2B5EF4-FFF2-40B4-BE49-F238E27FC236}">
                      <a16:creationId xmlns:a16="http://schemas.microsoft.com/office/drawing/2014/main" id="{A25E57DA-97AC-F390-76CA-F5DFD6082FCC}"/>
                    </a:ext>
                  </a:extLst>
                </p:cNvPr>
                <p:cNvSpPr/>
                <p:nvPr/>
              </p:nvSpPr>
              <p:spPr>
                <a:xfrm>
                  <a:off x="6554465" y="1966583"/>
                  <a:ext cx="26680" cy="26422"/>
                </a:xfrm>
                <a:custGeom>
                  <a:avLst/>
                  <a:gdLst>
                    <a:gd name="connsiteX0" fmla="*/ 8 w 26680"/>
                    <a:gd name="connsiteY0" fmla="*/ 13709 h 26422"/>
                    <a:gd name="connsiteX1" fmla="*/ 12713 w 26680"/>
                    <a:gd name="connsiteY1" fmla="*/ 8 h 26422"/>
                    <a:gd name="connsiteX2" fmla="*/ 26663 w 26680"/>
                    <a:gd name="connsiteY2" fmla="*/ 12713 h 26422"/>
                    <a:gd name="connsiteX3" fmla="*/ 13959 w 26680"/>
                    <a:gd name="connsiteY3" fmla="*/ 26414 h 26422"/>
                    <a:gd name="connsiteX4" fmla="*/ 8 w 26680"/>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422">
                      <a:moveTo>
                        <a:pt x="8" y="13709"/>
                      </a:moveTo>
                      <a:cubicBezTo>
                        <a:pt x="-241" y="6360"/>
                        <a:pt x="5365" y="257"/>
                        <a:pt x="12713" y="8"/>
                      </a:cubicBezTo>
                      <a:cubicBezTo>
                        <a:pt x="20062" y="-241"/>
                        <a:pt x="26290" y="5488"/>
                        <a:pt x="26663" y="12713"/>
                      </a:cubicBezTo>
                      <a:cubicBezTo>
                        <a:pt x="27038" y="20062"/>
                        <a:pt x="21308" y="26165"/>
                        <a:pt x="13959" y="26414"/>
                      </a:cubicBezTo>
                      <a:cubicBezTo>
                        <a:pt x="6610" y="26663"/>
                        <a:pt x="38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9" name="Freeform 7731">
                  <a:extLst>
                    <a:ext uri="{FF2B5EF4-FFF2-40B4-BE49-F238E27FC236}">
                      <a16:creationId xmlns:a16="http://schemas.microsoft.com/office/drawing/2014/main" id="{821C60BF-07F9-F9FF-C567-368DF89C32E9}"/>
                    </a:ext>
                  </a:extLst>
                </p:cNvPr>
                <p:cNvSpPr/>
                <p:nvPr/>
              </p:nvSpPr>
              <p:spPr>
                <a:xfrm>
                  <a:off x="6557546" y="1864702"/>
                  <a:ext cx="4892" cy="52189"/>
                </a:xfrm>
                <a:custGeom>
                  <a:avLst/>
                  <a:gdLst>
                    <a:gd name="connsiteX0" fmla="*/ 1660 w 4892"/>
                    <a:gd name="connsiteY0" fmla="*/ 0 h 52189"/>
                    <a:gd name="connsiteX1" fmla="*/ 540 w 4892"/>
                    <a:gd name="connsiteY1" fmla="*/ 18808 h 52189"/>
                    <a:gd name="connsiteX2" fmla="*/ 4650 w 4892"/>
                    <a:gd name="connsiteY2" fmla="*/ 35748 h 52189"/>
                    <a:gd name="connsiteX3" fmla="*/ 3155 w 48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0"/>
                      </a:moveTo>
                      <a:cubicBezTo>
                        <a:pt x="-457" y="8096"/>
                        <a:pt x="-208" y="14449"/>
                        <a:pt x="540" y="18808"/>
                      </a:cubicBezTo>
                      <a:cubicBezTo>
                        <a:pt x="1660" y="25783"/>
                        <a:pt x="3903" y="28648"/>
                        <a:pt x="4650" y="35748"/>
                      </a:cubicBezTo>
                      <a:cubicBezTo>
                        <a:pt x="5398" y="42599"/>
                        <a:pt x="4276" y="48328"/>
                        <a:pt x="31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0" name="Freeform 7732">
                  <a:extLst>
                    <a:ext uri="{FF2B5EF4-FFF2-40B4-BE49-F238E27FC236}">
                      <a16:creationId xmlns:a16="http://schemas.microsoft.com/office/drawing/2014/main" id="{4D6F7ED9-9AE3-142E-441F-ECC1296DB397}"/>
                    </a:ext>
                  </a:extLst>
                </p:cNvPr>
                <p:cNvSpPr/>
                <p:nvPr/>
              </p:nvSpPr>
              <p:spPr>
                <a:xfrm>
                  <a:off x="6565933" y="1859471"/>
                  <a:ext cx="2989" cy="52065"/>
                </a:xfrm>
                <a:custGeom>
                  <a:avLst/>
                  <a:gdLst>
                    <a:gd name="connsiteX0" fmla="*/ 2989 w 2989"/>
                    <a:gd name="connsiteY0" fmla="*/ 52065 h 52065"/>
                    <a:gd name="connsiteX1" fmla="*/ 249 w 2989"/>
                    <a:gd name="connsiteY1" fmla="*/ 33506 h 52065"/>
                    <a:gd name="connsiteX2" fmla="*/ 2865 w 2989"/>
                    <a:gd name="connsiteY2" fmla="*/ 16317 h 52065"/>
                    <a:gd name="connsiteX3" fmla="*/ 0 w 2989"/>
                    <a:gd name="connsiteY3" fmla="*/ 0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52065"/>
                      </a:moveTo>
                      <a:cubicBezTo>
                        <a:pt x="125" y="44093"/>
                        <a:pt x="-125"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1" name="Freeform 7733">
                  <a:extLst>
                    <a:ext uri="{FF2B5EF4-FFF2-40B4-BE49-F238E27FC236}">
                      <a16:creationId xmlns:a16="http://schemas.microsoft.com/office/drawing/2014/main" id="{97272391-6D82-8564-AF85-3233DD836C2F}"/>
                    </a:ext>
                  </a:extLst>
                </p:cNvPr>
                <p:cNvSpPr/>
                <p:nvPr/>
              </p:nvSpPr>
              <p:spPr>
                <a:xfrm>
                  <a:off x="6549225" y="1844267"/>
                  <a:ext cx="26440" cy="26546"/>
                </a:xfrm>
                <a:custGeom>
                  <a:avLst/>
                  <a:gdLst>
                    <a:gd name="connsiteX0" fmla="*/ 26423 w 26440"/>
                    <a:gd name="connsiteY0" fmla="*/ 12837 h 26546"/>
                    <a:gd name="connsiteX1" fmla="*/ 13843 w 26440"/>
                    <a:gd name="connsiteY1" fmla="*/ 26539 h 26546"/>
                    <a:gd name="connsiteX2" fmla="*/ 17 w 26440"/>
                    <a:gd name="connsiteY2" fmla="*/ 13709 h 26546"/>
                    <a:gd name="connsiteX3" fmla="*/ 12598 w 26440"/>
                    <a:gd name="connsiteY3" fmla="*/ 8 h 26546"/>
                    <a:gd name="connsiteX4" fmla="*/ 26423 w 2644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0" h="26545">
                      <a:moveTo>
                        <a:pt x="26423" y="12837"/>
                      </a:moveTo>
                      <a:cubicBezTo>
                        <a:pt x="26797" y="20186"/>
                        <a:pt x="21068" y="26290"/>
                        <a:pt x="13843" y="26539"/>
                      </a:cubicBezTo>
                      <a:cubicBezTo>
                        <a:pt x="6619" y="26788"/>
                        <a:pt x="391" y="21058"/>
                        <a:pt x="17" y="13709"/>
                      </a:cubicBezTo>
                      <a:cubicBezTo>
                        <a:pt x="-356" y="6360"/>
                        <a:pt x="5373" y="257"/>
                        <a:pt x="12598" y="8"/>
                      </a:cubicBezTo>
                      <a:cubicBezTo>
                        <a:pt x="19947" y="-241"/>
                        <a:pt x="26175"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2" name="Graphic 2987">
                <a:extLst>
                  <a:ext uri="{FF2B5EF4-FFF2-40B4-BE49-F238E27FC236}">
                    <a16:creationId xmlns:a16="http://schemas.microsoft.com/office/drawing/2014/main" id="{24F53091-B913-536B-2253-F31F93662B93}"/>
                  </a:ext>
                </a:extLst>
              </p:cNvPr>
              <p:cNvGrpSpPr/>
              <p:nvPr/>
            </p:nvGrpSpPr>
            <p:grpSpPr>
              <a:xfrm>
                <a:off x="6519714" y="1845264"/>
                <a:ext cx="31662" cy="148862"/>
                <a:chOff x="6519714" y="1845264"/>
                <a:chExt cx="31662" cy="148862"/>
              </a:xfrm>
              <a:grpFill/>
            </p:grpSpPr>
            <p:sp>
              <p:nvSpPr>
                <p:cNvPr id="6420" name="Freeform 7735">
                  <a:extLst>
                    <a:ext uri="{FF2B5EF4-FFF2-40B4-BE49-F238E27FC236}">
                      <a16:creationId xmlns:a16="http://schemas.microsoft.com/office/drawing/2014/main" id="{6864ECAC-92EB-CE34-20DE-26A81134806B}"/>
                    </a:ext>
                  </a:extLst>
                </p:cNvPr>
                <p:cNvSpPr/>
                <p:nvPr/>
              </p:nvSpPr>
              <p:spPr>
                <a:xfrm>
                  <a:off x="6538288" y="1921501"/>
                  <a:ext cx="4793" cy="52189"/>
                </a:xfrm>
                <a:custGeom>
                  <a:avLst/>
                  <a:gdLst>
                    <a:gd name="connsiteX0" fmla="*/ 3107 w 4793"/>
                    <a:gd name="connsiteY0" fmla="*/ 52190 h 52189"/>
                    <a:gd name="connsiteX1" fmla="*/ 4353 w 4793"/>
                    <a:gd name="connsiteY1" fmla="*/ 33381 h 52189"/>
                    <a:gd name="connsiteX2" fmla="*/ 242 w 4793"/>
                    <a:gd name="connsiteY2" fmla="*/ 16442 h 52189"/>
                    <a:gd name="connsiteX3" fmla="*/ 1737 w 4793"/>
                    <a:gd name="connsiteY3" fmla="*/ 0 h 52189"/>
                  </a:gdLst>
                  <a:ahLst/>
                  <a:cxnLst>
                    <a:cxn ang="0">
                      <a:pos x="connsiteX0" y="connsiteY0"/>
                    </a:cxn>
                    <a:cxn ang="0">
                      <a:pos x="connsiteX1" y="connsiteY1"/>
                    </a:cxn>
                    <a:cxn ang="0">
                      <a:pos x="connsiteX2" y="connsiteY2"/>
                    </a:cxn>
                    <a:cxn ang="0">
                      <a:pos x="connsiteX3" y="connsiteY3"/>
                    </a:cxn>
                  </a:cxnLst>
                  <a:rect l="l" t="t" r="r" b="b"/>
                  <a:pathLst>
                    <a:path w="4793" h="52189">
                      <a:moveTo>
                        <a:pt x="3107" y="52190"/>
                      </a:moveTo>
                      <a:cubicBezTo>
                        <a:pt x="5225" y="44093"/>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1" name="Freeform 7736">
                  <a:extLst>
                    <a:ext uri="{FF2B5EF4-FFF2-40B4-BE49-F238E27FC236}">
                      <a16:creationId xmlns:a16="http://schemas.microsoft.com/office/drawing/2014/main" id="{6B8BC0EC-9DCF-2476-B88C-00587D2112C6}"/>
                    </a:ext>
                  </a:extLst>
                </p:cNvPr>
                <p:cNvSpPr/>
                <p:nvPr/>
              </p:nvSpPr>
              <p:spPr>
                <a:xfrm>
                  <a:off x="6531654" y="1926857"/>
                  <a:ext cx="2900" cy="52065"/>
                </a:xfrm>
                <a:custGeom>
                  <a:avLst/>
                  <a:gdLst>
                    <a:gd name="connsiteX0" fmla="*/ 26 w 2900"/>
                    <a:gd name="connsiteY0" fmla="*/ 0 h 52065"/>
                    <a:gd name="connsiteX1" fmla="*/ 2765 w 2900"/>
                    <a:gd name="connsiteY1" fmla="*/ 18559 h 52065"/>
                    <a:gd name="connsiteX2" fmla="*/ 26 w 2900"/>
                    <a:gd name="connsiteY2" fmla="*/ 35748 h 52065"/>
                    <a:gd name="connsiteX3" fmla="*/ 2890 w 290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0" h="52065">
                      <a:moveTo>
                        <a:pt x="26" y="0"/>
                      </a:moveTo>
                      <a:cubicBezTo>
                        <a:pt x="2890" y="7972"/>
                        <a:pt x="3140" y="14324"/>
                        <a:pt x="2765" y="18559"/>
                      </a:cubicBezTo>
                      <a:cubicBezTo>
                        <a:pt x="2268" y="25534"/>
                        <a:pt x="274" y="28648"/>
                        <a:pt x="26" y="35748"/>
                      </a:cubicBezTo>
                      <a:cubicBezTo>
                        <a:pt x="-224" y="42599"/>
                        <a:pt x="1396" y="48328"/>
                        <a:pt x="289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2" name="Freeform 7737">
                  <a:extLst>
                    <a:ext uri="{FF2B5EF4-FFF2-40B4-BE49-F238E27FC236}">
                      <a16:creationId xmlns:a16="http://schemas.microsoft.com/office/drawing/2014/main" id="{D9C27DDB-BBFD-EDE7-25DC-AFCFC37CB3F4}"/>
                    </a:ext>
                  </a:extLst>
                </p:cNvPr>
                <p:cNvSpPr/>
                <p:nvPr/>
              </p:nvSpPr>
              <p:spPr>
                <a:xfrm>
                  <a:off x="6524697" y="1967704"/>
                  <a:ext cx="26679" cy="26421"/>
                </a:xfrm>
                <a:custGeom>
                  <a:avLst/>
                  <a:gdLst>
                    <a:gd name="connsiteX0" fmla="*/ 8 w 26679"/>
                    <a:gd name="connsiteY0" fmla="*/ 13709 h 26421"/>
                    <a:gd name="connsiteX1" fmla="*/ 12837 w 26679"/>
                    <a:gd name="connsiteY1" fmla="*/ 8 h 26421"/>
                    <a:gd name="connsiteX2" fmla="*/ 26663 w 26679"/>
                    <a:gd name="connsiteY2" fmla="*/ 12713 h 26421"/>
                    <a:gd name="connsiteX3" fmla="*/ 13834 w 26679"/>
                    <a:gd name="connsiteY3" fmla="*/ 26414 h 26421"/>
                    <a:gd name="connsiteX4" fmla="*/ 8 w 26679"/>
                    <a:gd name="connsiteY4" fmla="*/ 13709 h 2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 h="26420">
                      <a:moveTo>
                        <a:pt x="8" y="13709"/>
                      </a:moveTo>
                      <a:cubicBezTo>
                        <a:pt x="-242" y="6360"/>
                        <a:pt x="5488" y="257"/>
                        <a:pt x="12837" y="8"/>
                      </a:cubicBezTo>
                      <a:cubicBezTo>
                        <a:pt x="20186" y="-241"/>
                        <a:pt x="26414" y="5488"/>
                        <a:pt x="26663" y="12713"/>
                      </a:cubicBezTo>
                      <a:cubicBezTo>
                        <a:pt x="27037" y="20062"/>
                        <a:pt x="21307" y="26165"/>
                        <a:pt x="13834" y="26414"/>
                      </a:cubicBezTo>
                      <a:cubicBezTo>
                        <a:pt x="6484" y="26663"/>
                        <a:pt x="256"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3" name="Freeform 7738">
                  <a:extLst>
                    <a:ext uri="{FF2B5EF4-FFF2-40B4-BE49-F238E27FC236}">
                      <a16:creationId xmlns:a16="http://schemas.microsoft.com/office/drawing/2014/main" id="{CC444620-5E20-FE9D-7EBF-62DEA6EC8518}"/>
                    </a:ext>
                  </a:extLst>
                </p:cNvPr>
                <p:cNvSpPr/>
                <p:nvPr/>
              </p:nvSpPr>
              <p:spPr>
                <a:xfrm>
                  <a:off x="6528001" y="1865823"/>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3"/>
                        <a:pt x="3804"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4" name="Freeform 7739">
                  <a:extLst>
                    <a:ext uri="{FF2B5EF4-FFF2-40B4-BE49-F238E27FC236}">
                      <a16:creationId xmlns:a16="http://schemas.microsoft.com/office/drawing/2014/main" id="{0A9A05F4-7FFB-7E8F-9BBC-010AB8BD52CA}"/>
                    </a:ext>
                  </a:extLst>
                </p:cNvPr>
                <p:cNvSpPr/>
                <p:nvPr/>
              </p:nvSpPr>
              <p:spPr>
                <a:xfrm>
                  <a:off x="6536402" y="1860467"/>
                  <a:ext cx="2899" cy="52065"/>
                </a:xfrm>
                <a:custGeom>
                  <a:avLst/>
                  <a:gdLst>
                    <a:gd name="connsiteX0" fmla="*/ 2875 w 2899"/>
                    <a:gd name="connsiteY0" fmla="*/ 52065 h 52065"/>
                    <a:gd name="connsiteX1" fmla="*/ 135 w 2899"/>
                    <a:gd name="connsiteY1" fmla="*/ 33506 h 52065"/>
                    <a:gd name="connsiteX2" fmla="*/ 2875 w 2899"/>
                    <a:gd name="connsiteY2" fmla="*/ 16317 h 52065"/>
                    <a:gd name="connsiteX3" fmla="*/ 10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875" y="52065"/>
                      </a:moveTo>
                      <a:cubicBezTo>
                        <a:pt x="10" y="44093"/>
                        <a:pt x="-239" y="37741"/>
                        <a:pt x="135" y="33506"/>
                      </a:cubicBezTo>
                      <a:cubicBezTo>
                        <a:pt x="633" y="26531"/>
                        <a:pt x="2626" y="23417"/>
                        <a:pt x="2875" y="16317"/>
                      </a:cubicBezTo>
                      <a:cubicBezTo>
                        <a:pt x="3124" y="9466"/>
                        <a:pt x="1380"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5" name="Freeform 7740">
                  <a:extLst>
                    <a:ext uri="{FF2B5EF4-FFF2-40B4-BE49-F238E27FC236}">
                      <a16:creationId xmlns:a16="http://schemas.microsoft.com/office/drawing/2014/main" id="{C9EB6BEB-DF4B-78A4-575F-8E589CFE100C}"/>
                    </a:ext>
                  </a:extLst>
                </p:cNvPr>
                <p:cNvSpPr/>
                <p:nvPr/>
              </p:nvSpPr>
              <p:spPr>
                <a:xfrm>
                  <a:off x="6519714" y="1845264"/>
                  <a:ext cx="26431" cy="26546"/>
                </a:xfrm>
                <a:custGeom>
                  <a:avLst/>
                  <a:gdLst>
                    <a:gd name="connsiteX0" fmla="*/ 26414 w 26431"/>
                    <a:gd name="connsiteY0" fmla="*/ 12837 h 26546"/>
                    <a:gd name="connsiteX1" fmla="*/ 13710 w 26431"/>
                    <a:gd name="connsiteY1" fmla="*/ 26539 h 26546"/>
                    <a:gd name="connsiteX2" fmla="*/ 8 w 26431"/>
                    <a:gd name="connsiteY2" fmla="*/ 13709 h 26546"/>
                    <a:gd name="connsiteX3" fmla="*/ 12713 w 26431"/>
                    <a:gd name="connsiteY3" fmla="*/ 8 h 26546"/>
                    <a:gd name="connsiteX4" fmla="*/ 26414 w 2643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4" y="12837"/>
                      </a:moveTo>
                      <a:cubicBezTo>
                        <a:pt x="26788" y="20186"/>
                        <a:pt x="21058" y="26290"/>
                        <a:pt x="13710" y="26539"/>
                      </a:cubicBezTo>
                      <a:cubicBezTo>
                        <a:pt x="6361" y="26788"/>
                        <a:pt x="257" y="21058"/>
                        <a:pt x="8" y="13709"/>
                      </a:cubicBezTo>
                      <a:cubicBezTo>
                        <a:pt x="-241" y="6360"/>
                        <a:pt x="5364" y="257"/>
                        <a:pt x="12713" y="8"/>
                      </a:cubicBezTo>
                      <a:cubicBezTo>
                        <a:pt x="20062" y="-241"/>
                        <a:pt x="26166"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3" name="Graphic 2987">
                <a:extLst>
                  <a:ext uri="{FF2B5EF4-FFF2-40B4-BE49-F238E27FC236}">
                    <a16:creationId xmlns:a16="http://schemas.microsoft.com/office/drawing/2014/main" id="{32DFB856-6F59-09C1-FFE9-80A71AB9D20D}"/>
                  </a:ext>
                </a:extLst>
              </p:cNvPr>
              <p:cNvGrpSpPr/>
              <p:nvPr/>
            </p:nvGrpSpPr>
            <p:grpSpPr>
              <a:xfrm>
                <a:off x="6490318" y="1846385"/>
                <a:ext cx="31279" cy="148737"/>
                <a:chOff x="6490318" y="1846385"/>
                <a:chExt cx="31279" cy="148737"/>
              </a:xfrm>
              <a:grpFill/>
            </p:grpSpPr>
            <p:sp>
              <p:nvSpPr>
                <p:cNvPr id="6414" name="Freeform 7742">
                  <a:extLst>
                    <a:ext uri="{FF2B5EF4-FFF2-40B4-BE49-F238E27FC236}">
                      <a16:creationId xmlns:a16="http://schemas.microsoft.com/office/drawing/2014/main" id="{F09E4651-F744-570C-53E3-055F0244801C}"/>
                    </a:ext>
                  </a:extLst>
                </p:cNvPr>
                <p:cNvSpPr/>
                <p:nvPr/>
              </p:nvSpPr>
              <p:spPr>
                <a:xfrm>
                  <a:off x="6508519" y="1922497"/>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5" y="44093"/>
                        <a:pt x="4975" y="37741"/>
                        <a:pt x="4353" y="33381"/>
                      </a:cubicBezTo>
                      <a:cubicBezTo>
                        <a:pt x="3356" y="26406"/>
                        <a:pt x="989"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5" name="Freeform 7743">
                  <a:extLst>
                    <a:ext uri="{FF2B5EF4-FFF2-40B4-BE49-F238E27FC236}">
                      <a16:creationId xmlns:a16="http://schemas.microsoft.com/office/drawing/2014/main" id="{356ABE32-532B-F0DA-357C-99D037E2E9AF}"/>
                    </a:ext>
                  </a:extLst>
                </p:cNvPr>
                <p:cNvSpPr/>
                <p:nvPr/>
              </p:nvSpPr>
              <p:spPr>
                <a:xfrm>
                  <a:off x="6502009" y="192797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2"/>
                        <a:pt x="3015" y="14324"/>
                        <a:pt x="2766" y="18559"/>
                      </a:cubicBezTo>
                      <a:cubicBezTo>
                        <a:pt x="2268" y="25534"/>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6" name="Freeform 7744">
                  <a:extLst>
                    <a:ext uri="{FF2B5EF4-FFF2-40B4-BE49-F238E27FC236}">
                      <a16:creationId xmlns:a16="http://schemas.microsoft.com/office/drawing/2014/main" id="{5674F90E-0C4C-EBAE-95B9-9557D909A3AC}"/>
                    </a:ext>
                  </a:extLst>
                </p:cNvPr>
                <p:cNvSpPr/>
                <p:nvPr/>
              </p:nvSpPr>
              <p:spPr>
                <a:xfrm>
                  <a:off x="6494927" y="1968700"/>
                  <a:ext cx="26671" cy="26422"/>
                </a:xfrm>
                <a:custGeom>
                  <a:avLst/>
                  <a:gdLst>
                    <a:gd name="connsiteX0" fmla="*/ 8 w 26671"/>
                    <a:gd name="connsiteY0" fmla="*/ 13709 h 26422"/>
                    <a:gd name="connsiteX1" fmla="*/ 12837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2" y="6360"/>
                        <a:pt x="5488" y="257"/>
                        <a:pt x="12837" y="8"/>
                      </a:cubicBezTo>
                      <a:cubicBezTo>
                        <a:pt x="20186" y="-241"/>
                        <a:pt x="26414" y="5488"/>
                        <a:pt x="26663" y="12713"/>
                      </a:cubicBezTo>
                      <a:cubicBezTo>
                        <a:pt x="26912"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7" name="Freeform 7745">
                  <a:extLst>
                    <a:ext uri="{FF2B5EF4-FFF2-40B4-BE49-F238E27FC236}">
                      <a16:creationId xmlns:a16="http://schemas.microsoft.com/office/drawing/2014/main" id="{B8F985CA-C7A4-3F4C-C713-964FF78A54B2}"/>
                    </a:ext>
                  </a:extLst>
                </p:cNvPr>
                <p:cNvSpPr/>
                <p:nvPr/>
              </p:nvSpPr>
              <p:spPr>
                <a:xfrm>
                  <a:off x="6498481" y="1866820"/>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437" y="25783"/>
                        <a:pt x="3679"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8" name="Freeform 7746">
                  <a:extLst>
                    <a:ext uri="{FF2B5EF4-FFF2-40B4-BE49-F238E27FC236}">
                      <a16:creationId xmlns:a16="http://schemas.microsoft.com/office/drawing/2014/main" id="{734923E9-1E3A-D7A9-A217-F34EDE303A30}"/>
                    </a:ext>
                  </a:extLst>
                </p:cNvPr>
                <p:cNvSpPr/>
                <p:nvPr/>
              </p:nvSpPr>
              <p:spPr>
                <a:xfrm>
                  <a:off x="6506942" y="1861588"/>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3"/>
                        <a:pt x="-174" y="37741"/>
                        <a:pt x="74" y="33506"/>
                      </a:cubicBezTo>
                      <a:cubicBezTo>
                        <a:pt x="573" y="26531"/>
                        <a:pt x="2566" y="23417"/>
                        <a:pt x="2815" y="16317"/>
                      </a:cubicBezTo>
                      <a:cubicBezTo>
                        <a:pt x="3064" y="9466"/>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9" name="Freeform 7747">
                  <a:extLst>
                    <a:ext uri="{FF2B5EF4-FFF2-40B4-BE49-F238E27FC236}">
                      <a16:creationId xmlns:a16="http://schemas.microsoft.com/office/drawing/2014/main" id="{F3D263B2-7211-9EFE-0844-6B3D4F862FEF}"/>
                    </a:ext>
                  </a:extLst>
                </p:cNvPr>
                <p:cNvSpPr/>
                <p:nvPr/>
              </p:nvSpPr>
              <p:spPr>
                <a:xfrm>
                  <a:off x="6490318" y="1846385"/>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3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4" y="20186"/>
                        <a:pt x="21058" y="26290"/>
                        <a:pt x="13709" y="26539"/>
                      </a:cubicBezTo>
                      <a:cubicBezTo>
                        <a:pt x="6361" y="26788"/>
                        <a:pt x="257" y="21058"/>
                        <a:pt x="8" y="13709"/>
                      </a:cubicBezTo>
                      <a:cubicBezTo>
                        <a:pt x="-241" y="6360"/>
                        <a:pt x="5364" y="257"/>
                        <a:pt x="12713" y="8"/>
                      </a:cubicBezTo>
                      <a:cubicBezTo>
                        <a:pt x="20062" y="-241"/>
                        <a:pt x="26040"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4" name="Graphic 2987">
                <a:extLst>
                  <a:ext uri="{FF2B5EF4-FFF2-40B4-BE49-F238E27FC236}">
                    <a16:creationId xmlns:a16="http://schemas.microsoft.com/office/drawing/2014/main" id="{BEC52DC9-E64D-9863-F84D-6210F9E34C4F}"/>
                  </a:ext>
                </a:extLst>
              </p:cNvPr>
              <p:cNvGrpSpPr/>
              <p:nvPr/>
            </p:nvGrpSpPr>
            <p:grpSpPr>
              <a:xfrm>
                <a:off x="6460799" y="1847381"/>
                <a:ext cx="31030" cy="148862"/>
                <a:chOff x="6460799" y="1847381"/>
                <a:chExt cx="31030" cy="148862"/>
              </a:xfrm>
              <a:grpFill/>
            </p:grpSpPr>
            <p:sp>
              <p:nvSpPr>
                <p:cNvPr id="6408" name="Freeform 7749">
                  <a:extLst>
                    <a:ext uri="{FF2B5EF4-FFF2-40B4-BE49-F238E27FC236}">
                      <a16:creationId xmlns:a16="http://schemas.microsoft.com/office/drawing/2014/main" id="{FCACB21B-904E-5810-5BC5-DAED081FEFD3}"/>
                    </a:ext>
                  </a:extLst>
                </p:cNvPr>
                <p:cNvSpPr/>
                <p:nvPr/>
              </p:nvSpPr>
              <p:spPr>
                <a:xfrm>
                  <a:off x="6478765" y="1923618"/>
                  <a:ext cx="4868" cy="52189"/>
                </a:xfrm>
                <a:custGeom>
                  <a:avLst/>
                  <a:gdLst>
                    <a:gd name="connsiteX0" fmla="*/ 3092 w 4868"/>
                    <a:gd name="connsiteY0" fmla="*/ 52190 h 52189"/>
                    <a:gd name="connsiteX1" fmla="*/ 4337 w 4868"/>
                    <a:gd name="connsiteY1" fmla="*/ 33381 h 52189"/>
                    <a:gd name="connsiteX2" fmla="*/ 227 w 4868"/>
                    <a:gd name="connsiteY2" fmla="*/ 16442 h 52189"/>
                    <a:gd name="connsiteX3" fmla="*/ 1846 w 4868"/>
                    <a:gd name="connsiteY3" fmla="*/ 0 h 52189"/>
                  </a:gdLst>
                  <a:ahLst/>
                  <a:cxnLst>
                    <a:cxn ang="0">
                      <a:pos x="connsiteX0" y="connsiteY0"/>
                    </a:cxn>
                    <a:cxn ang="0">
                      <a:pos x="connsiteX1" y="connsiteY1"/>
                    </a:cxn>
                    <a:cxn ang="0">
                      <a:pos x="connsiteX2" y="connsiteY2"/>
                    </a:cxn>
                    <a:cxn ang="0">
                      <a:pos x="connsiteX3" y="connsiteY3"/>
                    </a:cxn>
                  </a:cxnLst>
                  <a:rect l="l" t="t" r="r" b="b"/>
                  <a:pathLst>
                    <a:path w="4868" h="52189">
                      <a:moveTo>
                        <a:pt x="3092" y="52190"/>
                      </a:moveTo>
                      <a:cubicBezTo>
                        <a:pt x="5334" y="44093"/>
                        <a:pt x="5085" y="37741"/>
                        <a:pt x="4337" y="33381"/>
                      </a:cubicBezTo>
                      <a:cubicBezTo>
                        <a:pt x="3341" y="26406"/>
                        <a:pt x="1099"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9" name="Freeform 7750">
                  <a:extLst>
                    <a:ext uri="{FF2B5EF4-FFF2-40B4-BE49-F238E27FC236}">
                      <a16:creationId xmlns:a16="http://schemas.microsoft.com/office/drawing/2014/main" id="{9CD1DEF5-7FD5-1A10-0F38-54ADC86069CE}"/>
                    </a:ext>
                  </a:extLst>
                </p:cNvPr>
                <p:cNvSpPr/>
                <p:nvPr/>
              </p:nvSpPr>
              <p:spPr>
                <a:xfrm>
                  <a:off x="6472115" y="1928974"/>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5"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0" name="Freeform 7751">
                  <a:extLst>
                    <a:ext uri="{FF2B5EF4-FFF2-40B4-BE49-F238E27FC236}">
                      <a16:creationId xmlns:a16="http://schemas.microsoft.com/office/drawing/2014/main" id="{BC4D7A17-E2E5-FC85-628A-8F0DE2477347}"/>
                    </a:ext>
                  </a:extLst>
                </p:cNvPr>
                <p:cNvSpPr/>
                <p:nvPr/>
              </p:nvSpPr>
              <p:spPr>
                <a:xfrm>
                  <a:off x="6465158" y="1969821"/>
                  <a:ext cx="26671" cy="26422"/>
                </a:xfrm>
                <a:custGeom>
                  <a:avLst/>
                  <a:gdLst>
                    <a:gd name="connsiteX0" fmla="*/ 8 w 26671"/>
                    <a:gd name="connsiteY0" fmla="*/ 13709 h 26422"/>
                    <a:gd name="connsiteX1" fmla="*/ 12838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1" y="6360"/>
                        <a:pt x="5488" y="257"/>
                        <a:pt x="12838" y="8"/>
                      </a:cubicBezTo>
                      <a:cubicBezTo>
                        <a:pt x="20186" y="-241"/>
                        <a:pt x="26414" y="5488"/>
                        <a:pt x="26663" y="12713"/>
                      </a:cubicBezTo>
                      <a:cubicBezTo>
                        <a:pt x="26913"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1" name="Freeform 7752">
                  <a:extLst>
                    <a:ext uri="{FF2B5EF4-FFF2-40B4-BE49-F238E27FC236}">
                      <a16:creationId xmlns:a16="http://schemas.microsoft.com/office/drawing/2014/main" id="{5D66D07D-6C04-5223-BDBE-8B87A901B441}"/>
                    </a:ext>
                  </a:extLst>
                </p:cNvPr>
                <p:cNvSpPr/>
                <p:nvPr/>
              </p:nvSpPr>
              <p:spPr>
                <a:xfrm>
                  <a:off x="6468907" y="1867941"/>
                  <a:ext cx="4706" cy="52189"/>
                </a:xfrm>
                <a:custGeom>
                  <a:avLst/>
                  <a:gdLst>
                    <a:gd name="connsiteX0" fmla="*/ 1740 w 4706"/>
                    <a:gd name="connsiteY0" fmla="*/ 0 h 52189"/>
                    <a:gd name="connsiteX1" fmla="*/ 494 w 4706"/>
                    <a:gd name="connsiteY1" fmla="*/ 18808 h 52189"/>
                    <a:gd name="connsiteX2" fmla="*/ 4480 w 4706"/>
                    <a:gd name="connsiteY2" fmla="*/ 35748 h 52189"/>
                    <a:gd name="connsiteX3" fmla="*/ 2861 w 470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06" h="52189">
                      <a:moveTo>
                        <a:pt x="1740" y="0"/>
                      </a:moveTo>
                      <a:cubicBezTo>
                        <a:pt x="-378" y="8096"/>
                        <a:pt x="-253" y="14449"/>
                        <a:pt x="494" y="18808"/>
                      </a:cubicBezTo>
                      <a:cubicBezTo>
                        <a:pt x="1490" y="25783"/>
                        <a:pt x="3733" y="28648"/>
                        <a:pt x="4480" y="35748"/>
                      </a:cubicBezTo>
                      <a:cubicBezTo>
                        <a:pt x="5228" y="42599"/>
                        <a:pt x="3982" y="48453"/>
                        <a:pt x="28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2" name="Freeform 7753">
                  <a:extLst>
                    <a:ext uri="{FF2B5EF4-FFF2-40B4-BE49-F238E27FC236}">
                      <a16:creationId xmlns:a16="http://schemas.microsoft.com/office/drawing/2014/main" id="{C061B18E-F838-0077-D919-38DB5C4E5F05}"/>
                    </a:ext>
                  </a:extLst>
                </p:cNvPr>
                <p:cNvSpPr/>
                <p:nvPr/>
              </p:nvSpPr>
              <p:spPr>
                <a:xfrm>
                  <a:off x="6477361" y="1862585"/>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3"/>
                        <a:pt x="-237" y="37741"/>
                        <a:pt x="136" y="33506"/>
                      </a:cubicBezTo>
                      <a:cubicBezTo>
                        <a:pt x="635" y="26531"/>
                        <a:pt x="2627" y="23417"/>
                        <a:pt x="2877" y="16317"/>
                      </a:cubicBezTo>
                      <a:cubicBezTo>
                        <a:pt x="3126" y="9466"/>
                        <a:pt x="1507"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3" name="Freeform 7754">
                  <a:extLst>
                    <a:ext uri="{FF2B5EF4-FFF2-40B4-BE49-F238E27FC236}">
                      <a16:creationId xmlns:a16="http://schemas.microsoft.com/office/drawing/2014/main" id="{8F7EDA74-FC07-7AC6-8EE4-D076B364A771}"/>
                    </a:ext>
                  </a:extLst>
                </p:cNvPr>
                <p:cNvSpPr/>
                <p:nvPr/>
              </p:nvSpPr>
              <p:spPr>
                <a:xfrm>
                  <a:off x="6460799" y="1847381"/>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2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3" y="20186"/>
                        <a:pt x="21058"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5" name="Graphic 2987">
                <a:extLst>
                  <a:ext uri="{FF2B5EF4-FFF2-40B4-BE49-F238E27FC236}">
                    <a16:creationId xmlns:a16="http://schemas.microsoft.com/office/drawing/2014/main" id="{32769078-EF85-CCB7-0FAA-9214892CAC98}"/>
                  </a:ext>
                </a:extLst>
              </p:cNvPr>
              <p:cNvGrpSpPr/>
              <p:nvPr/>
            </p:nvGrpSpPr>
            <p:grpSpPr>
              <a:xfrm>
                <a:off x="6431278" y="1848502"/>
                <a:ext cx="30781" cy="148862"/>
                <a:chOff x="6431278" y="1848502"/>
                <a:chExt cx="30781" cy="148862"/>
              </a:xfrm>
              <a:grpFill/>
            </p:grpSpPr>
            <p:sp>
              <p:nvSpPr>
                <p:cNvPr id="6402" name="Freeform 7756">
                  <a:extLst>
                    <a:ext uri="{FF2B5EF4-FFF2-40B4-BE49-F238E27FC236}">
                      <a16:creationId xmlns:a16="http://schemas.microsoft.com/office/drawing/2014/main" id="{A811F9BA-B194-56DF-8521-085338A89D74}"/>
                    </a:ext>
                  </a:extLst>
                </p:cNvPr>
                <p:cNvSpPr/>
                <p:nvPr/>
              </p:nvSpPr>
              <p:spPr>
                <a:xfrm>
                  <a:off x="6449244" y="1924739"/>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3"/>
                        <a:pt x="4835" y="37741"/>
                        <a:pt x="4213" y="33381"/>
                      </a:cubicBezTo>
                      <a:cubicBezTo>
                        <a:pt x="3217"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3" name="Freeform 7757">
                  <a:extLst>
                    <a:ext uri="{FF2B5EF4-FFF2-40B4-BE49-F238E27FC236}">
                      <a16:creationId xmlns:a16="http://schemas.microsoft.com/office/drawing/2014/main" id="{BD1A4DF3-4A81-19E6-795D-89690A2179EF}"/>
                    </a:ext>
                  </a:extLst>
                </p:cNvPr>
                <p:cNvSpPr/>
                <p:nvPr/>
              </p:nvSpPr>
              <p:spPr>
                <a:xfrm>
                  <a:off x="6442471" y="1930095"/>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4" name="Freeform 7758">
                  <a:extLst>
                    <a:ext uri="{FF2B5EF4-FFF2-40B4-BE49-F238E27FC236}">
                      <a16:creationId xmlns:a16="http://schemas.microsoft.com/office/drawing/2014/main" id="{2A208B99-445D-F011-CCA7-4710FCAC385F}"/>
                    </a:ext>
                  </a:extLst>
                </p:cNvPr>
                <p:cNvSpPr/>
                <p:nvPr/>
              </p:nvSpPr>
              <p:spPr>
                <a:xfrm>
                  <a:off x="6435388" y="1970818"/>
                  <a:ext cx="26671" cy="26546"/>
                </a:xfrm>
                <a:custGeom>
                  <a:avLst/>
                  <a:gdLst>
                    <a:gd name="connsiteX0" fmla="*/ 8 w 26671"/>
                    <a:gd name="connsiteY0" fmla="*/ 13709 h 26546"/>
                    <a:gd name="connsiteX1" fmla="*/ 12838 w 26671"/>
                    <a:gd name="connsiteY1" fmla="*/ 8 h 26546"/>
                    <a:gd name="connsiteX2" fmla="*/ 26663 w 26671"/>
                    <a:gd name="connsiteY2" fmla="*/ 12837 h 26546"/>
                    <a:gd name="connsiteX3" fmla="*/ 13834 w 26671"/>
                    <a:gd name="connsiteY3" fmla="*/ 26539 h 26546"/>
                    <a:gd name="connsiteX4" fmla="*/ 8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3709"/>
                      </a:moveTo>
                      <a:cubicBezTo>
                        <a:pt x="-241" y="6360"/>
                        <a:pt x="5488" y="257"/>
                        <a:pt x="12838" y="8"/>
                      </a:cubicBezTo>
                      <a:cubicBezTo>
                        <a:pt x="20187" y="-241"/>
                        <a:pt x="26415" y="5488"/>
                        <a:pt x="26663" y="12837"/>
                      </a:cubicBezTo>
                      <a:cubicBezTo>
                        <a:pt x="26913" y="20186"/>
                        <a:pt x="21183" y="26290"/>
                        <a:pt x="13834"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5" name="Freeform 7759">
                  <a:extLst>
                    <a:ext uri="{FF2B5EF4-FFF2-40B4-BE49-F238E27FC236}">
                      <a16:creationId xmlns:a16="http://schemas.microsoft.com/office/drawing/2014/main" id="{E7E15D13-D771-6654-D39C-13D9033CF595}"/>
                    </a:ext>
                  </a:extLst>
                </p:cNvPr>
                <p:cNvSpPr/>
                <p:nvPr/>
              </p:nvSpPr>
              <p:spPr>
                <a:xfrm>
                  <a:off x="6439324" y="1868937"/>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6" name="Freeform 7760">
                  <a:extLst>
                    <a:ext uri="{FF2B5EF4-FFF2-40B4-BE49-F238E27FC236}">
                      <a16:creationId xmlns:a16="http://schemas.microsoft.com/office/drawing/2014/main" id="{7A22E7C5-7AB4-8A56-BEA4-65D06697AA45}"/>
                    </a:ext>
                  </a:extLst>
                </p:cNvPr>
                <p:cNvSpPr/>
                <p:nvPr/>
              </p:nvSpPr>
              <p:spPr>
                <a:xfrm>
                  <a:off x="6447716" y="186370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3"/>
                        <a:pt x="-237" y="37741"/>
                        <a:pt x="136" y="33506"/>
                      </a:cubicBezTo>
                      <a:cubicBezTo>
                        <a:pt x="635" y="26531"/>
                        <a:pt x="2752" y="23417"/>
                        <a:pt x="3001" y="16317"/>
                      </a:cubicBezTo>
                      <a:cubicBezTo>
                        <a:pt x="3250" y="9466"/>
                        <a:pt x="1632"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7" name="Freeform 7761">
                  <a:extLst>
                    <a:ext uri="{FF2B5EF4-FFF2-40B4-BE49-F238E27FC236}">
                      <a16:creationId xmlns:a16="http://schemas.microsoft.com/office/drawing/2014/main" id="{AE1F46C7-8A3D-09B8-44EA-C61A5C1ACF2F}"/>
                    </a:ext>
                  </a:extLst>
                </p:cNvPr>
                <p:cNvSpPr/>
                <p:nvPr/>
              </p:nvSpPr>
              <p:spPr>
                <a:xfrm>
                  <a:off x="6431278" y="1848502"/>
                  <a:ext cx="26421" cy="26546"/>
                </a:xfrm>
                <a:custGeom>
                  <a:avLst/>
                  <a:gdLst>
                    <a:gd name="connsiteX0" fmla="*/ 26414 w 26421"/>
                    <a:gd name="connsiteY0" fmla="*/ 12837 h 26546"/>
                    <a:gd name="connsiteX1" fmla="*/ 13709 w 26421"/>
                    <a:gd name="connsiteY1" fmla="*/ 26539 h 26546"/>
                    <a:gd name="connsiteX2" fmla="*/ 8 w 26421"/>
                    <a:gd name="connsiteY2" fmla="*/ 13709 h 26546"/>
                    <a:gd name="connsiteX3" fmla="*/ 12712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6" name="Graphic 2987">
                <a:extLst>
                  <a:ext uri="{FF2B5EF4-FFF2-40B4-BE49-F238E27FC236}">
                    <a16:creationId xmlns:a16="http://schemas.microsoft.com/office/drawing/2014/main" id="{18E8C0C9-7736-9E8A-95DB-83F760853162}"/>
                  </a:ext>
                </a:extLst>
              </p:cNvPr>
              <p:cNvGrpSpPr/>
              <p:nvPr/>
            </p:nvGrpSpPr>
            <p:grpSpPr>
              <a:xfrm>
                <a:off x="6401758" y="1849499"/>
                <a:ext cx="30531" cy="148986"/>
                <a:chOff x="6401758" y="1849499"/>
                <a:chExt cx="30531" cy="148986"/>
              </a:xfrm>
              <a:grpFill/>
            </p:grpSpPr>
            <p:sp>
              <p:nvSpPr>
                <p:cNvPr id="6396" name="Freeform 7763">
                  <a:extLst>
                    <a:ext uri="{FF2B5EF4-FFF2-40B4-BE49-F238E27FC236}">
                      <a16:creationId xmlns:a16="http://schemas.microsoft.com/office/drawing/2014/main" id="{6A62B444-DA51-2AB5-B766-9E53836241C1}"/>
                    </a:ext>
                  </a:extLst>
                </p:cNvPr>
                <p:cNvSpPr/>
                <p:nvPr/>
              </p:nvSpPr>
              <p:spPr>
                <a:xfrm>
                  <a:off x="6419476" y="1925736"/>
                  <a:ext cx="4644" cy="52189"/>
                </a:xfrm>
                <a:custGeom>
                  <a:avLst/>
                  <a:gdLst>
                    <a:gd name="connsiteX0" fmla="*/ 2842 w 4644"/>
                    <a:gd name="connsiteY0" fmla="*/ 52190 h 52189"/>
                    <a:gd name="connsiteX1" fmla="*/ 4212 w 4644"/>
                    <a:gd name="connsiteY1" fmla="*/ 33381 h 52189"/>
                    <a:gd name="connsiteX2" fmla="*/ 227 w 4644"/>
                    <a:gd name="connsiteY2" fmla="*/ 16442 h 52189"/>
                    <a:gd name="connsiteX3" fmla="*/ 1846 w 4644"/>
                    <a:gd name="connsiteY3" fmla="*/ 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52190"/>
                      </a:moveTo>
                      <a:cubicBezTo>
                        <a:pt x="5084" y="44093"/>
                        <a:pt x="4835" y="37741"/>
                        <a:pt x="4212"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7" name="Freeform 7764">
                  <a:extLst>
                    <a:ext uri="{FF2B5EF4-FFF2-40B4-BE49-F238E27FC236}">
                      <a16:creationId xmlns:a16="http://schemas.microsoft.com/office/drawing/2014/main" id="{505AC8AC-B34D-BA5C-E4CF-5FDE78266E5F}"/>
                    </a:ext>
                  </a:extLst>
                </p:cNvPr>
                <p:cNvSpPr/>
                <p:nvPr/>
              </p:nvSpPr>
              <p:spPr>
                <a:xfrm>
                  <a:off x="6412824" y="1931092"/>
                  <a:ext cx="2979" cy="52065"/>
                </a:xfrm>
                <a:custGeom>
                  <a:avLst/>
                  <a:gdLst>
                    <a:gd name="connsiteX0" fmla="*/ 277 w 2979"/>
                    <a:gd name="connsiteY0" fmla="*/ 0 h 52065"/>
                    <a:gd name="connsiteX1" fmla="*/ 2893 w 2979"/>
                    <a:gd name="connsiteY1" fmla="*/ 18559 h 52065"/>
                    <a:gd name="connsiteX2" fmla="*/ 27 w 2979"/>
                    <a:gd name="connsiteY2" fmla="*/ 35748 h 52065"/>
                    <a:gd name="connsiteX3" fmla="*/ 2768 w 297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9" h="52065">
                      <a:moveTo>
                        <a:pt x="277" y="0"/>
                      </a:moveTo>
                      <a:cubicBezTo>
                        <a:pt x="3017" y="7972"/>
                        <a:pt x="3141" y="14324"/>
                        <a:pt x="2893" y="18559"/>
                      </a:cubicBezTo>
                      <a:cubicBezTo>
                        <a:pt x="2270" y="25534"/>
                        <a:pt x="277" y="28648"/>
                        <a:pt x="27" y="35748"/>
                      </a:cubicBezTo>
                      <a:cubicBezTo>
                        <a:pt x="-221" y="42599"/>
                        <a:pt x="1273" y="48328"/>
                        <a:pt x="276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8" name="Freeform 7765">
                  <a:extLst>
                    <a:ext uri="{FF2B5EF4-FFF2-40B4-BE49-F238E27FC236}">
                      <a16:creationId xmlns:a16="http://schemas.microsoft.com/office/drawing/2014/main" id="{C89534FE-E0ED-02F6-568E-7C8E7C48B18C}"/>
                    </a:ext>
                  </a:extLst>
                </p:cNvPr>
                <p:cNvSpPr/>
                <p:nvPr/>
              </p:nvSpPr>
              <p:spPr>
                <a:xfrm>
                  <a:off x="6405620" y="1971939"/>
                  <a:ext cx="26670" cy="26546"/>
                </a:xfrm>
                <a:custGeom>
                  <a:avLst/>
                  <a:gdLst>
                    <a:gd name="connsiteX0" fmla="*/ 8 w 26670"/>
                    <a:gd name="connsiteY0" fmla="*/ 13709 h 26546"/>
                    <a:gd name="connsiteX1" fmla="*/ 12961 w 26670"/>
                    <a:gd name="connsiteY1" fmla="*/ 8 h 26546"/>
                    <a:gd name="connsiteX2" fmla="*/ 26662 w 26670"/>
                    <a:gd name="connsiteY2" fmla="*/ 12837 h 26546"/>
                    <a:gd name="connsiteX3" fmla="*/ 13709 w 26670"/>
                    <a:gd name="connsiteY3" fmla="*/ 26539 h 26546"/>
                    <a:gd name="connsiteX4" fmla="*/ 8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3709"/>
                      </a:moveTo>
                      <a:cubicBezTo>
                        <a:pt x="-242" y="6360"/>
                        <a:pt x="5612" y="257"/>
                        <a:pt x="12961" y="8"/>
                      </a:cubicBezTo>
                      <a:cubicBezTo>
                        <a:pt x="20311" y="-241"/>
                        <a:pt x="26414" y="5488"/>
                        <a:pt x="26662" y="12837"/>
                      </a:cubicBezTo>
                      <a:cubicBezTo>
                        <a:pt x="26912" y="20186"/>
                        <a:pt x="21182" y="26290"/>
                        <a:pt x="13709" y="26539"/>
                      </a:cubicBezTo>
                      <a:cubicBezTo>
                        <a:pt x="6236" y="26788"/>
                        <a:pt x="13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9" name="Freeform 7766">
                  <a:extLst>
                    <a:ext uri="{FF2B5EF4-FFF2-40B4-BE49-F238E27FC236}">
                      <a16:creationId xmlns:a16="http://schemas.microsoft.com/office/drawing/2014/main" id="{C0967E4D-71AB-DB41-86B0-75729E5E3A18}"/>
                    </a:ext>
                  </a:extLst>
                </p:cNvPr>
                <p:cNvSpPr/>
                <p:nvPr/>
              </p:nvSpPr>
              <p:spPr>
                <a:xfrm>
                  <a:off x="6409803" y="1870058"/>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8"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0" name="Freeform 7767">
                  <a:extLst>
                    <a:ext uri="{FF2B5EF4-FFF2-40B4-BE49-F238E27FC236}">
                      <a16:creationId xmlns:a16="http://schemas.microsoft.com/office/drawing/2014/main" id="{EF1684F6-B5C5-B23A-AFB8-EB60EE487336}"/>
                    </a:ext>
                  </a:extLst>
                </p:cNvPr>
                <p:cNvSpPr/>
                <p:nvPr/>
              </p:nvSpPr>
              <p:spPr>
                <a:xfrm>
                  <a:off x="6418121" y="1864827"/>
                  <a:ext cx="2977" cy="52065"/>
                </a:xfrm>
                <a:custGeom>
                  <a:avLst/>
                  <a:gdLst>
                    <a:gd name="connsiteX0" fmla="*/ 2702 w 2977"/>
                    <a:gd name="connsiteY0" fmla="*/ 52065 h 52065"/>
                    <a:gd name="connsiteX1" fmla="*/ 87 w 2977"/>
                    <a:gd name="connsiteY1" fmla="*/ 33506 h 52065"/>
                    <a:gd name="connsiteX2" fmla="*/ 2951 w 2977"/>
                    <a:gd name="connsiteY2" fmla="*/ 16317 h 52065"/>
                    <a:gd name="connsiteX3" fmla="*/ 335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02" y="52065"/>
                      </a:moveTo>
                      <a:cubicBezTo>
                        <a:pt x="-38" y="44093"/>
                        <a:pt x="-162" y="37741"/>
                        <a:pt x="87" y="33506"/>
                      </a:cubicBezTo>
                      <a:cubicBezTo>
                        <a:pt x="585" y="26531"/>
                        <a:pt x="2702" y="23417"/>
                        <a:pt x="2951" y="16317"/>
                      </a:cubicBezTo>
                      <a:cubicBezTo>
                        <a:pt x="3201" y="9466"/>
                        <a:pt x="1582" y="3737"/>
                        <a:pt x="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1" name="Freeform 7768">
                  <a:extLst>
                    <a:ext uri="{FF2B5EF4-FFF2-40B4-BE49-F238E27FC236}">
                      <a16:creationId xmlns:a16="http://schemas.microsoft.com/office/drawing/2014/main" id="{432B1136-477F-3C28-BCA1-3522D4FB5328}"/>
                    </a:ext>
                  </a:extLst>
                </p:cNvPr>
                <p:cNvSpPr/>
                <p:nvPr/>
              </p:nvSpPr>
              <p:spPr>
                <a:xfrm>
                  <a:off x="6401758" y="1849499"/>
                  <a:ext cx="26421" cy="26546"/>
                </a:xfrm>
                <a:custGeom>
                  <a:avLst/>
                  <a:gdLst>
                    <a:gd name="connsiteX0" fmla="*/ 26414 w 26421"/>
                    <a:gd name="connsiteY0" fmla="*/ 12837 h 26546"/>
                    <a:gd name="connsiteX1" fmla="*/ 13584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584" y="26539"/>
                      </a:cubicBezTo>
                      <a:cubicBezTo>
                        <a:pt x="6236" y="26788"/>
                        <a:pt x="132" y="21058"/>
                        <a:pt x="8" y="13709"/>
                      </a:cubicBezTo>
                      <a:cubicBezTo>
                        <a:pt x="-242" y="6360"/>
                        <a:pt x="5488" y="257"/>
                        <a:pt x="12837" y="8"/>
                      </a:cubicBezTo>
                      <a:cubicBezTo>
                        <a:pt x="20186" y="-241"/>
                        <a:pt x="26289"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7" name="Graphic 2987">
                <a:extLst>
                  <a:ext uri="{FF2B5EF4-FFF2-40B4-BE49-F238E27FC236}">
                    <a16:creationId xmlns:a16="http://schemas.microsoft.com/office/drawing/2014/main" id="{D980D1A5-8C8E-2794-9E1F-F342DB279D68}"/>
                  </a:ext>
                </a:extLst>
              </p:cNvPr>
              <p:cNvGrpSpPr/>
              <p:nvPr/>
            </p:nvGrpSpPr>
            <p:grpSpPr>
              <a:xfrm>
                <a:off x="6372362" y="1850620"/>
                <a:ext cx="30033" cy="148980"/>
                <a:chOff x="6372362" y="1850620"/>
                <a:chExt cx="30033" cy="148980"/>
              </a:xfrm>
              <a:grpFill/>
            </p:grpSpPr>
            <p:sp>
              <p:nvSpPr>
                <p:cNvPr id="6390" name="Freeform 7770">
                  <a:extLst>
                    <a:ext uri="{FF2B5EF4-FFF2-40B4-BE49-F238E27FC236}">
                      <a16:creationId xmlns:a16="http://schemas.microsoft.com/office/drawing/2014/main" id="{1F94E160-0148-8672-6E5A-83092AB773B2}"/>
                    </a:ext>
                  </a:extLst>
                </p:cNvPr>
                <p:cNvSpPr/>
                <p:nvPr/>
              </p:nvSpPr>
              <p:spPr>
                <a:xfrm>
                  <a:off x="6389831" y="1926857"/>
                  <a:ext cx="4549" cy="52189"/>
                </a:xfrm>
                <a:custGeom>
                  <a:avLst/>
                  <a:gdLst>
                    <a:gd name="connsiteX0" fmla="*/ 2717 w 4549"/>
                    <a:gd name="connsiteY0" fmla="*/ 52190 h 52189"/>
                    <a:gd name="connsiteX1" fmla="*/ 4213 w 4549"/>
                    <a:gd name="connsiteY1" fmla="*/ 33381 h 52189"/>
                    <a:gd name="connsiteX2" fmla="*/ 227 w 4549"/>
                    <a:gd name="connsiteY2" fmla="*/ 16442 h 52189"/>
                    <a:gd name="connsiteX3" fmla="*/ 1846 w 4549"/>
                    <a:gd name="connsiteY3" fmla="*/ 0 h 52189"/>
                  </a:gdLst>
                  <a:ahLst/>
                  <a:cxnLst>
                    <a:cxn ang="0">
                      <a:pos x="connsiteX0" y="connsiteY0"/>
                    </a:cxn>
                    <a:cxn ang="0">
                      <a:pos x="connsiteX1" y="connsiteY1"/>
                    </a:cxn>
                    <a:cxn ang="0">
                      <a:pos x="connsiteX2" y="connsiteY2"/>
                    </a:cxn>
                    <a:cxn ang="0">
                      <a:pos x="connsiteX3" y="connsiteY3"/>
                    </a:cxn>
                  </a:cxnLst>
                  <a:rect l="l" t="t" r="r" b="b"/>
                  <a:pathLst>
                    <a:path w="4549" h="52189">
                      <a:moveTo>
                        <a:pt x="2717" y="52190"/>
                      </a:moveTo>
                      <a:cubicBezTo>
                        <a:pt x="4960" y="44093"/>
                        <a:pt x="4711"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1" name="Freeform 7771">
                  <a:extLst>
                    <a:ext uri="{FF2B5EF4-FFF2-40B4-BE49-F238E27FC236}">
                      <a16:creationId xmlns:a16="http://schemas.microsoft.com/office/drawing/2014/main" id="{434A4550-3558-8330-743B-84EDBC13B35E}"/>
                    </a:ext>
                  </a:extLst>
                </p:cNvPr>
                <p:cNvSpPr/>
                <p:nvPr/>
              </p:nvSpPr>
              <p:spPr>
                <a:xfrm>
                  <a:off x="6382930" y="1932213"/>
                  <a:ext cx="3170" cy="52189"/>
                </a:xfrm>
                <a:custGeom>
                  <a:avLst/>
                  <a:gdLst>
                    <a:gd name="connsiteX0" fmla="*/ 525 w 3170"/>
                    <a:gd name="connsiteY0" fmla="*/ 0 h 52189"/>
                    <a:gd name="connsiteX1" fmla="*/ 3017 w 3170"/>
                    <a:gd name="connsiteY1" fmla="*/ 18684 h 52189"/>
                    <a:gd name="connsiteX2" fmla="*/ 27 w 3170"/>
                    <a:gd name="connsiteY2" fmla="*/ 35873 h 52189"/>
                    <a:gd name="connsiteX3" fmla="*/ 2643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0"/>
                      </a:moveTo>
                      <a:cubicBezTo>
                        <a:pt x="3266" y="7972"/>
                        <a:pt x="3390" y="14324"/>
                        <a:pt x="3017" y="18684"/>
                      </a:cubicBezTo>
                      <a:cubicBezTo>
                        <a:pt x="2394" y="25659"/>
                        <a:pt x="401"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2" name="Freeform 7772">
                  <a:extLst>
                    <a:ext uri="{FF2B5EF4-FFF2-40B4-BE49-F238E27FC236}">
                      <a16:creationId xmlns:a16="http://schemas.microsoft.com/office/drawing/2014/main" id="{AC5BF4FF-B6C8-C31B-1F17-2D90A38F7D6B}"/>
                    </a:ext>
                  </a:extLst>
                </p:cNvPr>
                <p:cNvSpPr/>
                <p:nvPr/>
              </p:nvSpPr>
              <p:spPr>
                <a:xfrm>
                  <a:off x="6375726" y="1973060"/>
                  <a:ext cx="26670" cy="26540"/>
                </a:xfrm>
                <a:custGeom>
                  <a:avLst/>
                  <a:gdLst>
                    <a:gd name="connsiteX0" fmla="*/ 8 w 26670"/>
                    <a:gd name="connsiteY0" fmla="*/ 13709 h 26540"/>
                    <a:gd name="connsiteX1" fmla="*/ 12961 w 26670"/>
                    <a:gd name="connsiteY1" fmla="*/ 8 h 26540"/>
                    <a:gd name="connsiteX2" fmla="*/ 26663 w 26670"/>
                    <a:gd name="connsiteY2" fmla="*/ 12837 h 26540"/>
                    <a:gd name="connsiteX3" fmla="*/ 13709 w 26670"/>
                    <a:gd name="connsiteY3" fmla="*/ 26539 h 26540"/>
                    <a:gd name="connsiteX4" fmla="*/ 8 w 26670"/>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0">
                      <a:moveTo>
                        <a:pt x="8" y="13709"/>
                      </a:moveTo>
                      <a:cubicBezTo>
                        <a:pt x="-241" y="6360"/>
                        <a:pt x="5613" y="257"/>
                        <a:pt x="12961" y="8"/>
                      </a:cubicBezTo>
                      <a:cubicBezTo>
                        <a:pt x="20311" y="-241"/>
                        <a:pt x="26414" y="5488"/>
                        <a:pt x="26663" y="12837"/>
                      </a:cubicBezTo>
                      <a:cubicBezTo>
                        <a:pt x="26913" y="20186"/>
                        <a:pt x="21058" y="26290"/>
                        <a:pt x="13709" y="26539"/>
                      </a:cubicBezTo>
                      <a:cubicBezTo>
                        <a:pt x="6360" y="26663"/>
                        <a:pt x="257"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3" name="Freeform 7773">
                  <a:extLst>
                    <a:ext uri="{FF2B5EF4-FFF2-40B4-BE49-F238E27FC236}">
                      <a16:creationId xmlns:a16="http://schemas.microsoft.com/office/drawing/2014/main" id="{569EE016-DB03-1735-4CDE-13E5BAB0F849}"/>
                    </a:ext>
                  </a:extLst>
                </p:cNvPr>
                <p:cNvSpPr/>
                <p:nvPr/>
              </p:nvSpPr>
              <p:spPr>
                <a:xfrm>
                  <a:off x="6380254" y="1871055"/>
                  <a:ext cx="4424" cy="52189"/>
                </a:xfrm>
                <a:custGeom>
                  <a:avLst/>
                  <a:gdLst>
                    <a:gd name="connsiteX0" fmla="*/ 1832 w 4424"/>
                    <a:gd name="connsiteY0" fmla="*/ 0 h 52189"/>
                    <a:gd name="connsiteX1" fmla="*/ 337 w 4424"/>
                    <a:gd name="connsiteY1" fmla="*/ 18808 h 52189"/>
                    <a:gd name="connsiteX2" fmla="*/ 4199 w 4424"/>
                    <a:gd name="connsiteY2" fmla="*/ 35748 h 52189"/>
                    <a:gd name="connsiteX3" fmla="*/ 2455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1832" y="0"/>
                      </a:moveTo>
                      <a:cubicBezTo>
                        <a:pt x="-410" y="8096"/>
                        <a:pt x="-161" y="14449"/>
                        <a:pt x="337" y="18808"/>
                      </a:cubicBezTo>
                      <a:cubicBezTo>
                        <a:pt x="1334" y="25783"/>
                        <a:pt x="3576" y="28648"/>
                        <a:pt x="4199" y="35748"/>
                      </a:cubicBezTo>
                      <a:cubicBezTo>
                        <a:pt x="4946" y="42599"/>
                        <a:pt x="3701" y="48453"/>
                        <a:pt x="24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4" name="Freeform 7774">
                  <a:extLst>
                    <a:ext uri="{FF2B5EF4-FFF2-40B4-BE49-F238E27FC236}">
                      <a16:creationId xmlns:a16="http://schemas.microsoft.com/office/drawing/2014/main" id="{63F45BEA-E8A2-A9AA-8E21-5FC6711851ED}"/>
                    </a:ext>
                  </a:extLst>
                </p:cNvPr>
                <p:cNvSpPr/>
                <p:nvPr/>
              </p:nvSpPr>
              <p:spPr>
                <a:xfrm>
                  <a:off x="6388533" y="1865823"/>
                  <a:ext cx="3046" cy="52065"/>
                </a:xfrm>
                <a:custGeom>
                  <a:avLst/>
                  <a:gdLst>
                    <a:gd name="connsiteX0" fmla="*/ 2645 w 3046"/>
                    <a:gd name="connsiteY0" fmla="*/ 52065 h 52065"/>
                    <a:gd name="connsiteX1" fmla="*/ 154 w 3046"/>
                    <a:gd name="connsiteY1" fmla="*/ 33506 h 52065"/>
                    <a:gd name="connsiteX2" fmla="*/ 3019 w 3046"/>
                    <a:gd name="connsiteY2" fmla="*/ 16317 h 52065"/>
                    <a:gd name="connsiteX3" fmla="*/ 403 w 3046"/>
                    <a:gd name="connsiteY3" fmla="*/ 0 h 52065"/>
                  </a:gdLst>
                  <a:ahLst/>
                  <a:cxnLst>
                    <a:cxn ang="0">
                      <a:pos x="connsiteX0" y="connsiteY0"/>
                    </a:cxn>
                    <a:cxn ang="0">
                      <a:pos x="connsiteX1" y="connsiteY1"/>
                    </a:cxn>
                    <a:cxn ang="0">
                      <a:pos x="connsiteX2" y="connsiteY2"/>
                    </a:cxn>
                    <a:cxn ang="0">
                      <a:pos x="connsiteX3" y="connsiteY3"/>
                    </a:cxn>
                  </a:cxnLst>
                  <a:rect l="l" t="t" r="r" b="b"/>
                  <a:pathLst>
                    <a:path w="3046" h="52065">
                      <a:moveTo>
                        <a:pt x="2645" y="52065"/>
                      </a:moveTo>
                      <a:cubicBezTo>
                        <a:pt x="-95" y="44093"/>
                        <a:pt x="-220" y="37741"/>
                        <a:pt x="154" y="33506"/>
                      </a:cubicBezTo>
                      <a:cubicBezTo>
                        <a:pt x="777" y="26531"/>
                        <a:pt x="2770" y="23417"/>
                        <a:pt x="3019" y="16317"/>
                      </a:cubicBezTo>
                      <a:cubicBezTo>
                        <a:pt x="3267" y="9466"/>
                        <a:pt x="1773" y="3737"/>
                        <a:pt x="4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5" name="Freeform 7775">
                  <a:extLst>
                    <a:ext uri="{FF2B5EF4-FFF2-40B4-BE49-F238E27FC236}">
                      <a16:creationId xmlns:a16="http://schemas.microsoft.com/office/drawing/2014/main" id="{15AE31CA-B809-EDC6-0D03-DF7BB85E59E4}"/>
                    </a:ext>
                  </a:extLst>
                </p:cNvPr>
                <p:cNvSpPr/>
                <p:nvPr/>
              </p:nvSpPr>
              <p:spPr>
                <a:xfrm>
                  <a:off x="6372362" y="1850620"/>
                  <a:ext cx="26421" cy="26546"/>
                </a:xfrm>
                <a:custGeom>
                  <a:avLst/>
                  <a:gdLst>
                    <a:gd name="connsiteX0" fmla="*/ 26414 w 26421"/>
                    <a:gd name="connsiteY0" fmla="*/ 12837 h 26546"/>
                    <a:gd name="connsiteX1" fmla="*/ 13585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4" y="26290"/>
                        <a:pt x="13585" y="26539"/>
                      </a:cubicBezTo>
                      <a:cubicBezTo>
                        <a:pt x="6235" y="26788"/>
                        <a:pt x="257" y="21058"/>
                        <a:pt x="8" y="13709"/>
                      </a:cubicBezTo>
                      <a:cubicBezTo>
                        <a:pt x="-242" y="6360"/>
                        <a:pt x="5488" y="257"/>
                        <a:pt x="12837" y="8"/>
                      </a:cubicBezTo>
                      <a:cubicBezTo>
                        <a:pt x="20062"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8" name="Graphic 2987">
                <a:extLst>
                  <a:ext uri="{FF2B5EF4-FFF2-40B4-BE49-F238E27FC236}">
                    <a16:creationId xmlns:a16="http://schemas.microsoft.com/office/drawing/2014/main" id="{93602D41-53D4-3235-6887-3AF7D2610CF8}"/>
                  </a:ext>
                </a:extLst>
              </p:cNvPr>
              <p:cNvGrpSpPr/>
              <p:nvPr/>
            </p:nvGrpSpPr>
            <p:grpSpPr>
              <a:xfrm>
                <a:off x="6342848" y="1851616"/>
                <a:ext cx="29778" cy="148986"/>
                <a:chOff x="6342848" y="1851616"/>
                <a:chExt cx="29778" cy="148986"/>
              </a:xfrm>
              <a:grpFill/>
            </p:grpSpPr>
            <p:sp>
              <p:nvSpPr>
                <p:cNvPr id="6384" name="Freeform 7777">
                  <a:extLst>
                    <a:ext uri="{FF2B5EF4-FFF2-40B4-BE49-F238E27FC236}">
                      <a16:creationId xmlns:a16="http://schemas.microsoft.com/office/drawing/2014/main" id="{75CE5116-426A-0A37-335B-12C5672D07A4}"/>
                    </a:ext>
                  </a:extLst>
                </p:cNvPr>
                <p:cNvSpPr/>
                <p:nvPr/>
              </p:nvSpPr>
              <p:spPr>
                <a:xfrm>
                  <a:off x="6360246" y="1927853"/>
                  <a:ext cx="4419" cy="52189"/>
                </a:xfrm>
                <a:custGeom>
                  <a:avLst/>
                  <a:gdLst>
                    <a:gd name="connsiteX0" fmla="*/ 2533 w 4419"/>
                    <a:gd name="connsiteY0" fmla="*/ 52190 h 52189"/>
                    <a:gd name="connsiteX1" fmla="*/ 4028 w 4419"/>
                    <a:gd name="connsiteY1" fmla="*/ 33381 h 52189"/>
                    <a:gd name="connsiteX2" fmla="*/ 167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789" y="23541"/>
                        <a:pt x="167"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5" name="Freeform 7778">
                  <a:extLst>
                    <a:ext uri="{FF2B5EF4-FFF2-40B4-BE49-F238E27FC236}">
                      <a16:creationId xmlns:a16="http://schemas.microsoft.com/office/drawing/2014/main" id="{D78FA6D1-988C-D618-D866-F160FAE04B71}"/>
                    </a:ext>
                  </a:extLst>
                </p:cNvPr>
                <p:cNvSpPr/>
                <p:nvPr/>
              </p:nvSpPr>
              <p:spPr>
                <a:xfrm>
                  <a:off x="6353258" y="1933334"/>
                  <a:ext cx="3197" cy="52189"/>
                </a:xfrm>
                <a:custGeom>
                  <a:avLst/>
                  <a:gdLst>
                    <a:gd name="connsiteX0" fmla="*/ 553 w 3197"/>
                    <a:gd name="connsiteY0" fmla="*/ 0 h 52189"/>
                    <a:gd name="connsiteX1" fmla="*/ 3044 w 3197"/>
                    <a:gd name="connsiteY1" fmla="*/ 18684 h 52189"/>
                    <a:gd name="connsiteX2" fmla="*/ 55 w 3197"/>
                    <a:gd name="connsiteY2" fmla="*/ 35873 h 52189"/>
                    <a:gd name="connsiteX3" fmla="*/ 2670 w 31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0"/>
                      </a:moveTo>
                      <a:cubicBezTo>
                        <a:pt x="3293" y="7972"/>
                        <a:pt x="3417" y="14324"/>
                        <a:pt x="3044" y="18684"/>
                      </a:cubicBezTo>
                      <a:cubicBezTo>
                        <a:pt x="2421" y="25659"/>
                        <a:pt x="428"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6" name="Freeform 7779">
                  <a:extLst>
                    <a:ext uri="{FF2B5EF4-FFF2-40B4-BE49-F238E27FC236}">
                      <a16:creationId xmlns:a16="http://schemas.microsoft.com/office/drawing/2014/main" id="{E39911AC-AC3D-74B9-73AA-F46FC3B639D2}"/>
                    </a:ext>
                  </a:extLst>
                </p:cNvPr>
                <p:cNvSpPr/>
                <p:nvPr/>
              </p:nvSpPr>
              <p:spPr>
                <a:xfrm>
                  <a:off x="6345962" y="1974056"/>
                  <a:ext cx="26664" cy="26546"/>
                </a:xfrm>
                <a:custGeom>
                  <a:avLst/>
                  <a:gdLst>
                    <a:gd name="connsiteX0" fmla="*/ 2 w 26664"/>
                    <a:gd name="connsiteY0" fmla="*/ 13709 h 26546"/>
                    <a:gd name="connsiteX1" fmla="*/ 12956 w 26664"/>
                    <a:gd name="connsiteY1" fmla="*/ 8 h 26546"/>
                    <a:gd name="connsiteX2" fmla="*/ 26657 w 26664"/>
                    <a:gd name="connsiteY2" fmla="*/ 12837 h 26546"/>
                    <a:gd name="connsiteX3" fmla="*/ 13703 w 26664"/>
                    <a:gd name="connsiteY3" fmla="*/ 26539 h 26546"/>
                    <a:gd name="connsiteX4" fmla="*/ 2 w 26664"/>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3709"/>
                      </a:moveTo>
                      <a:cubicBezTo>
                        <a:pt x="-123" y="6360"/>
                        <a:pt x="5607" y="257"/>
                        <a:pt x="12956" y="8"/>
                      </a:cubicBezTo>
                      <a:cubicBezTo>
                        <a:pt x="20305" y="-241"/>
                        <a:pt x="26408" y="5488"/>
                        <a:pt x="26657" y="12837"/>
                      </a:cubicBezTo>
                      <a:cubicBezTo>
                        <a:pt x="26907" y="20186"/>
                        <a:pt x="21052" y="26290"/>
                        <a:pt x="13703" y="26539"/>
                      </a:cubicBezTo>
                      <a:cubicBezTo>
                        <a:pt x="6354" y="26788"/>
                        <a:pt x="251" y="21058"/>
                        <a:pt x="2"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7" name="Freeform 7780">
                  <a:extLst>
                    <a:ext uri="{FF2B5EF4-FFF2-40B4-BE49-F238E27FC236}">
                      <a16:creationId xmlns:a16="http://schemas.microsoft.com/office/drawing/2014/main" id="{6440B909-6838-2BA4-0411-754DFF534EF9}"/>
                    </a:ext>
                  </a:extLst>
                </p:cNvPr>
                <p:cNvSpPr/>
                <p:nvPr/>
              </p:nvSpPr>
              <p:spPr>
                <a:xfrm>
                  <a:off x="6350679" y="1872176"/>
                  <a:ext cx="4419" cy="52189"/>
                </a:xfrm>
                <a:custGeom>
                  <a:avLst/>
                  <a:gdLst>
                    <a:gd name="connsiteX0" fmla="*/ 1887 w 4419"/>
                    <a:gd name="connsiteY0" fmla="*/ 0 h 52189"/>
                    <a:gd name="connsiteX1" fmla="*/ 392 w 4419"/>
                    <a:gd name="connsiteY1" fmla="*/ 18808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808"/>
                      </a:cubicBezTo>
                      <a:cubicBezTo>
                        <a:pt x="1389" y="25783"/>
                        <a:pt x="3506" y="28648"/>
                        <a:pt x="4253" y="35748"/>
                      </a:cubicBezTo>
                      <a:cubicBezTo>
                        <a:pt x="4876" y="42599"/>
                        <a:pt x="3630" y="48453"/>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8" name="Freeform 7781">
                  <a:extLst>
                    <a:ext uri="{FF2B5EF4-FFF2-40B4-BE49-F238E27FC236}">
                      <a16:creationId xmlns:a16="http://schemas.microsoft.com/office/drawing/2014/main" id="{09D8F30D-B6A3-7A05-B825-C29017A66582}"/>
                    </a:ext>
                  </a:extLst>
                </p:cNvPr>
                <p:cNvSpPr/>
                <p:nvPr/>
              </p:nvSpPr>
              <p:spPr>
                <a:xfrm>
                  <a:off x="6359013" y="1866820"/>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6" y="44218"/>
                        <a:pt x="-220" y="37866"/>
                        <a:pt x="154" y="33506"/>
                      </a:cubicBezTo>
                      <a:cubicBezTo>
                        <a:pt x="776" y="26531"/>
                        <a:pt x="2769" y="23417"/>
                        <a:pt x="3143" y="16317"/>
                      </a:cubicBezTo>
                      <a:cubicBezTo>
                        <a:pt x="3392" y="9466"/>
                        <a:pt x="1897"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9" name="Freeform 7782">
                  <a:extLst>
                    <a:ext uri="{FF2B5EF4-FFF2-40B4-BE49-F238E27FC236}">
                      <a16:creationId xmlns:a16="http://schemas.microsoft.com/office/drawing/2014/main" id="{BAE73A99-361D-1205-FB35-D2A3B78A4394}"/>
                    </a:ext>
                  </a:extLst>
                </p:cNvPr>
                <p:cNvSpPr/>
                <p:nvPr/>
              </p:nvSpPr>
              <p:spPr>
                <a:xfrm>
                  <a:off x="6342848" y="1851616"/>
                  <a:ext cx="26415" cy="26546"/>
                </a:xfrm>
                <a:custGeom>
                  <a:avLst/>
                  <a:gdLst>
                    <a:gd name="connsiteX0" fmla="*/ 26408 w 26415"/>
                    <a:gd name="connsiteY0" fmla="*/ 12837 h 26546"/>
                    <a:gd name="connsiteX1" fmla="*/ 13579 w 26415"/>
                    <a:gd name="connsiteY1" fmla="*/ 26539 h 26546"/>
                    <a:gd name="connsiteX2" fmla="*/ 2 w 26415"/>
                    <a:gd name="connsiteY2" fmla="*/ 13709 h 26546"/>
                    <a:gd name="connsiteX3" fmla="*/ 12831 w 26415"/>
                    <a:gd name="connsiteY3" fmla="*/ 8 h 26546"/>
                    <a:gd name="connsiteX4" fmla="*/ 26408 w 2641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5">
                      <a:moveTo>
                        <a:pt x="26408" y="12837"/>
                      </a:moveTo>
                      <a:cubicBezTo>
                        <a:pt x="26657" y="20186"/>
                        <a:pt x="20803" y="26290"/>
                        <a:pt x="13579" y="26539"/>
                      </a:cubicBezTo>
                      <a:cubicBezTo>
                        <a:pt x="6230" y="26788"/>
                        <a:pt x="251" y="21058"/>
                        <a:pt x="2" y="13709"/>
                      </a:cubicBezTo>
                      <a:cubicBezTo>
                        <a:pt x="-123" y="6360"/>
                        <a:pt x="5607" y="257"/>
                        <a:pt x="12831" y="8"/>
                      </a:cubicBezTo>
                      <a:cubicBezTo>
                        <a:pt x="20056" y="-241"/>
                        <a:pt x="26159" y="5488"/>
                        <a:pt x="2640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9" name="Graphic 2987">
                <a:extLst>
                  <a:ext uri="{FF2B5EF4-FFF2-40B4-BE49-F238E27FC236}">
                    <a16:creationId xmlns:a16="http://schemas.microsoft.com/office/drawing/2014/main" id="{BE9F2049-09A1-C97A-118F-CF5595DB4294}"/>
                  </a:ext>
                </a:extLst>
              </p:cNvPr>
              <p:cNvGrpSpPr/>
              <p:nvPr/>
            </p:nvGrpSpPr>
            <p:grpSpPr>
              <a:xfrm>
                <a:off x="6313328" y="1852852"/>
                <a:ext cx="29530" cy="148865"/>
                <a:chOff x="6313328" y="1852852"/>
                <a:chExt cx="29530" cy="148865"/>
              </a:xfrm>
              <a:grpFill/>
            </p:grpSpPr>
            <p:sp>
              <p:nvSpPr>
                <p:cNvPr id="6378" name="Freeform 7784">
                  <a:extLst>
                    <a:ext uri="{FF2B5EF4-FFF2-40B4-BE49-F238E27FC236}">
                      <a16:creationId xmlns:a16="http://schemas.microsoft.com/office/drawing/2014/main" id="{BA047461-36B1-3ECD-3188-67AF2F2EC5AD}"/>
                    </a:ext>
                  </a:extLst>
                </p:cNvPr>
                <p:cNvSpPr/>
                <p:nvPr/>
              </p:nvSpPr>
              <p:spPr>
                <a:xfrm>
                  <a:off x="6330477" y="1928974"/>
                  <a:ext cx="4419" cy="52189"/>
                </a:xfrm>
                <a:custGeom>
                  <a:avLst/>
                  <a:gdLst>
                    <a:gd name="connsiteX0" fmla="*/ 2533 w 4419"/>
                    <a:gd name="connsiteY0" fmla="*/ 52190 h 52189"/>
                    <a:gd name="connsiteX1" fmla="*/ 4028 w 4419"/>
                    <a:gd name="connsiteY1" fmla="*/ 33381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914" y="23541"/>
                        <a:pt x="166"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9" name="Freeform 7785">
                  <a:extLst>
                    <a:ext uri="{FF2B5EF4-FFF2-40B4-BE49-F238E27FC236}">
                      <a16:creationId xmlns:a16="http://schemas.microsoft.com/office/drawing/2014/main" id="{F4A9A361-E1D6-FBAF-7D69-C2E245C2F791}"/>
                    </a:ext>
                  </a:extLst>
                </p:cNvPr>
                <p:cNvSpPr/>
                <p:nvPr/>
              </p:nvSpPr>
              <p:spPr>
                <a:xfrm>
                  <a:off x="6323614" y="1934330"/>
                  <a:ext cx="3181" cy="52189"/>
                </a:xfrm>
                <a:custGeom>
                  <a:avLst/>
                  <a:gdLst>
                    <a:gd name="connsiteX0" fmla="*/ 553 w 3181"/>
                    <a:gd name="connsiteY0" fmla="*/ 0 h 52189"/>
                    <a:gd name="connsiteX1" fmla="*/ 3044 w 3181"/>
                    <a:gd name="connsiteY1" fmla="*/ 18684 h 52189"/>
                    <a:gd name="connsiteX2" fmla="*/ 55 w 3181"/>
                    <a:gd name="connsiteY2" fmla="*/ 35873 h 52189"/>
                    <a:gd name="connsiteX3" fmla="*/ 2670 w 31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81" h="52189">
                      <a:moveTo>
                        <a:pt x="553" y="0"/>
                      </a:moveTo>
                      <a:cubicBezTo>
                        <a:pt x="3168" y="7972"/>
                        <a:pt x="3417" y="14324"/>
                        <a:pt x="3044" y="18684"/>
                      </a:cubicBezTo>
                      <a:cubicBezTo>
                        <a:pt x="2421" y="25659"/>
                        <a:pt x="304"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0" name="Freeform 7786">
                  <a:extLst>
                    <a:ext uri="{FF2B5EF4-FFF2-40B4-BE49-F238E27FC236}">
                      <a16:creationId xmlns:a16="http://schemas.microsoft.com/office/drawing/2014/main" id="{41C7B2AA-4C57-7133-25A3-7EDFFEE2BC71}"/>
                    </a:ext>
                  </a:extLst>
                </p:cNvPr>
                <p:cNvSpPr/>
                <p:nvPr/>
              </p:nvSpPr>
              <p:spPr>
                <a:xfrm>
                  <a:off x="6316193" y="1975177"/>
                  <a:ext cx="26665" cy="26540"/>
                </a:xfrm>
                <a:custGeom>
                  <a:avLst/>
                  <a:gdLst>
                    <a:gd name="connsiteX0" fmla="*/ 2 w 26665"/>
                    <a:gd name="connsiteY0" fmla="*/ 13460 h 26540"/>
                    <a:gd name="connsiteX1" fmla="*/ 12956 w 26665"/>
                    <a:gd name="connsiteY1" fmla="*/ 8 h 26540"/>
                    <a:gd name="connsiteX2" fmla="*/ 26658 w 26665"/>
                    <a:gd name="connsiteY2" fmla="*/ 12837 h 26540"/>
                    <a:gd name="connsiteX3" fmla="*/ 13703 w 26665"/>
                    <a:gd name="connsiteY3" fmla="*/ 26539 h 26540"/>
                    <a:gd name="connsiteX4" fmla="*/ 2 w 2666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0">
                      <a:moveTo>
                        <a:pt x="2" y="13460"/>
                      </a:moveTo>
                      <a:cubicBezTo>
                        <a:pt x="-123" y="6111"/>
                        <a:pt x="5607" y="257"/>
                        <a:pt x="12956" y="8"/>
                      </a:cubicBezTo>
                      <a:cubicBezTo>
                        <a:pt x="20305" y="-241"/>
                        <a:pt x="26408" y="5488"/>
                        <a:pt x="26658" y="12837"/>
                      </a:cubicBezTo>
                      <a:cubicBezTo>
                        <a:pt x="26907" y="20186"/>
                        <a:pt x="21052" y="26290"/>
                        <a:pt x="13703" y="26539"/>
                      </a:cubicBezTo>
                      <a:cubicBezTo>
                        <a:pt x="6230" y="26663"/>
                        <a:pt x="127" y="20684"/>
                        <a:pt x="2"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1" name="Freeform 7787">
                  <a:extLst>
                    <a:ext uri="{FF2B5EF4-FFF2-40B4-BE49-F238E27FC236}">
                      <a16:creationId xmlns:a16="http://schemas.microsoft.com/office/drawing/2014/main" id="{2D6C1A1B-1C62-30D7-28E6-B50D8DFE8D23}"/>
                    </a:ext>
                  </a:extLst>
                </p:cNvPr>
                <p:cNvSpPr/>
                <p:nvPr/>
              </p:nvSpPr>
              <p:spPr>
                <a:xfrm>
                  <a:off x="6321283" y="1873172"/>
                  <a:ext cx="4419" cy="52065"/>
                </a:xfrm>
                <a:custGeom>
                  <a:avLst/>
                  <a:gdLst>
                    <a:gd name="connsiteX0" fmla="*/ 1887 w 4419"/>
                    <a:gd name="connsiteY0" fmla="*/ 0 h 52065"/>
                    <a:gd name="connsiteX1" fmla="*/ 392 w 4419"/>
                    <a:gd name="connsiteY1" fmla="*/ 18684 h 52065"/>
                    <a:gd name="connsiteX2" fmla="*/ 4253 w 4419"/>
                    <a:gd name="connsiteY2" fmla="*/ 35624 h 52065"/>
                    <a:gd name="connsiteX3" fmla="*/ 2510 w 4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419" h="52065">
                      <a:moveTo>
                        <a:pt x="1887" y="0"/>
                      </a:moveTo>
                      <a:cubicBezTo>
                        <a:pt x="-355" y="8096"/>
                        <a:pt x="-231" y="14449"/>
                        <a:pt x="392" y="18684"/>
                      </a:cubicBezTo>
                      <a:cubicBezTo>
                        <a:pt x="1388" y="25659"/>
                        <a:pt x="3506" y="28648"/>
                        <a:pt x="4253" y="35624"/>
                      </a:cubicBezTo>
                      <a:cubicBezTo>
                        <a:pt x="4876" y="42474"/>
                        <a:pt x="3631" y="48328"/>
                        <a:pt x="25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2" name="Freeform 7788">
                  <a:extLst>
                    <a:ext uri="{FF2B5EF4-FFF2-40B4-BE49-F238E27FC236}">
                      <a16:creationId xmlns:a16="http://schemas.microsoft.com/office/drawing/2014/main" id="{2252C95C-BF71-2725-4DBE-50E38C652DD9}"/>
                    </a:ext>
                  </a:extLst>
                </p:cNvPr>
                <p:cNvSpPr/>
                <p:nvPr/>
              </p:nvSpPr>
              <p:spPr>
                <a:xfrm>
                  <a:off x="6329385" y="1867816"/>
                  <a:ext cx="3181" cy="52189"/>
                </a:xfrm>
                <a:custGeom>
                  <a:avLst/>
                  <a:gdLst>
                    <a:gd name="connsiteX0" fmla="*/ 2629 w 3181"/>
                    <a:gd name="connsiteY0" fmla="*/ 52190 h 52189"/>
                    <a:gd name="connsiteX1" fmla="*/ 138 w 3181"/>
                    <a:gd name="connsiteY1" fmla="*/ 33506 h 52189"/>
                    <a:gd name="connsiteX2" fmla="*/ 3127 w 3181"/>
                    <a:gd name="connsiteY2" fmla="*/ 16317 h 52189"/>
                    <a:gd name="connsiteX3" fmla="*/ 636 w 3181"/>
                    <a:gd name="connsiteY3" fmla="*/ 0 h 52189"/>
                  </a:gdLst>
                  <a:ahLst/>
                  <a:cxnLst>
                    <a:cxn ang="0">
                      <a:pos x="connsiteX0" y="connsiteY0"/>
                    </a:cxn>
                    <a:cxn ang="0">
                      <a:pos x="connsiteX1" y="connsiteY1"/>
                    </a:cxn>
                    <a:cxn ang="0">
                      <a:pos x="connsiteX2" y="connsiteY2"/>
                    </a:cxn>
                    <a:cxn ang="0">
                      <a:pos x="connsiteX3" y="connsiteY3"/>
                    </a:cxn>
                  </a:cxnLst>
                  <a:rect l="l" t="t" r="r" b="b"/>
                  <a:pathLst>
                    <a:path w="3181" h="52189">
                      <a:moveTo>
                        <a:pt x="2629" y="52190"/>
                      </a:moveTo>
                      <a:cubicBezTo>
                        <a:pt x="13" y="44218"/>
                        <a:pt x="-236" y="37866"/>
                        <a:pt x="138" y="33506"/>
                      </a:cubicBezTo>
                      <a:cubicBezTo>
                        <a:pt x="760" y="26531"/>
                        <a:pt x="2753" y="23417"/>
                        <a:pt x="3127" y="16317"/>
                      </a:cubicBezTo>
                      <a:cubicBezTo>
                        <a:pt x="3501" y="9466"/>
                        <a:pt x="1881" y="3737"/>
                        <a:pt x="6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3" name="Freeform 7789">
                  <a:extLst>
                    <a:ext uri="{FF2B5EF4-FFF2-40B4-BE49-F238E27FC236}">
                      <a16:creationId xmlns:a16="http://schemas.microsoft.com/office/drawing/2014/main" id="{29D7A3C8-A6D1-9E74-FD96-5C5537E16955}"/>
                    </a:ext>
                  </a:extLst>
                </p:cNvPr>
                <p:cNvSpPr/>
                <p:nvPr/>
              </p:nvSpPr>
              <p:spPr>
                <a:xfrm>
                  <a:off x="6313328" y="1852852"/>
                  <a:ext cx="26410" cy="26431"/>
                </a:xfrm>
                <a:custGeom>
                  <a:avLst/>
                  <a:gdLst>
                    <a:gd name="connsiteX0" fmla="*/ 26409 w 26410"/>
                    <a:gd name="connsiteY0" fmla="*/ 12722 h 26431"/>
                    <a:gd name="connsiteX1" fmla="*/ 13579 w 26410"/>
                    <a:gd name="connsiteY1" fmla="*/ 26424 h 26431"/>
                    <a:gd name="connsiteX2" fmla="*/ 2 w 26410"/>
                    <a:gd name="connsiteY2" fmla="*/ 13470 h 26431"/>
                    <a:gd name="connsiteX3" fmla="*/ 12832 w 26410"/>
                    <a:gd name="connsiteY3" fmla="*/ 17 h 26431"/>
                    <a:gd name="connsiteX4" fmla="*/ 26409 w 26410"/>
                    <a:gd name="connsiteY4" fmla="*/ 12722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31">
                      <a:moveTo>
                        <a:pt x="26409" y="12722"/>
                      </a:moveTo>
                      <a:cubicBezTo>
                        <a:pt x="26533" y="20071"/>
                        <a:pt x="20803" y="26174"/>
                        <a:pt x="13579" y="26424"/>
                      </a:cubicBezTo>
                      <a:cubicBezTo>
                        <a:pt x="6230" y="26673"/>
                        <a:pt x="251" y="20694"/>
                        <a:pt x="2" y="13470"/>
                      </a:cubicBezTo>
                      <a:cubicBezTo>
                        <a:pt x="-122" y="6121"/>
                        <a:pt x="5607" y="266"/>
                        <a:pt x="12832" y="17"/>
                      </a:cubicBezTo>
                      <a:cubicBezTo>
                        <a:pt x="20181" y="-356"/>
                        <a:pt x="26284" y="5373"/>
                        <a:pt x="26409" y="127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0" name="Graphic 2987">
                <a:extLst>
                  <a:ext uri="{FF2B5EF4-FFF2-40B4-BE49-F238E27FC236}">
                    <a16:creationId xmlns:a16="http://schemas.microsoft.com/office/drawing/2014/main" id="{29D8BA1C-39BB-9FEA-8641-4B09E07DD885}"/>
                  </a:ext>
                </a:extLst>
              </p:cNvPr>
              <p:cNvGrpSpPr/>
              <p:nvPr/>
            </p:nvGrpSpPr>
            <p:grpSpPr>
              <a:xfrm>
                <a:off x="6283808" y="1853241"/>
                <a:ext cx="29275" cy="148850"/>
                <a:chOff x="6283808" y="1853241"/>
                <a:chExt cx="29275" cy="148850"/>
              </a:xfrm>
              <a:grpFill/>
            </p:grpSpPr>
            <p:sp>
              <p:nvSpPr>
                <p:cNvPr id="6372" name="Freeform 7791">
                  <a:extLst>
                    <a:ext uri="{FF2B5EF4-FFF2-40B4-BE49-F238E27FC236}">
                      <a16:creationId xmlns:a16="http://schemas.microsoft.com/office/drawing/2014/main" id="{F7FDF02E-7885-BE7A-F1BB-19B2C665002F}"/>
                    </a:ext>
                  </a:extLst>
                </p:cNvPr>
                <p:cNvSpPr/>
                <p:nvPr/>
              </p:nvSpPr>
              <p:spPr>
                <a:xfrm>
                  <a:off x="6300832" y="1929472"/>
                  <a:ext cx="4358" cy="52189"/>
                </a:xfrm>
                <a:custGeom>
                  <a:avLst/>
                  <a:gdLst>
                    <a:gd name="connsiteX0" fmla="*/ 2408 w 4358"/>
                    <a:gd name="connsiteY0" fmla="*/ 52190 h 52189"/>
                    <a:gd name="connsiteX1" fmla="*/ 4028 w 4358"/>
                    <a:gd name="connsiteY1" fmla="*/ 33506 h 52189"/>
                    <a:gd name="connsiteX2" fmla="*/ 166 w 4358"/>
                    <a:gd name="connsiteY2" fmla="*/ 16442 h 52189"/>
                    <a:gd name="connsiteX3" fmla="*/ 1910 w 4358"/>
                    <a:gd name="connsiteY3" fmla="*/ 0 h 52189"/>
                  </a:gdLst>
                  <a:ahLst/>
                  <a:cxnLst>
                    <a:cxn ang="0">
                      <a:pos x="connsiteX0" y="connsiteY0"/>
                    </a:cxn>
                    <a:cxn ang="0">
                      <a:pos x="connsiteX1" y="connsiteY1"/>
                    </a:cxn>
                    <a:cxn ang="0">
                      <a:pos x="connsiteX2" y="connsiteY2"/>
                    </a:cxn>
                    <a:cxn ang="0">
                      <a:pos x="connsiteX3" y="connsiteY3"/>
                    </a:cxn>
                  </a:cxnLst>
                  <a:rect l="l" t="t" r="r" b="b"/>
                  <a:pathLst>
                    <a:path w="4358" h="52189">
                      <a:moveTo>
                        <a:pt x="2408" y="52190"/>
                      </a:moveTo>
                      <a:cubicBezTo>
                        <a:pt x="4775" y="44093"/>
                        <a:pt x="4526" y="37741"/>
                        <a:pt x="4028" y="33506"/>
                      </a:cubicBezTo>
                      <a:cubicBezTo>
                        <a:pt x="3031"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3" name="Freeform 7792">
                  <a:extLst>
                    <a:ext uri="{FF2B5EF4-FFF2-40B4-BE49-F238E27FC236}">
                      <a16:creationId xmlns:a16="http://schemas.microsoft.com/office/drawing/2014/main" id="{C961B1E5-F240-F5AF-5562-2917930914DE}"/>
                    </a:ext>
                  </a:extLst>
                </p:cNvPr>
                <p:cNvSpPr/>
                <p:nvPr/>
              </p:nvSpPr>
              <p:spPr>
                <a:xfrm>
                  <a:off x="6293595" y="1934704"/>
                  <a:ext cx="3324" cy="52065"/>
                </a:xfrm>
                <a:custGeom>
                  <a:avLst/>
                  <a:gdLst>
                    <a:gd name="connsiteX0" fmla="*/ 802 w 3324"/>
                    <a:gd name="connsiteY0" fmla="*/ 0 h 52065"/>
                    <a:gd name="connsiteX1" fmla="*/ 3169 w 3324"/>
                    <a:gd name="connsiteY1" fmla="*/ 18684 h 52065"/>
                    <a:gd name="connsiteX2" fmla="*/ 55 w 3324"/>
                    <a:gd name="connsiteY2" fmla="*/ 35748 h 52065"/>
                    <a:gd name="connsiteX3" fmla="*/ 2546 w 332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4" h="52065">
                      <a:moveTo>
                        <a:pt x="802" y="0"/>
                      </a:moveTo>
                      <a:cubicBezTo>
                        <a:pt x="3418" y="7972"/>
                        <a:pt x="3542" y="14324"/>
                        <a:pt x="3169" y="18684"/>
                      </a:cubicBezTo>
                      <a:cubicBezTo>
                        <a:pt x="2546" y="25659"/>
                        <a:pt x="428" y="28773"/>
                        <a:pt x="55" y="35748"/>
                      </a:cubicBezTo>
                      <a:cubicBezTo>
                        <a:pt x="-319" y="42599"/>
                        <a:pt x="1300" y="48328"/>
                        <a:pt x="254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4" name="Freeform 7793">
                  <a:extLst>
                    <a:ext uri="{FF2B5EF4-FFF2-40B4-BE49-F238E27FC236}">
                      <a16:creationId xmlns:a16="http://schemas.microsoft.com/office/drawing/2014/main" id="{8B50D2A1-9DB1-DDBF-3E06-A246791581A8}"/>
                    </a:ext>
                  </a:extLst>
                </p:cNvPr>
                <p:cNvSpPr/>
                <p:nvPr/>
              </p:nvSpPr>
              <p:spPr>
                <a:xfrm>
                  <a:off x="6286424" y="1975557"/>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2" y="5732"/>
                        <a:pt x="26657" y="13080"/>
                      </a:cubicBezTo>
                      <a:cubicBezTo>
                        <a:pt x="26782" y="20429"/>
                        <a:pt x="20928" y="26408"/>
                        <a:pt x="13579" y="26533"/>
                      </a:cubicBezTo>
                      <a:cubicBezTo>
                        <a:pt x="6230" y="26657"/>
                        <a:pt x="126"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5" name="Freeform 7794">
                  <a:extLst>
                    <a:ext uri="{FF2B5EF4-FFF2-40B4-BE49-F238E27FC236}">
                      <a16:creationId xmlns:a16="http://schemas.microsoft.com/office/drawing/2014/main" id="{58ED4ADB-9689-8A2F-FDB2-66138C4D120C}"/>
                    </a:ext>
                  </a:extLst>
                </p:cNvPr>
                <p:cNvSpPr/>
                <p:nvPr/>
              </p:nvSpPr>
              <p:spPr>
                <a:xfrm>
                  <a:off x="6291730" y="1873546"/>
                  <a:ext cx="4203" cy="52189"/>
                </a:xfrm>
                <a:custGeom>
                  <a:avLst/>
                  <a:gdLst>
                    <a:gd name="connsiteX0" fmla="*/ 1920 w 4203"/>
                    <a:gd name="connsiteY0" fmla="*/ 0 h 52189"/>
                    <a:gd name="connsiteX1" fmla="*/ 300 w 4203"/>
                    <a:gd name="connsiteY1" fmla="*/ 18684 h 52189"/>
                    <a:gd name="connsiteX2" fmla="*/ 4037 w 4203"/>
                    <a:gd name="connsiteY2" fmla="*/ 35748 h 52189"/>
                    <a:gd name="connsiteX3" fmla="*/ 2293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1920" y="0"/>
                      </a:moveTo>
                      <a:cubicBezTo>
                        <a:pt x="-322" y="8096"/>
                        <a:pt x="-198" y="14449"/>
                        <a:pt x="300" y="18684"/>
                      </a:cubicBezTo>
                      <a:cubicBezTo>
                        <a:pt x="1172" y="25659"/>
                        <a:pt x="3414" y="28648"/>
                        <a:pt x="4037" y="35748"/>
                      </a:cubicBezTo>
                      <a:cubicBezTo>
                        <a:pt x="4660" y="42599"/>
                        <a:pt x="3414" y="48328"/>
                        <a:pt x="229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6" name="Freeform 7795">
                  <a:extLst>
                    <a:ext uri="{FF2B5EF4-FFF2-40B4-BE49-F238E27FC236}">
                      <a16:creationId xmlns:a16="http://schemas.microsoft.com/office/drawing/2014/main" id="{EF78B0E7-7F6A-E0C8-5035-C3524F2218F4}"/>
                    </a:ext>
                  </a:extLst>
                </p:cNvPr>
                <p:cNvSpPr/>
                <p:nvPr/>
              </p:nvSpPr>
              <p:spPr>
                <a:xfrm>
                  <a:off x="6299847" y="1868439"/>
                  <a:ext cx="3199" cy="52065"/>
                </a:xfrm>
                <a:custGeom>
                  <a:avLst/>
                  <a:gdLst>
                    <a:gd name="connsiteX0" fmla="*/ 2522 w 3199"/>
                    <a:gd name="connsiteY0" fmla="*/ 52065 h 52065"/>
                    <a:gd name="connsiteX1" fmla="*/ 156 w 3199"/>
                    <a:gd name="connsiteY1" fmla="*/ 33381 h 52065"/>
                    <a:gd name="connsiteX2" fmla="*/ 3145 w 3199"/>
                    <a:gd name="connsiteY2" fmla="*/ 16317 h 52065"/>
                    <a:gd name="connsiteX3" fmla="*/ 654 w 3199"/>
                    <a:gd name="connsiteY3" fmla="*/ 0 h 52065"/>
                  </a:gdLst>
                  <a:ahLst/>
                  <a:cxnLst>
                    <a:cxn ang="0">
                      <a:pos x="connsiteX0" y="connsiteY0"/>
                    </a:cxn>
                    <a:cxn ang="0">
                      <a:pos x="connsiteX1" y="connsiteY1"/>
                    </a:cxn>
                    <a:cxn ang="0">
                      <a:pos x="connsiteX2" y="connsiteY2"/>
                    </a:cxn>
                    <a:cxn ang="0">
                      <a:pos x="connsiteX3" y="connsiteY3"/>
                    </a:cxn>
                  </a:cxnLst>
                  <a:rect l="l" t="t" r="r" b="b"/>
                  <a:pathLst>
                    <a:path w="3199" h="52065">
                      <a:moveTo>
                        <a:pt x="2522" y="52065"/>
                      </a:moveTo>
                      <a:cubicBezTo>
                        <a:pt x="-94" y="44093"/>
                        <a:pt x="-218" y="37741"/>
                        <a:pt x="156" y="33381"/>
                      </a:cubicBezTo>
                      <a:cubicBezTo>
                        <a:pt x="778" y="26406"/>
                        <a:pt x="2896" y="23292"/>
                        <a:pt x="3145" y="16317"/>
                      </a:cubicBezTo>
                      <a:cubicBezTo>
                        <a:pt x="3519"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7" name="Freeform 7796">
                  <a:extLst>
                    <a:ext uri="{FF2B5EF4-FFF2-40B4-BE49-F238E27FC236}">
                      <a16:creationId xmlns:a16="http://schemas.microsoft.com/office/drawing/2014/main" id="{BCE1FAA7-3C63-06DA-4A14-5B5C97B6B350}"/>
                    </a:ext>
                  </a:extLst>
                </p:cNvPr>
                <p:cNvSpPr/>
                <p:nvPr/>
              </p:nvSpPr>
              <p:spPr>
                <a:xfrm>
                  <a:off x="6283808" y="1853241"/>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803" y="26408"/>
                        <a:pt x="13454" y="26533"/>
                      </a:cubicBezTo>
                      <a:cubicBezTo>
                        <a:pt x="6106" y="26657"/>
                        <a:pt x="127" y="20803"/>
                        <a:pt x="2" y="13454"/>
                      </a:cubicBezTo>
                      <a:cubicBezTo>
                        <a:pt x="-122" y="6105"/>
                        <a:pt x="5607" y="126"/>
                        <a:pt x="12956"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1" name="Graphic 2987">
                <a:extLst>
                  <a:ext uri="{FF2B5EF4-FFF2-40B4-BE49-F238E27FC236}">
                    <a16:creationId xmlns:a16="http://schemas.microsoft.com/office/drawing/2014/main" id="{4693006D-7BCC-141D-B131-0541F156FE2B}"/>
                  </a:ext>
                </a:extLst>
              </p:cNvPr>
              <p:cNvGrpSpPr/>
              <p:nvPr/>
            </p:nvGrpSpPr>
            <p:grpSpPr>
              <a:xfrm>
                <a:off x="6254288" y="1853492"/>
                <a:ext cx="28901" cy="148971"/>
                <a:chOff x="6254288" y="1853492"/>
                <a:chExt cx="28901" cy="148971"/>
              </a:xfrm>
              <a:grpFill/>
            </p:grpSpPr>
            <p:sp>
              <p:nvSpPr>
                <p:cNvPr id="6366" name="Freeform 7798">
                  <a:extLst>
                    <a:ext uri="{FF2B5EF4-FFF2-40B4-BE49-F238E27FC236}">
                      <a16:creationId xmlns:a16="http://schemas.microsoft.com/office/drawing/2014/main" id="{2FDDE5FF-FA3A-26FA-C45C-4FE2C3F8F7B6}"/>
                    </a:ext>
                  </a:extLst>
                </p:cNvPr>
                <p:cNvSpPr/>
                <p:nvPr/>
              </p:nvSpPr>
              <p:spPr>
                <a:xfrm>
                  <a:off x="6271188" y="1929846"/>
                  <a:ext cx="4288" cy="52189"/>
                </a:xfrm>
                <a:custGeom>
                  <a:avLst/>
                  <a:gdLst>
                    <a:gd name="connsiteX0" fmla="*/ 2283 w 4288"/>
                    <a:gd name="connsiteY0" fmla="*/ 52190 h 52189"/>
                    <a:gd name="connsiteX1" fmla="*/ 3903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3" y="33506"/>
                      </a:cubicBezTo>
                      <a:cubicBezTo>
                        <a:pt x="3031" y="26531"/>
                        <a:pt x="789" y="23541"/>
                        <a:pt x="166" y="16442"/>
                      </a:cubicBezTo>
                      <a:cubicBezTo>
                        <a:pt x="-457"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7" name="Freeform 7799">
                  <a:extLst>
                    <a:ext uri="{FF2B5EF4-FFF2-40B4-BE49-F238E27FC236}">
                      <a16:creationId xmlns:a16="http://schemas.microsoft.com/office/drawing/2014/main" id="{33A524C8-C469-4EE6-C2CC-9EF3C1F20BAE}"/>
                    </a:ext>
                  </a:extLst>
                </p:cNvPr>
                <p:cNvSpPr/>
                <p:nvPr/>
              </p:nvSpPr>
              <p:spPr>
                <a:xfrm>
                  <a:off x="6263947" y="1935078"/>
                  <a:ext cx="3327" cy="52065"/>
                </a:xfrm>
                <a:custGeom>
                  <a:avLst/>
                  <a:gdLst>
                    <a:gd name="connsiteX0" fmla="*/ 806 w 3327"/>
                    <a:gd name="connsiteY0" fmla="*/ 0 h 52065"/>
                    <a:gd name="connsiteX1" fmla="*/ 3172 w 3327"/>
                    <a:gd name="connsiteY1" fmla="*/ 18684 h 52065"/>
                    <a:gd name="connsiteX2" fmla="*/ 58 w 3327"/>
                    <a:gd name="connsiteY2" fmla="*/ 35748 h 52065"/>
                    <a:gd name="connsiteX3" fmla="*/ 2550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806" y="0"/>
                      </a:moveTo>
                      <a:cubicBezTo>
                        <a:pt x="3422" y="7972"/>
                        <a:pt x="3546" y="14324"/>
                        <a:pt x="3172" y="18684"/>
                      </a:cubicBezTo>
                      <a:cubicBezTo>
                        <a:pt x="2550" y="25659"/>
                        <a:pt x="432" y="28773"/>
                        <a:pt x="58" y="35748"/>
                      </a:cubicBezTo>
                      <a:cubicBezTo>
                        <a:pt x="-315" y="42599"/>
                        <a:pt x="1179" y="48328"/>
                        <a:pt x="255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8" name="Freeform 7800">
                  <a:extLst>
                    <a:ext uri="{FF2B5EF4-FFF2-40B4-BE49-F238E27FC236}">
                      <a16:creationId xmlns:a16="http://schemas.microsoft.com/office/drawing/2014/main" id="{1BA96893-514E-FFA7-C11B-94A40125BDF4}"/>
                    </a:ext>
                  </a:extLst>
                </p:cNvPr>
                <p:cNvSpPr/>
                <p:nvPr/>
              </p:nvSpPr>
              <p:spPr>
                <a:xfrm>
                  <a:off x="6256530" y="1975930"/>
                  <a:ext cx="26659" cy="26532"/>
                </a:xfrm>
                <a:custGeom>
                  <a:avLst/>
                  <a:gdLst>
                    <a:gd name="connsiteX0" fmla="*/ 2 w 26659"/>
                    <a:gd name="connsiteY0" fmla="*/ 13454 h 26532"/>
                    <a:gd name="connsiteX1" fmla="*/ 13081 w 26659"/>
                    <a:gd name="connsiteY1" fmla="*/ 2 h 26532"/>
                    <a:gd name="connsiteX2" fmla="*/ 26657 w 26659"/>
                    <a:gd name="connsiteY2" fmla="*/ 13080 h 26532"/>
                    <a:gd name="connsiteX3" fmla="*/ 13579 w 26659"/>
                    <a:gd name="connsiteY3" fmla="*/ 26533 h 26532"/>
                    <a:gd name="connsiteX4" fmla="*/ 2 w 26659"/>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1">
                      <a:moveTo>
                        <a:pt x="2" y="13454"/>
                      </a:moveTo>
                      <a:cubicBezTo>
                        <a:pt x="-122" y="6105"/>
                        <a:pt x="5732" y="126"/>
                        <a:pt x="13081" y="2"/>
                      </a:cubicBezTo>
                      <a:cubicBezTo>
                        <a:pt x="20430" y="-123"/>
                        <a:pt x="26533" y="5732"/>
                        <a:pt x="26657" y="13080"/>
                      </a:cubicBezTo>
                      <a:cubicBezTo>
                        <a:pt x="26782" y="20429"/>
                        <a:pt x="20928" y="26408"/>
                        <a:pt x="13579" y="26533"/>
                      </a:cubicBezTo>
                      <a:cubicBezTo>
                        <a:pt x="6230" y="26533"/>
                        <a:pt x="251"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9" name="Freeform 7801">
                  <a:extLst>
                    <a:ext uri="{FF2B5EF4-FFF2-40B4-BE49-F238E27FC236}">
                      <a16:creationId xmlns:a16="http://schemas.microsoft.com/office/drawing/2014/main" id="{DE36AA7C-C486-C835-F6FC-B63E9AAD99AF}"/>
                    </a:ext>
                  </a:extLst>
                </p:cNvPr>
                <p:cNvSpPr/>
                <p:nvPr/>
              </p:nvSpPr>
              <p:spPr>
                <a:xfrm>
                  <a:off x="6262000" y="1873920"/>
                  <a:ext cx="4288" cy="52189"/>
                </a:xfrm>
                <a:custGeom>
                  <a:avLst/>
                  <a:gdLst>
                    <a:gd name="connsiteX0" fmla="*/ 2005 w 4288"/>
                    <a:gd name="connsiteY0" fmla="*/ 0 h 52189"/>
                    <a:gd name="connsiteX1" fmla="*/ 386 w 4288"/>
                    <a:gd name="connsiteY1" fmla="*/ 18684 h 52189"/>
                    <a:gd name="connsiteX2" fmla="*/ 4123 w 4288"/>
                    <a:gd name="connsiteY2" fmla="*/ 35748 h 52189"/>
                    <a:gd name="connsiteX3" fmla="*/ 2255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6"/>
                        <a:pt x="-237" y="14449"/>
                        <a:pt x="386" y="18684"/>
                      </a:cubicBezTo>
                      <a:cubicBezTo>
                        <a:pt x="1258" y="25659"/>
                        <a:pt x="3500" y="28648"/>
                        <a:pt x="4123" y="35748"/>
                      </a:cubicBezTo>
                      <a:cubicBezTo>
                        <a:pt x="4745" y="42599"/>
                        <a:pt x="3500" y="48328"/>
                        <a:pt x="22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0" name="Freeform 7802">
                  <a:extLst>
                    <a:ext uri="{FF2B5EF4-FFF2-40B4-BE49-F238E27FC236}">
                      <a16:creationId xmlns:a16="http://schemas.microsoft.com/office/drawing/2014/main" id="{68547D3F-D277-FF1A-5CC2-860CC9727063}"/>
                    </a:ext>
                  </a:extLst>
                </p:cNvPr>
                <p:cNvSpPr/>
                <p:nvPr/>
              </p:nvSpPr>
              <p:spPr>
                <a:xfrm>
                  <a:off x="6270202" y="1868813"/>
                  <a:ext cx="3327" cy="52065"/>
                </a:xfrm>
                <a:custGeom>
                  <a:avLst/>
                  <a:gdLst>
                    <a:gd name="connsiteX0" fmla="*/ 2522 w 3327"/>
                    <a:gd name="connsiteY0" fmla="*/ 52065 h 52065"/>
                    <a:gd name="connsiteX1" fmla="*/ 156 w 3327"/>
                    <a:gd name="connsiteY1" fmla="*/ 33381 h 52065"/>
                    <a:gd name="connsiteX2" fmla="*/ 3270 w 3327"/>
                    <a:gd name="connsiteY2" fmla="*/ 16317 h 52065"/>
                    <a:gd name="connsiteX3" fmla="*/ 778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52065"/>
                      </a:moveTo>
                      <a:cubicBezTo>
                        <a:pt x="-93" y="44093"/>
                        <a:pt x="-218" y="37741"/>
                        <a:pt x="156" y="33381"/>
                      </a:cubicBezTo>
                      <a:cubicBezTo>
                        <a:pt x="778" y="26406"/>
                        <a:pt x="2896" y="23292"/>
                        <a:pt x="3270" y="16317"/>
                      </a:cubicBezTo>
                      <a:cubicBezTo>
                        <a:pt x="3643" y="9466"/>
                        <a:pt x="2149" y="3737"/>
                        <a:pt x="7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1" name="Freeform 7803">
                  <a:extLst>
                    <a:ext uri="{FF2B5EF4-FFF2-40B4-BE49-F238E27FC236}">
                      <a16:creationId xmlns:a16="http://schemas.microsoft.com/office/drawing/2014/main" id="{FD6E62DD-1A01-6F1C-36EF-94D9E809AEF3}"/>
                    </a:ext>
                  </a:extLst>
                </p:cNvPr>
                <p:cNvSpPr/>
                <p:nvPr/>
              </p:nvSpPr>
              <p:spPr>
                <a:xfrm>
                  <a:off x="6254288" y="1853492"/>
                  <a:ext cx="26410" cy="26532"/>
                </a:xfrm>
                <a:custGeom>
                  <a:avLst/>
                  <a:gdLst>
                    <a:gd name="connsiteX0" fmla="*/ 26408 w 26410"/>
                    <a:gd name="connsiteY0" fmla="*/ 13079 h 26532"/>
                    <a:gd name="connsiteX1" fmla="*/ 13454 w 26410"/>
                    <a:gd name="connsiteY1" fmla="*/ 26531 h 26532"/>
                    <a:gd name="connsiteX2" fmla="*/ 2 w 26410"/>
                    <a:gd name="connsiteY2" fmla="*/ 13452 h 26532"/>
                    <a:gd name="connsiteX3" fmla="*/ 12956 w 26410"/>
                    <a:gd name="connsiteY3" fmla="*/ 0 h 26532"/>
                    <a:gd name="connsiteX4" fmla="*/ 26408 w 26410"/>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1">
                      <a:moveTo>
                        <a:pt x="26408" y="13079"/>
                      </a:moveTo>
                      <a:cubicBezTo>
                        <a:pt x="26533" y="20427"/>
                        <a:pt x="20803" y="26406"/>
                        <a:pt x="13454" y="26531"/>
                      </a:cubicBezTo>
                      <a:cubicBezTo>
                        <a:pt x="6105" y="26655"/>
                        <a:pt x="127" y="20801"/>
                        <a:pt x="2" y="13452"/>
                      </a:cubicBezTo>
                      <a:cubicBezTo>
                        <a:pt x="-123" y="6103"/>
                        <a:pt x="5607" y="125"/>
                        <a:pt x="12956" y="0"/>
                      </a:cubicBezTo>
                      <a:cubicBezTo>
                        <a:pt x="20305" y="0"/>
                        <a:pt x="26284"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2" name="Graphic 2987">
                <a:extLst>
                  <a:ext uri="{FF2B5EF4-FFF2-40B4-BE49-F238E27FC236}">
                    <a16:creationId xmlns:a16="http://schemas.microsoft.com/office/drawing/2014/main" id="{6B307B6A-DA27-9805-060E-6FF945392B9D}"/>
                  </a:ext>
                </a:extLst>
              </p:cNvPr>
              <p:cNvGrpSpPr/>
              <p:nvPr/>
            </p:nvGrpSpPr>
            <p:grpSpPr>
              <a:xfrm>
                <a:off x="6224892" y="1853864"/>
                <a:ext cx="28527" cy="148850"/>
                <a:chOff x="6224892" y="1853864"/>
                <a:chExt cx="28527" cy="148850"/>
              </a:xfrm>
              <a:grpFill/>
            </p:grpSpPr>
            <p:sp>
              <p:nvSpPr>
                <p:cNvPr id="6360" name="Freeform 7805">
                  <a:extLst>
                    <a:ext uri="{FF2B5EF4-FFF2-40B4-BE49-F238E27FC236}">
                      <a16:creationId xmlns:a16="http://schemas.microsoft.com/office/drawing/2014/main" id="{793CA616-D437-0E3D-9527-249190F9F5CF}"/>
                    </a:ext>
                  </a:extLst>
                </p:cNvPr>
                <p:cNvSpPr/>
                <p:nvPr/>
              </p:nvSpPr>
              <p:spPr>
                <a:xfrm>
                  <a:off x="6241429" y="1930220"/>
                  <a:ext cx="4278" cy="52189"/>
                </a:xfrm>
                <a:custGeom>
                  <a:avLst/>
                  <a:gdLst>
                    <a:gd name="connsiteX0" fmla="*/ 2273 w 4278"/>
                    <a:gd name="connsiteY0" fmla="*/ 52190 h 52189"/>
                    <a:gd name="connsiteX1" fmla="*/ 3893 w 4278"/>
                    <a:gd name="connsiteY1" fmla="*/ 33506 h 52189"/>
                    <a:gd name="connsiteX2" fmla="*/ 156 w 4278"/>
                    <a:gd name="connsiteY2" fmla="*/ 16442 h 52189"/>
                    <a:gd name="connsiteX3" fmla="*/ 202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52190"/>
                      </a:moveTo>
                      <a:cubicBezTo>
                        <a:pt x="4640" y="44093"/>
                        <a:pt x="4516" y="37741"/>
                        <a:pt x="3893" y="33506"/>
                      </a:cubicBezTo>
                      <a:cubicBezTo>
                        <a:pt x="3021" y="26531"/>
                        <a:pt x="779"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1" name="Freeform 7806">
                  <a:extLst>
                    <a:ext uri="{FF2B5EF4-FFF2-40B4-BE49-F238E27FC236}">
                      <a16:creationId xmlns:a16="http://schemas.microsoft.com/office/drawing/2014/main" id="{A5975FAE-081A-17F8-4E40-A30077022189}"/>
                    </a:ext>
                  </a:extLst>
                </p:cNvPr>
                <p:cNvSpPr/>
                <p:nvPr/>
              </p:nvSpPr>
              <p:spPr>
                <a:xfrm>
                  <a:off x="6234178" y="1935451"/>
                  <a:ext cx="3403" cy="52065"/>
                </a:xfrm>
                <a:custGeom>
                  <a:avLst/>
                  <a:gdLst>
                    <a:gd name="connsiteX0" fmla="*/ 930 w 3403"/>
                    <a:gd name="connsiteY0" fmla="*/ 0 h 52065"/>
                    <a:gd name="connsiteX1" fmla="*/ 3172 w 3403"/>
                    <a:gd name="connsiteY1" fmla="*/ 18684 h 52065"/>
                    <a:gd name="connsiteX2" fmla="*/ 58 w 3403"/>
                    <a:gd name="connsiteY2" fmla="*/ 35748 h 52065"/>
                    <a:gd name="connsiteX3" fmla="*/ 2549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930" y="0"/>
                      </a:moveTo>
                      <a:cubicBezTo>
                        <a:pt x="3546" y="7972"/>
                        <a:pt x="3670" y="14324"/>
                        <a:pt x="3172" y="18684"/>
                      </a:cubicBezTo>
                      <a:cubicBezTo>
                        <a:pt x="2549" y="25659"/>
                        <a:pt x="432" y="28773"/>
                        <a:pt x="58" y="35748"/>
                      </a:cubicBezTo>
                      <a:cubicBezTo>
                        <a:pt x="-315" y="42599"/>
                        <a:pt x="1179" y="48328"/>
                        <a:pt x="25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2" name="Freeform 7807">
                  <a:extLst>
                    <a:ext uri="{FF2B5EF4-FFF2-40B4-BE49-F238E27FC236}">
                      <a16:creationId xmlns:a16="http://schemas.microsoft.com/office/drawing/2014/main" id="{674A4D47-E611-979B-C991-A0206F5781A9}"/>
                    </a:ext>
                  </a:extLst>
                </p:cNvPr>
                <p:cNvSpPr/>
                <p:nvPr/>
              </p:nvSpPr>
              <p:spPr>
                <a:xfrm>
                  <a:off x="6226760" y="1976180"/>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3" y="5732"/>
                        <a:pt x="26657" y="13080"/>
                      </a:cubicBezTo>
                      <a:cubicBezTo>
                        <a:pt x="26782" y="20429"/>
                        <a:pt x="20928" y="26408"/>
                        <a:pt x="13579" y="26533"/>
                      </a:cubicBezTo>
                      <a:cubicBezTo>
                        <a:pt x="6230"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3" name="Freeform 7808">
                  <a:extLst>
                    <a:ext uri="{FF2B5EF4-FFF2-40B4-BE49-F238E27FC236}">
                      <a16:creationId xmlns:a16="http://schemas.microsoft.com/office/drawing/2014/main" id="{4F7C0AC9-53ED-E92E-25D9-D419DD82296D}"/>
                    </a:ext>
                  </a:extLst>
                </p:cNvPr>
                <p:cNvSpPr/>
                <p:nvPr/>
              </p:nvSpPr>
              <p:spPr>
                <a:xfrm>
                  <a:off x="6232480" y="1874293"/>
                  <a:ext cx="4278" cy="52189"/>
                </a:xfrm>
                <a:custGeom>
                  <a:avLst/>
                  <a:gdLst>
                    <a:gd name="connsiteX0" fmla="*/ 2005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0"/>
                      </a:moveTo>
                      <a:cubicBezTo>
                        <a:pt x="-361" y="8096"/>
                        <a:pt x="-237" y="14449"/>
                        <a:pt x="386" y="18684"/>
                      </a:cubicBezTo>
                      <a:cubicBezTo>
                        <a:pt x="1258" y="25659"/>
                        <a:pt x="3500" y="28648"/>
                        <a:pt x="4123" y="35748"/>
                      </a:cubicBezTo>
                      <a:cubicBezTo>
                        <a:pt x="4745" y="42599"/>
                        <a:pt x="3376"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4" name="Freeform 7809">
                  <a:extLst>
                    <a:ext uri="{FF2B5EF4-FFF2-40B4-BE49-F238E27FC236}">
                      <a16:creationId xmlns:a16="http://schemas.microsoft.com/office/drawing/2014/main" id="{274E1DC0-A5E9-4D1F-3AB1-0B9DFDC04420}"/>
                    </a:ext>
                  </a:extLst>
                </p:cNvPr>
                <p:cNvSpPr/>
                <p:nvPr/>
              </p:nvSpPr>
              <p:spPr>
                <a:xfrm>
                  <a:off x="6240606" y="1869187"/>
                  <a:ext cx="3403" cy="52065"/>
                </a:xfrm>
                <a:custGeom>
                  <a:avLst/>
                  <a:gdLst>
                    <a:gd name="connsiteX0" fmla="*/ 2473 w 3403"/>
                    <a:gd name="connsiteY0" fmla="*/ 52065 h 52065"/>
                    <a:gd name="connsiteX1" fmla="*/ 231 w 3403"/>
                    <a:gd name="connsiteY1" fmla="*/ 33381 h 52065"/>
                    <a:gd name="connsiteX2" fmla="*/ 3345 w 3403"/>
                    <a:gd name="connsiteY2" fmla="*/ 16317 h 52065"/>
                    <a:gd name="connsiteX3" fmla="*/ 854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52065"/>
                      </a:moveTo>
                      <a:cubicBezTo>
                        <a:pt x="-143" y="44093"/>
                        <a:pt x="-267" y="37741"/>
                        <a:pt x="231" y="33381"/>
                      </a:cubicBezTo>
                      <a:cubicBezTo>
                        <a:pt x="854" y="26406"/>
                        <a:pt x="2971" y="23292"/>
                        <a:pt x="3345" y="16317"/>
                      </a:cubicBezTo>
                      <a:cubicBezTo>
                        <a:pt x="3719" y="9466"/>
                        <a:pt x="2224" y="3737"/>
                        <a:pt x="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5" name="Freeform 7810">
                  <a:extLst>
                    <a:ext uri="{FF2B5EF4-FFF2-40B4-BE49-F238E27FC236}">
                      <a16:creationId xmlns:a16="http://schemas.microsoft.com/office/drawing/2014/main" id="{FF7DE8B9-FB12-4FDB-1289-144008A21914}"/>
                    </a:ext>
                  </a:extLst>
                </p:cNvPr>
                <p:cNvSpPr/>
                <p:nvPr/>
              </p:nvSpPr>
              <p:spPr>
                <a:xfrm>
                  <a:off x="6224892" y="1853864"/>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454" y="26533"/>
                      </a:cubicBezTo>
                      <a:cubicBezTo>
                        <a:pt x="6105" y="26657"/>
                        <a:pt x="126" y="20803"/>
                        <a:pt x="2" y="13454"/>
                      </a:cubicBezTo>
                      <a:cubicBezTo>
                        <a:pt x="-123" y="6105"/>
                        <a:pt x="5732" y="126"/>
                        <a:pt x="12956" y="2"/>
                      </a:cubicBezTo>
                      <a:cubicBezTo>
                        <a:pt x="20180" y="-123"/>
                        <a:pt x="26159" y="5856"/>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3" name="Graphic 2987">
                <a:extLst>
                  <a:ext uri="{FF2B5EF4-FFF2-40B4-BE49-F238E27FC236}">
                    <a16:creationId xmlns:a16="http://schemas.microsoft.com/office/drawing/2014/main" id="{157812CD-831D-03EB-1E68-97CE01544DB2}"/>
                  </a:ext>
                </a:extLst>
              </p:cNvPr>
              <p:cNvGrpSpPr/>
              <p:nvPr/>
            </p:nvGrpSpPr>
            <p:grpSpPr>
              <a:xfrm>
                <a:off x="6195372" y="1854238"/>
                <a:ext cx="28278" cy="148850"/>
                <a:chOff x="6195372" y="1854238"/>
                <a:chExt cx="28278" cy="148850"/>
              </a:xfrm>
              <a:grpFill/>
            </p:grpSpPr>
            <p:sp>
              <p:nvSpPr>
                <p:cNvPr id="6354" name="Freeform 7812">
                  <a:extLst>
                    <a:ext uri="{FF2B5EF4-FFF2-40B4-BE49-F238E27FC236}">
                      <a16:creationId xmlns:a16="http://schemas.microsoft.com/office/drawing/2014/main" id="{7E99D601-7CD8-97E4-C35D-B9E817C9266D}"/>
                    </a:ext>
                  </a:extLst>
                </p:cNvPr>
                <p:cNvSpPr/>
                <p:nvPr/>
              </p:nvSpPr>
              <p:spPr>
                <a:xfrm>
                  <a:off x="6211784" y="1930593"/>
                  <a:ext cx="4187" cy="52189"/>
                </a:xfrm>
                <a:custGeom>
                  <a:avLst/>
                  <a:gdLst>
                    <a:gd name="connsiteX0" fmla="*/ 2149 w 4187"/>
                    <a:gd name="connsiteY0" fmla="*/ 52190 h 52189"/>
                    <a:gd name="connsiteX1" fmla="*/ 3892 w 4187"/>
                    <a:gd name="connsiteY1" fmla="*/ 33506 h 52189"/>
                    <a:gd name="connsiteX2" fmla="*/ 156 w 4187"/>
                    <a:gd name="connsiteY2" fmla="*/ 16442 h 52189"/>
                    <a:gd name="connsiteX3" fmla="*/ 2024 w 4187"/>
                    <a:gd name="connsiteY3" fmla="*/ 0 h 52189"/>
                  </a:gdLst>
                  <a:ahLst/>
                  <a:cxnLst>
                    <a:cxn ang="0">
                      <a:pos x="connsiteX0" y="connsiteY0"/>
                    </a:cxn>
                    <a:cxn ang="0">
                      <a:pos x="connsiteX1" y="connsiteY1"/>
                    </a:cxn>
                    <a:cxn ang="0">
                      <a:pos x="connsiteX2" y="connsiteY2"/>
                    </a:cxn>
                    <a:cxn ang="0">
                      <a:pos x="connsiteX3" y="connsiteY3"/>
                    </a:cxn>
                  </a:cxnLst>
                  <a:rect l="l" t="t" r="r" b="b"/>
                  <a:pathLst>
                    <a:path w="4187" h="52189">
                      <a:moveTo>
                        <a:pt x="2149" y="52190"/>
                      </a:moveTo>
                      <a:cubicBezTo>
                        <a:pt x="4515" y="44093"/>
                        <a:pt x="4391" y="37741"/>
                        <a:pt x="3892" y="33506"/>
                      </a:cubicBezTo>
                      <a:cubicBezTo>
                        <a:pt x="3021" y="26531"/>
                        <a:pt x="778"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5" name="Freeform 7813">
                  <a:extLst>
                    <a:ext uri="{FF2B5EF4-FFF2-40B4-BE49-F238E27FC236}">
                      <a16:creationId xmlns:a16="http://schemas.microsoft.com/office/drawing/2014/main" id="{C0A3D446-F74A-1E3F-5261-86831A1CBAE6}"/>
                    </a:ext>
                  </a:extLst>
                </p:cNvPr>
                <p:cNvSpPr/>
                <p:nvPr/>
              </p:nvSpPr>
              <p:spPr>
                <a:xfrm>
                  <a:off x="6204408" y="1935700"/>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1" y="7972"/>
                        <a:pt x="3671" y="14324"/>
                        <a:pt x="3297" y="18684"/>
                      </a:cubicBezTo>
                      <a:cubicBezTo>
                        <a:pt x="2674" y="25659"/>
                        <a:pt x="557"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6" name="Freeform 7814">
                  <a:extLst>
                    <a:ext uri="{FF2B5EF4-FFF2-40B4-BE49-F238E27FC236}">
                      <a16:creationId xmlns:a16="http://schemas.microsoft.com/office/drawing/2014/main" id="{68712AE4-3A65-B394-2CC3-A934B0C6633A}"/>
                    </a:ext>
                  </a:extLst>
                </p:cNvPr>
                <p:cNvSpPr/>
                <p:nvPr/>
              </p:nvSpPr>
              <p:spPr>
                <a:xfrm>
                  <a:off x="6196991" y="1976553"/>
                  <a:ext cx="26659" cy="26534"/>
                </a:xfrm>
                <a:custGeom>
                  <a:avLst/>
                  <a:gdLst>
                    <a:gd name="connsiteX0" fmla="*/ 2 w 26659"/>
                    <a:gd name="connsiteY0" fmla="*/ 13454 h 26534"/>
                    <a:gd name="connsiteX1" fmla="*/ 13081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2" y="6105"/>
                        <a:pt x="5732" y="127"/>
                        <a:pt x="13081" y="2"/>
                      </a:cubicBezTo>
                      <a:cubicBezTo>
                        <a:pt x="20430" y="-123"/>
                        <a:pt x="26533" y="5732"/>
                        <a:pt x="26657" y="13080"/>
                      </a:cubicBezTo>
                      <a:cubicBezTo>
                        <a:pt x="26782" y="20429"/>
                        <a:pt x="20928" y="26408"/>
                        <a:pt x="13579" y="26533"/>
                      </a:cubicBezTo>
                      <a:cubicBezTo>
                        <a:pt x="6106"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7" name="Freeform 7815">
                  <a:extLst>
                    <a:ext uri="{FF2B5EF4-FFF2-40B4-BE49-F238E27FC236}">
                      <a16:creationId xmlns:a16="http://schemas.microsoft.com/office/drawing/2014/main" id="{B2CD928F-4B3D-FA0B-4243-DBF915E954A9}"/>
                    </a:ext>
                  </a:extLst>
                </p:cNvPr>
                <p:cNvSpPr/>
                <p:nvPr/>
              </p:nvSpPr>
              <p:spPr>
                <a:xfrm>
                  <a:off x="6202926" y="1874667"/>
                  <a:ext cx="4063" cy="52189"/>
                </a:xfrm>
                <a:custGeom>
                  <a:avLst/>
                  <a:gdLst>
                    <a:gd name="connsiteX0" fmla="*/ 2039 w 4063"/>
                    <a:gd name="connsiteY0" fmla="*/ 0 h 52189"/>
                    <a:gd name="connsiteX1" fmla="*/ 295 w 4063"/>
                    <a:gd name="connsiteY1" fmla="*/ 18684 h 52189"/>
                    <a:gd name="connsiteX2" fmla="*/ 3907 w 4063"/>
                    <a:gd name="connsiteY2" fmla="*/ 35748 h 52189"/>
                    <a:gd name="connsiteX3" fmla="*/ 2039 w 406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0"/>
                      </a:moveTo>
                      <a:cubicBezTo>
                        <a:pt x="-327" y="8096"/>
                        <a:pt x="-203" y="14449"/>
                        <a:pt x="295" y="18684"/>
                      </a:cubicBezTo>
                      <a:cubicBezTo>
                        <a:pt x="1167" y="25659"/>
                        <a:pt x="3285" y="28648"/>
                        <a:pt x="3907" y="35748"/>
                      </a:cubicBezTo>
                      <a:cubicBezTo>
                        <a:pt x="4530" y="42599"/>
                        <a:pt x="3160" y="48328"/>
                        <a:pt x="203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8" name="Freeform 7816">
                  <a:extLst>
                    <a:ext uri="{FF2B5EF4-FFF2-40B4-BE49-F238E27FC236}">
                      <a16:creationId xmlns:a16="http://schemas.microsoft.com/office/drawing/2014/main" id="{ED9E4588-1CFF-D0DF-2020-EF2A4AC57306}"/>
                    </a:ext>
                  </a:extLst>
                </p:cNvPr>
                <p:cNvSpPr/>
                <p:nvPr/>
              </p:nvSpPr>
              <p:spPr>
                <a:xfrm>
                  <a:off x="6211016" y="1869560"/>
                  <a:ext cx="3349" cy="52065"/>
                </a:xfrm>
                <a:custGeom>
                  <a:avLst/>
                  <a:gdLst>
                    <a:gd name="connsiteX0" fmla="*/ 2419 w 3349"/>
                    <a:gd name="connsiteY0" fmla="*/ 52065 h 52065"/>
                    <a:gd name="connsiteX1" fmla="*/ 177 w 3349"/>
                    <a:gd name="connsiteY1" fmla="*/ 33381 h 52065"/>
                    <a:gd name="connsiteX2" fmla="*/ 3291 w 3349"/>
                    <a:gd name="connsiteY2" fmla="*/ 16317 h 52065"/>
                    <a:gd name="connsiteX3" fmla="*/ 924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52065"/>
                      </a:moveTo>
                      <a:cubicBezTo>
                        <a:pt x="-197" y="44093"/>
                        <a:pt x="-197" y="37741"/>
                        <a:pt x="177" y="33381"/>
                      </a:cubicBezTo>
                      <a:cubicBezTo>
                        <a:pt x="800" y="26406"/>
                        <a:pt x="2917" y="23292"/>
                        <a:pt x="3291" y="16317"/>
                      </a:cubicBezTo>
                      <a:cubicBezTo>
                        <a:pt x="3664" y="9466"/>
                        <a:pt x="2170" y="3737"/>
                        <a:pt x="9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9" name="Freeform 7817">
                  <a:extLst>
                    <a:ext uri="{FF2B5EF4-FFF2-40B4-BE49-F238E27FC236}">
                      <a16:creationId xmlns:a16="http://schemas.microsoft.com/office/drawing/2014/main" id="{E4CA49BB-97CE-FF8D-4AC6-51B69377862E}"/>
                    </a:ext>
                  </a:extLst>
                </p:cNvPr>
                <p:cNvSpPr/>
                <p:nvPr/>
              </p:nvSpPr>
              <p:spPr>
                <a:xfrm>
                  <a:off x="6195372" y="1854238"/>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2" y="20429"/>
                        <a:pt x="20678" y="26408"/>
                        <a:pt x="13454" y="26533"/>
                      </a:cubicBezTo>
                      <a:cubicBezTo>
                        <a:pt x="6230" y="26657"/>
                        <a:pt x="126" y="20803"/>
                        <a:pt x="2" y="13454"/>
                      </a:cubicBezTo>
                      <a:cubicBezTo>
                        <a:pt x="-123" y="6105"/>
                        <a:pt x="5732" y="126"/>
                        <a:pt x="12956" y="2"/>
                      </a:cubicBezTo>
                      <a:cubicBezTo>
                        <a:pt x="20305" y="-123"/>
                        <a:pt x="26283"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4" name="Graphic 2987">
                <a:extLst>
                  <a:ext uri="{FF2B5EF4-FFF2-40B4-BE49-F238E27FC236}">
                    <a16:creationId xmlns:a16="http://schemas.microsoft.com/office/drawing/2014/main" id="{2886D6AC-E82B-002E-579E-6242123BF57B}"/>
                  </a:ext>
                </a:extLst>
              </p:cNvPr>
              <p:cNvGrpSpPr/>
              <p:nvPr/>
            </p:nvGrpSpPr>
            <p:grpSpPr>
              <a:xfrm>
                <a:off x="6165852" y="1854611"/>
                <a:ext cx="28029" cy="148850"/>
                <a:chOff x="6165852" y="1854611"/>
                <a:chExt cx="28029" cy="148850"/>
              </a:xfrm>
              <a:grpFill/>
            </p:grpSpPr>
            <p:sp>
              <p:nvSpPr>
                <p:cNvPr id="6348" name="Freeform 7819">
                  <a:extLst>
                    <a:ext uri="{FF2B5EF4-FFF2-40B4-BE49-F238E27FC236}">
                      <a16:creationId xmlns:a16="http://schemas.microsoft.com/office/drawing/2014/main" id="{827026AA-F251-C449-C4C1-F23F0E0FD73B}"/>
                    </a:ext>
                  </a:extLst>
                </p:cNvPr>
                <p:cNvSpPr/>
                <p:nvPr/>
              </p:nvSpPr>
              <p:spPr>
                <a:xfrm>
                  <a:off x="6182015" y="1930967"/>
                  <a:ext cx="4062" cy="52189"/>
                </a:xfrm>
                <a:custGeom>
                  <a:avLst/>
                  <a:gdLst>
                    <a:gd name="connsiteX0" fmla="*/ 2024 w 4062"/>
                    <a:gd name="connsiteY0" fmla="*/ 52190 h 52189"/>
                    <a:gd name="connsiteX1" fmla="*/ 3767 w 4062"/>
                    <a:gd name="connsiteY1" fmla="*/ 33506 h 52189"/>
                    <a:gd name="connsiteX2" fmla="*/ 155 w 4062"/>
                    <a:gd name="connsiteY2" fmla="*/ 16442 h 52189"/>
                    <a:gd name="connsiteX3" fmla="*/ 2148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24" y="52190"/>
                      </a:moveTo>
                      <a:cubicBezTo>
                        <a:pt x="4390" y="44093"/>
                        <a:pt x="4266"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9" name="Freeform 7820">
                  <a:extLst>
                    <a:ext uri="{FF2B5EF4-FFF2-40B4-BE49-F238E27FC236}">
                      <a16:creationId xmlns:a16="http://schemas.microsoft.com/office/drawing/2014/main" id="{986116B1-1696-216B-566E-064019EF2094}"/>
                    </a:ext>
                  </a:extLst>
                </p:cNvPr>
                <p:cNvSpPr/>
                <p:nvPr/>
              </p:nvSpPr>
              <p:spPr>
                <a:xfrm>
                  <a:off x="6174639" y="1936074"/>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0" y="7972"/>
                        <a:pt x="3670" y="14324"/>
                        <a:pt x="3297" y="18684"/>
                      </a:cubicBezTo>
                      <a:cubicBezTo>
                        <a:pt x="2549" y="25659"/>
                        <a:pt x="556"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0" name="Freeform 7821">
                  <a:extLst>
                    <a:ext uri="{FF2B5EF4-FFF2-40B4-BE49-F238E27FC236}">
                      <a16:creationId xmlns:a16="http://schemas.microsoft.com/office/drawing/2014/main" id="{2905E8A3-C127-E06B-7AE5-06BA27A6FF51}"/>
                    </a:ext>
                  </a:extLst>
                </p:cNvPr>
                <p:cNvSpPr/>
                <p:nvPr/>
              </p:nvSpPr>
              <p:spPr>
                <a:xfrm>
                  <a:off x="6167222" y="1976927"/>
                  <a:ext cx="26658" cy="26534"/>
                </a:xfrm>
                <a:custGeom>
                  <a:avLst/>
                  <a:gdLst>
                    <a:gd name="connsiteX0" fmla="*/ 2 w 26658"/>
                    <a:gd name="connsiteY0" fmla="*/ 13454 h 26534"/>
                    <a:gd name="connsiteX1" fmla="*/ 13205 w 26658"/>
                    <a:gd name="connsiteY1" fmla="*/ 2 h 26534"/>
                    <a:gd name="connsiteX2" fmla="*/ 26657 w 26658"/>
                    <a:gd name="connsiteY2" fmla="*/ 13081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7"/>
                        <a:pt x="13205" y="2"/>
                      </a:cubicBezTo>
                      <a:cubicBezTo>
                        <a:pt x="20554" y="-123"/>
                        <a:pt x="26657" y="5732"/>
                        <a:pt x="26657" y="13081"/>
                      </a:cubicBezTo>
                      <a:cubicBezTo>
                        <a:pt x="26782" y="20429"/>
                        <a:pt x="20803" y="26408"/>
                        <a:pt x="13454" y="26533"/>
                      </a:cubicBezTo>
                      <a:cubicBezTo>
                        <a:pt x="6105" y="26657"/>
                        <a:pt x="2"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1" name="Freeform 7822">
                  <a:extLst>
                    <a:ext uri="{FF2B5EF4-FFF2-40B4-BE49-F238E27FC236}">
                      <a16:creationId xmlns:a16="http://schemas.microsoft.com/office/drawing/2014/main" id="{FF97A8B8-E9EC-E4C5-0998-6B17D5EF1594}"/>
                    </a:ext>
                  </a:extLst>
                </p:cNvPr>
                <p:cNvSpPr/>
                <p:nvPr/>
              </p:nvSpPr>
              <p:spPr>
                <a:xfrm>
                  <a:off x="6173405" y="1874916"/>
                  <a:ext cx="4062" cy="52189"/>
                </a:xfrm>
                <a:custGeom>
                  <a:avLst/>
                  <a:gdLst>
                    <a:gd name="connsiteX0" fmla="*/ 2039 w 4062"/>
                    <a:gd name="connsiteY0" fmla="*/ 0 h 52189"/>
                    <a:gd name="connsiteX1" fmla="*/ 295 w 4062"/>
                    <a:gd name="connsiteY1" fmla="*/ 18684 h 52189"/>
                    <a:gd name="connsiteX2" fmla="*/ 3908 w 4062"/>
                    <a:gd name="connsiteY2" fmla="*/ 35748 h 52189"/>
                    <a:gd name="connsiteX3" fmla="*/ 1915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0"/>
                      </a:moveTo>
                      <a:cubicBezTo>
                        <a:pt x="-327" y="8096"/>
                        <a:pt x="-203" y="14449"/>
                        <a:pt x="295" y="18684"/>
                      </a:cubicBezTo>
                      <a:cubicBezTo>
                        <a:pt x="1167" y="25659"/>
                        <a:pt x="3285" y="28648"/>
                        <a:pt x="3908" y="35748"/>
                      </a:cubicBezTo>
                      <a:cubicBezTo>
                        <a:pt x="4530" y="42599"/>
                        <a:pt x="3160" y="48328"/>
                        <a:pt x="191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2" name="Freeform 7823">
                  <a:extLst>
                    <a:ext uri="{FF2B5EF4-FFF2-40B4-BE49-F238E27FC236}">
                      <a16:creationId xmlns:a16="http://schemas.microsoft.com/office/drawing/2014/main" id="{6861A338-42A0-D56C-142E-23C4A7522622}"/>
                    </a:ext>
                  </a:extLst>
                </p:cNvPr>
                <p:cNvSpPr/>
                <p:nvPr/>
              </p:nvSpPr>
              <p:spPr>
                <a:xfrm>
                  <a:off x="6181371" y="1869934"/>
                  <a:ext cx="3473" cy="52065"/>
                </a:xfrm>
                <a:custGeom>
                  <a:avLst/>
                  <a:gdLst>
                    <a:gd name="connsiteX0" fmla="*/ 2419 w 3473"/>
                    <a:gd name="connsiteY0" fmla="*/ 52065 h 52065"/>
                    <a:gd name="connsiteX1" fmla="*/ 177 w 3473"/>
                    <a:gd name="connsiteY1" fmla="*/ 33381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3"/>
                        <a:pt x="-197" y="37741"/>
                        <a:pt x="177" y="33381"/>
                      </a:cubicBezTo>
                      <a:cubicBezTo>
                        <a:pt x="924" y="26406"/>
                        <a:pt x="2917" y="23292"/>
                        <a:pt x="3415" y="16317"/>
                      </a:cubicBezTo>
                      <a:cubicBezTo>
                        <a:pt x="3789" y="9466"/>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3" name="Freeform 7824">
                  <a:extLst>
                    <a:ext uri="{FF2B5EF4-FFF2-40B4-BE49-F238E27FC236}">
                      <a16:creationId xmlns:a16="http://schemas.microsoft.com/office/drawing/2014/main" id="{71EC9E25-C9F4-8DA3-CFAD-3DBB3B4CADDB}"/>
                    </a:ext>
                  </a:extLst>
                </p:cNvPr>
                <p:cNvSpPr/>
                <p:nvPr/>
              </p:nvSpPr>
              <p:spPr>
                <a:xfrm>
                  <a:off x="6165852" y="1854611"/>
                  <a:ext cx="26410" cy="26534"/>
                </a:xfrm>
                <a:custGeom>
                  <a:avLst/>
                  <a:gdLst>
                    <a:gd name="connsiteX0" fmla="*/ 26408 w 26410"/>
                    <a:gd name="connsiteY0" fmla="*/ 13081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1"/>
                      </a:moveTo>
                      <a:cubicBezTo>
                        <a:pt x="26533" y="20429"/>
                        <a:pt x="20679" y="26408"/>
                        <a:pt x="13330" y="26533"/>
                      </a:cubicBezTo>
                      <a:cubicBezTo>
                        <a:pt x="5981" y="26657"/>
                        <a:pt x="2" y="20803"/>
                        <a:pt x="2" y="13454"/>
                      </a:cubicBezTo>
                      <a:cubicBezTo>
                        <a:pt x="-122" y="6105"/>
                        <a:pt x="5732" y="127"/>
                        <a:pt x="13081" y="2"/>
                      </a:cubicBezTo>
                      <a:cubicBezTo>
                        <a:pt x="20305" y="-123"/>
                        <a:pt x="26284" y="5732"/>
                        <a:pt x="26408"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5" name="Graphic 2987">
                <a:extLst>
                  <a:ext uri="{FF2B5EF4-FFF2-40B4-BE49-F238E27FC236}">
                    <a16:creationId xmlns:a16="http://schemas.microsoft.com/office/drawing/2014/main" id="{ECA33C3B-EBF3-D6F0-657C-1FC609BEED72}"/>
                  </a:ext>
                </a:extLst>
              </p:cNvPr>
              <p:cNvGrpSpPr/>
              <p:nvPr/>
            </p:nvGrpSpPr>
            <p:grpSpPr>
              <a:xfrm>
                <a:off x="6136331" y="1854985"/>
                <a:ext cx="27655" cy="148850"/>
                <a:chOff x="6136331" y="1854985"/>
                <a:chExt cx="27655" cy="148850"/>
              </a:xfrm>
              <a:grpFill/>
            </p:grpSpPr>
            <p:sp>
              <p:nvSpPr>
                <p:cNvPr id="6342" name="Freeform 7826">
                  <a:extLst>
                    <a:ext uri="{FF2B5EF4-FFF2-40B4-BE49-F238E27FC236}">
                      <a16:creationId xmlns:a16="http://schemas.microsoft.com/office/drawing/2014/main" id="{B2CEA25B-CF64-211F-5E2A-F2F621E60F8E}"/>
                    </a:ext>
                  </a:extLst>
                </p:cNvPr>
                <p:cNvSpPr/>
                <p:nvPr/>
              </p:nvSpPr>
              <p:spPr>
                <a:xfrm>
                  <a:off x="6152246" y="1931341"/>
                  <a:ext cx="4118" cy="52189"/>
                </a:xfrm>
                <a:custGeom>
                  <a:avLst/>
                  <a:gdLst>
                    <a:gd name="connsiteX0" fmla="*/ 2023 w 4118"/>
                    <a:gd name="connsiteY0" fmla="*/ 52190 h 52189"/>
                    <a:gd name="connsiteX1" fmla="*/ 3767 w 4118"/>
                    <a:gd name="connsiteY1" fmla="*/ 33506 h 52189"/>
                    <a:gd name="connsiteX2" fmla="*/ 155 w 4118"/>
                    <a:gd name="connsiteY2" fmla="*/ 16442 h 52189"/>
                    <a:gd name="connsiteX3" fmla="*/ 2148 w 4118"/>
                    <a:gd name="connsiteY3" fmla="*/ 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52190"/>
                      </a:moveTo>
                      <a:cubicBezTo>
                        <a:pt x="4390" y="44093"/>
                        <a:pt x="4390"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3" name="Freeform 7827">
                  <a:extLst>
                    <a:ext uri="{FF2B5EF4-FFF2-40B4-BE49-F238E27FC236}">
                      <a16:creationId xmlns:a16="http://schemas.microsoft.com/office/drawing/2014/main" id="{BFDD076A-0F3F-A08F-24AC-3114FADCDCEE}"/>
                    </a:ext>
                  </a:extLst>
                </p:cNvPr>
                <p:cNvSpPr/>
                <p:nvPr/>
              </p:nvSpPr>
              <p:spPr>
                <a:xfrm>
                  <a:off x="6144866" y="1936448"/>
                  <a:ext cx="3557" cy="52065"/>
                </a:xfrm>
                <a:custGeom>
                  <a:avLst/>
                  <a:gdLst>
                    <a:gd name="connsiteX0" fmla="*/ 1183 w 3557"/>
                    <a:gd name="connsiteY0" fmla="*/ 0 h 52065"/>
                    <a:gd name="connsiteX1" fmla="*/ 3301 w 3557"/>
                    <a:gd name="connsiteY1" fmla="*/ 18684 h 52065"/>
                    <a:gd name="connsiteX2" fmla="*/ 62 w 3557"/>
                    <a:gd name="connsiteY2" fmla="*/ 35748 h 52065"/>
                    <a:gd name="connsiteX3" fmla="*/ 24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0"/>
                      </a:moveTo>
                      <a:cubicBezTo>
                        <a:pt x="3799" y="7972"/>
                        <a:pt x="3799" y="14324"/>
                        <a:pt x="3301" y="18684"/>
                      </a:cubicBezTo>
                      <a:cubicBezTo>
                        <a:pt x="2554" y="25659"/>
                        <a:pt x="436" y="28773"/>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4" name="Freeform 7828">
                  <a:extLst>
                    <a:ext uri="{FF2B5EF4-FFF2-40B4-BE49-F238E27FC236}">
                      <a16:creationId xmlns:a16="http://schemas.microsoft.com/office/drawing/2014/main" id="{E72A52A3-958D-1A98-9BA2-6A4F7112A103}"/>
                    </a:ext>
                  </a:extLst>
                </p:cNvPr>
                <p:cNvSpPr/>
                <p:nvPr/>
              </p:nvSpPr>
              <p:spPr>
                <a:xfrm>
                  <a:off x="6137328" y="1977301"/>
                  <a:ext cx="26658" cy="26534"/>
                </a:xfrm>
                <a:custGeom>
                  <a:avLst/>
                  <a:gdLst>
                    <a:gd name="connsiteX0" fmla="*/ 2 w 26658"/>
                    <a:gd name="connsiteY0" fmla="*/ 13454 h 26534"/>
                    <a:gd name="connsiteX1" fmla="*/ 13205 w 26658"/>
                    <a:gd name="connsiteY1" fmla="*/ 2 h 26534"/>
                    <a:gd name="connsiteX2" fmla="*/ 26657 w 26658"/>
                    <a:gd name="connsiteY2" fmla="*/ 13080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6"/>
                        <a:pt x="13205" y="2"/>
                      </a:cubicBezTo>
                      <a:cubicBezTo>
                        <a:pt x="20554" y="-123"/>
                        <a:pt x="26532" y="5732"/>
                        <a:pt x="26657" y="13080"/>
                      </a:cubicBezTo>
                      <a:cubicBezTo>
                        <a:pt x="26782" y="20429"/>
                        <a:pt x="20803" y="26408"/>
                        <a:pt x="13454" y="26533"/>
                      </a:cubicBezTo>
                      <a:cubicBezTo>
                        <a:pt x="6105" y="26657"/>
                        <a:pt x="126"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5" name="Freeform 7829">
                  <a:extLst>
                    <a:ext uri="{FF2B5EF4-FFF2-40B4-BE49-F238E27FC236}">
                      <a16:creationId xmlns:a16="http://schemas.microsoft.com/office/drawing/2014/main" id="{2871EEFD-5977-F999-4832-5636EA7C82D0}"/>
                    </a:ext>
                  </a:extLst>
                </p:cNvPr>
                <p:cNvSpPr/>
                <p:nvPr/>
              </p:nvSpPr>
              <p:spPr>
                <a:xfrm>
                  <a:off x="6143830" y="1875290"/>
                  <a:ext cx="4075" cy="52189"/>
                </a:xfrm>
                <a:custGeom>
                  <a:avLst/>
                  <a:gdLst>
                    <a:gd name="connsiteX0" fmla="*/ 2095 w 4075"/>
                    <a:gd name="connsiteY0" fmla="*/ 0 h 52189"/>
                    <a:gd name="connsiteX1" fmla="*/ 351 w 4075"/>
                    <a:gd name="connsiteY1" fmla="*/ 18684 h 52189"/>
                    <a:gd name="connsiteX2" fmla="*/ 3963 w 4075"/>
                    <a:gd name="connsiteY2" fmla="*/ 35748 h 52189"/>
                    <a:gd name="connsiteX3" fmla="*/ 1970 w 407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75" h="52189">
                      <a:moveTo>
                        <a:pt x="2095" y="0"/>
                      </a:moveTo>
                      <a:cubicBezTo>
                        <a:pt x="-272" y="8096"/>
                        <a:pt x="-272" y="14449"/>
                        <a:pt x="351" y="18684"/>
                      </a:cubicBezTo>
                      <a:cubicBezTo>
                        <a:pt x="1223" y="25659"/>
                        <a:pt x="3340" y="28648"/>
                        <a:pt x="3963" y="35748"/>
                      </a:cubicBezTo>
                      <a:cubicBezTo>
                        <a:pt x="4461" y="42599"/>
                        <a:pt x="3216" y="48328"/>
                        <a:pt x="19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6" name="Freeform 7830">
                  <a:extLst>
                    <a:ext uri="{FF2B5EF4-FFF2-40B4-BE49-F238E27FC236}">
                      <a16:creationId xmlns:a16="http://schemas.microsoft.com/office/drawing/2014/main" id="{CCE19095-EE51-786F-59A8-ABFD7EBC033F}"/>
                    </a:ext>
                  </a:extLst>
                </p:cNvPr>
                <p:cNvSpPr/>
                <p:nvPr/>
              </p:nvSpPr>
              <p:spPr>
                <a:xfrm>
                  <a:off x="6151771" y="1870308"/>
                  <a:ext cx="3557" cy="52065"/>
                </a:xfrm>
                <a:custGeom>
                  <a:avLst/>
                  <a:gdLst>
                    <a:gd name="connsiteX0" fmla="*/ 2374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4" y="52065"/>
                      </a:moveTo>
                      <a:cubicBezTo>
                        <a:pt x="-242" y="44093"/>
                        <a:pt x="-242" y="37741"/>
                        <a:pt x="257" y="33381"/>
                      </a:cubicBezTo>
                      <a:cubicBezTo>
                        <a:pt x="1004" y="26406"/>
                        <a:pt x="3122" y="23292"/>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7" name="Freeform 7831">
                  <a:extLst>
                    <a:ext uri="{FF2B5EF4-FFF2-40B4-BE49-F238E27FC236}">
                      <a16:creationId xmlns:a16="http://schemas.microsoft.com/office/drawing/2014/main" id="{2B6BE598-1B37-5661-429C-52CBFAEC3325}"/>
                    </a:ext>
                  </a:extLst>
                </p:cNvPr>
                <p:cNvSpPr/>
                <p:nvPr/>
              </p:nvSpPr>
              <p:spPr>
                <a:xfrm>
                  <a:off x="6136331" y="1854985"/>
                  <a:ext cx="26410" cy="26534"/>
                </a:xfrm>
                <a:custGeom>
                  <a:avLst/>
                  <a:gdLst>
                    <a:gd name="connsiteX0" fmla="*/ 26408 w 26410"/>
                    <a:gd name="connsiteY0" fmla="*/ 13080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330" y="26533"/>
                      </a:cubicBezTo>
                      <a:cubicBezTo>
                        <a:pt x="5981" y="26657"/>
                        <a:pt x="2" y="20803"/>
                        <a:pt x="2" y="13454"/>
                      </a:cubicBezTo>
                      <a:cubicBezTo>
                        <a:pt x="-122" y="6105"/>
                        <a:pt x="5731" y="126"/>
                        <a:pt x="13081"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6" name="Graphic 2987">
                <a:extLst>
                  <a:ext uri="{FF2B5EF4-FFF2-40B4-BE49-F238E27FC236}">
                    <a16:creationId xmlns:a16="http://schemas.microsoft.com/office/drawing/2014/main" id="{7CD3A3A2-B502-538F-98FB-ACE07F955879}"/>
                  </a:ext>
                </a:extLst>
              </p:cNvPr>
              <p:cNvGrpSpPr/>
              <p:nvPr/>
            </p:nvGrpSpPr>
            <p:grpSpPr>
              <a:xfrm>
                <a:off x="6106813" y="1855359"/>
                <a:ext cx="27404" cy="148850"/>
                <a:chOff x="6106813" y="1855359"/>
                <a:chExt cx="27404" cy="148850"/>
              </a:xfrm>
              <a:grpFill/>
            </p:grpSpPr>
            <p:sp>
              <p:nvSpPr>
                <p:cNvPr id="6336" name="Freeform 7833">
                  <a:extLst>
                    <a:ext uri="{FF2B5EF4-FFF2-40B4-BE49-F238E27FC236}">
                      <a16:creationId xmlns:a16="http://schemas.microsoft.com/office/drawing/2014/main" id="{4F2A143A-9F70-0D04-0D9E-9FB83EBE8703}"/>
                    </a:ext>
                  </a:extLst>
                </p:cNvPr>
                <p:cNvSpPr/>
                <p:nvPr/>
              </p:nvSpPr>
              <p:spPr>
                <a:xfrm>
                  <a:off x="6122651" y="1931590"/>
                  <a:ext cx="4008" cy="52189"/>
                </a:xfrm>
                <a:custGeom>
                  <a:avLst/>
                  <a:gdLst>
                    <a:gd name="connsiteX0" fmla="*/ 1849 w 4008"/>
                    <a:gd name="connsiteY0" fmla="*/ 52190 h 52189"/>
                    <a:gd name="connsiteX1" fmla="*/ 3718 w 4008"/>
                    <a:gd name="connsiteY1" fmla="*/ 33506 h 52189"/>
                    <a:gd name="connsiteX2" fmla="*/ 105 w 4008"/>
                    <a:gd name="connsiteY2" fmla="*/ 16442 h 52189"/>
                    <a:gd name="connsiteX3" fmla="*/ 2098 w 4008"/>
                    <a:gd name="connsiteY3" fmla="*/ 0 h 52189"/>
                  </a:gdLst>
                  <a:ahLst/>
                  <a:cxnLst>
                    <a:cxn ang="0">
                      <a:pos x="connsiteX0" y="connsiteY0"/>
                    </a:cxn>
                    <a:cxn ang="0">
                      <a:pos x="connsiteX1" y="connsiteY1"/>
                    </a:cxn>
                    <a:cxn ang="0">
                      <a:pos x="connsiteX2" y="connsiteY2"/>
                    </a:cxn>
                    <a:cxn ang="0">
                      <a:pos x="connsiteX3" y="connsiteY3"/>
                    </a:cxn>
                  </a:cxnLst>
                  <a:rect l="l" t="t" r="r" b="b"/>
                  <a:pathLst>
                    <a:path w="4008" h="52189">
                      <a:moveTo>
                        <a:pt x="1849" y="52190"/>
                      </a:moveTo>
                      <a:cubicBezTo>
                        <a:pt x="4340" y="44093"/>
                        <a:pt x="4216" y="37741"/>
                        <a:pt x="3718" y="33506"/>
                      </a:cubicBezTo>
                      <a:cubicBezTo>
                        <a:pt x="2846" y="26531"/>
                        <a:pt x="728" y="23541"/>
                        <a:pt x="105" y="16442"/>
                      </a:cubicBezTo>
                      <a:cubicBezTo>
                        <a:pt x="-393" y="9591"/>
                        <a:pt x="977" y="3861"/>
                        <a:pt x="20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7" name="Freeform 7834">
                  <a:extLst>
                    <a:ext uri="{FF2B5EF4-FFF2-40B4-BE49-F238E27FC236}">
                      <a16:creationId xmlns:a16="http://schemas.microsoft.com/office/drawing/2014/main" id="{82AD3C8E-AC10-2EAC-5EB4-3F47A4DD2DBB}"/>
                    </a:ext>
                  </a:extLst>
                </p:cNvPr>
                <p:cNvSpPr/>
                <p:nvPr/>
              </p:nvSpPr>
              <p:spPr>
                <a:xfrm>
                  <a:off x="6115060" y="1936821"/>
                  <a:ext cx="3695" cy="52065"/>
                </a:xfrm>
                <a:custGeom>
                  <a:avLst/>
                  <a:gdLst>
                    <a:gd name="connsiteX0" fmla="*/ 1344 w 3695"/>
                    <a:gd name="connsiteY0" fmla="*/ 0 h 52065"/>
                    <a:gd name="connsiteX1" fmla="*/ 3461 w 3695"/>
                    <a:gd name="connsiteY1" fmla="*/ 18684 h 52065"/>
                    <a:gd name="connsiteX2" fmla="*/ 98 w 3695"/>
                    <a:gd name="connsiteY2" fmla="*/ 35748 h 52065"/>
                    <a:gd name="connsiteX3" fmla="*/ 2340 w 369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0"/>
                      </a:moveTo>
                      <a:cubicBezTo>
                        <a:pt x="3835" y="7972"/>
                        <a:pt x="3960"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8" name="Freeform 7835">
                  <a:extLst>
                    <a:ext uri="{FF2B5EF4-FFF2-40B4-BE49-F238E27FC236}">
                      <a16:creationId xmlns:a16="http://schemas.microsoft.com/office/drawing/2014/main" id="{24BBB0DE-F3ED-0BCE-D5B1-FA2FA3D1FA59}"/>
                    </a:ext>
                  </a:extLst>
                </p:cNvPr>
                <p:cNvSpPr/>
                <p:nvPr/>
              </p:nvSpPr>
              <p:spPr>
                <a:xfrm>
                  <a:off x="6107561" y="1977674"/>
                  <a:ext cx="26657" cy="26534"/>
                </a:xfrm>
                <a:custGeom>
                  <a:avLst/>
                  <a:gdLst>
                    <a:gd name="connsiteX0" fmla="*/ 0 w 26657"/>
                    <a:gd name="connsiteY0" fmla="*/ 13454 h 26534"/>
                    <a:gd name="connsiteX1" fmla="*/ 13203 w 26657"/>
                    <a:gd name="connsiteY1" fmla="*/ 2 h 26534"/>
                    <a:gd name="connsiteX2" fmla="*/ 26656 w 26657"/>
                    <a:gd name="connsiteY2" fmla="*/ 13080 h 26534"/>
                    <a:gd name="connsiteX3" fmla="*/ 13452 w 26657"/>
                    <a:gd name="connsiteY3" fmla="*/ 26533 h 26534"/>
                    <a:gd name="connsiteX4" fmla="*/ 0 w 26657"/>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454"/>
                      </a:moveTo>
                      <a:cubicBezTo>
                        <a:pt x="0" y="6105"/>
                        <a:pt x="5854" y="127"/>
                        <a:pt x="13203" y="2"/>
                      </a:cubicBezTo>
                      <a:cubicBezTo>
                        <a:pt x="20552" y="-123"/>
                        <a:pt x="26531" y="5732"/>
                        <a:pt x="26656" y="13080"/>
                      </a:cubicBezTo>
                      <a:cubicBezTo>
                        <a:pt x="26780" y="20429"/>
                        <a:pt x="20801" y="26408"/>
                        <a:pt x="13452" y="26533"/>
                      </a:cubicBezTo>
                      <a:cubicBezTo>
                        <a:pt x="6103" y="26657"/>
                        <a:pt x="125" y="20803"/>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9" name="Freeform 7836">
                  <a:extLst>
                    <a:ext uri="{FF2B5EF4-FFF2-40B4-BE49-F238E27FC236}">
                      <a16:creationId xmlns:a16="http://schemas.microsoft.com/office/drawing/2014/main" id="{3D1BBA04-E231-CD31-2609-906A63D98EAA}"/>
                    </a:ext>
                  </a:extLst>
                </p:cNvPr>
                <p:cNvSpPr/>
                <p:nvPr/>
              </p:nvSpPr>
              <p:spPr>
                <a:xfrm>
                  <a:off x="6114272" y="1875664"/>
                  <a:ext cx="3857" cy="52189"/>
                </a:xfrm>
                <a:custGeom>
                  <a:avLst/>
                  <a:gdLst>
                    <a:gd name="connsiteX0" fmla="*/ 2132 w 3857"/>
                    <a:gd name="connsiteY0" fmla="*/ 0 h 52189"/>
                    <a:gd name="connsiteX1" fmla="*/ 264 w 3857"/>
                    <a:gd name="connsiteY1" fmla="*/ 18684 h 52189"/>
                    <a:gd name="connsiteX2" fmla="*/ 3752 w 3857"/>
                    <a:gd name="connsiteY2" fmla="*/ 35748 h 52189"/>
                    <a:gd name="connsiteX3" fmla="*/ 1759 w 385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7" h="52189">
                      <a:moveTo>
                        <a:pt x="2132" y="0"/>
                      </a:moveTo>
                      <a:cubicBezTo>
                        <a:pt x="-234" y="8096"/>
                        <a:pt x="-234" y="14449"/>
                        <a:pt x="264" y="18684"/>
                      </a:cubicBezTo>
                      <a:cubicBezTo>
                        <a:pt x="1136" y="25659"/>
                        <a:pt x="3254" y="28648"/>
                        <a:pt x="3752" y="35748"/>
                      </a:cubicBezTo>
                      <a:cubicBezTo>
                        <a:pt x="4250" y="42599"/>
                        <a:pt x="2880" y="48328"/>
                        <a:pt x="17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0" name="Freeform 7837">
                  <a:extLst>
                    <a:ext uri="{FF2B5EF4-FFF2-40B4-BE49-F238E27FC236}">
                      <a16:creationId xmlns:a16="http://schemas.microsoft.com/office/drawing/2014/main" id="{E2C19CD5-C4FE-97FA-FDB9-A7D6193F8C86}"/>
                    </a:ext>
                  </a:extLst>
                </p:cNvPr>
                <p:cNvSpPr/>
                <p:nvPr/>
              </p:nvSpPr>
              <p:spPr>
                <a:xfrm>
                  <a:off x="6122149" y="1870681"/>
                  <a:ext cx="3570" cy="52065"/>
                </a:xfrm>
                <a:custGeom>
                  <a:avLst/>
                  <a:gdLst>
                    <a:gd name="connsiteX0" fmla="*/ 2352 w 3570"/>
                    <a:gd name="connsiteY0" fmla="*/ 52065 h 52065"/>
                    <a:gd name="connsiteX1" fmla="*/ 234 w 3570"/>
                    <a:gd name="connsiteY1" fmla="*/ 33381 h 52065"/>
                    <a:gd name="connsiteX2" fmla="*/ 3473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52065"/>
                      </a:moveTo>
                      <a:cubicBezTo>
                        <a:pt x="-140" y="44093"/>
                        <a:pt x="-264" y="37741"/>
                        <a:pt x="234" y="33381"/>
                      </a:cubicBezTo>
                      <a:cubicBezTo>
                        <a:pt x="981" y="26406"/>
                        <a:pt x="3099" y="23292"/>
                        <a:pt x="3473" y="16317"/>
                      </a:cubicBezTo>
                      <a:cubicBezTo>
                        <a:pt x="3970" y="9466"/>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1" name="Freeform 7838">
                  <a:extLst>
                    <a:ext uri="{FF2B5EF4-FFF2-40B4-BE49-F238E27FC236}">
                      <a16:creationId xmlns:a16="http://schemas.microsoft.com/office/drawing/2014/main" id="{9022D8FF-F64C-691A-A1BA-A86F02543F7D}"/>
                    </a:ext>
                  </a:extLst>
                </p:cNvPr>
                <p:cNvSpPr/>
                <p:nvPr/>
              </p:nvSpPr>
              <p:spPr>
                <a:xfrm>
                  <a:off x="6106813" y="1855359"/>
                  <a:ext cx="26408" cy="26534"/>
                </a:xfrm>
                <a:custGeom>
                  <a:avLst/>
                  <a:gdLst>
                    <a:gd name="connsiteX0" fmla="*/ 26406 w 26408"/>
                    <a:gd name="connsiteY0" fmla="*/ 13080 h 26534"/>
                    <a:gd name="connsiteX1" fmla="*/ 13328 w 26408"/>
                    <a:gd name="connsiteY1" fmla="*/ 26533 h 26534"/>
                    <a:gd name="connsiteX2" fmla="*/ 0 w 26408"/>
                    <a:gd name="connsiteY2" fmla="*/ 13454 h 26534"/>
                    <a:gd name="connsiteX3" fmla="*/ 13078 w 26408"/>
                    <a:gd name="connsiteY3" fmla="*/ 2 h 26534"/>
                    <a:gd name="connsiteX4" fmla="*/ 26406 w 26408"/>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080"/>
                      </a:moveTo>
                      <a:cubicBezTo>
                        <a:pt x="26531" y="20429"/>
                        <a:pt x="20552" y="26408"/>
                        <a:pt x="13328" y="26533"/>
                      </a:cubicBezTo>
                      <a:cubicBezTo>
                        <a:pt x="6103" y="26657"/>
                        <a:pt x="125" y="20803"/>
                        <a:pt x="0" y="13454"/>
                      </a:cubicBezTo>
                      <a:cubicBezTo>
                        <a:pt x="0" y="6105"/>
                        <a:pt x="5854" y="126"/>
                        <a:pt x="13078" y="2"/>
                      </a:cubicBezTo>
                      <a:cubicBezTo>
                        <a:pt x="20428" y="-123"/>
                        <a:pt x="26282"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7" name="Graphic 2987">
                <a:extLst>
                  <a:ext uri="{FF2B5EF4-FFF2-40B4-BE49-F238E27FC236}">
                    <a16:creationId xmlns:a16="http://schemas.microsoft.com/office/drawing/2014/main" id="{6D8C83A5-B958-BA96-B0BA-A4A963AA25B0}"/>
                  </a:ext>
                </a:extLst>
              </p:cNvPr>
              <p:cNvGrpSpPr/>
              <p:nvPr/>
            </p:nvGrpSpPr>
            <p:grpSpPr>
              <a:xfrm>
                <a:off x="6077291" y="1855610"/>
                <a:ext cx="27281" cy="148972"/>
                <a:chOff x="6077291" y="1855610"/>
                <a:chExt cx="27281" cy="148972"/>
              </a:xfrm>
              <a:grpFill/>
            </p:grpSpPr>
            <p:sp>
              <p:nvSpPr>
                <p:cNvPr id="6330" name="Freeform 7840">
                  <a:extLst>
                    <a:ext uri="{FF2B5EF4-FFF2-40B4-BE49-F238E27FC236}">
                      <a16:creationId xmlns:a16="http://schemas.microsoft.com/office/drawing/2014/main" id="{A2634773-A3D5-93E0-5C98-D80BBFB144A6}"/>
                    </a:ext>
                  </a:extLst>
                </p:cNvPr>
                <p:cNvSpPr/>
                <p:nvPr/>
              </p:nvSpPr>
              <p:spPr>
                <a:xfrm>
                  <a:off x="6093007" y="1931964"/>
                  <a:ext cx="3883" cy="52189"/>
                </a:xfrm>
                <a:custGeom>
                  <a:avLst/>
                  <a:gdLst>
                    <a:gd name="connsiteX0" fmla="*/ 1724 w 3883"/>
                    <a:gd name="connsiteY0" fmla="*/ 52190 h 52189"/>
                    <a:gd name="connsiteX1" fmla="*/ 3592 w 3883"/>
                    <a:gd name="connsiteY1" fmla="*/ 33506 h 52189"/>
                    <a:gd name="connsiteX2" fmla="*/ 105 w 3883"/>
                    <a:gd name="connsiteY2" fmla="*/ 16442 h 52189"/>
                    <a:gd name="connsiteX3" fmla="*/ 2223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2" y="33506"/>
                      </a:cubicBezTo>
                      <a:cubicBezTo>
                        <a:pt x="2721" y="26531"/>
                        <a:pt x="603" y="23541"/>
                        <a:pt x="105" y="16442"/>
                      </a:cubicBezTo>
                      <a:cubicBezTo>
                        <a:pt x="-393" y="9591"/>
                        <a:pt x="977" y="3861"/>
                        <a:pt x="22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1" name="Freeform 7841">
                  <a:extLst>
                    <a:ext uri="{FF2B5EF4-FFF2-40B4-BE49-F238E27FC236}">
                      <a16:creationId xmlns:a16="http://schemas.microsoft.com/office/drawing/2014/main" id="{ED254E90-D397-F3CD-0FC3-380021198374}"/>
                    </a:ext>
                  </a:extLst>
                </p:cNvPr>
                <p:cNvSpPr/>
                <p:nvPr/>
              </p:nvSpPr>
              <p:spPr>
                <a:xfrm>
                  <a:off x="6085416" y="1937195"/>
                  <a:ext cx="3640" cy="52065"/>
                </a:xfrm>
                <a:custGeom>
                  <a:avLst/>
                  <a:gdLst>
                    <a:gd name="connsiteX0" fmla="*/ 1344 w 3640"/>
                    <a:gd name="connsiteY0" fmla="*/ 0 h 52065"/>
                    <a:gd name="connsiteX1" fmla="*/ 3461 w 3640"/>
                    <a:gd name="connsiteY1" fmla="*/ 18684 h 52065"/>
                    <a:gd name="connsiteX2" fmla="*/ 98 w 3640"/>
                    <a:gd name="connsiteY2" fmla="*/ 35748 h 52065"/>
                    <a:gd name="connsiteX3" fmla="*/ 234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0"/>
                      </a:moveTo>
                      <a:cubicBezTo>
                        <a:pt x="3835" y="7972"/>
                        <a:pt x="3835"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2" name="Freeform 7842">
                  <a:extLst>
                    <a:ext uri="{FF2B5EF4-FFF2-40B4-BE49-F238E27FC236}">
                      <a16:creationId xmlns:a16="http://schemas.microsoft.com/office/drawing/2014/main" id="{9CFF8BB3-7782-0AB7-11B2-B0DFF56A4863}"/>
                    </a:ext>
                  </a:extLst>
                </p:cNvPr>
                <p:cNvSpPr/>
                <p:nvPr/>
              </p:nvSpPr>
              <p:spPr>
                <a:xfrm>
                  <a:off x="6077792" y="1978048"/>
                  <a:ext cx="26781" cy="26534"/>
                </a:xfrm>
                <a:custGeom>
                  <a:avLst/>
                  <a:gdLst>
                    <a:gd name="connsiteX0" fmla="*/ 0 w 26781"/>
                    <a:gd name="connsiteY0" fmla="*/ 13454 h 26534"/>
                    <a:gd name="connsiteX1" fmla="*/ 13327 w 26781"/>
                    <a:gd name="connsiteY1" fmla="*/ 2 h 26534"/>
                    <a:gd name="connsiteX2" fmla="*/ 26780 w 26781"/>
                    <a:gd name="connsiteY2" fmla="*/ 13081 h 26534"/>
                    <a:gd name="connsiteX3" fmla="*/ 13452 w 26781"/>
                    <a:gd name="connsiteY3" fmla="*/ 26533 h 26534"/>
                    <a:gd name="connsiteX4" fmla="*/ 0 w 26781"/>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0" y="13454"/>
                      </a:moveTo>
                      <a:cubicBezTo>
                        <a:pt x="0" y="6105"/>
                        <a:pt x="5854" y="127"/>
                        <a:pt x="13327" y="2"/>
                      </a:cubicBezTo>
                      <a:cubicBezTo>
                        <a:pt x="20801" y="-123"/>
                        <a:pt x="26655" y="5732"/>
                        <a:pt x="26780" y="13081"/>
                      </a:cubicBezTo>
                      <a:cubicBezTo>
                        <a:pt x="26904" y="20429"/>
                        <a:pt x="20926" y="26408"/>
                        <a:pt x="13452" y="26533"/>
                      </a:cubicBezTo>
                      <a:cubicBezTo>
                        <a:pt x="5979" y="26657"/>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3" name="Freeform 7843">
                  <a:extLst>
                    <a:ext uri="{FF2B5EF4-FFF2-40B4-BE49-F238E27FC236}">
                      <a16:creationId xmlns:a16="http://schemas.microsoft.com/office/drawing/2014/main" id="{A2791D18-4572-3D3C-2784-0C51E3ED951B}"/>
                    </a:ext>
                  </a:extLst>
                </p:cNvPr>
                <p:cNvSpPr/>
                <p:nvPr/>
              </p:nvSpPr>
              <p:spPr>
                <a:xfrm>
                  <a:off x="6084725" y="1876037"/>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4" name="Freeform 7844">
                  <a:extLst>
                    <a:ext uri="{FF2B5EF4-FFF2-40B4-BE49-F238E27FC236}">
                      <a16:creationId xmlns:a16="http://schemas.microsoft.com/office/drawing/2014/main" id="{8234C54C-785F-7583-342E-AAA57E3AFEB2}"/>
                    </a:ext>
                  </a:extLst>
                </p:cNvPr>
                <p:cNvSpPr/>
                <p:nvPr/>
              </p:nvSpPr>
              <p:spPr>
                <a:xfrm>
                  <a:off x="6092559" y="1870930"/>
                  <a:ext cx="3641" cy="52065"/>
                </a:xfrm>
                <a:custGeom>
                  <a:avLst/>
                  <a:gdLst>
                    <a:gd name="connsiteX0" fmla="*/ 2297 w 3641"/>
                    <a:gd name="connsiteY0" fmla="*/ 52065 h 52065"/>
                    <a:gd name="connsiteX1" fmla="*/ 180 w 3641"/>
                    <a:gd name="connsiteY1" fmla="*/ 33381 h 52065"/>
                    <a:gd name="connsiteX2" fmla="*/ 3543 w 3641"/>
                    <a:gd name="connsiteY2" fmla="*/ 16317 h 52065"/>
                    <a:gd name="connsiteX3" fmla="*/ 1300 w 3641"/>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3"/>
                        <a:pt x="-194" y="37741"/>
                        <a:pt x="180" y="33381"/>
                      </a:cubicBezTo>
                      <a:cubicBezTo>
                        <a:pt x="927" y="26406"/>
                        <a:pt x="3044" y="23292"/>
                        <a:pt x="3543" y="16317"/>
                      </a:cubicBezTo>
                      <a:cubicBezTo>
                        <a:pt x="4041" y="9466"/>
                        <a:pt x="2546" y="3737"/>
                        <a:pt x="1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5" name="Freeform 7845">
                  <a:extLst>
                    <a:ext uri="{FF2B5EF4-FFF2-40B4-BE49-F238E27FC236}">
                      <a16:creationId xmlns:a16="http://schemas.microsoft.com/office/drawing/2014/main" id="{5767900B-71EF-9E62-927F-D487B966180C}"/>
                    </a:ext>
                  </a:extLst>
                </p:cNvPr>
                <p:cNvSpPr/>
                <p:nvPr/>
              </p:nvSpPr>
              <p:spPr>
                <a:xfrm>
                  <a:off x="6077291" y="1855610"/>
                  <a:ext cx="26408" cy="26532"/>
                </a:xfrm>
                <a:custGeom>
                  <a:avLst/>
                  <a:gdLst>
                    <a:gd name="connsiteX0" fmla="*/ 26408 w 26408"/>
                    <a:gd name="connsiteY0" fmla="*/ 13079 h 26532"/>
                    <a:gd name="connsiteX1" fmla="*/ 13330 w 26408"/>
                    <a:gd name="connsiteY1" fmla="*/ 26531 h 26532"/>
                    <a:gd name="connsiteX2" fmla="*/ 2 w 26408"/>
                    <a:gd name="connsiteY2" fmla="*/ 13452 h 26532"/>
                    <a:gd name="connsiteX3" fmla="*/ 13080 w 26408"/>
                    <a:gd name="connsiteY3" fmla="*/ 0 h 26532"/>
                    <a:gd name="connsiteX4" fmla="*/ 26408 w 26408"/>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1">
                      <a:moveTo>
                        <a:pt x="26408" y="13079"/>
                      </a:moveTo>
                      <a:cubicBezTo>
                        <a:pt x="26408" y="20427"/>
                        <a:pt x="20554" y="26406"/>
                        <a:pt x="13330" y="26531"/>
                      </a:cubicBezTo>
                      <a:cubicBezTo>
                        <a:pt x="5981" y="26655"/>
                        <a:pt x="127" y="20801"/>
                        <a:pt x="2" y="13452"/>
                      </a:cubicBezTo>
                      <a:cubicBezTo>
                        <a:pt x="-123" y="6103"/>
                        <a:pt x="5856" y="125"/>
                        <a:pt x="13080" y="0"/>
                      </a:cubicBezTo>
                      <a:cubicBezTo>
                        <a:pt x="20429" y="0"/>
                        <a:pt x="26408"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8" name="Graphic 2987">
                <a:extLst>
                  <a:ext uri="{FF2B5EF4-FFF2-40B4-BE49-F238E27FC236}">
                    <a16:creationId xmlns:a16="http://schemas.microsoft.com/office/drawing/2014/main" id="{827827BC-9C09-D0B7-DDC0-8C0EBDCE236A}"/>
                  </a:ext>
                </a:extLst>
              </p:cNvPr>
              <p:cNvGrpSpPr/>
              <p:nvPr/>
            </p:nvGrpSpPr>
            <p:grpSpPr>
              <a:xfrm>
                <a:off x="6047773" y="1855981"/>
                <a:ext cx="26904" cy="148972"/>
                <a:chOff x="6047773" y="1855981"/>
                <a:chExt cx="26904" cy="148972"/>
              </a:xfrm>
              <a:grpFill/>
            </p:grpSpPr>
            <p:sp>
              <p:nvSpPr>
                <p:cNvPr id="6324" name="Freeform 7847">
                  <a:extLst>
                    <a:ext uri="{FF2B5EF4-FFF2-40B4-BE49-F238E27FC236}">
                      <a16:creationId xmlns:a16="http://schemas.microsoft.com/office/drawing/2014/main" id="{ED106EFF-DC36-527D-5BEB-2A70899E36BC}"/>
                    </a:ext>
                  </a:extLst>
                </p:cNvPr>
                <p:cNvSpPr/>
                <p:nvPr/>
              </p:nvSpPr>
              <p:spPr>
                <a:xfrm>
                  <a:off x="6063238" y="1932337"/>
                  <a:ext cx="3883" cy="52189"/>
                </a:xfrm>
                <a:custGeom>
                  <a:avLst/>
                  <a:gdLst>
                    <a:gd name="connsiteX0" fmla="*/ 1724 w 3883"/>
                    <a:gd name="connsiteY0" fmla="*/ 52190 h 52189"/>
                    <a:gd name="connsiteX1" fmla="*/ 3593 w 3883"/>
                    <a:gd name="connsiteY1" fmla="*/ 33506 h 52189"/>
                    <a:gd name="connsiteX2" fmla="*/ 105 w 3883"/>
                    <a:gd name="connsiteY2" fmla="*/ 16442 h 52189"/>
                    <a:gd name="connsiteX3" fmla="*/ 2222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5" name="Freeform 7848">
                  <a:extLst>
                    <a:ext uri="{FF2B5EF4-FFF2-40B4-BE49-F238E27FC236}">
                      <a16:creationId xmlns:a16="http://schemas.microsoft.com/office/drawing/2014/main" id="{FD88F86D-112F-FDF1-2AAF-5C77E37DBE1D}"/>
                    </a:ext>
                  </a:extLst>
                </p:cNvPr>
                <p:cNvSpPr/>
                <p:nvPr/>
              </p:nvSpPr>
              <p:spPr>
                <a:xfrm>
                  <a:off x="6055646" y="1937569"/>
                  <a:ext cx="3721" cy="52065"/>
                </a:xfrm>
                <a:custGeom>
                  <a:avLst/>
                  <a:gdLst>
                    <a:gd name="connsiteX0" fmla="*/ 1469 w 3721"/>
                    <a:gd name="connsiteY0" fmla="*/ 0 h 52065"/>
                    <a:gd name="connsiteX1" fmla="*/ 3462 w 3721"/>
                    <a:gd name="connsiteY1" fmla="*/ 18684 h 52065"/>
                    <a:gd name="connsiteX2" fmla="*/ 98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0"/>
                      </a:moveTo>
                      <a:cubicBezTo>
                        <a:pt x="3960" y="7972"/>
                        <a:pt x="3960" y="14324"/>
                        <a:pt x="3462" y="18684"/>
                      </a:cubicBezTo>
                      <a:cubicBezTo>
                        <a:pt x="2714" y="25659"/>
                        <a:pt x="597"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6" name="Freeform 7849">
                  <a:extLst>
                    <a:ext uri="{FF2B5EF4-FFF2-40B4-BE49-F238E27FC236}">
                      <a16:creationId xmlns:a16="http://schemas.microsoft.com/office/drawing/2014/main" id="{A80DC69C-A19D-0871-62B9-7D16CDA9517D}"/>
                    </a:ext>
                  </a:extLst>
                </p:cNvPr>
                <p:cNvSpPr/>
                <p:nvPr/>
              </p:nvSpPr>
              <p:spPr>
                <a:xfrm>
                  <a:off x="6048022" y="1978422"/>
                  <a:ext cx="26655" cy="26532"/>
                </a:xfrm>
                <a:custGeom>
                  <a:avLst/>
                  <a:gdLst>
                    <a:gd name="connsiteX0" fmla="*/ 0 w 26655"/>
                    <a:gd name="connsiteY0" fmla="*/ 13454 h 26532"/>
                    <a:gd name="connsiteX1" fmla="*/ 13328 w 26655"/>
                    <a:gd name="connsiteY1" fmla="*/ 2 h 26532"/>
                    <a:gd name="connsiteX2" fmla="*/ 26656 w 26655"/>
                    <a:gd name="connsiteY2" fmla="*/ 13080 h 26532"/>
                    <a:gd name="connsiteX3" fmla="*/ 13328 w 26655"/>
                    <a:gd name="connsiteY3" fmla="*/ 26533 h 26532"/>
                    <a:gd name="connsiteX4" fmla="*/ 0 w 26655"/>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454"/>
                      </a:moveTo>
                      <a:cubicBezTo>
                        <a:pt x="0" y="6105"/>
                        <a:pt x="5979" y="126"/>
                        <a:pt x="13328" y="2"/>
                      </a:cubicBezTo>
                      <a:cubicBezTo>
                        <a:pt x="20677" y="-123"/>
                        <a:pt x="26656" y="5732"/>
                        <a:pt x="26656" y="13080"/>
                      </a:cubicBezTo>
                      <a:cubicBezTo>
                        <a:pt x="26656" y="20429"/>
                        <a:pt x="20677" y="26408"/>
                        <a:pt x="13328" y="26533"/>
                      </a:cubicBezTo>
                      <a:cubicBezTo>
                        <a:pt x="5979" y="26533"/>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7" name="Freeform 7850">
                  <a:extLst>
                    <a:ext uri="{FF2B5EF4-FFF2-40B4-BE49-F238E27FC236}">
                      <a16:creationId xmlns:a16="http://schemas.microsoft.com/office/drawing/2014/main" id="{496DAC15-EE9D-65F4-30C8-A42EDC55EACD}"/>
                    </a:ext>
                  </a:extLst>
                </p:cNvPr>
                <p:cNvSpPr/>
                <p:nvPr/>
              </p:nvSpPr>
              <p:spPr>
                <a:xfrm>
                  <a:off x="6055205" y="1876411"/>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8" name="Freeform 7851">
                  <a:extLst>
                    <a:ext uri="{FF2B5EF4-FFF2-40B4-BE49-F238E27FC236}">
                      <a16:creationId xmlns:a16="http://schemas.microsoft.com/office/drawing/2014/main" id="{27AE9BA1-CD05-9981-51A7-637DFDC82C80}"/>
                    </a:ext>
                  </a:extLst>
                </p:cNvPr>
                <p:cNvSpPr/>
                <p:nvPr/>
              </p:nvSpPr>
              <p:spPr>
                <a:xfrm>
                  <a:off x="6062958" y="1871304"/>
                  <a:ext cx="3721" cy="52065"/>
                </a:xfrm>
                <a:custGeom>
                  <a:avLst/>
                  <a:gdLst>
                    <a:gd name="connsiteX0" fmla="*/ 2253 w 3721"/>
                    <a:gd name="connsiteY0" fmla="*/ 52065 h 52065"/>
                    <a:gd name="connsiteX1" fmla="*/ 260 w 3721"/>
                    <a:gd name="connsiteY1" fmla="*/ 33381 h 52065"/>
                    <a:gd name="connsiteX2" fmla="*/ 3623 w 3721"/>
                    <a:gd name="connsiteY2" fmla="*/ 16317 h 52065"/>
                    <a:gd name="connsiteX3" fmla="*/ 1381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3"/>
                        <a:pt x="-238" y="37741"/>
                        <a:pt x="260" y="33381"/>
                      </a:cubicBezTo>
                      <a:cubicBezTo>
                        <a:pt x="1008" y="26406"/>
                        <a:pt x="3125" y="23292"/>
                        <a:pt x="3623" y="16317"/>
                      </a:cubicBezTo>
                      <a:cubicBezTo>
                        <a:pt x="4122" y="9466"/>
                        <a:pt x="2627" y="3737"/>
                        <a:pt x="13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9" name="Freeform 7852">
                  <a:extLst>
                    <a:ext uri="{FF2B5EF4-FFF2-40B4-BE49-F238E27FC236}">
                      <a16:creationId xmlns:a16="http://schemas.microsoft.com/office/drawing/2014/main" id="{F4582D23-83AE-E1FD-4A75-A470EA26E84C}"/>
                    </a:ext>
                  </a:extLst>
                </p:cNvPr>
                <p:cNvSpPr/>
                <p:nvPr/>
              </p:nvSpPr>
              <p:spPr>
                <a:xfrm>
                  <a:off x="6047773" y="1855981"/>
                  <a:ext cx="26406" cy="26534"/>
                </a:xfrm>
                <a:custGeom>
                  <a:avLst/>
                  <a:gdLst>
                    <a:gd name="connsiteX0" fmla="*/ 26406 w 26406"/>
                    <a:gd name="connsiteY0" fmla="*/ 13080 h 26534"/>
                    <a:gd name="connsiteX1" fmla="*/ 13203 w 26406"/>
                    <a:gd name="connsiteY1" fmla="*/ 26533 h 26534"/>
                    <a:gd name="connsiteX2" fmla="*/ 0 w 26406"/>
                    <a:gd name="connsiteY2" fmla="*/ 13454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803"/>
                        <a:pt x="0" y="13454"/>
                      </a:cubicBezTo>
                      <a:cubicBezTo>
                        <a:pt x="0" y="6105"/>
                        <a:pt x="5854" y="127"/>
                        <a:pt x="13203" y="2"/>
                      </a:cubicBezTo>
                      <a:cubicBezTo>
                        <a:pt x="20427"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9" name="Graphic 2987">
                <a:extLst>
                  <a:ext uri="{FF2B5EF4-FFF2-40B4-BE49-F238E27FC236}">
                    <a16:creationId xmlns:a16="http://schemas.microsoft.com/office/drawing/2014/main" id="{90046494-F164-C71E-DA77-B282B17FA92E}"/>
                  </a:ext>
                </a:extLst>
              </p:cNvPr>
              <p:cNvGrpSpPr/>
              <p:nvPr/>
            </p:nvGrpSpPr>
            <p:grpSpPr>
              <a:xfrm>
                <a:off x="6018128" y="1856355"/>
                <a:ext cx="26655" cy="148972"/>
                <a:chOff x="6018128" y="1856355"/>
                <a:chExt cx="26655" cy="148972"/>
              </a:xfrm>
              <a:grpFill/>
            </p:grpSpPr>
            <p:sp>
              <p:nvSpPr>
                <p:cNvPr id="6318" name="Freeform 7854">
                  <a:extLst>
                    <a:ext uri="{FF2B5EF4-FFF2-40B4-BE49-F238E27FC236}">
                      <a16:creationId xmlns:a16="http://schemas.microsoft.com/office/drawing/2014/main" id="{C165A032-AB97-D61C-2F52-A02ACD122229}"/>
                    </a:ext>
                  </a:extLst>
                </p:cNvPr>
                <p:cNvSpPr/>
                <p:nvPr/>
              </p:nvSpPr>
              <p:spPr>
                <a:xfrm>
                  <a:off x="6033593" y="1932711"/>
                  <a:ext cx="3853" cy="52189"/>
                </a:xfrm>
                <a:custGeom>
                  <a:avLst/>
                  <a:gdLst>
                    <a:gd name="connsiteX0" fmla="*/ 1600 w 3853"/>
                    <a:gd name="connsiteY0" fmla="*/ 52190 h 52189"/>
                    <a:gd name="connsiteX1" fmla="*/ 3593 w 3853"/>
                    <a:gd name="connsiteY1" fmla="*/ 33506 h 52189"/>
                    <a:gd name="connsiteX2" fmla="*/ 105 w 3853"/>
                    <a:gd name="connsiteY2" fmla="*/ 16442 h 52189"/>
                    <a:gd name="connsiteX3" fmla="*/ 2222 w 3853"/>
                    <a:gd name="connsiteY3" fmla="*/ 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52190"/>
                      </a:moveTo>
                      <a:cubicBezTo>
                        <a:pt x="4091"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9" name="Freeform 7855">
                  <a:extLst>
                    <a:ext uri="{FF2B5EF4-FFF2-40B4-BE49-F238E27FC236}">
                      <a16:creationId xmlns:a16="http://schemas.microsoft.com/office/drawing/2014/main" id="{B09BDEB7-30C0-620F-5DE5-9793DDF417AA}"/>
                    </a:ext>
                  </a:extLst>
                </p:cNvPr>
                <p:cNvSpPr/>
                <p:nvPr/>
              </p:nvSpPr>
              <p:spPr>
                <a:xfrm>
                  <a:off x="6025746" y="1937818"/>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324"/>
                        <a:pt x="3593" y="18684"/>
                      </a:cubicBezTo>
                      <a:cubicBezTo>
                        <a:pt x="2845" y="25659"/>
                        <a:pt x="728"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0" name="Freeform 7856">
                  <a:extLst>
                    <a:ext uri="{FF2B5EF4-FFF2-40B4-BE49-F238E27FC236}">
                      <a16:creationId xmlns:a16="http://schemas.microsoft.com/office/drawing/2014/main" id="{5F29642B-A7FF-2CC2-A2FE-2692311BC2C6}"/>
                    </a:ext>
                  </a:extLst>
                </p:cNvPr>
                <p:cNvSpPr/>
                <p:nvPr/>
              </p:nvSpPr>
              <p:spPr>
                <a:xfrm>
                  <a:off x="6018128" y="1978795"/>
                  <a:ext cx="26655" cy="26532"/>
                </a:xfrm>
                <a:custGeom>
                  <a:avLst/>
                  <a:gdLst>
                    <a:gd name="connsiteX0" fmla="*/ 0 w 26655"/>
                    <a:gd name="connsiteY0" fmla="*/ 13205 h 26532"/>
                    <a:gd name="connsiteX1" fmla="*/ 13328 w 26655"/>
                    <a:gd name="connsiteY1" fmla="*/ 2 h 26532"/>
                    <a:gd name="connsiteX2" fmla="*/ 26655 w 26655"/>
                    <a:gd name="connsiteY2" fmla="*/ 13080 h 26532"/>
                    <a:gd name="connsiteX3" fmla="*/ 13328 w 26655"/>
                    <a:gd name="connsiteY3" fmla="*/ 26533 h 26532"/>
                    <a:gd name="connsiteX4" fmla="*/ 0 w 26655"/>
                    <a:gd name="connsiteY4" fmla="*/ 13205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205"/>
                      </a:moveTo>
                      <a:cubicBezTo>
                        <a:pt x="0" y="5856"/>
                        <a:pt x="5979" y="126"/>
                        <a:pt x="13328" y="2"/>
                      </a:cubicBezTo>
                      <a:cubicBezTo>
                        <a:pt x="20677" y="-123"/>
                        <a:pt x="26655" y="5732"/>
                        <a:pt x="26655" y="13080"/>
                      </a:cubicBezTo>
                      <a:cubicBezTo>
                        <a:pt x="26655" y="20429"/>
                        <a:pt x="20677" y="26408"/>
                        <a:pt x="13328" y="26533"/>
                      </a:cubicBezTo>
                      <a:cubicBezTo>
                        <a:pt x="5979" y="26533"/>
                        <a:pt x="0" y="20429"/>
                        <a:pt x="0" y="13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1" name="Freeform 7857">
                  <a:extLst>
                    <a:ext uri="{FF2B5EF4-FFF2-40B4-BE49-F238E27FC236}">
                      <a16:creationId xmlns:a16="http://schemas.microsoft.com/office/drawing/2014/main" id="{93B9A5FB-9067-1014-8CB8-64A05B7E898F}"/>
                    </a:ext>
                  </a:extLst>
                </p:cNvPr>
                <p:cNvSpPr/>
                <p:nvPr/>
              </p:nvSpPr>
              <p:spPr>
                <a:xfrm>
                  <a:off x="6025590" y="1876785"/>
                  <a:ext cx="3728" cy="52065"/>
                </a:xfrm>
                <a:custGeom>
                  <a:avLst/>
                  <a:gdLst>
                    <a:gd name="connsiteX0" fmla="*/ 2253 w 3728"/>
                    <a:gd name="connsiteY0" fmla="*/ 0 h 52065"/>
                    <a:gd name="connsiteX1" fmla="*/ 260 w 3728"/>
                    <a:gd name="connsiteY1" fmla="*/ 18684 h 52065"/>
                    <a:gd name="connsiteX2" fmla="*/ 3623 w 3728"/>
                    <a:gd name="connsiteY2" fmla="*/ 35748 h 52065"/>
                    <a:gd name="connsiteX3" fmla="*/ 1506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0"/>
                      </a:moveTo>
                      <a:cubicBezTo>
                        <a:pt x="-238" y="7972"/>
                        <a:pt x="-238" y="14324"/>
                        <a:pt x="260" y="18684"/>
                      </a:cubicBezTo>
                      <a:cubicBezTo>
                        <a:pt x="1008" y="25659"/>
                        <a:pt x="3125" y="28773"/>
                        <a:pt x="3623" y="35748"/>
                      </a:cubicBezTo>
                      <a:cubicBezTo>
                        <a:pt x="4122" y="42599"/>
                        <a:pt x="2752" y="48453"/>
                        <a:pt x="15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2" name="Freeform 7858">
                  <a:extLst>
                    <a:ext uri="{FF2B5EF4-FFF2-40B4-BE49-F238E27FC236}">
                      <a16:creationId xmlns:a16="http://schemas.microsoft.com/office/drawing/2014/main" id="{4F1781BC-23C2-3480-7B34-9B8A0DE7825E}"/>
                    </a:ext>
                  </a:extLst>
                </p:cNvPr>
                <p:cNvSpPr/>
                <p:nvPr/>
              </p:nvSpPr>
              <p:spPr>
                <a:xfrm>
                  <a:off x="6033313" y="1871678"/>
                  <a:ext cx="3728" cy="52065"/>
                </a:xfrm>
                <a:custGeom>
                  <a:avLst/>
                  <a:gdLst>
                    <a:gd name="connsiteX0" fmla="*/ 2253 w 3728"/>
                    <a:gd name="connsiteY0" fmla="*/ 52065 h 52065"/>
                    <a:gd name="connsiteX1" fmla="*/ 260 w 3728"/>
                    <a:gd name="connsiteY1" fmla="*/ 33381 h 52065"/>
                    <a:gd name="connsiteX2" fmla="*/ 3624 w 3728"/>
                    <a:gd name="connsiteY2" fmla="*/ 16317 h 52065"/>
                    <a:gd name="connsiteX3" fmla="*/ 1506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4093"/>
                        <a:pt x="-238" y="37741"/>
                        <a:pt x="260" y="33381"/>
                      </a:cubicBezTo>
                      <a:cubicBezTo>
                        <a:pt x="1008" y="26406"/>
                        <a:pt x="3125" y="23292"/>
                        <a:pt x="3624" y="16317"/>
                      </a:cubicBezTo>
                      <a:cubicBezTo>
                        <a:pt x="4122" y="9466"/>
                        <a:pt x="2752" y="3737"/>
                        <a:pt x="15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3" name="Freeform 7859">
                  <a:extLst>
                    <a:ext uri="{FF2B5EF4-FFF2-40B4-BE49-F238E27FC236}">
                      <a16:creationId xmlns:a16="http://schemas.microsoft.com/office/drawing/2014/main" id="{C8C5C5BE-9DF9-9AD0-995F-2B21DC994350}"/>
                    </a:ext>
                  </a:extLst>
                </p:cNvPr>
                <p:cNvSpPr/>
                <p:nvPr/>
              </p:nvSpPr>
              <p:spPr>
                <a:xfrm>
                  <a:off x="6018253" y="1856355"/>
                  <a:ext cx="26406" cy="26534"/>
                </a:xfrm>
                <a:custGeom>
                  <a:avLst/>
                  <a:gdLst>
                    <a:gd name="connsiteX0" fmla="*/ 26406 w 26406"/>
                    <a:gd name="connsiteY0" fmla="*/ 13080 h 26534"/>
                    <a:gd name="connsiteX1" fmla="*/ 13203 w 26406"/>
                    <a:gd name="connsiteY1" fmla="*/ 26533 h 26534"/>
                    <a:gd name="connsiteX2" fmla="*/ 0 w 26406"/>
                    <a:gd name="connsiteY2" fmla="*/ 13205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429"/>
                        <a:pt x="0" y="13205"/>
                      </a:cubicBezTo>
                      <a:cubicBezTo>
                        <a:pt x="0" y="5856"/>
                        <a:pt x="5979" y="126"/>
                        <a:pt x="13203" y="2"/>
                      </a:cubicBezTo>
                      <a:cubicBezTo>
                        <a:pt x="20552"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0" name="Graphic 2987">
                <a:extLst>
                  <a:ext uri="{FF2B5EF4-FFF2-40B4-BE49-F238E27FC236}">
                    <a16:creationId xmlns:a16="http://schemas.microsoft.com/office/drawing/2014/main" id="{8C95D6B5-F2F0-30F6-BF44-1F1B7542110A}"/>
                  </a:ext>
                </a:extLst>
              </p:cNvPr>
              <p:cNvGrpSpPr/>
              <p:nvPr/>
            </p:nvGrpSpPr>
            <p:grpSpPr>
              <a:xfrm>
                <a:off x="5988359" y="1855981"/>
                <a:ext cx="26780" cy="149099"/>
                <a:chOff x="5988359" y="1855981"/>
                <a:chExt cx="26780" cy="149099"/>
              </a:xfrm>
              <a:grpFill/>
            </p:grpSpPr>
            <p:sp>
              <p:nvSpPr>
                <p:cNvPr id="6312" name="Freeform 7861">
                  <a:extLst>
                    <a:ext uri="{FF2B5EF4-FFF2-40B4-BE49-F238E27FC236}">
                      <a16:creationId xmlns:a16="http://schemas.microsoft.com/office/drawing/2014/main" id="{290D3E7A-62A7-39EB-9AF3-E22B2F08E496}"/>
                    </a:ext>
                  </a:extLst>
                </p:cNvPr>
                <p:cNvSpPr/>
                <p:nvPr/>
              </p:nvSpPr>
              <p:spPr>
                <a:xfrm>
                  <a:off x="6003955" y="1932586"/>
                  <a:ext cx="3721" cy="52065"/>
                </a:xfrm>
                <a:custGeom>
                  <a:avLst/>
                  <a:gdLst>
                    <a:gd name="connsiteX0" fmla="*/ 1469 w 3721"/>
                    <a:gd name="connsiteY0" fmla="*/ 52065 h 52065"/>
                    <a:gd name="connsiteX1" fmla="*/ 3461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52065"/>
                      </a:moveTo>
                      <a:cubicBezTo>
                        <a:pt x="3960"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3" name="Freeform 7862">
                  <a:extLst>
                    <a:ext uri="{FF2B5EF4-FFF2-40B4-BE49-F238E27FC236}">
                      <a16:creationId xmlns:a16="http://schemas.microsoft.com/office/drawing/2014/main" id="{0B62F562-F173-C0F5-7EDC-FB635077AA2F}"/>
                    </a:ext>
                  </a:extLst>
                </p:cNvPr>
                <p:cNvSpPr/>
                <p:nvPr/>
              </p:nvSpPr>
              <p:spPr>
                <a:xfrm>
                  <a:off x="5996101" y="1937444"/>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449"/>
                        <a:pt x="3593" y="18684"/>
                      </a:cubicBezTo>
                      <a:cubicBezTo>
                        <a:pt x="2845" y="25659"/>
                        <a:pt x="603"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4" name="Freeform 7863">
                  <a:extLst>
                    <a:ext uri="{FF2B5EF4-FFF2-40B4-BE49-F238E27FC236}">
                      <a16:creationId xmlns:a16="http://schemas.microsoft.com/office/drawing/2014/main" id="{F71DF2E2-7EB4-17E1-03AA-4AAF2FF016A9}"/>
                    </a:ext>
                  </a:extLst>
                </p:cNvPr>
                <p:cNvSpPr/>
                <p:nvPr/>
              </p:nvSpPr>
              <p:spPr>
                <a:xfrm>
                  <a:off x="5988359" y="1978546"/>
                  <a:ext cx="26655" cy="26534"/>
                </a:xfrm>
                <a:custGeom>
                  <a:avLst/>
                  <a:gdLst>
                    <a:gd name="connsiteX0" fmla="*/ 0 w 26655"/>
                    <a:gd name="connsiteY0" fmla="*/ 13080 h 26534"/>
                    <a:gd name="connsiteX1" fmla="*/ 13328 w 26655"/>
                    <a:gd name="connsiteY1" fmla="*/ 2 h 26534"/>
                    <a:gd name="connsiteX2" fmla="*/ 26656 w 26655"/>
                    <a:gd name="connsiteY2" fmla="*/ 13454 h 26534"/>
                    <a:gd name="connsiteX3" fmla="*/ 13328 w 26655"/>
                    <a:gd name="connsiteY3" fmla="*/ 26533 h 26534"/>
                    <a:gd name="connsiteX4" fmla="*/ 0 w 26655"/>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4">
                      <a:moveTo>
                        <a:pt x="0" y="13080"/>
                      </a:moveTo>
                      <a:cubicBezTo>
                        <a:pt x="0" y="5732"/>
                        <a:pt x="5979" y="-123"/>
                        <a:pt x="13328" y="2"/>
                      </a:cubicBezTo>
                      <a:cubicBezTo>
                        <a:pt x="20677" y="127"/>
                        <a:pt x="26656" y="6105"/>
                        <a:pt x="26656" y="13454"/>
                      </a:cubicBezTo>
                      <a:cubicBezTo>
                        <a:pt x="26656" y="20803"/>
                        <a:pt x="20677" y="26657"/>
                        <a:pt x="13328" y="26533"/>
                      </a:cubicBezTo>
                      <a:cubicBezTo>
                        <a:pt x="5979" y="26408"/>
                        <a:pt x="0" y="20305"/>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5" name="Freeform 7864">
                  <a:extLst>
                    <a:ext uri="{FF2B5EF4-FFF2-40B4-BE49-F238E27FC236}">
                      <a16:creationId xmlns:a16="http://schemas.microsoft.com/office/drawing/2014/main" id="{C53A8810-EB29-866C-0619-26ECBD246D82}"/>
                    </a:ext>
                  </a:extLst>
                </p:cNvPr>
                <p:cNvSpPr/>
                <p:nvPr/>
              </p:nvSpPr>
              <p:spPr>
                <a:xfrm>
                  <a:off x="5996070" y="1876411"/>
                  <a:ext cx="3721" cy="52065"/>
                </a:xfrm>
                <a:custGeom>
                  <a:avLst/>
                  <a:gdLst>
                    <a:gd name="connsiteX0" fmla="*/ 2253 w 3721"/>
                    <a:gd name="connsiteY0" fmla="*/ 0 h 52065"/>
                    <a:gd name="connsiteX1" fmla="*/ 260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2"/>
                        <a:pt x="-238" y="14324"/>
                        <a:pt x="260" y="18684"/>
                      </a:cubicBezTo>
                      <a:cubicBezTo>
                        <a:pt x="1008" y="25659"/>
                        <a:pt x="3125" y="28773"/>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6" name="Freeform 7865">
                  <a:extLst>
                    <a:ext uri="{FF2B5EF4-FFF2-40B4-BE49-F238E27FC236}">
                      <a16:creationId xmlns:a16="http://schemas.microsoft.com/office/drawing/2014/main" id="{7F51C56B-0D26-A682-F555-57DA112108D2}"/>
                    </a:ext>
                  </a:extLst>
                </p:cNvPr>
                <p:cNvSpPr/>
                <p:nvPr/>
              </p:nvSpPr>
              <p:spPr>
                <a:xfrm>
                  <a:off x="6003668" y="1871429"/>
                  <a:ext cx="3852" cy="52189"/>
                </a:xfrm>
                <a:custGeom>
                  <a:avLst/>
                  <a:gdLst>
                    <a:gd name="connsiteX0" fmla="*/ 2253 w 3852"/>
                    <a:gd name="connsiteY0" fmla="*/ 52190 h 52189"/>
                    <a:gd name="connsiteX1" fmla="*/ 260 w 3852"/>
                    <a:gd name="connsiteY1" fmla="*/ 33506 h 52189"/>
                    <a:gd name="connsiteX2" fmla="*/ 3748 w 3852"/>
                    <a:gd name="connsiteY2" fmla="*/ 16442 h 52189"/>
                    <a:gd name="connsiteX3" fmla="*/ 1631 w 3852"/>
                    <a:gd name="connsiteY3" fmla="*/ 0 h 52189"/>
                  </a:gdLst>
                  <a:ahLst/>
                  <a:cxnLst>
                    <a:cxn ang="0">
                      <a:pos x="connsiteX0" y="connsiteY0"/>
                    </a:cxn>
                    <a:cxn ang="0">
                      <a:pos x="connsiteX1" y="connsiteY1"/>
                    </a:cxn>
                    <a:cxn ang="0">
                      <a:pos x="connsiteX2" y="connsiteY2"/>
                    </a:cxn>
                    <a:cxn ang="0">
                      <a:pos x="connsiteX3" y="connsiteY3"/>
                    </a:cxn>
                  </a:cxnLst>
                  <a:rect l="l" t="t" r="r" b="b"/>
                  <a:pathLst>
                    <a:path w="3852" h="52189">
                      <a:moveTo>
                        <a:pt x="2253" y="52190"/>
                      </a:moveTo>
                      <a:cubicBezTo>
                        <a:pt x="-238" y="44093"/>
                        <a:pt x="-238" y="37741"/>
                        <a:pt x="260" y="33506"/>
                      </a:cubicBezTo>
                      <a:cubicBezTo>
                        <a:pt x="1007" y="26531"/>
                        <a:pt x="3125" y="23541"/>
                        <a:pt x="3748" y="16442"/>
                      </a:cubicBezTo>
                      <a:cubicBezTo>
                        <a:pt x="4246" y="9591"/>
                        <a:pt x="2876" y="3861"/>
                        <a:pt x="16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7" name="Freeform 7866">
                  <a:extLst>
                    <a:ext uri="{FF2B5EF4-FFF2-40B4-BE49-F238E27FC236}">
                      <a16:creationId xmlns:a16="http://schemas.microsoft.com/office/drawing/2014/main" id="{7C8057C6-4302-DA82-105B-E82A89B3A4ED}"/>
                    </a:ext>
                  </a:extLst>
                </p:cNvPr>
                <p:cNvSpPr/>
                <p:nvPr/>
              </p:nvSpPr>
              <p:spPr>
                <a:xfrm>
                  <a:off x="5988732" y="1855981"/>
                  <a:ext cx="26406" cy="26534"/>
                </a:xfrm>
                <a:custGeom>
                  <a:avLst/>
                  <a:gdLst>
                    <a:gd name="connsiteX0" fmla="*/ 26407 w 26406"/>
                    <a:gd name="connsiteY0" fmla="*/ 13454 h 26534"/>
                    <a:gd name="connsiteX1" fmla="*/ 13203 w 26406"/>
                    <a:gd name="connsiteY1" fmla="*/ 26533 h 26534"/>
                    <a:gd name="connsiteX2" fmla="*/ 0 w 26406"/>
                    <a:gd name="connsiteY2" fmla="*/ 13080 h 26534"/>
                    <a:gd name="connsiteX3" fmla="*/ 13203 w 26406"/>
                    <a:gd name="connsiteY3" fmla="*/ 2 h 26534"/>
                    <a:gd name="connsiteX4" fmla="*/ 26407 w 26406"/>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7" y="13454"/>
                      </a:moveTo>
                      <a:cubicBezTo>
                        <a:pt x="26407" y="20803"/>
                        <a:pt x="20428" y="26657"/>
                        <a:pt x="13203" y="26533"/>
                      </a:cubicBezTo>
                      <a:cubicBezTo>
                        <a:pt x="5854" y="26408"/>
                        <a:pt x="0" y="20429"/>
                        <a:pt x="0" y="13080"/>
                      </a:cubicBezTo>
                      <a:cubicBezTo>
                        <a:pt x="0" y="5732"/>
                        <a:pt x="5979" y="-123"/>
                        <a:pt x="13203" y="2"/>
                      </a:cubicBezTo>
                      <a:cubicBezTo>
                        <a:pt x="20552" y="127"/>
                        <a:pt x="26407" y="6230"/>
                        <a:pt x="26407"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1" name="Graphic 2987">
                <a:extLst>
                  <a:ext uri="{FF2B5EF4-FFF2-40B4-BE49-F238E27FC236}">
                    <a16:creationId xmlns:a16="http://schemas.microsoft.com/office/drawing/2014/main" id="{7BAE302A-187B-FFCD-C6AC-F1B25A2C6845}"/>
                  </a:ext>
                </a:extLst>
              </p:cNvPr>
              <p:cNvGrpSpPr/>
              <p:nvPr/>
            </p:nvGrpSpPr>
            <p:grpSpPr>
              <a:xfrm>
                <a:off x="5958588" y="1855732"/>
                <a:ext cx="27032" cy="148974"/>
                <a:chOff x="5958588" y="1855732"/>
                <a:chExt cx="27032" cy="148974"/>
              </a:xfrm>
              <a:grpFill/>
            </p:grpSpPr>
            <p:sp>
              <p:nvSpPr>
                <p:cNvPr id="6306" name="Freeform 7868">
                  <a:extLst>
                    <a:ext uri="{FF2B5EF4-FFF2-40B4-BE49-F238E27FC236}">
                      <a16:creationId xmlns:a16="http://schemas.microsoft.com/office/drawing/2014/main" id="{AFFB1C41-0626-2E07-1660-B388459EFDF8}"/>
                    </a:ext>
                  </a:extLst>
                </p:cNvPr>
                <p:cNvSpPr/>
                <p:nvPr/>
              </p:nvSpPr>
              <p:spPr>
                <a:xfrm>
                  <a:off x="5974186" y="1932337"/>
                  <a:ext cx="3640" cy="52065"/>
                </a:xfrm>
                <a:custGeom>
                  <a:avLst/>
                  <a:gdLst>
                    <a:gd name="connsiteX0" fmla="*/ 1344 w 3640"/>
                    <a:gd name="connsiteY0" fmla="*/ 52065 h 52065"/>
                    <a:gd name="connsiteX1" fmla="*/ 3461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3"/>
                        <a:pt x="3835" y="37741"/>
                        <a:pt x="3461" y="33381"/>
                      </a:cubicBezTo>
                      <a:cubicBezTo>
                        <a:pt x="2714" y="26406"/>
                        <a:pt x="596"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7" name="Freeform 7869">
                  <a:extLst>
                    <a:ext uri="{FF2B5EF4-FFF2-40B4-BE49-F238E27FC236}">
                      <a16:creationId xmlns:a16="http://schemas.microsoft.com/office/drawing/2014/main" id="{A948DF40-FCEA-F06B-983C-CCAE0B4C01A4}"/>
                    </a:ext>
                  </a:extLst>
                </p:cNvPr>
                <p:cNvSpPr/>
                <p:nvPr/>
              </p:nvSpPr>
              <p:spPr>
                <a:xfrm>
                  <a:off x="5966332" y="1937195"/>
                  <a:ext cx="3883" cy="52189"/>
                </a:xfrm>
                <a:custGeom>
                  <a:avLst/>
                  <a:gdLst>
                    <a:gd name="connsiteX0" fmla="*/ 1724 w 3883"/>
                    <a:gd name="connsiteY0" fmla="*/ 0 h 52189"/>
                    <a:gd name="connsiteX1" fmla="*/ 3593 w 3883"/>
                    <a:gd name="connsiteY1" fmla="*/ 18684 h 52189"/>
                    <a:gd name="connsiteX2" fmla="*/ 105 w 3883"/>
                    <a:gd name="connsiteY2" fmla="*/ 35748 h 52189"/>
                    <a:gd name="connsiteX3" fmla="*/ 2222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0"/>
                      </a:moveTo>
                      <a:cubicBezTo>
                        <a:pt x="4215" y="8096"/>
                        <a:pt x="4091" y="14449"/>
                        <a:pt x="3593" y="18684"/>
                      </a:cubicBezTo>
                      <a:cubicBezTo>
                        <a:pt x="2721" y="25659"/>
                        <a:pt x="603" y="28648"/>
                        <a:pt x="105" y="35748"/>
                      </a:cubicBezTo>
                      <a:cubicBezTo>
                        <a:pt x="-393" y="42599"/>
                        <a:pt x="977" y="48328"/>
                        <a:pt x="222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8" name="Freeform 7870">
                  <a:extLst>
                    <a:ext uri="{FF2B5EF4-FFF2-40B4-BE49-F238E27FC236}">
                      <a16:creationId xmlns:a16="http://schemas.microsoft.com/office/drawing/2014/main" id="{F7F33263-3C2F-4639-3B16-BFA7C319A475}"/>
                    </a:ext>
                  </a:extLst>
                </p:cNvPr>
                <p:cNvSpPr/>
                <p:nvPr/>
              </p:nvSpPr>
              <p:spPr>
                <a:xfrm>
                  <a:off x="5958588" y="1978173"/>
                  <a:ext cx="26781" cy="26534"/>
                </a:xfrm>
                <a:custGeom>
                  <a:avLst/>
                  <a:gdLst>
                    <a:gd name="connsiteX0" fmla="*/ 2 w 26781"/>
                    <a:gd name="connsiteY0" fmla="*/ 13080 h 26534"/>
                    <a:gd name="connsiteX1" fmla="*/ 13454 w 26781"/>
                    <a:gd name="connsiteY1" fmla="*/ 2 h 26534"/>
                    <a:gd name="connsiteX2" fmla="*/ 26782 w 26781"/>
                    <a:gd name="connsiteY2" fmla="*/ 13454 h 26534"/>
                    <a:gd name="connsiteX3" fmla="*/ 13330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2" y="5732"/>
                        <a:pt x="5980" y="-123"/>
                        <a:pt x="13454" y="2"/>
                      </a:cubicBezTo>
                      <a:cubicBezTo>
                        <a:pt x="20928" y="126"/>
                        <a:pt x="26782" y="6105"/>
                        <a:pt x="26782" y="13454"/>
                      </a:cubicBezTo>
                      <a:cubicBezTo>
                        <a:pt x="26782" y="20803"/>
                        <a:pt x="20803" y="26657"/>
                        <a:pt x="13330"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9" name="Freeform 7871">
                  <a:extLst>
                    <a:ext uri="{FF2B5EF4-FFF2-40B4-BE49-F238E27FC236}">
                      <a16:creationId xmlns:a16="http://schemas.microsoft.com/office/drawing/2014/main" id="{E66D368F-E142-6040-F2F3-8B1390AC23F0}"/>
                    </a:ext>
                  </a:extLst>
                </p:cNvPr>
                <p:cNvSpPr/>
                <p:nvPr/>
              </p:nvSpPr>
              <p:spPr>
                <a:xfrm>
                  <a:off x="5966506" y="1876037"/>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773"/>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0" name="Freeform 7872">
                  <a:extLst>
                    <a:ext uri="{FF2B5EF4-FFF2-40B4-BE49-F238E27FC236}">
                      <a16:creationId xmlns:a16="http://schemas.microsoft.com/office/drawing/2014/main" id="{A97C8E03-CFED-4AD7-DF98-BA94ADDE15C1}"/>
                    </a:ext>
                  </a:extLst>
                </p:cNvPr>
                <p:cNvSpPr/>
                <p:nvPr/>
              </p:nvSpPr>
              <p:spPr>
                <a:xfrm>
                  <a:off x="5974118" y="1871055"/>
                  <a:ext cx="3883" cy="52189"/>
                </a:xfrm>
                <a:custGeom>
                  <a:avLst/>
                  <a:gdLst>
                    <a:gd name="connsiteX0" fmla="*/ 2159 w 3883"/>
                    <a:gd name="connsiteY0" fmla="*/ 52190 h 52189"/>
                    <a:gd name="connsiteX1" fmla="*/ 291 w 3883"/>
                    <a:gd name="connsiteY1" fmla="*/ 33506 h 52189"/>
                    <a:gd name="connsiteX2" fmla="*/ 3778 w 3883"/>
                    <a:gd name="connsiteY2" fmla="*/ 16442 h 52189"/>
                    <a:gd name="connsiteX3" fmla="*/ 1661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52190"/>
                      </a:moveTo>
                      <a:cubicBezTo>
                        <a:pt x="-332" y="44093"/>
                        <a:pt x="-208" y="37741"/>
                        <a:pt x="291" y="33506"/>
                      </a:cubicBezTo>
                      <a:cubicBezTo>
                        <a:pt x="1038" y="26531"/>
                        <a:pt x="3280" y="23541"/>
                        <a:pt x="3778" y="16442"/>
                      </a:cubicBezTo>
                      <a:cubicBezTo>
                        <a:pt x="4277" y="9591"/>
                        <a:pt x="2906" y="3861"/>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1" name="Freeform 7873">
                  <a:extLst>
                    <a:ext uri="{FF2B5EF4-FFF2-40B4-BE49-F238E27FC236}">
                      <a16:creationId xmlns:a16="http://schemas.microsoft.com/office/drawing/2014/main" id="{050A69E4-87C0-0C31-6ECA-80ECB6AAEB8B}"/>
                    </a:ext>
                  </a:extLst>
                </p:cNvPr>
                <p:cNvSpPr/>
                <p:nvPr/>
              </p:nvSpPr>
              <p:spPr>
                <a:xfrm>
                  <a:off x="5959212" y="1855732"/>
                  <a:ext cx="26408" cy="26534"/>
                </a:xfrm>
                <a:custGeom>
                  <a:avLst/>
                  <a:gdLst>
                    <a:gd name="connsiteX0" fmla="*/ 26406 w 26408"/>
                    <a:gd name="connsiteY0" fmla="*/ 13454 h 26534"/>
                    <a:gd name="connsiteX1" fmla="*/ 13203 w 26408"/>
                    <a:gd name="connsiteY1" fmla="*/ 26533 h 26534"/>
                    <a:gd name="connsiteX2" fmla="*/ 0 w 26408"/>
                    <a:gd name="connsiteY2" fmla="*/ 13081 h 26534"/>
                    <a:gd name="connsiteX3" fmla="*/ 13203 w 26408"/>
                    <a:gd name="connsiteY3" fmla="*/ 2 h 26534"/>
                    <a:gd name="connsiteX4" fmla="*/ 26406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454"/>
                      </a:moveTo>
                      <a:cubicBezTo>
                        <a:pt x="26406" y="20803"/>
                        <a:pt x="20428" y="26657"/>
                        <a:pt x="13203" y="26533"/>
                      </a:cubicBezTo>
                      <a:cubicBezTo>
                        <a:pt x="5979" y="26408"/>
                        <a:pt x="0" y="20429"/>
                        <a:pt x="0" y="13081"/>
                      </a:cubicBezTo>
                      <a:cubicBezTo>
                        <a:pt x="0" y="5732"/>
                        <a:pt x="5979" y="-123"/>
                        <a:pt x="13203" y="2"/>
                      </a:cubicBezTo>
                      <a:cubicBezTo>
                        <a:pt x="20552" y="127"/>
                        <a:pt x="26531" y="6105"/>
                        <a:pt x="26406"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2" name="Graphic 2987">
                <a:extLst>
                  <a:ext uri="{FF2B5EF4-FFF2-40B4-BE49-F238E27FC236}">
                    <a16:creationId xmlns:a16="http://schemas.microsoft.com/office/drawing/2014/main" id="{E68E9138-230B-7760-4E20-2A29D50C6AF4}"/>
                  </a:ext>
                </a:extLst>
              </p:cNvPr>
              <p:cNvGrpSpPr/>
              <p:nvPr/>
            </p:nvGrpSpPr>
            <p:grpSpPr>
              <a:xfrm>
                <a:off x="5928818" y="1855359"/>
                <a:ext cx="27282" cy="148974"/>
                <a:chOff x="5928818" y="1855359"/>
                <a:chExt cx="27282" cy="148974"/>
              </a:xfrm>
              <a:grpFill/>
            </p:grpSpPr>
            <p:sp>
              <p:nvSpPr>
                <p:cNvPr id="6300" name="Freeform 7875">
                  <a:extLst>
                    <a:ext uri="{FF2B5EF4-FFF2-40B4-BE49-F238E27FC236}">
                      <a16:creationId xmlns:a16="http://schemas.microsoft.com/office/drawing/2014/main" id="{BBCC79BD-69D3-61DB-45CF-037944AFF291}"/>
                    </a:ext>
                  </a:extLst>
                </p:cNvPr>
                <p:cNvSpPr/>
                <p:nvPr/>
              </p:nvSpPr>
              <p:spPr>
                <a:xfrm>
                  <a:off x="5944416" y="1931964"/>
                  <a:ext cx="3695" cy="52065"/>
                </a:xfrm>
                <a:custGeom>
                  <a:avLst/>
                  <a:gdLst>
                    <a:gd name="connsiteX0" fmla="*/ 1344 w 3695"/>
                    <a:gd name="connsiteY0" fmla="*/ 52065 h 52065"/>
                    <a:gd name="connsiteX1" fmla="*/ 3461 w 3695"/>
                    <a:gd name="connsiteY1" fmla="*/ 33381 h 52065"/>
                    <a:gd name="connsiteX2" fmla="*/ 98 w 3695"/>
                    <a:gd name="connsiteY2" fmla="*/ 16317 h 52065"/>
                    <a:gd name="connsiteX3" fmla="*/ 2340 w 3695"/>
                    <a:gd name="connsiteY3" fmla="*/ 0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52065"/>
                      </a:moveTo>
                      <a:cubicBezTo>
                        <a:pt x="3835"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1" name="Freeform 7876">
                  <a:extLst>
                    <a:ext uri="{FF2B5EF4-FFF2-40B4-BE49-F238E27FC236}">
                      <a16:creationId xmlns:a16="http://schemas.microsoft.com/office/drawing/2014/main" id="{45160B26-F361-AA19-3463-F2D1219C801D}"/>
                    </a:ext>
                  </a:extLst>
                </p:cNvPr>
                <p:cNvSpPr/>
                <p:nvPr/>
              </p:nvSpPr>
              <p:spPr>
                <a:xfrm>
                  <a:off x="5936562" y="1936821"/>
                  <a:ext cx="3981" cy="52189"/>
                </a:xfrm>
                <a:custGeom>
                  <a:avLst/>
                  <a:gdLst>
                    <a:gd name="connsiteX0" fmla="*/ 1849 w 3981"/>
                    <a:gd name="connsiteY0" fmla="*/ 0 h 52189"/>
                    <a:gd name="connsiteX1" fmla="*/ 3718 w 3981"/>
                    <a:gd name="connsiteY1" fmla="*/ 18684 h 52189"/>
                    <a:gd name="connsiteX2" fmla="*/ 105 w 3981"/>
                    <a:gd name="connsiteY2" fmla="*/ 35748 h 52189"/>
                    <a:gd name="connsiteX3" fmla="*/ 2098 w 39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981" h="52189">
                      <a:moveTo>
                        <a:pt x="1849" y="0"/>
                      </a:moveTo>
                      <a:cubicBezTo>
                        <a:pt x="4216" y="8096"/>
                        <a:pt x="4216" y="14449"/>
                        <a:pt x="3718" y="18684"/>
                      </a:cubicBezTo>
                      <a:cubicBezTo>
                        <a:pt x="2846" y="25659"/>
                        <a:pt x="728" y="28648"/>
                        <a:pt x="105" y="35748"/>
                      </a:cubicBezTo>
                      <a:cubicBezTo>
                        <a:pt x="-393" y="42599"/>
                        <a:pt x="977" y="48328"/>
                        <a:pt x="209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2" name="Freeform 7877">
                  <a:extLst>
                    <a:ext uri="{FF2B5EF4-FFF2-40B4-BE49-F238E27FC236}">
                      <a16:creationId xmlns:a16="http://schemas.microsoft.com/office/drawing/2014/main" id="{FA54BA1E-86D9-A447-801A-D5B6D5A7D486}"/>
                    </a:ext>
                  </a:extLst>
                </p:cNvPr>
                <p:cNvSpPr/>
                <p:nvPr/>
              </p:nvSpPr>
              <p:spPr>
                <a:xfrm>
                  <a:off x="5928818" y="1977799"/>
                  <a:ext cx="26659" cy="26534"/>
                </a:xfrm>
                <a:custGeom>
                  <a:avLst/>
                  <a:gdLst>
                    <a:gd name="connsiteX0" fmla="*/ 2 w 26659"/>
                    <a:gd name="connsiteY0" fmla="*/ 13080 h 26534"/>
                    <a:gd name="connsiteX1" fmla="*/ 13454 w 26659"/>
                    <a:gd name="connsiteY1" fmla="*/ 2 h 26534"/>
                    <a:gd name="connsiteX2" fmla="*/ 26657 w 26659"/>
                    <a:gd name="connsiteY2" fmla="*/ 13454 h 26534"/>
                    <a:gd name="connsiteX3" fmla="*/ 13205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2" y="5732"/>
                        <a:pt x="6105" y="-123"/>
                        <a:pt x="13454" y="2"/>
                      </a:cubicBezTo>
                      <a:cubicBezTo>
                        <a:pt x="20803" y="126"/>
                        <a:pt x="26782" y="6105"/>
                        <a:pt x="26657" y="13454"/>
                      </a:cubicBezTo>
                      <a:cubicBezTo>
                        <a:pt x="26657" y="20803"/>
                        <a:pt x="20554" y="26657"/>
                        <a:pt x="13205" y="26533"/>
                      </a:cubicBezTo>
                      <a:cubicBezTo>
                        <a:pt x="5856" y="26408"/>
                        <a:pt x="-122"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3" name="Freeform 7878">
                  <a:extLst>
                    <a:ext uri="{FF2B5EF4-FFF2-40B4-BE49-F238E27FC236}">
                      <a16:creationId xmlns:a16="http://schemas.microsoft.com/office/drawing/2014/main" id="{B8EEB2E7-4506-A5AA-EACA-1E1657F6478D}"/>
                    </a:ext>
                  </a:extLst>
                </p:cNvPr>
                <p:cNvSpPr/>
                <p:nvPr/>
              </p:nvSpPr>
              <p:spPr>
                <a:xfrm>
                  <a:off x="5936932" y="1875664"/>
                  <a:ext cx="3570" cy="52065"/>
                </a:xfrm>
                <a:custGeom>
                  <a:avLst/>
                  <a:gdLst>
                    <a:gd name="connsiteX0" fmla="*/ 2351 w 3570"/>
                    <a:gd name="connsiteY0" fmla="*/ 0 h 52065"/>
                    <a:gd name="connsiteX1" fmla="*/ 234 w 3570"/>
                    <a:gd name="connsiteY1" fmla="*/ 18684 h 52065"/>
                    <a:gd name="connsiteX2" fmla="*/ 3473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0"/>
                      </a:moveTo>
                      <a:cubicBezTo>
                        <a:pt x="-140" y="7972"/>
                        <a:pt x="-264" y="14324"/>
                        <a:pt x="234" y="18684"/>
                      </a:cubicBezTo>
                      <a:cubicBezTo>
                        <a:pt x="981" y="25659"/>
                        <a:pt x="3099" y="28773"/>
                        <a:pt x="3473" y="35748"/>
                      </a:cubicBezTo>
                      <a:cubicBezTo>
                        <a:pt x="3970"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4" name="Freeform 7879">
                  <a:extLst>
                    <a:ext uri="{FF2B5EF4-FFF2-40B4-BE49-F238E27FC236}">
                      <a16:creationId xmlns:a16="http://schemas.microsoft.com/office/drawing/2014/main" id="{AF9C4A8F-D469-68EA-8244-D9EB03640FD6}"/>
                    </a:ext>
                  </a:extLst>
                </p:cNvPr>
                <p:cNvSpPr/>
                <p:nvPr/>
              </p:nvSpPr>
              <p:spPr>
                <a:xfrm>
                  <a:off x="5944500" y="1870681"/>
                  <a:ext cx="3856" cy="52189"/>
                </a:xfrm>
                <a:custGeom>
                  <a:avLst/>
                  <a:gdLst>
                    <a:gd name="connsiteX0" fmla="*/ 2133 w 3856"/>
                    <a:gd name="connsiteY0" fmla="*/ 52190 h 52189"/>
                    <a:gd name="connsiteX1" fmla="*/ 264 w 3856"/>
                    <a:gd name="connsiteY1" fmla="*/ 33506 h 52189"/>
                    <a:gd name="connsiteX2" fmla="*/ 3752 w 3856"/>
                    <a:gd name="connsiteY2" fmla="*/ 16442 h 52189"/>
                    <a:gd name="connsiteX3" fmla="*/ 1759 w 3856"/>
                    <a:gd name="connsiteY3" fmla="*/ 0 h 52189"/>
                  </a:gdLst>
                  <a:ahLst/>
                  <a:cxnLst>
                    <a:cxn ang="0">
                      <a:pos x="connsiteX0" y="connsiteY0"/>
                    </a:cxn>
                    <a:cxn ang="0">
                      <a:pos x="connsiteX1" y="connsiteY1"/>
                    </a:cxn>
                    <a:cxn ang="0">
                      <a:pos x="connsiteX2" y="connsiteY2"/>
                    </a:cxn>
                    <a:cxn ang="0">
                      <a:pos x="connsiteX3" y="connsiteY3"/>
                    </a:cxn>
                  </a:cxnLst>
                  <a:rect l="l" t="t" r="r" b="b"/>
                  <a:pathLst>
                    <a:path w="3856" h="52189">
                      <a:moveTo>
                        <a:pt x="2133" y="52190"/>
                      </a:moveTo>
                      <a:cubicBezTo>
                        <a:pt x="-234" y="44093"/>
                        <a:pt x="-234" y="37741"/>
                        <a:pt x="264" y="33506"/>
                      </a:cubicBezTo>
                      <a:cubicBezTo>
                        <a:pt x="1136" y="26531"/>
                        <a:pt x="3254" y="23541"/>
                        <a:pt x="3752" y="16442"/>
                      </a:cubicBezTo>
                      <a:cubicBezTo>
                        <a:pt x="4250" y="9591"/>
                        <a:pt x="2880" y="3861"/>
                        <a:pt x="17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5" name="Freeform 7880">
                  <a:extLst>
                    <a:ext uri="{FF2B5EF4-FFF2-40B4-BE49-F238E27FC236}">
                      <a16:creationId xmlns:a16="http://schemas.microsoft.com/office/drawing/2014/main" id="{CB1787A9-767D-1999-8694-6AA805E975D8}"/>
                    </a:ext>
                  </a:extLst>
                </p:cNvPr>
                <p:cNvSpPr/>
                <p:nvPr/>
              </p:nvSpPr>
              <p:spPr>
                <a:xfrm>
                  <a:off x="5929690" y="1855359"/>
                  <a:ext cx="26410" cy="26534"/>
                </a:xfrm>
                <a:custGeom>
                  <a:avLst/>
                  <a:gdLst>
                    <a:gd name="connsiteX0" fmla="*/ 26408 w 26410"/>
                    <a:gd name="connsiteY0" fmla="*/ 13454 h 26534"/>
                    <a:gd name="connsiteX1" fmla="*/ 13080 w 26410"/>
                    <a:gd name="connsiteY1" fmla="*/ 26533 h 26534"/>
                    <a:gd name="connsiteX2" fmla="*/ 2 w 26410"/>
                    <a:gd name="connsiteY2" fmla="*/ 13080 h 26534"/>
                    <a:gd name="connsiteX3" fmla="*/ 13330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408" y="20803"/>
                        <a:pt x="20430" y="26657"/>
                        <a:pt x="13080" y="26533"/>
                      </a:cubicBezTo>
                      <a:cubicBezTo>
                        <a:pt x="5732" y="26408"/>
                        <a:pt x="-123" y="20429"/>
                        <a:pt x="2" y="13080"/>
                      </a:cubicBezTo>
                      <a:cubicBezTo>
                        <a:pt x="2" y="5732"/>
                        <a:pt x="5981" y="-123"/>
                        <a:pt x="13330"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3" name="Graphic 2987">
                <a:extLst>
                  <a:ext uri="{FF2B5EF4-FFF2-40B4-BE49-F238E27FC236}">
                    <a16:creationId xmlns:a16="http://schemas.microsoft.com/office/drawing/2014/main" id="{16F157CF-F4D6-F559-2598-63FC0E882B8D}"/>
                  </a:ext>
                </a:extLst>
              </p:cNvPr>
              <p:cNvGrpSpPr/>
              <p:nvPr/>
            </p:nvGrpSpPr>
            <p:grpSpPr>
              <a:xfrm>
                <a:off x="5898926" y="1854985"/>
                <a:ext cx="27776" cy="148974"/>
                <a:chOff x="5898926" y="1854985"/>
                <a:chExt cx="27776" cy="148974"/>
              </a:xfrm>
              <a:grpFill/>
            </p:grpSpPr>
            <p:sp>
              <p:nvSpPr>
                <p:cNvPr id="6294" name="Freeform 7882">
                  <a:extLst>
                    <a:ext uri="{FF2B5EF4-FFF2-40B4-BE49-F238E27FC236}">
                      <a16:creationId xmlns:a16="http://schemas.microsoft.com/office/drawing/2014/main" id="{D4D3396A-2908-87E0-1002-8300ABB38DD9}"/>
                    </a:ext>
                  </a:extLst>
                </p:cNvPr>
                <p:cNvSpPr/>
                <p:nvPr/>
              </p:nvSpPr>
              <p:spPr>
                <a:xfrm>
                  <a:off x="5914807" y="1931590"/>
                  <a:ext cx="3557" cy="52065"/>
                </a:xfrm>
                <a:custGeom>
                  <a:avLst/>
                  <a:gdLst>
                    <a:gd name="connsiteX0" fmla="*/ 1183 w 3557"/>
                    <a:gd name="connsiteY0" fmla="*/ 52065 h 52065"/>
                    <a:gd name="connsiteX1" fmla="*/ 3301 w 3557"/>
                    <a:gd name="connsiteY1" fmla="*/ 33381 h 52065"/>
                    <a:gd name="connsiteX2" fmla="*/ 62 w 3557"/>
                    <a:gd name="connsiteY2" fmla="*/ 16317 h 52065"/>
                    <a:gd name="connsiteX3" fmla="*/ 24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52065"/>
                      </a:moveTo>
                      <a:cubicBezTo>
                        <a:pt x="3799" y="44093"/>
                        <a:pt x="3799"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5" name="Freeform 7883">
                  <a:extLst>
                    <a:ext uri="{FF2B5EF4-FFF2-40B4-BE49-F238E27FC236}">
                      <a16:creationId xmlns:a16="http://schemas.microsoft.com/office/drawing/2014/main" id="{F6756230-CFE2-E1A6-1A3F-34E4CBCDBA75}"/>
                    </a:ext>
                  </a:extLst>
                </p:cNvPr>
                <p:cNvSpPr/>
                <p:nvPr/>
              </p:nvSpPr>
              <p:spPr>
                <a:xfrm>
                  <a:off x="5906618" y="1936448"/>
                  <a:ext cx="4118" cy="52189"/>
                </a:xfrm>
                <a:custGeom>
                  <a:avLst/>
                  <a:gdLst>
                    <a:gd name="connsiteX0" fmla="*/ 2023 w 4118"/>
                    <a:gd name="connsiteY0" fmla="*/ 0 h 52189"/>
                    <a:gd name="connsiteX1" fmla="*/ 3767 w 4118"/>
                    <a:gd name="connsiteY1" fmla="*/ 18684 h 52189"/>
                    <a:gd name="connsiteX2" fmla="*/ 155 w 4118"/>
                    <a:gd name="connsiteY2" fmla="*/ 35748 h 52189"/>
                    <a:gd name="connsiteX3" fmla="*/ 2148 w 411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0"/>
                      </a:moveTo>
                      <a:cubicBezTo>
                        <a:pt x="4390" y="8096"/>
                        <a:pt x="4390"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6" name="Freeform 7884">
                  <a:extLst>
                    <a:ext uri="{FF2B5EF4-FFF2-40B4-BE49-F238E27FC236}">
                      <a16:creationId xmlns:a16="http://schemas.microsoft.com/office/drawing/2014/main" id="{3A59301B-8D9F-26FA-BA34-C93885BD1175}"/>
                    </a:ext>
                  </a:extLst>
                </p:cNvPr>
                <p:cNvSpPr/>
                <p:nvPr/>
              </p:nvSpPr>
              <p:spPr>
                <a:xfrm>
                  <a:off x="5898926" y="1977425"/>
                  <a:ext cx="26657" cy="26534"/>
                </a:xfrm>
                <a:custGeom>
                  <a:avLst/>
                  <a:gdLst>
                    <a:gd name="connsiteX0" fmla="*/ 0 w 26657"/>
                    <a:gd name="connsiteY0" fmla="*/ 13080 h 26534"/>
                    <a:gd name="connsiteX1" fmla="*/ 13452 w 26657"/>
                    <a:gd name="connsiteY1" fmla="*/ 2 h 26534"/>
                    <a:gd name="connsiteX2" fmla="*/ 26656 w 26657"/>
                    <a:gd name="connsiteY2" fmla="*/ 13454 h 26534"/>
                    <a:gd name="connsiteX3" fmla="*/ 13203 w 26657"/>
                    <a:gd name="connsiteY3" fmla="*/ 26533 h 26534"/>
                    <a:gd name="connsiteX4" fmla="*/ 0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080"/>
                      </a:moveTo>
                      <a:cubicBezTo>
                        <a:pt x="125" y="5732"/>
                        <a:pt x="6103" y="-123"/>
                        <a:pt x="13452" y="2"/>
                      </a:cubicBezTo>
                      <a:cubicBezTo>
                        <a:pt x="20801" y="127"/>
                        <a:pt x="26780" y="6105"/>
                        <a:pt x="26656" y="13454"/>
                      </a:cubicBezTo>
                      <a:cubicBezTo>
                        <a:pt x="26656" y="20803"/>
                        <a:pt x="20552" y="26657"/>
                        <a:pt x="13203" y="26533"/>
                      </a:cubicBezTo>
                      <a:cubicBezTo>
                        <a:pt x="5854" y="26408"/>
                        <a:pt x="0" y="20429"/>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7" name="Freeform 7885">
                  <a:extLst>
                    <a:ext uri="{FF2B5EF4-FFF2-40B4-BE49-F238E27FC236}">
                      <a16:creationId xmlns:a16="http://schemas.microsoft.com/office/drawing/2014/main" id="{F7F1A651-C831-EE13-D06D-EDD04703F875}"/>
                    </a:ext>
                  </a:extLst>
                </p:cNvPr>
                <p:cNvSpPr/>
                <p:nvPr/>
              </p:nvSpPr>
              <p:spPr>
                <a:xfrm>
                  <a:off x="5907412" y="1875290"/>
                  <a:ext cx="3534" cy="52065"/>
                </a:xfrm>
                <a:custGeom>
                  <a:avLst/>
                  <a:gdLst>
                    <a:gd name="connsiteX0" fmla="*/ 2351 w 3534"/>
                    <a:gd name="connsiteY0" fmla="*/ 0 h 52065"/>
                    <a:gd name="connsiteX1" fmla="*/ 234 w 3534"/>
                    <a:gd name="connsiteY1" fmla="*/ 18684 h 52065"/>
                    <a:gd name="connsiteX2" fmla="*/ 3472 w 3534"/>
                    <a:gd name="connsiteY2" fmla="*/ 35748 h 52065"/>
                    <a:gd name="connsiteX3" fmla="*/ 1106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2351" y="0"/>
                      </a:moveTo>
                      <a:cubicBezTo>
                        <a:pt x="-140" y="7972"/>
                        <a:pt x="-264" y="14324"/>
                        <a:pt x="234" y="18684"/>
                      </a:cubicBezTo>
                      <a:cubicBezTo>
                        <a:pt x="981" y="25659"/>
                        <a:pt x="3098" y="28773"/>
                        <a:pt x="3472" y="35748"/>
                      </a:cubicBezTo>
                      <a:cubicBezTo>
                        <a:pt x="3846" y="42599"/>
                        <a:pt x="2476" y="48328"/>
                        <a:pt x="1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8" name="Freeform 7886">
                  <a:extLst>
                    <a:ext uri="{FF2B5EF4-FFF2-40B4-BE49-F238E27FC236}">
                      <a16:creationId xmlns:a16="http://schemas.microsoft.com/office/drawing/2014/main" id="{750AF08C-0546-7DDD-4183-D722717E12F4}"/>
                    </a:ext>
                  </a:extLst>
                </p:cNvPr>
                <p:cNvSpPr/>
                <p:nvPr/>
              </p:nvSpPr>
              <p:spPr>
                <a:xfrm>
                  <a:off x="5914855" y="1870308"/>
                  <a:ext cx="3988" cy="52189"/>
                </a:xfrm>
                <a:custGeom>
                  <a:avLst/>
                  <a:gdLst>
                    <a:gd name="connsiteX0" fmla="*/ 2132 w 3988"/>
                    <a:gd name="connsiteY0" fmla="*/ 52190 h 52189"/>
                    <a:gd name="connsiteX1" fmla="*/ 264 w 3988"/>
                    <a:gd name="connsiteY1" fmla="*/ 33506 h 52189"/>
                    <a:gd name="connsiteX2" fmla="*/ 3876 w 3988"/>
                    <a:gd name="connsiteY2" fmla="*/ 16442 h 52189"/>
                    <a:gd name="connsiteX3" fmla="*/ 1883 w 3988"/>
                    <a:gd name="connsiteY3" fmla="*/ 0 h 52189"/>
                  </a:gdLst>
                  <a:ahLst/>
                  <a:cxnLst>
                    <a:cxn ang="0">
                      <a:pos x="connsiteX0" y="connsiteY0"/>
                    </a:cxn>
                    <a:cxn ang="0">
                      <a:pos x="connsiteX1" y="connsiteY1"/>
                    </a:cxn>
                    <a:cxn ang="0">
                      <a:pos x="connsiteX2" y="connsiteY2"/>
                    </a:cxn>
                    <a:cxn ang="0">
                      <a:pos x="connsiteX3" y="connsiteY3"/>
                    </a:cxn>
                  </a:cxnLst>
                  <a:rect l="l" t="t" r="r" b="b"/>
                  <a:pathLst>
                    <a:path w="3988" h="52189">
                      <a:moveTo>
                        <a:pt x="2132" y="52190"/>
                      </a:moveTo>
                      <a:cubicBezTo>
                        <a:pt x="-234" y="44093"/>
                        <a:pt x="-234" y="37741"/>
                        <a:pt x="264" y="33506"/>
                      </a:cubicBezTo>
                      <a:cubicBezTo>
                        <a:pt x="1136" y="26531"/>
                        <a:pt x="3253" y="23541"/>
                        <a:pt x="3876" y="16442"/>
                      </a:cubicBezTo>
                      <a:cubicBezTo>
                        <a:pt x="4374" y="9591"/>
                        <a:pt x="3129" y="3861"/>
                        <a:pt x="18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9" name="Freeform 7887">
                  <a:extLst>
                    <a:ext uri="{FF2B5EF4-FFF2-40B4-BE49-F238E27FC236}">
                      <a16:creationId xmlns:a16="http://schemas.microsoft.com/office/drawing/2014/main" id="{80C86039-65A0-1BA6-848F-FB895778C071}"/>
                    </a:ext>
                  </a:extLst>
                </p:cNvPr>
                <p:cNvSpPr/>
                <p:nvPr/>
              </p:nvSpPr>
              <p:spPr>
                <a:xfrm>
                  <a:off x="5900295" y="1854985"/>
                  <a:ext cx="26408" cy="26534"/>
                </a:xfrm>
                <a:custGeom>
                  <a:avLst/>
                  <a:gdLst>
                    <a:gd name="connsiteX0" fmla="*/ 26408 w 26408"/>
                    <a:gd name="connsiteY0" fmla="*/ 13454 h 26534"/>
                    <a:gd name="connsiteX1" fmla="*/ 13080 w 26408"/>
                    <a:gd name="connsiteY1" fmla="*/ 26533 h 26534"/>
                    <a:gd name="connsiteX2" fmla="*/ 2 w 26408"/>
                    <a:gd name="connsiteY2" fmla="*/ 13080 h 26534"/>
                    <a:gd name="connsiteX3" fmla="*/ 13329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408" y="20803"/>
                        <a:pt x="20429" y="26657"/>
                        <a:pt x="13080" y="26533"/>
                      </a:cubicBezTo>
                      <a:cubicBezTo>
                        <a:pt x="5732" y="26408"/>
                        <a:pt x="-123" y="20429"/>
                        <a:pt x="2" y="13080"/>
                      </a:cubicBezTo>
                      <a:cubicBezTo>
                        <a:pt x="126" y="5732"/>
                        <a:pt x="6105" y="-123"/>
                        <a:pt x="13329" y="2"/>
                      </a:cubicBezTo>
                      <a:cubicBezTo>
                        <a:pt x="20554" y="126"/>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4" name="Graphic 2987">
                <a:extLst>
                  <a:ext uri="{FF2B5EF4-FFF2-40B4-BE49-F238E27FC236}">
                    <a16:creationId xmlns:a16="http://schemas.microsoft.com/office/drawing/2014/main" id="{042D7DEA-09AF-F2F7-ED5D-39C455465C41}"/>
                  </a:ext>
                </a:extLst>
              </p:cNvPr>
              <p:cNvGrpSpPr/>
              <p:nvPr/>
            </p:nvGrpSpPr>
            <p:grpSpPr>
              <a:xfrm>
                <a:off x="5869155" y="1854611"/>
                <a:ext cx="28027" cy="148974"/>
                <a:chOff x="5869155" y="1854611"/>
                <a:chExt cx="28027" cy="148974"/>
              </a:xfrm>
              <a:grpFill/>
            </p:grpSpPr>
            <p:sp>
              <p:nvSpPr>
                <p:cNvPr id="6288" name="Freeform 7889">
                  <a:extLst>
                    <a:ext uri="{FF2B5EF4-FFF2-40B4-BE49-F238E27FC236}">
                      <a16:creationId xmlns:a16="http://schemas.microsoft.com/office/drawing/2014/main" id="{47B061DA-40CA-4645-9407-75276C168B9C}"/>
                    </a:ext>
                  </a:extLst>
                </p:cNvPr>
                <p:cNvSpPr/>
                <p:nvPr/>
              </p:nvSpPr>
              <p:spPr>
                <a:xfrm>
                  <a:off x="5885163" y="1931216"/>
                  <a:ext cx="3477" cy="52065"/>
                </a:xfrm>
                <a:custGeom>
                  <a:avLst/>
                  <a:gdLst>
                    <a:gd name="connsiteX0" fmla="*/ 1059 w 3477"/>
                    <a:gd name="connsiteY0" fmla="*/ 52065 h 52065"/>
                    <a:gd name="connsiteX1" fmla="*/ 3301 w 3477"/>
                    <a:gd name="connsiteY1" fmla="*/ 33381 h 52065"/>
                    <a:gd name="connsiteX2" fmla="*/ 62 w 3477"/>
                    <a:gd name="connsiteY2" fmla="*/ 16317 h 52065"/>
                    <a:gd name="connsiteX3" fmla="*/ 2429 w 3477"/>
                    <a:gd name="connsiteY3" fmla="*/ 0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52065"/>
                      </a:moveTo>
                      <a:cubicBezTo>
                        <a:pt x="3675" y="44093"/>
                        <a:pt x="3675"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9" name="Freeform 7890">
                  <a:extLst>
                    <a:ext uri="{FF2B5EF4-FFF2-40B4-BE49-F238E27FC236}">
                      <a16:creationId xmlns:a16="http://schemas.microsoft.com/office/drawing/2014/main" id="{26EE6B6A-8949-383B-0FB3-EA8F1F31ABC8}"/>
                    </a:ext>
                  </a:extLst>
                </p:cNvPr>
                <p:cNvSpPr/>
                <p:nvPr/>
              </p:nvSpPr>
              <p:spPr>
                <a:xfrm>
                  <a:off x="5876974" y="1936074"/>
                  <a:ext cx="4062" cy="52189"/>
                </a:xfrm>
                <a:custGeom>
                  <a:avLst/>
                  <a:gdLst>
                    <a:gd name="connsiteX0" fmla="*/ 2023 w 4062"/>
                    <a:gd name="connsiteY0" fmla="*/ 0 h 52189"/>
                    <a:gd name="connsiteX1" fmla="*/ 3767 w 4062"/>
                    <a:gd name="connsiteY1" fmla="*/ 18684 h 52189"/>
                    <a:gd name="connsiteX2" fmla="*/ 155 w 4062"/>
                    <a:gd name="connsiteY2" fmla="*/ 35748 h 52189"/>
                    <a:gd name="connsiteX3" fmla="*/ 2148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23" y="0"/>
                      </a:moveTo>
                      <a:cubicBezTo>
                        <a:pt x="4390" y="8096"/>
                        <a:pt x="4266"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0" name="Freeform 7891">
                  <a:extLst>
                    <a:ext uri="{FF2B5EF4-FFF2-40B4-BE49-F238E27FC236}">
                      <a16:creationId xmlns:a16="http://schemas.microsoft.com/office/drawing/2014/main" id="{70164DF3-42E6-DA72-CF29-F568301E6133}"/>
                    </a:ext>
                  </a:extLst>
                </p:cNvPr>
                <p:cNvSpPr/>
                <p:nvPr/>
              </p:nvSpPr>
              <p:spPr>
                <a:xfrm>
                  <a:off x="5869155" y="1977051"/>
                  <a:ext cx="26657" cy="26534"/>
                </a:xfrm>
                <a:custGeom>
                  <a:avLst/>
                  <a:gdLst>
                    <a:gd name="connsiteX0" fmla="*/ 2 w 26657"/>
                    <a:gd name="connsiteY0" fmla="*/ 13080 h 26534"/>
                    <a:gd name="connsiteX1" fmla="*/ 13454 w 26657"/>
                    <a:gd name="connsiteY1" fmla="*/ 2 h 26534"/>
                    <a:gd name="connsiteX2" fmla="*/ 26657 w 26657"/>
                    <a:gd name="connsiteY2" fmla="*/ 13454 h 26534"/>
                    <a:gd name="connsiteX3" fmla="*/ 13205 w 26657"/>
                    <a:gd name="connsiteY3" fmla="*/ 26533 h 26534"/>
                    <a:gd name="connsiteX4" fmla="*/ 2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2" y="13080"/>
                      </a:moveTo>
                      <a:cubicBezTo>
                        <a:pt x="126" y="5732"/>
                        <a:pt x="6105" y="-123"/>
                        <a:pt x="13454" y="2"/>
                      </a:cubicBezTo>
                      <a:cubicBezTo>
                        <a:pt x="20803" y="126"/>
                        <a:pt x="26657" y="6105"/>
                        <a:pt x="26657" y="13454"/>
                      </a:cubicBezTo>
                      <a:cubicBezTo>
                        <a:pt x="26532" y="20803"/>
                        <a:pt x="20554" y="26657"/>
                        <a:pt x="13205"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1" name="Freeform 7892">
                  <a:extLst>
                    <a:ext uri="{FF2B5EF4-FFF2-40B4-BE49-F238E27FC236}">
                      <a16:creationId xmlns:a16="http://schemas.microsoft.com/office/drawing/2014/main" id="{9D5AF3DA-16A2-BD2D-754C-423C2018070F}"/>
                    </a:ext>
                  </a:extLst>
                </p:cNvPr>
                <p:cNvSpPr/>
                <p:nvPr/>
              </p:nvSpPr>
              <p:spPr>
                <a:xfrm>
                  <a:off x="5877824" y="1875041"/>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2"/>
                        <a:pt x="-197" y="14324"/>
                        <a:pt x="177" y="18684"/>
                      </a:cubicBezTo>
                      <a:cubicBezTo>
                        <a:pt x="924" y="25659"/>
                        <a:pt x="2917" y="28773"/>
                        <a:pt x="3415" y="35748"/>
                      </a:cubicBezTo>
                      <a:cubicBezTo>
                        <a:pt x="3789" y="42599"/>
                        <a:pt x="2294"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2" name="Freeform 7893">
                  <a:extLst>
                    <a:ext uri="{FF2B5EF4-FFF2-40B4-BE49-F238E27FC236}">
                      <a16:creationId xmlns:a16="http://schemas.microsoft.com/office/drawing/2014/main" id="{449C1854-CB2F-D5E8-123D-C4A4A66FB99F}"/>
                    </a:ext>
                  </a:extLst>
                </p:cNvPr>
                <p:cNvSpPr/>
                <p:nvPr/>
              </p:nvSpPr>
              <p:spPr>
                <a:xfrm>
                  <a:off x="5885304" y="1869934"/>
                  <a:ext cx="4062" cy="52189"/>
                </a:xfrm>
                <a:custGeom>
                  <a:avLst/>
                  <a:gdLst>
                    <a:gd name="connsiteX0" fmla="*/ 2039 w 4062"/>
                    <a:gd name="connsiteY0" fmla="*/ 52190 h 52189"/>
                    <a:gd name="connsiteX1" fmla="*/ 295 w 4062"/>
                    <a:gd name="connsiteY1" fmla="*/ 33506 h 52189"/>
                    <a:gd name="connsiteX2" fmla="*/ 3907 w 4062"/>
                    <a:gd name="connsiteY2" fmla="*/ 16442 h 52189"/>
                    <a:gd name="connsiteX3" fmla="*/ 1915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52190"/>
                      </a:moveTo>
                      <a:cubicBezTo>
                        <a:pt x="-327" y="44093"/>
                        <a:pt x="-203" y="37741"/>
                        <a:pt x="295" y="33506"/>
                      </a:cubicBezTo>
                      <a:cubicBezTo>
                        <a:pt x="1167" y="26531"/>
                        <a:pt x="3285" y="23541"/>
                        <a:pt x="3907" y="16442"/>
                      </a:cubicBezTo>
                      <a:cubicBezTo>
                        <a:pt x="4530" y="9591"/>
                        <a:pt x="3160" y="3861"/>
                        <a:pt x="1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3" name="Freeform 7894">
                  <a:extLst>
                    <a:ext uri="{FF2B5EF4-FFF2-40B4-BE49-F238E27FC236}">
                      <a16:creationId xmlns:a16="http://schemas.microsoft.com/office/drawing/2014/main" id="{5FB065EA-DEAE-34B3-A87B-5BA5BE19ECCE}"/>
                    </a:ext>
                  </a:extLst>
                </p:cNvPr>
                <p:cNvSpPr/>
                <p:nvPr/>
              </p:nvSpPr>
              <p:spPr>
                <a:xfrm>
                  <a:off x="5870774" y="1854611"/>
                  <a:ext cx="26408" cy="26534"/>
                </a:xfrm>
                <a:custGeom>
                  <a:avLst/>
                  <a:gdLst>
                    <a:gd name="connsiteX0" fmla="*/ 26408 w 26408"/>
                    <a:gd name="connsiteY0" fmla="*/ 13454 h 26534"/>
                    <a:gd name="connsiteX1" fmla="*/ 13081 w 26408"/>
                    <a:gd name="connsiteY1" fmla="*/ 26533 h 26534"/>
                    <a:gd name="connsiteX2" fmla="*/ 2 w 26408"/>
                    <a:gd name="connsiteY2" fmla="*/ 13081 h 26534"/>
                    <a:gd name="connsiteX3" fmla="*/ 13330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284" y="20803"/>
                        <a:pt x="20305" y="26657"/>
                        <a:pt x="13081" y="26533"/>
                      </a:cubicBezTo>
                      <a:cubicBezTo>
                        <a:pt x="5732" y="26408"/>
                        <a:pt x="-122" y="20429"/>
                        <a:pt x="2" y="13081"/>
                      </a:cubicBezTo>
                      <a:cubicBezTo>
                        <a:pt x="127" y="5732"/>
                        <a:pt x="6106" y="-123"/>
                        <a:pt x="13330" y="2"/>
                      </a:cubicBezTo>
                      <a:cubicBezTo>
                        <a:pt x="20554" y="127"/>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5" name="Graphic 2987">
                <a:extLst>
                  <a:ext uri="{FF2B5EF4-FFF2-40B4-BE49-F238E27FC236}">
                    <a16:creationId xmlns:a16="http://schemas.microsoft.com/office/drawing/2014/main" id="{9E74094D-44EE-D072-40D4-842D91C0FE2B}"/>
                  </a:ext>
                </a:extLst>
              </p:cNvPr>
              <p:cNvGrpSpPr/>
              <p:nvPr/>
            </p:nvGrpSpPr>
            <p:grpSpPr>
              <a:xfrm>
                <a:off x="5839386" y="1854238"/>
                <a:ext cx="28276" cy="149099"/>
                <a:chOff x="5839386" y="1854238"/>
                <a:chExt cx="28276" cy="149099"/>
              </a:xfrm>
              <a:grpFill/>
            </p:grpSpPr>
            <p:sp>
              <p:nvSpPr>
                <p:cNvPr id="6282" name="Freeform 7896">
                  <a:extLst>
                    <a:ext uri="{FF2B5EF4-FFF2-40B4-BE49-F238E27FC236}">
                      <a16:creationId xmlns:a16="http://schemas.microsoft.com/office/drawing/2014/main" id="{36B71473-96AA-78EC-DF67-AEA53B7F5092}"/>
                    </a:ext>
                  </a:extLst>
                </p:cNvPr>
                <p:cNvSpPr/>
                <p:nvPr/>
              </p:nvSpPr>
              <p:spPr>
                <a:xfrm>
                  <a:off x="5855398" y="1930843"/>
                  <a:ext cx="3473" cy="52065"/>
                </a:xfrm>
                <a:custGeom>
                  <a:avLst/>
                  <a:gdLst>
                    <a:gd name="connsiteX0" fmla="*/ 1055 w 3473"/>
                    <a:gd name="connsiteY0" fmla="*/ 52065 h 52065"/>
                    <a:gd name="connsiteX1" fmla="*/ 3297 w 3473"/>
                    <a:gd name="connsiteY1" fmla="*/ 33381 h 52065"/>
                    <a:gd name="connsiteX2" fmla="*/ 58 w 3473"/>
                    <a:gd name="connsiteY2" fmla="*/ 16317 h 52065"/>
                    <a:gd name="connsiteX3" fmla="*/ 2425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52065"/>
                      </a:moveTo>
                      <a:cubicBezTo>
                        <a:pt x="3671" y="44093"/>
                        <a:pt x="3671" y="37741"/>
                        <a:pt x="3297" y="33381"/>
                      </a:cubicBezTo>
                      <a:cubicBezTo>
                        <a:pt x="2549" y="26406"/>
                        <a:pt x="557"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3" name="Freeform 7897">
                  <a:extLst>
                    <a:ext uri="{FF2B5EF4-FFF2-40B4-BE49-F238E27FC236}">
                      <a16:creationId xmlns:a16="http://schemas.microsoft.com/office/drawing/2014/main" id="{12052D9B-C1DF-58B8-8546-5B3F8EF7AA69}"/>
                    </a:ext>
                  </a:extLst>
                </p:cNvPr>
                <p:cNvSpPr/>
                <p:nvPr/>
              </p:nvSpPr>
              <p:spPr>
                <a:xfrm>
                  <a:off x="5847204" y="1935700"/>
                  <a:ext cx="4187" cy="52189"/>
                </a:xfrm>
                <a:custGeom>
                  <a:avLst/>
                  <a:gdLst>
                    <a:gd name="connsiteX0" fmla="*/ 2148 w 4187"/>
                    <a:gd name="connsiteY0" fmla="*/ 0 h 52189"/>
                    <a:gd name="connsiteX1" fmla="*/ 3892 w 4187"/>
                    <a:gd name="connsiteY1" fmla="*/ 18684 h 52189"/>
                    <a:gd name="connsiteX2" fmla="*/ 155 w 4187"/>
                    <a:gd name="connsiteY2" fmla="*/ 35748 h 52189"/>
                    <a:gd name="connsiteX3" fmla="*/ 2148 w 418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87" h="52189">
                      <a:moveTo>
                        <a:pt x="2148" y="0"/>
                      </a:moveTo>
                      <a:cubicBezTo>
                        <a:pt x="4515" y="8096"/>
                        <a:pt x="4390" y="14449"/>
                        <a:pt x="3892" y="18684"/>
                      </a:cubicBezTo>
                      <a:cubicBezTo>
                        <a:pt x="3020" y="25659"/>
                        <a:pt x="778" y="28648"/>
                        <a:pt x="155" y="35748"/>
                      </a:cubicBezTo>
                      <a:cubicBezTo>
                        <a:pt x="-468"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4" name="Freeform 7898">
                  <a:extLst>
                    <a:ext uri="{FF2B5EF4-FFF2-40B4-BE49-F238E27FC236}">
                      <a16:creationId xmlns:a16="http://schemas.microsoft.com/office/drawing/2014/main" id="{39854C2F-3C3D-4BC5-117D-E9B7ADB285D3}"/>
                    </a:ext>
                  </a:extLst>
                </p:cNvPr>
                <p:cNvSpPr/>
                <p:nvPr/>
              </p:nvSpPr>
              <p:spPr>
                <a:xfrm>
                  <a:off x="5839386" y="1976802"/>
                  <a:ext cx="26781" cy="26534"/>
                </a:xfrm>
                <a:custGeom>
                  <a:avLst/>
                  <a:gdLst>
                    <a:gd name="connsiteX0" fmla="*/ 2 w 26781"/>
                    <a:gd name="connsiteY0" fmla="*/ 13080 h 26534"/>
                    <a:gd name="connsiteX1" fmla="*/ 13579 w 26781"/>
                    <a:gd name="connsiteY1" fmla="*/ 2 h 26534"/>
                    <a:gd name="connsiteX2" fmla="*/ 26782 w 26781"/>
                    <a:gd name="connsiteY2" fmla="*/ 13454 h 26534"/>
                    <a:gd name="connsiteX3" fmla="*/ 13205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127" y="5732"/>
                        <a:pt x="6230" y="-123"/>
                        <a:pt x="13579" y="2"/>
                      </a:cubicBezTo>
                      <a:cubicBezTo>
                        <a:pt x="20928" y="126"/>
                        <a:pt x="26782" y="6105"/>
                        <a:pt x="26782" y="13454"/>
                      </a:cubicBezTo>
                      <a:cubicBezTo>
                        <a:pt x="26657" y="20803"/>
                        <a:pt x="20679" y="26657"/>
                        <a:pt x="13205" y="26533"/>
                      </a:cubicBezTo>
                      <a:cubicBezTo>
                        <a:pt x="5732" y="26408"/>
                        <a:pt x="-123" y="20305"/>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5" name="Freeform 7899">
                  <a:extLst>
                    <a:ext uri="{FF2B5EF4-FFF2-40B4-BE49-F238E27FC236}">
                      <a16:creationId xmlns:a16="http://schemas.microsoft.com/office/drawing/2014/main" id="{A3CDC267-4A3B-26D0-09E7-E24C2F7FBA7C}"/>
                    </a:ext>
                  </a:extLst>
                </p:cNvPr>
                <p:cNvSpPr/>
                <p:nvPr/>
              </p:nvSpPr>
              <p:spPr>
                <a:xfrm>
                  <a:off x="5848304" y="1874667"/>
                  <a:ext cx="3349" cy="52065"/>
                </a:xfrm>
                <a:custGeom>
                  <a:avLst/>
                  <a:gdLst>
                    <a:gd name="connsiteX0" fmla="*/ 2419 w 3349"/>
                    <a:gd name="connsiteY0" fmla="*/ 0 h 52065"/>
                    <a:gd name="connsiteX1" fmla="*/ 177 w 3349"/>
                    <a:gd name="connsiteY1" fmla="*/ 18684 h 52065"/>
                    <a:gd name="connsiteX2" fmla="*/ 3291 w 3349"/>
                    <a:gd name="connsiteY2" fmla="*/ 35748 h 52065"/>
                    <a:gd name="connsiteX3" fmla="*/ 924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0"/>
                      </a:moveTo>
                      <a:cubicBezTo>
                        <a:pt x="-197" y="7972"/>
                        <a:pt x="-197" y="14324"/>
                        <a:pt x="177" y="18684"/>
                      </a:cubicBezTo>
                      <a:cubicBezTo>
                        <a:pt x="800" y="25659"/>
                        <a:pt x="2917" y="28773"/>
                        <a:pt x="3291" y="35748"/>
                      </a:cubicBezTo>
                      <a:cubicBezTo>
                        <a:pt x="3664" y="42599"/>
                        <a:pt x="2170" y="48328"/>
                        <a:pt x="9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6" name="Freeform 7900">
                  <a:extLst>
                    <a:ext uri="{FF2B5EF4-FFF2-40B4-BE49-F238E27FC236}">
                      <a16:creationId xmlns:a16="http://schemas.microsoft.com/office/drawing/2014/main" id="{C7E2A05D-B5DA-1D68-2785-C8104A808305}"/>
                    </a:ext>
                  </a:extLst>
                </p:cNvPr>
                <p:cNvSpPr/>
                <p:nvPr/>
              </p:nvSpPr>
              <p:spPr>
                <a:xfrm>
                  <a:off x="5855659" y="1869685"/>
                  <a:ext cx="4063" cy="52189"/>
                </a:xfrm>
                <a:custGeom>
                  <a:avLst/>
                  <a:gdLst>
                    <a:gd name="connsiteX0" fmla="*/ 2039 w 4063"/>
                    <a:gd name="connsiteY0" fmla="*/ 52190 h 52189"/>
                    <a:gd name="connsiteX1" fmla="*/ 295 w 4063"/>
                    <a:gd name="connsiteY1" fmla="*/ 33506 h 52189"/>
                    <a:gd name="connsiteX2" fmla="*/ 3907 w 4063"/>
                    <a:gd name="connsiteY2" fmla="*/ 16442 h 52189"/>
                    <a:gd name="connsiteX3" fmla="*/ 2039 w 4063"/>
                    <a:gd name="connsiteY3" fmla="*/ 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52190"/>
                      </a:moveTo>
                      <a:cubicBezTo>
                        <a:pt x="-328" y="44093"/>
                        <a:pt x="-203" y="37741"/>
                        <a:pt x="295" y="33506"/>
                      </a:cubicBezTo>
                      <a:cubicBezTo>
                        <a:pt x="1167" y="26531"/>
                        <a:pt x="3285" y="23541"/>
                        <a:pt x="3907" y="16442"/>
                      </a:cubicBezTo>
                      <a:cubicBezTo>
                        <a:pt x="4530" y="9591"/>
                        <a:pt x="3160" y="3861"/>
                        <a:pt x="20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7" name="Freeform 7901">
                  <a:extLst>
                    <a:ext uri="{FF2B5EF4-FFF2-40B4-BE49-F238E27FC236}">
                      <a16:creationId xmlns:a16="http://schemas.microsoft.com/office/drawing/2014/main" id="{B0088610-FD38-5FCB-84C3-C252DF8566E4}"/>
                    </a:ext>
                  </a:extLst>
                </p:cNvPr>
                <p:cNvSpPr/>
                <p:nvPr/>
              </p:nvSpPr>
              <p:spPr>
                <a:xfrm>
                  <a:off x="5841132" y="1854238"/>
                  <a:ext cx="26530" cy="26534"/>
                </a:xfrm>
                <a:custGeom>
                  <a:avLst/>
                  <a:gdLst>
                    <a:gd name="connsiteX0" fmla="*/ 26530 w 26530"/>
                    <a:gd name="connsiteY0" fmla="*/ 13454 h 26534"/>
                    <a:gd name="connsiteX1" fmla="*/ 13078 w 26530"/>
                    <a:gd name="connsiteY1" fmla="*/ 26533 h 26534"/>
                    <a:gd name="connsiteX2" fmla="*/ 0 w 26530"/>
                    <a:gd name="connsiteY2" fmla="*/ 13080 h 26534"/>
                    <a:gd name="connsiteX3" fmla="*/ 13452 w 26530"/>
                    <a:gd name="connsiteY3" fmla="*/ 2 h 26534"/>
                    <a:gd name="connsiteX4" fmla="*/ 26530 w 2653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4">
                      <a:moveTo>
                        <a:pt x="26530" y="13454"/>
                      </a:moveTo>
                      <a:cubicBezTo>
                        <a:pt x="26406" y="20803"/>
                        <a:pt x="20427" y="26657"/>
                        <a:pt x="13078" y="26533"/>
                      </a:cubicBezTo>
                      <a:cubicBezTo>
                        <a:pt x="5730" y="26408"/>
                        <a:pt x="0" y="20429"/>
                        <a:pt x="0" y="13080"/>
                      </a:cubicBezTo>
                      <a:cubicBezTo>
                        <a:pt x="0" y="5732"/>
                        <a:pt x="6103" y="-123"/>
                        <a:pt x="13452" y="2"/>
                      </a:cubicBezTo>
                      <a:cubicBezTo>
                        <a:pt x="20801" y="126"/>
                        <a:pt x="26530" y="6230"/>
                        <a:pt x="2653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6" name="Graphic 2987">
                <a:extLst>
                  <a:ext uri="{FF2B5EF4-FFF2-40B4-BE49-F238E27FC236}">
                    <a16:creationId xmlns:a16="http://schemas.microsoft.com/office/drawing/2014/main" id="{FB7815CB-515E-B2C2-0429-5F3CAD1A8C4A}"/>
                  </a:ext>
                </a:extLst>
              </p:cNvPr>
              <p:cNvGrpSpPr/>
              <p:nvPr/>
            </p:nvGrpSpPr>
            <p:grpSpPr>
              <a:xfrm>
                <a:off x="5809611" y="1853989"/>
                <a:ext cx="28532" cy="148974"/>
                <a:chOff x="5809611" y="1853989"/>
                <a:chExt cx="28532" cy="148974"/>
              </a:xfrm>
              <a:grpFill/>
            </p:grpSpPr>
            <p:sp>
              <p:nvSpPr>
                <p:cNvPr id="6276" name="Freeform 7903">
                  <a:extLst>
                    <a:ext uri="{FF2B5EF4-FFF2-40B4-BE49-F238E27FC236}">
                      <a16:creationId xmlns:a16="http://schemas.microsoft.com/office/drawing/2014/main" id="{CB47CFFF-B56F-D693-6570-00A3FFC5964C}"/>
                    </a:ext>
                  </a:extLst>
                </p:cNvPr>
                <p:cNvSpPr/>
                <p:nvPr/>
              </p:nvSpPr>
              <p:spPr>
                <a:xfrm>
                  <a:off x="5825753" y="1930593"/>
                  <a:ext cx="3403" cy="52065"/>
                </a:xfrm>
                <a:custGeom>
                  <a:avLst/>
                  <a:gdLst>
                    <a:gd name="connsiteX0" fmla="*/ 930 w 3403"/>
                    <a:gd name="connsiteY0" fmla="*/ 52065 h 52065"/>
                    <a:gd name="connsiteX1" fmla="*/ 3172 w 3403"/>
                    <a:gd name="connsiteY1" fmla="*/ 33381 h 52065"/>
                    <a:gd name="connsiteX2" fmla="*/ 58 w 3403"/>
                    <a:gd name="connsiteY2" fmla="*/ 16317 h 52065"/>
                    <a:gd name="connsiteX3" fmla="*/ 2425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930" y="52065"/>
                      </a:moveTo>
                      <a:cubicBezTo>
                        <a:pt x="3546" y="44093"/>
                        <a:pt x="3671" y="37741"/>
                        <a:pt x="3172" y="33381"/>
                      </a:cubicBezTo>
                      <a:cubicBezTo>
                        <a:pt x="2550" y="26406"/>
                        <a:pt x="432"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7" name="Freeform 7904">
                  <a:extLst>
                    <a:ext uri="{FF2B5EF4-FFF2-40B4-BE49-F238E27FC236}">
                      <a16:creationId xmlns:a16="http://schemas.microsoft.com/office/drawing/2014/main" id="{840352BC-7677-98C7-142E-1345C9394E55}"/>
                    </a:ext>
                  </a:extLst>
                </p:cNvPr>
                <p:cNvSpPr/>
                <p:nvPr/>
              </p:nvSpPr>
              <p:spPr>
                <a:xfrm>
                  <a:off x="5817434" y="1935451"/>
                  <a:ext cx="4278" cy="52189"/>
                </a:xfrm>
                <a:custGeom>
                  <a:avLst/>
                  <a:gdLst>
                    <a:gd name="connsiteX0" fmla="*/ 2273 w 4278"/>
                    <a:gd name="connsiteY0" fmla="*/ 0 h 52189"/>
                    <a:gd name="connsiteX1" fmla="*/ 3892 w 4278"/>
                    <a:gd name="connsiteY1" fmla="*/ 18684 h 52189"/>
                    <a:gd name="connsiteX2" fmla="*/ 156 w 4278"/>
                    <a:gd name="connsiteY2" fmla="*/ 35748 h 52189"/>
                    <a:gd name="connsiteX3" fmla="*/ 202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0"/>
                      </a:moveTo>
                      <a:cubicBezTo>
                        <a:pt x="4640" y="8096"/>
                        <a:pt x="4515" y="14449"/>
                        <a:pt x="3892" y="18684"/>
                      </a:cubicBezTo>
                      <a:cubicBezTo>
                        <a:pt x="3021" y="25659"/>
                        <a:pt x="778" y="28648"/>
                        <a:pt x="156" y="35748"/>
                      </a:cubicBezTo>
                      <a:cubicBezTo>
                        <a:pt x="-467" y="42599"/>
                        <a:pt x="903" y="48328"/>
                        <a:pt x="202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8" name="Freeform 7905">
                  <a:extLst>
                    <a:ext uri="{FF2B5EF4-FFF2-40B4-BE49-F238E27FC236}">
                      <a16:creationId xmlns:a16="http://schemas.microsoft.com/office/drawing/2014/main" id="{C877DF09-0C3B-70BB-D6E9-D89AF478C7D6}"/>
                    </a:ext>
                  </a:extLst>
                </p:cNvPr>
                <p:cNvSpPr/>
                <p:nvPr/>
              </p:nvSpPr>
              <p:spPr>
                <a:xfrm>
                  <a:off x="5809611" y="1976429"/>
                  <a:ext cx="26664" cy="26534"/>
                </a:xfrm>
                <a:custGeom>
                  <a:avLst/>
                  <a:gdLst>
                    <a:gd name="connsiteX0" fmla="*/ 8 w 26664"/>
                    <a:gd name="connsiteY0" fmla="*/ 13080 h 26534"/>
                    <a:gd name="connsiteX1" fmla="*/ 13584 w 26664"/>
                    <a:gd name="connsiteY1" fmla="*/ 2 h 26534"/>
                    <a:gd name="connsiteX2" fmla="*/ 26663 w 26664"/>
                    <a:gd name="connsiteY2" fmla="*/ 13454 h 26534"/>
                    <a:gd name="connsiteX3" fmla="*/ 13086 w 26664"/>
                    <a:gd name="connsiteY3" fmla="*/ 26533 h 26534"/>
                    <a:gd name="connsiteX4" fmla="*/ 8 w 26664"/>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34">
                      <a:moveTo>
                        <a:pt x="8" y="13080"/>
                      </a:moveTo>
                      <a:cubicBezTo>
                        <a:pt x="132" y="5732"/>
                        <a:pt x="6235" y="-123"/>
                        <a:pt x="13584" y="2"/>
                      </a:cubicBezTo>
                      <a:cubicBezTo>
                        <a:pt x="20933" y="126"/>
                        <a:pt x="26787" y="6105"/>
                        <a:pt x="26663" y="13454"/>
                      </a:cubicBezTo>
                      <a:cubicBezTo>
                        <a:pt x="26538" y="20803"/>
                        <a:pt x="20435" y="26657"/>
                        <a:pt x="13086" y="26533"/>
                      </a:cubicBezTo>
                      <a:cubicBezTo>
                        <a:pt x="5737" y="26408"/>
                        <a:pt x="-242" y="20429"/>
                        <a:pt x="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9" name="Freeform 7906">
                  <a:extLst>
                    <a:ext uri="{FF2B5EF4-FFF2-40B4-BE49-F238E27FC236}">
                      <a16:creationId xmlns:a16="http://schemas.microsoft.com/office/drawing/2014/main" id="{B0D10E9C-247A-EF4F-8D0C-8F2183CEE764}"/>
                    </a:ext>
                  </a:extLst>
                </p:cNvPr>
                <p:cNvSpPr/>
                <p:nvPr/>
              </p:nvSpPr>
              <p:spPr>
                <a:xfrm>
                  <a:off x="5818730" y="1874293"/>
                  <a:ext cx="3403" cy="52065"/>
                </a:xfrm>
                <a:custGeom>
                  <a:avLst/>
                  <a:gdLst>
                    <a:gd name="connsiteX0" fmla="*/ 2473 w 3403"/>
                    <a:gd name="connsiteY0" fmla="*/ 0 h 52065"/>
                    <a:gd name="connsiteX1" fmla="*/ 231 w 3403"/>
                    <a:gd name="connsiteY1" fmla="*/ 18684 h 52065"/>
                    <a:gd name="connsiteX2" fmla="*/ 3345 w 3403"/>
                    <a:gd name="connsiteY2" fmla="*/ 35748 h 52065"/>
                    <a:gd name="connsiteX3" fmla="*/ 854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0"/>
                      </a:moveTo>
                      <a:cubicBezTo>
                        <a:pt x="-143" y="7972"/>
                        <a:pt x="-267" y="14324"/>
                        <a:pt x="231" y="18684"/>
                      </a:cubicBezTo>
                      <a:cubicBezTo>
                        <a:pt x="854" y="25659"/>
                        <a:pt x="2971" y="28773"/>
                        <a:pt x="3345" y="35748"/>
                      </a:cubicBezTo>
                      <a:cubicBezTo>
                        <a:pt x="3719" y="42599"/>
                        <a:pt x="2224" y="48328"/>
                        <a:pt x="8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0" name="Freeform 7907">
                  <a:extLst>
                    <a:ext uri="{FF2B5EF4-FFF2-40B4-BE49-F238E27FC236}">
                      <a16:creationId xmlns:a16="http://schemas.microsoft.com/office/drawing/2014/main" id="{8674290F-771E-296E-F268-D8D0733DF517}"/>
                    </a:ext>
                  </a:extLst>
                </p:cNvPr>
                <p:cNvSpPr/>
                <p:nvPr/>
              </p:nvSpPr>
              <p:spPr>
                <a:xfrm>
                  <a:off x="5826173" y="1869311"/>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3"/>
                        <a:pt x="-237" y="37741"/>
                        <a:pt x="386" y="33506"/>
                      </a:cubicBezTo>
                      <a:cubicBezTo>
                        <a:pt x="1258" y="26531"/>
                        <a:pt x="3500" y="23541"/>
                        <a:pt x="4122" y="16442"/>
                      </a:cubicBezTo>
                      <a:cubicBezTo>
                        <a:pt x="4745" y="9591"/>
                        <a:pt x="3375"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1" name="Freeform 7908">
                  <a:extLst>
                    <a:ext uri="{FF2B5EF4-FFF2-40B4-BE49-F238E27FC236}">
                      <a16:creationId xmlns:a16="http://schemas.microsoft.com/office/drawing/2014/main" id="{F4C27ED0-EE8C-E493-18EA-37687DF0A7CA}"/>
                    </a:ext>
                  </a:extLst>
                </p:cNvPr>
                <p:cNvSpPr/>
                <p:nvPr/>
              </p:nvSpPr>
              <p:spPr>
                <a:xfrm>
                  <a:off x="5811734" y="1853989"/>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4" y="20803"/>
                        <a:pt x="20305" y="26657"/>
                        <a:pt x="12956" y="26533"/>
                      </a:cubicBezTo>
                      <a:cubicBezTo>
                        <a:pt x="5607" y="26408"/>
                        <a:pt x="-123" y="20429"/>
                        <a:pt x="2" y="13080"/>
                      </a:cubicBezTo>
                      <a:cubicBezTo>
                        <a:pt x="127" y="5732"/>
                        <a:pt x="6105" y="-123"/>
                        <a:pt x="13454" y="2"/>
                      </a:cubicBezTo>
                      <a:cubicBezTo>
                        <a:pt x="20679" y="127"/>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7" name="Graphic 2987">
                <a:extLst>
                  <a:ext uri="{FF2B5EF4-FFF2-40B4-BE49-F238E27FC236}">
                    <a16:creationId xmlns:a16="http://schemas.microsoft.com/office/drawing/2014/main" id="{EEE980EB-E6B0-7B9D-E093-DD368E4E19DF}"/>
                  </a:ext>
                </a:extLst>
              </p:cNvPr>
              <p:cNvGrpSpPr/>
              <p:nvPr/>
            </p:nvGrpSpPr>
            <p:grpSpPr>
              <a:xfrm>
                <a:off x="5779723" y="1853615"/>
                <a:ext cx="28901" cy="148974"/>
                <a:chOff x="5779723" y="1853615"/>
                <a:chExt cx="28901" cy="148974"/>
              </a:xfrm>
              <a:grpFill/>
            </p:grpSpPr>
            <p:sp>
              <p:nvSpPr>
                <p:cNvPr id="6270" name="Freeform 7910">
                  <a:extLst>
                    <a:ext uri="{FF2B5EF4-FFF2-40B4-BE49-F238E27FC236}">
                      <a16:creationId xmlns:a16="http://schemas.microsoft.com/office/drawing/2014/main" id="{C12FFA88-2B0C-FCD7-4BAD-A6B77F9DF558}"/>
                    </a:ext>
                  </a:extLst>
                </p:cNvPr>
                <p:cNvSpPr/>
                <p:nvPr/>
              </p:nvSpPr>
              <p:spPr>
                <a:xfrm>
                  <a:off x="5796108" y="1930220"/>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50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50" y="26406"/>
                        <a:pt x="432" y="23292"/>
                        <a:pt x="58" y="16317"/>
                      </a:cubicBezTo>
                      <a:cubicBezTo>
                        <a:pt x="-315" y="9466"/>
                        <a:pt x="1179" y="3737"/>
                        <a:pt x="2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1" name="Freeform 7911">
                  <a:extLst>
                    <a:ext uri="{FF2B5EF4-FFF2-40B4-BE49-F238E27FC236}">
                      <a16:creationId xmlns:a16="http://schemas.microsoft.com/office/drawing/2014/main" id="{C0676EC5-CA00-83BB-169B-A5C09EB997D7}"/>
                    </a:ext>
                  </a:extLst>
                </p:cNvPr>
                <p:cNvSpPr/>
                <p:nvPr/>
              </p:nvSpPr>
              <p:spPr>
                <a:xfrm>
                  <a:off x="5787780" y="1935078"/>
                  <a:ext cx="4288" cy="52189"/>
                </a:xfrm>
                <a:custGeom>
                  <a:avLst/>
                  <a:gdLst>
                    <a:gd name="connsiteX0" fmla="*/ 2283 w 4288"/>
                    <a:gd name="connsiteY0" fmla="*/ 0 h 52189"/>
                    <a:gd name="connsiteX1" fmla="*/ 3903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3" y="18684"/>
                      </a:cubicBezTo>
                      <a:cubicBezTo>
                        <a:pt x="3031" y="25659"/>
                        <a:pt x="789" y="28648"/>
                        <a:pt x="166" y="35748"/>
                      </a:cubicBezTo>
                      <a:cubicBezTo>
                        <a:pt x="-457" y="42599"/>
                        <a:pt x="789"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2" name="Freeform 7912">
                  <a:extLst>
                    <a:ext uri="{FF2B5EF4-FFF2-40B4-BE49-F238E27FC236}">
                      <a16:creationId xmlns:a16="http://schemas.microsoft.com/office/drawing/2014/main" id="{FE479769-536C-B8F5-C2A9-1E64001C819D}"/>
                    </a:ext>
                  </a:extLst>
                </p:cNvPr>
                <p:cNvSpPr/>
                <p:nvPr/>
              </p:nvSpPr>
              <p:spPr>
                <a:xfrm>
                  <a:off x="5779723" y="1976055"/>
                  <a:ext cx="26659" cy="26534"/>
                </a:xfrm>
                <a:custGeom>
                  <a:avLst/>
                  <a:gdLst>
                    <a:gd name="connsiteX0" fmla="*/ 2 w 26659"/>
                    <a:gd name="connsiteY0" fmla="*/ 13081 h 26534"/>
                    <a:gd name="connsiteX1" fmla="*/ 13579 w 26659"/>
                    <a:gd name="connsiteY1" fmla="*/ 2 h 26534"/>
                    <a:gd name="connsiteX2" fmla="*/ 26657 w 26659"/>
                    <a:gd name="connsiteY2" fmla="*/ 13454 h 26534"/>
                    <a:gd name="connsiteX3" fmla="*/ 13081 w 26659"/>
                    <a:gd name="connsiteY3" fmla="*/ 26533 h 26534"/>
                    <a:gd name="connsiteX4" fmla="*/ 2 w 26659"/>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1"/>
                      </a:moveTo>
                      <a:cubicBezTo>
                        <a:pt x="127" y="5732"/>
                        <a:pt x="6230" y="-123"/>
                        <a:pt x="13579" y="2"/>
                      </a:cubicBezTo>
                      <a:cubicBezTo>
                        <a:pt x="20928" y="127"/>
                        <a:pt x="26782" y="6105"/>
                        <a:pt x="26657" y="13454"/>
                      </a:cubicBezTo>
                      <a:cubicBezTo>
                        <a:pt x="26533" y="20803"/>
                        <a:pt x="20430" y="26657"/>
                        <a:pt x="13081" y="26533"/>
                      </a:cubicBezTo>
                      <a:cubicBezTo>
                        <a:pt x="5732" y="26408"/>
                        <a:pt x="-122" y="20429"/>
                        <a:pt x="2"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3" name="Freeform 7913">
                  <a:extLst>
                    <a:ext uri="{FF2B5EF4-FFF2-40B4-BE49-F238E27FC236}">
                      <a16:creationId xmlns:a16="http://schemas.microsoft.com/office/drawing/2014/main" id="{F8AEEBD5-262C-DE76-3478-D5F5E484A738}"/>
                    </a:ext>
                  </a:extLst>
                </p:cNvPr>
                <p:cNvSpPr/>
                <p:nvPr/>
              </p:nvSpPr>
              <p:spPr>
                <a:xfrm>
                  <a:off x="5789160" y="1873920"/>
                  <a:ext cx="3327" cy="52065"/>
                </a:xfrm>
                <a:custGeom>
                  <a:avLst/>
                  <a:gdLst>
                    <a:gd name="connsiteX0" fmla="*/ 2522 w 3327"/>
                    <a:gd name="connsiteY0" fmla="*/ 0 h 52065"/>
                    <a:gd name="connsiteX1" fmla="*/ 156 w 3327"/>
                    <a:gd name="connsiteY1" fmla="*/ 18684 h 52065"/>
                    <a:gd name="connsiteX2" fmla="*/ 3270 w 3327"/>
                    <a:gd name="connsiteY2" fmla="*/ 35748 h 52065"/>
                    <a:gd name="connsiteX3" fmla="*/ 778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0"/>
                      </a:moveTo>
                      <a:cubicBezTo>
                        <a:pt x="-94" y="7972"/>
                        <a:pt x="-218" y="14324"/>
                        <a:pt x="156" y="18684"/>
                      </a:cubicBezTo>
                      <a:cubicBezTo>
                        <a:pt x="778" y="25659"/>
                        <a:pt x="2896" y="28773"/>
                        <a:pt x="3270" y="35748"/>
                      </a:cubicBezTo>
                      <a:cubicBezTo>
                        <a:pt x="3643" y="42599"/>
                        <a:pt x="2149" y="48328"/>
                        <a:pt x="7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4" name="Freeform 7914">
                  <a:extLst>
                    <a:ext uri="{FF2B5EF4-FFF2-40B4-BE49-F238E27FC236}">
                      <a16:creationId xmlns:a16="http://schemas.microsoft.com/office/drawing/2014/main" id="{BC79E52C-6D0F-C37F-7B42-7D7B7E66480F}"/>
                    </a:ext>
                  </a:extLst>
                </p:cNvPr>
                <p:cNvSpPr/>
                <p:nvPr/>
              </p:nvSpPr>
              <p:spPr>
                <a:xfrm>
                  <a:off x="5796528" y="1868937"/>
                  <a:ext cx="4288" cy="52189"/>
                </a:xfrm>
                <a:custGeom>
                  <a:avLst/>
                  <a:gdLst>
                    <a:gd name="connsiteX0" fmla="*/ 2005 w 4288"/>
                    <a:gd name="connsiteY0" fmla="*/ 52190 h 52189"/>
                    <a:gd name="connsiteX1" fmla="*/ 386 w 4288"/>
                    <a:gd name="connsiteY1" fmla="*/ 33506 h 52189"/>
                    <a:gd name="connsiteX2" fmla="*/ 4123 w 4288"/>
                    <a:gd name="connsiteY2" fmla="*/ 16442 h 52189"/>
                    <a:gd name="connsiteX3" fmla="*/ 225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90"/>
                      </a:moveTo>
                      <a:cubicBezTo>
                        <a:pt x="-361" y="44093"/>
                        <a:pt x="-237" y="37741"/>
                        <a:pt x="386" y="33506"/>
                      </a:cubicBezTo>
                      <a:cubicBezTo>
                        <a:pt x="1258" y="26531"/>
                        <a:pt x="3500" y="23541"/>
                        <a:pt x="4123" y="16442"/>
                      </a:cubicBezTo>
                      <a:cubicBezTo>
                        <a:pt x="4745" y="9591"/>
                        <a:pt x="3500"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5" name="Freeform 7915">
                  <a:extLst>
                    <a:ext uri="{FF2B5EF4-FFF2-40B4-BE49-F238E27FC236}">
                      <a16:creationId xmlns:a16="http://schemas.microsoft.com/office/drawing/2014/main" id="{279A351B-7D2B-3F7B-C540-85C192F84DEA}"/>
                    </a:ext>
                  </a:extLst>
                </p:cNvPr>
                <p:cNvSpPr/>
                <p:nvPr/>
              </p:nvSpPr>
              <p:spPr>
                <a:xfrm>
                  <a:off x="5782214" y="1853615"/>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305" y="26657"/>
                        <a:pt x="12956" y="26533"/>
                      </a:cubicBezTo>
                      <a:cubicBezTo>
                        <a:pt x="5607" y="26408"/>
                        <a:pt x="-123" y="20429"/>
                        <a:pt x="2" y="13080"/>
                      </a:cubicBezTo>
                      <a:cubicBezTo>
                        <a:pt x="127" y="5732"/>
                        <a:pt x="6230" y="-123"/>
                        <a:pt x="13454"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8" name="Graphic 2987">
                <a:extLst>
                  <a:ext uri="{FF2B5EF4-FFF2-40B4-BE49-F238E27FC236}">
                    <a16:creationId xmlns:a16="http://schemas.microsoft.com/office/drawing/2014/main" id="{ADE56E20-130D-25BD-9970-96ABD1384F90}"/>
                  </a:ext>
                </a:extLst>
              </p:cNvPr>
              <p:cNvGrpSpPr/>
              <p:nvPr/>
            </p:nvGrpSpPr>
            <p:grpSpPr>
              <a:xfrm>
                <a:off x="5749954" y="1853241"/>
                <a:ext cx="29150" cy="148974"/>
                <a:chOff x="5749954" y="1853241"/>
                <a:chExt cx="29150" cy="148974"/>
              </a:xfrm>
              <a:grpFill/>
            </p:grpSpPr>
            <p:sp>
              <p:nvSpPr>
                <p:cNvPr id="6264" name="Freeform 7917">
                  <a:extLst>
                    <a:ext uri="{FF2B5EF4-FFF2-40B4-BE49-F238E27FC236}">
                      <a16:creationId xmlns:a16="http://schemas.microsoft.com/office/drawing/2014/main" id="{2D1B977E-148A-FF27-FE5B-398B59B9BBB3}"/>
                    </a:ext>
                  </a:extLst>
                </p:cNvPr>
                <p:cNvSpPr/>
                <p:nvPr/>
              </p:nvSpPr>
              <p:spPr>
                <a:xfrm>
                  <a:off x="5766339" y="1929846"/>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49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49" y="26406"/>
                        <a:pt x="432" y="23292"/>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5" name="Freeform 7918">
                  <a:extLst>
                    <a:ext uri="{FF2B5EF4-FFF2-40B4-BE49-F238E27FC236}">
                      <a16:creationId xmlns:a16="http://schemas.microsoft.com/office/drawing/2014/main" id="{0E6EC359-2E3A-D984-4CD3-E4D383DB5974}"/>
                    </a:ext>
                  </a:extLst>
                </p:cNvPr>
                <p:cNvSpPr/>
                <p:nvPr/>
              </p:nvSpPr>
              <p:spPr>
                <a:xfrm>
                  <a:off x="5758011" y="1934704"/>
                  <a:ext cx="4233" cy="52189"/>
                </a:xfrm>
                <a:custGeom>
                  <a:avLst/>
                  <a:gdLst>
                    <a:gd name="connsiteX0" fmla="*/ 2283 w 4233"/>
                    <a:gd name="connsiteY0" fmla="*/ 0 h 52189"/>
                    <a:gd name="connsiteX1" fmla="*/ 3902 w 4233"/>
                    <a:gd name="connsiteY1" fmla="*/ 18684 h 52189"/>
                    <a:gd name="connsiteX2" fmla="*/ 166 w 4233"/>
                    <a:gd name="connsiteY2" fmla="*/ 35748 h 52189"/>
                    <a:gd name="connsiteX3" fmla="*/ 2034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2283" y="0"/>
                      </a:moveTo>
                      <a:cubicBezTo>
                        <a:pt x="4650" y="8096"/>
                        <a:pt x="4401"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6" name="Freeform 7919">
                  <a:extLst>
                    <a:ext uri="{FF2B5EF4-FFF2-40B4-BE49-F238E27FC236}">
                      <a16:creationId xmlns:a16="http://schemas.microsoft.com/office/drawing/2014/main" id="{4D0872BE-D3D4-779B-D5D5-CFF3E53C4FBD}"/>
                    </a:ext>
                  </a:extLst>
                </p:cNvPr>
                <p:cNvSpPr/>
                <p:nvPr/>
              </p:nvSpPr>
              <p:spPr>
                <a:xfrm>
                  <a:off x="5749954" y="1975681"/>
                  <a:ext cx="26659" cy="26534"/>
                </a:xfrm>
                <a:custGeom>
                  <a:avLst/>
                  <a:gdLst>
                    <a:gd name="connsiteX0" fmla="*/ 2 w 26659"/>
                    <a:gd name="connsiteY0" fmla="*/ 13080 h 26534"/>
                    <a:gd name="connsiteX1" fmla="*/ 13579 w 26659"/>
                    <a:gd name="connsiteY1" fmla="*/ 2 h 26534"/>
                    <a:gd name="connsiteX2" fmla="*/ 26657 w 26659"/>
                    <a:gd name="connsiteY2" fmla="*/ 13454 h 26534"/>
                    <a:gd name="connsiteX3" fmla="*/ 13080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127" y="5732"/>
                        <a:pt x="6230" y="-123"/>
                        <a:pt x="13579" y="2"/>
                      </a:cubicBezTo>
                      <a:cubicBezTo>
                        <a:pt x="20928" y="126"/>
                        <a:pt x="26782" y="6105"/>
                        <a:pt x="26657" y="13454"/>
                      </a:cubicBezTo>
                      <a:cubicBezTo>
                        <a:pt x="26533" y="20803"/>
                        <a:pt x="20429" y="26657"/>
                        <a:pt x="13080" y="26533"/>
                      </a:cubicBezTo>
                      <a:cubicBezTo>
                        <a:pt x="5732"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7" name="Freeform 7920">
                  <a:extLst>
                    <a:ext uri="{FF2B5EF4-FFF2-40B4-BE49-F238E27FC236}">
                      <a16:creationId xmlns:a16="http://schemas.microsoft.com/office/drawing/2014/main" id="{0F8D5CFA-248F-4A9B-96D7-86E1C80068A8}"/>
                    </a:ext>
                  </a:extLst>
                </p:cNvPr>
                <p:cNvSpPr/>
                <p:nvPr/>
              </p:nvSpPr>
              <p:spPr>
                <a:xfrm>
                  <a:off x="5759640" y="1873546"/>
                  <a:ext cx="3203" cy="52065"/>
                </a:xfrm>
                <a:custGeom>
                  <a:avLst/>
                  <a:gdLst>
                    <a:gd name="connsiteX0" fmla="*/ 2522 w 3203"/>
                    <a:gd name="connsiteY0" fmla="*/ 0 h 52065"/>
                    <a:gd name="connsiteX1" fmla="*/ 156 w 3203"/>
                    <a:gd name="connsiteY1" fmla="*/ 18684 h 52065"/>
                    <a:gd name="connsiteX2" fmla="*/ 3145 w 3203"/>
                    <a:gd name="connsiteY2" fmla="*/ 35748 h 52065"/>
                    <a:gd name="connsiteX3" fmla="*/ 654 w 32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02" h="52065">
                      <a:moveTo>
                        <a:pt x="2522" y="0"/>
                      </a:moveTo>
                      <a:cubicBezTo>
                        <a:pt x="-94" y="7972"/>
                        <a:pt x="-218" y="14324"/>
                        <a:pt x="156" y="18684"/>
                      </a:cubicBezTo>
                      <a:cubicBezTo>
                        <a:pt x="778" y="25659"/>
                        <a:pt x="2896" y="28773"/>
                        <a:pt x="3145" y="35748"/>
                      </a:cubicBezTo>
                      <a:cubicBezTo>
                        <a:pt x="3519" y="42599"/>
                        <a:pt x="2024" y="48328"/>
                        <a:pt x="6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8" name="Freeform 7921">
                  <a:extLst>
                    <a:ext uri="{FF2B5EF4-FFF2-40B4-BE49-F238E27FC236}">
                      <a16:creationId xmlns:a16="http://schemas.microsoft.com/office/drawing/2014/main" id="{01C24B6D-599F-064A-87D5-C58F8497654E}"/>
                    </a:ext>
                  </a:extLst>
                </p:cNvPr>
                <p:cNvSpPr/>
                <p:nvPr/>
              </p:nvSpPr>
              <p:spPr>
                <a:xfrm>
                  <a:off x="5766938" y="1868564"/>
                  <a:ext cx="4233" cy="52189"/>
                </a:xfrm>
                <a:custGeom>
                  <a:avLst/>
                  <a:gdLst>
                    <a:gd name="connsiteX0" fmla="*/ 1950 w 4233"/>
                    <a:gd name="connsiteY0" fmla="*/ 52190 h 52189"/>
                    <a:gd name="connsiteX1" fmla="*/ 331 w 4233"/>
                    <a:gd name="connsiteY1" fmla="*/ 33506 h 52189"/>
                    <a:gd name="connsiteX2" fmla="*/ 4068 w 4233"/>
                    <a:gd name="connsiteY2" fmla="*/ 16442 h 52189"/>
                    <a:gd name="connsiteX3" fmla="*/ 2199 w 4233"/>
                    <a:gd name="connsiteY3" fmla="*/ 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52190"/>
                      </a:moveTo>
                      <a:cubicBezTo>
                        <a:pt x="-417" y="44093"/>
                        <a:pt x="-167" y="37741"/>
                        <a:pt x="331" y="33506"/>
                      </a:cubicBezTo>
                      <a:cubicBezTo>
                        <a:pt x="1203" y="26531"/>
                        <a:pt x="3445" y="23541"/>
                        <a:pt x="4068" y="16442"/>
                      </a:cubicBezTo>
                      <a:cubicBezTo>
                        <a:pt x="4690" y="9591"/>
                        <a:pt x="3445" y="3861"/>
                        <a:pt x="2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9" name="Freeform 7922">
                  <a:extLst>
                    <a:ext uri="{FF2B5EF4-FFF2-40B4-BE49-F238E27FC236}">
                      <a16:creationId xmlns:a16="http://schemas.microsoft.com/office/drawing/2014/main" id="{0FFDC505-EEA1-3633-7DD6-E6CDECA151E3}"/>
                    </a:ext>
                  </a:extLst>
                </p:cNvPr>
                <p:cNvSpPr/>
                <p:nvPr/>
              </p:nvSpPr>
              <p:spPr>
                <a:xfrm>
                  <a:off x="5752694" y="1853241"/>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180" y="26657"/>
                        <a:pt x="12956" y="26533"/>
                      </a:cubicBezTo>
                      <a:cubicBezTo>
                        <a:pt x="5607" y="26408"/>
                        <a:pt x="-123" y="20429"/>
                        <a:pt x="2" y="13080"/>
                      </a:cubicBezTo>
                      <a:cubicBezTo>
                        <a:pt x="126" y="5732"/>
                        <a:pt x="6230" y="-123"/>
                        <a:pt x="13454" y="2"/>
                      </a:cubicBezTo>
                      <a:cubicBezTo>
                        <a:pt x="20803"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9" name="Graphic 2987">
                <a:extLst>
                  <a:ext uri="{FF2B5EF4-FFF2-40B4-BE49-F238E27FC236}">
                    <a16:creationId xmlns:a16="http://schemas.microsoft.com/office/drawing/2014/main" id="{703F4393-A35E-665E-059E-AA633EEF74D2}"/>
                  </a:ext>
                </a:extLst>
              </p:cNvPr>
              <p:cNvGrpSpPr/>
              <p:nvPr/>
            </p:nvGrpSpPr>
            <p:grpSpPr>
              <a:xfrm>
                <a:off x="5720178" y="1852862"/>
                <a:ext cx="29405" cy="148980"/>
                <a:chOff x="5720178" y="1852862"/>
                <a:chExt cx="29405" cy="148980"/>
              </a:xfrm>
              <a:grpFill/>
            </p:grpSpPr>
            <p:sp>
              <p:nvSpPr>
                <p:cNvPr id="6258" name="Freeform 7924">
                  <a:extLst>
                    <a:ext uri="{FF2B5EF4-FFF2-40B4-BE49-F238E27FC236}">
                      <a16:creationId xmlns:a16="http://schemas.microsoft.com/office/drawing/2014/main" id="{EBF6B5E9-C227-1539-2BFB-6FB12FE7CA40}"/>
                    </a:ext>
                  </a:extLst>
                </p:cNvPr>
                <p:cNvSpPr/>
                <p:nvPr/>
              </p:nvSpPr>
              <p:spPr>
                <a:xfrm>
                  <a:off x="5736573" y="1929472"/>
                  <a:ext cx="3272" cy="52065"/>
                </a:xfrm>
                <a:custGeom>
                  <a:avLst/>
                  <a:gdLst>
                    <a:gd name="connsiteX0" fmla="*/ 677 w 3272"/>
                    <a:gd name="connsiteY0" fmla="*/ 52065 h 52065"/>
                    <a:gd name="connsiteX1" fmla="*/ 3044 w 3272"/>
                    <a:gd name="connsiteY1" fmla="*/ 33381 h 52065"/>
                    <a:gd name="connsiteX2" fmla="*/ 55 w 3272"/>
                    <a:gd name="connsiteY2" fmla="*/ 16317 h 52065"/>
                    <a:gd name="connsiteX3" fmla="*/ 2546 w 3272"/>
                    <a:gd name="connsiteY3" fmla="*/ 0 h 52065"/>
                  </a:gdLst>
                  <a:ahLst/>
                  <a:cxnLst>
                    <a:cxn ang="0">
                      <a:pos x="connsiteX0" y="connsiteY0"/>
                    </a:cxn>
                    <a:cxn ang="0">
                      <a:pos x="connsiteX1" y="connsiteY1"/>
                    </a:cxn>
                    <a:cxn ang="0">
                      <a:pos x="connsiteX2" y="connsiteY2"/>
                    </a:cxn>
                    <a:cxn ang="0">
                      <a:pos x="connsiteX3" y="connsiteY3"/>
                    </a:cxn>
                  </a:cxnLst>
                  <a:rect l="l" t="t" r="r" b="b"/>
                  <a:pathLst>
                    <a:path w="3272" h="52065">
                      <a:moveTo>
                        <a:pt x="677" y="52065"/>
                      </a:moveTo>
                      <a:cubicBezTo>
                        <a:pt x="3418" y="44093"/>
                        <a:pt x="3542" y="37741"/>
                        <a:pt x="3044" y="33381"/>
                      </a:cubicBezTo>
                      <a:cubicBezTo>
                        <a:pt x="2421" y="26406"/>
                        <a:pt x="304" y="23292"/>
                        <a:pt x="55" y="16317"/>
                      </a:cubicBezTo>
                      <a:cubicBezTo>
                        <a:pt x="-319" y="9466"/>
                        <a:pt x="1300" y="3737"/>
                        <a:pt x="25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9" name="Freeform 7925">
                  <a:extLst>
                    <a:ext uri="{FF2B5EF4-FFF2-40B4-BE49-F238E27FC236}">
                      <a16:creationId xmlns:a16="http://schemas.microsoft.com/office/drawing/2014/main" id="{8C0F73EE-FD46-2C21-B44E-ED7519DFCF61}"/>
                    </a:ext>
                  </a:extLst>
                </p:cNvPr>
                <p:cNvSpPr/>
                <p:nvPr/>
              </p:nvSpPr>
              <p:spPr>
                <a:xfrm>
                  <a:off x="5728116" y="1934206"/>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914"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0" name="Freeform 7926">
                  <a:extLst>
                    <a:ext uri="{FF2B5EF4-FFF2-40B4-BE49-F238E27FC236}">
                      <a16:creationId xmlns:a16="http://schemas.microsoft.com/office/drawing/2014/main" id="{0C68C04A-2A3C-4910-177D-18DCE2C25EFF}"/>
                    </a:ext>
                  </a:extLst>
                </p:cNvPr>
                <p:cNvSpPr/>
                <p:nvPr/>
              </p:nvSpPr>
              <p:spPr>
                <a:xfrm>
                  <a:off x="5720178" y="1975302"/>
                  <a:ext cx="26789" cy="26540"/>
                </a:xfrm>
                <a:custGeom>
                  <a:avLst/>
                  <a:gdLst>
                    <a:gd name="connsiteX0" fmla="*/ 8 w 26789"/>
                    <a:gd name="connsiteY0" fmla="*/ 12837 h 26540"/>
                    <a:gd name="connsiteX1" fmla="*/ 13709 w 26789"/>
                    <a:gd name="connsiteY1" fmla="*/ 8 h 26540"/>
                    <a:gd name="connsiteX2" fmla="*/ 26788 w 26789"/>
                    <a:gd name="connsiteY2" fmla="*/ 13460 h 26540"/>
                    <a:gd name="connsiteX3" fmla="*/ 13086 w 26789"/>
                    <a:gd name="connsiteY3" fmla="*/ 26539 h 26540"/>
                    <a:gd name="connsiteX4" fmla="*/ 8 w 26789"/>
                    <a:gd name="connsiteY4" fmla="*/ 12837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26540">
                      <a:moveTo>
                        <a:pt x="8" y="12837"/>
                      </a:moveTo>
                      <a:cubicBezTo>
                        <a:pt x="132" y="5488"/>
                        <a:pt x="6360" y="-241"/>
                        <a:pt x="13709" y="8"/>
                      </a:cubicBezTo>
                      <a:cubicBezTo>
                        <a:pt x="21058" y="132"/>
                        <a:pt x="26912" y="6111"/>
                        <a:pt x="26788" y="13460"/>
                      </a:cubicBezTo>
                      <a:cubicBezTo>
                        <a:pt x="26663" y="20809"/>
                        <a:pt x="20560" y="26663"/>
                        <a:pt x="13086" y="26539"/>
                      </a:cubicBezTo>
                      <a:cubicBezTo>
                        <a:pt x="5613" y="26290"/>
                        <a:pt x="-241" y="20062"/>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1" name="Freeform 7927">
                  <a:extLst>
                    <a:ext uri="{FF2B5EF4-FFF2-40B4-BE49-F238E27FC236}">
                      <a16:creationId xmlns:a16="http://schemas.microsoft.com/office/drawing/2014/main" id="{BA91A2DD-DFE4-7F5F-ADEF-A3E4D6927B1A}"/>
                    </a:ext>
                  </a:extLst>
                </p:cNvPr>
                <p:cNvSpPr/>
                <p:nvPr/>
              </p:nvSpPr>
              <p:spPr>
                <a:xfrm>
                  <a:off x="5730120" y="1873172"/>
                  <a:ext cx="3199" cy="52189"/>
                </a:xfrm>
                <a:custGeom>
                  <a:avLst/>
                  <a:gdLst>
                    <a:gd name="connsiteX0" fmla="*/ 2522 w 3199"/>
                    <a:gd name="connsiteY0" fmla="*/ 0 h 52189"/>
                    <a:gd name="connsiteX1" fmla="*/ 156 w 3199"/>
                    <a:gd name="connsiteY1" fmla="*/ 18684 h 52189"/>
                    <a:gd name="connsiteX2" fmla="*/ 3145 w 3199"/>
                    <a:gd name="connsiteY2" fmla="*/ 35873 h 52189"/>
                    <a:gd name="connsiteX3" fmla="*/ 654 w 319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9" h="52189">
                      <a:moveTo>
                        <a:pt x="2522" y="0"/>
                      </a:moveTo>
                      <a:cubicBezTo>
                        <a:pt x="-93" y="7972"/>
                        <a:pt x="-218" y="14324"/>
                        <a:pt x="156" y="18684"/>
                      </a:cubicBezTo>
                      <a:cubicBezTo>
                        <a:pt x="779" y="25659"/>
                        <a:pt x="2772" y="28773"/>
                        <a:pt x="3145" y="35873"/>
                      </a:cubicBezTo>
                      <a:cubicBezTo>
                        <a:pt x="3519" y="42723"/>
                        <a:pt x="1900" y="48453"/>
                        <a:pt x="6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2" name="Freeform 7928">
                  <a:extLst>
                    <a:ext uri="{FF2B5EF4-FFF2-40B4-BE49-F238E27FC236}">
                      <a16:creationId xmlns:a16="http://schemas.microsoft.com/office/drawing/2014/main" id="{CC945C22-795A-4BE1-BDC5-6DF05B4F687A}"/>
                    </a:ext>
                  </a:extLst>
                </p:cNvPr>
                <p:cNvSpPr/>
                <p:nvPr/>
              </p:nvSpPr>
              <p:spPr>
                <a:xfrm>
                  <a:off x="5737357" y="1868190"/>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506" y="23541"/>
                        <a:pt x="4253" y="16442"/>
                      </a:cubicBezTo>
                      <a:cubicBezTo>
                        <a:pt x="4876" y="9591"/>
                        <a:pt x="3631" y="3861"/>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3" name="Freeform 7929">
                  <a:extLst>
                    <a:ext uri="{FF2B5EF4-FFF2-40B4-BE49-F238E27FC236}">
                      <a16:creationId xmlns:a16="http://schemas.microsoft.com/office/drawing/2014/main" id="{5805369E-E49E-3188-5312-7451E4282630}"/>
                    </a:ext>
                  </a:extLst>
                </p:cNvPr>
                <p:cNvSpPr/>
                <p:nvPr/>
              </p:nvSpPr>
              <p:spPr>
                <a:xfrm>
                  <a:off x="5723168" y="1852862"/>
                  <a:ext cx="26415" cy="26540"/>
                </a:xfrm>
                <a:custGeom>
                  <a:avLst/>
                  <a:gdLst>
                    <a:gd name="connsiteX0" fmla="*/ 26414 w 26415"/>
                    <a:gd name="connsiteY0" fmla="*/ 13460 h 26540"/>
                    <a:gd name="connsiteX1" fmla="*/ 12837 w 26415"/>
                    <a:gd name="connsiteY1" fmla="*/ 26539 h 26540"/>
                    <a:gd name="connsiteX2" fmla="*/ 8 w 26415"/>
                    <a:gd name="connsiteY2" fmla="*/ 12837 h 26540"/>
                    <a:gd name="connsiteX3" fmla="*/ 13460 w 26415"/>
                    <a:gd name="connsiteY3" fmla="*/ 8 h 26540"/>
                    <a:gd name="connsiteX4" fmla="*/ 26414 w 2641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0">
                      <a:moveTo>
                        <a:pt x="26414" y="13460"/>
                      </a:moveTo>
                      <a:cubicBezTo>
                        <a:pt x="26289" y="20809"/>
                        <a:pt x="20186" y="26663"/>
                        <a:pt x="12837" y="26539"/>
                      </a:cubicBezTo>
                      <a:cubicBezTo>
                        <a:pt x="5488" y="26290"/>
                        <a:pt x="-242" y="20186"/>
                        <a:pt x="8" y="12837"/>
                      </a:cubicBezTo>
                      <a:cubicBezTo>
                        <a:pt x="132" y="5488"/>
                        <a:pt x="6236" y="-241"/>
                        <a:pt x="13460" y="8"/>
                      </a:cubicBezTo>
                      <a:cubicBezTo>
                        <a:pt x="20809" y="132"/>
                        <a:pt x="26538" y="6236"/>
                        <a:pt x="26414"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0" name="Graphic 2987">
                <a:extLst>
                  <a:ext uri="{FF2B5EF4-FFF2-40B4-BE49-F238E27FC236}">
                    <a16:creationId xmlns:a16="http://schemas.microsoft.com/office/drawing/2014/main" id="{E3E6808F-1C4E-FF32-7445-25FF1933C6C3}"/>
                  </a:ext>
                </a:extLst>
              </p:cNvPr>
              <p:cNvGrpSpPr/>
              <p:nvPr/>
            </p:nvGrpSpPr>
            <p:grpSpPr>
              <a:xfrm>
                <a:off x="5690409" y="1851865"/>
                <a:ext cx="29660" cy="148862"/>
                <a:chOff x="5690409" y="1851865"/>
                <a:chExt cx="29660" cy="148862"/>
              </a:xfrm>
              <a:grpFill/>
            </p:grpSpPr>
            <p:sp>
              <p:nvSpPr>
                <p:cNvPr id="6252" name="Freeform 7931">
                  <a:extLst>
                    <a:ext uri="{FF2B5EF4-FFF2-40B4-BE49-F238E27FC236}">
                      <a16:creationId xmlns:a16="http://schemas.microsoft.com/office/drawing/2014/main" id="{512BD05B-C84B-B4D5-F93D-53B7169A0312}"/>
                    </a:ext>
                  </a:extLst>
                </p:cNvPr>
                <p:cNvSpPr/>
                <p:nvPr/>
              </p:nvSpPr>
              <p:spPr>
                <a:xfrm>
                  <a:off x="5706929" y="1928351"/>
                  <a:ext cx="3197" cy="52189"/>
                </a:xfrm>
                <a:custGeom>
                  <a:avLst/>
                  <a:gdLst>
                    <a:gd name="connsiteX0" fmla="*/ 553 w 3197"/>
                    <a:gd name="connsiteY0" fmla="*/ 52190 h 52189"/>
                    <a:gd name="connsiteX1" fmla="*/ 3044 w 3197"/>
                    <a:gd name="connsiteY1" fmla="*/ 33506 h 52189"/>
                    <a:gd name="connsiteX2" fmla="*/ 55 w 3197"/>
                    <a:gd name="connsiteY2" fmla="*/ 16317 h 52189"/>
                    <a:gd name="connsiteX3" fmla="*/ 2671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52190"/>
                      </a:moveTo>
                      <a:cubicBezTo>
                        <a:pt x="3293" y="44218"/>
                        <a:pt x="3418" y="37866"/>
                        <a:pt x="3044" y="33506"/>
                      </a:cubicBezTo>
                      <a:cubicBezTo>
                        <a:pt x="2421" y="26531"/>
                        <a:pt x="428" y="23417"/>
                        <a:pt x="55" y="16317"/>
                      </a:cubicBezTo>
                      <a:cubicBezTo>
                        <a:pt x="-319" y="9466"/>
                        <a:pt x="1300" y="3737"/>
                        <a:pt x="26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3" name="Freeform 7932">
                  <a:extLst>
                    <a:ext uri="{FF2B5EF4-FFF2-40B4-BE49-F238E27FC236}">
                      <a16:creationId xmlns:a16="http://schemas.microsoft.com/office/drawing/2014/main" id="{BD72DFBB-238E-EE78-865F-B334E31948A0}"/>
                    </a:ext>
                  </a:extLst>
                </p:cNvPr>
                <p:cNvSpPr/>
                <p:nvPr/>
              </p:nvSpPr>
              <p:spPr>
                <a:xfrm>
                  <a:off x="5698471" y="1933209"/>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789"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4" name="Freeform 7933">
                  <a:extLst>
                    <a:ext uri="{FF2B5EF4-FFF2-40B4-BE49-F238E27FC236}">
                      <a16:creationId xmlns:a16="http://schemas.microsoft.com/office/drawing/2014/main" id="{E51E7EFD-ABAC-D6DE-6C33-C225367B6914}"/>
                    </a:ext>
                  </a:extLst>
                </p:cNvPr>
                <p:cNvSpPr/>
                <p:nvPr/>
              </p:nvSpPr>
              <p:spPr>
                <a:xfrm>
                  <a:off x="5690409" y="1974181"/>
                  <a:ext cx="26670" cy="26546"/>
                </a:xfrm>
                <a:custGeom>
                  <a:avLst/>
                  <a:gdLst>
                    <a:gd name="connsiteX0" fmla="*/ 8 w 26670"/>
                    <a:gd name="connsiteY0" fmla="*/ 12837 h 26546"/>
                    <a:gd name="connsiteX1" fmla="*/ 13709 w 26670"/>
                    <a:gd name="connsiteY1" fmla="*/ 8 h 26546"/>
                    <a:gd name="connsiteX2" fmla="*/ 26663 w 26670"/>
                    <a:gd name="connsiteY2" fmla="*/ 13709 h 26546"/>
                    <a:gd name="connsiteX3" fmla="*/ 12962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360" y="-241"/>
                        <a:pt x="13709" y="8"/>
                      </a:cubicBezTo>
                      <a:cubicBezTo>
                        <a:pt x="21058" y="257"/>
                        <a:pt x="26912" y="6360"/>
                        <a:pt x="26663" y="13709"/>
                      </a:cubicBezTo>
                      <a:cubicBezTo>
                        <a:pt x="26539" y="21058"/>
                        <a:pt x="20311" y="26788"/>
                        <a:pt x="12962" y="26539"/>
                      </a:cubicBezTo>
                      <a:cubicBezTo>
                        <a:pt x="5613"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5" name="Freeform 7934">
                  <a:extLst>
                    <a:ext uri="{FF2B5EF4-FFF2-40B4-BE49-F238E27FC236}">
                      <a16:creationId xmlns:a16="http://schemas.microsoft.com/office/drawing/2014/main" id="{13CC8EAB-381D-56BC-2CA0-CF1B46095D3A}"/>
                    </a:ext>
                  </a:extLst>
                </p:cNvPr>
                <p:cNvSpPr/>
                <p:nvPr/>
              </p:nvSpPr>
              <p:spPr>
                <a:xfrm>
                  <a:off x="5700477" y="1872051"/>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6" y="7972"/>
                        <a:pt x="-220" y="14324"/>
                        <a:pt x="154" y="18684"/>
                      </a:cubicBezTo>
                      <a:cubicBezTo>
                        <a:pt x="776" y="25659"/>
                        <a:pt x="2769" y="28773"/>
                        <a:pt x="3143" y="35873"/>
                      </a:cubicBezTo>
                      <a:cubicBezTo>
                        <a:pt x="3392" y="42723"/>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6" name="Freeform 7935">
                  <a:extLst>
                    <a:ext uri="{FF2B5EF4-FFF2-40B4-BE49-F238E27FC236}">
                      <a16:creationId xmlns:a16="http://schemas.microsoft.com/office/drawing/2014/main" id="{491E8F0A-0360-3C4E-2D61-1D50317CD791}"/>
                    </a:ext>
                  </a:extLst>
                </p:cNvPr>
                <p:cNvSpPr/>
                <p:nvPr/>
              </p:nvSpPr>
              <p:spPr>
                <a:xfrm>
                  <a:off x="5707712" y="1867318"/>
                  <a:ext cx="4419" cy="52189"/>
                </a:xfrm>
                <a:custGeom>
                  <a:avLst/>
                  <a:gdLst>
                    <a:gd name="connsiteX0" fmla="*/ 1887 w 4419"/>
                    <a:gd name="connsiteY0" fmla="*/ 52190 h 52189"/>
                    <a:gd name="connsiteX1" fmla="*/ 392 w 4419"/>
                    <a:gd name="connsiteY1" fmla="*/ 33381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381"/>
                      </a:cubicBezTo>
                      <a:cubicBezTo>
                        <a:pt x="1389" y="26406"/>
                        <a:pt x="3506" y="23541"/>
                        <a:pt x="4253" y="16442"/>
                      </a:cubicBezTo>
                      <a:cubicBezTo>
                        <a:pt x="4876" y="9591"/>
                        <a:pt x="3631" y="3737"/>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7" name="Freeform 7936">
                  <a:extLst>
                    <a:ext uri="{FF2B5EF4-FFF2-40B4-BE49-F238E27FC236}">
                      <a16:creationId xmlns:a16="http://schemas.microsoft.com/office/drawing/2014/main" id="{E85D4C7E-AD8F-9FA5-2E88-46589AECECEC}"/>
                    </a:ext>
                  </a:extLst>
                </p:cNvPr>
                <p:cNvSpPr/>
                <p:nvPr/>
              </p:nvSpPr>
              <p:spPr>
                <a:xfrm>
                  <a:off x="5693647" y="1851865"/>
                  <a:ext cx="26422" cy="26546"/>
                </a:xfrm>
                <a:custGeom>
                  <a:avLst/>
                  <a:gdLst>
                    <a:gd name="connsiteX0" fmla="*/ 26414 w 26422"/>
                    <a:gd name="connsiteY0" fmla="*/ 13709 h 26546"/>
                    <a:gd name="connsiteX1" fmla="*/ 12838 w 26422"/>
                    <a:gd name="connsiteY1" fmla="*/ 26539 h 26546"/>
                    <a:gd name="connsiteX2" fmla="*/ 8 w 26422"/>
                    <a:gd name="connsiteY2" fmla="*/ 12837 h 26546"/>
                    <a:gd name="connsiteX3" fmla="*/ 13585 w 26422"/>
                    <a:gd name="connsiteY3" fmla="*/ 8 h 26546"/>
                    <a:gd name="connsiteX4" fmla="*/ 26414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3709"/>
                      </a:moveTo>
                      <a:cubicBezTo>
                        <a:pt x="26290" y="21058"/>
                        <a:pt x="20186" y="26788"/>
                        <a:pt x="12838" y="26539"/>
                      </a:cubicBezTo>
                      <a:cubicBezTo>
                        <a:pt x="5488" y="26290"/>
                        <a:pt x="-241" y="20186"/>
                        <a:pt x="8" y="12837"/>
                      </a:cubicBezTo>
                      <a:cubicBezTo>
                        <a:pt x="257" y="5488"/>
                        <a:pt x="6236" y="-241"/>
                        <a:pt x="13585" y="8"/>
                      </a:cubicBezTo>
                      <a:cubicBezTo>
                        <a:pt x="20809" y="257"/>
                        <a:pt x="26663" y="6485"/>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1" name="Graphic 2987">
                <a:extLst>
                  <a:ext uri="{FF2B5EF4-FFF2-40B4-BE49-F238E27FC236}">
                    <a16:creationId xmlns:a16="http://schemas.microsoft.com/office/drawing/2014/main" id="{6077EA0D-8795-3648-3ADA-78C53B3A1653}"/>
                  </a:ext>
                </a:extLst>
              </p:cNvPr>
              <p:cNvGrpSpPr/>
              <p:nvPr/>
            </p:nvGrpSpPr>
            <p:grpSpPr>
              <a:xfrm>
                <a:off x="5660521" y="1850869"/>
                <a:ext cx="30027" cy="148862"/>
                <a:chOff x="5660521" y="1850869"/>
                <a:chExt cx="30027" cy="148862"/>
              </a:xfrm>
              <a:grpFill/>
            </p:grpSpPr>
            <p:sp>
              <p:nvSpPr>
                <p:cNvPr id="6246" name="Freeform 7938">
                  <a:extLst>
                    <a:ext uri="{FF2B5EF4-FFF2-40B4-BE49-F238E27FC236}">
                      <a16:creationId xmlns:a16="http://schemas.microsoft.com/office/drawing/2014/main" id="{9AE28324-1FA0-4D0A-EAB4-1384CBCE242B}"/>
                    </a:ext>
                  </a:extLst>
                </p:cNvPr>
                <p:cNvSpPr/>
                <p:nvPr/>
              </p:nvSpPr>
              <p:spPr>
                <a:xfrm>
                  <a:off x="5677187" y="192735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6" y="44218"/>
                        <a:pt x="3390" y="37866"/>
                        <a:pt x="3017" y="33506"/>
                      </a:cubicBezTo>
                      <a:cubicBezTo>
                        <a:pt x="2394" y="26531"/>
                        <a:pt x="401"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7" name="Freeform 7939">
                  <a:extLst>
                    <a:ext uri="{FF2B5EF4-FFF2-40B4-BE49-F238E27FC236}">
                      <a16:creationId xmlns:a16="http://schemas.microsoft.com/office/drawing/2014/main" id="{9C7DA2B2-8D7D-A9F4-5168-254B6D1D287F}"/>
                    </a:ext>
                  </a:extLst>
                </p:cNvPr>
                <p:cNvSpPr/>
                <p:nvPr/>
              </p:nvSpPr>
              <p:spPr>
                <a:xfrm>
                  <a:off x="5668768" y="1932088"/>
                  <a:ext cx="4424" cy="52189"/>
                </a:xfrm>
                <a:custGeom>
                  <a:avLst/>
                  <a:gdLst>
                    <a:gd name="connsiteX0" fmla="*/ 2592 w 4424"/>
                    <a:gd name="connsiteY0" fmla="*/ 0 h 52189"/>
                    <a:gd name="connsiteX1" fmla="*/ 4087 w 4424"/>
                    <a:gd name="connsiteY1" fmla="*/ 18808 h 52189"/>
                    <a:gd name="connsiteX2" fmla="*/ 226 w 4424"/>
                    <a:gd name="connsiteY2" fmla="*/ 35748 h 52189"/>
                    <a:gd name="connsiteX3" fmla="*/ 1969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2592" y="0"/>
                      </a:moveTo>
                      <a:cubicBezTo>
                        <a:pt x="4834" y="8096"/>
                        <a:pt x="4585" y="14449"/>
                        <a:pt x="4087" y="18808"/>
                      </a:cubicBezTo>
                      <a:cubicBezTo>
                        <a:pt x="3090" y="25783"/>
                        <a:pt x="848" y="28648"/>
                        <a:pt x="226" y="35748"/>
                      </a:cubicBezTo>
                      <a:cubicBezTo>
                        <a:pt x="-522" y="42599"/>
                        <a:pt x="724" y="48453"/>
                        <a:pt x="196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8" name="Freeform 7940">
                  <a:extLst>
                    <a:ext uri="{FF2B5EF4-FFF2-40B4-BE49-F238E27FC236}">
                      <a16:creationId xmlns:a16="http://schemas.microsoft.com/office/drawing/2014/main" id="{E649ABC1-1D02-A334-2690-983D142CE920}"/>
                    </a:ext>
                  </a:extLst>
                </p:cNvPr>
                <p:cNvSpPr/>
                <p:nvPr/>
              </p:nvSpPr>
              <p:spPr>
                <a:xfrm>
                  <a:off x="5660521" y="1973184"/>
                  <a:ext cx="26664" cy="26546"/>
                </a:xfrm>
                <a:custGeom>
                  <a:avLst/>
                  <a:gdLst>
                    <a:gd name="connsiteX0" fmla="*/ 2 w 26664"/>
                    <a:gd name="connsiteY0" fmla="*/ 12837 h 26546"/>
                    <a:gd name="connsiteX1" fmla="*/ 13703 w 26664"/>
                    <a:gd name="connsiteY1" fmla="*/ 8 h 26546"/>
                    <a:gd name="connsiteX2" fmla="*/ 26657 w 26664"/>
                    <a:gd name="connsiteY2" fmla="*/ 13709 h 26546"/>
                    <a:gd name="connsiteX3" fmla="*/ 12956 w 26664"/>
                    <a:gd name="connsiteY3" fmla="*/ 26539 h 26546"/>
                    <a:gd name="connsiteX4" fmla="*/ 2 w 26664"/>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2837"/>
                      </a:moveTo>
                      <a:cubicBezTo>
                        <a:pt x="251" y="5488"/>
                        <a:pt x="6354" y="-241"/>
                        <a:pt x="13703" y="8"/>
                      </a:cubicBezTo>
                      <a:cubicBezTo>
                        <a:pt x="21052" y="257"/>
                        <a:pt x="26906" y="6360"/>
                        <a:pt x="26657" y="13709"/>
                      </a:cubicBezTo>
                      <a:cubicBezTo>
                        <a:pt x="26408" y="21058"/>
                        <a:pt x="20305" y="26788"/>
                        <a:pt x="12956" y="26539"/>
                      </a:cubicBezTo>
                      <a:cubicBezTo>
                        <a:pt x="5607" y="26290"/>
                        <a:pt x="-123" y="20062"/>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9" name="Freeform 7941">
                  <a:extLst>
                    <a:ext uri="{FF2B5EF4-FFF2-40B4-BE49-F238E27FC236}">
                      <a16:creationId xmlns:a16="http://schemas.microsoft.com/office/drawing/2014/main" id="{F809CFE2-3FC3-7DE4-55CB-05F10A2DCDFF}"/>
                    </a:ext>
                  </a:extLst>
                </p:cNvPr>
                <p:cNvSpPr/>
                <p:nvPr/>
              </p:nvSpPr>
              <p:spPr>
                <a:xfrm>
                  <a:off x="5670957" y="1871055"/>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8"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0" name="Freeform 7942">
                  <a:extLst>
                    <a:ext uri="{FF2B5EF4-FFF2-40B4-BE49-F238E27FC236}">
                      <a16:creationId xmlns:a16="http://schemas.microsoft.com/office/drawing/2014/main" id="{A0526D8D-B6DC-48E4-694F-D97B8E69E49A}"/>
                    </a:ext>
                  </a:extLst>
                </p:cNvPr>
                <p:cNvSpPr/>
                <p:nvPr/>
              </p:nvSpPr>
              <p:spPr>
                <a:xfrm>
                  <a:off x="5678122" y="1866197"/>
                  <a:ext cx="4375" cy="52189"/>
                </a:xfrm>
                <a:custGeom>
                  <a:avLst/>
                  <a:gdLst>
                    <a:gd name="connsiteX0" fmla="*/ 1832 w 4375"/>
                    <a:gd name="connsiteY0" fmla="*/ 52190 h 52189"/>
                    <a:gd name="connsiteX1" fmla="*/ 337 w 4375"/>
                    <a:gd name="connsiteY1" fmla="*/ 33381 h 52189"/>
                    <a:gd name="connsiteX2" fmla="*/ 4199 w 4375"/>
                    <a:gd name="connsiteY2" fmla="*/ 16442 h 52189"/>
                    <a:gd name="connsiteX3" fmla="*/ 2455 w 4375"/>
                    <a:gd name="connsiteY3" fmla="*/ 0 h 52189"/>
                  </a:gdLst>
                  <a:ahLst/>
                  <a:cxnLst>
                    <a:cxn ang="0">
                      <a:pos x="connsiteX0" y="connsiteY0"/>
                    </a:cxn>
                    <a:cxn ang="0">
                      <a:pos x="connsiteX1" y="connsiteY1"/>
                    </a:cxn>
                    <a:cxn ang="0">
                      <a:pos x="connsiteX2" y="connsiteY2"/>
                    </a:cxn>
                    <a:cxn ang="0">
                      <a:pos x="connsiteX3" y="connsiteY3"/>
                    </a:cxn>
                  </a:cxnLst>
                  <a:rect l="l" t="t" r="r" b="b"/>
                  <a:pathLst>
                    <a:path w="4375" h="52189">
                      <a:moveTo>
                        <a:pt x="1832" y="52190"/>
                      </a:moveTo>
                      <a:cubicBezTo>
                        <a:pt x="-410" y="44093"/>
                        <a:pt x="-161" y="37741"/>
                        <a:pt x="337" y="33381"/>
                      </a:cubicBezTo>
                      <a:cubicBezTo>
                        <a:pt x="1334" y="26406"/>
                        <a:pt x="3576" y="23541"/>
                        <a:pt x="4199" y="16442"/>
                      </a:cubicBezTo>
                      <a:cubicBezTo>
                        <a:pt x="4821" y="9591"/>
                        <a:pt x="3700" y="3737"/>
                        <a:pt x="2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1" name="Freeform 7943">
                  <a:extLst>
                    <a:ext uri="{FF2B5EF4-FFF2-40B4-BE49-F238E27FC236}">
                      <a16:creationId xmlns:a16="http://schemas.microsoft.com/office/drawing/2014/main" id="{A5923C06-3CF4-3316-0CC0-69555C464AD5}"/>
                    </a:ext>
                  </a:extLst>
                </p:cNvPr>
                <p:cNvSpPr/>
                <p:nvPr/>
              </p:nvSpPr>
              <p:spPr>
                <a:xfrm>
                  <a:off x="5664127" y="1850869"/>
                  <a:ext cx="26421" cy="26546"/>
                </a:xfrm>
                <a:custGeom>
                  <a:avLst/>
                  <a:gdLst>
                    <a:gd name="connsiteX0" fmla="*/ 26414 w 26421"/>
                    <a:gd name="connsiteY0" fmla="*/ 13709 h 26546"/>
                    <a:gd name="connsiteX1" fmla="*/ 12837 w 26421"/>
                    <a:gd name="connsiteY1" fmla="*/ 26539 h 26546"/>
                    <a:gd name="connsiteX2" fmla="*/ 8 w 26421"/>
                    <a:gd name="connsiteY2" fmla="*/ 12837 h 26546"/>
                    <a:gd name="connsiteX3" fmla="*/ 13585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186" y="26788"/>
                        <a:pt x="12837" y="26539"/>
                      </a:cubicBezTo>
                      <a:cubicBezTo>
                        <a:pt x="5488" y="26290"/>
                        <a:pt x="-241" y="20186"/>
                        <a:pt x="8" y="12837"/>
                      </a:cubicBezTo>
                      <a:cubicBezTo>
                        <a:pt x="257" y="5488"/>
                        <a:pt x="6360" y="-241"/>
                        <a:pt x="13585"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2" name="Graphic 2987">
                <a:extLst>
                  <a:ext uri="{FF2B5EF4-FFF2-40B4-BE49-F238E27FC236}">
                    <a16:creationId xmlns:a16="http://schemas.microsoft.com/office/drawing/2014/main" id="{C0D82299-498B-94A5-6D3B-79822718BCD3}"/>
                  </a:ext>
                </a:extLst>
              </p:cNvPr>
              <p:cNvGrpSpPr/>
              <p:nvPr/>
            </p:nvGrpSpPr>
            <p:grpSpPr>
              <a:xfrm>
                <a:off x="5630746" y="1849872"/>
                <a:ext cx="30401" cy="148737"/>
                <a:chOff x="5630746" y="1849872"/>
                <a:chExt cx="30401" cy="148737"/>
              </a:xfrm>
              <a:grpFill/>
            </p:grpSpPr>
            <p:sp>
              <p:nvSpPr>
                <p:cNvPr id="6240" name="Freeform 7945">
                  <a:extLst>
                    <a:ext uri="{FF2B5EF4-FFF2-40B4-BE49-F238E27FC236}">
                      <a16:creationId xmlns:a16="http://schemas.microsoft.com/office/drawing/2014/main" id="{0A22E8B6-43EC-102E-3A86-99D11710451C}"/>
                    </a:ext>
                  </a:extLst>
                </p:cNvPr>
                <p:cNvSpPr/>
                <p:nvPr/>
              </p:nvSpPr>
              <p:spPr>
                <a:xfrm>
                  <a:off x="5647666" y="1926358"/>
                  <a:ext cx="2978" cy="52065"/>
                </a:xfrm>
                <a:custGeom>
                  <a:avLst/>
                  <a:gdLst>
                    <a:gd name="connsiteX0" fmla="*/ 276 w 2978"/>
                    <a:gd name="connsiteY0" fmla="*/ 52065 h 52065"/>
                    <a:gd name="connsiteX1" fmla="*/ 2892 w 2978"/>
                    <a:gd name="connsiteY1" fmla="*/ 33506 h 52065"/>
                    <a:gd name="connsiteX2" fmla="*/ 27 w 2978"/>
                    <a:gd name="connsiteY2" fmla="*/ 16317 h 52065"/>
                    <a:gd name="connsiteX3" fmla="*/ 2643 w 2978"/>
                    <a:gd name="connsiteY3" fmla="*/ 0 h 52065"/>
                  </a:gdLst>
                  <a:ahLst/>
                  <a:cxnLst>
                    <a:cxn ang="0">
                      <a:pos x="connsiteX0" y="connsiteY0"/>
                    </a:cxn>
                    <a:cxn ang="0">
                      <a:pos x="connsiteX1" y="connsiteY1"/>
                    </a:cxn>
                    <a:cxn ang="0">
                      <a:pos x="connsiteX2" y="connsiteY2"/>
                    </a:cxn>
                    <a:cxn ang="0">
                      <a:pos x="connsiteX3" y="connsiteY3"/>
                    </a:cxn>
                  </a:cxnLst>
                  <a:rect l="l" t="t" r="r" b="b"/>
                  <a:pathLst>
                    <a:path w="2978" h="52065">
                      <a:moveTo>
                        <a:pt x="276" y="52065"/>
                      </a:moveTo>
                      <a:cubicBezTo>
                        <a:pt x="3017" y="44093"/>
                        <a:pt x="3141" y="37741"/>
                        <a:pt x="2892" y="33506"/>
                      </a:cubicBezTo>
                      <a:cubicBezTo>
                        <a:pt x="2269" y="26531"/>
                        <a:pt x="276"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1" name="Freeform 7946">
                  <a:extLst>
                    <a:ext uri="{FF2B5EF4-FFF2-40B4-BE49-F238E27FC236}">
                      <a16:creationId xmlns:a16="http://schemas.microsoft.com/office/drawing/2014/main" id="{BB22962A-68EA-BF53-9D97-2BC4D95EE302}"/>
                    </a:ext>
                  </a:extLst>
                </p:cNvPr>
                <p:cNvSpPr/>
                <p:nvPr/>
              </p:nvSpPr>
              <p:spPr>
                <a:xfrm>
                  <a:off x="5638873" y="193109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2"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2" name="Freeform 7947">
                  <a:extLst>
                    <a:ext uri="{FF2B5EF4-FFF2-40B4-BE49-F238E27FC236}">
                      <a16:creationId xmlns:a16="http://schemas.microsoft.com/office/drawing/2014/main" id="{0C903DB8-1E19-3073-297E-4FE89CF6B4F0}"/>
                    </a:ext>
                  </a:extLst>
                </p:cNvPr>
                <p:cNvSpPr/>
                <p:nvPr/>
              </p:nvSpPr>
              <p:spPr>
                <a:xfrm>
                  <a:off x="5630746" y="1972063"/>
                  <a:ext cx="26665" cy="26546"/>
                </a:xfrm>
                <a:custGeom>
                  <a:avLst/>
                  <a:gdLst>
                    <a:gd name="connsiteX0" fmla="*/ 8 w 26665"/>
                    <a:gd name="connsiteY0" fmla="*/ 12837 h 26546"/>
                    <a:gd name="connsiteX1" fmla="*/ 13709 w 26665"/>
                    <a:gd name="connsiteY1" fmla="*/ 8 h 26546"/>
                    <a:gd name="connsiteX2" fmla="*/ 26663 w 26665"/>
                    <a:gd name="connsiteY2" fmla="*/ 13709 h 26546"/>
                    <a:gd name="connsiteX3" fmla="*/ 12962 w 26665"/>
                    <a:gd name="connsiteY3" fmla="*/ 26539 h 26546"/>
                    <a:gd name="connsiteX4" fmla="*/ 8 w 2666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8" y="12837"/>
                      </a:moveTo>
                      <a:cubicBezTo>
                        <a:pt x="257" y="5488"/>
                        <a:pt x="6360" y="-241"/>
                        <a:pt x="13709" y="8"/>
                      </a:cubicBezTo>
                      <a:cubicBezTo>
                        <a:pt x="21058" y="257"/>
                        <a:pt x="26787" y="6360"/>
                        <a:pt x="26663" y="13709"/>
                      </a:cubicBezTo>
                      <a:cubicBezTo>
                        <a:pt x="26414" y="21058"/>
                        <a:pt x="20311" y="26788"/>
                        <a:pt x="12962" y="26539"/>
                      </a:cubicBezTo>
                      <a:cubicBezTo>
                        <a:pt x="5613"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3" name="Freeform 7948">
                  <a:extLst>
                    <a:ext uri="{FF2B5EF4-FFF2-40B4-BE49-F238E27FC236}">
                      <a16:creationId xmlns:a16="http://schemas.microsoft.com/office/drawing/2014/main" id="{26C11451-953C-51E4-DF1E-CCE2CFD3462B}"/>
                    </a:ext>
                  </a:extLst>
                </p:cNvPr>
                <p:cNvSpPr/>
                <p:nvPr/>
              </p:nvSpPr>
              <p:spPr>
                <a:xfrm>
                  <a:off x="5641379" y="1870058"/>
                  <a:ext cx="2978" cy="52065"/>
                </a:xfrm>
                <a:custGeom>
                  <a:avLst/>
                  <a:gdLst>
                    <a:gd name="connsiteX0" fmla="*/ 2702 w 2978"/>
                    <a:gd name="connsiteY0" fmla="*/ 0 h 52065"/>
                    <a:gd name="connsiteX1" fmla="*/ 87 w 2978"/>
                    <a:gd name="connsiteY1" fmla="*/ 18559 h 52065"/>
                    <a:gd name="connsiteX2" fmla="*/ 2951 w 2978"/>
                    <a:gd name="connsiteY2" fmla="*/ 35748 h 52065"/>
                    <a:gd name="connsiteX3" fmla="*/ 336 w 297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8" h="52065">
                      <a:moveTo>
                        <a:pt x="2702" y="0"/>
                      </a:moveTo>
                      <a:cubicBezTo>
                        <a:pt x="-38" y="7972"/>
                        <a:pt x="-162" y="14324"/>
                        <a:pt x="87" y="18559"/>
                      </a:cubicBezTo>
                      <a:cubicBezTo>
                        <a:pt x="585" y="25534"/>
                        <a:pt x="2702" y="28648"/>
                        <a:pt x="2951" y="35748"/>
                      </a:cubicBezTo>
                      <a:cubicBezTo>
                        <a:pt x="3201" y="42599"/>
                        <a:pt x="1706" y="48328"/>
                        <a:pt x="3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4" name="Freeform 7949">
                  <a:extLst>
                    <a:ext uri="{FF2B5EF4-FFF2-40B4-BE49-F238E27FC236}">
                      <a16:creationId xmlns:a16="http://schemas.microsoft.com/office/drawing/2014/main" id="{63CA3487-0533-8928-519A-67AA5856309E}"/>
                    </a:ext>
                  </a:extLst>
                </p:cNvPr>
                <p:cNvSpPr/>
                <p:nvPr/>
              </p:nvSpPr>
              <p:spPr>
                <a:xfrm>
                  <a:off x="5648507" y="1865201"/>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5" name="Freeform 7950">
                  <a:extLst>
                    <a:ext uri="{FF2B5EF4-FFF2-40B4-BE49-F238E27FC236}">
                      <a16:creationId xmlns:a16="http://schemas.microsoft.com/office/drawing/2014/main" id="{47D82BEA-4853-8C8E-12CE-9601B05E8370}"/>
                    </a:ext>
                  </a:extLst>
                </p:cNvPr>
                <p:cNvSpPr/>
                <p:nvPr/>
              </p:nvSpPr>
              <p:spPr>
                <a:xfrm>
                  <a:off x="5634732" y="1849872"/>
                  <a:ext cx="26416" cy="26546"/>
                </a:xfrm>
                <a:custGeom>
                  <a:avLst/>
                  <a:gdLst>
                    <a:gd name="connsiteX0" fmla="*/ 26414 w 26416"/>
                    <a:gd name="connsiteY0" fmla="*/ 13709 h 26546"/>
                    <a:gd name="connsiteX1" fmla="*/ 12837 w 26416"/>
                    <a:gd name="connsiteY1" fmla="*/ 26539 h 26546"/>
                    <a:gd name="connsiteX2" fmla="*/ 8 w 26416"/>
                    <a:gd name="connsiteY2" fmla="*/ 12837 h 26546"/>
                    <a:gd name="connsiteX3" fmla="*/ 13585 w 26416"/>
                    <a:gd name="connsiteY3" fmla="*/ 8 h 26546"/>
                    <a:gd name="connsiteX4" fmla="*/ 26414 w 2641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545">
                      <a:moveTo>
                        <a:pt x="26414" y="13709"/>
                      </a:moveTo>
                      <a:cubicBezTo>
                        <a:pt x="26165" y="21058"/>
                        <a:pt x="20061" y="26788"/>
                        <a:pt x="12837" y="26539"/>
                      </a:cubicBezTo>
                      <a:cubicBezTo>
                        <a:pt x="5488" y="26289"/>
                        <a:pt x="-242" y="20186"/>
                        <a:pt x="8" y="12837"/>
                      </a:cubicBezTo>
                      <a:cubicBezTo>
                        <a:pt x="257" y="5488"/>
                        <a:pt x="6360" y="-241"/>
                        <a:pt x="13585" y="8"/>
                      </a:cubicBezTo>
                      <a:cubicBezTo>
                        <a:pt x="20809" y="132"/>
                        <a:pt x="26539"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3" name="Graphic 2987">
                <a:extLst>
                  <a:ext uri="{FF2B5EF4-FFF2-40B4-BE49-F238E27FC236}">
                    <a16:creationId xmlns:a16="http://schemas.microsoft.com/office/drawing/2014/main" id="{AABDEA28-49EE-C27F-8C18-AA42649BCF65}"/>
                  </a:ext>
                </a:extLst>
              </p:cNvPr>
              <p:cNvGrpSpPr/>
              <p:nvPr/>
            </p:nvGrpSpPr>
            <p:grpSpPr>
              <a:xfrm>
                <a:off x="5600977" y="1848751"/>
                <a:ext cx="30656" cy="148862"/>
                <a:chOff x="5600977" y="1848751"/>
                <a:chExt cx="30656" cy="148862"/>
              </a:xfrm>
              <a:grpFill/>
            </p:grpSpPr>
            <p:sp>
              <p:nvSpPr>
                <p:cNvPr id="6234" name="Freeform 7952">
                  <a:extLst>
                    <a:ext uri="{FF2B5EF4-FFF2-40B4-BE49-F238E27FC236}">
                      <a16:creationId xmlns:a16="http://schemas.microsoft.com/office/drawing/2014/main" id="{88CD716D-017F-AB96-5EAB-05792728A9E0}"/>
                    </a:ext>
                  </a:extLst>
                </p:cNvPr>
                <p:cNvSpPr/>
                <p:nvPr/>
              </p:nvSpPr>
              <p:spPr>
                <a:xfrm>
                  <a:off x="5617899" y="1925362"/>
                  <a:ext cx="3026" cy="52065"/>
                </a:xfrm>
                <a:custGeom>
                  <a:avLst/>
                  <a:gdLst>
                    <a:gd name="connsiteX0" fmla="*/ 275 w 3026"/>
                    <a:gd name="connsiteY0" fmla="*/ 52065 h 52065"/>
                    <a:gd name="connsiteX1" fmla="*/ 2891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1" y="33506"/>
                      </a:cubicBezTo>
                      <a:cubicBezTo>
                        <a:pt x="2392"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5" name="Freeform 7953">
                  <a:extLst>
                    <a:ext uri="{FF2B5EF4-FFF2-40B4-BE49-F238E27FC236}">
                      <a16:creationId xmlns:a16="http://schemas.microsoft.com/office/drawing/2014/main" id="{E8C4246C-A403-5871-0DE7-4AA97A5BE123}"/>
                    </a:ext>
                  </a:extLst>
                </p:cNvPr>
                <p:cNvSpPr/>
                <p:nvPr/>
              </p:nvSpPr>
              <p:spPr>
                <a:xfrm>
                  <a:off x="5609228" y="1930095"/>
                  <a:ext cx="4645" cy="52189"/>
                </a:xfrm>
                <a:custGeom>
                  <a:avLst/>
                  <a:gdLst>
                    <a:gd name="connsiteX0" fmla="*/ 2842 w 4645"/>
                    <a:gd name="connsiteY0" fmla="*/ 0 h 52189"/>
                    <a:gd name="connsiteX1" fmla="*/ 4213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6" name="Freeform 7954">
                  <a:extLst>
                    <a:ext uri="{FF2B5EF4-FFF2-40B4-BE49-F238E27FC236}">
                      <a16:creationId xmlns:a16="http://schemas.microsoft.com/office/drawing/2014/main" id="{BC0B5D3C-8849-9D56-5D5D-603600C93C48}"/>
                    </a:ext>
                  </a:extLst>
                </p:cNvPr>
                <p:cNvSpPr/>
                <p:nvPr/>
              </p:nvSpPr>
              <p:spPr>
                <a:xfrm>
                  <a:off x="5600977" y="1971067"/>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310"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7" name="Freeform 7955">
                  <a:extLst>
                    <a:ext uri="{FF2B5EF4-FFF2-40B4-BE49-F238E27FC236}">
                      <a16:creationId xmlns:a16="http://schemas.microsoft.com/office/drawing/2014/main" id="{8431F23A-F12F-0EFC-84F9-2F2224832232}"/>
                    </a:ext>
                  </a:extLst>
                </p:cNvPr>
                <p:cNvSpPr/>
                <p:nvPr/>
              </p:nvSpPr>
              <p:spPr>
                <a:xfrm>
                  <a:off x="5611809" y="186893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8" name="Freeform 7956">
                  <a:extLst>
                    <a:ext uri="{FF2B5EF4-FFF2-40B4-BE49-F238E27FC236}">
                      <a16:creationId xmlns:a16="http://schemas.microsoft.com/office/drawing/2014/main" id="{5DE25BC5-6146-5765-34E9-BE6A35437361}"/>
                    </a:ext>
                  </a:extLst>
                </p:cNvPr>
                <p:cNvSpPr/>
                <p:nvPr/>
              </p:nvSpPr>
              <p:spPr>
                <a:xfrm>
                  <a:off x="5618862" y="1864080"/>
                  <a:ext cx="4645" cy="52189"/>
                </a:xfrm>
                <a:custGeom>
                  <a:avLst/>
                  <a:gdLst>
                    <a:gd name="connsiteX0" fmla="*/ 1803 w 4645"/>
                    <a:gd name="connsiteY0" fmla="*/ 52190 h 52189"/>
                    <a:gd name="connsiteX1" fmla="*/ 433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9" name="Freeform 7957">
                  <a:extLst>
                    <a:ext uri="{FF2B5EF4-FFF2-40B4-BE49-F238E27FC236}">
                      <a16:creationId xmlns:a16="http://schemas.microsoft.com/office/drawing/2014/main" id="{7EF2251C-1A9A-1FAF-4595-280B00E9D73A}"/>
                    </a:ext>
                  </a:extLst>
                </p:cNvPr>
                <p:cNvSpPr/>
                <p:nvPr/>
              </p:nvSpPr>
              <p:spPr>
                <a:xfrm>
                  <a:off x="5605336" y="1848751"/>
                  <a:ext cx="26297" cy="26546"/>
                </a:xfrm>
                <a:custGeom>
                  <a:avLst/>
                  <a:gdLst>
                    <a:gd name="connsiteX0" fmla="*/ 26290 w 26297"/>
                    <a:gd name="connsiteY0" fmla="*/ 13709 h 26546"/>
                    <a:gd name="connsiteX1" fmla="*/ 12713 w 26297"/>
                    <a:gd name="connsiteY1" fmla="*/ 26539 h 26546"/>
                    <a:gd name="connsiteX2" fmla="*/ 8 w 26297"/>
                    <a:gd name="connsiteY2" fmla="*/ 12837 h 26546"/>
                    <a:gd name="connsiteX3" fmla="*/ 13585 w 26297"/>
                    <a:gd name="connsiteY3" fmla="*/ 8 h 26546"/>
                    <a:gd name="connsiteX4" fmla="*/ 26290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26290" y="13709"/>
                      </a:moveTo>
                      <a:cubicBezTo>
                        <a:pt x="26040" y="21058"/>
                        <a:pt x="19937" y="26788"/>
                        <a:pt x="12713" y="26539"/>
                      </a:cubicBezTo>
                      <a:cubicBezTo>
                        <a:pt x="5364" y="26290"/>
                        <a:pt x="-241" y="20186"/>
                        <a:pt x="8" y="12837"/>
                      </a:cubicBezTo>
                      <a:cubicBezTo>
                        <a:pt x="257" y="5488"/>
                        <a:pt x="6361" y="-241"/>
                        <a:pt x="13585" y="8"/>
                      </a:cubicBezTo>
                      <a:cubicBezTo>
                        <a:pt x="20809" y="257"/>
                        <a:pt x="26539" y="6360"/>
                        <a:pt x="26290"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4" name="Graphic 2987">
                <a:extLst>
                  <a:ext uri="{FF2B5EF4-FFF2-40B4-BE49-F238E27FC236}">
                    <a16:creationId xmlns:a16="http://schemas.microsoft.com/office/drawing/2014/main" id="{2BF95BAC-D4BF-9FB7-FC9E-9329FA86CA96}"/>
                  </a:ext>
                </a:extLst>
              </p:cNvPr>
              <p:cNvGrpSpPr/>
              <p:nvPr/>
            </p:nvGrpSpPr>
            <p:grpSpPr>
              <a:xfrm>
                <a:off x="5571207" y="1847755"/>
                <a:ext cx="30906" cy="148737"/>
                <a:chOff x="5571207" y="1847755"/>
                <a:chExt cx="30906" cy="148737"/>
              </a:xfrm>
              <a:grpFill/>
            </p:grpSpPr>
            <p:sp>
              <p:nvSpPr>
                <p:cNvPr id="6228" name="Freeform 7959">
                  <a:extLst>
                    <a:ext uri="{FF2B5EF4-FFF2-40B4-BE49-F238E27FC236}">
                      <a16:creationId xmlns:a16="http://schemas.microsoft.com/office/drawing/2014/main" id="{B1BE3923-0680-2E76-BD71-D6EC7F41C640}"/>
                    </a:ext>
                  </a:extLst>
                </p:cNvPr>
                <p:cNvSpPr/>
                <p:nvPr/>
              </p:nvSpPr>
              <p:spPr>
                <a:xfrm>
                  <a:off x="5588130" y="1924241"/>
                  <a:ext cx="3026" cy="52065"/>
                </a:xfrm>
                <a:custGeom>
                  <a:avLst/>
                  <a:gdLst>
                    <a:gd name="connsiteX0" fmla="*/ 275 w 3026"/>
                    <a:gd name="connsiteY0" fmla="*/ 52065 h 52065"/>
                    <a:gd name="connsiteX1" fmla="*/ 2890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0" y="33506"/>
                      </a:cubicBezTo>
                      <a:cubicBezTo>
                        <a:pt x="2392" y="26531"/>
                        <a:pt x="275"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9" name="Freeform 7960">
                  <a:extLst>
                    <a:ext uri="{FF2B5EF4-FFF2-40B4-BE49-F238E27FC236}">
                      <a16:creationId xmlns:a16="http://schemas.microsoft.com/office/drawing/2014/main" id="{F3CE0B02-9232-1897-6929-D861AA5F784D}"/>
                    </a:ext>
                  </a:extLst>
                </p:cNvPr>
                <p:cNvSpPr/>
                <p:nvPr/>
              </p:nvSpPr>
              <p:spPr>
                <a:xfrm>
                  <a:off x="5579458" y="1928974"/>
                  <a:ext cx="4743" cy="52189"/>
                </a:xfrm>
                <a:custGeom>
                  <a:avLst/>
                  <a:gdLst>
                    <a:gd name="connsiteX0" fmla="*/ 2967 w 4743"/>
                    <a:gd name="connsiteY0" fmla="*/ 0 h 52189"/>
                    <a:gd name="connsiteX1" fmla="*/ 4213 w 4743"/>
                    <a:gd name="connsiteY1" fmla="*/ 18808 h 52189"/>
                    <a:gd name="connsiteX2" fmla="*/ 227 w 4743"/>
                    <a:gd name="connsiteY2" fmla="*/ 35748 h 52189"/>
                    <a:gd name="connsiteX3" fmla="*/ 1846 w 474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43" h="52189">
                      <a:moveTo>
                        <a:pt x="2967" y="0"/>
                      </a:moveTo>
                      <a:cubicBezTo>
                        <a:pt x="5209" y="8096"/>
                        <a:pt x="4960"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0" name="Freeform 7961">
                  <a:extLst>
                    <a:ext uri="{FF2B5EF4-FFF2-40B4-BE49-F238E27FC236}">
                      <a16:creationId xmlns:a16="http://schemas.microsoft.com/office/drawing/2014/main" id="{90CE3157-527E-BCAA-23D7-351D267B3EEF}"/>
                    </a:ext>
                  </a:extLst>
                </p:cNvPr>
                <p:cNvSpPr/>
                <p:nvPr/>
              </p:nvSpPr>
              <p:spPr>
                <a:xfrm>
                  <a:off x="5571207" y="1969946"/>
                  <a:ext cx="26671" cy="26546"/>
                </a:xfrm>
                <a:custGeom>
                  <a:avLst/>
                  <a:gdLst>
                    <a:gd name="connsiteX0" fmla="*/ 8 w 26671"/>
                    <a:gd name="connsiteY0" fmla="*/ 12837 h 26546"/>
                    <a:gd name="connsiteX1" fmla="*/ 13834 w 26671"/>
                    <a:gd name="connsiteY1" fmla="*/ 8 h 26546"/>
                    <a:gd name="connsiteX2" fmla="*/ 26663 w 26671"/>
                    <a:gd name="connsiteY2" fmla="*/ 13709 h 26546"/>
                    <a:gd name="connsiteX3" fmla="*/ 12837 w 26671"/>
                    <a:gd name="connsiteY3" fmla="*/ 26539 h 26546"/>
                    <a:gd name="connsiteX4" fmla="*/ 8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2837"/>
                      </a:moveTo>
                      <a:cubicBezTo>
                        <a:pt x="257" y="5488"/>
                        <a:pt x="6485" y="-241"/>
                        <a:pt x="13834" y="8"/>
                      </a:cubicBezTo>
                      <a:cubicBezTo>
                        <a:pt x="21183" y="257"/>
                        <a:pt x="26912" y="6360"/>
                        <a:pt x="26663" y="13709"/>
                      </a:cubicBezTo>
                      <a:cubicBezTo>
                        <a:pt x="26414" y="21058"/>
                        <a:pt x="20186" y="26788"/>
                        <a:pt x="12837" y="26539"/>
                      </a:cubicBezTo>
                      <a:cubicBezTo>
                        <a:pt x="5488"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1" name="Freeform 7962">
                  <a:extLst>
                    <a:ext uri="{FF2B5EF4-FFF2-40B4-BE49-F238E27FC236}">
                      <a16:creationId xmlns:a16="http://schemas.microsoft.com/office/drawing/2014/main" id="{DAD31A99-FFBA-028D-8FF5-ADDC296E060A}"/>
                    </a:ext>
                  </a:extLst>
                </p:cNvPr>
                <p:cNvSpPr/>
                <p:nvPr/>
              </p:nvSpPr>
              <p:spPr>
                <a:xfrm>
                  <a:off x="5582289" y="1867941"/>
                  <a:ext cx="2902" cy="52065"/>
                </a:xfrm>
                <a:custGeom>
                  <a:avLst/>
                  <a:gdLst>
                    <a:gd name="connsiteX0" fmla="*/ 2752 w 2902"/>
                    <a:gd name="connsiteY0" fmla="*/ 0 h 52065"/>
                    <a:gd name="connsiteX1" fmla="*/ 136 w 2902"/>
                    <a:gd name="connsiteY1" fmla="*/ 18559 h 52065"/>
                    <a:gd name="connsiteX2" fmla="*/ 2877 w 2902"/>
                    <a:gd name="connsiteY2" fmla="*/ 35748 h 52065"/>
                    <a:gd name="connsiteX3" fmla="*/ 13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0"/>
                      </a:moveTo>
                      <a:cubicBezTo>
                        <a:pt x="12" y="7972"/>
                        <a:pt x="-237" y="14324"/>
                        <a:pt x="136" y="18559"/>
                      </a:cubicBezTo>
                      <a:cubicBezTo>
                        <a:pt x="635" y="25534"/>
                        <a:pt x="2628" y="28648"/>
                        <a:pt x="2877" y="35748"/>
                      </a:cubicBezTo>
                      <a:cubicBezTo>
                        <a:pt x="3126" y="42599"/>
                        <a:pt x="1507" y="48328"/>
                        <a:pt x="1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2" name="Freeform 7963">
                  <a:extLst>
                    <a:ext uri="{FF2B5EF4-FFF2-40B4-BE49-F238E27FC236}">
                      <a16:creationId xmlns:a16="http://schemas.microsoft.com/office/drawing/2014/main" id="{028B84CE-6C73-12D6-FB16-4EA6240BD421}"/>
                    </a:ext>
                  </a:extLst>
                </p:cNvPr>
                <p:cNvSpPr/>
                <p:nvPr/>
              </p:nvSpPr>
              <p:spPr>
                <a:xfrm>
                  <a:off x="5589342" y="1863083"/>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3" name="Freeform 7964">
                  <a:extLst>
                    <a:ext uri="{FF2B5EF4-FFF2-40B4-BE49-F238E27FC236}">
                      <a16:creationId xmlns:a16="http://schemas.microsoft.com/office/drawing/2014/main" id="{DB51E669-E6AC-F51A-9CE7-A134E16F6FF0}"/>
                    </a:ext>
                  </a:extLst>
                </p:cNvPr>
                <p:cNvSpPr/>
                <p:nvPr/>
              </p:nvSpPr>
              <p:spPr>
                <a:xfrm>
                  <a:off x="5575692" y="1847755"/>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062" y="26788"/>
                        <a:pt x="12713" y="26539"/>
                      </a:cubicBezTo>
                      <a:cubicBezTo>
                        <a:pt x="5364" y="26290"/>
                        <a:pt x="-241" y="20186"/>
                        <a:pt x="8" y="12837"/>
                      </a:cubicBezTo>
                      <a:cubicBezTo>
                        <a:pt x="257" y="5488"/>
                        <a:pt x="6360"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5" name="Graphic 2987">
                <a:extLst>
                  <a:ext uri="{FF2B5EF4-FFF2-40B4-BE49-F238E27FC236}">
                    <a16:creationId xmlns:a16="http://schemas.microsoft.com/office/drawing/2014/main" id="{32C68531-861D-5579-E845-35DD2DA926A5}"/>
                  </a:ext>
                </a:extLst>
              </p:cNvPr>
              <p:cNvGrpSpPr/>
              <p:nvPr/>
            </p:nvGrpSpPr>
            <p:grpSpPr>
              <a:xfrm>
                <a:off x="5541438" y="1846634"/>
                <a:ext cx="31164" cy="148862"/>
                <a:chOff x="5541438" y="1846634"/>
                <a:chExt cx="31164" cy="148862"/>
              </a:xfrm>
              <a:grpFill/>
            </p:grpSpPr>
            <p:sp>
              <p:nvSpPr>
                <p:cNvPr id="6222" name="Freeform 7966">
                  <a:extLst>
                    <a:ext uri="{FF2B5EF4-FFF2-40B4-BE49-F238E27FC236}">
                      <a16:creationId xmlns:a16="http://schemas.microsoft.com/office/drawing/2014/main" id="{934AD729-50C0-E043-152F-1DCF96018C5E}"/>
                    </a:ext>
                  </a:extLst>
                </p:cNvPr>
                <p:cNvSpPr/>
                <p:nvPr/>
              </p:nvSpPr>
              <p:spPr>
                <a:xfrm>
                  <a:off x="5558609" y="1923245"/>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3"/>
                        <a:pt x="3015" y="37741"/>
                        <a:pt x="2766" y="33506"/>
                      </a:cubicBezTo>
                      <a:cubicBezTo>
                        <a:pt x="2268"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3" name="Freeform 7967">
                  <a:extLst>
                    <a:ext uri="{FF2B5EF4-FFF2-40B4-BE49-F238E27FC236}">
                      <a16:creationId xmlns:a16="http://schemas.microsoft.com/office/drawing/2014/main" id="{1EF6543B-300E-CBB8-5F26-892D08AFE3F2}"/>
                    </a:ext>
                  </a:extLst>
                </p:cNvPr>
                <p:cNvSpPr/>
                <p:nvPr/>
              </p:nvSpPr>
              <p:spPr>
                <a:xfrm>
                  <a:off x="5549674" y="1927978"/>
                  <a:ext cx="4792" cy="52189"/>
                </a:xfrm>
                <a:custGeom>
                  <a:avLst/>
                  <a:gdLst>
                    <a:gd name="connsiteX0" fmla="*/ 3107 w 4792"/>
                    <a:gd name="connsiteY0" fmla="*/ 0 h 52189"/>
                    <a:gd name="connsiteX1" fmla="*/ 4352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2" y="18808"/>
                      </a:cubicBezTo>
                      <a:cubicBezTo>
                        <a:pt x="3356"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4" name="Freeform 7968">
                  <a:extLst>
                    <a:ext uri="{FF2B5EF4-FFF2-40B4-BE49-F238E27FC236}">
                      <a16:creationId xmlns:a16="http://schemas.microsoft.com/office/drawing/2014/main" id="{18081636-3DE9-2E53-34FE-84187B7D2C4C}"/>
                    </a:ext>
                  </a:extLst>
                </p:cNvPr>
                <p:cNvSpPr/>
                <p:nvPr/>
              </p:nvSpPr>
              <p:spPr>
                <a:xfrm>
                  <a:off x="5541438" y="1968949"/>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186"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5" name="Freeform 7969">
                  <a:extLst>
                    <a:ext uri="{FF2B5EF4-FFF2-40B4-BE49-F238E27FC236}">
                      <a16:creationId xmlns:a16="http://schemas.microsoft.com/office/drawing/2014/main" id="{800D63F3-9BDB-78F4-BC35-FD9949849D0A}"/>
                    </a:ext>
                  </a:extLst>
                </p:cNvPr>
                <p:cNvSpPr/>
                <p:nvPr/>
              </p:nvSpPr>
              <p:spPr>
                <a:xfrm>
                  <a:off x="5552706" y="1866820"/>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5" y="14324"/>
                        <a:pt x="74" y="18559"/>
                      </a:cubicBezTo>
                      <a:cubicBezTo>
                        <a:pt x="573" y="25534"/>
                        <a:pt x="2566" y="28648"/>
                        <a:pt x="2815" y="35748"/>
                      </a:cubicBezTo>
                      <a:cubicBezTo>
                        <a:pt x="3064" y="42599"/>
                        <a:pt x="1445"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6" name="Freeform 7970">
                  <a:extLst>
                    <a:ext uri="{FF2B5EF4-FFF2-40B4-BE49-F238E27FC236}">
                      <a16:creationId xmlns:a16="http://schemas.microsoft.com/office/drawing/2014/main" id="{19673B54-11EA-016F-2A74-A20E66FCED0F}"/>
                    </a:ext>
                  </a:extLst>
                </p:cNvPr>
                <p:cNvSpPr/>
                <p:nvPr/>
              </p:nvSpPr>
              <p:spPr>
                <a:xfrm>
                  <a:off x="5559814" y="1861962"/>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437" y="26406"/>
                        <a:pt x="3679"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7" name="Freeform 7971">
                  <a:extLst>
                    <a:ext uri="{FF2B5EF4-FFF2-40B4-BE49-F238E27FC236}">
                      <a16:creationId xmlns:a16="http://schemas.microsoft.com/office/drawing/2014/main" id="{C53DE585-A927-53CA-59EC-4A50F111448F}"/>
                    </a:ext>
                  </a:extLst>
                </p:cNvPr>
                <p:cNvSpPr/>
                <p:nvPr/>
              </p:nvSpPr>
              <p:spPr>
                <a:xfrm>
                  <a:off x="5546171" y="1846634"/>
                  <a:ext cx="26431" cy="26546"/>
                </a:xfrm>
                <a:custGeom>
                  <a:avLst/>
                  <a:gdLst>
                    <a:gd name="connsiteX0" fmla="*/ 26415 w 26431"/>
                    <a:gd name="connsiteY0" fmla="*/ 13709 h 26546"/>
                    <a:gd name="connsiteX1" fmla="*/ 12713 w 26431"/>
                    <a:gd name="connsiteY1" fmla="*/ 26539 h 26546"/>
                    <a:gd name="connsiteX2" fmla="*/ 8 w 26431"/>
                    <a:gd name="connsiteY2" fmla="*/ 12837 h 26546"/>
                    <a:gd name="connsiteX3" fmla="*/ 13709 w 26431"/>
                    <a:gd name="connsiteY3" fmla="*/ 8 h 26546"/>
                    <a:gd name="connsiteX4" fmla="*/ 26415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5" y="13709"/>
                      </a:moveTo>
                      <a:cubicBezTo>
                        <a:pt x="26165" y="21058"/>
                        <a:pt x="20062" y="26788"/>
                        <a:pt x="12713" y="26539"/>
                      </a:cubicBezTo>
                      <a:cubicBezTo>
                        <a:pt x="5364" y="26290"/>
                        <a:pt x="-241" y="20186"/>
                        <a:pt x="8" y="12837"/>
                      </a:cubicBezTo>
                      <a:cubicBezTo>
                        <a:pt x="257" y="5488"/>
                        <a:pt x="6485" y="-241"/>
                        <a:pt x="13709" y="8"/>
                      </a:cubicBezTo>
                      <a:cubicBezTo>
                        <a:pt x="21058" y="257"/>
                        <a:pt x="26788" y="6485"/>
                        <a:pt x="26415"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6" name="Graphic 2987">
                <a:extLst>
                  <a:ext uri="{FF2B5EF4-FFF2-40B4-BE49-F238E27FC236}">
                    <a16:creationId xmlns:a16="http://schemas.microsoft.com/office/drawing/2014/main" id="{29B0E8A7-734A-DA9E-F50B-BF66ED9C323A}"/>
                  </a:ext>
                </a:extLst>
              </p:cNvPr>
              <p:cNvGrpSpPr/>
              <p:nvPr/>
            </p:nvGrpSpPr>
            <p:grpSpPr>
              <a:xfrm>
                <a:off x="5511659" y="1845637"/>
                <a:ext cx="31538" cy="148737"/>
                <a:chOff x="5511659" y="1845637"/>
                <a:chExt cx="31538" cy="148737"/>
              </a:xfrm>
              <a:grpFill/>
            </p:grpSpPr>
            <p:sp>
              <p:nvSpPr>
                <p:cNvPr id="6216" name="Freeform 7973">
                  <a:extLst>
                    <a:ext uri="{FF2B5EF4-FFF2-40B4-BE49-F238E27FC236}">
                      <a16:creationId xmlns:a16="http://schemas.microsoft.com/office/drawing/2014/main" id="{855B8DDD-4D9E-4E58-648C-877C277CB851}"/>
                    </a:ext>
                  </a:extLst>
                </p:cNvPr>
                <p:cNvSpPr/>
                <p:nvPr/>
              </p:nvSpPr>
              <p:spPr>
                <a:xfrm>
                  <a:off x="5528840" y="1922124"/>
                  <a:ext cx="2890" cy="52065"/>
                </a:xfrm>
                <a:custGeom>
                  <a:avLst/>
                  <a:gdLst>
                    <a:gd name="connsiteX0" fmla="*/ 26 w 2890"/>
                    <a:gd name="connsiteY0" fmla="*/ 52065 h 52065"/>
                    <a:gd name="connsiteX1" fmla="*/ 2766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890" y="44093"/>
                        <a:pt x="3015" y="37741"/>
                        <a:pt x="2766" y="33506"/>
                      </a:cubicBezTo>
                      <a:cubicBezTo>
                        <a:pt x="2268" y="26531"/>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7" name="Freeform 7974">
                  <a:extLst>
                    <a:ext uri="{FF2B5EF4-FFF2-40B4-BE49-F238E27FC236}">
                      <a16:creationId xmlns:a16="http://schemas.microsoft.com/office/drawing/2014/main" id="{65C83A7A-6981-1923-4ADE-A368960057B4}"/>
                    </a:ext>
                  </a:extLst>
                </p:cNvPr>
                <p:cNvSpPr/>
                <p:nvPr/>
              </p:nvSpPr>
              <p:spPr>
                <a:xfrm>
                  <a:off x="5519905" y="1926857"/>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3" y="18808"/>
                      </a:cubicBezTo>
                      <a:cubicBezTo>
                        <a:pt x="3232"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8" name="Freeform 7975">
                  <a:extLst>
                    <a:ext uri="{FF2B5EF4-FFF2-40B4-BE49-F238E27FC236}">
                      <a16:creationId xmlns:a16="http://schemas.microsoft.com/office/drawing/2014/main" id="{CC0693F5-7588-73BB-0923-E5C177D6844E}"/>
                    </a:ext>
                  </a:extLst>
                </p:cNvPr>
                <p:cNvSpPr/>
                <p:nvPr/>
              </p:nvSpPr>
              <p:spPr>
                <a:xfrm>
                  <a:off x="5511659" y="1967828"/>
                  <a:ext cx="26680" cy="26546"/>
                </a:xfrm>
                <a:custGeom>
                  <a:avLst/>
                  <a:gdLst>
                    <a:gd name="connsiteX0" fmla="*/ 17 w 26680"/>
                    <a:gd name="connsiteY0" fmla="*/ 12837 h 26546"/>
                    <a:gd name="connsiteX1" fmla="*/ 13843 w 26680"/>
                    <a:gd name="connsiteY1" fmla="*/ 8 h 26546"/>
                    <a:gd name="connsiteX2" fmla="*/ 26673 w 26680"/>
                    <a:gd name="connsiteY2" fmla="*/ 13709 h 26546"/>
                    <a:gd name="connsiteX3" fmla="*/ 12847 w 26680"/>
                    <a:gd name="connsiteY3" fmla="*/ 26539 h 26546"/>
                    <a:gd name="connsiteX4" fmla="*/ 17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17" y="12837"/>
                      </a:moveTo>
                      <a:cubicBezTo>
                        <a:pt x="266" y="5488"/>
                        <a:pt x="6494" y="-241"/>
                        <a:pt x="13843" y="8"/>
                      </a:cubicBezTo>
                      <a:cubicBezTo>
                        <a:pt x="21192" y="257"/>
                        <a:pt x="26922" y="6360"/>
                        <a:pt x="26673" y="13709"/>
                      </a:cubicBezTo>
                      <a:cubicBezTo>
                        <a:pt x="26423" y="21058"/>
                        <a:pt x="20196" y="26788"/>
                        <a:pt x="12847" y="26539"/>
                      </a:cubicBezTo>
                      <a:cubicBezTo>
                        <a:pt x="5373"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9" name="Freeform 7976">
                  <a:extLst>
                    <a:ext uri="{FF2B5EF4-FFF2-40B4-BE49-F238E27FC236}">
                      <a16:creationId xmlns:a16="http://schemas.microsoft.com/office/drawing/2014/main" id="{F21E1230-5B79-BEAA-57F4-151DD32F961C}"/>
                    </a:ext>
                  </a:extLst>
                </p:cNvPr>
                <p:cNvSpPr/>
                <p:nvPr/>
              </p:nvSpPr>
              <p:spPr>
                <a:xfrm>
                  <a:off x="5523136" y="1865823"/>
                  <a:ext cx="2890" cy="52065"/>
                </a:xfrm>
                <a:custGeom>
                  <a:avLst/>
                  <a:gdLst>
                    <a:gd name="connsiteX0" fmla="*/ 2865 w 2890"/>
                    <a:gd name="connsiteY0" fmla="*/ 0 h 52065"/>
                    <a:gd name="connsiteX1" fmla="*/ 124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124" y="7972"/>
                        <a:pt x="-125" y="14324"/>
                        <a:pt x="124" y="18559"/>
                      </a:cubicBezTo>
                      <a:cubicBezTo>
                        <a:pt x="623" y="25534"/>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0" name="Freeform 7977">
                  <a:extLst>
                    <a:ext uri="{FF2B5EF4-FFF2-40B4-BE49-F238E27FC236}">
                      <a16:creationId xmlns:a16="http://schemas.microsoft.com/office/drawing/2014/main" id="{A07FBB58-E12B-2A14-82A3-3DB131CBCB13}"/>
                    </a:ext>
                  </a:extLst>
                </p:cNvPr>
                <p:cNvSpPr/>
                <p:nvPr/>
              </p:nvSpPr>
              <p:spPr>
                <a:xfrm>
                  <a:off x="5530169" y="1860966"/>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1" y="44093"/>
                        <a:pt x="-182" y="37741"/>
                        <a:pt x="440" y="33381"/>
                      </a:cubicBezTo>
                      <a:cubicBezTo>
                        <a:pt x="1561" y="26406"/>
                        <a:pt x="3804"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1" name="Freeform 7978">
                  <a:extLst>
                    <a:ext uri="{FF2B5EF4-FFF2-40B4-BE49-F238E27FC236}">
                      <a16:creationId xmlns:a16="http://schemas.microsoft.com/office/drawing/2014/main" id="{B7676209-B421-FBEC-029C-22094EAD0F20}"/>
                    </a:ext>
                  </a:extLst>
                </p:cNvPr>
                <p:cNvSpPr/>
                <p:nvPr/>
              </p:nvSpPr>
              <p:spPr>
                <a:xfrm>
                  <a:off x="5516776" y="1845637"/>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19937" y="26788"/>
                        <a:pt x="12713" y="26539"/>
                      </a:cubicBezTo>
                      <a:cubicBezTo>
                        <a:pt x="5364" y="26290"/>
                        <a:pt x="-241" y="20186"/>
                        <a:pt x="8" y="12837"/>
                      </a:cubicBezTo>
                      <a:cubicBezTo>
                        <a:pt x="257" y="5488"/>
                        <a:pt x="6485"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7" name="Graphic 2987">
                <a:extLst>
                  <a:ext uri="{FF2B5EF4-FFF2-40B4-BE49-F238E27FC236}">
                    <a16:creationId xmlns:a16="http://schemas.microsoft.com/office/drawing/2014/main" id="{0DADCEAC-E305-25CA-8462-3C96FDD79F3C}"/>
                  </a:ext>
                </a:extLst>
              </p:cNvPr>
              <p:cNvGrpSpPr/>
              <p:nvPr/>
            </p:nvGrpSpPr>
            <p:grpSpPr>
              <a:xfrm>
                <a:off x="5481890" y="1844641"/>
                <a:ext cx="31787" cy="148737"/>
                <a:chOff x="5481890" y="1844641"/>
                <a:chExt cx="31787" cy="148737"/>
              </a:xfrm>
              <a:grpFill/>
            </p:grpSpPr>
            <p:sp>
              <p:nvSpPr>
                <p:cNvPr id="6210" name="Freeform 7980">
                  <a:extLst>
                    <a:ext uri="{FF2B5EF4-FFF2-40B4-BE49-F238E27FC236}">
                      <a16:creationId xmlns:a16="http://schemas.microsoft.com/office/drawing/2014/main" id="{9C846068-36DC-8C6A-82EB-D5FA1F23E8C2}"/>
                    </a:ext>
                  </a:extLst>
                </p:cNvPr>
                <p:cNvSpPr/>
                <p:nvPr/>
              </p:nvSpPr>
              <p:spPr>
                <a:xfrm>
                  <a:off x="5499072" y="1921127"/>
                  <a:ext cx="2899" cy="52065"/>
                </a:xfrm>
                <a:custGeom>
                  <a:avLst/>
                  <a:gdLst>
                    <a:gd name="connsiteX0" fmla="*/ 24 w 2899"/>
                    <a:gd name="connsiteY0" fmla="*/ 52065 h 52065"/>
                    <a:gd name="connsiteX1" fmla="*/ 2764 w 2899"/>
                    <a:gd name="connsiteY1" fmla="*/ 33506 h 52065"/>
                    <a:gd name="connsiteX2" fmla="*/ 24 w 2899"/>
                    <a:gd name="connsiteY2" fmla="*/ 16317 h 52065"/>
                    <a:gd name="connsiteX3" fmla="*/ 2889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4" y="52065"/>
                      </a:moveTo>
                      <a:cubicBezTo>
                        <a:pt x="2889" y="44093"/>
                        <a:pt x="3138" y="37741"/>
                        <a:pt x="2764" y="33506"/>
                      </a:cubicBezTo>
                      <a:cubicBezTo>
                        <a:pt x="2266" y="26531"/>
                        <a:pt x="273" y="23417"/>
                        <a:pt x="24" y="16317"/>
                      </a:cubicBezTo>
                      <a:cubicBezTo>
                        <a:pt x="-225" y="9466"/>
                        <a:pt x="1519" y="3737"/>
                        <a:pt x="28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1" name="Freeform 7981">
                  <a:extLst>
                    <a:ext uri="{FF2B5EF4-FFF2-40B4-BE49-F238E27FC236}">
                      <a16:creationId xmlns:a16="http://schemas.microsoft.com/office/drawing/2014/main" id="{6636A6C7-BFA3-EA7E-8681-BC8827BDBA80}"/>
                    </a:ext>
                  </a:extLst>
                </p:cNvPr>
                <p:cNvSpPr/>
                <p:nvPr/>
              </p:nvSpPr>
              <p:spPr>
                <a:xfrm>
                  <a:off x="5490135" y="1925860"/>
                  <a:ext cx="4891" cy="52189"/>
                </a:xfrm>
                <a:custGeom>
                  <a:avLst/>
                  <a:gdLst>
                    <a:gd name="connsiteX0" fmla="*/ 3231 w 4891"/>
                    <a:gd name="connsiteY0" fmla="*/ 0 h 52189"/>
                    <a:gd name="connsiteX1" fmla="*/ 4352 w 4891"/>
                    <a:gd name="connsiteY1" fmla="*/ 18808 h 52189"/>
                    <a:gd name="connsiteX2" fmla="*/ 242 w 4891"/>
                    <a:gd name="connsiteY2" fmla="*/ 35748 h 52189"/>
                    <a:gd name="connsiteX3" fmla="*/ 1737 w 489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0"/>
                      </a:moveTo>
                      <a:cubicBezTo>
                        <a:pt x="5349" y="8096"/>
                        <a:pt x="5100" y="14449"/>
                        <a:pt x="4352" y="18808"/>
                      </a:cubicBezTo>
                      <a:cubicBezTo>
                        <a:pt x="3231"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2" name="Freeform 7982">
                  <a:extLst>
                    <a:ext uri="{FF2B5EF4-FFF2-40B4-BE49-F238E27FC236}">
                      <a16:creationId xmlns:a16="http://schemas.microsoft.com/office/drawing/2014/main" id="{A988AECB-BBE6-0EC4-9CFF-B472A7500BEC}"/>
                    </a:ext>
                  </a:extLst>
                </p:cNvPr>
                <p:cNvSpPr/>
                <p:nvPr/>
              </p:nvSpPr>
              <p:spPr>
                <a:xfrm>
                  <a:off x="5481890" y="1966832"/>
                  <a:ext cx="26690" cy="26546"/>
                </a:xfrm>
                <a:custGeom>
                  <a:avLst/>
                  <a:gdLst>
                    <a:gd name="connsiteX0" fmla="*/ 17 w 26690"/>
                    <a:gd name="connsiteY0" fmla="*/ 12837 h 26546"/>
                    <a:gd name="connsiteX1" fmla="*/ 13968 w 26690"/>
                    <a:gd name="connsiteY1" fmla="*/ 8 h 26546"/>
                    <a:gd name="connsiteX2" fmla="*/ 26673 w 26690"/>
                    <a:gd name="connsiteY2" fmla="*/ 13709 h 26546"/>
                    <a:gd name="connsiteX3" fmla="*/ 12722 w 26690"/>
                    <a:gd name="connsiteY3" fmla="*/ 26539 h 26546"/>
                    <a:gd name="connsiteX4" fmla="*/ 17 w 2669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45">
                      <a:moveTo>
                        <a:pt x="17" y="12837"/>
                      </a:moveTo>
                      <a:cubicBezTo>
                        <a:pt x="391" y="5488"/>
                        <a:pt x="6619" y="-241"/>
                        <a:pt x="13968" y="8"/>
                      </a:cubicBezTo>
                      <a:cubicBezTo>
                        <a:pt x="21317" y="257"/>
                        <a:pt x="27046" y="6360"/>
                        <a:pt x="26673" y="13709"/>
                      </a:cubicBezTo>
                      <a:cubicBezTo>
                        <a:pt x="26424" y="21058"/>
                        <a:pt x="20196" y="26788"/>
                        <a:pt x="12722" y="26539"/>
                      </a:cubicBezTo>
                      <a:cubicBezTo>
                        <a:pt x="5374"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3" name="Freeform 7983">
                  <a:extLst>
                    <a:ext uri="{FF2B5EF4-FFF2-40B4-BE49-F238E27FC236}">
                      <a16:creationId xmlns:a16="http://schemas.microsoft.com/office/drawing/2014/main" id="{A4A930D7-719E-5C11-37F4-DA2752F599E8}"/>
                    </a:ext>
                  </a:extLst>
                </p:cNvPr>
                <p:cNvSpPr/>
                <p:nvPr/>
              </p:nvSpPr>
              <p:spPr>
                <a:xfrm>
                  <a:off x="5493491" y="1864827"/>
                  <a:ext cx="2989" cy="52065"/>
                </a:xfrm>
                <a:custGeom>
                  <a:avLst/>
                  <a:gdLst>
                    <a:gd name="connsiteX0" fmla="*/ 2989 w 2989"/>
                    <a:gd name="connsiteY0" fmla="*/ 0 h 52065"/>
                    <a:gd name="connsiteX1" fmla="*/ 249 w 2989"/>
                    <a:gd name="connsiteY1" fmla="*/ 18559 h 52065"/>
                    <a:gd name="connsiteX2" fmla="*/ 2865 w 2989"/>
                    <a:gd name="connsiteY2" fmla="*/ 35748 h 52065"/>
                    <a:gd name="connsiteX3" fmla="*/ 0 w 298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0"/>
                      </a:moveTo>
                      <a:cubicBezTo>
                        <a:pt x="124" y="7972"/>
                        <a:pt x="-125" y="14324"/>
                        <a:pt x="249" y="18559"/>
                      </a:cubicBezTo>
                      <a:cubicBezTo>
                        <a:pt x="747" y="25534"/>
                        <a:pt x="2740" y="28648"/>
                        <a:pt x="2865" y="35748"/>
                      </a:cubicBezTo>
                      <a:cubicBezTo>
                        <a:pt x="3114"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4" name="Freeform 7984">
                  <a:extLst>
                    <a:ext uri="{FF2B5EF4-FFF2-40B4-BE49-F238E27FC236}">
                      <a16:creationId xmlns:a16="http://schemas.microsoft.com/office/drawing/2014/main" id="{B4EE6840-078D-FB0C-B96E-0E15D219B561}"/>
                    </a:ext>
                  </a:extLst>
                </p:cNvPr>
                <p:cNvSpPr/>
                <p:nvPr/>
              </p:nvSpPr>
              <p:spPr>
                <a:xfrm>
                  <a:off x="5500550" y="1859969"/>
                  <a:ext cx="4892" cy="52189"/>
                </a:xfrm>
                <a:custGeom>
                  <a:avLst/>
                  <a:gdLst>
                    <a:gd name="connsiteX0" fmla="*/ 1660 w 4892"/>
                    <a:gd name="connsiteY0" fmla="*/ 52190 h 52189"/>
                    <a:gd name="connsiteX1" fmla="*/ 540 w 4892"/>
                    <a:gd name="connsiteY1" fmla="*/ 33381 h 52189"/>
                    <a:gd name="connsiteX2" fmla="*/ 4650 w 4892"/>
                    <a:gd name="connsiteY2" fmla="*/ 16442 h 52189"/>
                    <a:gd name="connsiteX3" fmla="*/ 3155 w 4892"/>
                    <a:gd name="connsiteY3" fmla="*/ 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52190"/>
                      </a:moveTo>
                      <a:cubicBezTo>
                        <a:pt x="-457" y="44093"/>
                        <a:pt x="-208" y="37741"/>
                        <a:pt x="540" y="33381"/>
                      </a:cubicBezTo>
                      <a:cubicBezTo>
                        <a:pt x="1660" y="26406"/>
                        <a:pt x="3903" y="23541"/>
                        <a:pt x="4650" y="16442"/>
                      </a:cubicBezTo>
                      <a:cubicBezTo>
                        <a:pt x="5397" y="9591"/>
                        <a:pt x="4276" y="3861"/>
                        <a:pt x="31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5" name="Freeform 7985">
                  <a:extLst>
                    <a:ext uri="{FF2B5EF4-FFF2-40B4-BE49-F238E27FC236}">
                      <a16:creationId xmlns:a16="http://schemas.microsoft.com/office/drawing/2014/main" id="{FF605DC9-1EFC-55F3-4CA1-5D8D192DC4BB}"/>
                    </a:ext>
                  </a:extLst>
                </p:cNvPr>
                <p:cNvSpPr/>
                <p:nvPr/>
              </p:nvSpPr>
              <p:spPr>
                <a:xfrm>
                  <a:off x="5487246" y="1844641"/>
                  <a:ext cx="26431" cy="26546"/>
                </a:xfrm>
                <a:custGeom>
                  <a:avLst/>
                  <a:gdLst>
                    <a:gd name="connsiteX0" fmla="*/ 26424 w 26431"/>
                    <a:gd name="connsiteY0" fmla="*/ 13709 h 26546"/>
                    <a:gd name="connsiteX1" fmla="*/ 12598 w 26431"/>
                    <a:gd name="connsiteY1" fmla="*/ 26539 h 26546"/>
                    <a:gd name="connsiteX2" fmla="*/ 18 w 26431"/>
                    <a:gd name="connsiteY2" fmla="*/ 12837 h 26546"/>
                    <a:gd name="connsiteX3" fmla="*/ 13843 w 26431"/>
                    <a:gd name="connsiteY3" fmla="*/ 8 h 26546"/>
                    <a:gd name="connsiteX4" fmla="*/ 26424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24" y="13709"/>
                      </a:moveTo>
                      <a:cubicBezTo>
                        <a:pt x="26175" y="21058"/>
                        <a:pt x="19947" y="26788"/>
                        <a:pt x="12598" y="26539"/>
                      </a:cubicBezTo>
                      <a:cubicBezTo>
                        <a:pt x="5249" y="26290"/>
                        <a:pt x="-356" y="20186"/>
                        <a:pt x="18" y="12837"/>
                      </a:cubicBezTo>
                      <a:cubicBezTo>
                        <a:pt x="391" y="5488"/>
                        <a:pt x="6495" y="-241"/>
                        <a:pt x="13843" y="8"/>
                      </a:cubicBezTo>
                      <a:cubicBezTo>
                        <a:pt x="21068" y="257"/>
                        <a:pt x="26673"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8" name="Graphic 2987">
                <a:extLst>
                  <a:ext uri="{FF2B5EF4-FFF2-40B4-BE49-F238E27FC236}">
                    <a16:creationId xmlns:a16="http://schemas.microsoft.com/office/drawing/2014/main" id="{57F0F153-5CD1-6628-1966-F3141F753DD9}"/>
                  </a:ext>
                </a:extLst>
              </p:cNvPr>
              <p:cNvGrpSpPr/>
              <p:nvPr/>
            </p:nvGrpSpPr>
            <p:grpSpPr>
              <a:xfrm>
                <a:off x="5452005" y="1843520"/>
                <a:ext cx="32161" cy="148737"/>
                <a:chOff x="5452005" y="1843520"/>
                <a:chExt cx="32161" cy="148737"/>
              </a:xfrm>
              <a:grpFill/>
            </p:grpSpPr>
            <p:sp>
              <p:nvSpPr>
                <p:cNvPr id="6204" name="Freeform 7987">
                  <a:extLst>
                    <a:ext uri="{FF2B5EF4-FFF2-40B4-BE49-F238E27FC236}">
                      <a16:creationId xmlns:a16="http://schemas.microsoft.com/office/drawing/2014/main" id="{D90671AC-256D-A411-CAC4-5E493A8A760D}"/>
                    </a:ext>
                  </a:extLst>
                </p:cNvPr>
                <p:cNvSpPr/>
                <p:nvPr/>
              </p:nvSpPr>
              <p:spPr>
                <a:xfrm>
                  <a:off x="5469327" y="1920006"/>
                  <a:ext cx="3113" cy="52065"/>
                </a:xfrm>
                <a:custGeom>
                  <a:avLst/>
                  <a:gdLst>
                    <a:gd name="connsiteX0" fmla="*/ 0 w 3113"/>
                    <a:gd name="connsiteY0" fmla="*/ 52065 h 52065"/>
                    <a:gd name="connsiteX1" fmla="*/ 2865 w 3113"/>
                    <a:gd name="connsiteY1" fmla="*/ 33506 h 52065"/>
                    <a:gd name="connsiteX2" fmla="*/ 249 w 3113"/>
                    <a:gd name="connsiteY2" fmla="*/ 16317 h 52065"/>
                    <a:gd name="connsiteX3" fmla="*/ 3114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0" y="52065"/>
                      </a:moveTo>
                      <a:cubicBezTo>
                        <a:pt x="2865" y="44093"/>
                        <a:pt x="3114" y="37741"/>
                        <a:pt x="2865" y="33506"/>
                      </a:cubicBezTo>
                      <a:cubicBezTo>
                        <a:pt x="2367" y="26531"/>
                        <a:pt x="374" y="23417"/>
                        <a:pt x="249" y="16317"/>
                      </a:cubicBezTo>
                      <a:cubicBezTo>
                        <a:pt x="124" y="9466"/>
                        <a:pt x="1744" y="3737"/>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5" name="Freeform 7988">
                  <a:extLst>
                    <a:ext uri="{FF2B5EF4-FFF2-40B4-BE49-F238E27FC236}">
                      <a16:creationId xmlns:a16="http://schemas.microsoft.com/office/drawing/2014/main" id="{C802ED49-1832-A72A-CFDC-44C3AC00864C}"/>
                    </a:ext>
                  </a:extLst>
                </p:cNvPr>
                <p:cNvSpPr/>
                <p:nvPr/>
              </p:nvSpPr>
              <p:spPr>
                <a:xfrm>
                  <a:off x="5460313" y="1924739"/>
                  <a:ext cx="5069" cy="52189"/>
                </a:xfrm>
                <a:custGeom>
                  <a:avLst/>
                  <a:gdLst>
                    <a:gd name="connsiteX0" fmla="*/ 3409 w 5069"/>
                    <a:gd name="connsiteY0" fmla="*/ 0 h 52189"/>
                    <a:gd name="connsiteX1" fmla="*/ 4530 w 5069"/>
                    <a:gd name="connsiteY1" fmla="*/ 18808 h 52189"/>
                    <a:gd name="connsiteX2" fmla="*/ 295 w 5069"/>
                    <a:gd name="connsiteY2" fmla="*/ 35748 h 52189"/>
                    <a:gd name="connsiteX3" fmla="*/ 1665 w 50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69" h="52189">
                      <a:moveTo>
                        <a:pt x="3409" y="0"/>
                      </a:moveTo>
                      <a:cubicBezTo>
                        <a:pt x="5526" y="8096"/>
                        <a:pt x="5277" y="14449"/>
                        <a:pt x="4530" y="18808"/>
                      </a:cubicBezTo>
                      <a:cubicBezTo>
                        <a:pt x="3409" y="25783"/>
                        <a:pt x="1167" y="28648"/>
                        <a:pt x="295" y="35748"/>
                      </a:cubicBezTo>
                      <a:cubicBezTo>
                        <a:pt x="-577" y="42599"/>
                        <a:pt x="668" y="48328"/>
                        <a:pt x="166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6" name="Freeform 7989">
                  <a:extLst>
                    <a:ext uri="{FF2B5EF4-FFF2-40B4-BE49-F238E27FC236}">
                      <a16:creationId xmlns:a16="http://schemas.microsoft.com/office/drawing/2014/main" id="{5BE48336-9213-EC08-AD53-28A90641CEAC}"/>
                    </a:ext>
                  </a:extLst>
                </p:cNvPr>
                <p:cNvSpPr/>
                <p:nvPr/>
              </p:nvSpPr>
              <p:spPr>
                <a:xfrm>
                  <a:off x="5452005" y="1965711"/>
                  <a:ext cx="26680" cy="26546"/>
                </a:xfrm>
                <a:custGeom>
                  <a:avLst/>
                  <a:gdLst>
                    <a:gd name="connsiteX0" fmla="*/ 8 w 26680"/>
                    <a:gd name="connsiteY0" fmla="*/ 12837 h 26546"/>
                    <a:gd name="connsiteX1" fmla="*/ 13958 w 26680"/>
                    <a:gd name="connsiteY1" fmla="*/ 8 h 26546"/>
                    <a:gd name="connsiteX2" fmla="*/ 26664 w 26680"/>
                    <a:gd name="connsiteY2" fmla="*/ 13709 h 26546"/>
                    <a:gd name="connsiteX3" fmla="*/ 12713 w 26680"/>
                    <a:gd name="connsiteY3" fmla="*/ 26539 h 26546"/>
                    <a:gd name="connsiteX4" fmla="*/ 8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8" y="12837"/>
                      </a:moveTo>
                      <a:cubicBezTo>
                        <a:pt x="382" y="5488"/>
                        <a:pt x="6610" y="-241"/>
                        <a:pt x="13958" y="8"/>
                      </a:cubicBezTo>
                      <a:cubicBezTo>
                        <a:pt x="21308" y="257"/>
                        <a:pt x="27037" y="6360"/>
                        <a:pt x="26664" y="13709"/>
                      </a:cubicBezTo>
                      <a:cubicBezTo>
                        <a:pt x="26290" y="21058"/>
                        <a:pt x="20062" y="26788"/>
                        <a:pt x="12713"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7" name="Freeform 7990">
                  <a:extLst>
                    <a:ext uri="{FF2B5EF4-FFF2-40B4-BE49-F238E27FC236}">
                      <a16:creationId xmlns:a16="http://schemas.microsoft.com/office/drawing/2014/main" id="{536AC4DF-91D7-5929-3D12-3F814A7522CA}"/>
                    </a:ext>
                  </a:extLst>
                </p:cNvPr>
                <p:cNvSpPr/>
                <p:nvPr/>
              </p:nvSpPr>
              <p:spPr>
                <a:xfrm>
                  <a:off x="5463971" y="1863706"/>
                  <a:ext cx="3113" cy="52065"/>
                </a:xfrm>
                <a:custGeom>
                  <a:avLst/>
                  <a:gdLst>
                    <a:gd name="connsiteX0" fmla="*/ 3114 w 3113"/>
                    <a:gd name="connsiteY0" fmla="*/ 0 h 52065"/>
                    <a:gd name="connsiteX1" fmla="*/ 249 w 3113"/>
                    <a:gd name="connsiteY1" fmla="*/ 18559 h 52065"/>
                    <a:gd name="connsiteX2" fmla="*/ 2865 w 3113"/>
                    <a:gd name="connsiteY2" fmla="*/ 35748 h 52065"/>
                    <a:gd name="connsiteX3" fmla="*/ 0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0"/>
                      </a:moveTo>
                      <a:cubicBezTo>
                        <a:pt x="249" y="7972"/>
                        <a:pt x="0" y="14324"/>
                        <a:pt x="249" y="18559"/>
                      </a:cubicBezTo>
                      <a:cubicBezTo>
                        <a:pt x="747" y="25534"/>
                        <a:pt x="2740" y="28648"/>
                        <a:pt x="2865" y="35748"/>
                      </a:cubicBezTo>
                      <a:cubicBezTo>
                        <a:pt x="2989"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8" name="Freeform 7991">
                  <a:extLst>
                    <a:ext uri="{FF2B5EF4-FFF2-40B4-BE49-F238E27FC236}">
                      <a16:creationId xmlns:a16="http://schemas.microsoft.com/office/drawing/2014/main" id="{05D2D71E-5B82-36E5-547C-A8FC12995907}"/>
                    </a:ext>
                  </a:extLst>
                </p:cNvPr>
                <p:cNvSpPr/>
                <p:nvPr/>
              </p:nvSpPr>
              <p:spPr>
                <a:xfrm>
                  <a:off x="5470905" y="1858848"/>
                  <a:ext cx="5018" cy="52189"/>
                </a:xfrm>
                <a:custGeom>
                  <a:avLst/>
                  <a:gdLst>
                    <a:gd name="connsiteX0" fmla="*/ 1660 w 5018"/>
                    <a:gd name="connsiteY0" fmla="*/ 52190 h 52189"/>
                    <a:gd name="connsiteX1" fmla="*/ 540 w 5018"/>
                    <a:gd name="connsiteY1" fmla="*/ 33381 h 52189"/>
                    <a:gd name="connsiteX2" fmla="*/ 4774 w 5018"/>
                    <a:gd name="connsiteY2" fmla="*/ 16442 h 52189"/>
                    <a:gd name="connsiteX3" fmla="*/ 3404 w 5018"/>
                    <a:gd name="connsiteY3" fmla="*/ 0 h 52189"/>
                  </a:gdLst>
                  <a:ahLst/>
                  <a:cxnLst>
                    <a:cxn ang="0">
                      <a:pos x="connsiteX0" y="connsiteY0"/>
                    </a:cxn>
                    <a:cxn ang="0">
                      <a:pos x="connsiteX1" y="connsiteY1"/>
                    </a:cxn>
                    <a:cxn ang="0">
                      <a:pos x="connsiteX2" y="connsiteY2"/>
                    </a:cxn>
                    <a:cxn ang="0">
                      <a:pos x="connsiteX3" y="connsiteY3"/>
                    </a:cxn>
                  </a:cxnLst>
                  <a:rect l="l" t="t" r="r" b="b"/>
                  <a:pathLst>
                    <a:path w="5018" h="52189">
                      <a:moveTo>
                        <a:pt x="1660" y="52190"/>
                      </a:moveTo>
                      <a:cubicBezTo>
                        <a:pt x="-457" y="44093"/>
                        <a:pt x="-208" y="37741"/>
                        <a:pt x="540" y="33381"/>
                      </a:cubicBezTo>
                      <a:cubicBezTo>
                        <a:pt x="1660" y="26406"/>
                        <a:pt x="3903" y="23541"/>
                        <a:pt x="4774" y="16442"/>
                      </a:cubicBezTo>
                      <a:cubicBezTo>
                        <a:pt x="5522" y="9591"/>
                        <a:pt x="4401" y="3861"/>
                        <a:pt x="340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9" name="Freeform 7992">
                  <a:extLst>
                    <a:ext uri="{FF2B5EF4-FFF2-40B4-BE49-F238E27FC236}">
                      <a16:creationId xmlns:a16="http://schemas.microsoft.com/office/drawing/2014/main" id="{003FFE67-ED54-BC1A-2C2D-1F5FAF190260}"/>
                    </a:ext>
                  </a:extLst>
                </p:cNvPr>
                <p:cNvSpPr/>
                <p:nvPr/>
              </p:nvSpPr>
              <p:spPr>
                <a:xfrm>
                  <a:off x="5457726" y="1843520"/>
                  <a:ext cx="26441" cy="26546"/>
                </a:xfrm>
                <a:custGeom>
                  <a:avLst/>
                  <a:gdLst>
                    <a:gd name="connsiteX0" fmla="*/ 26424 w 26441"/>
                    <a:gd name="connsiteY0" fmla="*/ 13709 h 26546"/>
                    <a:gd name="connsiteX1" fmla="*/ 12598 w 26441"/>
                    <a:gd name="connsiteY1" fmla="*/ 26539 h 26546"/>
                    <a:gd name="connsiteX2" fmla="*/ 18 w 26441"/>
                    <a:gd name="connsiteY2" fmla="*/ 12837 h 26546"/>
                    <a:gd name="connsiteX3" fmla="*/ 13843 w 26441"/>
                    <a:gd name="connsiteY3" fmla="*/ 8 h 26546"/>
                    <a:gd name="connsiteX4" fmla="*/ 26424 w 2644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4" y="13709"/>
                      </a:moveTo>
                      <a:cubicBezTo>
                        <a:pt x="26050" y="21058"/>
                        <a:pt x="19947" y="26788"/>
                        <a:pt x="12598" y="26539"/>
                      </a:cubicBezTo>
                      <a:cubicBezTo>
                        <a:pt x="5249" y="26290"/>
                        <a:pt x="-356" y="20186"/>
                        <a:pt x="18" y="12837"/>
                      </a:cubicBezTo>
                      <a:cubicBezTo>
                        <a:pt x="391" y="5488"/>
                        <a:pt x="6495" y="-241"/>
                        <a:pt x="13843" y="8"/>
                      </a:cubicBezTo>
                      <a:cubicBezTo>
                        <a:pt x="21068" y="257"/>
                        <a:pt x="26797"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9" name="Graphic 2987">
                <a:extLst>
                  <a:ext uri="{FF2B5EF4-FFF2-40B4-BE49-F238E27FC236}">
                    <a16:creationId xmlns:a16="http://schemas.microsoft.com/office/drawing/2014/main" id="{EEF69BD2-7F9D-597F-78DE-BA32F3878C9F}"/>
                  </a:ext>
                </a:extLst>
              </p:cNvPr>
              <p:cNvGrpSpPr/>
              <p:nvPr/>
            </p:nvGrpSpPr>
            <p:grpSpPr>
              <a:xfrm>
                <a:off x="5422227" y="1842264"/>
                <a:ext cx="32420" cy="148894"/>
                <a:chOff x="5422227" y="1842264"/>
                <a:chExt cx="32420" cy="148894"/>
              </a:xfrm>
              <a:grpFill/>
            </p:grpSpPr>
            <p:sp>
              <p:nvSpPr>
                <p:cNvPr id="6198" name="Freeform 7994">
                  <a:extLst>
                    <a:ext uri="{FF2B5EF4-FFF2-40B4-BE49-F238E27FC236}">
                      <a16:creationId xmlns:a16="http://schemas.microsoft.com/office/drawing/2014/main" id="{F9B75152-DE0C-AF46-6891-8D7D444261E8}"/>
                    </a:ext>
                  </a:extLst>
                </p:cNvPr>
                <p:cNvSpPr/>
                <p:nvPr/>
              </p:nvSpPr>
              <p:spPr>
                <a:xfrm>
                  <a:off x="5439558" y="1918885"/>
                  <a:ext cx="3238" cy="52065"/>
                </a:xfrm>
                <a:custGeom>
                  <a:avLst/>
                  <a:gdLst>
                    <a:gd name="connsiteX0" fmla="*/ 0 w 3238"/>
                    <a:gd name="connsiteY0" fmla="*/ 52065 h 52065"/>
                    <a:gd name="connsiteX1" fmla="*/ 2865 w 3238"/>
                    <a:gd name="connsiteY1" fmla="*/ 33506 h 52065"/>
                    <a:gd name="connsiteX2" fmla="*/ 249 w 3238"/>
                    <a:gd name="connsiteY2" fmla="*/ 16193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114" y="37866"/>
                        <a:pt x="2865" y="33506"/>
                      </a:cubicBezTo>
                      <a:cubicBezTo>
                        <a:pt x="2367" y="26531"/>
                        <a:pt x="374" y="23292"/>
                        <a:pt x="249" y="16193"/>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9" name="Freeform 7995">
                  <a:extLst>
                    <a:ext uri="{FF2B5EF4-FFF2-40B4-BE49-F238E27FC236}">
                      <a16:creationId xmlns:a16="http://schemas.microsoft.com/office/drawing/2014/main" id="{086E63B7-68F7-F6A0-024E-D4E59E3D5C17}"/>
                    </a:ext>
                  </a:extLst>
                </p:cNvPr>
                <p:cNvSpPr/>
                <p:nvPr/>
              </p:nvSpPr>
              <p:spPr>
                <a:xfrm>
                  <a:off x="5430652" y="1923369"/>
                  <a:ext cx="5033" cy="52065"/>
                </a:xfrm>
                <a:custGeom>
                  <a:avLst/>
                  <a:gdLst>
                    <a:gd name="connsiteX0" fmla="*/ 3425 w 5033"/>
                    <a:gd name="connsiteY0" fmla="*/ 0 h 52065"/>
                    <a:gd name="connsiteX1" fmla="*/ 4546 w 5033"/>
                    <a:gd name="connsiteY1" fmla="*/ 18808 h 52065"/>
                    <a:gd name="connsiteX2" fmla="*/ 311 w 5033"/>
                    <a:gd name="connsiteY2" fmla="*/ 35624 h 52065"/>
                    <a:gd name="connsiteX3" fmla="*/ 168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0"/>
                      </a:moveTo>
                      <a:cubicBezTo>
                        <a:pt x="5543" y="8221"/>
                        <a:pt x="5169" y="14449"/>
                        <a:pt x="4546" y="18808"/>
                      </a:cubicBezTo>
                      <a:cubicBezTo>
                        <a:pt x="3425" y="25659"/>
                        <a:pt x="1183" y="28648"/>
                        <a:pt x="311" y="35624"/>
                      </a:cubicBezTo>
                      <a:cubicBezTo>
                        <a:pt x="-560" y="42474"/>
                        <a:pt x="561" y="48328"/>
                        <a:pt x="168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0" name="Freeform 7996">
                  <a:extLst>
                    <a:ext uri="{FF2B5EF4-FFF2-40B4-BE49-F238E27FC236}">
                      <a16:creationId xmlns:a16="http://schemas.microsoft.com/office/drawing/2014/main" id="{8AC41006-CF2C-68C7-9D78-B8DCBBE82C0A}"/>
                    </a:ext>
                  </a:extLst>
                </p:cNvPr>
                <p:cNvSpPr/>
                <p:nvPr/>
              </p:nvSpPr>
              <p:spPr>
                <a:xfrm>
                  <a:off x="5422227" y="1964580"/>
                  <a:ext cx="26689" cy="26579"/>
                </a:xfrm>
                <a:custGeom>
                  <a:avLst/>
                  <a:gdLst>
                    <a:gd name="connsiteX0" fmla="*/ 17 w 26689"/>
                    <a:gd name="connsiteY0" fmla="*/ 12474 h 26579"/>
                    <a:gd name="connsiteX1" fmla="*/ 13968 w 26689"/>
                    <a:gd name="connsiteY1" fmla="*/ 18 h 26579"/>
                    <a:gd name="connsiteX2" fmla="*/ 26672 w 26689"/>
                    <a:gd name="connsiteY2" fmla="*/ 13968 h 26579"/>
                    <a:gd name="connsiteX3" fmla="*/ 12722 w 26689"/>
                    <a:gd name="connsiteY3" fmla="*/ 26549 h 26579"/>
                    <a:gd name="connsiteX4" fmla="*/ 17 w 26689"/>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8" h="26579">
                      <a:moveTo>
                        <a:pt x="17" y="12474"/>
                      </a:moveTo>
                      <a:cubicBezTo>
                        <a:pt x="391" y="5125"/>
                        <a:pt x="6619" y="-356"/>
                        <a:pt x="13968" y="18"/>
                      </a:cubicBezTo>
                      <a:cubicBezTo>
                        <a:pt x="21317" y="516"/>
                        <a:pt x="27046" y="6620"/>
                        <a:pt x="26672" y="13968"/>
                      </a:cubicBezTo>
                      <a:cubicBezTo>
                        <a:pt x="26299" y="21317"/>
                        <a:pt x="20071" y="27047"/>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1" name="Freeform 7997">
                  <a:extLst>
                    <a:ext uri="{FF2B5EF4-FFF2-40B4-BE49-F238E27FC236}">
                      <a16:creationId xmlns:a16="http://schemas.microsoft.com/office/drawing/2014/main" id="{ED8ABC50-913F-C0CC-EB37-D4810097BB42}"/>
                    </a:ext>
                  </a:extLst>
                </p:cNvPr>
                <p:cNvSpPr/>
                <p:nvPr/>
              </p:nvSpPr>
              <p:spPr>
                <a:xfrm>
                  <a:off x="5434326" y="1862336"/>
                  <a:ext cx="3238" cy="52065"/>
                </a:xfrm>
                <a:custGeom>
                  <a:avLst/>
                  <a:gdLst>
                    <a:gd name="connsiteX0" fmla="*/ 3238 w 3238"/>
                    <a:gd name="connsiteY0" fmla="*/ 0 h 52065"/>
                    <a:gd name="connsiteX1" fmla="*/ 374 w 3238"/>
                    <a:gd name="connsiteY1" fmla="*/ 18559 h 52065"/>
                    <a:gd name="connsiteX2" fmla="*/ 2989 w 3238"/>
                    <a:gd name="connsiteY2" fmla="*/ 35873 h 52065"/>
                    <a:gd name="connsiteX3" fmla="*/ 0 w 323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8" h="52065">
                      <a:moveTo>
                        <a:pt x="3238" y="0"/>
                      </a:moveTo>
                      <a:cubicBezTo>
                        <a:pt x="374" y="7847"/>
                        <a:pt x="124" y="14200"/>
                        <a:pt x="374" y="18559"/>
                      </a:cubicBezTo>
                      <a:cubicBezTo>
                        <a:pt x="872" y="25534"/>
                        <a:pt x="2740"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2" name="Freeform 7998">
                  <a:extLst>
                    <a:ext uri="{FF2B5EF4-FFF2-40B4-BE49-F238E27FC236}">
                      <a16:creationId xmlns:a16="http://schemas.microsoft.com/office/drawing/2014/main" id="{89C2E7DB-E317-991E-7E10-D2D7137CF1BA}"/>
                    </a:ext>
                  </a:extLst>
                </p:cNvPr>
                <p:cNvSpPr/>
                <p:nvPr/>
              </p:nvSpPr>
              <p:spPr>
                <a:xfrm>
                  <a:off x="5441313" y="1857852"/>
                  <a:ext cx="5033" cy="52065"/>
                </a:xfrm>
                <a:custGeom>
                  <a:avLst/>
                  <a:gdLst>
                    <a:gd name="connsiteX0" fmla="*/ 1608 w 5033"/>
                    <a:gd name="connsiteY0" fmla="*/ 52065 h 52065"/>
                    <a:gd name="connsiteX1" fmla="*/ 487 w 5033"/>
                    <a:gd name="connsiteY1" fmla="*/ 33257 h 52065"/>
                    <a:gd name="connsiteX2" fmla="*/ 4722 w 5033"/>
                    <a:gd name="connsiteY2" fmla="*/ 16442 h 52065"/>
                    <a:gd name="connsiteX3" fmla="*/ 3352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52065"/>
                      </a:moveTo>
                      <a:cubicBezTo>
                        <a:pt x="-510" y="43844"/>
                        <a:pt x="-136" y="37616"/>
                        <a:pt x="487" y="33257"/>
                      </a:cubicBezTo>
                      <a:cubicBezTo>
                        <a:pt x="1608" y="26406"/>
                        <a:pt x="3850" y="23417"/>
                        <a:pt x="4722" y="16442"/>
                      </a:cubicBezTo>
                      <a:cubicBezTo>
                        <a:pt x="5594" y="9591"/>
                        <a:pt x="4473"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3" name="Freeform 7999">
                  <a:extLst>
                    <a:ext uri="{FF2B5EF4-FFF2-40B4-BE49-F238E27FC236}">
                      <a16:creationId xmlns:a16="http://schemas.microsoft.com/office/drawing/2014/main" id="{320ACC78-CE01-D62F-61C2-1C3ECFB6AC27}"/>
                    </a:ext>
                  </a:extLst>
                </p:cNvPr>
                <p:cNvSpPr/>
                <p:nvPr/>
              </p:nvSpPr>
              <p:spPr>
                <a:xfrm>
                  <a:off x="5428205" y="1842264"/>
                  <a:ext cx="26441" cy="26579"/>
                </a:xfrm>
                <a:custGeom>
                  <a:avLst/>
                  <a:gdLst>
                    <a:gd name="connsiteX0" fmla="*/ 26424 w 26441"/>
                    <a:gd name="connsiteY0" fmla="*/ 13968 h 26579"/>
                    <a:gd name="connsiteX1" fmla="*/ 12598 w 26441"/>
                    <a:gd name="connsiteY1" fmla="*/ 26549 h 26579"/>
                    <a:gd name="connsiteX2" fmla="*/ 18 w 26441"/>
                    <a:gd name="connsiteY2" fmla="*/ 12474 h 26579"/>
                    <a:gd name="connsiteX3" fmla="*/ 13844 w 26441"/>
                    <a:gd name="connsiteY3" fmla="*/ 18 h 26579"/>
                    <a:gd name="connsiteX4" fmla="*/ 26424 w 26441"/>
                    <a:gd name="connsiteY4" fmla="*/ 13968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3968"/>
                      </a:moveTo>
                      <a:cubicBezTo>
                        <a:pt x="26051" y="21317"/>
                        <a:pt x="19947" y="27047"/>
                        <a:pt x="12598" y="26549"/>
                      </a:cubicBezTo>
                      <a:cubicBezTo>
                        <a:pt x="5249" y="26175"/>
                        <a:pt x="-356" y="19823"/>
                        <a:pt x="18" y="12474"/>
                      </a:cubicBezTo>
                      <a:cubicBezTo>
                        <a:pt x="391" y="5125"/>
                        <a:pt x="6619" y="-356"/>
                        <a:pt x="13844" y="18"/>
                      </a:cubicBezTo>
                      <a:cubicBezTo>
                        <a:pt x="21193" y="516"/>
                        <a:pt x="26798" y="6620"/>
                        <a:pt x="2642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0" name="Graphic 2987">
                <a:extLst>
                  <a:ext uri="{FF2B5EF4-FFF2-40B4-BE49-F238E27FC236}">
                    <a16:creationId xmlns:a16="http://schemas.microsoft.com/office/drawing/2014/main" id="{CAF0CF7C-57E5-5B4B-CA2A-FE1DD093D66A}"/>
                  </a:ext>
                </a:extLst>
              </p:cNvPr>
              <p:cNvGrpSpPr/>
              <p:nvPr/>
            </p:nvGrpSpPr>
            <p:grpSpPr>
              <a:xfrm>
                <a:off x="5392458" y="1840520"/>
                <a:ext cx="32793" cy="148882"/>
                <a:chOff x="5392458" y="1840520"/>
                <a:chExt cx="32793" cy="148882"/>
              </a:xfrm>
              <a:grpFill/>
            </p:grpSpPr>
            <p:sp>
              <p:nvSpPr>
                <p:cNvPr id="6192" name="Freeform 8001">
                  <a:extLst>
                    <a:ext uri="{FF2B5EF4-FFF2-40B4-BE49-F238E27FC236}">
                      <a16:creationId xmlns:a16="http://schemas.microsoft.com/office/drawing/2014/main" id="{04C1048B-8562-B822-D168-5255527A768D}"/>
                    </a:ext>
                  </a:extLst>
                </p:cNvPr>
                <p:cNvSpPr/>
                <p:nvPr/>
              </p:nvSpPr>
              <p:spPr>
                <a:xfrm>
                  <a:off x="5409913" y="1917141"/>
                  <a:ext cx="3238" cy="52065"/>
                </a:xfrm>
                <a:custGeom>
                  <a:avLst/>
                  <a:gdLst>
                    <a:gd name="connsiteX0" fmla="*/ 0 w 3238"/>
                    <a:gd name="connsiteY0" fmla="*/ 52065 h 52065"/>
                    <a:gd name="connsiteX1" fmla="*/ 2865 w 3238"/>
                    <a:gd name="connsiteY1" fmla="*/ 33506 h 52065"/>
                    <a:gd name="connsiteX2" fmla="*/ 249 w 3238"/>
                    <a:gd name="connsiteY2" fmla="*/ 16192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239" y="37866"/>
                        <a:pt x="2865" y="33506"/>
                      </a:cubicBezTo>
                      <a:cubicBezTo>
                        <a:pt x="2491" y="26531"/>
                        <a:pt x="498" y="23292"/>
                        <a:pt x="249" y="16192"/>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3" name="Freeform 8002">
                  <a:extLst>
                    <a:ext uri="{FF2B5EF4-FFF2-40B4-BE49-F238E27FC236}">
                      <a16:creationId xmlns:a16="http://schemas.microsoft.com/office/drawing/2014/main" id="{D8D10673-BC7D-C3D4-78EC-FB4BE5B916BB}"/>
                    </a:ext>
                  </a:extLst>
                </p:cNvPr>
                <p:cNvSpPr/>
                <p:nvPr/>
              </p:nvSpPr>
              <p:spPr>
                <a:xfrm>
                  <a:off x="5400883" y="1921625"/>
                  <a:ext cx="5135" cy="52065"/>
                </a:xfrm>
                <a:custGeom>
                  <a:avLst/>
                  <a:gdLst>
                    <a:gd name="connsiteX0" fmla="*/ 3550 w 5135"/>
                    <a:gd name="connsiteY0" fmla="*/ 0 h 52065"/>
                    <a:gd name="connsiteX1" fmla="*/ 4546 w 5135"/>
                    <a:gd name="connsiteY1" fmla="*/ 18808 h 52065"/>
                    <a:gd name="connsiteX2" fmla="*/ 311 w 5135"/>
                    <a:gd name="connsiteY2" fmla="*/ 35624 h 52065"/>
                    <a:gd name="connsiteX3" fmla="*/ 1681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3550" y="0"/>
                      </a:moveTo>
                      <a:cubicBezTo>
                        <a:pt x="5667" y="8221"/>
                        <a:pt x="5294" y="14449"/>
                        <a:pt x="4546" y="18808"/>
                      </a:cubicBezTo>
                      <a:cubicBezTo>
                        <a:pt x="3425" y="25659"/>
                        <a:pt x="1183" y="28648"/>
                        <a:pt x="311" y="35624"/>
                      </a:cubicBezTo>
                      <a:cubicBezTo>
                        <a:pt x="-561" y="42474"/>
                        <a:pt x="560" y="48328"/>
                        <a:pt x="16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4" name="Freeform 8003">
                  <a:extLst>
                    <a:ext uri="{FF2B5EF4-FFF2-40B4-BE49-F238E27FC236}">
                      <a16:creationId xmlns:a16="http://schemas.microsoft.com/office/drawing/2014/main" id="{E90DAD78-3A3B-84C5-0B39-081AFF22D4EC}"/>
                    </a:ext>
                  </a:extLst>
                </p:cNvPr>
                <p:cNvSpPr/>
                <p:nvPr/>
              </p:nvSpPr>
              <p:spPr>
                <a:xfrm>
                  <a:off x="5392458" y="1962836"/>
                  <a:ext cx="26680" cy="26566"/>
                </a:xfrm>
                <a:custGeom>
                  <a:avLst/>
                  <a:gdLst>
                    <a:gd name="connsiteX0" fmla="*/ 17 w 26680"/>
                    <a:gd name="connsiteY0" fmla="*/ 12474 h 26566"/>
                    <a:gd name="connsiteX1" fmla="*/ 13968 w 26680"/>
                    <a:gd name="connsiteY1" fmla="*/ 18 h 26566"/>
                    <a:gd name="connsiteX2" fmla="*/ 26673 w 26680"/>
                    <a:gd name="connsiteY2" fmla="*/ 14093 h 26566"/>
                    <a:gd name="connsiteX3" fmla="*/ 12722 w 26680"/>
                    <a:gd name="connsiteY3" fmla="*/ 26549 h 26566"/>
                    <a:gd name="connsiteX4" fmla="*/ 17 w 26680"/>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17" y="12474"/>
                      </a:moveTo>
                      <a:cubicBezTo>
                        <a:pt x="391" y="5125"/>
                        <a:pt x="6619" y="-356"/>
                        <a:pt x="13968" y="18"/>
                      </a:cubicBezTo>
                      <a:cubicBezTo>
                        <a:pt x="21317" y="392"/>
                        <a:pt x="26922" y="6744"/>
                        <a:pt x="26673" y="14093"/>
                      </a:cubicBezTo>
                      <a:cubicBezTo>
                        <a:pt x="26299" y="21442"/>
                        <a:pt x="20071" y="26922"/>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5" name="Freeform 8004">
                  <a:extLst>
                    <a:ext uri="{FF2B5EF4-FFF2-40B4-BE49-F238E27FC236}">
                      <a16:creationId xmlns:a16="http://schemas.microsoft.com/office/drawing/2014/main" id="{F9597EA3-6154-4D18-741D-D7FD0A7F0C94}"/>
                    </a:ext>
                  </a:extLst>
                </p:cNvPr>
                <p:cNvSpPr/>
                <p:nvPr/>
              </p:nvSpPr>
              <p:spPr>
                <a:xfrm>
                  <a:off x="5404682" y="1860592"/>
                  <a:ext cx="3362" cy="52065"/>
                </a:xfrm>
                <a:custGeom>
                  <a:avLst/>
                  <a:gdLst>
                    <a:gd name="connsiteX0" fmla="*/ 3363 w 3362"/>
                    <a:gd name="connsiteY0" fmla="*/ 0 h 52065"/>
                    <a:gd name="connsiteX1" fmla="*/ 498 w 3362"/>
                    <a:gd name="connsiteY1" fmla="*/ 18559 h 52065"/>
                    <a:gd name="connsiteX2" fmla="*/ 2989 w 3362"/>
                    <a:gd name="connsiteY2" fmla="*/ 35873 h 52065"/>
                    <a:gd name="connsiteX3" fmla="*/ 0 w 33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3363" y="0"/>
                      </a:moveTo>
                      <a:cubicBezTo>
                        <a:pt x="498" y="7847"/>
                        <a:pt x="125" y="14200"/>
                        <a:pt x="498" y="18559"/>
                      </a:cubicBezTo>
                      <a:cubicBezTo>
                        <a:pt x="872" y="25534"/>
                        <a:pt x="2865"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6" name="Freeform 8005">
                  <a:extLst>
                    <a:ext uri="{FF2B5EF4-FFF2-40B4-BE49-F238E27FC236}">
                      <a16:creationId xmlns:a16="http://schemas.microsoft.com/office/drawing/2014/main" id="{1E9E01BE-3421-3771-44E9-DDA33839D2F9}"/>
                    </a:ext>
                  </a:extLst>
                </p:cNvPr>
                <p:cNvSpPr/>
                <p:nvPr/>
              </p:nvSpPr>
              <p:spPr>
                <a:xfrm>
                  <a:off x="5411815" y="1856108"/>
                  <a:ext cx="5135" cy="52065"/>
                </a:xfrm>
                <a:custGeom>
                  <a:avLst/>
                  <a:gdLst>
                    <a:gd name="connsiteX0" fmla="*/ 1585 w 5135"/>
                    <a:gd name="connsiteY0" fmla="*/ 52065 h 52065"/>
                    <a:gd name="connsiteX1" fmla="*/ 589 w 5135"/>
                    <a:gd name="connsiteY1" fmla="*/ 33257 h 52065"/>
                    <a:gd name="connsiteX2" fmla="*/ 4824 w 5135"/>
                    <a:gd name="connsiteY2" fmla="*/ 16442 h 52065"/>
                    <a:gd name="connsiteX3" fmla="*/ 3454 w 5135"/>
                    <a:gd name="connsiteY3" fmla="*/ 0 h 52065"/>
                  </a:gdLst>
                  <a:ahLst/>
                  <a:cxnLst>
                    <a:cxn ang="0">
                      <a:pos x="connsiteX0" y="connsiteY0"/>
                    </a:cxn>
                    <a:cxn ang="0">
                      <a:pos x="connsiteX1" y="connsiteY1"/>
                    </a:cxn>
                    <a:cxn ang="0">
                      <a:pos x="connsiteX2" y="connsiteY2"/>
                    </a:cxn>
                    <a:cxn ang="0">
                      <a:pos x="connsiteX3" y="connsiteY3"/>
                    </a:cxn>
                  </a:cxnLst>
                  <a:rect l="l" t="t" r="r" b="b"/>
                  <a:pathLst>
                    <a:path w="5135" h="52065">
                      <a:moveTo>
                        <a:pt x="1585" y="52065"/>
                      </a:moveTo>
                      <a:cubicBezTo>
                        <a:pt x="-532" y="43844"/>
                        <a:pt x="-158" y="37616"/>
                        <a:pt x="589" y="33257"/>
                      </a:cubicBezTo>
                      <a:cubicBezTo>
                        <a:pt x="1710" y="26406"/>
                        <a:pt x="3952" y="23417"/>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7" name="Freeform 8006">
                  <a:extLst>
                    <a:ext uri="{FF2B5EF4-FFF2-40B4-BE49-F238E27FC236}">
                      <a16:creationId xmlns:a16="http://schemas.microsoft.com/office/drawing/2014/main" id="{2D9491F7-D709-BB1F-A211-0FC96BB7EA91}"/>
                    </a:ext>
                  </a:extLst>
                </p:cNvPr>
                <p:cNvSpPr/>
                <p:nvPr/>
              </p:nvSpPr>
              <p:spPr>
                <a:xfrm>
                  <a:off x="5398934" y="1840520"/>
                  <a:ext cx="26317" cy="26566"/>
                </a:xfrm>
                <a:custGeom>
                  <a:avLst/>
                  <a:gdLst>
                    <a:gd name="connsiteX0" fmla="*/ 26300 w 26317"/>
                    <a:gd name="connsiteY0" fmla="*/ 14093 h 26566"/>
                    <a:gd name="connsiteX1" fmla="*/ 12474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2"/>
                        <a:pt x="12474" y="26549"/>
                      </a:cubicBezTo>
                      <a:cubicBezTo>
                        <a:pt x="5125" y="26175"/>
                        <a:pt x="-356" y="19823"/>
                        <a:pt x="18" y="12474"/>
                      </a:cubicBezTo>
                      <a:cubicBezTo>
                        <a:pt x="392" y="5125"/>
                        <a:pt x="6620" y="-356"/>
                        <a:pt x="13844" y="18"/>
                      </a:cubicBezTo>
                      <a:cubicBezTo>
                        <a:pt x="21068"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1" name="Graphic 2987">
                <a:extLst>
                  <a:ext uri="{FF2B5EF4-FFF2-40B4-BE49-F238E27FC236}">
                    <a16:creationId xmlns:a16="http://schemas.microsoft.com/office/drawing/2014/main" id="{36734FCB-3D0F-100A-A119-523247DE807A}"/>
                  </a:ext>
                </a:extLst>
              </p:cNvPr>
              <p:cNvGrpSpPr/>
              <p:nvPr/>
            </p:nvGrpSpPr>
            <p:grpSpPr>
              <a:xfrm>
                <a:off x="5362799" y="1838776"/>
                <a:ext cx="32932" cy="148757"/>
                <a:chOff x="5362799" y="1838776"/>
                <a:chExt cx="32932" cy="148757"/>
              </a:xfrm>
              <a:grpFill/>
            </p:grpSpPr>
            <p:sp>
              <p:nvSpPr>
                <p:cNvPr id="6186" name="Freeform 8008">
                  <a:extLst>
                    <a:ext uri="{FF2B5EF4-FFF2-40B4-BE49-F238E27FC236}">
                      <a16:creationId xmlns:a16="http://schemas.microsoft.com/office/drawing/2014/main" id="{0F928026-AC20-C160-7B23-5D2AD80C7C65}"/>
                    </a:ext>
                  </a:extLst>
                </p:cNvPr>
                <p:cNvSpPr/>
                <p:nvPr/>
              </p:nvSpPr>
              <p:spPr>
                <a:xfrm>
                  <a:off x="5380144" y="1915397"/>
                  <a:ext cx="3487" cy="52065"/>
                </a:xfrm>
                <a:custGeom>
                  <a:avLst/>
                  <a:gdLst>
                    <a:gd name="connsiteX0" fmla="*/ 0 w 3487"/>
                    <a:gd name="connsiteY0" fmla="*/ 52065 h 52065"/>
                    <a:gd name="connsiteX1" fmla="*/ 2989 w 3487"/>
                    <a:gd name="connsiteY1" fmla="*/ 33506 h 52065"/>
                    <a:gd name="connsiteX2" fmla="*/ 498 w 3487"/>
                    <a:gd name="connsiteY2" fmla="*/ 16192 h 52065"/>
                    <a:gd name="connsiteX3" fmla="*/ 3488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0" y="52065"/>
                      </a:moveTo>
                      <a:cubicBezTo>
                        <a:pt x="2865" y="44218"/>
                        <a:pt x="3239" y="37866"/>
                        <a:pt x="2989" y="33506"/>
                      </a:cubicBezTo>
                      <a:cubicBezTo>
                        <a:pt x="2616" y="26531"/>
                        <a:pt x="623" y="23292"/>
                        <a:pt x="498" y="16192"/>
                      </a:cubicBezTo>
                      <a:cubicBezTo>
                        <a:pt x="374" y="9342"/>
                        <a:pt x="2117" y="3612"/>
                        <a:pt x="34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7" name="Freeform 8009">
                  <a:extLst>
                    <a:ext uri="{FF2B5EF4-FFF2-40B4-BE49-F238E27FC236}">
                      <a16:creationId xmlns:a16="http://schemas.microsoft.com/office/drawing/2014/main" id="{FFB314DA-DA6D-8203-AA42-122868C3D5C1}"/>
                    </a:ext>
                  </a:extLst>
                </p:cNvPr>
                <p:cNvSpPr/>
                <p:nvPr/>
              </p:nvSpPr>
              <p:spPr>
                <a:xfrm>
                  <a:off x="5371236" y="1919881"/>
                  <a:ext cx="5222" cy="52065"/>
                </a:xfrm>
                <a:custGeom>
                  <a:avLst/>
                  <a:gdLst>
                    <a:gd name="connsiteX0" fmla="*/ 3676 w 5222"/>
                    <a:gd name="connsiteY0" fmla="*/ 0 h 52065"/>
                    <a:gd name="connsiteX1" fmla="*/ 4673 w 5222"/>
                    <a:gd name="connsiteY1" fmla="*/ 18808 h 52065"/>
                    <a:gd name="connsiteX2" fmla="*/ 313 w 5222"/>
                    <a:gd name="connsiteY2" fmla="*/ 35624 h 52065"/>
                    <a:gd name="connsiteX3" fmla="*/ 1559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0"/>
                      </a:moveTo>
                      <a:cubicBezTo>
                        <a:pt x="5669" y="8221"/>
                        <a:pt x="5420" y="14449"/>
                        <a:pt x="4673" y="18808"/>
                      </a:cubicBezTo>
                      <a:cubicBezTo>
                        <a:pt x="3552" y="25659"/>
                        <a:pt x="1185" y="28648"/>
                        <a:pt x="313" y="35624"/>
                      </a:cubicBezTo>
                      <a:cubicBezTo>
                        <a:pt x="-559" y="42474"/>
                        <a:pt x="562"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8" name="Freeform 8010">
                  <a:extLst>
                    <a:ext uri="{FF2B5EF4-FFF2-40B4-BE49-F238E27FC236}">
                      <a16:creationId xmlns:a16="http://schemas.microsoft.com/office/drawing/2014/main" id="{CB80072D-BABE-B830-6C7B-D29062D7644F}"/>
                    </a:ext>
                  </a:extLst>
                </p:cNvPr>
                <p:cNvSpPr/>
                <p:nvPr/>
              </p:nvSpPr>
              <p:spPr>
                <a:xfrm>
                  <a:off x="5362799" y="1960967"/>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20085" y="26922"/>
                        <a:pt x="12611" y="26549"/>
                      </a:cubicBezTo>
                      <a:cubicBezTo>
                        <a:pt x="5138" y="26175"/>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9" name="Freeform 8011">
                  <a:extLst>
                    <a:ext uri="{FF2B5EF4-FFF2-40B4-BE49-F238E27FC236}">
                      <a16:creationId xmlns:a16="http://schemas.microsoft.com/office/drawing/2014/main" id="{EDA0EBE0-7C20-9BE1-3999-05192E62B235}"/>
                    </a:ext>
                  </a:extLst>
                </p:cNvPr>
                <p:cNvSpPr/>
                <p:nvPr/>
              </p:nvSpPr>
              <p:spPr>
                <a:xfrm>
                  <a:off x="5375162" y="1858848"/>
                  <a:ext cx="3487" cy="52065"/>
                </a:xfrm>
                <a:custGeom>
                  <a:avLst/>
                  <a:gdLst>
                    <a:gd name="connsiteX0" fmla="*/ 3488 w 3487"/>
                    <a:gd name="connsiteY0" fmla="*/ 0 h 52065"/>
                    <a:gd name="connsiteX1" fmla="*/ 498 w 3487"/>
                    <a:gd name="connsiteY1" fmla="*/ 18559 h 52065"/>
                    <a:gd name="connsiteX2" fmla="*/ 2989 w 3487"/>
                    <a:gd name="connsiteY2" fmla="*/ 35873 h 52065"/>
                    <a:gd name="connsiteX3" fmla="*/ 0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0"/>
                      </a:moveTo>
                      <a:cubicBezTo>
                        <a:pt x="623" y="7847"/>
                        <a:pt x="249" y="14200"/>
                        <a:pt x="498" y="18559"/>
                      </a:cubicBezTo>
                      <a:cubicBezTo>
                        <a:pt x="872" y="25534"/>
                        <a:pt x="2865" y="28773"/>
                        <a:pt x="2989" y="35873"/>
                      </a:cubicBezTo>
                      <a:cubicBezTo>
                        <a:pt x="3114" y="42723"/>
                        <a:pt x="1370"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0" name="Freeform 8012">
                  <a:extLst>
                    <a:ext uri="{FF2B5EF4-FFF2-40B4-BE49-F238E27FC236}">
                      <a16:creationId xmlns:a16="http://schemas.microsoft.com/office/drawing/2014/main" id="{4AB7EDDB-12B9-95DF-9C01-5D922B39C20C}"/>
                    </a:ext>
                  </a:extLst>
                </p:cNvPr>
                <p:cNvSpPr/>
                <p:nvPr/>
              </p:nvSpPr>
              <p:spPr>
                <a:xfrm>
                  <a:off x="5382210" y="1854364"/>
                  <a:ext cx="5222" cy="52065"/>
                </a:xfrm>
                <a:custGeom>
                  <a:avLst/>
                  <a:gdLst>
                    <a:gd name="connsiteX0" fmla="*/ 1546 w 5222"/>
                    <a:gd name="connsiteY0" fmla="*/ 52065 h 52065"/>
                    <a:gd name="connsiteX1" fmla="*/ 549 w 5222"/>
                    <a:gd name="connsiteY1" fmla="*/ 33257 h 52065"/>
                    <a:gd name="connsiteX2" fmla="*/ 4909 w 5222"/>
                    <a:gd name="connsiteY2" fmla="*/ 16442 h 52065"/>
                    <a:gd name="connsiteX3" fmla="*/ 3663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52065"/>
                      </a:moveTo>
                      <a:cubicBezTo>
                        <a:pt x="-447" y="43844"/>
                        <a:pt x="-198" y="37616"/>
                        <a:pt x="549" y="33257"/>
                      </a:cubicBezTo>
                      <a:cubicBezTo>
                        <a:pt x="1670" y="26406"/>
                        <a:pt x="4037" y="23417"/>
                        <a:pt x="4909" y="16442"/>
                      </a:cubicBezTo>
                      <a:cubicBezTo>
                        <a:pt x="5781" y="9591"/>
                        <a:pt x="4660"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1" name="Freeform 8013">
                  <a:extLst>
                    <a:ext uri="{FF2B5EF4-FFF2-40B4-BE49-F238E27FC236}">
                      <a16:creationId xmlns:a16="http://schemas.microsoft.com/office/drawing/2014/main" id="{B1E4161C-1482-4D8B-E7CD-7EAC31EB79F4}"/>
                    </a:ext>
                  </a:extLst>
                </p:cNvPr>
                <p:cNvSpPr/>
                <p:nvPr/>
              </p:nvSpPr>
              <p:spPr>
                <a:xfrm>
                  <a:off x="5369414" y="1838776"/>
                  <a:ext cx="26317" cy="26566"/>
                </a:xfrm>
                <a:custGeom>
                  <a:avLst/>
                  <a:gdLst>
                    <a:gd name="connsiteX0" fmla="*/ 26300 w 26317"/>
                    <a:gd name="connsiteY0" fmla="*/ 14093 h 26566"/>
                    <a:gd name="connsiteX1" fmla="*/ 12473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3"/>
                        <a:pt x="12473" y="26549"/>
                      </a:cubicBezTo>
                      <a:cubicBezTo>
                        <a:pt x="5249" y="26175"/>
                        <a:pt x="-356" y="19823"/>
                        <a:pt x="18" y="12474"/>
                      </a:cubicBezTo>
                      <a:cubicBezTo>
                        <a:pt x="391" y="5125"/>
                        <a:pt x="6619" y="-356"/>
                        <a:pt x="13844" y="18"/>
                      </a:cubicBezTo>
                      <a:cubicBezTo>
                        <a:pt x="21193"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2" name="Graphic 2987">
                <a:extLst>
                  <a:ext uri="{FF2B5EF4-FFF2-40B4-BE49-F238E27FC236}">
                    <a16:creationId xmlns:a16="http://schemas.microsoft.com/office/drawing/2014/main" id="{12489B95-0A87-C7F2-28F8-AC0763B9C145}"/>
                  </a:ext>
                </a:extLst>
              </p:cNvPr>
              <p:cNvGrpSpPr/>
              <p:nvPr/>
            </p:nvGrpSpPr>
            <p:grpSpPr>
              <a:xfrm>
                <a:off x="5333031" y="1837033"/>
                <a:ext cx="33304" cy="148757"/>
                <a:chOff x="5333031" y="1837033"/>
                <a:chExt cx="33304" cy="148757"/>
              </a:xfrm>
              <a:grpFill/>
            </p:grpSpPr>
            <p:sp>
              <p:nvSpPr>
                <p:cNvPr id="6180" name="Freeform 8015">
                  <a:extLst>
                    <a:ext uri="{FF2B5EF4-FFF2-40B4-BE49-F238E27FC236}">
                      <a16:creationId xmlns:a16="http://schemas.microsoft.com/office/drawing/2014/main" id="{2EF15DFD-5DE5-5541-0A0A-14105B33505B}"/>
                    </a:ext>
                  </a:extLst>
                </p:cNvPr>
                <p:cNvSpPr/>
                <p:nvPr/>
              </p:nvSpPr>
              <p:spPr>
                <a:xfrm>
                  <a:off x="5350374" y="1913529"/>
                  <a:ext cx="3612" cy="52065"/>
                </a:xfrm>
                <a:custGeom>
                  <a:avLst/>
                  <a:gdLst>
                    <a:gd name="connsiteX0" fmla="*/ 0 w 3612"/>
                    <a:gd name="connsiteY0" fmla="*/ 52065 h 52065"/>
                    <a:gd name="connsiteX1" fmla="*/ 2990 w 3612"/>
                    <a:gd name="connsiteY1" fmla="*/ 33506 h 52065"/>
                    <a:gd name="connsiteX2" fmla="*/ 498 w 3612"/>
                    <a:gd name="connsiteY2" fmla="*/ 16193 h 52065"/>
                    <a:gd name="connsiteX3" fmla="*/ 3612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0" y="52065"/>
                      </a:moveTo>
                      <a:cubicBezTo>
                        <a:pt x="2990" y="44218"/>
                        <a:pt x="3239" y="37866"/>
                        <a:pt x="2990" y="33506"/>
                      </a:cubicBezTo>
                      <a:cubicBezTo>
                        <a:pt x="2616" y="26531"/>
                        <a:pt x="623" y="23292"/>
                        <a:pt x="498" y="16193"/>
                      </a:cubicBezTo>
                      <a:cubicBezTo>
                        <a:pt x="374" y="9342"/>
                        <a:pt x="2118" y="3612"/>
                        <a:pt x="36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1" name="Freeform 8016">
                  <a:extLst>
                    <a:ext uri="{FF2B5EF4-FFF2-40B4-BE49-F238E27FC236}">
                      <a16:creationId xmlns:a16="http://schemas.microsoft.com/office/drawing/2014/main" id="{7B59B68F-C7F8-ACB4-44D7-F0AF9A40C694}"/>
                    </a:ext>
                  </a:extLst>
                </p:cNvPr>
                <p:cNvSpPr/>
                <p:nvPr/>
              </p:nvSpPr>
              <p:spPr>
                <a:xfrm>
                  <a:off x="5341591" y="1918138"/>
                  <a:ext cx="5169" cy="52065"/>
                </a:xfrm>
                <a:custGeom>
                  <a:avLst/>
                  <a:gdLst>
                    <a:gd name="connsiteX0" fmla="*/ 3677 w 5169"/>
                    <a:gd name="connsiteY0" fmla="*/ 0 h 52065"/>
                    <a:gd name="connsiteX1" fmla="*/ 4673 w 5169"/>
                    <a:gd name="connsiteY1" fmla="*/ 18808 h 52065"/>
                    <a:gd name="connsiteX2" fmla="*/ 313 w 5169"/>
                    <a:gd name="connsiteY2" fmla="*/ 35624 h 52065"/>
                    <a:gd name="connsiteX3" fmla="*/ 1559 w 516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69" h="52065">
                      <a:moveTo>
                        <a:pt x="3677" y="0"/>
                      </a:moveTo>
                      <a:cubicBezTo>
                        <a:pt x="5669" y="8221"/>
                        <a:pt x="5296" y="14449"/>
                        <a:pt x="4673" y="18808"/>
                      </a:cubicBezTo>
                      <a:cubicBezTo>
                        <a:pt x="3552" y="25659"/>
                        <a:pt x="1185" y="28648"/>
                        <a:pt x="313" y="35624"/>
                      </a:cubicBezTo>
                      <a:cubicBezTo>
                        <a:pt x="-559" y="42474"/>
                        <a:pt x="563"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2" name="Freeform 8017">
                  <a:extLst>
                    <a:ext uri="{FF2B5EF4-FFF2-40B4-BE49-F238E27FC236}">
                      <a16:creationId xmlns:a16="http://schemas.microsoft.com/office/drawing/2014/main" id="{B2360C61-E7D0-BE71-25E9-4623796DA1CF}"/>
                    </a:ext>
                  </a:extLst>
                </p:cNvPr>
                <p:cNvSpPr/>
                <p:nvPr/>
              </p:nvSpPr>
              <p:spPr>
                <a:xfrm>
                  <a:off x="5333031" y="1959224"/>
                  <a:ext cx="26703" cy="26566"/>
                </a:xfrm>
                <a:custGeom>
                  <a:avLst/>
                  <a:gdLst>
                    <a:gd name="connsiteX0" fmla="*/ 30 w 26703"/>
                    <a:gd name="connsiteY0" fmla="*/ 12474 h 26566"/>
                    <a:gd name="connsiteX1" fmla="*/ 14105 w 26703"/>
                    <a:gd name="connsiteY1" fmla="*/ 18 h 26566"/>
                    <a:gd name="connsiteX2" fmla="*/ 26685 w 26703"/>
                    <a:gd name="connsiteY2" fmla="*/ 14093 h 26566"/>
                    <a:gd name="connsiteX3" fmla="*/ 12611 w 26703"/>
                    <a:gd name="connsiteY3" fmla="*/ 26549 h 26566"/>
                    <a:gd name="connsiteX4" fmla="*/ 30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0" y="12474"/>
                      </a:moveTo>
                      <a:cubicBezTo>
                        <a:pt x="404" y="5125"/>
                        <a:pt x="6756" y="-356"/>
                        <a:pt x="14105" y="18"/>
                      </a:cubicBezTo>
                      <a:cubicBezTo>
                        <a:pt x="21454" y="392"/>
                        <a:pt x="27059" y="6744"/>
                        <a:pt x="26685" y="14093"/>
                      </a:cubicBezTo>
                      <a:cubicBezTo>
                        <a:pt x="26312" y="21442"/>
                        <a:pt x="19960" y="26922"/>
                        <a:pt x="12611" y="26549"/>
                      </a:cubicBezTo>
                      <a:cubicBezTo>
                        <a:pt x="5261" y="26051"/>
                        <a:pt x="-468" y="19823"/>
                        <a:pt x="30"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3" name="Freeform 8018">
                  <a:extLst>
                    <a:ext uri="{FF2B5EF4-FFF2-40B4-BE49-F238E27FC236}">
                      <a16:creationId xmlns:a16="http://schemas.microsoft.com/office/drawing/2014/main" id="{E6717701-0ADF-9FF5-78FB-FF5BA42F9829}"/>
                    </a:ext>
                  </a:extLst>
                </p:cNvPr>
                <p:cNvSpPr/>
                <p:nvPr/>
              </p:nvSpPr>
              <p:spPr>
                <a:xfrm>
                  <a:off x="5345517" y="1857104"/>
                  <a:ext cx="3612" cy="52065"/>
                </a:xfrm>
                <a:custGeom>
                  <a:avLst/>
                  <a:gdLst>
                    <a:gd name="connsiteX0" fmla="*/ 3612 w 3612"/>
                    <a:gd name="connsiteY0" fmla="*/ 0 h 52065"/>
                    <a:gd name="connsiteX1" fmla="*/ 623 w 3612"/>
                    <a:gd name="connsiteY1" fmla="*/ 18559 h 52065"/>
                    <a:gd name="connsiteX2" fmla="*/ 3114 w 3612"/>
                    <a:gd name="connsiteY2" fmla="*/ 35873 h 52065"/>
                    <a:gd name="connsiteX3" fmla="*/ 0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3612" y="0"/>
                      </a:moveTo>
                      <a:cubicBezTo>
                        <a:pt x="747" y="7847"/>
                        <a:pt x="374" y="14200"/>
                        <a:pt x="623" y="18559"/>
                      </a:cubicBezTo>
                      <a:cubicBezTo>
                        <a:pt x="996"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4" name="Freeform 8019">
                  <a:extLst>
                    <a:ext uri="{FF2B5EF4-FFF2-40B4-BE49-F238E27FC236}">
                      <a16:creationId xmlns:a16="http://schemas.microsoft.com/office/drawing/2014/main" id="{304308A5-2212-FB9C-EA52-64789A0F1827}"/>
                    </a:ext>
                  </a:extLst>
                </p:cNvPr>
                <p:cNvSpPr/>
                <p:nvPr/>
              </p:nvSpPr>
              <p:spPr>
                <a:xfrm>
                  <a:off x="5352742" y="1852620"/>
                  <a:ext cx="5169" cy="52065"/>
                </a:xfrm>
                <a:custGeom>
                  <a:avLst/>
                  <a:gdLst>
                    <a:gd name="connsiteX0" fmla="*/ 1493 w 5169"/>
                    <a:gd name="connsiteY0" fmla="*/ 52065 h 52065"/>
                    <a:gd name="connsiteX1" fmla="*/ 497 w 5169"/>
                    <a:gd name="connsiteY1" fmla="*/ 33257 h 52065"/>
                    <a:gd name="connsiteX2" fmla="*/ 4857 w 5169"/>
                    <a:gd name="connsiteY2" fmla="*/ 16442 h 52065"/>
                    <a:gd name="connsiteX3" fmla="*/ 3611 w 5169"/>
                    <a:gd name="connsiteY3" fmla="*/ 0 h 52065"/>
                  </a:gdLst>
                  <a:ahLst/>
                  <a:cxnLst>
                    <a:cxn ang="0">
                      <a:pos x="connsiteX0" y="connsiteY0"/>
                    </a:cxn>
                    <a:cxn ang="0">
                      <a:pos x="connsiteX1" y="connsiteY1"/>
                    </a:cxn>
                    <a:cxn ang="0">
                      <a:pos x="connsiteX2" y="connsiteY2"/>
                    </a:cxn>
                    <a:cxn ang="0">
                      <a:pos x="connsiteX3" y="connsiteY3"/>
                    </a:cxn>
                  </a:cxnLst>
                  <a:rect l="l" t="t" r="r" b="b"/>
                  <a:pathLst>
                    <a:path w="5169" h="52065">
                      <a:moveTo>
                        <a:pt x="1493" y="52065"/>
                      </a:moveTo>
                      <a:cubicBezTo>
                        <a:pt x="-499" y="43844"/>
                        <a:pt x="-126" y="37616"/>
                        <a:pt x="497" y="33257"/>
                      </a:cubicBezTo>
                      <a:cubicBezTo>
                        <a:pt x="1618" y="26406"/>
                        <a:pt x="3985" y="23417"/>
                        <a:pt x="4857" y="16442"/>
                      </a:cubicBezTo>
                      <a:cubicBezTo>
                        <a:pt x="5729" y="9591"/>
                        <a:pt x="4607" y="3737"/>
                        <a:pt x="36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5" name="Freeform 8020">
                  <a:extLst>
                    <a:ext uri="{FF2B5EF4-FFF2-40B4-BE49-F238E27FC236}">
                      <a16:creationId xmlns:a16="http://schemas.microsoft.com/office/drawing/2014/main" id="{5B7009C5-CD1B-0A7C-033E-7BAB0313B729}"/>
                    </a:ext>
                  </a:extLst>
                </p:cNvPr>
                <p:cNvSpPr/>
                <p:nvPr/>
              </p:nvSpPr>
              <p:spPr>
                <a:xfrm>
                  <a:off x="5339894" y="1837033"/>
                  <a:ext cx="26441" cy="26566"/>
                </a:xfrm>
                <a:custGeom>
                  <a:avLst/>
                  <a:gdLst>
                    <a:gd name="connsiteX0" fmla="*/ 26424 w 26441"/>
                    <a:gd name="connsiteY0" fmla="*/ 14093 h 26566"/>
                    <a:gd name="connsiteX1" fmla="*/ 12474 w 26441"/>
                    <a:gd name="connsiteY1" fmla="*/ 26549 h 26566"/>
                    <a:gd name="connsiteX2" fmla="*/ 18 w 26441"/>
                    <a:gd name="connsiteY2" fmla="*/ 12474 h 26566"/>
                    <a:gd name="connsiteX3" fmla="*/ 13968 w 26441"/>
                    <a:gd name="connsiteY3" fmla="*/ 18 h 26566"/>
                    <a:gd name="connsiteX4" fmla="*/ 26424 w 26441"/>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66">
                      <a:moveTo>
                        <a:pt x="26424" y="14093"/>
                      </a:moveTo>
                      <a:cubicBezTo>
                        <a:pt x="26051" y="21442"/>
                        <a:pt x="19823" y="26922"/>
                        <a:pt x="12474" y="26549"/>
                      </a:cubicBezTo>
                      <a:cubicBezTo>
                        <a:pt x="5125" y="26175"/>
                        <a:pt x="-356" y="19823"/>
                        <a:pt x="18" y="12474"/>
                      </a:cubicBezTo>
                      <a:cubicBezTo>
                        <a:pt x="392" y="5125"/>
                        <a:pt x="6620" y="-356"/>
                        <a:pt x="13968" y="18"/>
                      </a:cubicBezTo>
                      <a:cubicBezTo>
                        <a:pt x="21193" y="392"/>
                        <a:pt x="26798"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3" name="Graphic 2987">
                <a:extLst>
                  <a:ext uri="{FF2B5EF4-FFF2-40B4-BE49-F238E27FC236}">
                    <a16:creationId xmlns:a16="http://schemas.microsoft.com/office/drawing/2014/main" id="{4AE59448-9C57-2EB3-1C72-2B1F72E61201}"/>
                  </a:ext>
                </a:extLst>
              </p:cNvPr>
              <p:cNvGrpSpPr/>
              <p:nvPr/>
            </p:nvGrpSpPr>
            <p:grpSpPr>
              <a:xfrm>
                <a:off x="5303261" y="1835289"/>
                <a:ext cx="33567" cy="148757"/>
                <a:chOff x="5303261" y="1835289"/>
                <a:chExt cx="33567" cy="148757"/>
              </a:xfrm>
              <a:grpFill/>
            </p:grpSpPr>
            <p:sp>
              <p:nvSpPr>
                <p:cNvPr id="6174" name="Freeform 8022">
                  <a:extLst>
                    <a:ext uri="{FF2B5EF4-FFF2-40B4-BE49-F238E27FC236}">
                      <a16:creationId xmlns:a16="http://schemas.microsoft.com/office/drawing/2014/main" id="{78F6BE46-B9B0-550C-84D7-DC1936ACABEA}"/>
                    </a:ext>
                  </a:extLst>
                </p:cNvPr>
                <p:cNvSpPr/>
                <p:nvPr/>
              </p:nvSpPr>
              <p:spPr>
                <a:xfrm>
                  <a:off x="5320605" y="1911785"/>
                  <a:ext cx="3736" cy="52065"/>
                </a:xfrm>
                <a:custGeom>
                  <a:avLst/>
                  <a:gdLst>
                    <a:gd name="connsiteX0" fmla="*/ 0 w 3736"/>
                    <a:gd name="connsiteY0" fmla="*/ 52065 h 52065"/>
                    <a:gd name="connsiteX1" fmla="*/ 3114 w 3736"/>
                    <a:gd name="connsiteY1" fmla="*/ 33506 h 52065"/>
                    <a:gd name="connsiteX2" fmla="*/ 623 w 3736"/>
                    <a:gd name="connsiteY2" fmla="*/ 16193 h 52065"/>
                    <a:gd name="connsiteX3" fmla="*/ 3737 w 3736"/>
                    <a:gd name="connsiteY3" fmla="*/ 0 h 52065"/>
                  </a:gdLst>
                  <a:ahLst/>
                  <a:cxnLst>
                    <a:cxn ang="0">
                      <a:pos x="connsiteX0" y="connsiteY0"/>
                    </a:cxn>
                    <a:cxn ang="0">
                      <a:pos x="connsiteX1" y="connsiteY1"/>
                    </a:cxn>
                    <a:cxn ang="0">
                      <a:pos x="connsiteX2" y="connsiteY2"/>
                    </a:cxn>
                    <a:cxn ang="0">
                      <a:pos x="connsiteX3" y="connsiteY3"/>
                    </a:cxn>
                  </a:cxnLst>
                  <a:rect l="l" t="t" r="r" b="b"/>
                  <a:pathLst>
                    <a:path w="3736" h="52065">
                      <a:moveTo>
                        <a:pt x="0" y="52065"/>
                      </a:moveTo>
                      <a:cubicBezTo>
                        <a:pt x="2989" y="44218"/>
                        <a:pt x="3239" y="37866"/>
                        <a:pt x="3114" y="33506"/>
                      </a:cubicBezTo>
                      <a:cubicBezTo>
                        <a:pt x="2740" y="26531"/>
                        <a:pt x="747" y="23292"/>
                        <a:pt x="623" y="16193"/>
                      </a:cubicBezTo>
                      <a:cubicBezTo>
                        <a:pt x="498" y="9342"/>
                        <a:pt x="2242" y="3612"/>
                        <a:pt x="3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5" name="Freeform 8023">
                  <a:extLst>
                    <a:ext uri="{FF2B5EF4-FFF2-40B4-BE49-F238E27FC236}">
                      <a16:creationId xmlns:a16="http://schemas.microsoft.com/office/drawing/2014/main" id="{190936EE-DD8A-D2A0-C07B-098F3BBBCD46}"/>
                    </a:ext>
                  </a:extLst>
                </p:cNvPr>
                <p:cNvSpPr/>
                <p:nvPr/>
              </p:nvSpPr>
              <p:spPr>
                <a:xfrm>
                  <a:off x="5311803" y="1916394"/>
                  <a:ext cx="5291" cy="52065"/>
                </a:xfrm>
                <a:custGeom>
                  <a:avLst/>
                  <a:gdLst>
                    <a:gd name="connsiteX0" fmla="*/ 3820 w 5291"/>
                    <a:gd name="connsiteY0" fmla="*/ 0 h 52065"/>
                    <a:gd name="connsiteX1" fmla="*/ 4691 w 5291"/>
                    <a:gd name="connsiteY1" fmla="*/ 18808 h 52065"/>
                    <a:gd name="connsiteX2" fmla="*/ 332 w 5291"/>
                    <a:gd name="connsiteY2" fmla="*/ 35623 h 52065"/>
                    <a:gd name="connsiteX3" fmla="*/ 1577 w 52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1" h="52065">
                      <a:moveTo>
                        <a:pt x="3820" y="0"/>
                      </a:moveTo>
                      <a:cubicBezTo>
                        <a:pt x="5813" y="8221"/>
                        <a:pt x="5439" y="14449"/>
                        <a:pt x="4691" y="18808"/>
                      </a:cubicBezTo>
                      <a:cubicBezTo>
                        <a:pt x="3446" y="25659"/>
                        <a:pt x="1204" y="28648"/>
                        <a:pt x="332" y="35623"/>
                      </a:cubicBezTo>
                      <a:cubicBezTo>
                        <a:pt x="-540" y="42474"/>
                        <a:pt x="456" y="48328"/>
                        <a:pt x="157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6" name="Freeform 8024">
                  <a:extLst>
                    <a:ext uri="{FF2B5EF4-FFF2-40B4-BE49-F238E27FC236}">
                      <a16:creationId xmlns:a16="http://schemas.microsoft.com/office/drawing/2014/main" id="{C3FC45E2-2AF2-2930-5953-B57DCD58106F}"/>
                    </a:ext>
                  </a:extLst>
                </p:cNvPr>
                <p:cNvSpPr/>
                <p:nvPr/>
              </p:nvSpPr>
              <p:spPr>
                <a:xfrm>
                  <a:off x="5303261" y="1957480"/>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19960" y="26922"/>
                        <a:pt x="12611"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7" name="Freeform 8025">
                  <a:extLst>
                    <a:ext uri="{FF2B5EF4-FFF2-40B4-BE49-F238E27FC236}">
                      <a16:creationId xmlns:a16="http://schemas.microsoft.com/office/drawing/2014/main" id="{EA94EE74-8AA1-BA0B-3547-A64A3F1C4972}"/>
                    </a:ext>
                  </a:extLst>
                </p:cNvPr>
                <p:cNvSpPr/>
                <p:nvPr/>
              </p:nvSpPr>
              <p:spPr>
                <a:xfrm>
                  <a:off x="5315747" y="1855361"/>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623" y="14200"/>
                        <a:pt x="747"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8" name="Freeform 8026">
                  <a:extLst>
                    <a:ext uri="{FF2B5EF4-FFF2-40B4-BE49-F238E27FC236}">
                      <a16:creationId xmlns:a16="http://schemas.microsoft.com/office/drawing/2014/main" id="{352E0A6D-D0B7-7218-43E9-A07F7E5F4D4A}"/>
                    </a:ext>
                  </a:extLst>
                </p:cNvPr>
                <p:cNvSpPr/>
                <p:nvPr/>
              </p:nvSpPr>
              <p:spPr>
                <a:xfrm>
                  <a:off x="5323119" y="1850877"/>
                  <a:ext cx="5291" cy="52065"/>
                </a:xfrm>
                <a:custGeom>
                  <a:avLst/>
                  <a:gdLst>
                    <a:gd name="connsiteX0" fmla="*/ 1472 w 5291"/>
                    <a:gd name="connsiteY0" fmla="*/ 52065 h 52065"/>
                    <a:gd name="connsiteX1" fmla="*/ 600 w 5291"/>
                    <a:gd name="connsiteY1" fmla="*/ 33257 h 52065"/>
                    <a:gd name="connsiteX2" fmla="*/ 4960 w 5291"/>
                    <a:gd name="connsiteY2" fmla="*/ 16442 h 52065"/>
                    <a:gd name="connsiteX3" fmla="*/ 3714 w 5291"/>
                    <a:gd name="connsiteY3" fmla="*/ 0 h 52065"/>
                  </a:gdLst>
                  <a:ahLst/>
                  <a:cxnLst>
                    <a:cxn ang="0">
                      <a:pos x="connsiteX0" y="connsiteY0"/>
                    </a:cxn>
                    <a:cxn ang="0">
                      <a:pos x="connsiteX1" y="connsiteY1"/>
                    </a:cxn>
                    <a:cxn ang="0">
                      <a:pos x="connsiteX2" y="connsiteY2"/>
                    </a:cxn>
                    <a:cxn ang="0">
                      <a:pos x="connsiteX3" y="connsiteY3"/>
                    </a:cxn>
                  </a:cxnLst>
                  <a:rect l="l" t="t" r="r" b="b"/>
                  <a:pathLst>
                    <a:path w="5291" h="52065">
                      <a:moveTo>
                        <a:pt x="1472" y="52065"/>
                      </a:moveTo>
                      <a:cubicBezTo>
                        <a:pt x="-521" y="43844"/>
                        <a:pt x="-147" y="37616"/>
                        <a:pt x="600" y="33257"/>
                      </a:cubicBezTo>
                      <a:cubicBezTo>
                        <a:pt x="1721" y="26406"/>
                        <a:pt x="4088" y="23417"/>
                        <a:pt x="4960" y="16442"/>
                      </a:cubicBezTo>
                      <a:cubicBezTo>
                        <a:pt x="5832" y="9591"/>
                        <a:pt x="4835"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9" name="Freeform 8027">
                  <a:extLst>
                    <a:ext uri="{FF2B5EF4-FFF2-40B4-BE49-F238E27FC236}">
                      <a16:creationId xmlns:a16="http://schemas.microsoft.com/office/drawing/2014/main" id="{4203E7EF-08B6-6D99-92D4-715D5A37FDE4}"/>
                    </a:ext>
                  </a:extLst>
                </p:cNvPr>
                <p:cNvSpPr/>
                <p:nvPr/>
              </p:nvSpPr>
              <p:spPr>
                <a:xfrm>
                  <a:off x="5310373" y="1835289"/>
                  <a:ext cx="26455" cy="26566"/>
                </a:xfrm>
                <a:custGeom>
                  <a:avLst/>
                  <a:gdLst>
                    <a:gd name="connsiteX0" fmla="*/ 26424 w 26455"/>
                    <a:gd name="connsiteY0" fmla="*/ 14093 h 26566"/>
                    <a:gd name="connsiteX1" fmla="*/ 12474 w 26455"/>
                    <a:gd name="connsiteY1" fmla="*/ 26549 h 26566"/>
                    <a:gd name="connsiteX2" fmla="*/ 18 w 26455"/>
                    <a:gd name="connsiteY2" fmla="*/ 12474 h 26566"/>
                    <a:gd name="connsiteX3" fmla="*/ 13968 w 26455"/>
                    <a:gd name="connsiteY3" fmla="*/ 18 h 26566"/>
                    <a:gd name="connsiteX4" fmla="*/ 26424 w 26455"/>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66">
                      <a:moveTo>
                        <a:pt x="26424" y="14093"/>
                      </a:moveTo>
                      <a:cubicBezTo>
                        <a:pt x="26051" y="21442"/>
                        <a:pt x="19823" y="26922"/>
                        <a:pt x="12474" y="26549"/>
                      </a:cubicBezTo>
                      <a:cubicBezTo>
                        <a:pt x="5125" y="26175"/>
                        <a:pt x="-356" y="19823"/>
                        <a:pt x="18" y="12474"/>
                      </a:cubicBezTo>
                      <a:cubicBezTo>
                        <a:pt x="392" y="5125"/>
                        <a:pt x="6744" y="-356"/>
                        <a:pt x="13968" y="18"/>
                      </a:cubicBezTo>
                      <a:cubicBezTo>
                        <a:pt x="21317" y="392"/>
                        <a:pt x="26923"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4" name="Graphic 2987">
                <a:extLst>
                  <a:ext uri="{FF2B5EF4-FFF2-40B4-BE49-F238E27FC236}">
                    <a16:creationId xmlns:a16="http://schemas.microsoft.com/office/drawing/2014/main" id="{23600934-B8EA-0FB0-B5AF-77DBF1543024}"/>
                  </a:ext>
                </a:extLst>
              </p:cNvPr>
              <p:cNvGrpSpPr/>
              <p:nvPr/>
            </p:nvGrpSpPr>
            <p:grpSpPr>
              <a:xfrm>
                <a:off x="5273492" y="1833545"/>
                <a:ext cx="33928" cy="148757"/>
                <a:chOff x="5273492" y="1833545"/>
                <a:chExt cx="33928" cy="148757"/>
              </a:xfrm>
              <a:grpFill/>
            </p:grpSpPr>
            <p:sp>
              <p:nvSpPr>
                <p:cNvPr id="6168" name="Freeform 8029">
                  <a:extLst>
                    <a:ext uri="{FF2B5EF4-FFF2-40B4-BE49-F238E27FC236}">
                      <a16:creationId xmlns:a16="http://schemas.microsoft.com/office/drawing/2014/main" id="{B39E7940-85A9-BF03-4D2F-17180842E277}"/>
                    </a:ext>
                  </a:extLst>
                </p:cNvPr>
                <p:cNvSpPr/>
                <p:nvPr/>
              </p:nvSpPr>
              <p:spPr>
                <a:xfrm>
                  <a:off x="5290836" y="1910041"/>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363" y="37866"/>
                        <a:pt x="3114" y="33506"/>
                      </a:cubicBezTo>
                      <a:cubicBezTo>
                        <a:pt x="2740" y="26531"/>
                        <a:pt x="747"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9" name="Freeform 8030">
                  <a:extLst>
                    <a:ext uri="{FF2B5EF4-FFF2-40B4-BE49-F238E27FC236}">
                      <a16:creationId xmlns:a16="http://schemas.microsoft.com/office/drawing/2014/main" id="{63C90126-5253-B656-DF54-B502849175F3}"/>
                    </a:ext>
                  </a:extLst>
                </p:cNvPr>
                <p:cNvSpPr/>
                <p:nvPr/>
              </p:nvSpPr>
              <p:spPr>
                <a:xfrm>
                  <a:off x="5282032" y="1914650"/>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5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449"/>
                        <a:pt x="4819"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0" name="Freeform 8031">
                  <a:extLst>
                    <a:ext uri="{FF2B5EF4-FFF2-40B4-BE49-F238E27FC236}">
                      <a16:creationId xmlns:a16="http://schemas.microsoft.com/office/drawing/2014/main" id="{1D5A9DB3-035F-9991-E1D6-7169B0F9268A}"/>
                    </a:ext>
                  </a:extLst>
                </p:cNvPr>
                <p:cNvSpPr/>
                <p:nvPr/>
              </p:nvSpPr>
              <p:spPr>
                <a:xfrm>
                  <a:off x="5273492" y="1955736"/>
                  <a:ext cx="26592" cy="26566"/>
                </a:xfrm>
                <a:custGeom>
                  <a:avLst/>
                  <a:gdLst>
                    <a:gd name="connsiteX0" fmla="*/ 31 w 26592"/>
                    <a:gd name="connsiteY0" fmla="*/ 12474 h 26566"/>
                    <a:gd name="connsiteX1" fmla="*/ 14106 w 26592"/>
                    <a:gd name="connsiteY1" fmla="*/ 18 h 26566"/>
                    <a:gd name="connsiteX2" fmla="*/ 26562 w 26592"/>
                    <a:gd name="connsiteY2" fmla="*/ 14093 h 26566"/>
                    <a:gd name="connsiteX3" fmla="*/ 12487 w 26592"/>
                    <a:gd name="connsiteY3" fmla="*/ 26549 h 26566"/>
                    <a:gd name="connsiteX4" fmla="*/ 31 w 26592"/>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66">
                      <a:moveTo>
                        <a:pt x="31" y="12474"/>
                      </a:moveTo>
                      <a:cubicBezTo>
                        <a:pt x="529" y="5125"/>
                        <a:pt x="6757" y="-356"/>
                        <a:pt x="14106" y="18"/>
                      </a:cubicBezTo>
                      <a:cubicBezTo>
                        <a:pt x="21455" y="392"/>
                        <a:pt x="27060" y="6744"/>
                        <a:pt x="26562" y="14093"/>
                      </a:cubicBezTo>
                      <a:cubicBezTo>
                        <a:pt x="26188" y="21442"/>
                        <a:pt x="19835" y="26922"/>
                        <a:pt x="12487" y="26549"/>
                      </a:cubicBezTo>
                      <a:cubicBezTo>
                        <a:pt x="5138" y="26051"/>
                        <a:pt x="-468"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1" name="Freeform 8032">
                  <a:extLst>
                    <a:ext uri="{FF2B5EF4-FFF2-40B4-BE49-F238E27FC236}">
                      <a16:creationId xmlns:a16="http://schemas.microsoft.com/office/drawing/2014/main" id="{14F424B0-A032-ED84-16FB-CF572B49DA7F}"/>
                    </a:ext>
                  </a:extLst>
                </p:cNvPr>
                <p:cNvSpPr/>
                <p:nvPr/>
              </p:nvSpPr>
              <p:spPr>
                <a:xfrm>
                  <a:off x="5286352" y="1853617"/>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8" y="14200"/>
                        <a:pt x="747" y="18559"/>
                      </a:cubicBezTo>
                      <a:cubicBezTo>
                        <a:pt x="1121"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2" name="Freeform 8033">
                  <a:extLst>
                    <a:ext uri="{FF2B5EF4-FFF2-40B4-BE49-F238E27FC236}">
                      <a16:creationId xmlns:a16="http://schemas.microsoft.com/office/drawing/2014/main" id="{3D110CC5-5D35-1469-762E-3EB331885BA9}"/>
                    </a:ext>
                  </a:extLst>
                </p:cNvPr>
                <p:cNvSpPr/>
                <p:nvPr/>
              </p:nvSpPr>
              <p:spPr>
                <a:xfrm>
                  <a:off x="5293599" y="1849008"/>
                  <a:ext cx="5418" cy="52065"/>
                </a:xfrm>
                <a:custGeom>
                  <a:avLst/>
                  <a:gdLst>
                    <a:gd name="connsiteX0" fmla="*/ 1472 w 5418"/>
                    <a:gd name="connsiteY0" fmla="*/ 52065 h 52065"/>
                    <a:gd name="connsiteX1" fmla="*/ 600 w 5418"/>
                    <a:gd name="connsiteY1" fmla="*/ 33257 h 52065"/>
                    <a:gd name="connsiteX2" fmla="*/ 5084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1" y="43844"/>
                        <a:pt x="-147" y="37616"/>
                        <a:pt x="600" y="33257"/>
                      </a:cubicBezTo>
                      <a:cubicBezTo>
                        <a:pt x="1846" y="26406"/>
                        <a:pt x="4088" y="23417"/>
                        <a:pt x="5084"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3" name="Freeform 8034">
                  <a:extLst>
                    <a:ext uri="{FF2B5EF4-FFF2-40B4-BE49-F238E27FC236}">
                      <a16:creationId xmlns:a16="http://schemas.microsoft.com/office/drawing/2014/main" id="{4A1282AB-E770-C9D3-A40F-F2F937458FFE}"/>
                    </a:ext>
                  </a:extLst>
                </p:cNvPr>
                <p:cNvSpPr/>
                <p:nvPr/>
              </p:nvSpPr>
              <p:spPr>
                <a:xfrm>
                  <a:off x="5281090" y="1833545"/>
                  <a:ext cx="26330" cy="26441"/>
                </a:xfrm>
                <a:custGeom>
                  <a:avLst/>
                  <a:gdLst>
                    <a:gd name="connsiteX0" fmla="*/ 26313 w 26330"/>
                    <a:gd name="connsiteY0" fmla="*/ 13968 h 26441"/>
                    <a:gd name="connsiteX1" fmla="*/ 12362 w 26330"/>
                    <a:gd name="connsiteY1" fmla="*/ 26424 h 26441"/>
                    <a:gd name="connsiteX2" fmla="*/ 31 w 26330"/>
                    <a:gd name="connsiteY2" fmla="*/ 12473 h 26441"/>
                    <a:gd name="connsiteX3" fmla="*/ 13981 w 26330"/>
                    <a:gd name="connsiteY3" fmla="*/ 18 h 26441"/>
                    <a:gd name="connsiteX4" fmla="*/ 26313 w 26330"/>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41">
                      <a:moveTo>
                        <a:pt x="26313" y="13968"/>
                      </a:moveTo>
                      <a:cubicBezTo>
                        <a:pt x="25939" y="21317"/>
                        <a:pt x="19586" y="26798"/>
                        <a:pt x="12362" y="26424"/>
                      </a:cubicBezTo>
                      <a:cubicBezTo>
                        <a:pt x="5138" y="26050"/>
                        <a:pt x="-467" y="19698"/>
                        <a:pt x="31" y="12473"/>
                      </a:cubicBezTo>
                      <a:cubicBezTo>
                        <a:pt x="529" y="5249"/>
                        <a:pt x="6757" y="-356"/>
                        <a:pt x="13981" y="18"/>
                      </a:cubicBezTo>
                      <a:cubicBezTo>
                        <a:pt x="21206" y="391"/>
                        <a:pt x="26686" y="6744"/>
                        <a:pt x="26313"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5" name="Graphic 2987">
                <a:extLst>
                  <a:ext uri="{FF2B5EF4-FFF2-40B4-BE49-F238E27FC236}">
                    <a16:creationId xmlns:a16="http://schemas.microsoft.com/office/drawing/2014/main" id="{891BC7BA-6A02-B023-ED83-B7DC60E5EEA1}"/>
                  </a:ext>
                </a:extLst>
              </p:cNvPr>
              <p:cNvGrpSpPr/>
              <p:nvPr/>
            </p:nvGrpSpPr>
            <p:grpSpPr>
              <a:xfrm>
                <a:off x="5243722" y="1831802"/>
                <a:ext cx="34302" cy="148757"/>
                <a:chOff x="5243722" y="1831802"/>
                <a:chExt cx="34302" cy="148757"/>
              </a:xfrm>
              <a:grpFill/>
            </p:grpSpPr>
            <p:sp>
              <p:nvSpPr>
                <p:cNvPr id="6162" name="Freeform 8036">
                  <a:extLst>
                    <a:ext uri="{FF2B5EF4-FFF2-40B4-BE49-F238E27FC236}">
                      <a16:creationId xmlns:a16="http://schemas.microsoft.com/office/drawing/2014/main" id="{1D3F1208-8301-90E9-D7C8-CFF4450D8E68}"/>
                    </a:ext>
                  </a:extLst>
                </p:cNvPr>
                <p:cNvSpPr/>
                <p:nvPr/>
              </p:nvSpPr>
              <p:spPr>
                <a:xfrm>
                  <a:off x="5261191" y="1908298"/>
                  <a:ext cx="3985" cy="52065"/>
                </a:xfrm>
                <a:custGeom>
                  <a:avLst/>
                  <a:gdLst>
                    <a:gd name="connsiteX0" fmla="*/ 0 w 3985"/>
                    <a:gd name="connsiteY0" fmla="*/ 52065 h 52065"/>
                    <a:gd name="connsiteX1" fmla="*/ 3114 w 3985"/>
                    <a:gd name="connsiteY1" fmla="*/ 33506 h 52065"/>
                    <a:gd name="connsiteX2" fmla="*/ 747 w 3985"/>
                    <a:gd name="connsiteY2" fmla="*/ 16192 h 52065"/>
                    <a:gd name="connsiteX3" fmla="*/ 3986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0" y="52065"/>
                      </a:moveTo>
                      <a:cubicBezTo>
                        <a:pt x="2989" y="44218"/>
                        <a:pt x="3363" y="37866"/>
                        <a:pt x="3114" y="33506"/>
                      </a:cubicBezTo>
                      <a:cubicBezTo>
                        <a:pt x="2740" y="26531"/>
                        <a:pt x="872" y="23292"/>
                        <a:pt x="747" y="16192"/>
                      </a:cubicBezTo>
                      <a:cubicBezTo>
                        <a:pt x="747" y="9342"/>
                        <a:pt x="2491" y="3612"/>
                        <a:pt x="39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3" name="Freeform 8037">
                  <a:extLst>
                    <a:ext uri="{FF2B5EF4-FFF2-40B4-BE49-F238E27FC236}">
                      <a16:creationId xmlns:a16="http://schemas.microsoft.com/office/drawing/2014/main" id="{4F69440E-B7DF-1ADF-190F-C45E6C9C1636}"/>
                    </a:ext>
                  </a:extLst>
                </p:cNvPr>
                <p:cNvSpPr/>
                <p:nvPr/>
              </p:nvSpPr>
              <p:spPr>
                <a:xfrm>
                  <a:off x="5252262" y="1912906"/>
                  <a:ext cx="5474" cy="52065"/>
                </a:xfrm>
                <a:custGeom>
                  <a:avLst/>
                  <a:gdLst>
                    <a:gd name="connsiteX0" fmla="*/ 4071 w 5474"/>
                    <a:gd name="connsiteY0" fmla="*/ 0 h 52065"/>
                    <a:gd name="connsiteX1" fmla="*/ 4818 w 5474"/>
                    <a:gd name="connsiteY1" fmla="*/ 18808 h 52065"/>
                    <a:gd name="connsiteX2" fmla="*/ 334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4" name="Freeform 8038">
                  <a:extLst>
                    <a:ext uri="{FF2B5EF4-FFF2-40B4-BE49-F238E27FC236}">
                      <a16:creationId xmlns:a16="http://schemas.microsoft.com/office/drawing/2014/main" id="{7C02891D-A371-3EDD-94D7-484F71445073}"/>
                    </a:ext>
                  </a:extLst>
                </p:cNvPr>
                <p:cNvSpPr/>
                <p:nvPr/>
              </p:nvSpPr>
              <p:spPr>
                <a:xfrm>
                  <a:off x="5243722" y="1953992"/>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392"/>
                        <a:pt x="27185" y="6744"/>
                        <a:pt x="26686" y="14093"/>
                      </a:cubicBezTo>
                      <a:cubicBezTo>
                        <a:pt x="26188" y="21442"/>
                        <a:pt x="19960" y="26923"/>
                        <a:pt x="12487" y="26549"/>
                      </a:cubicBezTo>
                      <a:cubicBezTo>
                        <a:pt x="5138" y="26051"/>
                        <a:pt x="-467"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5" name="Freeform 8039">
                  <a:extLst>
                    <a:ext uri="{FF2B5EF4-FFF2-40B4-BE49-F238E27FC236}">
                      <a16:creationId xmlns:a16="http://schemas.microsoft.com/office/drawing/2014/main" id="{A63D5544-F22A-07A0-873C-C1338C6F2FD7}"/>
                    </a:ext>
                  </a:extLst>
                </p:cNvPr>
                <p:cNvSpPr/>
                <p:nvPr/>
              </p:nvSpPr>
              <p:spPr>
                <a:xfrm>
                  <a:off x="5256707" y="1851873"/>
                  <a:ext cx="3985" cy="51940"/>
                </a:xfrm>
                <a:custGeom>
                  <a:avLst/>
                  <a:gdLst>
                    <a:gd name="connsiteX0" fmla="*/ 3986 w 3985"/>
                    <a:gd name="connsiteY0" fmla="*/ 0 h 51940"/>
                    <a:gd name="connsiteX1" fmla="*/ 872 w 3985"/>
                    <a:gd name="connsiteY1" fmla="*/ 18559 h 51940"/>
                    <a:gd name="connsiteX2" fmla="*/ 3239 w 3985"/>
                    <a:gd name="connsiteY2" fmla="*/ 35748 h 51940"/>
                    <a:gd name="connsiteX3" fmla="*/ 0 w 398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985" h="51940">
                      <a:moveTo>
                        <a:pt x="3986" y="0"/>
                      </a:moveTo>
                      <a:cubicBezTo>
                        <a:pt x="996" y="7847"/>
                        <a:pt x="623" y="14200"/>
                        <a:pt x="872" y="18559"/>
                      </a:cubicBezTo>
                      <a:cubicBezTo>
                        <a:pt x="1246" y="25534"/>
                        <a:pt x="3114" y="28773"/>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6" name="Freeform 8040">
                  <a:extLst>
                    <a:ext uri="{FF2B5EF4-FFF2-40B4-BE49-F238E27FC236}">
                      <a16:creationId xmlns:a16="http://schemas.microsoft.com/office/drawing/2014/main" id="{820EFB1E-62C7-D9ED-C6E8-8D3361679ECB}"/>
                    </a:ext>
                  </a:extLst>
                </p:cNvPr>
                <p:cNvSpPr/>
                <p:nvPr/>
              </p:nvSpPr>
              <p:spPr>
                <a:xfrm>
                  <a:off x="5264023" y="1847264"/>
                  <a:ext cx="5474" cy="52065"/>
                </a:xfrm>
                <a:custGeom>
                  <a:avLst/>
                  <a:gdLst>
                    <a:gd name="connsiteX0" fmla="*/ 1404 w 5474"/>
                    <a:gd name="connsiteY0" fmla="*/ 52065 h 52065"/>
                    <a:gd name="connsiteX1" fmla="*/ 656 w 5474"/>
                    <a:gd name="connsiteY1" fmla="*/ 33257 h 52065"/>
                    <a:gd name="connsiteX2" fmla="*/ 5140 w 5474"/>
                    <a:gd name="connsiteY2" fmla="*/ 16442 h 52065"/>
                    <a:gd name="connsiteX3" fmla="*/ 4019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52065"/>
                      </a:moveTo>
                      <a:cubicBezTo>
                        <a:pt x="-589" y="43844"/>
                        <a:pt x="-91" y="37616"/>
                        <a:pt x="656" y="33257"/>
                      </a:cubicBezTo>
                      <a:cubicBezTo>
                        <a:pt x="1902" y="26406"/>
                        <a:pt x="4144" y="23417"/>
                        <a:pt x="5140" y="16442"/>
                      </a:cubicBezTo>
                      <a:cubicBezTo>
                        <a:pt x="6012" y="9591"/>
                        <a:pt x="5015"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7" name="Freeform 8041">
                  <a:extLst>
                    <a:ext uri="{FF2B5EF4-FFF2-40B4-BE49-F238E27FC236}">
                      <a16:creationId xmlns:a16="http://schemas.microsoft.com/office/drawing/2014/main" id="{4E43409C-A9CF-A196-D014-E80D134B381D}"/>
                    </a:ext>
                  </a:extLst>
                </p:cNvPr>
                <p:cNvSpPr/>
                <p:nvPr/>
              </p:nvSpPr>
              <p:spPr>
                <a:xfrm>
                  <a:off x="5251569" y="1831802"/>
                  <a:ext cx="26456" cy="26441"/>
                </a:xfrm>
                <a:custGeom>
                  <a:avLst/>
                  <a:gdLst>
                    <a:gd name="connsiteX0" fmla="*/ 26438 w 26456"/>
                    <a:gd name="connsiteY0" fmla="*/ 13968 h 26441"/>
                    <a:gd name="connsiteX1" fmla="*/ 12363 w 26456"/>
                    <a:gd name="connsiteY1" fmla="*/ 26424 h 26441"/>
                    <a:gd name="connsiteX2" fmla="*/ 31 w 26456"/>
                    <a:gd name="connsiteY2" fmla="*/ 12473 h 26441"/>
                    <a:gd name="connsiteX3" fmla="*/ 14107 w 26456"/>
                    <a:gd name="connsiteY3" fmla="*/ 18 h 26441"/>
                    <a:gd name="connsiteX4" fmla="*/ 26438 w 26456"/>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41">
                      <a:moveTo>
                        <a:pt x="26438" y="13968"/>
                      </a:moveTo>
                      <a:cubicBezTo>
                        <a:pt x="25940" y="21317"/>
                        <a:pt x="19712" y="26798"/>
                        <a:pt x="12363" y="26424"/>
                      </a:cubicBezTo>
                      <a:cubicBezTo>
                        <a:pt x="5014" y="26050"/>
                        <a:pt x="-467" y="19698"/>
                        <a:pt x="31" y="12473"/>
                      </a:cubicBezTo>
                      <a:cubicBezTo>
                        <a:pt x="530" y="5249"/>
                        <a:pt x="6758" y="-356"/>
                        <a:pt x="14107" y="18"/>
                      </a:cubicBezTo>
                      <a:cubicBezTo>
                        <a:pt x="21455" y="391"/>
                        <a:pt x="26811"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6" name="Graphic 2987">
                <a:extLst>
                  <a:ext uri="{FF2B5EF4-FFF2-40B4-BE49-F238E27FC236}">
                    <a16:creationId xmlns:a16="http://schemas.microsoft.com/office/drawing/2014/main" id="{3D522498-253D-EA48-1736-653BFADAD4E4}"/>
                  </a:ext>
                </a:extLst>
              </p:cNvPr>
              <p:cNvGrpSpPr/>
              <p:nvPr/>
            </p:nvGrpSpPr>
            <p:grpSpPr>
              <a:xfrm>
                <a:off x="5213953" y="1830057"/>
                <a:ext cx="34564" cy="148633"/>
                <a:chOff x="5213953" y="1830057"/>
                <a:chExt cx="34564" cy="148633"/>
              </a:xfrm>
              <a:grpFill/>
            </p:grpSpPr>
            <p:sp>
              <p:nvSpPr>
                <p:cNvPr id="6156" name="Freeform 8043">
                  <a:extLst>
                    <a:ext uri="{FF2B5EF4-FFF2-40B4-BE49-F238E27FC236}">
                      <a16:creationId xmlns:a16="http://schemas.microsoft.com/office/drawing/2014/main" id="{866531BA-8B1F-C751-C9B5-DDF1FBF52B7C}"/>
                    </a:ext>
                  </a:extLst>
                </p:cNvPr>
                <p:cNvSpPr/>
                <p:nvPr/>
              </p:nvSpPr>
              <p:spPr>
                <a:xfrm>
                  <a:off x="5231422" y="1906678"/>
                  <a:ext cx="4110" cy="51940"/>
                </a:xfrm>
                <a:custGeom>
                  <a:avLst/>
                  <a:gdLst>
                    <a:gd name="connsiteX0" fmla="*/ 0 w 4110"/>
                    <a:gd name="connsiteY0" fmla="*/ 51941 h 51940"/>
                    <a:gd name="connsiteX1" fmla="*/ 3239 w 4110"/>
                    <a:gd name="connsiteY1" fmla="*/ 33381 h 51940"/>
                    <a:gd name="connsiteX2" fmla="*/ 872 w 4110"/>
                    <a:gd name="connsiteY2" fmla="*/ 16192 h 51940"/>
                    <a:gd name="connsiteX3" fmla="*/ 4110 w 4110"/>
                    <a:gd name="connsiteY3" fmla="*/ 0 h 51940"/>
                  </a:gdLst>
                  <a:ahLst/>
                  <a:cxnLst>
                    <a:cxn ang="0">
                      <a:pos x="connsiteX0" y="connsiteY0"/>
                    </a:cxn>
                    <a:cxn ang="0">
                      <a:pos x="connsiteX1" y="connsiteY1"/>
                    </a:cxn>
                    <a:cxn ang="0">
                      <a:pos x="connsiteX2" y="connsiteY2"/>
                    </a:cxn>
                    <a:cxn ang="0">
                      <a:pos x="connsiteX3" y="connsiteY3"/>
                    </a:cxn>
                  </a:cxnLst>
                  <a:rect l="l" t="t" r="r" b="b"/>
                  <a:pathLst>
                    <a:path w="4110" h="51940">
                      <a:moveTo>
                        <a:pt x="0" y="51941"/>
                      </a:moveTo>
                      <a:cubicBezTo>
                        <a:pt x="2989" y="44093"/>
                        <a:pt x="3363" y="37741"/>
                        <a:pt x="3239" y="33381"/>
                      </a:cubicBezTo>
                      <a:cubicBezTo>
                        <a:pt x="2865" y="26406"/>
                        <a:pt x="996" y="23168"/>
                        <a:pt x="872" y="16192"/>
                      </a:cubicBezTo>
                      <a:cubicBezTo>
                        <a:pt x="872" y="9342"/>
                        <a:pt x="2616" y="3612"/>
                        <a:pt x="41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7" name="Freeform 8044">
                  <a:extLst>
                    <a:ext uri="{FF2B5EF4-FFF2-40B4-BE49-F238E27FC236}">
                      <a16:creationId xmlns:a16="http://schemas.microsoft.com/office/drawing/2014/main" id="{C0507296-BE3C-93C5-6D40-E82D800B8BB7}"/>
                    </a:ext>
                  </a:extLst>
                </p:cNvPr>
                <p:cNvSpPr/>
                <p:nvPr/>
              </p:nvSpPr>
              <p:spPr>
                <a:xfrm>
                  <a:off x="5222439" y="1911162"/>
                  <a:ext cx="5652" cy="52065"/>
                </a:xfrm>
                <a:custGeom>
                  <a:avLst/>
                  <a:gdLst>
                    <a:gd name="connsiteX0" fmla="*/ 4249 w 5652"/>
                    <a:gd name="connsiteY0" fmla="*/ 0 h 52065"/>
                    <a:gd name="connsiteX1" fmla="*/ 4997 w 5652"/>
                    <a:gd name="connsiteY1" fmla="*/ 18808 h 52065"/>
                    <a:gd name="connsiteX2" fmla="*/ 388 w 5652"/>
                    <a:gd name="connsiteY2" fmla="*/ 35624 h 52065"/>
                    <a:gd name="connsiteX3" fmla="*/ 1509 w 56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2" h="52065">
                      <a:moveTo>
                        <a:pt x="4249" y="0"/>
                      </a:moveTo>
                      <a:cubicBezTo>
                        <a:pt x="6242" y="8221"/>
                        <a:pt x="5744" y="14449"/>
                        <a:pt x="4997" y="18808"/>
                      </a:cubicBezTo>
                      <a:cubicBezTo>
                        <a:pt x="3751" y="25659"/>
                        <a:pt x="1385" y="28648"/>
                        <a:pt x="388" y="35624"/>
                      </a:cubicBezTo>
                      <a:cubicBezTo>
                        <a:pt x="-608" y="42474"/>
                        <a:pt x="513" y="48328"/>
                        <a:pt x="15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8" name="Freeform 8045">
                  <a:extLst>
                    <a:ext uri="{FF2B5EF4-FFF2-40B4-BE49-F238E27FC236}">
                      <a16:creationId xmlns:a16="http://schemas.microsoft.com/office/drawing/2014/main" id="{36044AD4-8F29-62F0-0EDD-4F31B1F978F0}"/>
                    </a:ext>
                  </a:extLst>
                </p:cNvPr>
                <p:cNvSpPr/>
                <p:nvPr/>
              </p:nvSpPr>
              <p:spPr>
                <a:xfrm>
                  <a:off x="5213953" y="1952124"/>
                  <a:ext cx="26716" cy="26566"/>
                </a:xfrm>
                <a:custGeom>
                  <a:avLst/>
                  <a:gdLst>
                    <a:gd name="connsiteX0" fmla="*/ 31 w 26716"/>
                    <a:gd name="connsiteY0" fmla="*/ 12474 h 26566"/>
                    <a:gd name="connsiteX1" fmla="*/ 14230 w 26716"/>
                    <a:gd name="connsiteY1" fmla="*/ 18 h 26566"/>
                    <a:gd name="connsiteX2" fmla="*/ 26686 w 26716"/>
                    <a:gd name="connsiteY2" fmla="*/ 14093 h 26566"/>
                    <a:gd name="connsiteX3" fmla="*/ 12487 w 26716"/>
                    <a:gd name="connsiteY3" fmla="*/ 26549 h 26566"/>
                    <a:gd name="connsiteX4" fmla="*/ 31 w 26716"/>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66">
                      <a:moveTo>
                        <a:pt x="31" y="12474"/>
                      </a:moveTo>
                      <a:cubicBezTo>
                        <a:pt x="529" y="5125"/>
                        <a:pt x="6881" y="-356"/>
                        <a:pt x="14230" y="18"/>
                      </a:cubicBezTo>
                      <a:cubicBezTo>
                        <a:pt x="21579" y="516"/>
                        <a:pt x="27184" y="6744"/>
                        <a:pt x="26686" y="14093"/>
                      </a:cubicBezTo>
                      <a:cubicBezTo>
                        <a:pt x="26188" y="21442"/>
                        <a:pt x="19835" y="26922"/>
                        <a:pt x="12487" y="26549"/>
                      </a:cubicBezTo>
                      <a:cubicBezTo>
                        <a:pt x="5138" y="26051"/>
                        <a:pt x="-468"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9" name="Freeform 8046">
                  <a:extLst>
                    <a:ext uri="{FF2B5EF4-FFF2-40B4-BE49-F238E27FC236}">
                      <a16:creationId xmlns:a16="http://schemas.microsoft.com/office/drawing/2014/main" id="{B0DEDA04-71EB-CF21-18E7-98E3EA693255}"/>
                    </a:ext>
                  </a:extLst>
                </p:cNvPr>
                <p:cNvSpPr/>
                <p:nvPr/>
              </p:nvSpPr>
              <p:spPr>
                <a:xfrm>
                  <a:off x="5227062" y="1850129"/>
                  <a:ext cx="4234" cy="51940"/>
                </a:xfrm>
                <a:custGeom>
                  <a:avLst/>
                  <a:gdLst>
                    <a:gd name="connsiteX0" fmla="*/ 4235 w 4234"/>
                    <a:gd name="connsiteY0" fmla="*/ 0 h 51940"/>
                    <a:gd name="connsiteX1" fmla="*/ 997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872" y="14200"/>
                        <a:pt x="997" y="18559"/>
                      </a:cubicBezTo>
                      <a:cubicBezTo>
                        <a:pt x="1370"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0" name="Freeform 8047">
                  <a:extLst>
                    <a:ext uri="{FF2B5EF4-FFF2-40B4-BE49-F238E27FC236}">
                      <a16:creationId xmlns:a16="http://schemas.microsoft.com/office/drawing/2014/main" id="{2EEC7C16-A343-F144-885B-588C9D76A9EB}"/>
                    </a:ext>
                  </a:extLst>
                </p:cNvPr>
                <p:cNvSpPr/>
                <p:nvPr/>
              </p:nvSpPr>
              <p:spPr>
                <a:xfrm>
                  <a:off x="5234503" y="1845521"/>
                  <a:ext cx="5528" cy="52065"/>
                </a:xfrm>
                <a:custGeom>
                  <a:avLst/>
                  <a:gdLst>
                    <a:gd name="connsiteX0" fmla="*/ 1403 w 5528"/>
                    <a:gd name="connsiteY0" fmla="*/ 52065 h 52065"/>
                    <a:gd name="connsiteX1" fmla="*/ 656 w 5528"/>
                    <a:gd name="connsiteY1" fmla="*/ 33257 h 52065"/>
                    <a:gd name="connsiteX2" fmla="*/ 5140 w 5528"/>
                    <a:gd name="connsiteY2" fmla="*/ 16442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8" y="23417"/>
                        <a:pt x="5140" y="16442"/>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1" name="Freeform 8048">
                  <a:extLst>
                    <a:ext uri="{FF2B5EF4-FFF2-40B4-BE49-F238E27FC236}">
                      <a16:creationId xmlns:a16="http://schemas.microsoft.com/office/drawing/2014/main" id="{21C8531B-8334-93B2-2E25-DA5AEE6BACD7}"/>
                    </a:ext>
                  </a:extLst>
                </p:cNvPr>
                <p:cNvSpPr/>
                <p:nvPr/>
              </p:nvSpPr>
              <p:spPr>
                <a:xfrm>
                  <a:off x="5222049" y="1830057"/>
                  <a:ext cx="26469" cy="26442"/>
                </a:xfrm>
                <a:custGeom>
                  <a:avLst/>
                  <a:gdLst>
                    <a:gd name="connsiteX0" fmla="*/ 26438 w 26469"/>
                    <a:gd name="connsiteY0" fmla="*/ 13968 h 26442"/>
                    <a:gd name="connsiteX1" fmla="*/ 12363 w 26469"/>
                    <a:gd name="connsiteY1" fmla="*/ 26424 h 26442"/>
                    <a:gd name="connsiteX2" fmla="*/ 31 w 26469"/>
                    <a:gd name="connsiteY2" fmla="*/ 12474 h 26442"/>
                    <a:gd name="connsiteX3" fmla="*/ 14107 w 26469"/>
                    <a:gd name="connsiteY3" fmla="*/ 18 h 26442"/>
                    <a:gd name="connsiteX4" fmla="*/ 26438 w 26469"/>
                    <a:gd name="connsiteY4" fmla="*/ 13968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442">
                      <a:moveTo>
                        <a:pt x="26438" y="13968"/>
                      </a:moveTo>
                      <a:cubicBezTo>
                        <a:pt x="25939" y="21317"/>
                        <a:pt x="19711" y="26798"/>
                        <a:pt x="12363" y="26424"/>
                      </a:cubicBezTo>
                      <a:cubicBezTo>
                        <a:pt x="5014" y="26051"/>
                        <a:pt x="-467" y="19698"/>
                        <a:pt x="31" y="12474"/>
                      </a:cubicBezTo>
                      <a:cubicBezTo>
                        <a:pt x="530" y="5125"/>
                        <a:pt x="6758" y="-356"/>
                        <a:pt x="14107" y="18"/>
                      </a:cubicBezTo>
                      <a:cubicBezTo>
                        <a:pt x="21455" y="392"/>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7" name="Graphic 2987">
                <a:extLst>
                  <a:ext uri="{FF2B5EF4-FFF2-40B4-BE49-F238E27FC236}">
                    <a16:creationId xmlns:a16="http://schemas.microsoft.com/office/drawing/2014/main" id="{621D0803-58C4-DCDC-60EB-C93F567B1D7F}"/>
                  </a:ext>
                </a:extLst>
              </p:cNvPr>
              <p:cNvGrpSpPr/>
              <p:nvPr/>
            </p:nvGrpSpPr>
            <p:grpSpPr>
              <a:xfrm>
                <a:off x="5184184" y="1828314"/>
                <a:ext cx="34937" cy="148632"/>
                <a:chOff x="5184184" y="1828314"/>
                <a:chExt cx="34937" cy="148632"/>
              </a:xfrm>
              <a:grpFill/>
            </p:grpSpPr>
            <p:sp>
              <p:nvSpPr>
                <p:cNvPr id="6150" name="Freeform 8050">
                  <a:extLst>
                    <a:ext uri="{FF2B5EF4-FFF2-40B4-BE49-F238E27FC236}">
                      <a16:creationId xmlns:a16="http://schemas.microsoft.com/office/drawing/2014/main" id="{72ADE773-5460-2155-2BAD-9BE9865FC3A9}"/>
                    </a:ext>
                  </a:extLst>
                </p:cNvPr>
                <p:cNvSpPr/>
                <p:nvPr/>
              </p:nvSpPr>
              <p:spPr>
                <a:xfrm>
                  <a:off x="5201652" y="1904935"/>
                  <a:ext cx="4235" cy="51940"/>
                </a:xfrm>
                <a:custGeom>
                  <a:avLst/>
                  <a:gdLst>
                    <a:gd name="connsiteX0" fmla="*/ 0 w 4235"/>
                    <a:gd name="connsiteY0" fmla="*/ 51941 h 51940"/>
                    <a:gd name="connsiteX1" fmla="*/ 3239 w 4235"/>
                    <a:gd name="connsiteY1" fmla="*/ 33381 h 51940"/>
                    <a:gd name="connsiteX2" fmla="*/ 997 w 4235"/>
                    <a:gd name="connsiteY2" fmla="*/ 16192 h 51940"/>
                    <a:gd name="connsiteX3" fmla="*/ 4235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0" y="51941"/>
                      </a:moveTo>
                      <a:cubicBezTo>
                        <a:pt x="2990" y="44093"/>
                        <a:pt x="3488" y="37741"/>
                        <a:pt x="3239" y="33381"/>
                      </a:cubicBezTo>
                      <a:cubicBezTo>
                        <a:pt x="2990" y="26406"/>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1" name="Freeform 8051">
                  <a:extLst>
                    <a:ext uri="{FF2B5EF4-FFF2-40B4-BE49-F238E27FC236}">
                      <a16:creationId xmlns:a16="http://schemas.microsoft.com/office/drawing/2014/main" id="{938BE540-EA15-7BBF-9425-D63B4C6BB98A}"/>
                    </a:ext>
                  </a:extLst>
                </p:cNvPr>
                <p:cNvSpPr/>
                <p:nvPr/>
              </p:nvSpPr>
              <p:spPr>
                <a:xfrm>
                  <a:off x="5192894" y="1909419"/>
                  <a:ext cx="5633" cy="52065"/>
                </a:xfrm>
                <a:custGeom>
                  <a:avLst/>
                  <a:gdLst>
                    <a:gd name="connsiteX0" fmla="*/ 4274 w 5633"/>
                    <a:gd name="connsiteY0" fmla="*/ 0 h 52065"/>
                    <a:gd name="connsiteX1" fmla="*/ 5021 w 5633"/>
                    <a:gd name="connsiteY1" fmla="*/ 18808 h 52065"/>
                    <a:gd name="connsiteX2" fmla="*/ 413 w 5633"/>
                    <a:gd name="connsiteY2" fmla="*/ 35624 h 52065"/>
                    <a:gd name="connsiteX3" fmla="*/ 1409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4274" y="0"/>
                      </a:moveTo>
                      <a:cubicBezTo>
                        <a:pt x="6142" y="8221"/>
                        <a:pt x="5769" y="14449"/>
                        <a:pt x="5021" y="18808"/>
                      </a:cubicBezTo>
                      <a:cubicBezTo>
                        <a:pt x="3776" y="25659"/>
                        <a:pt x="1409" y="28648"/>
                        <a:pt x="413" y="35624"/>
                      </a:cubicBezTo>
                      <a:cubicBezTo>
                        <a:pt x="-584"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2" name="Freeform 8052">
                  <a:extLst>
                    <a:ext uri="{FF2B5EF4-FFF2-40B4-BE49-F238E27FC236}">
                      <a16:creationId xmlns:a16="http://schemas.microsoft.com/office/drawing/2014/main" id="{269A2B60-DF1F-BC47-F93B-87F83C15E5BA}"/>
                    </a:ext>
                  </a:extLst>
                </p:cNvPr>
                <p:cNvSpPr/>
                <p:nvPr/>
              </p:nvSpPr>
              <p:spPr>
                <a:xfrm>
                  <a:off x="5184184" y="1950380"/>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516"/>
                        <a:pt x="27185" y="6744"/>
                        <a:pt x="26686" y="14093"/>
                      </a:cubicBezTo>
                      <a:cubicBezTo>
                        <a:pt x="26188" y="21442"/>
                        <a:pt x="19835" y="26922"/>
                        <a:pt x="12487"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3" name="Freeform 8053">
                  <a:extLst>
                    <a:ext uri="{FF2B5EF4-FFF2-40B4-BE49-F238E27FC236}">
                      <a16:creationId xmlns:a16="http://schemas.microsoft.com/office/drawing/2014/main" id="{3FDBFB2D-3613-7B67-FFD9-4AF2381A6018}"/>
                    </a:ext>
                  </a:extLst>
                </p:cNvPr>
                <p:cNvSpPr/>
                <p:nvPr/>
              </p:nvSpPr>
              <p:spPr>
                <a:xfrm>
                  <a:off x="5197542" y="1848385"/>
                  <a:ext cx="4234" cy="51940"/>
                </a:xfrm>
                <a:custGeom>
                  <a:avLst/>
                  <a:gdLst>
                    <a:gd name="connsiteX0" fmla="*/ 4235 w 4234"/>
                    <a:gd name="connsiteY0" fmla="*/ 0 h 51940"/>
                    <a:gd name="connsiteX1" fmla="*/ 996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747" y="14200"/>
                        <a:pt x="996" y="18559"/>
                      </a:cubicBezTo>
                      <a:cubicBezTo>
                        <a:pt x="1246"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4" name="Freeform 8054">
                  <a:extLst>
                    <a:ext uri="{FF2B5EF4-FFF2-40B4-BE49-F238E27FC236}">
                      <a16:creationId xmlns:a16="http://schemas.microsoft.com/office/drawing/2014/main" id="{F63BDD38-F87B-78F5-E503-75C34A86A55C}"/>
                    </a:ext>
                  </a:extLst>
                </p:cNvPr>
                <p:cNvSpPr/>
                <p:nvPr/>
              </p:nvSpPr>
              <p:spPr>
                <a:xfrm>
                  <a:off x="5204858" y="1843777"/>
                  <a:ext cx="5677" cy="52065"/>
                </a:xfrm>
                <a:custGeom>
                  <a:avLst/>
                  <a:gdLst>
                    <a:gd name="connsiteX0" fmla="*/ 1404 w 5677"/>
                    <a:gd name="connsiteY0" fmla="*/ 52065 h 52065"/>
                    <a:gd name="connsiteX1" fmla="*/ 656 w 5677"/>
                    <a:gd name="connsiteY1" fmla="*/ 33257 h 52065"/>
                    <a:gd name="connsiteX2" fmla="*/ 5265 w 5677"/>
                    <a:gd name="connsiteY2" fmla="*/ 16442 h 52065"/>
                    <a:gd name="connsiteX3" fmla="*/ 4268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1404" y="52065"/>
                      </a:moveTo>
                      <a:cubicBezTo>
                        <a:pt x="-589" y="43844"/>
                        <a:pt x="-91" y="37616"/>
                        <a:pt x="656" y="33257"/>
                      </a:cubicBezTo>
                      <a:cubicBezTo>
                        <a:pt x="1902" y="26406"/>
                        <a:pt x="4268" y="23417"/>
                        <a:pt x="5265" y="16442"/>
                      </a:cubicBezTo>
                      <a:cubicBezTo>
                        <a:pt x="6261" y="9591"/>
                        <a:pt x="5265" y="3737"/>
                        <a:pt x="42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5" name="Freeform 8055">
                  <a:extLst>
                    <a:ext uri="{FF2B5EF4-FFF2-40B4-BE49-F238E27FC236}">
                      <a16:creationId xmlns:a16="http://schemas.microsoft.com/office/drawing/2014/main" id="{7DA36E07-275F-7B19-61FE-93E95BB6AC80}"/>
                    </a:ext>
                  </a:extLst>
                </p:cNvPr>
                <p:cNvSpPr/>
                <p:nvPr/>
              </p:nvSpPr>
              <p:spPr>
                <a:xfrm>
                  <a:off x="5192653" y="1828314"/>
                  <a:ext cx="26468" cy="26441"/>
                </a:xfrm>
                <a:custGeom>
                  <a:avLst/>
                  <a:gdLst>
                    <a:gd name="connsiteX0" fmla="*/ 26438 w 26468"/>
                    <a:gd name="connsiteY0" fmla="*/ 13968 h 26441"/>
                    <a:gd name="connsiteX1" fmla="*/ 12363 w 26468"/>
                    <a:gd name="connsiteY1" fmla="*/ 26424 h 26441"/>
                    <a:gd name="connsiteX2" fmla="*/ 31 w 26468"/>
                    <a:gd name="connsiteY2" fmla="*/ 12473 h 26441"/>
                    <a:gd name="connsiteX3" fmla="*/ 14106 w 26468"/>
                    <a:gd name="connsiteY3" fmla="*/ 18 h 26441"/>
                    <a:gd name="connsiteX4" fmla="*/ 26438 w 26468"/>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441">
                      <a:moveTo>
                        <a:pt x="26438" y="13968"/>
                      </a:moveTo>
                      <a:cubicBezTo>
                        <a:pt x="25939" y="21317"/>
                        <a:pt x="19587" y="26798"/>
                        <a:pt x="12363" y="26424"/>
                      </a:cubicBezTo>
                      <a:cubicBezTo>
                        <a:pt x="5014" y="26050"/>
                        <a:pt x="-467" y="19698"/>
                        <a:pt x="31" y="12473"/>
                      </a:cubicBezTo>
                      <a:cubicBezTo>
                        <a:pt x="529" y="5249"/>
                        <a:pt x="6882" y="-356"/>
                        <a:pt x="14106" y="18"/>
                      </a:cubicBezTo>
                      <a:cubicBezTo>
                        <a:pt x="21331" y="391"/>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8" name="Graphic 2987">
                <a:extLst>
                  <a:ext uri="{FF2B5EF4-FFF2-40B4-BE49-F238E27FC236}">
                    <a16:creationId xmlns:a16="http://schemas.microsoft.com/office/drawing/2014/main" id="{A697092F-0FE2-38A3-3D1A-7960531B95FA}"/>
                  </a:ext>
                </a:extLst>
              </p:cNvPr>
              <p:cNvGrpSpPr/>
              <p:nvPr/>
            </p:nvGrpSpPr>
            <p:grpSpPr>
              <a:xfrm>
                <a:off x="5154414" y="1826569"/>
                <a:ext cx="35188" cy="148509"/>
                <a:chOff x="5154414" y="1826569"/>
                <a:chExt cx="35188" cy="148509"/>
              </a:xfrm>
              <a:grpFill/>
            </p:grpSpPr>
            <p:sp>
              <p:nvSpPr>
                <p:cNvPr id="6144" name="Freeform 8057">
                  <a:extLst>
                    <a:ext uri="{FF2B5EF4-FFF2-40B4-BE49-F238E27FC236}">
                      <a16:creationId xmlns:a16="http://schemas.microsoft.com/office/drawing/2014/main" id="{AB4E1E18-6826-8931-915A-AA7B83E25D78}"/>
                    </a:ext>
                  </a:extLst>
                </p:cNvPr>
                <p:cNvSpPr/>
                <p:nvPr/>
              </p:nvSpPr>
              <p:spPr>
                <a:xfrm>
                  <a:off x="5171883" y="1903066"/>
                  <a:ext cx="4359" cy="51940"/>
                </a:xfrm>
                <a:custGeom>
                  <a:avLst/>
                  <a:gdLst>
                    <a:gd name="connsiteX0" fmla="*/ 0 w 4359"/>
                    <a:gd name="connsiteY0" fmla="*/ 51941 h 51940"/>
                    <a:gd name="connsiteX1" fmla="*/ 3239 w 4359"/>
                    <a:gd name="connsiteY1" fmla="*/ 33381 h 51940"/>
                    <a:gd name="connsiteX2" fmla="*/ 996 w 4359"/>
                    <a:gd name="connsiteY2" fmla="*/ 16192 h 51940"/>
                    <a:gd name="connsiteX3" fmla="*/ 4360 w 4359"/>
                    <a:gd name="connsiteY3" fmla="*/ 0 h 51940"/>
                  </a:gdLst>
                  <a:ahLst/>
                  <a:cxnLst>
                    <a:cxn ang="0">
                      <a:pos x="connsiteX0" y="connsiteY0"/>
                    </a:cxn>
                    <a:cxn ang="0">
                      <a:pos x="connsiteX1" y="connsiteY1"/>
                    </a:cxn>
                    <a:cxn ang="0">
                      <a:pos x="connsiteX2" y="connsiteY2"/>
                    </a:cxn>
                    <a:cxn ang="0">
                      <a:pos x="connsiteX3" y="connsiteY3"/>
                    </a:cxn>
                  </a:cxnLst>
                  <a:rect l="l" t="t" r="r" b="b"/>
                  <a:pathLst>
                    <a:path w="4359" h="51940">
                      <a:moveTo>
                        <a:pt x="0" y="51941"/>
                      </a:moveTo>
                      <a:cubicBezTo>
                        <a:pt x="3114" y="44093"/>
                        <a:pt x="3488" y="37741"/>
                        <a:pt x="3239" y="33381"/>
                      </a:cubicBezTo>
                      <a:cubicBezTo>
                        <a:pt x="2989" y="26406"/>
                        <a:pt x="996" y="23292"/>
                        <a:pt x="996" y="16192"/>
                      </a:cubicBezTo>
                      <a:cubicBezTo>
                        <a:pt x="996" y="9342"/>
                        <a:pt x="2740" y="3612"/>
                        <a:pt x="43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5" name="Freeform 8058">
                  <a:extLst>
                    <a:ext uri="{FF2B5EF4-FFF2-40B4-BE49-F238E27FC236}">
                      <a16:creationId xmlns:a16="http://schemas.microsoft.com/office/drawing/2014/main" id="{94EE390F-E1D6-BF69-BD11-9AB042A2A310}"/>
                    </a:ext>
                  </a:extLst>
                </p:cNvPr>
                <p:cNvSpPr/>
                <p:nvPr/>
              </p:nvSpPr>
              <p:spPr>
                <a:xfrm>
                  <a:off x="5163125" y="1907550"/>
                  <a:ext cx="5739" cy="52065"/>
                </a:xfrm>
                <a:custGeom>
                  <a:avLst/>
                  <a:gdLst>
                    <a:gd name="connsiteX0" fmla="*/ 4399 w 5739"/>
                    <a:gd name="connsiteY0" fmla="*/ 0 h 52065"/>
                    <a:gd name="connsiteX1" fmla="*/ 5022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0"/>
                      </a:moveTo>
                      <a:cubicBezTo>
                        <a:pt x="6267" y="8221"/>
                        <a:pt x="5893" y="14449"/>
                        <a:pt x="5022" y="18808"/>
                      </a:cubicBezTo>
                      <a:cubicBezTo>
                        <a:pt x="3776" y="25659"/>
                        <a:pt x="1409" y="28648"/>
                        <a:pt x="413" y="35624"/>
                      </a:cubicBezTo>
                      <a:cubicBezTo>
                        <a:pt x="-584" y="42474"/>
                        <a:pt x="413" y="48204"/>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6" name="Freeform 8059">
                  <a:extLst>
                    <a:ext uri="{FF2B5EF4-FFF2-40B4-BE49-F238E27FC236}">
                      <a16:creationId xmlns:a16="http://schemas.microsoft.com/office/drawing/2014/main" id="{29C46AB9-507E-91F3-AAAF-9A357F17B8E9}"/>
                    </a:ext>
                  </a:extLst>
                </p:cNvPr>
                <p:cNvSpPr/>
                <p:nvPr/>
              </p:nvSpPr>
              <p:spPr>
                <a:xfrm>
                  <a:off x="5154414" y="1948636"/>
                  <a:ext cx="26593" cy="26442"/>
                </a:xfrm>
                <a:custGeom>
                  <a:avLst/>
                  <a:gdLst>
                    <a:gd name="connsiteX0" fmla="*/ 31 w 26593"/>
                    <a:gd name="connsiteY0" fmla="*/ 12350 h 26442"/>
                    <a:gd name="connsiteX1" fmla="*/ 14231 w 26593"/>
                    <a:gd name="connsiteY1" fmla="*/ 18 h 26442"/>
                    <a:gd name="connsiteX2" fmla="*/ 26562 w 26593"/>
                    <a:gd name="connsiteY2" fmla="*/ 13969 h 26442"/>
                    <a:gd name="connsiteX3" fmla="*/ 12363 w 26593"/>
                    <a:gd name="connsiteY3" fmla="*/ 26425 h 26442"/>
                    <a:gd name="connsiteX4" fmla="*/ 31 w 26593"/>
                    <a:gd name="connsiteY4" fmla="*/ 1235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42">
                      <a:moveTo>
                        <a:pt x="31" y="12350"/>
                      </a:moveTo>
                      <a:cubicBezTo>
                        <a:pt x="529" y="5001"/>
                        <a:pt x="6882" y="-355"/>
                        <a:pt x="14231" y="18"/>
                      </a:cubicBezTo>
                      <a:cubicBezTo>
                        <a:pt x="21580" y="517"/>
                        <a:pt x="27060" y="6744"/>
                        <a:pt x="26562" y="13969"/>
                      </a:cubicBezTo>
                      <a:cubicBezTo>
                        <a:pt x="26064" y="21318"/>
                        <a:pt x="19711" y="26798"/>
                        <a:pt x="12363" y="26425"/>
                      </a:cubicBezTo>
                      <a:cubicBezTo>
                        <a:pt x="5014" y="26176"/>
                        <a:pt x="-467" y="19699"/>
                        <a:pt x="31" y="123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7" name="Freeform 8060">
                  <a:extLst>
                    <a:ext uri="{FF2B5EF4-FFF2-40B4-BE49-F238E27FC236}">
                      <a16:creationId xmlns:a16="http://schemas.microsoft.com/office/drawing/2014/main" id="{2DCC0968-6B59-2FEC-F6D5-64838B5B327C}"/>
                    </a:ext>
                  </a:extLst>
                </p:cNvPr>
                <p:cNvSpPr/>
                <p:nvPr/>
              </p:nvSpPr>
              <p:spPr>
                <a:xfrm>
                  <a:off x="5167897" y="1846642"/>
                  <a:ext cx="4359" cy="51940"/>
                </a:xfrm>
                <a:custGeom>
                  <a:avLst/>
                  <a:gdLst>
                    <a:gd name="connsiteX0" fmla="*/ 4360 w 4359"/>
                    <a:gd name="connsiteY0" fmla="*/ 0 h 51940"/>
                    <a:gd name="connsiteX1" fmla="*/ 1121 w 4359"/>
                    <a:gd name="connsiteY1" fmla="*/ 18559 h 51940"/>
                    <a:gd name="connsiteX2" fmla="*/ 3363 w 4359"/>
                    <a:gd name="connsiteY2" fmla="*/ 35748 h 51940"/>
                    <a:gd name="connsiteX3" fmla="*/ 0 w 435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359" h="51940">
                      <a:moveTo>
                        <a:pt x="4360" y="0"/>
                      </a:moveTo>
                      <a:cubicBezTo>
                        <a:pt x="1370" y="7847"/>
                        <a:pt x="872" y="14200"/>
                        <a:pt x="1121" y="18559"/>
                      </a:cubicBezTo>
                      <a:cubicBezTo>
                        <a:pt x="1370" y="25534"/>
                        <a:pt x="3363" y="28648"/>
                        <a:pt x="3363" y="35748"/>
                      </a:cubicBezTo>
                      <a:cubicBezTo>
                        <a:pt x="3363" y="42599"/>
                        <a:pt x="1619"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8" name="Freeform 8061">
                  <a:extLst>
                    <a:ext uri="{FF2B5EF4-FFF2-40B4-BE49-F238E27FC236}">
                      <a16:creationId xmlns:a16="http://schemas.microsoft.com/office/drawing/2014/main" id="{8967AFE7-6A37-B47B-E1BA-BE8F1864965C}"/>
                    </a:ext>
                  </a:extLst>
                </p:cNvPr>
                <p:cNvSpPr/>
                <p:nvPr/>
              </p:nvSpPr>
              <p:spPr>
                <a:xfrm>
                  <a:off x="5175400" y="1842033"/>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1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1" y="23417"/>
                        <a:pt x="5327" y="16442"/>
                      </a:cubicBezTo>
                      <a:cubicBezTo>
                        <a:pt x="6324" y="9591"/>
                        <a:pt x="5327" y="3861"/>
                        <a:pt x="4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9" name="Freeform 8062">
                  <a:extLst>
                    <a:ext uri="{FF2B5EF4-FFF2-40B4-BE49-F238E27FC236}">
                      <a16:creationId xmlns:a16="http://schemas.microsoft.com/office/drawing/2014/main" id="{6CE0DE3C-A412-4C7F-84C8-E8FD45987AFA}"/>
                    </a:ext>
                  </a:extLst>
                </p:cNvPr>
                <p:cNvSpPr/>
                <p:nvPr/>
              </p:nvSpPr>
              <p:spPr>
                <a:xfrm>
                  <a:off x="5163257" y="1826569"/>
                  <a:ext cx="26345" cy="26442"/>
                </a:xfrm>
                <a:custGeom>
                  <a:avLst/>
                  <a:gdLst>
                    <a:gd name="connsiteX0" fmla="*/ 26314 w 26345"/>
                    <a:gd name="connsiteY0" fmla="*/ 13969 h 26442"/>
                    <a:gd name="connsiteX1" fmla="*/ 12239 w 26345"/>
                    <a:gd name="connsiteY1" fmla="*/ 26425 h 26442"/>
                    <a:gd name="connsiteX2" fmla="*/ 32 w 26345"/>
                    <a:gd name="connsiteY2" fmla="*/ 12350 h 26442"/>
                    <a:gd name="connsiteX3" fmla="*/ 14107 w 26345"/>
                    <a:gd name="connsiteY3" fmla="*/ 18 h 26442"/>
                    <a:gd name="connsiteX4" fmla="*/ 26314 w 26345"/>
                    <a:gd name="connsiteY4" fmla="*/ 13969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2">
                      <a:moveTo>
                        <a:pt x="26314" y="13969"/>
                      </a:moveTo>
                      <a:cubicBezTo>
                        <a:pt x="25816" y="21318"/>
                        <a:pt x="19463" y="26798"/>
                        <a:pt x="12239" y="26425"/>
                      </a:cubicBezTo>
                      <a:cubicBezTo>
                        <a:pt x="4890" y="26051"/>
                        <a:pt x="-466" y="19574"/>
                        <a:pt x="32" y="12350"/>
                      </a:cubicBezTo>
                      <a:cubicBezTo>
                        <a:pt x="530" y="5001"/>
                        <a:pt x="6883" y="-355"/>
                        <a:pt x="14107" y="18"/>
                      </a:cubicBezTo>
                      <a:cubicBezTo>
                        <a:pt x="21331" y="392"/>
                        <a:pt x="26812" y="6745"/>
                        <a:pt x="26314" y="13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9" name="Graphic 2987">
                <a:extLst>
                  <a:ext uri="{FF2B5EF4-FFF2-40B4-BE49-F238E27FC236}">
                    <a16:creationId xmlns:a16="http://schemas.microsoft.com/office/drawing/2014/main" id="{7927014D-C0F7-9624-4990-BE35FADB7A0F}"/>
                  </a:ext>
                </a:extLst>
              </p:cNvPr>
              <p:cNvGrpSpPr/>
              <p:nvPr/>
            </p:nvGrpSpPr>
            <p:grpSpPr>
              <a:xfrm>
                <a:off x="5124753" y="1824296"/>
                <a:ext cx="35453" cy="148571"/>
                <a:chOff x="5124753" y="1824296"/>
                <a:chExt cx="35453" cy="148571"/>
              </a:xfrm>
              <a:grpFill/>
            </p:grpSpPr>
            <p:sp>
              <p:nvSpPr>
                <p:cNvPr id="6138" name="Freeform 8064">
                  <a:extLst>
                    <a:ext uri="{FF2B5EF4-FFF2-40B4-BE49-F238E27FC236}">
                      <a16:creationId xmlns:a16="http://schemas.microsoft.com/office/drawing/2014/main" id="{B9AD7E57-CDB5-93F1-8CDF-EFACA37C9325}"/>
                    </a:ext>
                  </a:extLst>
                </p:cNvPr>
                <p:cNvSpPr/>
                <p:nvPr/>
              </p:nvSpPr>
              <p:spPr>
                <a:xfrm>
                  <a:off x="5142239" y="1900949"/>
                  <a:ext cx="4608" cy="51940"/>
                </a:xfrm>
                <a:custGeom>
                  <a:avLst/>
                  <a:gdLst>
                    <a:gd name="connsiteX0" fmla="*/ 0 w 4608"/>
                    <a:gd name="connsiteY0" fmla="*/ 51941 h 51940"/>
                    <a:gd name="connsiteX1" fmla="*/ 3363 w 4608"/>
                    <a:gd name="connsiteY1" fmla="*/ 33506 h 51940"/>
                    <a:gd name="connsiteX2" fmla="*/ 1246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741"/>
                        <a:pt x="3363" y="33506"/>
                      </a:cubicBezTo>
                      <a:cubicBezTo>
                        <a:pt x="3114" y="26531"/>
                        <a:pt x="1121" y="23292"/>
                        <a:pt x="1246" y="16192"/>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9" name="Freeform 8065">
                  <a:extLst>
                    <a:ext uri="{FF2B5EF4-FFF2-40B4-BE49-F238E27FC236}">
                      <a16:creationId xmlns:a16="http://schemas.microsoft.com/office/drawing/2014/main" id="{13622BE0-4828-67F6-C72D-8DA6201B1517}"/>
                    </a:ext>
                  </a:extLst>
                </p:cNvPr>
                <p:cNvSpPr/>
                <p:nvPr/>
              </p:nvSpPr>
              <p:spPr>
                <a:xfrm>
                  <a:off x="5133356" y="1905184"/>
                  <a:ext cx="5816" cy="51940"/>
                </a:xfrm>
                <a:custGeom>
                  <a:avLst/>
                  <a:gdLst>
                    <a:gd name="connsiteX0" fmla="*/ 4523 w 5816"/>
                    <a:gd name="connsiteY0" fmla="*/ 0 h 51940"/>
                    <a:gd name="connsiteX1" fmla="*/ 5146 w 5816"/>
                    <a:gd name="connsiteY1" fmla="*/ 18808 h 51940"/>
                    <a:gd name="connsiteX2" fmla="*/ 413 w 5816"/>
                    <a:gd name="connsiteY2" fmla="*/ 35499 h 51940"/>
                    <a:gd name="connsiteX3" fmla="*/ 1409 w 581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0"/>
                      </a:moveTo>
                      <a:cubicBezTo>
                        <a:pt x="6392" y="8221"/>
                        <a:pt x="5893" y="14573"/>
                        <a:pt x="5146" y="18808"/>
                      </a:cubicBezTo>
                      <a:cubicBezTo>
                        <a:pt x="3900" y="25659"/>
                        <a:pt x="1534" y="28524"/>
                        <a:pt x="413" y="35499"/>
                      </a:cubicBezTo>
                      <a:cubicBezTo>
                        <a:pt x="-584" y="42350"/>
                        <a:pt x="413" y="48204"/>
                        <a:pt x="14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0" name="Freeform 8066">
                  <a:extLst>
                    <a:ext uri="{FF2B5EF4-FFF2-40B4-BE49-F238E27FC236}">
                      <a16:creationId xmlns:a16="http://schemas.microsoft.com/office/drawing/2014/main" id="{90057F30-E6D3-6B4F-4583-E69E6FEF74B7}"/>
                    </a:ext>
                  </a:extLst>
                </p:cNvPr>
                <p:cNvSpPr/>
                <p:nvPr/>
              </p:nvSpPr>
              <p:spPr>
                <a:xfrm>
                  <a:off x="5124753" y="1946363"/>
                  <a:ext cx="26733" cy="26504"/>
                </a:xfrm>
                <a:custGeom>
                  <a:avLst/>
                  <a:gdLst>
                    <a:gd name="connsiteX0" fmla="*/ 47 w 26733"/>
                    <a:gd name="connsiteY0" fmla="*/ 12131 h 26504"/>
                    <a:gd name="connsiteX1" fmla="*/ 14371 w 26733"/>
                    <a:gd name="connsiteY1" fmla="*/ 49 h 26504"/>
                    <a:gd name="connsiteX2" fmla="*/ 26702 w 26733"/>
                    <a:gd name="connsiteY2" fmla="*/ 14373 h 26504"/>
                    <a:gd name="connsiteX3" fmla="*/ 12378 w 26733"/>
                    <a:gd name="connsiteY3" fmla="*/ 26455 h 26504"/>
                    <a:gd name="connsiteX4" fmla="*/ 47 w 2673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47" y="12131"/>
                      </a:moveTo>
                      <a:cubicBezTo>
                        <a:pt x="546" y="4782"/>
                        <a:pt x="7022" y="-574"/>
                        <a:pt x="14371" y="49"/>
                      </a:cubicBezTo>
                      <a:cubicBezTo>
                        <a:pt x="21720" y="672"/>
                        <a:pt x="27201" y="7024"/>
                        <a:pt x="26702" y="14373"/>
                      </a:cubicBezTo>
                      <a:cubicBezTo>
                        <a:pt x="26204" y="21722"/>
                        <a:pt x="19852" y="27078"/>
                        <a:pt x="12378" y="26455"/>
                      </a:cubicBezTo>
                      <a:cubicBezTo>
                        <a:pt x="5029" y="25833"/>
                        <a:pt x="-575" y="19480"/>
                        <a:pt x="47"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1" name="Freeform 8067">
                  <a:extLst>
                    <a:ext uri="{FF2B5EF4-FFF2-40B4-BE49-F238E27FC236}">
                      <a16:creationId xmlns:a16="http://schemas.microsoft.com/office/drawing/2014/main" id="{1DCCAF8A-74EC-628E-2648-F4072FCA416B}"/>
                    </a:ext>
                  </a:extLst>
                </p:cNvPr>
                <p:cNvSpPr/>
                <p:nvPr/>
              </p:nvSpPr>
              <p:spPr>
                <a:xfrm>
                  <a:off x="5138253" y="1844275"/>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2" name="Freeform 8068">
                  <a:extLst>
                    <a:ext uri="{FF2B5EF4-FFF2-40B4-BE49-F238E27FC236}">
                      <a16:creationId xmlns:a16="http://schemas.microsoft.com/office/drawing/2014/main" id="{C8A8AE2D-080A-3055-EC50-D070E84A5064}"/>
                    </a:ext>
                  </a:extLst>
                </p:cNvPr>
                <p:cNvSpPr/>
                <p:nvPr/>
              </p:nvSpPr>
              <p:spPr>
                <a:xfrm>
                  <a:off x="5145803" y="1839915"/>
                  <a:ext cx="5691" cy="52065"/>
                </a:xfrm>
                <a:custGeom>
                  <a:avLst/>
                  <a:gdLst>
                    <a:gd name="connsiteX0" fmla="*/ 1293 w 5691"/>
                    <a:gd name="connsiteY0" fmla="*/ 52065 h 52065"/>
                    <a:gd name="connsiteX1" fmla="*/ 670 w 5691"/>
                    <a:gd name="connsiteY1" fmla="*/ 33257 h 52065"/>
                    <a:gd name="connsiteX2" fmla="*/ 5279 w 5691"/>
                    <a:gd name="connsiteY2" fmla="*/ 16442 h 52065"/>
                    <a:gd name="connsiteX3" fmla="*/ 4282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52065"/>
                      </a:moveTo>
                      <a:cubicBezTo>
                        <a:pt x="-576" y="43844"/>
                        <a:pt x="-77" y="37492"/>
                        <a:pt x="670" y="33257"/>
                      </a:cubicBezTo>
                      <a:cubicBezTo>
                        <a:pt x="1916" y="26406"/>
                        <a:pt x="4282" y="23541"/>
                        <a:pt x="5279" y="16442"/>
                      </a:cubicBezTo>
                      <a:cubicBezTo>
                        <a:pt x="6275" y="9591"/>
                        <a:pt x="5279" y="3737"/>
                        <a:pt x="42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3" name="Freeform 8069">
                  <a:extLst>
                    <a:ext uri="{FF2B5EF4-FFF2-40B4-BE49-F238E27FC236}">
                      <a16:creationId xmlns:a16="http://schemas.microsoft.com/office/drawing/2014/main" id="{4A9C0C0F-CC64-BF97-6D1D-89A1FF8A3BFE}"/>
                    </a:ext>
                  </a:extLst>
                </p:cNvPr>
                <p:cNvSpPr/>
                <p:nvPr/>
              </p:nvSpPr>
              <p:spPr>
                <a:xfrm>
                  <a:off x="5133862" y="1824296"/>
                  <a:ext cx="26344" cy="26504"/>
                </a:xfrm>
                <a:custGeom>
                  <a:avLst/>
                  <a:gdLst>
                    <a:gd name="connsiteX0" fmla="*/ 26313 w 26344"/>
                    <a:gd name="connsiteY0" fmla="*/ 14373 h 26504"/>
                    <a:gd name="connsiteX1" fmla="*/ 12238 w 26344"/>
                    <a:gd name="connsiteY1" fmla="*/ 26455 h 26504"/>
                    <a:gd name="connsiteX2" fmla="*/ 31 w 26344"/>
                    <a:gd name="connsiteY2" fmla="*/ 12131 h 26504"/>
                    <a:gd name="connsiteX3" fmla="*/ 14106 w 26344"/>
                    <a:gd name="connsiteY3" fmla="*/ 49 h 26504"/>
                    <a:gd name="connsiteX4" fmla="*/ 26313 w 26344"/>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04">
                      <a:moveTo>
                        <a:pt x="26313" y="14373"/>
                      </a:moveTo>
                      <a:cubicBezTo>
                        <a:pt x="25815" y="21722"/>
                        <a:pt x="19462" y="27078"/>
                        <a:pt x="12238" y="26455"/>
                      </a:cubicBezTo>
                      <a:cubicBezTo>
                        <a:pt x="5014" y="25833"/>
                        <a:pt x="-467" y="19480"/>
                        <a:pt x="31" y="12131"/>
                      </a:cubicBezTo>
                      <a:cubicBezTo>
                        <a:pt x="529" y="4782"/>
                        <a:pt x="6882" y="-574"/>
                        <a:pt x="14106" y="49"/>
                      </a:cubicBezTo>
                      <a:cubicBezTo>
                        <a:pt x="21331" y="672"/>
                        <a:pt x="26811" y="7024"/>
                        <a:pt x="26313"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0" name="Graphic 2987">
                <a:extLst>
                  <a:ext uri="{FF2B5EF4-FFF2-40B4-BE49-F238E27FC236}">
                    <a16:creationId xmlns:a16="http://schemas.microsoft.com/office/drawing/2014/main" id="{09A45663-E3C7-9A1C-E59D-16089C6C6EFC}"/>
                  </a:ext>
                </a:extLst>
              </p:cNvPr>
              <p:cNvGrpSpPr/>
              <p:nvPr/>
            </p:nvGrpSpPr>
            <p:grpSpPr>
              <a:xfrm>
                <a:off x="5095000" y="1821805"/>
                <a:ext cx="35811" cy="148571"/>
                <a:chOff x="5095000" y="1821805"/>
                <a:chExt cx="35811" cy="148571"/>
              </a:xfrm>
              <a:grpFill/>
            </p:grpSpPr>
            <p:sp>
              <p:nvSpPr>
                <p:cNvPr id="6132" name="Freeform 8071">
                  <a:extLst>
                    <a:ext uri="{FF2B5EF4-FFF2-40B4-BE49-F238E27FC236}">
                      <a16:creationId xmlns:a16="http://schemas.microsoft.com/office/drawing/2014/main" id="{4E5CC864-B3EB-8098-C858-45711371CE47}"/>
                    </a:ext>
                  </a:extLst>
                </p:cNvPr>
                <p:cNvSpPr/>
                <p:nvPr/>
              </p:nvSpPr>
              <p:spPr>
                <a:xfrm>
                  <a:off x="5112470" y="1898458"/>
                  <a:ext cx="4608" cy="51940"/>
                </a:xfrm>
                <a:custGeom>
                  <a:avLst/>
                  <a:gdLst>
                    <a:gd name="connsiteX0" fmla="*/ 0 w 4608"/>
                    <a:gd name="connsiteY0" fmla="*/ 51941 h 51940"/>
                    <a:gd name="connsiteX1" fmla="*/ 3363 w 4608"/>
                    <a:gd name="connsiteY1" fmla="*/ 33506 h 51940"/>
                    <a:gd name="connsiteX2" fmla="*/ 1245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866"/>
                        <a:pt x="3363" y="33506"/>
                      </a:cubicBezTo>
                      <a:cubicBezTo>
                        <a:pt x="3114" y="26531"/>
                        <a:pt x="1245" y="23292"/>
                        <a:pt x="1245" y="16192"/>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3" name="Freeform 8072">
                  <a:extLst>
                    <a:ext uri="{FF2B5EF4-FFF2-40B4-BE49-F238E27FC236}">
                      <a16:creationId xmlns:a16="http://schemas.microsoft.com/office/drawing/2014/main" id="{7E5D819C-664A-C592-5929-095F1E59AE01}"/>
                    </a:ext>
                  </a:extLst>
                </p:cNvPr>
                <p:cNvSpPr/>
                <p:nvPr/>
              </p:nvSpPr>
              <p:spPr>
                <a:xfrm>
                  <a:off x="5103708" y="1902817"/>
                  <a:ext cx="5927" cy="51940"/>
                </a:xfrm>
                <a:custGeom>
                  <a:avLst/>
                  <a:gdLst>
                    <a:gd name="connsiteX0" fmla="*/ 4651 w 5927"/>
                    <a:gd name="connsiteY0" fmla="*/ 0 h 51940"/>
                    <a:gd name="connsiteX1" fmla="*/ 5149 w 5927"/>
                    <a:gd name="connsiteY1" fmla="*/ 18808 h 51940"/>
                    <a:gd name="connsiteX2" fmla="*/ 416 w 5927"/>
                    <a:gd name="connsiteY2" fmla="*/ 35499 h 51940"/>
                    <a:gd name="connsiteX3" fmla="*/ 1288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0"/>
                      </a:moveTo>
                      <a:cubicBezTo>
                        <a:pt x="6519" y="8221"/>
                        <a:pt x="6021" y="14573"/>
                        <a:pt x="5149" y="18808"/>
                      </a:cubicBezTo>
                      <a:cubicBezTo>
                        <a:pt x="3903" y="25659"/>
                        <a:pt x="1537" y="28524"/>
                        <a:pt x="416" y="35499"/>
                      </a:cubicBezTo>
                      <a:cubicBezTo>
                        <a:pt x="-580" y="42350"/>
                        <a:pt x="416" y="48204"/>
                        <a:pt x="12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4" name="Freeform 8073">
                  <a:extLst>
                    <a:ext uri="{FF2B5EF4-FFF2-40B4-BE49-F238E27FC236}">
                      <a16:creationId xmlns:a16="http://schemas.microsoft.com/office/drawing/2014/main" id="{35DF89AC-BAFD-13F7-BAEE-162325B7AB60}"/>
                    </a:ext>
                  </a:extLst>
                </p:cNvPr>
                <p:cNvSpPr/>
                <p:nvPr/>
              </p:nvSpPr>
              <p:spPr>
                <a:xfrm>
                  <a:off x="5095000" y="1943872"/>
                  <a:ext cx="26718" cy="26504"/>
                </a:xfrm>
                <a:custGeom>
                  <a:avLst/>
                  <a:gdLst>
                    <a:gd name="connsiteX0" fmla="*/ 31 w 26718"/>
                    <a:gd name="connsiteY0" fmla="*/ 12131 h 26504"/>
                    <a:gd name="connsiteX1" fmla="*/ 14356 w 26718"/>
                    <a:gd name="connsiteY1" fmla="*/ 49 h 26504"/>
                    <a:gd name="connsiteX2" fmla="*/ 26687 w 26718"/>
                    <a:gd name="connsiteY2" fmla="*/ 14373 h 26504"/>
                    <a:gd name="connsiteX3" fmla="*/ 12363 w 26718"/>
                    <a:gd name="connsiteY3" fmla="*/ 26455 h 26504"/>
                    <a:gd name="connsiteX4" fmla="*/ 31 w 2671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4">
                      <a:moveTo>
                        <a:pt x="31" y="12131"/>
                      </a:moveTo>
                      <a:cubicBezTo>
                        <a:pt x="654" y="4782"/>
                        <a:pt x="7007" y="-574"/>
                        <a:pt x="14356" y="49"/>
                      </a:cubicBezTo>
                      <a:cubicBezTo>
                        <a:pt x="21705" y="672"/>
                        <a:pt x="27185" y="7024"/>
                        <a:pt x="26687" y="14373"/>
                      </a:cubicBezTo>
                      <a:cubicBezTo>
                        <a:pt x="26189" y="21722"/>
                        <a:pt x="19712" y="27078"/>
                        <a:pt x="12363" y="26455"/>
                      </a:cubicBezTo>
                      <a:cubicBezTo>
                        <a:pt x="5014" y="25833"/>
                        <a:pt x="-467" y="19480"/>
                        <a:pt x="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5" name="Freeform 8074">
                  <a:extLst>
                    <a:ext uri="{FF2B5EF4-FFF2-40B4-BE49-F238E27FC236}">
                      <a16:creationId xmlns:a16="http://schemas.microsoft.com/office/drawing/2014/main" id="{079F91B9-23B6-0463-3A53-AD206163F293}"/>
                    </a:ext>
                  </a:extLst>
                </p:cNvPr>
                <p:cNvSpPr/>
                <p:nvPr/>
              </p:nvSpPr>
              <p:spPr>
                <a:xfrm>
                  <a:off x="5108857" y="1841908"/>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075"/>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6" name="Freeform 8075">
                  <a:extLst>
                    <a:ext uri="{FF2B5EF4-FFF2-40B4-BE49-F238E27FC236}">
                      <a16:creationId xmlns:a16="http://schemas.microsoft.com/office/drawing/2014/main" id="{0E0A8FA0-4F5A-8D95-7239-B40C07D18613}"/>
                    </a:ext>
                  </a:extLst>
                </p:cNvPr>
                <p:cNvSpPr/>
                <p:nvPr/>
              </p:nvSpPr>
              <p:spPr>
                <a:xfrm>
                  <a:off x="5116283" y="1837549"/>
                  <a:ext cx="5819" cy="51940"/>
                </a:xfrm>
                <a:custGeom>
                  <a:avLst/>
                  <a:gdLst>
                    <a:gd name="connsiteX0" fmla="*/ 1293 w 5819"/>
                    <a:gd name="connsiteY0" fmla="*/ 51941 h 51940"/>
                    <a:gd name="connsiteX1" fmla="*/ 670 w 5819"/>
                    <a:gd name="connsiteY1" fmla="*/ 33132 h 51940"/>
                    <a:gd name="connsiteX2" fmla="*/ 5403 w 5819"/>
                    <a:gd name="connsiteY2" fmla="*/ 16442 h 51940"/>
                    <a:gd name="connsiteX3" fmla="*/ 4531 w 5819"/>
                    <a:gd name="connsiteY3" fmla="*/ 0 h 51940"/>
                  </a:gdLst>
                  <a:ahLst/>
                  <a:cxnLst>
                    <a:cxn ang="0">
                      <a:pos x="connsiteX0" y="connsiteY0"/>
                    </a:cxn>
                    <a:cxn ang="0">
                      <a:pos x="connsiteX1" y="connsiteY1"/>
                    </a:cxn>
                    <a:cxn ang="0">
                      <a:pos x="connsiteX2" y="connsiteY2"/>
                    </a:cxn>
                    <a:cxn ang="0">
                      <a:pos x="connsiteX3" y="connsiteY3"/>
                    </a:cxn>
                  </a:cxnLst>
                  <a:rect l="l" t="t" r="r" b="b"/>
                  <a:pathLst>
                    <a:path w="5819" h="51940">
                      <a:moveTo>
                        <a:pt x="1293" y="51941"/>
                      </a:moveTo>
                      <a:cubicBezTo>
                        <a:pt x="-576" y="43720"/>
                        <a:pt x="-77" y="37367"/>
                        <a:pt x="670" y="33132"/>
                      </a:cubicBezTo>
                      <a:cubicBezTo>
                        <a:pt x="1916" y="26282"/>
                        <a:pt x="4282" y="23417"/>
                        <a:pt x="5403" y="16442"/>
                      </a:cubicBezTo>
                      <a:cubicBezTo>
                        <a:pt x="6400" y="9591"/>
                        <a:pt x="5403" y="3737"/>
                        <a:pt x="4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7" name="Freeform 8076">
                  <a:extLst>
                    <a:ext uri="{FF2B5EF4-FFF2-40B4-BE49-F238E27FC236}">
                      <a16:creationId xmlns:a16="http://schemas.microsoft.com/office/drawing/2014/main" id="{D774D9EE-892B-64CC-12B3-EE938263A924}"/>
                    </a:ext>
                  </a:extLst>
                </p:cNvPr>
                <p:cNvSpPr/>
                <p:nvPr/>
              </p:nvSpPr>
              <p:spPr>
                <a:xfrm>
                  <a:off x="5104342" y="1821805"/>
                  <a:ext cx="26469" cy="26504"/>
                </a:xfrm>
                <a:custGeom>
                  <a:avLst/>
                  <a:gdLst>
                    <a:gd name="connsiteX0" fmla="*/ 26438 w 26469"/>
                    <a:gd name="connsiteY0" fmla="*/ 14373 h 26504"/>
                    <a:gd name="connsiteX1" fmla="*/ 12238 w 26469"/>
                    <a:gd name="connsiteY1" fmla="*/ 26455 h 26504"/>
                    <a:gd name="connsiteX2" fmla="*/ 31 w 26469"/>
                    <a:gd name="connsiteY2" fmla="*/ 12131 h 26504"/>
                    <a:gd name="connsiteX3" fmla="*/ 14231 w 26469"/>
                    <a:gd name="connsiteY3" fmla="*/ 49 h 26504"/>
                    <a:gd name="connsiteX4" fmla="*/ 26438 w 2646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04">
                      <a:moveTo>
                        <a:pt x="26438" y="14373"/>
                      </a:moveTo>
                      <a:cubicBezTo>
                        <a:pt x="25940" y="21722"/>
                        <a:pt x="19587" y="27078"/>
                        <a:pt x="12238" y="26455"/>
                      </a:cubicBezTo>
                      <a:cubicBezTo>
                        <a:pt x="5014" y="25833"/>
                        <a:pt x="-467" y="19480"/>
                        <a:pt x="31" y="12131"/>
                      </a:cubicBezTo>
                      <a:cubicBezTo>
                        <a:pt x="654" y="4782"/>
                        <a:pt x="6882" y="-574"/>
                        <a:pt x="14231" y="49"/>
                      </a:cubicBezTo>
                      <a:cubicBezTo>
                        <a:pt x="21455" y="672"/>
                        <a:pt x="26936" y="7149"/>
                        <a:pt x="2643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1" name="Graphic 2987">
                <a:extLst>
                  <a:ext uri="{FF2B5EF4-FFF2-40B4-BE49-F238E27FC236}">
                    <a16:creationId xmlns:a16="http://schemas.microsoft.com/office/drawing/2014/main" id="{D535AD79-11BF-99F1-EC48-427618D1E66E}"/>
                  </a:ext>
                </a:extLst>
              </p:cNvPr>
              <p:cNvGrpSpPr/>
              <p:nvPr/>
            </p:nvGrpSpPr>
            <p:grpSpPr>
              <a:xfrm>
                <a:off x="5065338" y="1819314"/>
                <a:ext cx="36077" cy="148571"/>
                <a:chOff x="5065338" y="1819314"/>
                <a:chExt cx="36077" cy="148571"/>
              </a:xfrm>
              <a:grpFill/>
            </p:grpSpPr>
            <p:sp>
              <p:nvSpPr>
                <p:cNvPr id="6126" name="Freeform 8078">
                  <a:extLst>
                    <a:ext uri="{FF2B5EF4-FFF2-40B4-BE49-F238E27FC236}">
                      <a16:creationId xmlns:a16="http://schemas.microsoft.com/office/drawing/2014/main" id="{FA95BCB4-62E2-F2BF-5D23-ECEAB13BE799}"/>
                    </a:ext>
                  </a:extLst>
                </p:cNvPr>
                <p:cNvSpPr/>
                <p:nvPr/>
              </p:nvSpPr>
              <p:spPr>
                <a:xfrm>
                  <a:off x="5082825" y="1895966"/>
                  <a:ext cx="4857" cy="51940"/>
                </a:xfrm>
                <a:custGeom>
                  <a:avLst/>
                  <a:gdLst>
                    <a:gd name="connsiteX0" fmla="*/ 0 w 4857"/>
                    <a:gd name="connsiteY0" fmla="*/ 51941 h 51940"/>
                    <a:gd name="connsiteX1" fmla="*/ 3488 w 4857"/>
                    <a:gd name="connsiteY1" fmla="*/ 33506 h 51940"/>
                    <a:gd name="connsiteX2" fmla="*/ 1370 w 4857"/>
                    <a:gd name="connsiteY2" fmla="*/ 16193 h 51940"/>
                    <a:gd name="connsiteX3" fmla="*/ 4858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0" y="51941"/>
                      </a:moveTo>
                      <a:cubicBezTo>
                        <a:pt x="3114" y="44093"/>
                        <a:pt x="3612" y="37866"/>
                        <a:pt x="3488" y="33506"/>
                      </a:cubicBezTo>
                      <a:cubicBezTo>
                        <a:pt x="3238" y="26531"/>
                        <a:pt x="1370" y="23292"/>
                        <a:pt x="1370" y="16193"/>
                      </a:cubicBezTo>
                      <a:cubicBezTo>
                        <a:pt x="1370" y="9342"/>
                        <a:pt x="3238" y="3737"/>
                        <a:pt x="48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7" name="Freeform 8079">
                  <a:extLst>
                    <a:ext uri="{FF2B5EF4-FFF2-40B4-BE49-F238E27FC236}">
                      <a16:creationId xmlns:a16="http://schemas.microsoft.com/office/drawing/2014/main" id="{56FF27B1-8CD9-E2A7-1E04-2D47DD330789}"/>
                    </a:ext>
                  </a:extLst>
                </p:cNvPr>
                <p:cNvSpPr/>
                <p:nvPr/>
              </p:nvSpPr>
              <p:spPr>
                <a:xfrm>
                  <a:off x="5074039" y="1900326"/>
                  <a:ext cx="5951" cy="51940"/>
                </a:xfrm>
                <a:custGeom>
                  <a:avLst/>
                  <a:gdLst>
                    <a:gd name="connsiteX0" fmla="*/ 4675 w 5951"/>
                    <a:gd name="connsiteY0" fmla="*/ 0 h 51940"/>
                    <a:gd name="connsiteX1" fmla="*/ 5173 w 5951"/>
                    <a:gd name="connsiteY1" fmla="*/ 18808 h 51940"/>
                    <a:gd name="connsiteX2" fmla="*/ 440 w 5951"/>
                    <a:gd name="connsiteY2" fmla="*/ 35499 h 51940"/>
                    <a:gd name="connsiteX3" fmla="*/ 1312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0"/>
                      </a:moveTo>
                      <a:cubicBezTo>
                        <a:pt x="6543" y="8221"/>
                        <a:pt x="6045" y="14573"/>
                        <a:pt x="5173" y="18808"/>
                      </a:cubicBezTo>
                      <a:cubicBezTo>
                        <a:pt x="3803" y="25659"/>
                        <a:pt x="1437"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8" name="Freeform 8080">
                  <a:extLst>
                    <a:ext uri="{FF2B5EF4-FFF2-40B4-BE49-F238E27FC236}">
                      <a16:creationId xmlns:a16="http://schemas.microsoft.com/office/drawing/2014/main" id="{406ED69F-75B2-8923-211E-3277E15DF7F7}"/>
                    </a:ext>
                  </a:extLst>
                </p:cNvPr>
                <p:cNvSpPr/>
                <p:nvPr/>
              </p:nvSpPr>
              <p:spPr>
                <a:xfrm>
                  <a:off x="5065338" y="1941381"/>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957"/>
                        <a:pt x="-575" y="19480"/>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9" name="Freeform 8081">
                  <a:extLst>
                    <a:ext uri="{FF2B5EF4-FFF2-40B4-BE49-F238E27FC236}">
                      <a16:creationId xmlns:a16="http://schemas.microsoft.com/office/drawing/2014/main" id="{F00F8EEF-5013-1EC2-9608-6B9D309557B0}"/>
                    </a:ext>
                  </a:extLst>
                </p:cNvPr>
                <p:cNvSpPr/>
                <p:nvPr/>
              </p:nvSpPr>
              <p:spPr>
                <a:xfrm>
                  <a:off x="5079212" y="1839417"/>
                  <a:ext cx="4857" cy="51940"/>
                </a:xfrm>
                <a:custGeom>
                  <a:avLst/>
                  <a:gdLst>
                    <a:gd name="connsiteX0" fmla="*/ 4858 w 4857"/>
                    <a:gd name="connsiteY0" fmla="*/ 0 h 51940"/>
                    <a:gd name="connsiteX1" fmla="*/ 1370 w 4857"/>
                    <a:gd name="connsiteY1" fmla="*/ 18435 h 51940"/>
                    <a:gd name="connsiteX2" fmla="*/ 3488 w 4857"/>
                    <a:gd name="connsiteY2" fmla="*/ 35748 h 51940"/>
                    <a:gd name="connsiteX3" fmla="*/ 0 w 48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0"/>
                      </a:moveTo>
                      <a:cubicBezTo>
                        <a:pt x="1744" y="7847"/>
                        <a:pt x="1246" y="14075"/>
                        <a:pt x="1370" y="18435"/>
                      </a:cubicBezTo>
                      <a:cubicBezTo>
                        <a:pt x="1619" y="25410"/>
                        <a:pt x="3488"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0" name="Freeform 8082">
                  <a:extLst>
                    <a:ext uri="{FF2B5EF4-FFF2-40B4-BE49-F238E27FC236}">
                      <a16:creationId xmlns:a16="http://schemas.microsoft.com/office/drawing/2014/main" id="{8E945D28-538C-B975-B604-AA8661FAF6E7}"/>
                    </a:ext>
                  </a:extLst>
                </p:cNvPr>
                <p:cNvSpPr/>
                <p:nvPr/>
              </p:nvSpPr>
              <p:spPr>
                <a:xfrm>
                  <a:off x="5086779" y="1835058"/>
                  <a:ext cx="5951" cy="51940"/>
                </a:xfrm>
                <a:custGeom>
                  <a:avLst/>
                  <a:gdLst>
                    <a:gd name="connsiteX0" fmla="*/ 1277 w 5951"/>
                    <a:gd name="connsiteY0" fmla="*/ 51941 h 51940"/>
                    <a:gd name="connsiteX1" fmla="*/ 779 w 5951"/>
                    <a:gd name="connsiteY1" fmla="*/ 33132 h 51940"/>
                    <a:gd name="connsiteX2" fmla="*/ 5512 w 5951"/>
                    <a:gd name="connsiteY2" fmla="*/ 16442 h 51940"/>
                    <a:gd name="connsiteX3" fmla="*/ 4640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51941"/>
                      </a:moveTo>
                      <a:cubicBezTo>
                        <a:pt x="-592" y="43720"/>
                        <a:pt x="-93" y="37367"/>
                        <a:pt x="779" y="33132"/>
                      </a:cubicBezTo>
                      <a:cubicBezTo>
                        <a:pt x="2149" y="26282"/>
                        <a:pt x="4515" y="23417"/>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1" name="Freeform 8083">
                  <a:extLst>
                    <a:ext uri="{FF2B5EF4-FFF2-40B4-BE49-F238E27FC236}">
                      <a16:creationId xmlns:a16="http://schemas.microsoft.com/office/drawing/2014/main" id="{AA678A1D-3D7A-64CF-7B29-9CC5A5C63348}"/>
                    </a:ext>
                  </a:extLst>
                </p:cNvPr>
                <p:cNvSpPr/>
                <p:nvPr/>
              </p:nvSpPr>
              <p:spPr>
                <a:xfrm>
                  <a:off x="5075054" y="1819314"/>
                  <a:ext cx="26361" cy="26504"/>
                </a:xfrm>
                <a:custGeom>
                  <a:avLst/>
                  <a:gdLst>
                    <a:gd name="connsiteX0" fmla="*/ 26330 w 26361"/>
                    <a:gd name="connsiteY0" fmla="*/ 14373 h 26504"/>
                    <a:gd name="connsiteX1" fmla="*/ 12130 w 26361"/>
                    <a:gd name="connsiteY1" fmla="*/ 26455 h 26504"/>
                    <a:gd name="connsiteX2" fmla="*/ 48 w 26361"/>
                    <a:gd name="connsiteY2" fmla="*/ 12131 h 26504"/>
                    <a:gd name="connsiteX3" fmla="*/ 14248 w 26361"/>
                    <a:gd name="connsiteY3" fmla="*/ 49 h 26504"/>
                    <a:gd name="connsiteX4" fmla="*/ 26330 w 2636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828" y="7149"/>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2" name="Graphic 2987">
                <a:extLst>
                  <a:ext uri="{FF2B5EF4-FFF2-40B4-BE49-F238E27FC236}">
                    <a16:creationId xmlns:a16="http://schemas.microsoft.com/office/drawing/2014/main" id="{CD2B6A2C-13F1-7A89-88CF-65B579E37289}"/>
                  </a:ext>
                </a:extLst>
              </p:cNvPr>
              <p:cNvGrpSpPr/>
              <p:nvPr/>
            </p:nvGrpSpPr>
            <p:grpSpPr>
              <a:xfrm>
                <a:off x="5035569" y="1816948"/>
                <a:ext cx="36451" cy="148571"/>
                <a:chOff x="5035569" y="1816948"/>
                <a:chExt cx="36451" cy="148571"/>
              </a:xfrm>
              <a:grpFill/>
            </p:grpSpPr>
            <p:sp>
              <p:nvSpPr>
                <p:cNvPr id="6120" name="Freeform 8085">
                  <a:extLst>
                    <a:ext uri="{FF2B5EF4-FFF2-40B4-BE49-F238E27FC236}">
                      <a16:creationId xmlns:a16="http://schemas.microsoft.com/office/drawing/2014/main" id="{0E1952B1-1768-00EF-53BC-0CF1EDC6331D}"/>
                    </a:ext>
                  </a:extLst>
                </p:cNvPr>
                <p:cNvSpPr/>
                <p:nvPr/>
              </p:nvSpPr>
              <p:spPr>
                <a:xfrm>
                  <a:off x="5053180" y="1893600"/>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2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363" y="3612"/>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1" name="Freeform 8086">
                  <a:extLst>
                    <a:ext uri="{FF2B5EF4-FFF2-40B4-BE49-F238E27FC236}">
                      <a16:creationId xmlns:a16="http://schemas.microsoft.com/office/drawing/2014/main" id="{8BAECF7D-BA64-681D-CD16-259AE17DCE2B}"/>
                    </a:ext>
                  </a:extLst>
                </p:cNvPr>
                <p:cNvSpPr/>
                <p:nvPr/>
              </p:nvSpPr>
              <p:spPr>
                <a:xfrm>
                  <a:off x="5044395" y="1897835"/>
                  <a:ext cx="6030" cy="51940"/>
                </a:xfrm>
                <a:custGeom>
                  <a:avLst/>
                  <a:gdLst>
                    <a:gd name="connsiteX0" fmla="*/ 4799 w 6030"/>
                    <a:gd name="connsiteY0" fmla="*/ 0 h 51940"/>
                    <a:gd name="connsiteX1" fmla="*/ 5298 w 6030"/>
                    <a:gd name="connsiteY1" fmla="*/ 18808 h 51940"/>
                    <a:gd name="connsiteX2" fmla="*/ 440 w 6030"/>
                    <a:gd name="connsiteY2" fmla="*/ 35499 h 51940"/>
                    <a:gd name="connsiteX3" fmla="*/ 1312 w 603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0"/>
                      </a:moveTo>
                      <a:cubicBezTo>
                        <a:pt x="6668" y="8221"/>
                        <a:pt x="6045" y="14573"/>
                        <a:pt x="5298" y="18808"/>
                      </a:cubicBezTo>
                      <a:cubicBezTo>
                        <a:pt x="3927" y="25659"/>
                        <a:pt x="1561"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2" name="Freeform 8087">
                  <a:extLst>
                    <a:ext uri="{FF2B5EF4-FFF2-40B4-BE49-F238E27FC236}">
                      <a16:creationId xmlns:a16="http://schemas.microsoft.com/office/drawing/2014/main" id="{60FA5684-7603-4B69-49E4-7B8CDD124E0B}"/>
                    </a:ext>
                  </a:extLst>
                </p:cNvPr>
                <p:cNvSpPr/>
                <p:nvPr/>
              </p:nvSpPr>
              <p:spPr>
                <a:xfrm>
                  <a:off x="5035569" y="1939014"/>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833"/>
                        <a:pt x="-574"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3" name="Freeform 8088">
                  <a:extLst>
                    <a:ext uri="{FF2B5EF4-FFF2-40B4-BE49-F238E27FC236}">
                      <a16:creationId xmlns:a16="http://schemas.microsoft.com/office/drawing/2014/main" id="{999882C7-E8D0-D015-5FF7-85438B22F405}"/>
                    </a:ext>
                  </a:extLst>
                </p:cNvPr>
                <p:cNvSpPr/>
                <p:nvPr/>
              </p:nvSpPr>
              <p:spPr>
                <a:xfrm>
                  <a:off x="5049692" y="1836926"/>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4" name="Freeform 8089">
                  <a:extLst>
                    <a:ext uri="{FF2B5EF4-FFF2-40B4-BE49-F238E27FC236}">
                      <a16:creationId xmlns:a16="http://schemas.microsoft.com/office/drawing/2014/main" id="{5628D9A6-E314-98F7-F8B0-22E59C55970E}"/>
                    </a:ext>
                  </a:extLst>
                </p:cNvPr>
                <p:cNvSpPr/>
                <p:nvPr/>
              </p:nvSpPr>
              <p:spPr>
                <a:xfrm>
                  <a:off x="5057305" y="1832567"/>
                  <a:ext cx="5905" cy="51940"/>
                </a:xfrm>
                <a:custGeom>
                  <a:avLst/>
                  <a:gdLst>
                    <a:gd name="connsiteX0" fmla="*/ 1231 w 5905"/>
                    <a:gd name="connsiteY0" fmla="*/ 51941 h 51940"/>
                    <a:gd name="connsiteX1" fmla="*/ 732 w 5905"/>
                    <a:gd name="connsiteY1" fmla="*/ 33132 h 51940"/>
                    <a:gd name="connsiteX2" fmla="*/ 5465 w 5905"/>
                    <a:gd name="connsiteY2" fmla="*/ 16442 h 51940"/>
                    <a:gd name="connsiteX3" fmla="*/ 4594 w 5905"/>
                    <a:gd name="connsiteY3" fmla="*/ 0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51941"/>
                      </a:moveTo>
                      <a:cubicBezTo>
                        <a:pt x="-638" y="43720"/>
                        <a:pt x="-15" y="37367"/>
                        <a:pt x="732" y="33132"/>
                      </a:cubicBezTo>
                      <a:cubicBezTo>
                        <a:pt x="2103" y="26282"/>
                        <a:pt x="4469" y="23417"/>
                        <a:pt x="5465" y="16442"/>
                      </a:cubicBezTo>
                      <a:cubicBezTo>
                        <a:pt x="6462" y="9591"/>
                        <a:pt x="5590" y="3737"/>
                        <a:pt x="45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5" name="Freeform 8090">
                  <a:extLst>
                    <a:ext uri="{FF2B5EF4-FFF2-40B4-BE49-F238E27FC236}">
                      <a16:creationId xmlns:a16="http://schemas.microsoft.com/office/drawing/2014/main" id="{14C6D33C-757A-21B9-BBE6-FFE762E6DE59}"/>
                    </a:ext>
                  </a:extLst>
                </p:cNvPr>
                <p:cNvSpPr/>
                <p:nvPr/>
              </p:nvSpPr>
              <p:spPr>
                <a:xfrm>
                  <a:off x="5045658" y="1816948"/>
                  <a:ext cx="26362" cy="26504"/>
                </a:xfrm>
                <a:custGeom>
                  <a:avLst/>
                  <a:gdLst>
                    <a:gd name="connsiteX0" fmla="*/ 26330 w 26362"/>
                    <a:gd name="connsiteY0" fmla="*/ 14373 h 26504"/>
                    <a:gd name="connsiteX1" fmla="*/ 12130 w 26362"/>
                    <a:gd name="connsiteY1" fmla="*/ 26455 h 26504"/>
                    <a:gd name="connsiteX2" fmla="*/ 48 w 26362"/>
                    <a:gd name="connsiteY2" fmla="*/ 12131 h 26504"/>
                    <a:gd name="connsiteX3" fmla="*/ 14248 w 26362"/>
                    <a:gd name="connsiteY3" fmla="*/ 49 h 26504"/>
                    <a:gd name="connsiteX4" fmla="*/ 26330 w 2636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04">
                      <a:moveTo>
                        <a:pt x="26330" y="14373"/>
                      </a:moveTo>
                      <a:cubicBezTo>
                        <a:pt x="25707" y="21722"/>
                        <a:pt x="19355" y="27078"/>
                        <a:pt x="12130" y="26455"/>
                      </a:cubicBezTo>
                      <a:cubicBezTo>
                        <a:pt x="4906" y="25833"/>
                        <a:pt x="-574" y="19480"/>
                        <a:pt x="48" y="12131"/>
                      </a:cubicBezTo>
                      <a:cubicBezTo>
                        <a:pt x="671" y="4782"/>
                        <a:pt x="7023" y="-574"/>
                        <a:pt x="14248" y="49"/>
                      </a:cubicBezTo>
                      <a:cubicBezTo>
                        <a:pt x="21472" y="672"/>
                        <a:pt x="26828"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3" name="Graphic 2987">
                <a:extLst>
                  <a:ext uri="{FF2B5EF4-FFF2-40B4-BE49-F238E27FC236}">
                    <a16:creationId xmlns:a16="http://schemas.microsoft.com/office/drawing/2014/main" id="{6C6EFA76-4B5A-C624-8FE3-910B9D2CA038}"/>
                  </a:ext>
                </a:extLst>
              </p:cNvPr>
              <p:cNvGrpSpPr/>
              <p:nvPr/>
            </p:nvGrpSpPr>
            <p:grpSpPr>
              <a:xfrm>
                <a:off x="5005923" y="1814456"/>
                <a:ext cx="36717" cy="148571"/>
                <a:chOff x="5005923" y="1814456"/>
                <a:chExt cx="36717" cy="148571"/>
              </a:xfrm>
              <a:grpFill/>
            </p:grpSpPr>
            <p:sp>
              <p:nvSpPr>
                <p:cNvPr id="6114" name="Freeform 8092">
                  <a:extLst>
                    <a:ext uri="{FF2B5EF4-FFF2-40B4-BE49-F238E27FC236}">
                      <a16:creationId xmlns:a16="http://schemas.microsoft.com/office/drawing/2014/main" id="{92236D4A-071C-8483-C18C-4F7D38E788B1}"/>
                    </a:ext>
                  </a:extLst>
                </p:cNvPr>
                <p:cNvSpPr/>
                <p:nvPr/>
              </p:nvSpPr>
              <p:spPr>
                <a:xfrm>
                  <a:off x="5023410" y="1891109"/>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3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488" y="3612"/>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5" name="Freeform 8093">
                  <a:extLst>
                    <a:ext uri="{FF2B5EF4-FFF2-40B4-BE49-F238E27FC236}">
                      <a16:creationId xmlns:a16="http://schemas.microsoft.com/office/drawing/2014/main" id="{95327E07-E433-FEC6-05A9-C9BB97CFB945}"/>
                    </a:ext>
                  </a:extLst>
                </p:cNvPr>
                <p:cNvSpPr/>
                <p:nvPr/>
              </p:nvSpPr>
              <p:spPr>
                <a:xfrm>
                  <a:off x="5014691" y="1895344"/>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7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5" y="48204"/>
                        <a:pt x="1247"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6" name="Freeform 8094">
                  <a:extLst>
                    <a:ext uri="{FF2B5EF4-FFF2-40B4-BE49-F238E27FC236}">
                      <a16:creationId xmlns:a16="http://schemas.microsoft.com/office/drawing/2014/main" id="{5EA63A35-3FA8-E8C3-598C-9CD0363E325B}"/>
                    </a:ext>
                  </a:extLst>
                </p:cNvPr>
                <p:cNvSpPr/>
                <p:nvPr/>
              </p:nvSpPr>
              <p:spPr>
                <a:xfrm>
                  <a:off x="5005923" y="1936523"/>
                  <a:ext cx="26752" cy="26504"/>
                </a:xfrm>
                <a:custGeom>
                  <a:avLst/>
                  <a:gdLst>
                    <a:gd name="connsiteX0" fmla="*/ 49 w 26752"/>
                    <a:gd name="connsiteY0" fmla="*/ 12131 h 26504"/>
                    <a:gd name="connsiteX1" fmla="*/ 14498 w 26752"/>
                    <a:gd name="connsiteY1" fmla="*/ 49 h 26504"/>
                    <a:gd name="connsiteX2" fmla="*/ 26705 w 26752"/>
                    <a:gd name="connsiteY2" fmla="*/ 14373 h 26504"/>
                    <a:gd name="connsiteX3" fmla="*/ 12256 w 26752"/>
                    <a:gd name="connsiteY3" fmla="*/ 26455 h 26504"/>
                    <a:gd name="connsiteX4" fmla="*/ 49 w 26752"/>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2" h="26504">
                      <a:moveTo>
                        <a:pt x="49" y="12131"/>
                      </a:moveTo>
                      <a:cubicBezTo>
                        <a:pt x="672" y="4782"/>
                        <a:pt x="7149" y="-574"/>
                        <a:pt x="14498" y="49"/>
                      </a:cubicBezTo>
                      <a:cubicBezTo>
                        <a:pt x="21847" y="672"/>
                        <a:pt x="27327" y="7024"/>
                        <a:pt x="26705" y="14373"/>
                      </a:cubicBezTo>
                      <a:cubicBezTo>
                        <a:pt x="26082" y="21722"/>
                        <a:pt x="19605" y="27078"/>
                        <a:pt x="12256"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7" name="Freeform 8095">
                  <a:extLst>
                    <a:ext uri="{FF2B5EF4-FFF2-40B4-BE49-F238E27FC236}">
                      <a16:creationId xmlns:a16="http://schemas.microsoft.com/office/drawing/2014/main" id="{3FEF94E6-9144-89D1-1C9C-FD897F771D06}"/>
                    </a:ext>
                  </a:extLst>
                </p:cNvPr>
                <p:cNvSpPr/>
                <p:nvPr/>
              </p:nvSpPr>
              <p:spPr>
                <a:xfrm>
                  <a:off x="5020172" y="1834435"/>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8" name="Freeform 8096">
                  <a:extLst>
                    <a:ext uri="{FF2B5EF4-FFF2-40B4-BE49-F238E27FC236}">
                      <a16:creationId xmlns:a16="http://schemas.microsoft.com/office/drawing/2014/main" id="{C517D2C6-9D10-9D88-1A01-534764F8E9CB}"/>
                    </a:ext>
                  </a:extLst>
                </p:cNvPr>
                <p:cNvSpPr/>
                <p:nvPr/>
              </p:nvSpPr>
              <p:spPr>
                <a:xfrm>
                  <a:off x="5027847" y="1830075"/>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4"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9" name="Freeform 8097">
                  <a:extLst>
                    <a:ext uri="{FF2B5EF4-FFF2-40B4-BE49-F238E27FC236}">
                      <a16:creationId xmlns:a16="http://schemas.microsoft.com/office/drawing/2014/main" id="{76826309-4387-CCBA-D112-DBE066B01104}"/>
                    </a:ext>
                  </a:extLst>
                </p:cNvPr>
                <p:cNvSpPr/>
                <p:nvPr/>
              </p:nvSpPr>
              <p:spPr>
                <a:xfrm>
                  <a:off x="5016263" y="1814456"/>
                  <a:ext cx="26378" cy="26504"/>
                </a:xfrm>
                <a:custGeom>
                  <a:avLst/>
                  <a:gdLst>
                    <a:gd name="connsiteX0" fmla="*/ 26330 w 26378"/>
                    <a:gd name="connsiteY0" fmla="*/ 14373 h 26504"/>
                    <a:gd name="connsiteX1" fmla="*/ 12130 w 26378"/>
                    <a:gd name="connsiteY1" fmla="*/ 26455 h 26504"/>
                    <a:gd name="connsiteX2" fmla="*/ 48 w 26378"/>
                    <a:gd name="connsiteY2" fmla="*/ 12131 h 26504"/>
                    <a:gd name="connsiteX3" fmla="*/ 14248 w 26378"/>
                    <a:gd name="connsiteY3" fmla="*/ 49 h 26504"/>
                    <a:gd name="connsiteX4" fmla="*/ 26330 w 2637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953"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4" name="Graphic 2987">
                <a:extLst>
                  <a:ext uri="{FF2B5EF4-FFF2-40B4-BE49-F238E27FC236}">
                    <a16:creationId xmlns:a16="http://schemas.microsoft.com/office/drawing/2014/main" id="{F11C76EA-1679-9ADA-568F-82F28B355FA8}"/>
                  </a:ext>
                </a:extLst>
              </p:cNvPr>
              <p:cNvGrpSpPr/>
              <p:nvPr/>
            </p:nvGrpSpPr>
            <p:grpSpPr>
              <a:xfrm>
                <a:off x="4976155" y="1811965"/>
                <a:ext cx="37090" cy="148571"/>
                <a:chOff x="4976155" y="1811965"/>
                <a:chExt cx="37090" cy="148571"/>
              </a:xfrm>
              <a:grpFill/>
            </p:grpSpPr>
            <p:sp>
              <p:nvSpPr>
                <p:cNvPr id="6108" name="Freeform 8099">
                  <a:extLst>
                    <a:ext uri="{FF2B5EF4-FFF2-40B4-BE49-F238E27FC236}">
                      <a16:creationId xmlns:a16="http://schemas.microsoft.com/office/drawing/2014/main" id="{1BCA54D0-2C36-B9DF-B9CC-950A4818882B}"/>
                    </a:ext>
                  </a:extLst>
                </p:cNvPr>
                <p:cNvSpPr/>
                <p:nvPr/>
              </p:nvSpPr>
              <p:spPr>
                <a:xfrm>
                  <a:off x="4993766" y="1888617"/>
                  <a:ext cx="5231" cy="51816"/>
                </a:xfrm>
                <a:custGeom>
                  <a:avLst/>
                  <a:gdLst>
                    <a:gd name="connsiteX0" fmla="*/ 0 w 5231"/>
                    <a:gd name="connsiteY0" fmla="*/ 51816 h 51816"/>
                    <a:gd name="connsiteX1" fmla="*/ 3612 w 5231"/>
                    <a:gd name="connsiteY1" fmla="*/ 33381 h 51816"/>
                    <a:gd name="connsiteX2" fmla="*/ 1619 w 5231"/>
                    <a:gd name="connsiteY2" fmla="*/ 16068 h 51816"/>
                    <a:gd name="connsiteX3" fmla="*/ 5231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0" y="51816"/>
                      </a:moveTo>
                      <a:cubicBezTo>
                        <a:pt x="3114" y="43969"/>
                        <a:pt x="3737" y="37741"/>
                        <a:pt x="3612" y="33381"/>
                      </a:cubicBezTo>
                      <a:cubicBezTo>
                        <a:pt x="3488" y="26406"/>
                        <a:pt x="1495" y="23168"/>
                        <a:pt x="1619" y="16068"/>
                      </a:cubicBezTo>
                      <a:cubicBezTo>
                        <a:pt x="1744" y="9217"/>
                        <a:pt x="3612" y="3612"/>
                        <a:pt x="5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9" name="Freeform 8100">
                  <a:extLst>
                    <a:ext uri="{FF2B5EF4-FFF2-40B4-BE49-F238E27FC236}">
                      <a16:creationId xmlns:a16="http://schemas.microsoft.com/office/drawing/2014/main" id="{61914C99-90A6-FB2E-3FFC-5A165674E388}"/>
                    </a:ext>
                  </a:extLst>
                </p:cNvPr>
                <p:cNvSpPr/>
                <p:nvPr/>
              </p:nvSpPr>
              <p:spPr>
                <a:xfrm>
                  <a:off x="4985046" y="1892852"/>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6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4" y="48204"/>
                        <a:pt x="124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0" name="Freeform 8101">
                  <a:extLst>
                    <a:ext uri="{FF2B5EF4-FFF2-40B4-BE49-F238E27FC236}">
                      <a16:creationId xmlns:a16="http://schemas.microsoft.com/office/drawing/2014/main" id="{B27C42EB-600D-0276-A72D-09A6C6527EFE}"/>
                    </a:ext>
                  </a:extLst>
                </p:cNvPr>
                <p:cNvSpPr/>
                <p:nvPr/>
              </p:nvSpPr>
              <p:spPr>
                <a:xfrm>
                  <a:off x="4976155" y="1934032"/>
                  <a:ext cx="26751" cy="26504"/>
                </a:xfrm>
                <a:custGeom>
                  <a:avLst/>
                  <a:gdLst>
                    <a:gd name="connsiteX0" fmla="*/ 48 w 26751"/>
                    <a:gd name="connsiteY0" fmla="*/ 12131 h 26504"/>
                    <a:gd name="connsiteX1" fmla="*/ 14497 w 26751"/>
                    <a:gd name="connsiteY1" fmla="*/ 49 h 26504"/>
                    <a:gd name="connsiteX2" fmla="*/ 26703 w 26751"/>
                    <a:gd name="connsiteY2" fmla="*/ 14373 h 26504"/>
                    <a:gd name="connsiteX3" fmla="*/ 12255 w 26751"/>
                    <a:gd name="connsiteY3" fmla="*/ 26455 h 26504"/>
                    <a:gd name="connsiteX4" fmla="*/ 48 w 26751"/>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4">
                      <a:moveTo>
                        <a:pt x="48" y="12131"/>
                      </a:moveTo>
                      <a:cubicBezTo>
                        <a:pt x="671" y="4782"/>
                        <a:pt x="7148" y="-574"/>
                        <a:pt x="14497" y="49"/>
                      </a:cubicBezTo>
                      <a:cubicBezTo>
                        <a:pt x="21846" y="672"/>
                        <a:pt x="27326" y="7024"/>
                        <a:pt x="26703" y="14373"/>
                      </a:cubicBezTo>
                      <a:cubicBezTo>
                        <a:pt x="26081" y="21722"/>
                        <a:pt x="19604" y="27078"/>
                        <a:pt x="12255" y="26455"/>
                      </a:cubicBezTo>
                      <a:cubicBezTo>
                        <a:pt x="4906" y="25833"/>
                        <a:pt x="-575"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1" name="Freeform 8102">
                  <a:extLst>
                    <a:ext uri="{FF2B5EF4-FFF2-40B4-BE49-F238E27FC236}">
                      <a16:creationId xmlns:a16="http://schemas.microsoft.com/office/drawing/2014/main" id="{FFC01F26-E73F-E146-4BCD-519B6D9C9D0D}"/>
                    </a:ext>
                  </a:extLst>
                </p:cNvPr>
                <p:cNvSpPr/>
                <p:nvPr/>
              </p:nvSpPr>
              <p:spPr>
                <a:xfrm>
                  <a:off x="4990403" y="1832068"/>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242"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2" name="Freeform 8103">
                  <a:extLst>
                    <a:ext uri="{FF2B5EF4-FFF2-40B4-BE49-F238E27FC236}">
                      <a16:creationId xmlns:a16="http://schemas.microsoft.com/office/drawing/2014/main" id="{40587143-D2BC-7A18-8BD4-AE71EC0D7551}"/>
                    </a:ext>
                  </a:extLst>
                </p:cNvPr>
                <p:cNvSpPr/>
                <p:nvPr/>
              </p:nvSpPr>
              <p:spPr>
                <a:xfrm>
                  <a:off x="4998327" y="1827709"/>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3" name="Freeform 8104">
                  <a:extLst>
                    <a:ext uri="{FF2B5EF4-FFF2-40B4-BE49-F238E27FC236}">
                      <a16:creationId xmlns:a16="http://schemas.microsoft.com/office/drawing/2014/main" id="{C775CB05-F262-9D1F-4145-BC46C9407FA1}"/>
                    </a:ext>
                  </a:extLst>
                </p:cNvPr>
                <p:cNvSpPr/>
                <p:nvPr/>
              </p:nvSpPr>
              <p:spPr>
                <a:xfrm>
                  <a:off x="4986847" y="1811965"/>
                  <a:ext cx="26398" cy="26504"/>
                </a:xfrm>
                <a:custGeom>
                  <a:avLst/>
                  <a:gdLst>
                    <a:gd name="connsiteX0" fmla="*/ 26350 w 26398"/>
                    <a:gd name="connsiteY0" fmla="*/ 14373 h 26504"/>
                    <a:gd name="connsiteX1" fmla="*/ 12026 w 26398"/>
                    <a:gd name="connsiteY1" fmla="*/ 26455 h 26504"/>
                    <a:gd name="connsiteX2" fmla="*/ 68 w 26398"/>
                    <a:gd name="connsiteY2" fmla="*/ 12131 h 26504"/>
                    <a:gd name="connsiteX3" fmla="*/ 14392 w 26398"/>
                    <a:gd name="connsiteY3" fmla="*/ 49 h 26504"/>
                    <a:gd name="connsiteX4" fmla="*/ 26350 w 2639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8" h="26504">
                      <a:moveTo>
                        <a:pt x="26350" y="14373"/>
                      </a:moveTo>
                      <a:cubicBezTo>
                        <a:pt x="25727" y="21722"/>
                        <a:pt x="19375" y="27078"/>
                        <a:pt x="12026" y="26455"/>
                      </a:cubicBezTo>
                      <a:cubicBezTo>
                        <a:pt x="4802" y="25833"/>
                        <a:pt x="-679" y="19480"/>
                        <a:pt x="68" y="12131"/>
                      </a:cubicBezTo>
                      <a:cubicBezTo>
                        <a:pt x="816" y="4782"/>
                        <a:pt x="7168" y="-574"/>
                        <a:pt x="14392" y="49"/>
                      </a:cubicBezTo>
                      <a:cubicBezTo>
                        <a:pt x="21492" y="672"/>
                        <a:pt x="26973" y="7149"/>
                        <a:pt x="263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5" name="Graphic 2987">
                <a:extLst>
                  <a:ext uri="{FF2B5EF4-FFF2-40B4-BE49-F238E27FC236}">
                    <a16:creationId xmlns:a16="http://schemas.microsoft.com/office/drawing/2014/main" id="{A6D3BEC3-3D98-F10A-39FD-88A2D85782FF}"/>
                  </a:ext>
                </a:extLst>
              </p:cNvPr>
              <p:cNvGrpSpPr/>
              <p:nvPr/>
            </p:nvGrpSpPr>
            <p:grpSpPr>
              <a:xfrm>
                <a:off x="4946385" y="1809599"/>
                <a:ext cx="37465" cy="148446"/>
                <a:chOff x="4946385" y="1809599"/>
                <a:chExt cx="37465" cy="148446"/>
              </a:xfrm>
              <a:grpFill/>
            </p:grpSpPr>
            <p:sp>
              <p:nvSpPr>
                <p:cNvPr id="6102" name="Freeform 8106">
                  <a:extLst>
                    <a:ext uri="{FF2B5EF4-FFF2-40B4-BE49-F238E27FC236}">
                      <a16:creationId xmlns:a16="http://schemas.microsoft.com/office/drawing/2014/main" id="{E9D62388-4389-5205-4C70-E2E3977523A3}"/>
                    </a:ext>
                  </a:extLst>
                </p:cNvPr>
                <p:cNvSpPr/>
                <p:nvPr/>
              </p:nvSpPr>
              <p:spPr>
                <a:xfrm>
                  <a:off x="4963997" y="1886126"/>
                  <a:ext cx="5355" cy="51815"/>
                </a:xfrm>
                <a:custGeom>
                  <a:avLst/>
                  <a:gdLst>
                    <a:gd name="connsiteX0" fmla="*/ 0 w 5355"/>
                    <a:gd name="connsiteY0" fmla="*/ 51816 h 51815"/>
                    <a:gd name="connsiteX1" fmla="*/ 3612 w 5355"/>
                    <a:gd name="connsiteY1" fmla="*/ 33381 h 51815"/>
                    <a:gd name="connsiteX2" fmla="*/ 1744 w 5355"/>
                    <a:gd name="connsiteY2" fmla="*/ 16068 h 51815"/>
                    <a:gd name="connsiteX3" fmla="*/ 5356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0" y="51816"/>
                      </a:moveTo>
                      <a:cubicBezTo>
                        <a:pt x="3239" y="43969"/>
                        <a:pt x="3737" y="37741"/>
                        <a:pt x="3612" y="33381"/>
                      </a:cubicBezTo>
                      <a:cubicBezTo>
                        <a:pt x="3488" y="26406"/>
                        <a:pt x="1619" y="23168"/>
                        <a:pt x="1744" y="16068"/>
                      </a:cubicBezTo>
                      <a:cubicBezTo>
                        <a:pt x="1868"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3" name="Freeform 8107">
                  <a:extLst>
                    <a:ext uri="{FF2B5EF4-FFF2-40B4-BE49-F238E27FC236}">
                      <a16:creationId xmlns:a16="http://schemas.microsoft.com/office/drawing/2014/main" id="{AFAA2AE5-A4E5-1D76-8948-88F815BE97E8}"/>
                    </a:ext>
                  </a:extLst>
                </p:cNvPr>
                <p:cNvSpPr/>
                <p:nvPr/>
              </p:nvSpPr>
              <p:spPr>
                <a:xfrm>
                  <a:off x="4955374" y="1890486"/>
                  <a:ext cx="6302" cy="51940"/>
                </a:xfrm>
                <a:custGeom>
                  <a:avLst/>
                  <a:gdLst>
                    <a:gd name="connsiteX0" fmla="*/ 5135 w 6302"/>
                    <a:gd name="connsiteY0" fmla="*/ 0 h 51940"/>
                    <a:gd name="connsiteX1" fmla="*/ 5508 w 6302"/>
                    <a:gd name="connsiteY1" fmla="*/ 18808 h 51940"/>
                    <a:gd name="connsiteX2" fmla="*/ 526 w 6302"/>
                    <a:gd name="connsiteY2" fmla="*/ 35499 h 51940"/>
                    <a:gd name="connsiteX3" fmla="*/ 1273 w 630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02" h="51940">
                      <a:moveTo>
                        <a:pt x="5135" y="0"/>
                      </a:moveTo>
                      <a:cubicBezTo>
                        <a:pt x="6879" y="8221"/>
                        <a:pt x="6380" y="14573"/>
                        <a:pt x="5508" y="18808"/>
                      </a:cubicBezTo>
                      <a:cubicBezTo>
                        <a:pt x="4138" y="25659"/>
                        <a:pt x="1772" y="28524"/>
                        <a:pt x="526" y="35499"/>
                      </a:cubicBezTo>
                      <a:cubicBezTo>
                        <a:pt x="-595" y="42350"/>
                        <a:pt x="277" y="48204"/>
                        <a:pt x="127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4" name="Freeform 8108">
                  <a:extLst>
                    <a:ext uri="{FF2B5EF4-FFF2-40B4-BE49-F238E27FC236}">
                      <a16:creationId xmlns:a16="http://schemas.microsoft.com/office/drawing/2014/main" id="{6B7EEEA1-A8D4-FC8F-3FA6-7AEEB9AB4830}"/>
                    </a:ext>
                  </a:extLst>
                </p:cNvPr>
                <p:cNvSpPr/>
                <p:nvPr/>
              </p:nvSpPr>
              <p:spPr>
                <a:xfrm>
                  <a:off x="4946385" y="1931541"/>
                  <a:ext cx="26629" cy="26504"/>
                </a:xfrm>
                <a:custGeom>
                  <a:avLst/>
                  <a:gdLst>
                    <a:gd name="connsiteX0" fmla="*/ 49 w 26629"/>
                    <a:gd name="connsiteY0" fmla="*/ 12131 h 26504"/>
                    <a:gd name="connsiteX1" fmla="*/ 14498 w 26629"/>
                    <a:gd name="connsiteY1" fmla="*/ 49 h 26504"/>
                    <a:gd name="connsiteX2" fmla="*/ 26580 w 26629"/>
                    <a:gd name="connsiteY2" fmla="*/ 14373 h 26504"/>
                    <a:gd name="connsiteX3" fmla="*/ 12131 w 26629"/>
                    <a:gd name="connsiteY3" fmla="*/ 26455 h 26504"/>
                    <a:gd name="connsiteX4" fmla="*/ 49 w 26629"/>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2131"/>
                      </a:moveTo>
                      <a:cubicBezTo>
                        <a:pt x="672" y="4782"/>
                        <a:pt x="7149" y="-574"/>
                        <a:pt x="14498" y="49"/>
                      </a:cubicBezTo>
                      <a:cubicBezTo>
                        <a:pt x="21847" y="672"/>
                        <a:pt x="27203" y="7024"/>
                        <a:pt x="26580" y="14373"/>
                      </a:cubicBezTo>
                      <a:cubicBezTo>
                        <a:pt x="25957" y="21722"/>
                        <a:pt x="19480" y="27078"/>
                        <a:pt x="12131"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5" name="Freeform 8109">
                  <a:extLst>
                    <a:ext uri="{FF2B5EF4-FFF2-40B4-BE49-F238E27FC236}">
                      <a16:creationId xmlns:a16="http://schemas.microsoft.com/office/drawing/2014/main" id="{901CB4CF-6D0D-B405-BB80-7D9F82A897C5}"/>
                    </a:ext>
                  </a:extLst>
                </p:cNvPr>
                <p:cNvSpPr/>
                <p:nvPr/>
              </p:nvSpPr>
              <p:spPr>
                <a:xfrm>
                  <a:off x="4961007" y="1829577"/>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117"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6" name="Freeform 8110">
                  <a:extLst>
                    <a:ext uri="{FF2B5EF4-FFF2-40B4-BE49-F238E27FC236}">
                      <a16:creationId xmlns:a16="http://schemas.microsoft.com/office/drawing/2014/main" id="{D28F3728-3918-D31C-7070-E4CFC57B9DBA}"/>
                    </a:ext>
                  </a:extLst>
                </p:cNvPr>
                <p:cNvSpPr/>
                <p:nvPr/>
              </p:nvSpPr>
              <p:spPr>
                <a:xfrm>
                  <a:off x="4968682" y="1825218"/>
                  <a:ext cx="6178" cy="51940"/>
                </a:xfrm>
                <a:custGeom>
                  <a:avLst/>
                  <a:gdLst>
                    <a:gd name="connsiteX0" fmla="*/ 1168 w 6178"/>
                    <a:gd name="connsiteY0" fmla="*/ 51941 h 51940"/>
                    <a:gd name="connsiteX1" fmla="*/ 795 w 6178"/>
                    <a:gd name="connsiteY1" fmla="*/ 33132 h 51940"/>
                    <a:gd name="connsiteX2" fmla="*/ 5652 w 6178"/>
                    <a:gd name="connsiteY2" fmla="*/ 16442 h 51940"/>
                    <a:gd name="connsiteX3" fmla="*/ 4905 w 6178"/>
                    <a:gd name="connsiteY3" fmla="*/ 0 h 51940"/>
                  </a:gdLst>
                  <a:ahLst/>
                  <a:cxnLst>
                    <a:cxn ang="0">
                      <a:pos x="connsiteX0" y="connsiteY0"/>
                    </a:cxn>
                    <a:cxn ang="0">
                      <a:pos x="connsiteX1" y="connsiteY1"/>
                    </a:cxn>
                    <a:cxn ang="0">
                      <a:pos x="connsiteX2" y="connsiteY2"/>
                    </a:cxn>
                    <a:cxn ang="0">
                      <a:pos x="connsiteX3" y="connsiteY3"/>
                    </a:cxn>
                  </a:cxnLst>
                  <a:rect l="l" t="t" r="r" b="b"/>
                  <a:pathLst>
                    <a:path w="6178" h="51940">
                      <a:moveTo>
                        <a:pt x="1168" y="51941"/>
                      </a:moveTo>
                      <a:cubicBezTo>
                        <a:pt x="-576" y="43720"/>
                        <a:pt x="-77" y="37367"/>
                        <a:pt x="795" y="33132"/>
                      </a:cubicBezTo>
                      <a:cubicBezTo>
                        <a:pt x="2165" y="26282"/>
                        <a:pt x="4531" y="23417"/>
                        <a:pt x="5652" y="16442"/>
                      </a:cubicBezTo>
                      <a:cubicBezTo>
                        <a:pt x="6774" y="9591"/>
                        <a:pt x="5902"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7" name="Freeform 8111">
                  <a:extLst>
                    <a:ext uri="{FF2B5EF4-FFF2-40B4-BE49-F238E27FC236}">
                      <a16:creationId xmlns:a16="http://schemas.microsoft.com/office/drawing/2014/main" id="{07E157A2-7CA9-B535-228F-4226BA4C1E90}"/>
                    </a:ext>
                  </a:extLst>
                </p:cNvPr>
                <p:cNvSpPr/>
                <p:nvPr/>
              </p:nvSpPr>
              <p:spPr>
                <a:xfrm>
                  <a:off x="4957470" y="1809599"/>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3" y="25833"/>
                        <a:pt x="-574"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6" name="Graphic 2987">
                <a:extLst>
                  <a:ext uri="{FF2B5EF4-FFF2-40B4-BE49-F238E27FC236}">
                    <a16:creationId xmlns:a16="http://schemas.microsoft.com/office/drawing/2014/main" id="{FFE0A869-EA3E-9B7A-96E6-319E351EF19F}"/>
                  </a:ext>
                </a:extLst>
              </p:cNvPr>
              <p:cNvGrpSpPr/>
              <p:nvPr/>
            </p:nvGrpSpPr>
            <p:grpSpPr>
              <a:xfrm>
                <a:off x="4916721" y="1807108"/>
                <a:ext cx="37734" cy="148446"/>
                <a:chOff x="4916721" y="1807108"/>
                <a:chExt cx="37734" cy="148446"/>
              </a:xfrm>
              <a:grpFill/>
            </p:grpSpPr>
            <p:sp>
              <p:nvSpPr>
                <p:cNvPr id="6096" name="Freeform 8113">
                  <a:extLst>
                    <a:ext uri="{FF2B5EF4-FFF2-40B4-BE49-F238E27FC236}">
                      <a16:creationId xmlns:a16="http://schemas.microsoft.com/office/drawing/2014/main" id="{7509A6F9-CEA4-9660-6730-9C5BB9D53E0F}"/>
                    </a:ext>
                  </a:extLst>
                </p:cNvPr>
                <p:cNvSpPr/>
                <p:nvPr/>
              </p:nvSpPr>
              <p:spPr>
                <a:xfrm>
                  <a:off x="4934352" y="1883760"/>
                  <a:ext cx="5480" cy="51815"/>
                </a:xfrm>
                <a:custGeom>
                  <a:avLst/>
                  <a:gdLst>
                    <a:gd name="connsiteX0" fmla="*/ 0 w 5480"/>
                    <a:gd name="connsiteY0" fmla="*/ 51816 h 51815"/>
                    <a:gd name="connsiteX1" fmla="*/ 3737 w 5480"/>
                    <a:gd name="connsiteY1" fmla="*/ 33381 h 51815"/>
                    <a:gd name="connsiteX2" fmla="*/ 1868 w 5480"/>
                    <a:gd name="connsiteY2" fmla="*/ 16068 h 51815"/>
                    <a:gd name="connsiteX3" fmla="*/ 5481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0" y="51816"/>
                      </a:moveTo>
                      <a:cubicBezTo>
                        <a:pt x="3239" y="43969"/>
                        <a:pt x="3737" y="37741"/>
                        <a:pt x="3737" y="33381"/>
                      </a:cubicBezTo>
                      <a:cubicBezTo>
                        <a:pt x="3612" y="26406"/>
                        <a:pt x="1744" y="23168"/>
                        <a:pt x="1868" y="16068"/>
                      </a:cubicBezTo>
                      <a:cubicBezTo>
                        <a:pt x="1993" y="9217"/>
                        <a:pt x="3861" y="3612"/>
                        <a:pt x="54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7" name="Freeform 8114">
                  <a:extLst>
                    <a:ext uri="{FF2B5EF4-FFF2-40B4-BE49-F238E27FC236}">
                      <a16:creationId xmlns:a16="http://schemas.microsoft.com/office/drawing/2014/main" id="{7BF2F5D6-E780-D0C5-7B16-478C7AEAF7A4}"/>
                    </a:ext>
                  </a:extLst>
                </p:cNvPr>
                <p:cNvSpPr/>
                <p:nvPr/>
              </p:nvSpPr>
              <p:spPr>
                <a:xfrm>
                  <a:off x="4925600" y="1887995"/>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8" name="Freeform 8115">
                  <a:extLst>
                    <a:ext uri="{FF2B5EF4-FFF2-40B4-BE49-F238E27FC236}">
                      <a16:creationId xmlns:a16="http://schemas.microsoft.com/office/drawing/2014/main" id="{D6F1411A-23D4-A551-D6EF-23071D2A507B}"/>
                    </a:ext>
                  </a:extLst>
                </p:cNvPr>
                <p:cNvSpPr/>
                <p:nvPr/>
              </p:nvSpPr>
              <p:spPr>
                <a:xfrm>
                  <a:off x="4916721" y="1929049"/>
                  <a:ext cx="26648" cy="26504"/>
                </a:xfrm>
                <a:custGeom>
                  <a:avLst/>
                  <a:gdLst>
                    <a:gd name="connsiteX0" fmla="*/ 68 w 26648"/>
                    <a:gd name="connsiteY0" fmla="*/ 12131 h 26504"/>
                    <a:gd name="connsiteX1" fmla="*/ 14517 w 26648"/>
                    <a:gd name="connsiteY1" fmla="*/ 49 h 26504"/>
                    <a:gd name="connsiteX2" fmla="*/ 26599 w 26648"/>
                    <a:gd name="connsiteY2" fmla="*/ 14373 h 26504"/>
                    <a:gd name="connsiteX3" fmla="*/ 12150 w 26648"/>
                    <a:gd name="connsiteY3" fmla="*/ 26455 h 26504"/>
                    <a:gd name="connsiteX4" fmla="*/ 68 w 2664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4">
                      <a:moveTo>
                        <a:pt x="68" y="12131"/>
                      </a:moveTo>
                      <a:cubicBezTo>
                        <a:pt x="691" y="4782"/>
                        <a:pt x="7293" y="-574"/>
                        <a:pt x="14517" y="49"/>
                      </a:cubicBezTo>
                      <a:cubicBezTo>
                        <a:pt x="21866" y="672"/>
                        <a:pt x="27222" y="7024"/>
                        <a:pt x="26599" y="14373"/>
                      </a:cubicBezTo>
                      <a:cubicBezTo>
                        <a:pt x="25976" y="21722"/>
                        <a:pt x="19499" y="27078"/>
                        <a:pt x="12150" y="26455"/>
                      </a:cubicBezTo>
                      <a:cubicBezTo>
                        <a:pt x="4801" y="25833"/>
                        <a:pt x="-679" y="19356"/>
                        <a:pt x="6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9" name="Freeform 8116">
                  <a:extLst>
                    <a:ext uri="{FF2B5EF4-FFF2-40B4-BE49-F238E27FC236}">
                      <a16:creationId xmlns:a16="http://schemas.microsoft.com/office/drawing/2014/main" id="{25BED80B-F567-6698-5B87-A8FFF7656EA6}"/>
                    </a:ext>
                  </a:extLst>
                </p:cNvPr>
                <p:cNvSpPr/>
                <p:nvPr/>
              </p:nvSpPr>
              <p:spPr>
                <a:xfrm>
                  <a:off x="4931487" y="1827086"/>
                  <a:ext cx="5480" cy="51815"/>
                </a:xfrm>
                <a:custGeom>
                  <a:avLst/>
                  <a:gdLst>
                    <a:gd name="connsiteX0" fmla="*/ 5480 w 5480"/>
                    <a:gd name="connsiteY0" fmla="*/ 0 h 51815"/>
                    <a:gd name="connsiteX1" fmla="*/ 1744 w 5480"/>
                    <a:gd name="connsiteY1" fmla="*/ 18435 h 51815"/>
                    <a:gd name="connsiteX2" fmla="*/ 3612 w 5480"/>
                    <a:gd name="connsiteY2" fmla="*/ 35748 h 51815"/>
                    <a:gd name="connsiteX3" fmla="*/ 0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5480" y="0"/>
                      </a:moveTo>
                      <a:cubicBezTo>
                        <a:pt x="2242" y="7847"/>
                        <a:pt x="1744" y="14075"/>
                        <a:pt x="1744" y="18435"/>
                      </a:cubicBezTo>
                      <a:cubicBezTo>
                        <a:pt x="1868" y="25410"/>
                        <a:pt x="3737" y="28648"/>
                        <a:pt x="3612"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0" name="Freeform 8117">
                  <a:extLst>
                    <a:ext uri="{FF2B5EF4-FFF2-40B4-BE49-F238E27FC236}">
                      <a16:creationId xmlns:a16="http://schemas.microsoft.com/office/drawing/2014/main" id="{4E82EE45-2210-466B-7083-4C58E83FCD6E}"/>
                    </a:ext>
                  </a:extLst>
                </p:cNvPr>
                <p:cNvSpPr/>
                <p:nvPr/>
              </p:nvSpPr>
              <p:spPr>
                <a:xfrm>
                  <a:off x="4939220" y="1822726"/>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3" y="23417"/>
                        <a:pt x="5844" y="16442"/>
                      </a:cubicBezTo>
                      <a:cubicBezTo>
                        <a:pt x="6965"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1" name="Freeform 8118">
                  <a:extLst>
                    <a:ext uri="{FF2B5EF4-FFF2-40B4-BE49-F238E27FC236}">
                      <a16:creationId xmlns:a16="http://schemas.microsoft.com/office/drawing/2014/main" id="{4E239C79-290F-9F81-C623-813D9E3DCB53}"/>
                    </a:ext>
                  </a:extLst>
                </p:cNvPr>
                <p:cNvSpPr/>
                <p:nvPr/>
              </p:nvSpPr>
              <p:spPr>
                <a:xfrm>
                  <a:off x="4928075" y="1807108"/>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2" y="25833"/>
                        <a:pt x="-573"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7" name="Graphic 2987">
                <a:extLst>
                  <a:ext uri="{FF2B5EF4-FFF2-40B4-BE49-F238E27FC236}">
                    <a16:creationId xmlns:a16="http://schemas.microsoft.com/office/drawing/2014/main" id="{1EAF8ED1-1474-1140-183A-3833564544D8}"/>
                  </a:ext>
                </a:extLst>
              </p:cNvPr>
              <p:cNvGrpSpPr/>
              <p:nvPr/>
            </p:nvGrpSpPr>
            <p:grpSpPr>
              <a:xfrm>
                <a:off x="4886971" y="1804616"/>
                <a:ext cx="38088" cy="148446"/>
                <a:chOff x="4886971" y="1804616"/>
                <a:chExt cx="38088" cy="148446"/>
              </a:xfrm>
              <a:grpFill/>
            </p:grpSpPr>
            <p:sp>
              <p:nvSpPr>
                <p:cNvPr id="6090" name="Freeform 8120">
                  <a:extLst>
                    <a:ext uri="{FF2B5EF4-FFF2-40B4-BE49-F238E27FC236}">
                      <a16:creationId xmlns:a16="http://schemas.microsoft.com/office/drawing/2014/main" id="{EEB4A041-6112-6390-0B7F-9974D65160DD}"/>
                    </a:ext>
                  </a:extLst>
                </p:cNvPr>
                <p:cNvSpPr/>
                <p:nvPr/>
              </p:nvSpPr>
              <p:spPr>
                <a:xfrm>
                  <a:off x="4904707" y="1881269"/>
                  <a:ext cx="5605" cy="51815"/>
                </a:xfrm>
                <a:custGeom>
                  <a:avLst/>
                  <a:gdLst>
                    <a:gd name="connsiteX0" fmla="*/ 0 w 5605"/>
                    <a:gd name="connsiteY0" fmla="*/ 51816 h 51815"/>
                    <a:gd name="connsiteX1" fmla="*/ 3737 w 5605"/>
                    <a:gd name="connsiteY1" fmla="*/ 33381 h 51815"/>
                    <a:gd name="connsiteX2" fmla="*/ 1869 w 5605"/>
                    <a:gd name="connsiteY2" fmla="*/ 16068 h 51815"/>
                    <a:gd name="connsiteX3" fmla="*/ 5605 w 5605"/>
                    <a:gd name="connsiteY3" fmla="*/ 0 h 51815"/>
                  </a:gdLst>
                  <a:ahLst/>
                  <a:cxnLst>
                    <a:cxn ang="0">
                      <a:pos x="connsiteX0" y="connsiteY0"/>
                    </a:cxn>
                    <a:cxn ang="0">
                      <a:pos x="connsiteX1" y="connsiteY1"/>
                    </a:cxn>
                    <a:cxn ang="0">
                      <a:pos x="connsiteX2" y="connsiteY2"/>
                    </a:cxn>
                    <a:cxn ang="0">
                      <a:pos x="connsiteX3" y="connsiteY3"/>
                    </a:cxn>
                  </a:cxnLst>
                  <a:rect l="l" t="t" r="r" b="b"/>
                  <a:pathLst>
                    <a:path w="5605" h="51815">
                      <a:moveTo>
                        <a:pt x="0" y="51816"/>
                      </a:moveTo>
                      <a:cubicBezTo>
                        <a:pt x="3239" y="43969"/>
                        <a:pt x="3861" y="37741"/>
                        <a:pt x="3737" y="33381"/>
                      </a:cubicBezTo>
                      <a:cubicBezTo>
                        <a:pt x="3612" y="26406"/>
                        <a:pt x="1744" y="23168"/>
                        <a:pt x="1869" y="16068"/>
                      </a:cubicBezTo>
                      <a:cubicBezTo>
                        <a:pt x="1993" y="9217"/>
                        <a:pt x="3986"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1" name="Freeform 8121">
                  <a:extLst>
                    <a:ext uri="{FF2B5EF4-FFF2-40B4-BE49-F238E27FC236}">
                      <a16:creationId xmlns:a16="http://schemas.microsoft.com/office/drawing/2014/main" id="{CABF7269-687C-A5BF-654C-857E93DB2794}"/>
                    </a:ext>
                  </a:extLst>
                </p:cNvPr>
                <p:cNvSpPr/>
                <p:nvPr/>
              </p:nvSpPr>
              <p:spPr>
                <a:xfrm>
                  <a:off x="4896080" y="1885504"/>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2" name="Freeform 8122">
                  <a:extLst>
                    <a:ext uri="{FF2B5EF4-FFF2-40B4-BE49-F238E27FC236}">
                      <a16:creationId xmlns:a16="http://schemas.microsoft.com/office/drawing/2014/main" id="{7169EE15-E068-F4EF-0667-45A49E592DB9}"/>
                    </a:ext>
                  </a:extLst>
                </p:cNvPr>
                <p:cNvSpPr/>
                <p:nvPr/>
              </p:nvSpPr>
              <p:spPr>
                <a:xfrm>
                  <a:off x="4886971" y="1926558"/>
                  <a:ext cx="26753" cy="26504"/>
                </a:xfrm>
                <a:custGeom>
                  <a:avLst/>
                  <a:gdLst>
                    <a:gd name="connsiteX0" fmla="*/ 49 w 26753"/>
                    <a:gd name="connsiteY0" fmla="*/ 12131 h 26504"/>
                    <a:gd name="connsiteX1" fmla="*/ 14622 w 26753"/>
                    <a:gd name="connsiteY1" fmla="*/ 49 h 26504"/>
                    <a:gd name="connsiteX2" fmla="*/ 26704 w 26753"/>
                    <a:gd name="connsiteY2" fmla="*/ 14373 h 26504"/>
                    <a:gd name="connsiteX3" fmla="*/ 12131 w 26753"/>
                    <a:gd name="connsiteY3" fmla="*/ 26455 h 26504"/>
                    <a:gd name="connsiteX4" fmla="*/ 49 w 2675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49" y="12131"/>
                      </a:moveTo>
                      <a:cubicBezTo>
                        <a:pt x="797" y="4782"/>
                        <a:pt x="7273" y="-574"/>
                        <a:pt x="14622" y="49"/>
                      </a:cubicBezTo>
                      <a:cubicBezTo>
                        <a:pt x="21971" y="672"/>
                        <a:pt x="27327" y="7024"/>
                        <a:pt x="26704" y="14373"/>
                      </a:cubicBezTo>
                      <a:cubicBezTo>
                        <a:pt x="26082" y="21722"/>
                        <a:pt x="19480" y="27078"/>
                        <a:pt x="12131" y="26455"/>
                      </a:cubicBezTo>
                      <a:cubicBezTo>
                        <a:pt x="4783" y="25833"/>
                        <a:pt x="-574"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3" name="Freeform 8123">
                  <a:extLst>
                    <a:ext uri="{FF2B5EF4-FFF2-40B4-BE49-F238E27FC236}">
                      <a16:creationId xmlns:a16="http://schemas.microsoft.com/office/drawing/2014/main" id="{3B32DFD7-7303-9266-26F7-BB334FF7B776}"/>
                    </a:ext>
                  </a:extLst>
                </p:cNvPr>
                <p:cNvSpPr/>
                <p:nvPr/>
              </p:nvSpPr>
              <p:spPr>
                <a:xfrm>
                  <a:off x="4901842" y="1824719"/>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847"/>
                        <a:pt x="1993" y="14075"/>
                        <a:pt x="1993" y="18435"/>
                      </a:cubicBezTo>
                      <a:cubicBezTo>
                        <a:pt x="2117" y="25410"/>
                        <a:pt x="3986"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4" name="Freeform 8124">
                  <a:extLst>
                    <a:ext uri="{FF2B5EF4-FFF2-40B4-BE49-F238E27FC236}">
                      <a16:creationId xmlns:a16="http://schemas.microsoft.com/office/drawing/2014/main" id="{F572DDAB-B0EE-DBD4-76AE-6029B5FFDD41}"/>
                    </a:ext>
                  </a:extLst>
                </p:cNvPr>
                <p:cNvSpPr/>
                <p:nvPr/>
              </p:nvSpPr>
              <p:spPr>
                <a:xfrm>
                  <a:off x="4909700" y="1820235"/>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2" y="23417"/>
                        <a:pt x="5844" y="16442"/>
                      </a:cubicBezTo>
                      <a:cubicBezTo>
                        <a:pt x="6965" y="9591"/>
                        <a:pt x="6093" y="3861"/>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5" name="Freeform 8125">
                  <a:extLst>
                    <a:ext uri="{FF2B5EF4-FFF2-40B4-BE49-F238E27FC236}">
                      <a16:creationId xmlns:a16="http://schemas.microsoft.com/office/drawing/2014/main" id="{5A6C5F80-6F34-DA01-35E4-63414F213278}"/>
                    </a:ext>
                  </a:extLst>
                </p:cNvPr>
                <p:cNvSpPr/>
                <p:nvPr/>
              </p:nvSpPr>
              <p:spPr>
                <a:xfrm>
                  <a:off x="4898554" y="1804616"/>
                  <a:ext cx="26505" cy="26504"/>
                </a:xfrm>
                <a:custGeom>
                  <a:avLst/>
                  <a:gdLst>
                    <a:gd name="connsiteX0" fmla="*/ 26456 w 26505"/>
                    <a:gd name="connsiteY0" fmla="*/ 14373 h 26504"/>
                    <a:gd name="connsiteX1" fmla="*/ 12008 w 26505"/>
                    <a:gd name="connsiteY1" fmla="*/ 26455 h 26504"/>
                    <a:gd name="connsiteX2" fmla="*/ 50 w 26505"/>
                    <a:gd name="connsiteY2" fmla="*/ 12131 h 26504"/>
                    <a:gd name="connsiteX3" fmla="*/ 14499 w 26505"/>
                    <a:gd name="connsiteY3" fmla="*/ 49 h 26504"/>
                    <a:gd name="connsiteX4" fmla="*/ 26456 w 2650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5" h="26504">
                      <a:moveTo>
                        <a:pt x="26456" y="14373"/>
                      </a:moveTo>
                      <a:cubicBezTo>
                        <a:pt x="25834" y="21722"/>
                        <a:pt x="19357" y="27078"/>
                        <a:pt x="12008" y="26455"/>
                      </a:cubicBezTo>
                      <a:cubicBezTo>
                        <a:pt x="4659" y="25833"/>
                        <a:pt x="-572" y="19480"/>
                        <a:pt x="50" y="12131"/>
                      </a:cubicBezTo>
                      <a:cubicBezTo>
                        <a:pt x="798" y="4782"/>
                        <a:pt x="7150" y="-574"/>
                        <a:pt x="14499" y="49"/>
                      </a:cubicBezTo>
                      <a:cubicBezTo>
                        <a:pt x="21723" y="672"/>
                        <a:pt x="27079" y="7149"/>
                        <a:pt x="26456"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8" name="Graphic 2987">
                <a:extLst>
                  <a:ext uri="{FF2B5EF4-FFF2-40B4-BE49-F238E27FC236}">
                    <a16:creationId xmlns:a16="http://schemas.microsoft.com/office/drawing/2014/main" id="{E076F6A8-4DCD-D999-D42D-5116280BB669}"/>
                  </a:ext>
                </a:extLst>
              </p:cNvPr>
              <p:cNvGrpSpPr/>
              <p:nvPr/>
            </p:nvGrpSpPr>
            <p:grpSpPr>
              <a:xfrm>
                <a:off x="4857307" y="1801856"/>
                <a:ext cx="38357" cy="148635"/>
                <a:chOff x="4857307" y="1801856"/>
                <a:chExt cx="38357" cy="148635"/>
              </a:xfrm>
              <a:grpFill/>
            </p:grpSpPr>
            <p:sp>
              <p:nvSpPr>
                <p:cNvPr id="6084" name="Freeform 8127">
                  <a:extLst>
                    <a:ext uri="{FF2B5EF4-FFF2-40B4-BE49-F238E27FC236}">
                      <a16:creationId xmlns:a16="http://schemas.microsoft.com/office/drawing/2014/main" id="{F9E9CC7E-3949-F5B5-D28B-EA55DF8F9402}"/>
                    </a:ext>
                  </a:extLst>
                </p:cNvPr>
                <p:cNvSpPr/>
                <p:nvPr/>
              </p:nvSpPr>
              <p:spPr>
                <a:xfrm>
                  <a:off x="4874938" y="1878653"/>
                  <a:ext cx="5729" cy="51815"/>
                </a:xfrm>
                <a:custGeom>
                  <a:avLst/>
                  <a:gdLst>
                    <a:gd name="connsiteX0" fmla="*/ 0 w 5729"/>
                    <a:gd name="connsiteY0" fmla="*/ 51816 h 51815"/>
                    <a:gd name="connsiteX1" fmla="*/ 3737 w 5729"/>
                    <a:gd name="connsiteY1" fmla="*/ 33381 h 51815"/>
                    <a:gd name="connsiteX2" fmla="*/ 1993 w 5729"/>
                    <a:gd name="connsiteY2" fmla="*/ 16068 h 51815"/>
                    <a:gd name="connsiteX3" fmla="*/ 573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0" y="51816"/>
                      </a:moveTo>
                      <a:cubicBezTo>
                        <a:pt x="3239" y="44093"/>
                        <a:pt x="3861" y="37741"/>
                        <a:pt x="3737" y="33381"/>
                      </a:cubicBezTo>
                      <a:cubicBezTo>
                        <a:pt x="3612" y="26406"/>
                        <a:pt x="1744" y="23168"/>
                        <a:pt x="1993" y="16068"/>
                      </a:cubicBezTo>
                      <a:cubicBezTo>
                        <a:pt x="2117" y="9217"/>
                        <a:pt x="4110"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5" name="Freeform 8128">
                  <a:extLst>
                    <a:ext uri="{FF2B5EF4-FFF2-40B4-BE49-F238E27FC236}">
                      <a16:creationId xmlns:a16="http://schemas.microsoft.com/office/drawing/2014/main" id="{FC4A8847-673F-0116-BBA7-C645CE1ACC05}"/>
                    </a:ext>
                  </a:extLst>
                </p:cNvPr>
                <p:cNvSpPr/>
                <p:nvPr/>
              </p:nvSpPr>
              <p:spPr>
                <a:xfrm>
                  <a:off x="4866311" y="1882639"/>
                  <a:ext cx="6611" cy="52065"/>
                </a:xfrm>
                <a:custGeom>
                  <a:avLst/>
                  <a:gdLst>
                    <a:gd name="connsiteX0" fmla="*/ 5513 w 6611"/>
                    <a:gd name="connsiteY0" fmla="*/ 0 h 52065"/>
                    <a:gd name="connsiteX1" fmla="*/ 5638 w 6611"/>
                    <a:gd name="connsiteY1" fmla="*/ 18808 h 52065"/>
                    <a:gd name="connsiteX2" fmla="*/ 531 w 6611"/>
                    <a:gd name="connsiteY2" fmla="*/ 35499 h 52065"/>
                    <a:gd name="connsiteX3" fmla="*/ 1153 w 661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11" h="52065">
                      <a:moveTo>
                        <a:pt x="5513" y="0"/>
                      </a:moveTo>
                      <a:cubicBezTo>
                        <a:pt x="7257" y="8221"/>
                        <a:pt x="6634" y="14573"/>
                        <a:pt x="5638" y="18808"/>
                      </a:cubicBezTo>
                      <a:cubicBezTo>
                        <a:pt x="4143" y="25659"/>
                        <a:pt x="1776" y="28399"/>
                        <a:pt x="531" y="35499"/>
                      </a:cubicBezTo>
                      <a:cubicBezTo>
                        <a:pt x="-590" y="42350"/>
                        <a:pt x="281" y="48204"/>
                        <a:pt x="115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6" name="Freeform 8129">
                  <a:extLst>
                    <a:ext uri="{FF2B5EF4-FFF2-40B4-BE49-F238E27FC236}">
                      <a16:creationId xmlns:a16="http://schemas.microsoft.com/office/drawing/2014/main" id="{972C492A-1F66-9591-A052-ECCA14027A18}"/>
                    </a:ext>
                  </a:extLst>
                </p:cNvPr>
                <p:cNvSpPr/>
                <p:nvPr/>
              </p:nvSpPr>
              <p:spPr>
                <a:xfrm>
                  <a:off x="4857307" y="1923899"/>
                  <a:ext cx="26668" cy="26592"/>
                </a:xfrm>
                <a:custGeom>
                  <a:avLst/>
                  <a:gdLst>
                    <a:gd name="connsiteX0" fmla="*/ 68 w 26668"/>
                    <a:gd name="connsiteY0" fmla="*/ 11802 h 26592"/>
                    <a:gd name="connsiteX1" fmla="*/ 14642 w 26668"/>
                    <a:gd name="connsiteY1" fmla="*/ 93 h 26592"/>
                    <a:gd name="connsiteX2" fmla="*/ 26599 w 26668"/>
                    <a:gd name="connsiteY2" fmla="*/ 14666 h 26592"/>
                    <a:gd name="connsiteX3" fmla="*/ 12026 w 26668"/>
                    <a:gd name="connsiteY3" fmla="*/ 26499 h 26592"/>
                    <a:gd name="connsiteX4" fmla="*/ 68 w 26668"/>
                    <a:gd name="connsiteY4" fmla="*/ 11802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92">
                      <a:moveTo>
                        <a:pt x="68" y="11802"/>
                      </a:moveTo>
                      <a:cubicBezTo>
                        <a:pt x="816" y="4577"/>
                        <a:pt x="7292" y="-779"/>
                        <a:pt x="14642" y="93"/>
                      </a:cubicBezTo>
                      <a:cubicBezTo>
                        <a:pt x="21991" y="965"/>
                        <a:pt x="27346" y="7317"/>
                        <a:pt x="26599" y="14666"/>
                      </a:cubicBezTo>
                      <a:cubicBezTo>
                        <a:pt x="25852" y="22015"/>
                        <a:pt x="19375" y="27371"/>
                        <a:pt x="12026" y="26499"/>
                      </a:cubicBezTo>
                      <a:cubicBezTo>
                        <a:pt x="4802" y="25627"/>
                        <a:pt x="-679" y="19026"/>
                        <a:pt x="68"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7" name="Freeform 8130">
                  <a:extLst>
                    <a:ext uri="{FF2B5EF4-FFF2-40B4-BE49-F238E27FC236}">
                      <a16:creationId xmlns:a16="http://schemas.microsoft.com/office/drawing/2014/main" id="{D5638B14-8F34-37FB-07C1-F5AB108463C7}"/>
                    </a:ext>
                  </a:extLst>
                </p:cNvPr>
                <p:cNvSpPr/>
                <p:nvPr/>
              </p:nvSpPr>
              <p:spPr>
                <a:xfrm>
                  <a:off x="4872447" y="1821855"/>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723"/>
                        <a:pt x="1868" y="14075"/>
                        <a:pt x="1993" y="18435"/>
                      </a:cubicBezTo>
                      <a:cubicBezTo>
                        <a:pt x="2118" y="25410"/>
                        <a:pt x="3861"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8" name="Freeform 8131">
                  <a:extLst>
                    <a:ext uri="{FF2B5EF4-FFF2-40B4-BE49-F238E27FC236}">
                      <a16:creationId xmlns:a16="http://schemas.microsoft.com/office/drawing/2014/main" id="{1BCEF56D-B4A7-BAE1-0014-D6478A20A92F}"/>
                    </a:ext>
                  </a:extLst>
                </p:cNvPr>
                <p:cNvSpPr/>
                <p:nvPr/>
              </p:nvSpPr>
              <p:spPr>
                <a:xfrm>
                  <a:off x="4880192" y="1817495"/>
                  <a:ext cx="6486" cy="52065"/>
                </a:xfrm>
                <a:custGeom>
                  <a:avLst/>
                  <a:gdLst>
                    <a:gd name="connsiteX0" fmla="*/ 1098 w 6486"/>
                    <a:gd name="connsiteY0" fmla="*/ 52065 h 52065"/>
                    <a:gd name="connsiteX1" fmla="*/ 974 w 6486"/>
                    <a:gd name="connsiteY1" fmla="*/ 33257 h 52065"/>
                    <a:gd name="connsiteX2" fmla="*/ 5956 w 6486"/>
                    <a:gd name="connsiteY2" fmla="*/ 16566 h 52065"/>
                    <a:gd name="connsiteX3" fmla="*/ 5333 w 6486"/>
                    <a:gd name="connsiteY3" fmla="*/ 0 h 52065"/>
                  </a:gdLst>
                  <a:ahLst/>
                  <a:cxnLst>
                    <a:cxn ang="0">
                      <a:pos x="connsiteX0" y="connsiteY0"/>
                    </a:cxn>
                    <a:cxn ang="0">
                      <a:pos x="connsiteX1" y="connsiteY1"/>
                    </a:cxn>
                    <a:cxn ang="0">
                      <a:pos x="connsiteX2" y="connsiteY2"/>
                    </a:cxn>
                    <a:cxn ang="0">
                      <a:pos x="connsiteX3" y="connsiteY3"/>
                    </a:cxn>
                  </a:cxnLst>
                  <a:rect l="l" t="t" r="r" b="b"/>
                  <a:pathLst>
                    <a:path w="6486" h="52065">
                      <a:moveTo>
                        <a:pt x="1098" y="52065"/>
                      </a:moveTo>
                      <a:cubicBezTo>
                        <a:pt x="-646" y="43844"/>
                        <a:pt x="-23" y="37492"/>
                        <a:pt x="974" y="33257"/>
                      </a:cubicBezTo>
                      <a:cubicBezTo>
                        <a:pt x="2468" y="26406"/>
                        <a:pt x="4835" y="23666"/>
                        <a:pt x="5956" y="16566"/>
                      </a:cubicBezTo>
                      <a:cubicBezTo>
                        <a:pt x="7077" y="9716"/>
                        <a:pt x="6205" y="3861"/>
                        <a:pt x="53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9" name="Freeform 8132">
                  <a:extLst>
                    <a:ext uri="{FF2B5EF4-FFF2-40B4-BE49-F238E27FC236}">
                      <a16:creationId xmlns:a16="http://schemas.microsoft.com/office/drawing/2014/main" id="{8F28F39D-D754-9C23-093B-32E040DDAEF8}"/>
                    </a:ext>
                  </a:extLst>
                </p:cNvPr>
                <p:cNvSpPr/>
                <p:nvPr/>
              </p:nvSpPr>
              <p:spPr>
                <a:xfrm>
                  <a:off x="4869263" y="1801856"/>
                  <a:ext cx="26401" cy="26568"/>
                </a:xfrm>
                <a:custGeom>
                  <a:avLst/>
                  <a:gdLst>
                    <a:gd name="connsiteX0" fmla="*/ 26352 w 26401"/>
                    <a:gd name="connsiteY0" fmla="*/ 14643 h 26568"/>
                    <a:gd name="connsiteX1" fmla="*/ 11903 w 26401"/>
                    <a:gd name="connsiteY1" fmla="*/ 26476 h 26568"/>
                    <a:gd name="connsiteX2" fmla="*/ 70 w 26401"/>
                    <a:gd name="connsiteY2" fmla="*/ 11903 h 26568"/>
                    <a:gd name="connsiteX3" fmla="*/ 14518 w 26401"/>
                    <a:gd name="connsiteY3" fmla="*/ 70 h 26568"/>
                    <a:gd name="connsiteX4" fmla="*/ 26352 w 26401"/>
                    <a:gd name="connsiteY4" fmla="*/ 14643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67">
                      <a:moveTo>
                        <a:pt x="26352" y="14643"/>
                      </a:moveTo>
                      <a:cubicBezTo>
                        <a:pt x="25604" y="21992"/>
                        <a:pt x="19252" y="27348"/>
                        <a:pt x="11903" y="26476"/>
                      </a:cubicBezTo>
                      <a:cubicBezTo>
                        <a:pt x="4678" y="25729"/>
                        <a:pt x="-678" y="19127"/>
                        <a:pt x="70" y="11903"/>
                      </a:cubicBezTo>
                      <a:cubicBezTo>
                        <a:pt x="817" y="4678"/>
                        <a:pt x="7170" y="-678"/>
                        <a:pt x="14518" y="70"/>
                      </a:cubicBezTo>
                      <a:cubicBezTo>
                        <a:pt x="21743" y="1066"/>
                        <a:pt x="26974" y="7419"/>
                        <a:pt x="26352"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9" name="Graphic 2987">
                <a:extLst>
                  <a:ext uri="{FF2B5EF4-FFF2-40B4-BE49-F238E27FC236}">
                    <a16:creationId xmlns:a16="http://schemas.microsoft.com/office/drawing/2014/main" id="{9CF3256D-C2A2-E8D6-3F0C-A5623563911C}"/>
                  </a:ext>
                </a:extLst>
              </p:cNvPr>
              <p:cNvGrpSpPr/>
              <p:nvPr/>
            </p:nvGrpSpPr>
            <p:grpSpPr>
              <a:xfrm>
                <a:off x="4827661" y="1798742"/>
                <a:ext cx="38627" cy="148386"/>
                <a:chOff x="4827661" y="1798742"/>
                <a:chExt cx="38627" cy="148386"/>
              </a:xfrm>
              <a:grpFill/>
            </p:grpSpPr>
            <p:sp>
              <p:nvSpPr>
                <p:cNvPr id="6078" name="Freeform 8134">
                  <a:extLst>
                    <a:ext uri="{FF2B5EF4-FFF2-40B4-BE49-F238E27FC236}">
                      <a16:creationId xmlns:a16="http://schemas.microsoft.com/office/drawing/2014/main" id="{168F8666-D7F5-C900-2EB9-9BF1C2A6742B}"/>
                    </a:ext>
                  </a:extLst>
                </p:cNvPr>
                <p:cNvSpPr/>
                <p:nvPr/>
              </p:nvSpPr>
              <p:spPr>
                <a:xfrm>
                  <a:off x="4845293" y="1875414"/>
                  <a:ext cx="5854" cy="51815"/>
                </a:xfrm>
                <a:custGeom>
                  <a:avLst/>
                  <a:gdLst>
                    <a:gd name="connsiteX0" fmla="*/ 0 w 5854"/>
                    <a:gd name="connsiteY0" fmla="*/ 51816 h 51815"/>
                    <a:gd name="connsiteX1" fmla="*/ 3861 w 5854"/>
                    <a:gd name="connsiteY1" fmla="*/ 33381 h 51815"/>
                    <a:gd name="connsiteX2" fmla="*/ 2118 w 5854"/>
                    <a:gd name="connsiteY2" fmla="*/ 16068 h 51815"/>
                    <a:gd name="connsiteX3" fmla="*/ 5854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0" y="51816"/>
                      </a:moveTo>
                      <a:cubicBezTo>
                        <a:pt x="3239" y="44093"/>
                        <a:pt x="3861" y="37741"/>
                        <a:pt x="3861" y="33381"/>
                      </a:cubicBezTo>
                      <a:cubicBezTo>
                        <a:pt x="3737" y="26406"/>
                        <a:pt x="1993" y="23168"/>
                        <a:pt x="2118" y="16068"/>
                      </a:cubicBezTo>
                      <a:cubicBezTo>
                        <a:pt x="2367" y="9217"/>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9" name="Freeform 8135">
                  <a:extLst>
                    <a:ext uri="{FF2B5EF4-FFF2-40B4-BE49-F238E27FC236}">
                      <a16:creationId xmlns:a16="http://schemas.microsoft.com/office/drawing/2014/main" id="{3697C6CA-A5A9-6672-A0EF-4FF44E4221DA}"/>
                    </a:ext>
                  </a:extLst>
                </p:cNvPr>
                <p:cNvSpPr/>
                <p:nvPr/>
              </p:nvSpPr>
              <p:spPr>
                <a:xfrm>
                  <a:off x="4836756" y="1879525"/>
                  <a:ext cx="6553" cy="52065"/>
                </a:xfrm>
                <a:custGeom>
                  <a:avLst/>
                  <a:gdLst>
                    <a:gd name="connsiteX0" fmla="*/ 5548 w 6553"/>
                    <a:gd name="connsiteY0" fmla="*/ 0 h 52065"/>
                    <a:gd name="connsiteX1" fmla="*/ 5673 w 6553"/>
                    <a:gd name="connsiteY1" fmla="*/ 18808 h 52065"/>
                    <a:gd name="connsiteX2" fmla="*/ 566 w 6553"/>
                    <a:gd name="connsiteY2" fmla="*/ 35499 h 52065"/>
                    <a:gd name="connsiteX3" fmla="*/ 1064 w 65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0"/>
                      </a:moveTo>
                      <a:cubicBezTo>
                        <a:pt x="7168" y="8221"/>
                        <a:pt x="6545" y="14573"/>
                        <a:pt x="5673" y="18808"/>
                      </a:cubicBezTo>
                      <a:cubicBezTo>
                        <a:pt x="4178" y="25659"/>
                        <a:pt x="1811" y="28399"/>
                        <a:pt x="566" y="35499"/>
                      </a:cubicBezTo>
                      <a:cubicBezTo>
                        <a:pt x="-555" y="42350"/>
                        <a:pt x="192" y="48204"/>
                        <a:pt x="106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0" name="Freeform 8136">
                  <a:extLst>
                    <a:ext uri="{FF2B5EF4-FFF2-40B4-BE49-F238E27FC236}">
                      <a16:creationId xmlns:a16="http://schemas.microsoft.com/office/drawing/2014/main" id="{E49D6316-DC0C-CCCC-9412-F0F2F3DF99BB}"/>
                    </a:ext>
                  </a:extLst>
                </p:cNvPr>
                <p:cNvSpPr/>
                <p:nvPr/>
              </p:nvSpPr>
              <p:spPr>
                <a:xfrm>
                  <a:off x="4827661" y="1920660"/>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294" y="-779"/>
                        <a:pt x="14643" y="93"/>
                      </a:cubicBezTo>
                      <a:cubicBezTo>
                        <a:pt x="21992" y="840"/>
                        <a:pt x="27348" y="7442"/>
                        <a:pt x="26600" y="14666"/>
                      </a:cubicBezTo>
                      <a:cubicBezTo>
                        <a:pt x="25853" y="21891"/>
                        <a:pt x="19376" y="27247"/>
                        <a:pt x="12027" y="26375"/>
                      </a:cubicBezTo>
                      <a:cubicBezTo>
                        <a:pt x="4678" y="25627"/>
                        <a:pt x="-678" y="19026"/>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1" name="Freeform 8137">
                  <a:extLst>
                    <a:ext uri="{FF2B5EF4-FFF2-40B4-BE49-F238E27FC236}">
                      <a16:creationId xmlns:a16="http://schemas.microsoft.com/office/drawing/2014/main" id="{451AF323-B128-9DE1-01F2-6841DBD127BB}"/>
                    </a:ext>
                  </a:extLst>
                </p:cNvPr>
                <p:cNvSpPr/>
                <p:nvPr/>
              </p:nvSpPr>
              <p:spPr>
                <a:xfrm>
                  <a:off x="4842927" y="1818741"/>
                  <a:ext cx="5854" cy="51815"/>
                </a:xfrm>
                <a:custGeom>
                  <a:avLst/>
                  <a:gdLst>
                    <a:gd name="connsiteX0" fmla="*/ 5854 w 5854"/>
                    <a:gd name="connsiteY0" fmla="*/ 0 h 51815"/>
                    <a:gd name="connsiteX1" fmla="*/ 1993 w 5854"/>
                    <a:gd name="connsiteY1" fmla="*/ 18435 h 51815"/>
                    <a:gd name="connsiteX2" fmla="*/ 3737 w 5854"/>
                    <a:gd name="connsiteY2" fmla="*/ 35748 h 51815"/>
                    <a:gd name="connsiteX3" fmla="*/ 0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5854" y="0"/>
                      </a:moveTo>
                      <a:cubicBezTo>
                        <a:pt x="2616" y="7723"/>
                        <a:pt x="1993" y="14075"/>
                        <a:pt x="1993" y="18435"/>
                      </a:cubicBezTo>
                      <a:cubicBezTo>
                        <a:pt x="2118" y="25410"/>
                        <a:pt x="3861" y="28648"/>
                        <a:pt x="3737"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2" name="Freeform 8138">
                  <a:extLst>
                    <a:ext uri="{FF2B5EF4-FFF2-40B4-BE49-F238E27FC236}">
                      <a16:creationId xmlns:a16="http://schemas.microsoft.com/office/drawing/2014/main" id="{392059A2-8C41-2B52-C898-3E27DE489DAD}"/>
                    </a:ext>
                  </a:extLst>
                </p:cNvPr>
                <p:cNvSpPr/>
                <p:nvPr/>
              </p:nvSpPr>
              <p:spPr>
                <a:xfrm>
                  <a:off x="4850889" y="1814381"/>
                  <a:ext cx="6553" cy="52065"/>
                </a:xfrm>
                <a:custGeom>
                  <a:avLst/>
                  <a:gdLst>
                    <a:gd name="connsiteX0" fmla="*/ 1006 w 6553"/>
                    <a:gd name="connsiteY0" fmla="*/ 52065 h 52065"/>
                    <a:gd name="connsiteX1" fmla="*/ 881 w 6553"/>
                    <a:gd name="connsiteY1" fmla="*/ 33257 h 52065"/>
                    <a:gd name="connsiteX2" fmla="*/ 5988 w 6553"/>
                    <a:gd name="connsiteY2" fmla="*/ 16566 h 52065"/>
                    <a:gd name="connsiteX3" fmla="*/ 5490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1006" y="52065"/>
                      </a:moveTo>
                      <a:cubicBezTo>
                        <a:pt x="-614" y="43844"/>
                        <a:pt x="9" y="37492"/>
                        <a:pt x="881" y="33257"/>
                      </a:cubicBezTo>
                      <a:cubicBezTo>
                        <a:pt x="2376" y="26406"/>
                        <a:pt x="4742" y="23666"/>
                        <a:pt x="5988" y="16566"/>
                      </a:cubicBezTo>
                      <a:cubicBezTo>
                        <a:pt x="7109" y="9716"/>
                        <a:pt x="6361"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3" name="Freeform 8139">
                  <a:extLst>
                    <a:ext uri="{FF2B5EF4-FFF2-40B4-BE49-F238E27FC236}">
                      <a16:creationId xmlns:a16="http://schemas.microsoft.com/office/drawing/2014/main" id="{B42DBC7B-F2E5-FCF9-2CB3-4AA0CA2BF3FE}"/>
                    </a:ext>
                  </a:extLst>
                </p:cNvPr>
                <p:cNvSpPr/>
                <p:nvPr/>
              </p:nvSpPr>
              <p:spPr>
                <a:xfrm>
                  <a:off x="4839868" y="1798742"/>
                  <a:ext cx="26420" cy="26568"/>
                </a:xfrm>
                <a:custGeom>
                  <a:avLst/>
                  <a:gdLst>
                    <a:gd name="connsiteX0" fmla="*/ 26351 w 26420"/>
                    <a:gd name="connsiteY0" fmla="*/ 14767 h 26568"/>
                    <a:gd name="connsiteX1" fmla="*/ 11902 w 26420"/>
                    <a:gd name="connsiteY1" fmla="*/ 26476 h 26568"/>
                    <a:gd name="connsiteX2" fmla="*/ 70 w 26420"/>
                    <a:gd name="connsiteY2" fmla="*/ 11903 h 26568"/>
                    <a:gd name="connsiteX3" fmla="*/ 14518 w 26420"/>
                    <a:gd name="connsiteY3" fmla="*/ 70 h 26568"/>
                    <a:gd name="connsiteX4" fmla="*/ 26351 w 26420"/>
                    <a:gd name="connsiteY4" fmla="*/ 14767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67">
                      <a:moveTo>
                        <a:pt x="26351" y="14767"/>
                      </a:moveTo>
                      <a:cubicBezTo>
                        <a:pt x="25604" y="21992"/>
                        <a:pt x="19127" y="27348"/>
                        <a:pt x="11902" y="26476"/>
                      </a:cubicBezTo>
                      <a:cubicBezTo>
                        <a:pt x="4678" y="25729"/>
                        <a:pt x="-678" y="19127"/>
                        <a:pt x="70" y="11903"/>
                      </a:cubicBezTo>
                      <a:cubicBezTo>
                        <a:pt x="817" y="4678"/>
                        <a:pt x="7294" y="-678"/>
                        <a:pt x="14518" y="70"/>
                      </a:cubicBezTo>
                      <a:cubicBezTo>
                        <a:pt x="21743" y="942"/>
                        <a:pt x="27098" y="7419"/>
                        <a:pt x="26351" y="14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0" name="Graphic 2987">
                <a:extLst>
                  <a:ext uri="{FF2B5EF4-FFF2-40B4-BE49-F238E27FC236}">
                    <a16:creationId xmlns:a16="http://schemas.microsoft.com/office/drawing/2014/main" id="{3C0693CA-394F-9E87-3C16-38BA757FED65}"/>
                  </a:ext>
                </a:extLst>
              </p:cNvPr>
              <p:cNvGrpSpPr/>
              <p:nvPr/>
            </p:nvGrpSpPr>
            <p:grpSpPr>
              <a:xfrm>
                <a:off x="4798016" y="1795604"/>
                <a:ext cx="39001" cy="148285"/>
                <a:chOff x="4798016" y="1795604"/>
                <a:chExt cx="39001" cy="148285"/>
              </a:xfrm>
              <a:grpFill/>
            </p:grpSpPr>
            <p:sp>
              <p:nvSpPr>
                <p:cNvPr id="6072" name="Freeform 8141">
                  <a:extLst>
                    <a:ext uri="{FF2B5EF4-FFF2-40B4-BE49-F238E27FC236}">
                      <a16:creationId xmlns:a16="http://schemas.microsoft.com/office/drawing/2014/main" id="{521DC923-37BC-4654-B6B6-328795845C49}"/>
                    </a:ext>
                  </a:extLst>
                </p:cNvPr>
                <p:cNvSpPr/>
                <p:nvPr/>
              </p:nvSpPr>
              <p:spPr>
                <a:xfrm>
                  <a:off x="4815773" y="1872176"/>
                  <a:ext cx="5978" cy="51815"/>
                </a:xfrm>
                <a:custGeom>
                  <a:avLst/>
                  <a:gdLst>
                    <a:gd name="connsiteX0" fmla="*/ 0 w 5978"/>
                    <a:gd name="connsiteY0" fmla="*/ 51816 h 51815"/>
                    <a:gd name="connsiteX1" fmla="*/ 3861 w 5978"/>
                    <a:gd name="connsiteY1" fmla="*/ 33381 h 51815"/>
                    <a:gd name="connsiteX2" fmla="*/ 2117 w 5978"/>
                    <a:gd name="connsiteY2" fmla="*/ 16068 h 51815"/>
                    <a:gd name="connsiteX3" fmla="*/ 5979 w 5978"/>
                    <a:gd name="connsiteY3" fmla="*/ 0 h 51815"/>
                  </a:gdLst>
                  <a:ahLst/>
                  <a:cxnLst>
                    <a:cxn ang="0">
                      <a:pos x="connsiteX0" y="connsiteY0"/>
                    </a:cxn>
                    <a:cxn ang="0">
                      <a:pos x="connsiteX1" y="connsiteY1"/>
                    </a:cxn>
                    <a:cxn ang="0">
                      <a:pos x="connsiteX2" y="connsiteY2"/>
                    </a:cxn>
                    <a:cxn ang="0">
                      <a:pos x="connsiteX3" y="connsiteY3"/>
                    </a:cxn>
                  </a:cxnLst>
                  <a:rect l="l" t="t" r="r" b="b"/>
                  <a:pathLst>
                    <a:path w="5978" h="51815">
                      <a:moveTo>
                        <a:pt x="0" y="51816"/>
                      </a:moveTo>
                      <a:cubicBezTo>
                        <a:pt x="3239" y="44093"/>
                        <a:pt x="3861" y="37741"/>
                        <a:pt x="3861" y="33381"/>
                      </a:cubicBezTo>
                      <a:cubicBezTo>
                        <a:pt x="3737" y="26406"/>
                        <a:pt x="1993" y="23168"/>
                        <a:pt x="2117" y="16068"/>
                      </a:cubicBezTo>
                      <a:cubicBezTo>
                        <a:pt x="2367" y="9217"/>
                        <a:pt x="4360" y="3612"/>
                        <a:pt x="5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3" name="Freeform 8142">
                  <a:extLst>
                    <a:ext uri="{FF2B5EF4-FFF2-40B4-BE49-F238E27FC236}">
                      <a16:creationId xmlns:a16="http://schemas.microsoft.com/office/drawing/2014/main" id="{077832F8-76B5-4CED-F3A3-69F7CED613DA}"/>
                    </a:ext>
                  </a:extLst>
                </p:cNvPr>
                <p:cNvSpPr/>
                <p:nvPr/>
              </p:nvSpPr>
              <p:spPr>
                <a:xfrm>
                  <a:off x="4807181" y="1876286"/>
                  <a:ext cx="6608" cy="51940"/>
                </a:xfrm>
                <a:custGeom>
                  <a:avLst/>
                  <a:gdLst>
                    <a:gd name="connsiteX0" fmla="*/ 5603 w 6608"/>
                    <a:gd name="connsiteY0" fmla="*/ 0 h 51940"/>
                    <a:gd name="connsiteX1" fmla="*/ 5728 w 6608"/>
                    <a:gd name="connsiteY1" fmla="*/ 18808 h 51940"/>
                    <a:gd name="connsiteX2" fmla="*/ 621 w 6608"/>
                    <a:gd name="connsiteY2" fmla="*/ 35374 h 51940"/>
                    <a:gd name="connsiteX3" fmla="*/ 1119 w 6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07" h="51940">
                      <a:moveTo>
                        <a:pt x="5603" y="0"/>
                      </a:moveTo>
                      <a:cubicBezTo>
                        <a:pt x="7222" y="8221"/>
                        <a:pt x="6600" y="14573"/>
                        <a:pt x="5728" y="18808"/>
                      </a:cubicBezTo>
                      <a:cubicBezTo>
                        <a:pt x="4233"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4" name="Freeform 8143">
                  <a:extLst>
                    <a:ext uri="{FF2B5EF4-FFF2-40B4-BE49-F238E27FC236}">
                      <a16:creationId xmlns:a16="http://schemas.microsoft.com/office/drawing/2014/main" id="{C3540AF9-ED88-FEC6-E8BE-888F0D1A58C1}"/>
                    </a:ext>
                  </a:extLst>
                </p:cNvPr>
                <p:cNvSpPr/>
                <p:nvPr/>
              </p:nvSpPr>
              <p:spPr>
                <a:xfrm>
                  <a:off x="4798016" y="1917422"/>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418" y="-779"/>
                        <a:pt x="14643" y="93"/>
                      </a:cubicBezTo>
                      <a:cubicBezTo>
                        <a:pt x="21992" y="840"/>
                        <a:pt x="27348" y="7442"/>
                        <a:pt x="26600" y="14666"/>
                      </a:cubicBezTo>
                      <a:cubicBezTo>
                        <a:pt x="25853" y="21891"/>
                        <a:pt x="19376" y="27247"/>
                        <a:pt x="12027" y="26375"/>
                      </a:cubicBezTo>
                      <a:cubicBezTo>
                        <a:pt x="4678"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5" name="Freeform 8144">
                  <a:extLst>
                    <a:ext uri="{FF2B5EF4-FFF2-40B4-BE49-F238E27FC236}">
                      <a16:creationId xmlns:a16="http://schemas.microsoft.com/office/drawing/2014/main" id="{4096E543-0D89-91C9-471D-8F0129DA513A}"/>
                    </a:ext>
                  </a:extLst>
                </p:cNvPr>
                <p:cNvSpPr/>
                <p:nvPr/>
              </p:nvSpPr>
              <p:spPr>
                <a:xfrm>
                  <a:off x="4813406" y="1815502"/>
                  <a:ext cx="6103" cy="51815"/>
                </a:xfrm>
                <a:custGeom>
                  <a:avLst/>
                  <a:gdLst>
                    <a:gd name="connsiteX0" fmla="*/ 6103 w 6103"/>
                    <a:gd name="connsiteY0" fmla="*/ 0 h 51815"/>
                    <a:gd name="connsiteX1" fmla="*/ 2242 w 6103"/>
                    <a:gd name="connsiteY1" fmla="*/ 18435 h 51815"/>
                    <a:gd name="connsiteX2" fmla="*/ 3861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3" y="0"/>
                      </a:moveTo>
                      <a:cubicBezTo>
                        <a:pt x="2865" y="7723"/>
                        <a:pt x="2242" y="14075"/>
                        <a:pt x="2242" y="18435"/>
                      </a:cubicBezTo>
                      <a:cubicBezTo>
                        <a:pt x="2367"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6" name="Freeform 8145">
                  <a:extLst>
                    <a:ext uri="{FF2B5EF4-FFF2-40B4-BE49-F238E27FC236}">
                      <a16:creationId xmlns:a16="http://schemas.microsoft.com/office/drawing/2014/main" id="{0C5BBA22-6BE9-0A45-4DAE-5ACBD6911DFD}"/>
                    </a:ext>
                  </a:extLst>
                </p:cNvPr>
                <p:cNvSpPr/>
                <p:nvPr/>
              </p:nvSpPr>
              <p:spPr>
                <a:xfrm>
                  <a:off x="4821369" y="1811267"/>
                  <a:ext cx="6608" cy="51940"/>
                </a:xfrm>
                <a:custGeom>
                  <a:avLst/>
                  <a:gdLst>
                    <a:gd name="connsiteX0" fmla="*/ 1006 w 6608"/>
                    <a:gd name="connsiteY0" fmla="*/ 51941 h 51940"/>
                    <a:gd name="connsiteX1" fmla="*/ 881 w 6608"/>
                    <a:gd name="connsiteY1" fmla="*/ 33132 h 51940"/>
                    <a:gd name="connsiteX2" fmla="*/ 5988 w 6608"/>
                    <a:gd name="connsiteY2" fmla="*/ 16566 h 51940"/>
                    <a:gd name="connsiteX3" fmla="*/ 5490 w 6608"/>
                    <a:gd name="connsiteY3" fmla="*/ 0 h 51940"/>
                  </a:gdLst>
                  <a:ahLst/>
                  <a:cxnLst>
                    <a:cxn ang="0">
                      <a:pos x="connsiteX0" y="connsiteY0"/>
                    </a:cxn>
                    <a:cxn ang="0">
                      <a:pos x="connsiteX1" y="connsiteY1"/>
                    </a:cxn>
                    <a:cxn ang="0">
                      <a:pos x="connsiteX2" y="connsiteY2"/>
                    </a:cxn>
                    <a:cxn ang="0">
                      <a:pos x="connsiteX3" y="connsiteY3"/>
                    </a:cxn>
                  </a:cxnLst>
                  <a:rect l="l" t="t" r="r" b="b"/>
                  <a:pathLst>
                    <a:path w="6607" h="51940">
                      <a:moveTo>
                        <a:pt x="1006" y="51941"/>
                      </a:moveTo>
                      <a:cubicBezTo>
                        <a:pt x="-614" y="43720"/>
                        <a:pt x="9" y="37367"/>
                        <a:pt x="881" y="33132"/>
                      </a:cubicBezTo>
                      <a:cubicBezTo>
                        <a:pt x="2376" y="26282"/>
                        <a:pt x="4742" y="23541"/>
                        <a:pt x="5988" y="16566"/>
                      </a:cubicBezTo>
                      <a:cubicBezTo>
                        <a:pt x="7234" y="9716"/>
                        <a:pt x="6362"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7" name="Freeform 8146">
                  <a:extLst>
                    <a:ext uri="{FF2B5EF4-FFF2-40B4-BE49-F238E27FC236}">
                      <a16:creationId xmlns:a16="http://schemas.microsoft.com/office/drawing/2014/main" id="{FC4B22C1-8587-EFDD-FB28-C580F3EC5233}"/>
                    </a:ext>
                  </a:extLst>
                </p:cNvPr>
                <p:cNvSpPr/>
                <p:nvPr/>
              </p:nvSpPr>
              <p:spPr>
                <a:xfrm>
                  <a:off x="4810596" y="1795604"/>
                  <a:ext cx="26420" cy="26467"/>
                </a:xfrm>
                <a:custGeom>
                  <a:avLst/>
                  <a:gdLst>
                    <a:gd name="connsiteX0" fmla="*/ 26351 w 26420"/>
                    <a:gd name="connsiteY0" fmla="*/ 14666 h 26467"/>
                    <a:gd name="connsiteX1" fmla="*/ 11903 w 26420"/>
                    <a:gd name="connsiteY1" fmla="*/ 26375 h 26467"/>
                    <a:gd name="connsiteX2" fmla="*/ 70 w 26420"/>
                    <a:gd name="connsiteY2" fmla="*/ 11802 h 26467"/>
                    <a:gd name="connsiteX3" fmla="*/ 14518 w 26420"/>
                    <a:gd name="connsiteY3" fmla="*/ 93 h 26467"/>
                    <a:gd name="connsiteX4" fmla="*/ 26351 w 26420"/>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67">
                      <a:moveTo>
                        <a:pt x="26351" y="14666"/>
                      </a:moveTo>
                      <a:cubicBezTo>
                        <a:pt x="25604" y="21891"/>
                        <a:pt x="19127" y="27247"/>
                        <a:pt x="11903" y="26375"/>
                      </a:cubicBezTo>
                      <a:cubicBezTo>
                        <a:pt x="4678" y="25627"/>
                        <a:pt x="-678" y="19026"/>
                        <a:pt x="70" y="11802"/>
                      </a:cubicBezTo>
                      <a:cubicBezTo>
                        <a:pt x="817" y="4577"/>
                        <a:pt x="7294" y="-779"/>
                        <a:pt x="14518" y="93"/>
                      </a:cubicBezTo>
                      <a:cubicBezTo>
                        <a:pt x="21743" y="840"/>
                        <a:pt x="27099" y="7442"/>
                        <a:pt x="26351"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1" name="Graphic 2987">
                <a:extLst>
                  <a:ext uri="{FF2B5EF4-FFF2-40B4-BE49-F238E27FC236}">
                    <a16:creationId xmlns:a16="http://schemas.microsoft.com/office/drawing/2014/main" id="{47B914B2-DA18-55B4-949A-01D1A3C5C2C3}"/>
                  </a:ext>
                </a:extLst>
              </p:cNvPr>
              <p:cNvGrpSpPr/>
              <p:nvPr/>
            </p:nvGrpSpPr>
            <p:grpSpPr>
              <a:xfrm>
                <a:off x="4768371" y="1792490"/>
                <a:ext cx="39251" cy="148160"/>
                <a:chOff x="4768371" y="1792490"/>
                <a:chExt cx="39251" cy="148160"/>
              </a:xfrm>
              <a:grpFill/>
            </p:grpSpPr>
            <p:sp>
              <p:nvSpPr>
                <p:cNvPr id="6066" name="Freeform 8148">
                  <a:extLst>
                    <a:ext uri="{FF2B5EF4-FFF2-40B4-BE49-F238E27FC236}">
                      <a16:creationId xmlns:a16="http://schemas.microsoft.com/office/drawing/2014/main" id="{D16FC0AE-B7CC-9E76-AD0A-64752A522E7C}"/>
                    </a:ext>
                  </a:extLst>
                </p:cNvPr>
                <p:cNvSpPr/>
                <p:nvPr/>
              </p:nvSpPr>
              <p:spPr>
                <a:xfrm>
                  <a:off x="4786128" y="1869062"/>
                  <a:ext cx="6103" cy="51815"/>
                </a:xfrm>
                <a:custGeom>
                  <a:avLst/>
                  <a:gdLst>
                    <a:gd name="connsiteX0" fmla="*/ 0 w 6103"/>
                    <a:gd name="connsiteY0" fmla="*/ 51816 h 51815"/>
                    <a:gd name="connsiteX1" fmla="*/ 3861 w 6103"/>
                    <a:gd name="connsiteY1" fmla="*/ 33381 h 51815"/>
                    <a:gd name="connsiteX2" fmla="*/ 2242 w 6103"/>
                    <a:gd name="connsiteY2" fmla="*/ 16068 h 51815"/>
                    <a:gd name="connsiteX3" fmla="*/ 6103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0" y="51816"/>
                      </a:moveTo>
                      <a:cubicBezTo>
                        <a:pt x="3363" y="44093"/>
                        <a:pt x="3986"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7" name="Freeform 8149">
                  <a:extLst>
                    <a:ext uri="{FF2B5EF4-FFF2-40B4-BE49-F238E27FC236}">
                      <a16:creationId xmlns:a16="http://schemas.microsoft.com/office/drawing/2014/main" id="{35C03C29-B52E-B36C-75E3-7A8251077F36}"/>
                    </a:ext>
                  </a:extLst>
                </p:cNvPr>
                <p:cNvSpPr/>
                <p:nvPr/>
              </p:nvSpPr>
              <p:spPr>
                <a:xfrm>
                  <a:off x="4777411" y="1873172"/>
                  <a:ext cx="6846" cy="51940"/>
                </a:xfrm>
                <a:custGeom>
                  <a:avLst/>
                  <a:gdLst>
                    <a:gd name="connsiteX0" fmla="*/ 5852 w 6846"/>
                    <a:gd name="connsiteY0" fmla="*/ 0 h 51940"/>
                    <a:gd name="connsiteX1" fmla="*/ 5852 w 6846"/>
                    <a:gd name="connsiteY1" fmla="*/ 18808 h 51940"/>
                    <a:gd name="connsiteX2" fmla="*/ 621 w 6846"/>
                    <a:gd name="connsiteY2" fmla="*/ 35374 h 51940"/>
                    <a:gd name="connsiteX3" fmla="*/ 1119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5852" y="0"/>
                      </a:moveTo>
                      <a:cubicBezTo>
                        <a:pt x="7471" y="8221"/>
                        <a:pt x="6849" y="14573"/>
                        <a:pt x="5852" y="18808"/>
                      </a:cubicBezTo>
                      <a:cubicBezTo>
                        <a:pt x="4357"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8" name="Freeform 8150">
                  <a:extLst>
                    <a:ext uri="{FF2B5EF4-FFF2-40B4-BE49-F238E27FC236}">
                      <a16:creationId xmlns:a16="http://schemas.microsoft.com/office/drawing/2014/main" id="{D23DCD83-7A8D-CCD1-1FF8-7F9140946555}"/>
                    </a:ext>
                  </a:extLst>
                </p:cNvPr>
                <p:cNvSpPr/>
                <p:nvPr/>
              </p:nvSpPr>
              <p:spPr>
                <a:xfrm>
                  <a:off x="4768371" y="1914183"/>
                  <a:ext cx="26671" cy="26467"/>
                </a:xfrm>
                <a:custGeom>
                  <a:avLst/>
                  <a:gdLst>
                    <a:gd name="connsiteX0" fmla="*/ 70 w 26671"/>
                    <a:gd name="connsiteY0" fmla="*/ 11802 h 26467"/>
                    <a:gd name="connsiteX1" fmla="*/ 14768 w 26671"/>
                    <a:gd name="connsiteY1" fmla="*/ 93 h 26467"/>
                    <a:gd name="connsiteX2" fmla="*/ 26600 w 26671"/>
                    <a:gd name="connsiteY2" fmla="*/ 14666 h 26467"/>
                    <a:gd name="connsiteX3" fmla="*/ 11903 w 26671"/>
                    <a:gd name="connsiteY3" fmla="*/ 26375 h 26467"/>
                    <a:gd name="connsiteX4" fmla="*/ 70 w 26671"/>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67">
                      <a:moveTo>
                        <a:pt x="70" y="11802"/>
                      </a:moveTo>
                      <a:cubicBezTo>
                        <a:pt x="817" y="4577"/>
                        <a:pt x="7419" y="-779"/>
                        <a:pt x="14768" y="93"/>
                      </a:cubicBezTo>
                      <a:cubicBezTo>
                        <a:pt x="22117" y="840"/>
                        <a:pt x="27348" y="7442"/>
                        <a:pt x="26600" y="14666"/>
                      </a:cubicBezTo>
                      <a:cubicBezTo>
                        <a:pt x="25853" y="21891"/>
                        <a:pt x="19252" y="27247"/>
                        <a:pt x="11903" y="26375"/>
                      </a:cubicBezTo>
                      <a:cubicBezTo>
                        <a:pt x="4679"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9" name="Freeform 8151">
                  <a:extLst>
                    <a:ext uri="{FF2B5EF4-FFF2-40B4-BE49-F238E27FC236}">
                      <a16:creationId xmlns:a16="http://schemas.microsoft.com/office/drawing/2014/main" id="{0FDA591E-A02F-3361-1CA4-9634A98B012D}"/>
                    </a:ext>
                  </a:extLst>
                </p:cNvPr>
                <p:cNvSpPr/>
                <p:nvPr/>
              </p:nvSpPr>
              <p:spPr>
                <a:xfrm>
                  <a:off x="4784011" y="1812388"/>
                  <a:ext cx="6103" cy="51815"/>
                </a:xfrm>
                <a:custGeom>
                  <a:avLst/>
                  <a:gdLst>
                    <a:gd name="connsiteX0" fmla="*/ 6104 w 6103"/>
                    <a:gd name="connsiteY0" fmla="*/ 0 h 51815"/>
                    <a:gd name="connsiteX1" fmla="*/ 2242 w 6103"/>
                    <a:gd name="connsiteY1" fmla="*/ 18435 h 51815"/>
                    <a:gd name="connsiteX2" fmla="*/ 3862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0"/>
                      </a:moveTo>
                      <a:cubicBezTo>
                        <a:pt x="2865" y="7723"/>
                        <a:pt x="2118" y="14075"/>
                        <a:pt x="2242" y="18435"/>
                      </a:cubicBezTo>
                      <a:cubicBezTo>
                        <a:pt x="2242" y="25410"/>
                        <a:pt x="4111" y="28648"/>
                        <a:pt x="3862"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0" name="Freeform 8152">
                  <a:extLst>
                    <a:ext uri="{FF2B5EF4-FFF2-40B4-BE49-F238E27FC236}">
                      <a16:creationId xmlns:a16="http://schemas.microsoft.com/office/drawing/2014/main" id="{3046B23B-BE26-501C-8810-467F3DC188F4}"/>
                    </a:ext>
                  </a:extLst>
                </p:cNvPr>
                <p:cNvSpPr/>
                <p:nvPr/>
              </p:nvSpPr>
              <p:spPr>
                <a:xfrm>
                  <a:off x="4791860" y="1808153"/>
                  <a:ext cx="6722" cy="51940"/>
                </a:xfrm>
                <a:custGeom>
                  <a:avLst/>
                  <a:gdLst>
                    <a:gd name="connsiteX0" fmla="*/ 995 w 6722"/>
                    <a:gd name="connsiteY0" fmla="*/ 51941 h 51940"/>
                    <a:gd name="connsiteX1" fmla="*/ 995 w 6722"/>
                    <a:gd name="connsiteY1" fmla="*/ 33132 h 51940"/>
                    <a:gd name="connsiteX2" fmla="*/ 6101 w 6722"/>
                    <a:gd name="connsiteY2" fmla="*/ 16566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5" y="51941"/>
                      </a:moveTo>
                      <a:cubicBezTo>
                        <a:pt x="-625" y="43720"/>
                        <a:pt x="-2" y="37367"/>
                        <a:pt x="995" y="33132"/>
                      </a:cubicBezTo>
                      <a:cubicBezTo>
                        <a:pt x="2489" y="26282"/>
                        <a:pt x="4980" y="23541"/>
                        <a:pt x="6101" y="16566"/>
                      </a:cubicBezTo>
                      <a:cubicBezTo>
                        <a:pt x="7347" y="9716"/>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1" name="Freeform 8153">
                  <a:extLst>
                    <a:ext uri="{FF2B5EF4-FFF2-40B4-BE49-F238E27FC236}">
                      <a16:creationId xmlns:a16="http://schemas.microsoft.com/office/drawing/2014/main" id="{48F6E420-3F33-B8F7-1786-C712616C2736}"/>
                    </a:ext>
                  </a:extLst>
                </p:cNvPr>
                <p:cNvSpPr/>
                <p:nvPr/>
              </p:nvSpPr>
              <p:spPr>
                <a:xfrm>
                  <a:off x="4781324" y="1792490"/>
                  <a:ext cx="26299" cy="26467"/>
                </a:xfrm>
                <a:custGeom>
                  <a:avLst/>
                  <a:gdLst>
                    <a:gd name="connsiteX0" fmla="*/ 26228 w 26299"/>
                    <a:gd name="connsiteY0" fmla="*/ 14666 h 26467"/>
                    <a:gd name="connsiteX1" fmla="*/ 11780 w 26299"/>
                    <a:gd name="connsiteY1" fmla="*/ 26375 h 26467"/>
                    <a:gd name="connsiteX2" fmla="*/ 71 w 26299"/>
                    <a:gd name="connsiteY2" fmla="*/ 11802 h 26467"/>
                    <a:gd name="connsiteX3" fmla="*/ 14520 w 26299"/>
                    <a:gd name="connsiteY3" fmla="*/ 93 h 26467"/>
                    <a:gd name="connsiteX4" fmla="*/ 26228 w 2629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67">
                      <a:moveTo>
                        <a:pt x="26228" y="14666"/>
                      </a:moveTo>
                      <a:cubicBezTo>
                        <a:pt x="25481" y="21891"/>
                        <a:pt x="19004" y="27247"/>
                        <a:pt x="11780" y="26375"/>
                      </a:cubicBezTo>
                      <a:cubicBezTo>
                        <a:pt x="4555" y="25627"/>
                        <a:pt x="-676" y="19026"/>
                        <a:pt x="71" y="11802"/>
                      </a:cubicBezTo>
                      <a:cubicBezTo>
                        <a:pt x="818" y="4577"/>
                        <a:pt x="7296" y="-779"/>
                        <a:pt x="14520" y="93"/>
                      </a:cubicBezTo>
                      <a:cubicBezTo>
                        <a:pt x="21744" y="840"/>
                        <a:pt x="26976" y="7317"/>
                        <a:pt x="26228"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2" name="Graphic 2987">
                <a:extLst>
                  <a:ext uri="{FF2B5EF4-FFF2-40B4-BE49-F238E27FC236}">
                    <a16:creationId xmlns:a16="http://schemas.microsoft.com/office/drawing/2014/main" id="{20D64915-1CC5-8578-11E8-9454FD7AE75E}"/>
                  </a:ext>
                </a:extLst>
              </p:cNvPr>
              <p:cNvGrpSpPr/>
              <p:nvPr/>
            </p:nvGrpSpPr>
            <p:grpSpPr>
              <a:xfrm>
                <a:off x="4738725" y="1789252"/>
                <a:ext cx="39626" cy="148285"/>
                <a:chOff x="4738725" y="1789252"/>
                <a:chExt cx="39626" cy="148285"/>
              </a:xfrm>
              <a:grpFill/>
            </p:grpSpPr>
            <p:sp>
              <p:nvSpPr>
                <p:cNvPr id="6060" name="Freeform 8155">
                  <a:extLst>
                    <a:ext uri="{FF2B5EF4-FFF2-40B4-BE49-F238E27FC236}">
                      <a16:creationId xmlns:a16="http://schemas.microsoft.com/office/drawing/2014/main" id="{D3DE5D45-9F14-74E9-9D0A-67ED4E3B7A5A}"/>
                    </a:ext>
                  </a:extLst>
                </p:cNvPr>
                <p:cNvSpPr/>
                <p:nvPr/>
              </p:nvSpPr>
              <p:spPr>
                <a:xfrm>
                  <a:off x="4756483" y="1865823"/>
                  <a:ext cx="6227" cy="51815"/>
                </a:xfrm>
                <a:custGeom>
                  <a:avLst/>
                  <a:gdLst>
                    <a:gd name="connsiteX0" fmla="*/ 0 w 6227"/>
                    <a:gd name="connsiteY0" fmla="*/ 51816 h 51815"/>
                    <a:gd name="connsiteX1" fmla="*/ 3986 w 6227"/>
                    <a:gd name="connsiteY1" fmla="*/ 33381 h 51815"/>
                    <a:gd name="connsiteX2" fmla="*/ 2367 w 6227"/>
                    <a:gd name="connsiteY2" fmla="*/ 16068 h 51815"/>
                    <a:gd name="connsiteX3" fmla="*/ 6228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0" y="51816"/>
                      </a:moveTo>
                      <a:cubicBezTo>
                        <a:pt x="3363"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1" name="Freeform 8156">
                  <a:extLst>
                    <a:ext uri="{FF2B5EF4-FFF2-40B4-BE49-F238E27FC236}">
                      <a16:creationId xmlns:a16="http://schemas.microsoft.com/office/drawing/2014/main" id="{A0E9038A-0B22-BF74-9307-A4F7360E8004}"/>
                    </a:ext>
                  </a:extLst>
                </p:cNvPr>
                <p:cNvSpPr/>
                <p:nvPr/>
              </p:nvSpPr>
              <p:spPr>
                <a:xfrm>
                  <a:off x="4747853" y="1869934"/>
                  <a:ext cx="6844" cy="51816"/>
                </a:xfrm>
                <a:custGeom>
                  <a:avLst/>
                  <a:gdLst>
                    <a:gd name="connsiteX0" fmla="*/ 5890 w 6844"/>
                    <a:gd name="connsiteY0" fmla="*/ 0 h 51816"/>
                    <a:gd name="connsiteX1" fmla="*/ 5890 w 6844"/>
                    <a:gd name="connsiteY1" fmla="*/ 18808 h 51816"/>
                    <a:gd name="connsiteX2" fmla="*/ 659 w 6844"/>
                    <a:gd name="connsiteY2" fmla="*/ 35374 h 51816"/>
                    <a:gd name="connsiteX3" fmla="*/ 1033 w 6844"/>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843" h="51816">
                      <a:moveTo>
                        <a:pt x="5890" y="0"/>
                      </a:moveTo>
                      <a:cubicBezTo>
                        <a:pt x="7510" y="8221"/>
                        <a:pt x="6762" y="14573"/>
                        <a:pt x="5890" y="18808"/>
                      </a:cubicBezTo>
                      <a:cubicBezTo>
                        <a:pt x="4396" y="25659"/>
                        <a:pt x="1904" y="28399"/>
                        <a:pt x="659" y="35374"/>
                      </a:cubicBezTo>
                      <a:cubicBezTo>
                        <a:pt x="-586" y="42225"/>
                        <a:pt x="161" y="48079"/>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2" name="Freeform 8157">
                  <a:extLst>
                    <a:ext uri="{FF2B5EF4-FFF2-40B4-BE49-F238E27FC236}">
                      <a16:creationId xmlns:a16="http://schemas.microsoft.com/office/drawing/2014/main" id="{F17B17C6-10AD-EB99-7D4D-DCE7DA3D6571}"/>
                    </a:ext>
                  </a:extLst>
                </p:cNvPr>
                <p:cNvSpPr/>
                <p:nvPr/>
              </p:nvSpPr>
              <p:spPr>
                <a:xfrm>
                  <a:off x="4738725" y="1911069"/>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818" y="4577"/>
                        <a:pt x="7420" y="-779"/>
                        <a:pt x="14769" y="93"/>
                      </a:cubicBezTo>
                      <a:cubicBezTo>
                        <a:pt x="22118" y="840"/>
                        <a:pt x="27349" y="7442"/>
                        <a:pt x="26602" y="14666"/>
                      </a:cubicBezTo>
                      <a:cubicBezTo>
                        <a:pt x="25854" y="21891"/>
                        <a:pt x="19253" y="27247"/>
                        <a:pt x="11904" y="26375"/>
                      </a:cubicBezTo>
                      <a:cubicBezTo>
                        <a:pt x="4555" y="25503"/>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3" name="Freeform 8158">
                  <a:extLst>
                    <a:ext uri="{FF2B5EF4-FFF2-40B4-BE49-F238E27FC236}">
                      <a16:creationId xmlns:a16="http://schemas.microsoft.com/office/drawing/2014/main" id="{1A2E8F4F-6129-EB00-233D-1654BA825B13}"/>
                    </a:ext>
                  </a:extLst>
                </p:cNvPr>
                <p:cNvSpPr/>
                <p:nvPr/>
              </p:nvSpPr>
              <p:spPr>
                <a:xfrm>
                  <a:off x="4754615" y="1809150"/>
                  <a:ext cx="6227" cy="51815"/>
                </a:xfrm>
                <a:custGeom>
                  <a:avLst/>
                  <a:gdLst>
                    <a:gd name="connsiteX0" fmla="*/ 6228 w 6227"/>
                    <a:gd name="connsiteY0" fmla="*/ 0 h 51815"/>
                    <a:gd name="connsiteX1" fmla="*/ 2242 w 6227"/>
                    <a:gd name="connsiteY1" fmla="*/ 18435 h 51815"/>
                    <a:gd name="connsiteX2" fmla="*/ 3861 w 6227"/>
                    <a:gd name="connsiteY2" fmla="*/ 35748 h 51815"/>
                    <a:gd name="connsiteX3" fmla="*/ 0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0"/>
                      </a:moveTo>
                      <a:cubicBezTo>
                        <a:pt x="2865" y="7723"/>
                        <a:pt x="2242" y="14075"/>
                        <a:pt x="2242" y="18435"/>
                      </a:cubicBezTo>
                      <a:cubicBezTo>
                        <a:pt x="2242"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4" name="Freeform 8159">
                  <a:extLst>
                    <a:ext uri="{FF2B5EF4-FFF2-40B4-BE49-F238E27FC236}">
                      <a16:creationId xmlns:a16="http://schemas.microsoft.com/office/drawing/2014/main" id="{11F9E4DE-5454-BDDC-981B-A02D44989074}"/>
                    </a:ext>
                  </a:extLst>
                </p:cNvPr>
                <p:cNvSpPr/>
                <p:nvPr/>
              </p:nvSpPr>
              <p:spPr>
                <a:xfrm>
                  <a:off x="4762504" y="1805039"/>
                  <a:ext cx="6845" cy="51815"/>
                </a:xfrm>
                <a:custGeom>
                  <a:avLst/>
                  <a:gdLst>
                    <a:gd name="connsiteX0" fmla="*/ 954 w 6845"/>
                    <a:gd name="connsiteY0" fmla="*/ 51816 h 51815"/>
                    <a:gd name="connsiteX1" fmla="*/ 954 w 6845"/>
                    <a:gd name="connsiteY1" fmla="*/ 33008 h 51815"/>
                    <a:gd name="connsiteX2" fmla="*/ 6186 w 6845"/>
                    <a:gd name="connsiteY2" fmla="*/ 16442 h 51815"/>
                    <a:gd name="connsiteX3" fmla="*/ 5812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954" y="51816"/>
                      </a:moveTo>
                      <a:cubicBezTo>
                        <a:pt x="-665" y="43595"/>
                        <a:pt x="82" y="37243"/>
                        <a:pt x="954" y="33008"/>
                      </a:cubicBezTo>
                      <a:cubicBezTo>
                        <a:pt x="2449" y="26157"/>
                        <a:pt x="4940" y="23417"/>
                        <a:pt x="6186" y="16442"/>
                      </a:cubicBezTo>
                      <a:cubicBezTo>
                        <a:pt x="7432" y="9591"/>
                        <a:pt x="6684" y="3737"/>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5" name="Freeform 8160">
                  <a:extLst>
                    <a:ext uri="{FF2B5EF4-FFF2-40B4-BE49-F238E27FC236}">
                      <a16:creationId xmlns:a16="http://schemas.microsoft.com/office/drawing/2014/main" id="{71561DE1-7212-8637-830D-C6DBD55CF926}"/>
                    </a:ext>
                  </a:extLst>
                </p:cNvPr>
                <p:cNvSpPr/>
                <p:nvPr/>
              </p:nvSpPr>
              <p:spPr>
                <a:xfrm>
                  <a:off x="4751928" y="1789252"/>
                  <a:ext cx="26423" cy="26467"/>
                </a:xfrm>
                <a:custGeom>
                  <a:avLst/>
                  <a:gdLst>
                    <a:gd name="connsiteX0" fmla="*/ 26353 w 26423"/>
                    <a:gd name="connsiteY0" fmla="*/ 14666 h 26467"/>
                    <a:gd name="connsiteX1" fmla="*/ 11780 w 26423"/>
                    <a:gd name="connsiteY1" fmla="*/ 26375 h 26467"/>
                    <a:gd name="connsiteX2" fmla="*/ 71 w 26423"/>
                    <a:gd name="connsiteY2" fmla="*/ 11802 h 26467"/>
                    <a:gd name="connsiteX3" fmla="*/ 14644 w 26423"/>
                    <a:gd name="connsiteY3" fmla="*/ 93 h 26467"/>
                    <a:gd name="connsiteX4" fmla="*/ 26353 w 26423"/>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67">
                      <a:moveTo>
                        <a:pt x="26353" y="14666"/>
                      </a:moveTo>
                      <a:cubicBezTo>
                        <a:pt x="25605" y="21891"/>
                        <a:pt x="19128" y="27247"/>
                        <a:pt x="11780" y="26375"/>
                      </a:cubicBezTo>
                      <a:cubicBezTo>
                        <a:pt x="4555" y="25627"/>
                        <a:pt x="-676" y="19026"/>
                        <a:pt x="71" y="11802"/>
                      </a:cubicBezTo>
                      <a:cubicBezTo>
                        <a:pt x="818" y="4577"/>
                        <a:pt x="7420" y="-779"/>
                        <a:pt x="14644" y="93"/>
                      </a:cubicBezTo>
                      <a:cubicBezTo>
                        <a:pt x="21869" y="965"/>
                        <a:pt x="27100"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3" name="Graphic 2987">
                <a:extLst>
                  <a:ext uri="{FF2B5EF4-FFF2-40B4-BE49-F238E27FC236}">
                    <a16:creationId xmlns:a16="http://schemas.microsoft.com/office/drawing/2014/main" id="{53AD9789-005D-D034-F61A-2FB294B6D140}"/>
                  </a:ext>
                </a:extLst>
              </p:cNvPr>
              <p:cNvGrpSpPr/>
              <p:nvPr/>
            </p:nvGrpSpPr>
            <p:grpSpPr>
              <a:xfrm>
                <a:off x="4709081" y="1786138"/>
                <a:ext cx="39899" cy="148160"/>
                <a:chOff x="4709081" y="1786138"/>
                <a:chExt cx="39899" cy="148160"/>
              </a:xfrm>
              <a:grpFill/>
            </p:grpSpPr>
            <p:sp>
              <p:nvSpPr>
                <p:cNvPr id="6054" name="Freeform 8162">
                  <a:extLst>
                    <a:ext uri="{FF2B5EF4-FFF2-40B4-BE49-F238E27FC236}">
                      <a16:creationId xmlns:a16="http://schemas.microsoft.com/office/drawing/2014/main" id="{B87FFB0F-E7DB-8BBE-9F25-D40A8C316EEA}"/>
                    </a:ext>
                  </a:extLst>
                </p:cNvPr>
                <p:cNvSpPr/>
                <p:nvPr/>
              </p:nvSpPr>
              <p:spPr>
                <a:xfrm>
                  <a:off x="4726839" y="1862585"/>
                  <a:ext cx="6477" cy="51815"/>
                </a:xfrm>
                <a:custGeom>
                  <a:avLst/>
                  <a:gdLst>
                    <a:gd name="connsiteX0" fmla="*/ 0 w 6477"/>
                    <a:gd name="connsiteY0" fmla="*/ 51816 h 51815"/>
                    <a:gd name="connsiteX1" fmla="*/ 3986 w 6477"/>
                    <a:gd name="connsiteY1" fmla="*/ 33381 h 51815"/>
                    <a:gd name="connsiteX2" fmla="*/ 2491 w 6477"/>
                    <a:gd name="connsiteY2" fmla="*/ 16068 h 51815"/>
                    <a:gd name="connsiteX3" fmla="*/ 6477 w 6477"/>
                    <a:gd name="connsiteY3" fmla="*/ 0 h 51815"/>
                  </a:gdLst>
                  <a:ahLst/>
                  <a:cxnLst>
                    <a:cxn ang="0">
                      <a:pos x="connsiteX0" y="connsiteY0"/>
                    </a:cxn>
                    <a:cxn ang="0">
                      <a:pos x="connsiteX1" y="connsiteY1"/>
                    </a:cxn>
                    <a:cxn ang="0">
                      <a:pos x="connsiteX2" y="connsiteY2"/>
                    </a:cxn>
                    <a:cxn ang="0">
                      <a:pos x="connsiteX3" y="connsiteY3"/>
                    </a:cxn>
                  </a:cxnLst>
                  <a:rect l="l" t="t" r="r" b="b"/>
                  <a:pathLst>
                    <a:path w="6477" h="51815">
                      <a:moveTo>
                        <a:pt x="0" y="51816"/>
                      </a:moveTo>
                      <a:cubicBezTo>
                        <a:pt x="3363" y="44093"/>
                        <a:pt x="3986" y="37741"/>
                        <a:pt x="3986" y="33381"/>
                      </a:cubicBezTo>
                      <a:cubicBezTo>
                        <a:pt x="3986" y="26406"/>
                        <a:pt x="2118"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5" name="Freeform 8163">
                  <a:extLst>
                    <a:ext uri="{FF2B5EF4-FFF2-40B4-BE49-F238E27FC236}">
                      <a16:creationId xmlns:a16="http://schemas.microsoft.com/office/drawing/2014/main" id="{D109911E-2E3F-AF35-A54F-2F3AA6CDEE32}"/>
                    </a:ext>
                  </a:extLst>
                </p:cNvPr>
                <p:cNvSpPr/>
                <p:nvPr/>
              </p:nvSpPr>
              <p:spPr>
                <a:xfrm>
                  <a:off x="4718208" y="1866695"/>
                  <a:ext cx="6959" cy="51815"/>
                </a:xfrm>
                <a:custGeom>
                  <a:avLst/>
                  <a:gdLst>
                    <a:gd name="connsiteX0" fmla="*/ 6015 w 6959"/>
                    <a:gd name="connsiteY0" fmla="*/ 0 h 51815"/>
                    <a:gd name="connsiteX1" fmla="*/ 5890 w 6959"/>
                    <a:gd name="connsiteY1" fmla="*/ 18808 h 51815"/>
                    <a:gd name="connsiteX2" fmla="*/ 659 w 6959"/>
                    <a:gd name="connsiteY2" fmla="*/ 35374 h 51815"/>
                    <a:gd name="connsiteX3" fmla="*/ 1033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0"/>
                      </a:moveTo>
                      <a:cubicBezTo>
                        <a:pt x="7634" y="8221"/>
                        <a:pt x="6887" y="14573"/>
                        <a:pt x="5890" y="18808"/>
                      </a:cubicBezTo>
                      <a:cubicBezTo>
                        <a:pt x="4396" y="25659"/>
                        <a:pt x="1905"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6" name="Freeform 8164">
                  <a:extLst>
                    <a:ext uri="{FF2B5EF4-FFF2-40B4-BE49-F238E27FC236}">
                      <a16:creationId xmlns:a16="http://schemas.microsoft.com/office/drawing/2014/main" id="{EF4E5681-E5F2-FB91-C4D6-72D9EE67051B}"/>
                    </a:ext>
                  </a:extLst>
                </p:cNvPr>
                <p:cNvSpPr/>
                <p:nvPr/>
              </p:nvSpPr>
              <p:spPr>
                <a:xfrm>
                  <a:off x="4709081" y="1907831"/>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943" y="4577"/>
                        <a:pt x="7420" y="-779"/>
                        <a:pt x="14769" y="93"/>
                      </a:cubicBezTo>
                      <a:cubicBezTo>
                        <a:pt x="22118" y="965"/>
                        <a:pt x="27349" y="7442"/>
                        <a:pt x="26602" y="14666"/>
                      </a:cubicBezTo>
                      <a:cubicBezTo>
                        <a:pt x="25855" y="21891"/>
                        <a:pt x="19253" y="27247"/>
                        <a:pt x="11904" y="26375"/>
                      </a:cubicBezTo>
                      <a:cubicBezTo>
                        <a:pt x="4555" y="25627"/>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7" name="Freeform 8165">
                  <a:extLst>
                    <a:ext uri="{FF2B5EF4-FFF2-40B4-BE49-F238E27FC236}">
                      <a16:creationId xmlns:a16="http://schemas.microsoft.com/office/drawing/2014/main" id="{AE0D81B5-FF76-E20B-6E66-9DF41E0C8059}"/>
                    </a:ext>
                  </a:extLst>
                </p:cNvPr>
                <p:cNvSpPr/>
                <p:nvPr/>
              </p:nvSpPr>
              <p:spPr>
                <a:xfrm>
                  <a:off x="4724970" y="1806036"/>
                  <a:ext cx="6476" cy="51815"/>
                </a:xfrm>
                <a:custGeom>
                  <a:avLst/>
                  <a:gdLst>
                    <a:gd name="connsiteX0" fmla="*/ 6477 w 6476"/>
                    <a:gd name="connsiteY0" fmla="*/ 0 h 51815"/>
                    <a:gd name="connsiteX1" fmla="*/ 2491 w 6476"/>
                    <a:gd name="connsiteY1" fmla="*/ 18435 h 51815"/>
                    <a:gd name="connsiteX2" fmla="*/ 3986 w 6476"/>
                    <a:gd name="connsiteY2" fmla="*/ 35748 h 51815"/>
                    <a:gd name="connsiteX3" fmla="*/ 0 w 64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476" h="51815">
                      <a:moveTo>
                        <a:pt x="6477" y="0"/>
                      </a:moveTo>
                      <a:cubicBezTo>
                        <a:pt x="3114" y="7723"/>
                        <a:pt x="2491" y="14075"/>
                        <a:pt x="2491" y="18435"/>
                      </a:cubicBezTo>
                      <a:cubicBezTo>
                        <a:pt x="2491" y="25410"/>
                        <a:pt x="4235" y="28648"/>
                        <a:pt x="3986" y="35748"/>
                      </a:cubicBezTo>
                      <a:cubicBezTo>
                        <a:pt x="3737" y="42599"/>
                        <a:pt x="1744"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8" name="Freeform 8166">
                  <a:extLst>
                    <a:ext uri="{FF2B5EF4-FFF2-40B4-BE49-F238E27FC236}">
                      <a16:creationId xmlns:a16="http://schemas.microsoft.com/office/drawing/2014/main" id="{7862A7A5-D6E2-CB89-FF35-764DF750FBCE}"/>
                    </a:ext>
                  </a:extLst>
                </p:cNvPr>
                <p:cNvSpPr/>
                <p:nvPr/>
              </p:nvSpPr>
              <p:spPr>
                <a:xfrm>
                  <a:off x="4732994" y="1801925"/>
                  <a:ext cx="6959" cy="51815"/>
                </a:xfrm>
                <a:custGeom>
                  <a:avLst/>
                  <a:gdLst>
                    <a:gd name="connsiteX0" fmla="*/ 945 w 6959"/>
                    <a:gd name="connsiteY0" fmla="*/ 51816 h 51815"/>
                    <a:gd name="connsiteX1" fmla="*/ 1069 w 6959"/>
                    <a:gd name="connsiteY1" fmla="*/ 33008 h 51815"/>
                    <a:gd name="connsiteX2" fmla="*/ 6301 w 6959"/>
                    <a:gd name="connsiteY2" fmla="*/ 16442 h 51815"/>
                    <a:gd name="connsiteX3" fmla="*/ 5927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945" y="51816"/>
                      </a:moveTo>
                      <a:cubicBezTo>
                        <a:pt x="-675" y="43595"/>
                        <a:pt x="73" y="37243"/>
                        <a:pt x="1069" y="33008"/>
                      </a:cubicBezTo>
                      <a:cubicBezTo>
                        <a:pt x="2564" y="26157"/>
                        <a:pt x="5055" y="23417"/>
                        <a:pt x="6301" y="16442"/>
                      </a:cubicBezTo>
                      <a:cubicBezTo>
                        <a:pt x="7546" y="9591"/>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9" name="Freeform 8167">
                  <a:extLst>
                    <a:ext uri="{FF2B5EF4-FFF2-40B4-BE49-F238E27FC236}">
                      <a16:creationId xmlns:a16="http://schemas.microsoft.com/office/drawing/2014/main" id="{7A236EFB-5E1A-3187-C8DB-F2924C6F8E4D}"/>
                    </a:ext>
                  </a:extLst>
                </p:cNvPr>
                <p:cNvSpPr/>
                <p:nvPr/>
              </p:nvSpPr>
              <p:spPr>
                <a:xfrm>
                  <a:off x="4722533" y="1786138"/>
                  <a:ext cx="26447" cy="26467"/>
                </a:xfrm>
                <a:custGeom>
                  <a:avLst/>
                  <a:gdLst>
                    <a:gd name="connsiteX0" fmla="*/ 26353 w 26447"/>
                    <a:gd name="connsiteY0" fmla="*/ 14666 h 26467"/>
                    <a:gd name="connsiteX1" fmla="*/ 11780 w 26447"/>
                    <a:gd name="connsiteY1" fmla="*/ 26375 h 26467"/>
                    <a:gd name="connsiteX2" fmla="*/ 71 w 26447"/>
                    <a:gd name="connsiteY2" fmla="*/ 11802 h 26467"/>
                    <a:gd name="connsiteX3" fmla="*/ 14644 w 26447"/>
                    <a:gd name="connsiteY3" fmla="*/ 93 h 26467"/>
                    <a:gd name="connsiteX4" fmla="*/ 26353 w 264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67">
                      <a:moveTo>
                        <a:pt x="26353" y="14666"/>
                      </a:moveTo>
                      <a:cubicBezTo>
                        <a:pt x="25606" y="21891"/>
                        <a:pt x="19004" y="27247"/>
                        <a:pt x="11780" y="26375"/>
                      </a:cubicBezTo>
                      <a:cubicBezTo>
                        <a:pt x="4555" y="25627"/>
                        <a:pt x="-676" y="19026"/>
                        <a:pt x="71" y="11802"/>
                      </a:cubicBezTo>
                      <a:cubicBezTo>
                        <a:pt x="943" y="4577"/>
                        <a:pt x="7420" y="-779"/>
                        <a:pt x="14644" y="93"/>
                      </a:cubicBezTo>
                      <a:cubicBezTo>
                        <a:pt x="21993" y="840"/>
                        <a:pt x="27225"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4" name="Graphic 2987">
                <a:extLst>
                  <a:ext uri="{FF2B5EF4-FFF2-40B4-BE49-F238E27FC236}">
                    <a16:creationId xmlns:a16="http://schemas.microsoft.com/office/drawing/2014/main" id="{34B9A8A7-8B97-7219-DF53-67D1260B0867}"/>
                  </a:ext>
                </a:extLst>
              </p:cNvPr>
              <p:cNvGrpSpPr/>
              <p:nvPr/>
            </p:nvGrpSpPr>
            <p:grpSpPr>
              <a:xfrm>
                <a:off x="4679414" y="1783024"/>
                <a:ext cx="40295" cy="148036"/>
                <a:chOff x="4679414" y="1783024"/>
                <a:chExt cx="40295" cy="148036"/>
              </a:xfrm>
              <a:grpFill/>
            </p:grpSpPr>
            <p:sp>
              <p:nvSpPr>
                <p:cNvPr id="6048" name="Freeform 8169">
                  <a:extLst>
                    <a:ext uri="{FF2B5EF4-FFF2-40B4-BE49-F238E27FC236}">
                      <a16:creationId xmlns:a16="http://schemas.microsoft.com/office/drawing/2014/main" id="{71825057-9E5A-9D13-6AD5-45A15BE6568C}"/>
                    </a:ext>
                  </a:extLst>
                </p:cNvPr>
                <p:cNvSpPr/>
                <p:nvPr/>
              </p:nvSpPr>
              <p:spPr>
                <a:xfrm>
                  <a:off x="4697194" y="185947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9" name="Freeform 8170">
                  <a:extLst>
                    <a:ext uri="{FF2B5EF4-FFF2-40B4-BE49-F238E27FC236}">
                      <a16:creationId xmlns:a16="http://schemas.microsoft.com/office/drawing/2014/main" id="{E9580094-ECC3-0808-1750-D6FD71565CCE}"/>
                    </a:ext>
                  </a:extLst>
                </p:cNvPr>
                <p:cNvSpPr/>
                <p:nvPr/>
              </p:nvSpPr>
              <p:spPr>
                <a:xfrm>
                  <a:off x="4688688" y="1863581"/>
                  <a:ext cx="7084" cy="51815"/>
                </a:xfrm>
                <a:custGeom>
                  <a:avLst/>
                  <a:gdLst>
                    <a:gd name="connsiteX0" fmla="*/ 6140 w 7084"/>
                    <a:gd name="connsiteY0" fmla="*/ 0 h 51815"/>
                    <a:gd name="connsiteX1" fmla="*/ 6015 w 7084"/>
                    <a:gd name="connsiteY1" fmla="*/ 18808 h 51815"/>
                    <a:gd name="connsiteX2" fmla="*/ 659 w 7084"/>
                    <a:gd name="connsiteY2" fmla="*/ 35374 h 51815"/>
                    <a:gd name="connsiteX3" fmla="*/ 1033 w 708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84" h="51815">
                      <a:moveTo>
                        <a:pt x="6140" y="0"/>
                      </a:moveTo>
                      <a:cubicBezTo>
                        <a:pt x="7759" y="8221"/>
                        <a:pt x="7011" y="14573"/>
                        <a:pt x="6015" y="18808"/>
                      </a:cubicBezTo>
                      <a:cubicBezTo>
                        <a:pt x="4396" y="25659"/>
                        <a:pt x="2029"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0" name="Freeform 8171">
                  <a:extLst>
                    <a:ext uri="{FF2B5EF4-FFF2-40B4-BE49-F238E27FC236}">
                      <a16:creationId xmlns:a16="http://schemas.microsoft.com/office/drawing/2014/main" id="{9A52772B-1E48-9C8E-E804-C70870A6A864}"/>
                    </a:ext>
                  </a:extLst>
                </p:cNvPr>
                <p:cNvSpPr/>
                <p:nvPr/>
              </p:nvSpPr>
              <p:spPr>
                <a:xfrm>
                  <a:off x="4679414" y="1904592"/>
                  <a:ext cx="26694" cy="26467"/>
                </a:xfrm>
                <a:custGeom>
                  <a:avLst/>
                  <a:gdLst>
                    <a:gd name="connsiteX0" fmla="*/ 93 w 26694"/>
                    <a:gd name="connsiteY0" fmla="*/ 11802 h 26467"/>
                    <a:gd name="connsiteX1" fmla="*/ 14791 w 26694"/>
                    <a:gd name="connsiteY1" fmla="*/ 93 h 26467"/>
                    <a:gd name="connsiteX2" fmla="*/ 26624 w 26694"/>
                    <a:gd name="connsiteY2" fmla="*/ 14666 h 26467"/>
                    <a:gd name="connsiteX3" fmla="*/ 11926 w 26694"/>
                    <a:gd name="connsiteY3" fmla="*/ 26375 h 26467"/>
                    <a:gd name="connsiteX4" fmla="*/ 93 w 26694"/>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67">
                      <a:moveTo>
                        <a:pt x="93" y="11802"/>
                      </a:moveTo>
                      <a:cubicBezTo>
                        <a:pt x="965" y="4577"/>
                        <a:pt x="7567" y="-779"/>
                        <a:pt x="14791" y="93"/>
                      </a:cubicBezTo>
                      <a:cubicBezTo>
                        <a:pt x="22140" y="840"/>
                        <a:pt x="27371" y="7442"/>
                        <a:pt x="26624" y="14666"/>
                      </a:cubicBezTo>
                      <a:cubicBezTo>
                        <a:pt x="25752" y="21891"/>
                        <a:pt x="19150" y="27247"/>
                        <a:pt x="11926" y="26375"/>
                      </a:cubicBezTo>
                      <a:cubicBezTo>
                        <a:pt x="4577" y="25627"/>
                        <a:pt x="-779" y="19150"/>
                        <a:pt x="93"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1" name="Freeform 8172">
                  <a:extLst>
                    <a:ext uri="{FF2B5EF4-FFF2-40B4-BE49-F238E27FC236}">
                      <a16:creationId xmlns:a16="http://schemas.microsoft.com/office/drawing/2014/main" id="{A0B9AA4E-94A7-8A08-4789-32E12578B04F}"/>
                    </a:ext>
                  </a:extLst>
                </p:cNvPr>
                <p:cNvSpPr/>
                <p:nvPr/>
              </p:nvSpPr>
              <p:spPr>
                <a:xfrm>
                  <a:off x="4695450" y="1802922"/>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2" name="Freeform 8173">
                  <a:extLst>
                    <a:ext uri="{FF2B5EF4-FFF2-40B4-BE49-F238E27FC236}">
                      <a16:creationId xmlns:a16="http://schemas.microsoft.com/office/drawing/2014/main" id="{10B23090-1AC9-9FDA-5B08-A9A9E9C252BE}"/>
                    </a:ext>
                  </a:extLst>
                </p:cNvPr>
                <p:cNvSpPr/>
                <p:nvPr/>
              </p:nvSpPr>
              <p:spPr>
                <a:xfrm>
                  <a:off x="4703598" y="1798687"/>
                  <a:ext cx="7091" cy="51815"/>
                </a:xfrm>
                <a:custGeom>
                  <a:avLst/>
                  <a:gdLst>
                    <a:gd name="connsiteX0" fmla="*/ 945 w 7091"/>
                    <a:gd name="connsiteY0" fmla="*/ 51816 h 51815"/>
                    <a:gd name="connsiteX1" fmla="*/ 1069 w 7091"/>
                    <a:gd name="connsiteY1" fmla="*/ 33008 h 51815"/>
                    <a:gd name="connsiteX2" fmla="*/ 6425 w 7091"/>
                    <a:gd name="connsiteY2" fmla="*/ 16442 h 51815"/>
                    <a:gd name="connsiteX3" fmla="*/ 6176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945" y="51816"/>
                      </a:moveTo>
                      <a:cubicBezTo>
                        <a:pt x="-674" y="43595"/>
                        <a:pt x="73" y="37243"/>
                        <a:pt x="1069" y="33008"/>
                      </a:cubicBezTo>
                      <a:cubicBezTo>
                        <a:pt x="2564"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3" name="Freeform 8174">
                  <a:extLst>
                    <a:ext uri="{FF2B5EF4-FFF2-40B4-BE49-F238E27FC236}">
                      <a16:creationId xmlns:a16="http://schemas.microsoft.com/office/drawing/2014/main" id="{597C8F0C-4CE0-98EB-7DA6-9B9955DAC246}"/>
                    </a:ext>
                  </a:extLst>
                </p:cNvPr>
                <p:cNvSpPr/>
                <p:nvPr/>
              </p:nvSpPr>
              <p:spPr>
                <a:xfrm>
                  <a:off x="4693362" y="1783024"/>
                  <a:ext cx="26347" cy="26467"/>
                </a:xfrm>
                <a:custGeom>
                  <a:avLst/>
                  <a:gdLst>
                    <a:gd name="connsiteX0" fmla="*/ 26252 w 26347"/>
                    <a:gd name="connsiteY0" fmla="*/ 14666 h 26467"/>
                    <a:gd name="connsiteX1" fmla="*/ 11679 w 26347"/>
                    <a:gd name="connsiteY1" fmla="*/ 26375 h 26467"/>
                    <a:gd name="connsiteX2" fmla="*/ 95 w 26347"/>
                    <a:gd name="connsiteY2" fmla="*/ 11802 h 26467"/>
                    <a:gd name="connsiteX3" fmla="*/ 14668 w 26347"/>
                    <a:gd name="connsiteY3" fmla="*/ 93 h 26467"/>
                    <a:gd name="connsiteX4" fmla="*/ 26252 w 263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67">
                      <a:moveTo>
                        <a:pt x="26252" y="14666"/>
                      </a:moveTo>
                      <a:cubicBezTo>
                        <a:pt x="25380" y="21891"/>
                        <a:pt x="18903" y="27247"/>
                        <a:pt x="11679" y="26375"/>
                      </a:cubicBezTo>
                      <a:cubicBezTo>
                        <a:pt x="4455" y="25627"/>
                        <a:pt x="-777" y="19026"/>
                        <a:pt x="95" y="11802"/>
                      </a:cubicBezTo>
                      <a:cubicBezTo>
                        <a:pt x="967" y="4577"/>
                        <a:pt x="7444" y="-779"/>
                        <a:pt x="14668" y="93"/>
                      </a:cubicBezTo>
                      <a:cubicBezTo>
                        <a:pt x="21893" y="840"/>
                        <a:pt x="27124" y="7317"/>
                        <a:pt x="26252"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5" name="Graphic 2987">
                <a:extLst>
                  <a:ext uri="{FF2B5EF4-FFF2-40B4-BE49-F238E27FC236}">
                    <a16:creationId xmlns:a16="http://schemas.microsoft.com/office/drawing/2014/main" id="{4B44DCF8-DFBB-28D9-ED22-4FA59273A7F1}"/>
                  </a:ext>
                </a:extLst>
              </p:cNvPr>
              <p:cNvGrpSpPr/>
              <p:nvPr/>
            </p:nvGrpSpPr>
            <p:grpSpPr>
              <a:xfrm>
                <a:off x="4649767" y="1779786"/>
                <a:ext cx="40648" cy="148036"/>
                <a:chOff x="4649767" y="1779786"/>
                <a:chExt cx="40648" cy="148036"/>
              </a:xfrm>
              <a:grpFill/>
            </p:grpSpPr>
            <p:sp>
              <p:nvSpPr>
                <p:cNvPr id="6042" name="Freeform 8176">
                  <a:extLst>
                    <a:ext uri="{FF2B5EF4-FFF2-40B4-BE49-F238E27FC236}">
                      <a16:creationId xmlns:a16="http://schemas.microsoft.com/office/drawing/2014/main" id="{4A92A6AA-6DF4-E7FB-46F3-114940B16CF0}"/>
                    </a:ext>
                  </a:extLst>
                </p:cNvPr>
                <p:cNvSpPr/>
                <p:nvPr/>
              </p:nvSpPr>
              <p:spPr>
                <a:xfrm>
                  <a:off x="4667549" y="1856357"/>
                  <a:ext cx="6601" cy="51691"/>
                </a:xfrm>
                <a:custGeom>
                  <a:avLst/>
                  <a:gdLst>
                    <a:gd name="connsiteX0" fmla="*/ 0 w 6601"/>
                    <a:gd name="connsiteY0" fmla="*/ 51691 h 51691"/>
                    <a:gd name="connsiteX1" fmla="*/ 4110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0" y="37616"/>
                        <a:pt x="4110" y="33381"/>
                      </a:cubicBezTo>
                      <a:cubicBezTo>
                        <a:pt x="4110" y="26406"/>
                        <a:pt x="2367" y="23168"/>
                        <a:pt x="2616" y="16068"/>
                      </a:cubicBezTo>
                      <a:cubicBezTo>
                        <a:pt x="2865" y="9217"/>
                        <a:pt x="4982"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3" name="Freeform 8177">
                  <a:extLst>
                    <a:ext uri="{FF2B5EF4-FFF2-40B4-BE49-F238E27FC236}">
                      <a16:creationId xmlns:a16="http://schemas.microsoft.com/office/drawing/2014/main" id="{8BB68119-C9C9-88F4-9CAA-9764BFAB5CAE}"/>
                    </a:ext>
                  </a:extLst>
                </p:cNvPr>
                <p:cNvSpPr/>
                <p:nvPr/>
              </p:nvSpPr>
              <p:spPr>
                <a:xfrm>
                  <a:off x="4659161" y="1860343"/>
                  <a:ext cx="7000" cy="51815"/>
                </a:xfrm>
                <a:custGeom>
                  <a:avLst/>
                  <a:gdLst>
                    <a:gd name="connsiteX0" fmla="*/ 6147 w 7000"/>
                    <a:gd name="connsiteY0" fmla="*/ 0 h 51815"/>
                    <a:gd name="connsiteX1" fmla="*/ 6022 w 7000"/>
                    <a:gd name="connsiteY1" fmla="*/ 18808 h 51815"/>
                    <a:gd name="connsiteX2" fmla="*/ 666 w 7000"/>
                    <a:gd name="connsiteY2" fmla="*/ 35374 h 51815"/>
                    <a:gd name="connsiteX3" fmla="*/ 915 w 700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00" h="51815">
                      <a:moveTo>
                        <a:pt x="6147" y="0"/>
                      </a:moveTo>
                      <a:cubicBezTo>
                        <a:pt x="7642" y="8221"/>
                        <a:pt x="6894" y="14573"/>
                        <a:pt x="6022" y="18808"/>
                      </a:cubicBezTo>
                      <a:cubicBezTo>
                        <a:pt x="4403" y="25659"/>
                        <a:pt x="1912" y="28399"/>
                        <a:pt x="666" y="35374"/>
                      </a:cubicBezTo>
                      <a:cubicBezTo>
                        <a:pt x="-579" y="42225"/>
                        <a:pt x="168" y="47955"/>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4" name="Freeform 8178">
                  <a:extLst>
                    <a:ext uri="{FF2B5EF4-FFF2-40B4-BE49-F238E27FC236}">
                      <a16:creationId xmlns:a16="http://schemas.microsoft.com/office/drawing/2014/main" id="{C9A658E2-E7FD-89F3-9489-DF3ECE36AEE0}"/>
                    </a:ext>
                  </a:extLst>
                </p:cNvPr>
                <p:cNvSpPr/>
                <p:nvPr/>
              </p:nvSpPr>
              <p:spPr>
                <a:xfrm>
                  <a:off x="4649767" y="1901354"/>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840"/>
                        <a:pt x="27498" y="7442"/>
                        <a:pt x="26626" y="14666"/>
                      </a:cubicBezTo>
                      <a:cubicBezTo>
                        <a:pt x="25754" y="21891"/>
                        <a:pt x="19152" y="27247"/>
                        <a:pt x="11803" y="26375"/>
                      </a:cubicBezTo>
                      <a:cubicBezTo>
                        <a:pt x="4455" y="25503"/>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5" name="Freeform 8179">
                  <a:extLst>
                    <a:ext uri="{FF2B5EF4-FFF2-40B4-BE49-F238E27FC236}">
                      <a16:creationId xmlns:a16="http://schemas.microsoft.com/office/drawing/2014/main" id="{4EDEC4CF-E0FA-C158-350F-95A698AE56CF}"/>
                    </a:ext>
                  </a:extLst>
                </p:cNvPr>
                <p:cNvSpPr/>
                <p:nvPr/>
              </p:nvSpPr>
              <p:spPr>
                <a:xfrm>
                  <a:off x="4666054" y="1799683"/>
                  <a:ext cx="6726" cy="51691"/>
                </a:xfrm>
                <a:custGeom>
                  <a:avLst/>
                  <a:gdLst>
                    <a:gd name="connsiteX0" fmla="*/ 6726 w 6726"/>
                    <a:gd name="connsiteY0" fmla="*/ 0 h 51691"/>
                    <a:gd name="connsiteX1" fmla="*/ 2616 w 6726"/>
                    <a:gd name="connsiteY1" fmla="*/ 18310 h 51691"/>
                    <a:gd name="connsiteX2" fmla="*/ 3986 w 6726"/>
                    <a:gd name="connsiteY2" fmla="*/ 35624 h 51691"/>
                    <a:gd name="connsiteX3" fmla="*/ 0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6726" y="0"/>
                      </a:moveTo>
                      <a:cubicBezTo>
                        <a:pt x="3363" y="7723"/>
                        <a:pt x="2616" y="14075"/>
                        <a:pt x="2616" y="18310"/>
                      </a:cubicBezTo>
                      <a:cubicBezTo>
                        <a:pt x="2616" y="25285"/>
                        <a:pt x="4360"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6" name="Freeform 8180">
                  <a:extLst>
                    <a:ext uri="{FF2B5EF4-FFF2-40B4-BE49-F238E27FC236}">
                      <a16:creationId xmlns:a16="http://schemas.microsoft.com/office/drawing/2014/main" id="{48AEBFBF-03FC-E69D-68FA-C75EF9FC20B9}"/>
                    </a:ext>
                  </a:extLst>
                </p:cNvPr>
                <p:cNvSpPr/>
                <p:nvPr/>
              </p:nvSpPr>
              <p:spPr>
                <a:xfrm>
                  <a:off x="4674169" y="1795448"/>
                  <a:ext cx="7000" cy="51815"/>
                </a:xfrm>
                <a:custGeom>
                  <a:avLst/>
                  <a:gdLst>
                    <a:gd name="connsiteX0" fmla="*/ 854 w 7000"/>
                    <a:gd name="connsiteY0" fmla="*/ 51816 h 51815"/>
                    <a:gd name="connsiteX1" fmla="*/ 978 w 7000"/>
                    <a:gd name="connsiteY1" fmla="*/ 33008 h 51815"/>
                    <a:gd name="connsiteX2" fmla="*/ 6334 w 7000"/>
                    <a:gd name="connsiteY2" fmla="*/ 16442 h 51815"/>
                    <a:gd name="connsiteX3" fmla="*/ 6085 w 7000"/>
                    <a:gd name="connsiteY3" fmla="*/ 0 h 51815"/>
                  </a:gdLst>
                  <a:ahLst/>
                  <a:cxnLst>
                    <a:cxn ang="0">
                      <a:pos x="connsiteX0" y="connsiteY0"/>
                    </a:cxn>
                    <a:cxn ang="0">
                      <a:pos x="connsiteX1" y="connsiteY1"/>
                    </a:cxn>
                    <a:cxn ang="0">
                      <a:pos x="connsiteX2" y="connsiteY2"/>
                    </a:cxn>
                    <a:cxn ang="0">
                      <a:pos x="connsiteX3" y="connsiteY3"/>
                    </a:cxn>
                  </a:cxnLst>
                  <a:rect l="l" t="t" r="r" b="b"/>
                  <a:pathLst>
                    <a:path w="7000" h="51815">
                      <a:moveTo>
                        <a:pt x="854" y="51816"/>
                      </a:moveTo>
                      <a:cubicBezTo>
                        <a:pt x="-641" y="43595"/>
                        <a:pt x="106" y="37243"/>
                        <a:pt x="978" y="33008"/>
                      </a:cubicBezTo>
                      <a:cubicBezTo>
                        <a:pt x="2598" y="26157"/>
                        <a:pt x="4964" y="23417"/>
                        <a:pt x="6334" y="16442"/>
                      </a:cubicBezTo>
                      <a:cubicBezTo>
                        <a:pt x="7580" y="9591"/>
                        <a:pt x="6833" y="3861"/>
                        <a:pt x="60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7" name="Freeform 8181">
                  <a:extLst>
                    <a:ext uri="{FF2B5EF4-FFF2-40B4-BE49-F238E27FC236}">
                      <a16:creationId xmlns:a16="http://schemas.microsoft.com/office/drawing/2014/main" id="{6199A6C7-FD60-7B99-F558-7F58526F1329}"/>
                    </a:ext>
                  </a:extLst>
                </p:cNvPr>
                <p:cNvSpPr/>
                <p:nvPr/>
              </p:nvSpPr>
              <p:spPr>
                <a:xfrm>
                  <a:off x="4663967" y="1779786"/>
                  <a:ext cx="26449" cy="26467"/>
                </a:xfrm>
                <a:custGeom>
                  <a:avLst/>
                  <a:gdLst>
                    <a:gd name="connsiteX0" fmla="*/ 26376 w 26449"/>
                    <a:gd name="connsiteY0" fmla="*/ 14666 h 26467"/>
                    <a:gd name="connsiteX1" fmla="*/ 11679 w 26449"/>
                    <a:gd name="connsiteY1" fmla="*/ 26375 h 26467"/>
                    <a:gd name="connsiteX2" fmla="*/ 95 w 26449"/>
                    <a:gd name="connsiteY2" fmla="*/ 11802 h 26467"/>
                    <a:gd name="connsiteX3" fmla="*/ 14793 w 26449"/>
                    <a:gd name="connsiteY3" fmla="*/ 93 h 26467"/>
                    <a:gd name="connsiteX4" fmla="*/ 26376 w 2644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467">
                      <a:moveTo>
                        <a:pt x="26376" y="14666"/>
                      </a:moveTo>
                      <a:cubicBezTo>
                        <a:pt x="25504" y="21891"/>
                        <a:pt x="19028" y="27247"/>
                        <a:pt x="11679" y="26375"/>
                      </a:cubicBezTo>
                      <a:cubicBezTo>
                        <a:pt x="4454" y="25627"/>
                        <a:pt x="-777" y="19026"/>
                        <a:pt x="95" y="11802"/>
                      </a:cubicBezTo>
                      <a:cubicBezTo>
                        <a:pt x="967" y="4577"/>
                        <a:pt x="7444" y="-779"/>
                        <a:pt x="14793" y="93"/>
                      </a:cubicBezTo>
                      <a:cubicBezTo>
                        <a:pt x="22017" y="840"/>
                        <a:pt x="27124" y="7442"/>
                        <a:pt x="26376"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6" name="Graphic 2987">
                <a:extLst>
                  <a:ext uri="{FF2B5EF4-FFF2-40B4-BE49-F238E27FC236}">
                    <a16:creationId xmlns:a16="http://schemas.microsoft.com/office/drawing/2014/main" id="{56F69201-6818-5FD5-4D02-E9E4632FC12C}"/>
                  </a:ext>
                </a:extLst>
              </p:cNvPr>
              <p:cNvGrpSpPr/>
              <p:nvPr/>
            </p:nvGrpSpPr>
            <p:grpSpPr>
              <a:xfrm>
                <a:off x="4620122" y="1776672"/>
                <a:ext cx="40920" cy="148036"/>
                <a:chOff x="4620122" y="1776672"/>
                <a:chExt cx="40920" cy="148036"/>
              </a:xfrm>
              <a:grpFill/>
            </p:grpSpPr>
            <p:sp>
              <p:nvSpPr>
                <p:cNvPr id="6036" name="Freeform 8183">
                  <a:extLst>
                    <a:ext uri="{FF2B5EF4-FFF2-40B4-BE49-F238E27FC236}">
                      <a16:creationId xmlns:a16="http://schemas.microsoft.com/office/drawing/2014/main" id="{5BF04527-B4FA-9A31-7E67-8E238A4EE30E}"/>
                    </a:ext>
                  </a:extLst>
                </p:cNvPr>
                <p:cNvSpPr/>
                <p:nvPr/>
              </p:nvSpPr>
              <p:spPr>
                <a:xfrm>
                  <a:off x="4637905" y="1853119"/>
                  <a:ext cx="6850" cy="51691"/>
                </a:xfrm>
                <a:custGeom>
                  <a:avLst/>
                  <a:gdLst>
                    <a:gd name="connsiteX0" fmla="*/ 0 w 6850"/>
                    <a:gd name="connsiteY0" fmla="*/ 51691 h 51691"/>
                    <a:gd name="connsiteX1" fmla="*/ 4110 w 6850"/>
                    <a:gd name="connsiteY1" fmla="*/ 33381 h 51691"/>
                    <a:gd name="connsiteX2" fmla="*/ 2740 w 6850"/>
                    <a:gd name="connsiteY2" fmla="*/ 16068 h 51691"/>
                    <a:gd name="connsiteX3" fmla="*/ 6851 w 6850"/>
                    <a:gd name="connsiteY3" fmla="*/ 0 h 51691"/>
                  </a:gdLst>
                  <a:ahLst/>
                  <a:cxnLst>
                    <a:cxn ang="0">
                      <a:pos x="connsiteX0" y="connsiteY0"/>
                    </a:cxn>
                    <a:cxn ang="0">
                      <a:pos x="connsiteX1" y="connsiteY1"/>
                    </a:cxn>
                    <a:cxn ang="0">
                      <a:pos x="connsiteX2" y="connsiteY2"/>
                    </a:cxn>
                    <a:cxn ang="0">
                      <a:pos x="connsiteX3" y="connsiteY3"/>
                    </a:cxn>
                  </a:cxnLst>
                  <a:rect l="l" t="t" r="r" b="b"/>
                  <a:pathLst>
                    <a:path w="6850" h="51690">
                      <a:moveTo>
                        <a:pt x="0" y="51691"/>
                      </a:moveTo>
                      <a:cubicBezTo>
                        <a:pt x="3363" y="43969"/>
                        <a:pt x="4110" y="37616"/>
                        <a:pt x="4110" y="33381"/>
                      </a:cubicBezTo>
                      <a:cubicBezTo>
                        <a:pt x="4110" y="26406"/>
                        <a:pt x="2367" y="23168"/>
                        <a:pt x="2740" y="16068"/>
                      </a:cubicBezTo>
                      <a:cubicBezTo>
                        <a:pt x="3114" y="9217"/>
                        <a:pt x="5107" y="3612"/>
                        <a:pt x="68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7" name="Freeform 8184">
                  <a:extLst>
                    <a:ext uri="{FF2B5EF4-FFF2-40B4-BE49-F238E27FC236}">
                      <a16:creationId xmlns:a16="http://schemas.microsoft.com/office/drawing/2014/main" id="{04888D75-4245-1B10-04D9-F3A38965DD88}"/>
                    </a:ext>
                  </a:extLst>
                </p:cNvPr>
                <p:cNvSpPr/>
                <p:nvPr/>
              </p:nvSpPr>
              <p:spPr>
                <a:xfrm>
                  <a:off x="4629356" y="1857229"/>
                  <a:ext cx="7276" cy="51815"/>
                </a:xfrm>
                <a:custGeom>
                  <a:avLst/>
                  <a:gdLst>
                    <a:gd name="connsiteX0" fmla="*/ 6431 w 7276"/>
                    <a:gd name="connsiteY0" fmla="*/ 0 h 51815"/>
                    <a:gd name="connsiteX1" fmla="*/ 6182 w 7276"/>
                    <a:gd name="connsiteY1" fmla="*/ 18808 h 51815"/>
                    <a:gd name="connsiteX2" fmla="*/ 702 w 7276"/>
                    <a:gd name="connsiteY2" fmla="*/ 35374 h 51815"/>
                    <a:gd name="connsiteX3" fmla="*/ 951 w 72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276" h="51815">
                      <a:moveTo>
                        <a:pt x="6431" y="0"/>
                      </a:moveTo>
                      <a:cubicBezTo>
                        <a:pt x="7926" y="8221"/>
                        <a:pt x="7178" y="14573"/>
                        <a:pt x="6182" y="18808"/>
                      </a:cubicBezTo>
                      <a:cubicBezTo>
                        <a:pt x="4563" y="25659"/>
                        <a:pt x="2072" y="28399"/>
                        <a:pt x="702" y="35374"/>
                      </a:cubicBezTo>
                      <a:cubicBezTo>
                        <a:pt x="-544" y="42100"/>
                        <a:pt x="79" y="47955"/>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8" name="Freeform 8185">
                  <a:extLst>
                    <a:ext uri="{FF2B5EF4-FFF2-40B4-BE49-F238E27FC236}">
                      <a16:creationId xmlns:a16="http://schemas.microsoft.com/office/drawing/2014/main" id="{D9DA135C-F7DC-3B61-EC00-304BBF7AEA28}"/>
                    </a:ext>
                  </a:extLst>
                </p:cNvPr>
                <p:cNvSpPr/>
                <p:nvPr/>
              </p:nvSpPr>
              <p:spPr>
                <a:xfrm>
                  <a:off x="4620122" y="1898240"/>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965"/>
                        <a:pt x="27498" y="7442"/>
                        <a:pt x="26626" y="14666"/>
                      </a:cubicBezTo>
                      <a:cubicBezTo>
                        <a:pt x="25754" y="21891"/>
                        <a:pt x="19152" y="27247"/>
                        <a:pt x="11803" y="26375"/>
                      </a:cubicBezTo>
                      <a:cubicBezTo>
                        <a:pt x="4455"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9" name="Freeform 8186">
                  <a:extLst>
                    <a:ext uri="{FF2B5EF4-FFF2-40B4-BE49-F238E27FC236}">
                      <a16:creationId xmlns:a16="http://schemas.microsoft.com/office/drawing/2014/main" id="{63B8C0A0-6D43-EC88-7C08-840B22470D48}"/>
                    </a:ext>
                  </a:extLst>
                </p:cNvPr>
                <p:cNvSpPr/>
                <p:nvPr/>
              </p:nvSpPr>
              <p:spPr>
                <a:xfrm>
                  <a:off x="4636534" y="1796569"/>
                  <a:ext cx="6850" cy="51691"/>
                </a:xfrm>
                <a:custGeom>
                  <a:avLst/>
                  <a:gdLst>
                    <a:gd name="connsiteX0" fmla="*/ 6851 w 6850"/>
                    <a:gd name="connsiteY0" fmla="*/ 0 h 51691"/>
                    <a:gd name="connsiteX1" fmla="*/ 2740 w 6850"/>
                    <a:gd name="connsiteY1" fmla="*/ 18310 h 51691"/>
                    <a:gd name="connsiteX2" fmla="*/ 4111 w 6850"/>
                    <a:gd name="connsiteY2" fmla="*/ 35624 h 51691"/>
                    <a:gd name="connsiteX3" fmla="*/ 0 w 685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850" h="51690">
                      <a:moveTo>
                        <a:pt x="6851" y="0"/>
                      </a:moveTo>
                      <a:cubicBezTo>
                        <a:pt x="3488" y="7723"/>
                        <a:pt x="2740" y="14075"/>
                        <a:pt x="2740" y="18310"/>
                      </a:cubicBezTo>
                      <a:cubicBezTo>
                        <a:pt x="2740" y="25285"/>
                        <a:pt x="4484" y="28524"/>
                        <a:pt x="4111" y="35624"/>
                      </a:cubicBezTo>
                      <a:cubicBezTo>
                        <a:pt x="3737" y="42474"/>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0" name="Freeform 8187">
                  <a:extLst>
                    <a:ext uri="{FF2B5EF4-FFF2-40B4-BE49-F238E27FC236}">
                      <a16:creationId xmlns:a16="http://schemas.microsoft.com/office/drawing/2014/main" id="{08985496-FEB9-9BC2-CB2E-1CCE8177CBBD}"/>
                    </a:ext>
                  </a:extLst>
                </p:cNvPr>
                <p:cNvSpPr/>
                <p:nvPr/>
              </p:nvSpPr>
              <p:spPr>
                <a:xfrm>
                  <a:off x="4644782" y="1792334"/>
                  <a:ext cx="7151" cy="51815"/>
                </a:xfrm>
                <a:custGeom>
                  <a:avLst/>
                  <a:gdLst>
                    <a:gd name="connsiteX0" fmla="*/ 845 w 7151"/>
                    <a:gd name="connsiteY0" fmla="*/ 51816 h 51815"/>
                    <a:gd name="connsiteX1" fmla="*/ 1094 w 7151"/>
                    <a:gd name="connsiteY1" fmla="*/ 33008 h 51815"/>
                    <a:gd name="connsiteX2" fmla="*/ 6450 w 7151"/>
                    <a:gd name="connsiteY2" fmla="*/ 16442 h 51815"/>
                    <a:gd name="connsiteX3" fmla="*/ 6201 w 7151"/>
                    <a:gd name="connsiteY3" fmla="*/ 0 h 51815"/>
                  </a:gdLst>
                  <a:ahLst/>
                  <a:cxnLst>
                    <a:cxn ang="0">
                      <a:pos x="connsiteX0" y="connsiteY0"/>
                    </a:cxn>
                    <a:cxn ang="0">
                      <a:pos x="connsiteX1" y="connsiteY1"/>
                    </a:cxn>
                    <a:cxn ang="0">
                      <a:pos x="connsiteX2" y="connsiteY2"/>
                    </a:cxn>
                    <a:cxn ang="0">
                      <a:pos x="connsiteX3" y="connsiteY3"/>
                    </a:cxn>
                  </a:cxnLst>
                  <a:rect l="l" t="t" r="r" b="b"/>
                  <a:pathLst>
                    <a:path w="7151" h="51815">
                      <a:moveTo>
                        <a:pt x="845" y="51816"/>
                      </a:moveTo>
                      <a:cubicBezTo>
                        <a:pt x="-649" y="43595"/>
                        <a:pt x="98" y="37243"/>
                        <a:pt x="1094" y="33008"/>
                      </a:cubicBezTo>
                      <a:cubicBezTo>
                        <a:pt x="2713" y="26157"/>
                        <a:pt x="5205" y="23417"/>
                        <a:pt x="6450" y="16442"/>
                      </a:cubicBezTo>
                      <a:cubicBezTo>
                        <a:pt x="7696" y="9716"/>
                        <a:pt x="7073"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1" name="Freeform 8188">
                  <a:extLst>
                    <a:ext uri="{FF2B5EF4-FFF2-40B4-BE49-F238E27FC236}">
                      <a16:creationId xmlns:a16="http://schemas.microsoft.com/office/drawing/2014/main" id="{BB9BC404-FA13-7068-1C81-23B856AC2875}"/>
                    </a:ext>
                  </a:extLst>
                </p:cNvPr>
                <p:cNvSpPr/>
                <p:nvPr/>
              </p:nvSpPr>
              <p:spPr>
                <a:xfrm>
                  <a:off x="4634571" y="1776672"/>
                  <a:ext cx="26471" cy="26467"/>
                </a:xfrm>
                <a:custGeom>
                  <a:avLst/>
                  <a:gdLst>
                    <a:gd name="connsiteX0" fmla="*/ 26377 w 26471"/>
                    <a:gd name="connsiteY0" fmla="*/ 14666 h 26467"/>
                    <a:gd name="connsiteX1" fmla="*/ 11679 w 26471"/>
                    <a:gd name="connsiteY1" fmla="*/ 26375 h 26467"/>
                    <a:gd name="connsiteX2" fmla="*/ 95 w 26471"/>
                    <a:gd name="connsiteY2" fmla="*/ 11802 h 26467"/>
                    <a:gd name="connsiteX3" fmla="*/ 14793 w 26471"/>
                    <a:gd name="connsiteY3" fmla="*/ 93 h 26467"/>
                    <a:gd name="connsiteX4" fmla="*/ 26377 w 26471"/>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67">
                      <a:moveTo>
                        <a:pt x="26377" y="14666"/>
                      </a:moveTo>
                      <a:cubicBezTo>
                        <a:pt x="25505" y="21891"/>
                        <a:pt x="18903" y="27247"/>
                        <a:pt x="11679" y="26375"/>
                      </a:cubicBezTo>
                      <a:cubicBezTo>
                        <a:pt x="4455" y="25627"/>
                        <a:pt x="-777" y="19026"/>
                        <a:pt x="95" y="11802"/>
                      </a:cubicBezTo>
                      <a:cubicBezTo>
                        <a:pt x="967" y="4577"/>
                        <a:pt x="7569" y="-779"/>
                        <a:pt x="14793" y="93"/>
                      </a:cubicBezTo>
                      <a:cubicBezTo>
                        <a:pt x="22017" y="840"/>
                        <a:pt x="27248" y="7317"/>
                        <a:pt x="26377"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7" name="Graphic 2987">
                <a:extLst>
                  <a:ext uri="{FF2B5EF4-FFF2-40B4-BE49-F238E27FC236}">
                    <a16:creationId xmlns:a16="http://schemas.microsoft.com/office/drawing/2014/main" id="{E4D2F30F-C8C7-D248-0AEB-51F4F96765CF}"/>
                  </a:ext>
                </a:extLst>
              </p:cNvPr>
              <p:cNvGrpSpPr/>
              <p:nvPr/>
            </p:nvGrpSpPr>
            <p:grpSpPr>
              <a:xfrm>
                <a:off x="4590478" y="1773305"/>
                <a:ext cx="41294" cy="148289"/>
                <a:chOff x="4590478" y="1773305"/>
                <a:chExt cx="41294" cy="148289"/>
              </a:xfrm>
              <a:grpFill/>
            </p:grpSpPr>
            <p:sp>
              <p:nvSpPr>
                <p:cNvPr id="6030" name="Freeform 8190">
                  <a:extLst>
                    <a:ext uri="{FF2B5EF4-FFF2-40B4-BE49-F238E27FC236}">
                      <a16:creationId xmlns:a16="http://schemas.microsoft.com/office/drawing/2014/main" id="{891610A4-0DA6-4E65-C5C9-85FA162B9DAB}"/>
                    </a:ext>
                  </a:extLst>
                </p:cNvPr>
                <p:cNvSpPr/>
                <p:nvPr/>
              </p:nvSpPr>
              <p:spPr>
                <a:xfrm>
                  <a:off x="4608260" y="1850005"/>
                  <a:ext cx="6975" cy="51566"/>
                </a:xfrm>
                <a:custGeom>
                  <a:avLst/>
                  <a:gdLst>
                    <a:gd name="connsiteX0" fmla="*/ 0 w 6975"/>
                    <a:gd name="connsiteY0" fmla="*/ 51567 h 51566"/>
                    <a:gd name="connsiteX1" fmla="*/ 4235 w 6975"/>
                    <a:gd name="connsiteY1" fmla="*/ 33257 h 51566"/>
                    <a:gd name="connsiteX2" fmla="*/ 2865 w 6975"/>
                    <a:gd name="connsiteY2" fmla="*/ 15943 h 51566"/>
                    <a:gd name="connsiteX3" fmla="*/ 6975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0" y="51567"/>
                      </a:moveTo>
                      <a:cubicBezTo>
                        <a:pt x="3488" y="43844"/>
                        <a:pt x="4235" y="37616"/>
                        <a:pt x="4235" y="33257"/>
                      </a:cubicBezTo>
                      <a:cubicBezTo>
                        <a:pt x="4235" y="26282"/>
                        <a:pt x="2491" y="23043"/>
                        <a:pt x="2865" y="15943"/>
                      </a:cubicBezTo>
                      <a:cubicBezTo>
                        <a:pt x="3239" y="9093"/>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1" name="Freeform 8191">
                  <a:extLst>
                    <a:ext uri="{FF2B5EF4-FFF2-40B4-BE49-F238E27FC236}">
                      <a16:creationId xmlns:a16="http://schemas.microsoft.com/office/drawing/2014/main" id="{F9D31862-00C0-88B9-CE15-6D2BE00961BC}"/>
                    </a:ext>
                  </a:extLst>
                </p:cNvPr>
                <p:cNvSpPr/>
                <p:nvPr/>
              </p:nvSpPr>
              <p:spPr>
                <a:xfrm>
                  <a:off x="4599774" y="1853866"/>
                  <a:ext cx="7338" cy="51940"/>
                </a:xfrm>
                <a:custGeom>
                  <a:avLst/>
                  <a:gdLst>
                    <a:gd name="connsiteX0" fmla="*/ 6493 w 7338"/>
                    <a:gd name="connsiteY0" fmla="*/ 0 h 51940"/>
                    <a:gd name="connsiteX1" fmla="*/ 6244 w 7338"/>
                    <a:gd name="connsiteY1" fmla="*/ 18808 h 51940"/>
                    <a:gd name="connsiteX2" fmla="*/ 764 w 7338"/>
                    <a:gd name="connsiteY2" fmla="*/ 35374 h 51940"/>
                    <a:gd name="connsiteX3" fmla="*/ 888 w 733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338" h="51940">
                      <a:moveTo>
                        <a:pt x="6493" y="0"/>
                      </a:moveTo>
                      <a:cubicBezTo>
                        <a:pt x="7988" y="8345"/>
                        <a:pt x="7240" y="14573"/>
                        <a:pt x="6244" y="18808"/>
                      </a:cubicBezTo>
                      <a:cubicBezTo>
                        <a:pt x="4625" y="25659"/>
                        <a:pt x="2134" y="28399"/>
                        <a:pt x="764" y="35374"/>
                      </a:cubicBezTo>
                      <a:cubicBezTo>
                        <a:pt x="-607" y="42100"/>
                        <a:pt x="141" y="48079"/>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2" name="Freeform 8192">
                  <a:extLst>
                    <a:ext uri="{FF2B5EF4-FFF2-40B4-BE49-F238E27FC236}">
                      <a16:creationId xmlns:a16="http://schemas.microsoft.com/office/drawing/2014/main" id="{61A322D8-9184-61FA-1740-4114559B6596}"/>
                    </a:ext>
                  </a:extLst>
                </p:cNvPr>
                <p:cNvSpPr/>
                <p:nvPr/>
              </p:nvSpPr>
              <p:spPr>
                <a:xfrm>
                  <a:off x="4590478" y="1894970"/>
                  <a:ext cx="26720" cy="26623"/>
                </a:xfrm>
                <a:custGeom>
                  <a:avLst/>
                  <a:gdLst>
                    <a:gd name="connsiteX0" fmla="*/ 95 w 26720"/>
                    <a:gd name="connsiteY0" fmla="*/ 11459 h 26623"/>
                    <a:gd name="connsiteX1" fmla="*/ 14917 w 26720"/>
                    <a:gd name="connsiteY1" fmla="*/ 124 h 26623"/>
                    <a:gd name="connsiteX2" fmla="*/ 26626 w 26720"/>
                    <a:gd name="connsiteY2" fmla="*/ 14822 h 26623"/>
                    <a:gd name="connsiteX3" fmla="*/ 11803 w 26720"/>
                    <a:gd name="connsiteY3" fmla="*/ 26531 h 26623"/>
                    <a:gd name="connsiteX4" fmla="*/ 95 w 26720"/>
                    <a:gd name="connsiteY4" fmla="*/ 11459 h 2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623">
                      <a:moveTo>
                        <a:pt x="95" y="11459"/>
                      </a:moveTo>
                      <a:cubicBezTo>
                        <a:pt x="967" y="4235"/>
                        <a:pt x="7568" y="-872"/>
                        <a:pt x="14917" y="124"/>
                      </a:cubicBezTo>
                      <a:cubicBezTo>
                        <a:pt x="22266" y="996"/>
                        <a:pt x="27498" y="7473"/>
                        <a:pt x="26626" y="14822"/>
                      </a:cubicBezTo>
                      <a:cubicBezTo>
                        <a:pt x="25754" y="22046"/>
                        <a:pt x="19152" y="27402"/>
                        <a:pt x="11803" y="26531"/>
                      </a:cubicBezTo>
                      <a:cubicBezTo>
                        <a:pt x="4454" y="25410"/>
                        <a:pt x="-777" y="18683"/>
                        <a:pt x="95"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3" name="Freeform 8193">
                  <a:extLst>
                    <a:ext uri="{FF2B5EF4-FFF2-40B4-BE49-F238E27FC236}">
                      <a16:creationId xmlns:a16="http://schemas.microsoft.com/office/drawing/2014/main" id="{30B8ADF3-1E5B-4336-19BA-DCB0785C61DE}"/>
                    </a:ext>
                  </a:extLst>
                </p:cNvPr>
                <p:cNvSpPr/>
                <p:nvPr/>
              </p:nvSpPr>
              <p:spPr>
                <a:xfrm>
                  <a:off x="4607139" y="1793206"/>
                  <a:ext cx="6975" cy="51691"/>
                </a:xfrm>
                <a:custGeom>
                  <a:avLst/>
                  <a:gdLst>
                    <a:gd name="connsiteX0" fmla="*/ 6975 w 6975"/>
                    <a:gd name="connsiteY0" fmla="*/ 0 h 51691"/>
                    <a:gd name="connsiteX1" fmla="*/ 2740 w 6975"/>
                    <a:gd name="connsiteY1" fmla="*/ 18310 h 51691"/>
                    <a:gd name="connsiteX2" fmla="*/ 4110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612" y="7598"/>
                        <a:pt x="2865" y="13950"/>
                        <a:pt x="2740" y="18310"/>
                      </a:cubicBezTo>
                      <a:cubicBezTo>
                        <a:pt x="2616" y="25285"/>
                        <a:pt x="4360" y="28648"/>
                        <a:pt x="4110" y="35748"/>
                      </a:cubicBezTo>
                      <a:cubicBezTo>
                        <a:pt x="3737"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4" name="Freeform 8194">
                  <a:extLst>
                    <a:ext uri="{FF2B5EF4-FFF2-40B4-BE49-F238E27FC236}">
                      <a16:creationId xmlns:a16="http://schemas.microsoft.com/office/drawing/2014/main" id="{7C31CC08-A5F7-7CA4-EB74-ECD63A2F9AAB}"/>
                    </a:ext>
                  </a:extLst>
                </p:cNvPr>
                <p:cNvSpPr/>
                <p:nvPr/>
              </p:nvSpPr>
              <p:spPr>
                <a:xfrm>
                  <a:off x="4615262" y="1789096"/>
                  <a:ext cx="7338" cy="51815"/>
                </a:xfrm>
                <a:custGeom>
                  <a:avLst/>
                  <a:gdLst>
                    <a:gd name="connsiteX0" fmla="*/ 845 w 7338"/>
                    <a:gd name="connsiteY0" fmla="*/ 51816 h 51815"/>
                    <a:gd name="connsiteX1" fmla="*/ 1094 w 7338"/>
                    <a:gd name="connsiteY1" fmla="*/ 33008 h 51815"/>
                    <a:gd name="connsiteX2" fmla="*/ 6575 w 7338"/>
                    <a:gd name="connsiteY2" fmla="*/ 16442 h 51815"/>
                    <a:gd name="connsiteX3" fmla="*/ 6450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845" y="51816"/>
                      </a:moveTo>
                      <a:cubicBezTo>
                        <a:pt x="-649" y="43595"/>
                        <a:pt x="98" y="37243"/>
                        <a:pt x="1094" y="33008"/>
                      </a:cubicBezTo>
                      <a:cubicBezTo>
                        <a:pt x="2713" y="26157"/>
                        <a:pt x="5205" y="23417"/>
                        <a:pt x="6575" y="16442"/>
                      </a:cubicBezTo>
                      <a:cubicBezTo>
                        <a:pt x="7945" y="9715"/>
                        <a:pt x="7197" y="3861"/>
                        <a:pt x="64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5" name="Freeform 8195">
                  <a:extLst>
                    <a:ext uri="{FF2B5EF4-FFF2-40B4-BE49-F238E27FC236}">
                      <a16:creationId xmlns:a16="http://schemas.microsoft.com/office/drawing/2014/main" id="{12AC5C78-7ADC-E7B8-4075-FC26FF2D7679}"/>
                    </a:ext>
                  </a:extLst>
                </p:cNvPr>
                <p:cNvSpPr/>
                <p:nvPr/>
              </p:nvSpPr>
              <p:spPr>
                <a:xfrm>
                  <a:off x="4605423" y="1773305"/>
                  <a:ext cx="26349" cy="26596"/>
                </a:xfrm>
                <a:custGeom>
                  <a:avLst/>
                  <a:gdLst>
                    <a:gd name="connsiteX0" fmla="*/ 26254 w 26349"/>
                    <a:gd name="connsiteY0" fmla="*/ 14795 h 26596"/>
                    <a:gd name="connsiteX1" fmla="*/ 11556 w 26349"/>
                    <a:gd name="connsiteY1" fmla="*/ 26503 h 26596"/>
                    <a:gd name="connsiteX2" fmla="*/ 97 w 26349"/>
                    <a:gd name="connsiteY2" fmla="*/ 11556 h 26596"/>
                    <a:gd name="connsiteX3" fmla="*/ 14795 w 26349"/>
                    <a:gd name="connsiteY3" fmla="*/ 97 h 26596"/>
                    <a:gd name="connsiteX4" fmla="*/ 26254 w 26349"/>
                    <a:gd name="connsiteY4" fmla="*/ 14795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9" h="26595">
                      <a:moveTo>
                        <a:pt x="26254" y="14795"/>
                      </a:moveTo>
                      <a:cubicBezTo>
                        <a:pt x="25382" y="22019"/>
                        <a:pt x="18781" y="27375"/>
                        <a:pt x="11556" y="26503"/>
                      </a:cubicBezTo>
                      <a:cubicBezTo>
                        <a:pt x="4332" y="25507"/>
                        <a:pt x="-775" y="18905"/>
                        <a:pt x="97" y="11556"/>
                      </a:cubicBezTo>
                      <a:cubicBezTo>
                        <a:pt x="969" y="4332"/>
                        <a:pt x="7570" y="-775"/>
                        <a:pt x="14795" y="97"/>
                      </a:cubicBezTo>
                      <a:cubicBezTo>
                        <a:pt x="21895" y="1093"/>
                        <a:pt x="27126" y="7570"/>
                        <a:pt x="26254" y="147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8" name="Graphic 2987">
                <a:extLst>
                  <a:ext uri="{FF2B5EF4-FFF2-40B4-BE49-F238E27FC236}">
                    <a16:creationId xmlns:a16="http://schemas.microsoft.com/office/drawing/2014/main" id="{166693B0-BFFE-87B5-5087-C126285BD8EC}"/>
                  </a:ext>
                </a:extLst>
              </p:cNvPr>
              <p:cNvGrpSpPr/>
              <p:nvPr/>
            </p:nvGrpSpPr>
            <p:grpSpPr>
              <a:xfrm>
                <a:off x="4560956" y="1769441"/>
                <a:ext cx="41547" cy="148075"/>
                <a:chOff x="4560956" y="1769441"/>
                <a:chExt cx="41547" cy="148075"/>
              </a:xfrm>
              <a:grpFill/>
            </p:grpSpPr>
            <p:sp>
              <p:nvSpPr>
                <p:cNvPr id="6024" name="Freeform 8197">
                  <a:extLst>
                    <a:ext uri="{FF2B5EF4-FFF2-40B4-BE49-F238E27FC236}">
                      <a16:creationId xmlns:a16="http://schemas.microsoft.com/office/drawing/2014/main" id="{F69395EB-A562-E177-0A01-B6C5FDDA9251}"/>
                    </a:ext>
                  </a:extLst>
                </p:cNvPr>
                <p:cNvSpPr/>
                <p:nvPr/>
              </p:nvSpPr>
              <p:spPr>
                <a:xfrm>
                  <a:off x="4578740" y="18460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8" y="44093"/>
                        <a:pt x="4235" y="37741"/>
                        <a:pt x="4235" y="33381"/>
                      </a:cubicBezTo>
                      <a:cubicBezTo>
                        <a:pt x="4360"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5" name="Freeform 8198">
                  <a:extLst>
                    <a:ext uri="{FF2B5EF4-FFF2-40B4-BE49-F238E27FC236}">
                      <a16:creationId xmlns:a16="http://schemas.microsoft.com/office/drawing/2014/main" id="{C9AAA9B7-484D-0435-744D-AA5C3D0ADCE3}"/>
                    </a:ext>
                  </a:extLst>
                </p:cNvPr>
                <p:cNvSpPr/>
                <p:nvPr/>
              </p:nvSpPr>
              <p:spPr>
                <a:xfrm>
                  <a:off x="4570254" y="1849880"/>
                  <a:ext cx="7419" cy="51815"/>
                </a:xfrm>
                <a:custGeom>
                  <a:avLst/>
                  <a:gdLst>
                    <a:gd name="connsiteX0" fmla="*/ 6618 w 7419"/>
                    <a:gd name="connsiteY0" fmla="*/ 0 h 51815"/>
                    <a:gd name="connsiteX1" fmla="*/ 6244 w 7419"/>
                    <a:gd name="connsiteY1" fmla="*/ 18808 h 51815"/>
                    <a:gd name="connsiteX2" fmla="*/ 764 w 7419"/>
                    <a:gd name="connsiteY2" fmla="*/ 35250 h 51815"/>
                    <a:gd name="connsiteX3" fmla="*/ 888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0"/>
                      </a:moveTo>
                      <a:cubicBezTo>
                        <a:pt x="8112" y="8345"/>
                        <a:pt x="7240" y="14573"/>
                        <a:pt x="6244" y="18808"/>
                      </a:cubicBezTo>
                      <a:cubicBezTo>
                        <a:pt x="4625" y="25659"/>
                        <a:pt x="2134" y="28399"/>
                        <a:pt x="764" y="35250"/>
                      </a:cubicBezTo>
                      <a:cubicBezTo>
                        <a:pt x="-607" y="41976"/>
                        <a:pt x="141" y="47955"/>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6" name="Freeform 8199">
                  <a:extLst>
                    <a:ext uri="{FF2B5EF4-FFF2-40B4-BE49-F238E27FC236}">
                      <a16:creationId xmlns:a16="http://schemas.microsoft.com/office/drawing/2014/main" id="{14D01426-1BAC-252E-58A1-F3C7D30B9A80}"/>
                    </a:ext>
                  </a:extLst>
                </p:cNvPr>
                <p:cNvSpPr/>
                <p:nvPr/>
              </p:nvSpPr>
              <p:spPr>
                <a:xfrm>
                  <a:off x="4560956" y="1890984"/>
                  <a:ext cx="26599" cy="26532"/>
                </a:xfrm>
                <a:custGeom>
                  <a:avLst/>
                  <a:gdLst>
                    <a:gd name="connsiteX0" fmla="*/ 97 w 26599"/>
                    <a:gd name="connsiteY0" fmla="*/ 11459 h 26532"/>
                    <a:gd name="connsiteX1" fmla="*/ 14919 w 26599"/>
                    <a:gd name="connsiteY1" fmla="*/ 124 h 26532"/>
                    <a:gd name="connsiteX2" fmla="*/ 26503 w 26599"/>
                    <a:gd name="connsiteY2" fmla="*/ 15071 h 26532"/>
                    <a:gd name="connsiteX3" fmla="*/ 11681 w 26599"/>
                    <a:gd name="connsiteY3" fmla="*/ 26406 h 26532"/>
                    <a:gd name="connsiteX4" fmla="*/ 97 w 2659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1">
                      <a:moveTo>
                        <a:pt x="97" y="11459"/>
                      </a:moveTo>
                      <a:cubicBezTo>
                        <a:pt x="969" y="4235"/>
                        <a:pt x="7695" y="-872"/>
                        <a:pt x="14919" y="124"/>
                      </a:cubicBezTo>
                      <a:cubicBezTo>
                        <a:pt x="22268" y="1121"/>
                        <a:pt x="27375" y="7722"/>
                        <a:pt x="26503" y="15071"/>
                      </a:cubicBezTo>
                      <a:cubicBezTo>
                        <a:pt x="25631" y="22420"/>
                        <a:pt x="18905" y="27402"/>
                        <a:pt x="11681" y="26406"/>
                      </a:cubicBezTo>
                      <a:cubicBezTo>
                        <a:pt x="4332" y="25410"/>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7" name="Freeform 8200">
                  <a:extLst>
                    <a:ext uri="{FF2B5EF4-FFF2-40B4-BE49-F238E27FC236}">
                      <a16:creationId xmlns:a16="http://schemas.microsoft.com/office/drawing/2014/main" id="{1A3F0F2A-E8CB-7C71-DE92-3B05943069A2}"/>
                    </a:ext>
                  </a:extLst>
                </p:cNvPr>
                <p:cNvSpPr/>
                <p:nvPr/>
              </p:nvSpPr>
              <p:spPr>
                <a:xfrm>
                  <a:off x="4577743" y="1789345"/>
                  <a:ext cx="7099" cy="51691"/>
                </a:xfrm>
                <a:custGeom>
                  <a:avLst/>
                  <a:gdLst>
                    <a:gd name="connsiteX0" fmla="*/ 7100 w 7099"/>
                    <a:gd name="connsiteY0" fmla="*/ 0 h 51691"/>
                    <a:gd name="connsiteX1" fmla="*/ 2865 w 7099"/>
                    <a:gd name="connsiteY1" fmla="*/ 18310 h 51691"/>
                    <a:gd name="connsiteX2" fmla="*/ 4111 w 7099"/>
                    <a:gd name="connsiteY2" fmla="*/ 35748 h 51691"/>
                    <a:gd name="connsiteX3" fmla="*/ 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0"/>
                      </a:moveTo>
                      <a:cubicBezTo>
                        <a:pt x="3612" y="7598"/>
                        <a:pt x="2865" y="13950"/>
                        <a:pt x="2865" y="18310"/>
                      </a:cubicBezTo>
                      <a:cubicBezTo>
                        <a:pt x="2740" y="25285"/>
                        <a:pt x="4484"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8" name="Freeform 8201">
                  <a:extLst>
                    <a:ext uri="{FF2B5EF4-FFF2-40B4-BE49-F238E27FC236}">
                      <a16:creationId xmlns:a16="http://schemas.microsoft.com/office/drawing/2014/main" id="{C4A3307A-A4D4-0DAE-733C-3898B3C78DE3}"/>
                    </a:ext>
                  </a:extLst>
                </p:cNvPr>
                <p:cNvSpPr/>
                <p:nvPr/>
              </p:nvSpPr>
              <p:spPr>
                <a:xfrm>
                  <a:off x="4585909" y="1785235"/>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861"/>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9" name="Freeform 8202">
                  <a:extLst>
                    <a:ext uri="{FF2B5EF4-FFF2-40B4-BE49-F238E27FC236}">
                      <a16:creationId xmlns:a16="http://schemas.microsoft.com/office/drawing/2014/main" id="{7B991E5A-F218-A996-8739-3757484AF9E8}"/>
                    </a:ext>
                  </a:extLst>
                </p:cNvPr>
                <p:cNvSpPr/>
                <p:nvPr/>
              </p:nvSpPr>
              <p:spPr>
                <a:xfrm>
                  <a:off x="4576152" y="1769441"/>
                  <a:ext cx="26351" cy="26602"/>
                </a:xfrm>
                <a:custGeom>
                  <a:avLst/>
                  <a:gdLst>
                    <a:gd name="connsiteX0" fmla="*/ 26254 w 26351"/>
                    <a:gd name="connsiteY0" fmla="*/ 15046 h 26602"/>
                    <a:gd name="connsiteX1" fmla="*/ 11556 w 26351"/>
                    <a:gd name="connsiteY1" fmla="*/ 26505 h 26602"/>
                    <a:gd name="connsiteX2" fmla="*/ 97 w 26351"/>
                    <a:gd name="connsiteY2" fmla="*/ 11558 h 26602"/>
                    <a:gd name="connsiteX3" fmla="*/ 14795 w 26351"/>
                    <a:gd name="connsiteY3" fmla="*/ 99 h 26602"/>
                    <a:gd name="connsiteX4" fmla="*/ 26254 w 26351"/>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821"/>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9" name="Graphic 2987">
                <a:extLst>
                  <a:ext uri="{FF2B5EF4-FFF2-40B4-BE49-F238E27FC236}">
                    <a16:creationId xmlns:a16="http://schemas.microsoft.com/office/drawing/2014/main" id="{85A8E8FC-2699-7DA3-715E-54CB899A621A}"/>
                  </a:ext>
                </a:extLst>
              </p:cNvPr>
              <p:cNvGrpSpPr/>
              <p:nvPr/>
            </p:nvGrpSpPr>
            <p:grpSpPr>
              <a:xfrm>
                <a:off x="4531411" y="1765580"/>
                <a:ext cx="41820" cy="148075"/>
                <a:chOff x="4531411" y="1765580"/>
                <a:chExt cx="41820" cy="148075"/>
              </a:xfrm>
              <a:grpFill/>
            </p:grpSpPr>
            <p:sp>
              <p:nvSpPr>
                <p:cNvPr id="6018" name="Freeform 8204">
                  <a:extLst>
                    <a:ext uri="{FF2B5EF4-FFF2-40B4-BE49-F238E27FC236}">
                      <a16:creationId xmlns:a16="http://schemas.microsoft.com/office/drawing/2014/main" id="{1B688949-B165-5B7E-798E-02DA10C0B8A2}"/>
                    </a:ext>
                  </a:extLst>
                </p:cNvPr>
                <p:cNvSpPr/>
                <p:nvPr/>
              </p:nvSpPr>
              <p:spPr>
                <a:xfrm>
                  <a:off x="4549220" y="1842033"/>
                  <a:ext cx="7348" cy="51691"/>
                </a:xfrm>
                <a:custGeom>
                  <a:avLst/>
                  <a:gdLst>
                    <a:gd name="connsiteX0" fmla="*/ 0 w 7348"/>
                    <a:gd name="connsiteY0" fmla="*/ 51691 h 51691"/>
                    <a:gd name="connsiteX1" fmla="*/ 4359 w 7348"/>
                    <a:gd name="connsiteY1" fmla="*/ 33381 h 51691"/>
                    <a:gd name="connsiteX2" fmla="*/ 3114 w 7348"/>
                    <a:gd name="connsiteY2" fmla="*/ 15943 h 51691"/>
                    <a:gd name="connsiteX3" fmla="*/ 7349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0" y="51691"/>
                      </a:moveTo>
                      <a:cubicBezTo>
                        <a:pt x="3488" y="44093"/>
                        <a:pt x="4235" y="37741"/>
                        <a:pt x="4359"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9" name="Freeform 8205">
                  <a:extLst>
                    <a:ext uri="{FF2B5EF4-FFF2-40B4-BE49-F238E27FC236}">
                      <a16:creationId xmlns:a16="http://schemas.microsoft.com/office/drawing/2014/main" id="{C003D0FF-E804-542B-BBFF-2A6B684654FC}"/>
                    </a:ext>
                  </a:extLst>
                </p:cNvPr>
                <p:cNvSpPr/>
                <p:nvPr/>
              </p:nvSpPr>
              <p:spPr>
                <a:xfrm>
                  <a:off x="4540733" y="1846019"/>
                  <a:ext cx="7544" cy="51815"/>
                </a:xfrm>
                <a:custGeom>
                  <a:avLst/>
                  <a:gdLst>
                    <a:gd name="connsiteX0" fmla="*/ 6742 w 7544"/>
                    <a:gd name="connsiteY0" fmla="*/ 0 h 51815"/>
                    <a:gd name="connsiteX1" fmla="*/ 6369 w 7544"/>
                    <a:gd name="connsiteY1" fmla="*/ 18808 h 51815"/>
                    <a:gd name="connsiteX2" fmla="*/ 763 w 7544"/>
                    <a:gd name="connsiteY2" fmla="*/ 35250 h 51815"/>
                    <a:gd name="connsiteX3" fmla="*/ 888 w 754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544" h="51815">
                      <a:moveTo>
                        <a:pt x="6742" y="0"/>
                      </a:moveTo>
                      <a:cubicBezTo>
                        <a:pt x="8237" y="8345"/>
                        <a:pt x="7365" y="14573"/>
                        <a:pt x="6369" y="18808"/>
                      </a:cubicBezTo>
                      <a:cubicBezTo>
                        <a:pt x="4749" y="25659"/>
                        <a:pt x="2258" y="28399"/>
                        <a:pt x="763" y="35250"/>
                      </a:cubicBezTo>
                      <a:cubicBezTo>
                        <a:pt x="-607" y="41976"/>
                        <a:pt x="141" y="47830"/>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0" name="Freeform 8206">
                  <a:extLst>
                    <a:ext uri="{FF2B5EF4-FFF2-40B4-BE49-F238E27FC236}">
                      <a16:creationId xmlns:a16="http://schemas.microsoft.com/office/drawing/2014/main" id="{76D572C4-79D9-BDF6-26EC-87829663120D}"/>
                    </a:ext>
                  </a:extLst>
                </p:cNvPr>
                <p:cNvSpPr/>
                <p:nvPr/>
              </p:nvSpPr>
              <p:spPr>
                <a:xfrm>
                  <a:off x="4531411" y="1887123"/>
                  <a:ext cx="26749" cy="26532"/>
                </a:xfrm>
                <a:custGeom>
                  <a:avLst/>
                  <a:gdLst>
                    <a:gd name="connsiteX0" fmla="*/ 122 w 26749"/>
                    <a:gd name="connsiteY0" fmla="*/ 11459 h 26532"/>
                    <a:gd name="connsiteX1" fmla="*/ 15069 w 26749"/>
                    <a:gd name="connsiteY1" fmla="*/ 124 h 26532"/>
                    <a:gd name="connsiteX2" fmla="*/ 26653 w 26749"/>
                    <a:gd name="connsiteY2" fmla="*/ 15071 h 26532"/>
                    <a:gd name="connsiteX3" fmla="*/ 11706 w 26749"/>
                    <a:gd name="connsiteY3" fmla="*/ 26406 h 26532"/>
                    <a:gd name="connsiteX4" fmla="*/ 122 w 2674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1">
                      <a:moveTo>
                        <a:pt x="122" y="11459"/>
                      </a:moveTo>
                      <a:cubicBezTo>
                        <a:pt x="994" y="4235"/>
                        <a:pt x="7720" y="-872"/>
                        <a:pt x="15069" y="124"/>
                      </a:cubicBezTo>
                      <a:cubicBezTo>
                        <a:pt x="22418" y="1121"/>
                        <a:pt x="27525" y="7722"/>
                        <a:pt x="26653" y="15071"/>
                      </a:cubicBezTo>
                      <a:cubicBezTo>
                        <a:pt x="25781" y="22420"/>
                        <a:pt x="19054" y="27402"/>
                        <a:pt x="11706" y="26406"/>
                      </a:cubicBezTo>
                      <a:cubicBezTo>
                        <a:pt x="4357" y="25285"/>
                        <a:pt x="-875"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1" name="Freeform 8207">
                  <a:extLst>
                    <a:ext uri="{FF2B5EF4-FFF2-40B4-BE49-F238E27FC236}">
                      <a16:creationId xmlns:a16="http://schemas.microsoft.com/office/drawing/2014/main" id="{0BCAC32F-F98D-C83A-059A-77077F78933D}"/>
                    </a:ext>
                  </a:extLst>
                </p:cNvPr>
                <p:cNvSpPr/>
                <p:nvPr/>
              </p:nvSpPr>
              <p:spPr>
                <a:xfrm>
                  <a:off x="4548223" y="1785359"/>
                  <a:ext cx="7348" cy="51691"/>
                </a:xfrm>
                <a:custGeom>
                  <a:avLst/>
                  <a:gdLst>
                    <a:gd name="connsiteX0" fmla="*/ 7349 w 7348"/>
                    <a:gd name="connsiteY0" fmla="*/ 0 h 51691"/>
                    <a:gd name="connsiteX1" fmla="*/ 2990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2" name="Freeform 8208">
                  <a:extLst>
                    <a:ext uri="{FF2B5EF4-FFF2-40B4-BE49-F238E27FC236}">
                      <a16:creationId xmlns:a16="http://schemas.microsoft.com/office/drawing/2014/main" id="{4BAF5C32-076B-8696-0B8C-FE98D8A2F485}"/>
                    </a:ext>
                  </a:extLst>
                </p:cNvPr>
                <p:cNvSpPr/>
                <p:nvPr/>
              </p:nvSpPr>
              <p:spPr>
                <a:xfrm>
                  <a:off x="4556514" y="1781373"/>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986"/>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3" name="Freeform 8209">
                  <a:extLst>
                    <a:ext uri="{FF2B5EF4-FFF2-40B4-BE49-F238E27FC236}">
                      <a16:creationId xmlns:a16="http://schemas.microsoft.com/office/drawing/2014/main" id="{FA87C62B-C79C-A076-D0F1-F85F4240DCA4}"/>
                    </a:ext>
                  </a:extLst>
                </p:cNvPr>
                <p:cNvSpPr/>
                <p:nvPr/>
              </p:nvSpPr>
              <p:spPr>
                <a:xfrm>
                  <a:off x="4546880" y="1765580"/>
                  <a:ext cx="26350" cy="26602"/>
                </a:xfrm>
                <a:custGeom>
                  <a:avLst/>
                  <a:gdLst>
                    <a:gd name="connsiteX0" fmla="*/ 26254 w 26350"/>
                    <a:gd name="connsiteY0" fmla="*/ 15046 h 26602"/>
                    <a:gd name="connsiteX1" fmla="*/ 11556 w 26350"/>
                    <a:gd name="connsiteY1" fmla="*/ 26505 h 26602"/>
                    <a:gd name="connsiteX2" fmla="*/ 97 w 26350"/>
                    <a:gd name="connsiteY2" fmla="*/ 11558 h 26602"/>
                    <a:gd name="connsiteX3" fmla="*/ 14795 w 26350"/>
                    <a:gd name="connsiteY3" fmla="*/ 99 h 26602"/>
                    <a:gd name="connsiteX4" fmla="*/ 26254 w 26350"/>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697"/>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0" name="Graphic 2987">
                <a:extLst>
                  <a:ext uri="{FF2B5EF4-FFF2-40B4-BE49-F238E27FC236}">
                    <a16:creationId xmlns:a16="http://schemas.microsoft.com/office/drawing/2014/main" id="{2D434850-197E-7B15-44D2-EFBE7271F41D}"/>
                  </a:ext>
                </a:extLst>
              </p:cNvPr>
              <p:cNvGrpSpPr/>
              <p:nvPr/>
            </p:nvGrpSpPr>
            <p:grpSpPr>
              <a:xfrm>
                <a:off x="4501791" y="1761596"/>
                <a:ext cx="42197" cy="148071"/>
                <a:chOff x="4501791" y="1761596"/>
                <a:chExt cx="42197" cy="148071"/>
              </a:xfrm>
              <a:grpFill/>
            </p:grpSpPr>
            <p:sp>
              <p:nvSpPr>
                <p:cNvPr id="6012" name="Freeform 8211">
                  <a:extLst>
                    <a:ext uri="{FF2B5EF4-FFF2-40B4-BE49-F238E27FC236}">
                      <a16:creationId xmlns:a16="http://schemas.microsoft.com/office/drawing/2014/main" id="{A0B41A8A-6451-4005-4EB2-112432AD8932}"/>
                    </a:ext>
                  </a:extLst>
                </p:cNvPr>
                <p:cNvSpPr/>
                <p:nvPr/>
              </p:nvSpPr>
              <p:spPr>
                <a:xfrm>
                  <a:off x="4519699" y="1838172"/>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4093"/>
                        <a:pt x="4235" y="37741"/>
                        <a:pt x="4360"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3" name="Freeform 8212">
                  <a:extLst>
                    <a:ext uri="{FF2B5EF4-FFF2-40B4-BE49-F238E27FC236}">
                      <a16:creationId xmlns:a16="http://schemas.microsoft.com/office/drawing/2014/main" id="{62B02294-3919-FB33-EDDB-6294784BC433}"/>
                    </a:ext>
                  </a:extLst>
                </p:cNvPr>
                <p:cNvSpPr/>
                <p:nvPr/>
              </p:nvSpPr>
              <p:spPr>
                <a:xfrm>
                  <a:off x="4511166" y="1842033"/>
                  <a:ext cx="7654" cy="51815"/>
                </a:xfrm>
                <a:custGeom>
                  <a:avLst/>
                  <a:gdLst>
                    <a:gd name="connsiteX0" fmla="*/ 6914 w 7654"/>
                    <a:gd name="connsiteY0" fmla="*/ 0 h 51815"/>
                    <a:gd name="connsiteX1" fmla="*/ 6416 w 7654"/>
                    <a:gd name="connsiteY1" fmla="*/ 18808 h 51815"/>
                    <a:gd name="connsiteX2" fmla="*/ 810 w 7654"/>
                    <a:gd name="connsiteY2" fmla="*/ 35250 h 51815"/>
                    <a:gd name="connsiteX3" fmla="*/ 810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6914" y="0"/>
                      </a:moveTo>
                      <a:cubicBezTo>
                        <a:pt x="8284" y="8345"/>
                        <a:pt x="7537" y="14573"/>
                        <a:pt x="6416" y="18808"/>
                      </a:cubicBezTo>
                      <a:cubicBezTo>
                        <a:pt x="4796" y="25659"/>
                        <a:pt x="2181" y="28399"/>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4" name="Freeform 8213">
                  <a:extLst>
                    <a:ext uri="{FF2B5EF4-FFF2-40B4-BE49-F238E27FC236}">
                      <a16:creationId xmlns:a16="http://schemas.microsoft.com/office/drawing/2014/main" id="{2985593A-E65D-65D3-716B-70073EA2CB16}"/>
                    </a:ext>
                  </a:extLst>
                </p:cNvPr>
                <p:cNvSpPr/>
                <p:nvPr/>
              </p:nvSpPr>
              <p:spPr>
                <a:xfrm>
                  <a:off x="4501791" y="1883137"/>
                  <a:ext cx="26724" cy="26530"/>
                </a:xfrm>
                <a:custGeom>
                  <a:avLst/>
                  <a:gdLst>
                    <a:gd name="connsiteX0" fmla="*/ 97 w 26724"/>
                    <a:gd name="connsiteY0" fmla="*/ 11459 h 26530"/>
                    <a:gd name="connsiteX1" fmla="*/ 15044 w 26724"/>
                    <a:gd name="connsiteY1" fmla="*/ 124 h 26530"/>
                    <a:gd name="connsiteX2" fmla="*/ 26628 w 26724"/>
                    <a:gd name="connsiteY2" fmla="*/ 15071 h 26530"/>
                    <a:gd name="connsiteX3" fmla="*/ 11681 w 26724"/>
                    <a:gd name="connsiteY3" fmla="*/ 26406 h 26530"/>
                    <a:gd name="connsiteX4" fmla="*/ 97 w 2672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30">
                      <a:moveTo>
                        <a:pt x="97" y="11459"/>
                      </a:moveTo>
                      <a:cubicBezTo>
                        <a:pt x="1094" y="4235"/>
                        <a:pt x="7695" y="-872"/>
                        <a:pt x="15044" y="124"/>
                      </a:cubicBezTo>
                      <a:cubicBezTo>
                        <a:pt x="22393" y="1121"/>
                        <a:pt x="27500" y="7722"/>
                        <a:pt x="26628" y="15071"/>
                      </a:cubicBezTo>
                      <a:cubicBezTo>
                        <a:pt x="25756" y="22296"/>
                        <a:pt x="19030" y="27402"/>
                        <a:pt x="11681" y="26406"/>
                      </a:cubicBezTo>
                      <a:cubicBezTo>
                        <a:pt x="4332" y="25409"/>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5" name="Freeform 8214">
                  <a:extLst>
                    <a:ext uri="{FF2B5EF4-FFF2-40B4-BE49-F238E27FC236}">
                      <a16:creationId xmlns:a16="http://schemas.microsoft.com/office/drawing/2014/main" id="{70B4133F-8548-99C9-E65A-90C81197BA90}"/>
                    </a:ext>
                  </a:extLst>
                </p:cNvPr>
                <p:cNvSpPr/>
                <p:nvPr/>
              </p:nvSpPr>
              <p:spPr>
                <a:xfrm>
                  <a:off x="4518952" y="1781498"/>
                  <a:ext cx="7349" cy="51691"/>
                </a:xfrm>
                <a:custGeom>
                  <a:avLst/>
                  <a:gdLst>
                    <a:gd name="connsiteX0" fmla="*/ 7349 w 7349"/>
                    <a:gd name="connsiteY0" fmla="*/ 0 h 51691"/>
                    <a:gd name="connsiteX1" fmla="*/ 2990 w 7349"/>
                    <a:gd name="connsiteY1" fmla="*/ 18310 h 51691"/>
                    <a:gd name="connsiteX2" fmla="*/ 4235 w 7349"/>
                    <a:gd name="connsiteY2" fmla="*/ 35748 h 51691"/>
                    <a:gd name="connsiteX3" fmla="*/ 0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6" name="Freeform 8215">
                  <a:extLst>
                    <a:ext uri="{FF2B5EF4-FFF2-40B4-BE49-F238E27FC236}">
                      <a16:creationId xmlns:a16="http://schemas.microsoft.com/office/drawing/2014/main" id="{232C070B-68F9-CD86-1EFB-A45C6B6D8C07}"/>
                    </a:ext>
                  </a:extLst>
                </p:cNvPr>
                <p:cNvSpPr/>
                <p:nvPr/>
              </p:nvSpPr>
              <p:spPr>
                <a:xfrm>
                  <a:off x="4527172" y="1777388"/>
                  <a:ext cx="7536" cy="51815"/>
                </a:xfrm>
                <a:custGeom>
                  <a:avLst/>
                  <a:gdLst>
                    <a:gd name="connsiteX0" fmla="*/ 748 w 7536"/>
                    <a:gd name="connsiteY0" fmla="*/ 51816 h 51815"/>
                    <a:gd name="connsiteX1" fmla="*/ 1121 w 7536"/>
                    <a:gd name="connsiteY1" fmla="*/ 33008 h 51815"/>
                    <a:gd name="connsiteX2" fmla="*/ 6726 w 7536"/>
                    <a:gd name="connsiteY2" fmla="*/ 16566 h 51815"/>
                    <a:gd name="connsiteX3" fmla="*/ 6726 w 7536"/>
                    <a:gd name="connsiteY3" fmla="*/ 0 h 51815"/>
                  </a:gdLst>
                  <a:ahLst/>
                  <a:cxnLst>
                    <a:cxn ang="0">
                      <a:pos x="connsiteX0" y="connsiteY0"/>
                    </a:cxn>
                    <a:cxn ang="0">
                      <a:pos x="connsiteX1" y="connsiteY1"/>
                    </a:cxn>
                    <a:cxn ang="0">
                      <a:pos x="connsiteX2" y="connsiteY2"/>
                    </a:cxn>
                    <a:cxn ang="0">
                      <a:pos x="connsiteX3" y="connsiteY3"/>
                    </a:cxn>
                  </a:cxnLst>
                  <a:rect l="l" t="t" r="r" b="b"/>
                  <a:pathLst>
                    <a:path w="7536" h="51815">
                      <a:moveTo>
                        <a:pt x="748" y="51816"/>
                      </a:moveTo>
                      <a:cubicBezTo>
                        <a:pt x="-622" y="43471"/>
                        <a:pt x="125" y="37243"/>
                        <a:pt x="1121" y="33008"/>
                      </a:cubicBezTo>
                      <a:cubicBezTo>
                        <a:pt x="2741" y="26157"/>
                        <a:pt x="5232" y="23417"/>
                        <a:pt x="6726" y="16566"/>
                      </a:cubicBezTo>
                      <a:cubicBezTo>
                        <a:pt x="8096" y="9840"/>
                        <a:pt x="7474" y="3986"/>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7" name="Freeform 8216">
                  <a:extLst>
                    <a:ext uri="{FF2B5EF4-FFF2-40B4-BE49-F238E27FC236}">
                      <a16:creationId xmlns:a16="http://schemas.microsoft.com/office/drawing/2014/main" id="{76A2129D-2EA0-FC24-465C-351DE3B1B401}"/>
                    </a:ext>
                  </a:extLst>
                </p:cNvPr>
                <p:cNvSpPr/>
                <p:nvPr/>
              </p:nvSpPr>
              <p:spPr>
                <a:xfrm>
                  <a:off x="4517582" y="1761596"/>
                  <a:ext cx="26405" cy="26600"/>
                </a:xfrm>
                <a:custGeom>
                  <a:avLst/>
                  <a:gdLst>
                    <a:gd name="connsiteX0" fmla="*/ 26281 w 26405"/>
                    <a:gd name="connsiteY0" fmla="*/ 15044 h 26600"/>
                    <a:gd name="connsiteX1" fmla="*/ 11459 w 26405"/>
                    <a:gd name="connsiteY1" fmla="*/ 26503 h 26600"/>
                    <a:gd name="connsiteX2" fmla="*/ 124 w 26405"/>
                    <a:gd name="connsiteY2" fmla="*/ 11556 h 26600"/>
                    <a:gd name="connsiteX3" fmla="*/ 14947 w 26405"/>
                    <a:gd name="connsiteY3" fmla="*/ 97 h 26600"/>
                    <a:gd name="connsiteX4" fmla="*/ 26281 w 26405"/>
                    <a:gd name="connsiteY4" fmla="*/ 15044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99">
                      <a:moveTo>
                        <a:pt x="26281" y="15044"/>
                      </a:moveTo>
                      <a:cubicBezTo>
                        <a:pt x="25410" y="22268"/>
                        <a:pt x="18683" y="27375"/>
                        <a:pt x="11459" y="26503"/>
                      </a:cubicBezTo>
                      <a:cubicBezTo>
                        <a:pt x="4235" y="25507"/>
                        <a:pt x="-872" y="18905"/>
                        <a:pt x="124" y="11556"/>
                      </a:cubicBezTo>
                      <a:cubicBezTo>
                        <a:pt x="1121" y="4332"/>
                        <a:pt x="7722" y="-775"/>
                        <a:pt x="14947" y="97"/>
                      </a:cubicBezTo>
                      <a:cubicBezTo>
                        <a:pt x="22171" y="1218"/>
                        <a:pt x="27278" y="7819"/>
                        <a:pt x="26281" y="150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1" name="Graphic 2987">
                <a:extLst>
                  <a:ext uri="{FF2B5EF4-FFF2-40B4-BE49-F238E27FC236}">
                    <a16:creationId xmlns:a16="http://schemas.microsoft.com/office/drawing/2014/main" id="{BBBD385A-9ECB-C8D2-3A4B-EADA3FE8AE9E}"/>
                  </a:ext>
                </a:extLst>
              </p:cNvPr>
              <p:cNvGrpSpPr/>
              <p:nvPr/>
            </p:nvGrpSpPr>
            <p:grpSpPr>
              <a:xfrm>
                <a:off x="4472243" y="1757832"/>
                <a:ext cx="42572" cy="147849"/>
                <a:chOff x="4472243" y="1757832"/>
                <a:chExt cx="42572" cy="147849"/>
              </a:xfrm>
              <a:grpFill/>
            </p:grpSpPr>
            <p:sp>
              <p:nvSpPr>
                <p:cNvPr id="6006" name="Freeform 8218">
                  <a:extLst>
                    <a:ext uri="{FF2B5EF4-FFF2-40B4-BE49-F238E27FC236}">
                      <a16:creationId xmlns:a16="http://schemas.microsoft.com/office/drawing/2014/main" id="{132FEB33-0D99-5016-E1CE-E9FE12396BEF}"/>
                    </a:ext>
                  </a:extLst>
                </p:cNvPr>
                <p:cNvSpPr/>
                <p:nvPr/>
              </p:nvSpPr>
              <p:spPr>
                <a:xfrm>
                  <a:off x="4490179" y="1834186"/>
                  <a:ext cx="7473" cy="51691"/>
                </a:xfrm>
                <a:custGeom>
                  <a:avLst/>
                  <a:gdLst>
                    <a:gd name="connsiteX0" fmla="*/ 0 w 7473"/>
                    <a:gd name="connsiteY0" fmla="*/ 51691 h 51691"/>
                    <a:gd name="connsiteX1" fmla="*/ 4360 w 7473"/>
                    <a:gd name="connsiteY1" fmla="*/ 33381 h 51691"/>
                    <a:gd name="connsiteX2" fmla="*/ 3239 w 7473"/>
                    <a:gd name="connsiteY2" fmla="*/ 15943 h 51691"/>
                    <a:gd name="connsiteX3" fmla="*/ 7474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0" y="51691"/>
                      </a:moveTo>
                      <a:cubicBezTo>
                        <a:pt x="3488" y="44093"/>
                        <a:pt x="4360" y="37741"/>
                        <a:pt x="4360" y="33381"/>
                      </a:cubicBezTo>
                      <a:cubicBezTo>
                        <a:pt x="4484" y="26406"/>
                        <a:pt x="2740" y="23043"/>
                        <a:pt x="3239" y="15943"/>
                      </a:cubicBezTo>
                      <a:cubicBezTo>
                        <a:pt x="3612" y="9093"/>
                        <a:pt x="5854" y="3612"/>
                        <a:pt x="74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7" name="Freeform 8219">
                  <a:extLst>
                    <a:ext uri="{FF2B5EF4-FFF2-40B4-BE49-F238E27FC236}">
                      <a16:creationId xmlns:a16="http://schemas.microsoft.com/office/drawing/2014/main" id="{9134A937-4BCC-294B-96EA-5FAECC9EE980}"/>
                    </a:ext>
                  </a:extLst>
                </p:cNvPr>
                <p:cNvSpPr/>
                <p:nvPr/>
              </p:nvSpPr>
              <p:spPr>
                <a:xfrm>
                  <a:off x="4481646" y="1838172"/>
                  <a:ext cx="7621" cy="51815"/>
                </a:xfrm>
                <a:custGeom>
                  <a:avLst/>
                  <a:gdLst>
                    <a:gd name="connsiteX0" fmla="*/ 6914 w 7621"/>
                    <a:gd name="connsiteY0" fmla="*/ 0 h 51815"/>
                    <a:gd name="connsiteX1" fmla="*/ 6416 w 7621"/>
                    <a:gd name="connsiteY1" fmla="*/ 18808 h 51815"/>
                    <a:gd name="connsiteX2" fmla="*/ 810 w 7621"/>
                    <a:gd name="connsiteY2" fmla="*/ 35250 h 51815"/>
                    <a:gd name="connsiteX3" fmla="*/ 810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6914" y="0"/>
                      </a:moveTo>
                      <a:cubicBezTo>
                        <a:pt x="8284" y="8345"/>
                        <a:pt x="7412" y="14573"/>
                        <a:pt x="6416" y="18808"/>
                      </a:cubicBezTo>
                      <a:cubicBezTo>
                        <a:pt x="4672" y="25659"/>
                        <a:pt x="2181" y="28275"/>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8" name="Freeform 8220">
                  <a:extLst>
                    <a:ext uri="{FF2B5EF4-FFF2-40B4-BE49-F238E27FC236}">
                      <a16:creationId xmlns:a16="http://schemas.microsoft.com/office/drawing/2014/main" id="{509B3C27-B1BF-5D26-614C-CCF96A8DF26D}"/>
                    </a:ext>
                  </a:extLst>
                </p:cNvPr>
                <p:cNvSpPr/>
                <p:nvPr/>
              </p:nvSpPr>
              <p:spPr>
                <a:xfrm>
                  <a:off x="4472243" y="1879151"/>
                  <a:ext cx="26654" cy="26530"/>
                </a:xfrm>
                <a:custGeom>
                  <a:avLst/>
                  <a:gdLst>
                    <a:gd name="connsiteX0" fmla="*/ 124 w 26654"/>
                    <a:gd name="connsiteY0" fmla="*/ 11459 h 26530"/>
                    <a:gd name="connsiteX1" fmla="*/ 15071 w 26654"/>
                    <a:gd name="connsiteY1" fmla="*/ 124 h 26530"/>
                    <a:gd name="connsiteX2" fmla="*/ 26530 w 26654"/>
                    <a:gd name="connsiteY2" fmla="*/ 15071 h 26530"/>
                    <a:gd name="connsiteX3" fmla="*/ 11584 w 26654"/>
                    <a:gd name="connsiteY3" fmla="*/ 26406 h 26530"/>
                    <a:gd name="connsiteX4" fmla="*/ 124 w 2665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124" y="11459"/>
                      </a:moveTo>
                      <a:cubicBezTo>
                        <a:pt x="1121" y="4235"/>
                        <a:pt x="7847" y="-872"/>
                        <a:pt x="15071" y="124"/>
                      </a:cubicBezTo>
                      <a:cubicBezTo>
                        <a:pt x="22420" y="1121"/>
                        <a:pt x="27527" y="7722"/>
                        <a:pt x="26530" y="15071"/>
                      </a:cubicBezTo>
                      <a:cubicBezTo>
                        <a:pt x="25534" y="22296"/>
                        <a:pt x="18932" y="27402"/>
                        <a:pt x="11584" y="26406"/>
                      </a:cubicBezTo>
                      <a:cubicBezTo>
                        <a:pt x="4235" y="25410"/>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9" name="Freeform 8221">
                  <a:extLst>
                    <a:ext uri="{FF2B5EF4-FFF2-40B4-BE49-F238E27FC236}">
                      <a16:creationId xmlns:a16="http://schemas.microsoft.com/office/drawing/2014/main" id="{20558F93-6E1D-09A6-68FE-F02768C08FB5}"/>
                    </a:ext>
                  </a:extLst>
                </p:cNvPr>
                <p:cNvSpPr/>
                <p:nvPr/>
              </p:nvSpPr>
              <p:spPr>
                <a:xfrm>
                  <a:off x="4489681" y="1777637"/>
                  <a:ext cx="7473" cy="51691"/>
                </a:xfrm>
                <a:custGeom>
                  <a:avLst/>
                  <a:gdLst>
                    <a:gd name="connsiteX0" fmla="*/ 7473 w 7473"/>
                    <a:gd name="connsiteY0" fmla="*/ 0 h 51691"/>
                    <a:gd name="connsiteX1" fmla="*/ 3114 w 7473"/>
                    <a:gd name="connsiteY1" fmla="*/ 18310 h 51691"/>
                    <a:gd name="connsiteX2" fmla="*/ 4235 w 7473"/>
                    <a:gd name="connsiteY2" fmla="*/ 35748 h 51691"/>
                    <a:gd name="connsiteX3" fmla="*/ 0 w 747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473" h="51690">
                      <a:moveTo>
                        <a:pt x="7473" y="0"/>
                      </a:moveTo>
                      <a:cubicBezTo>
                        <a:pt x="3986" y="7598"/>
                        <a:pt x="3114" y="13950"/>
                        <a:pt x="3114" y="18310"/>
                      </a:cubicBezTo>
                      <a:cubicBezTo>
                        <a:pt x="2989" y="25285"/>
                        <a:pt x="4733" y="28648"/>
                        <a:pt x="4235" y="35748"/>
                      </a:cubicBezTo>
                      <a:cubicBezTo>
                        <a:pt x="3861" y="42599"/>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0" name="Freeform 8222">
                  <a:extLst>
                    <a:ext uri="{FF2B5EF4-FFF2-40B4-BE49-F238E27FC236}">
                      <a16:creationId xmlns:a16="http://schemas.microsoft.com/office/drawing/2014/main" id="{15D87937-BC18-BA34-5547-D976ECD40487}"/>
                    </a:ext>
                  </a:extLst>
                </p:cNvPr>
                <p:cNvSpPr/>
                <p:nvPr/>
              </p:nvSpPr>
              <p:spPr>
                <a:xfrm>
                  <a:off x="4497817" y="1773526"/>
                  <a:ext cx="7621" cy="51815"/>
                </a:xfrm>
                <a:custGeom>
                  <a:avLst/>
                  <a:gdLst>
                    <a:gd name="connsiteX0" fmla="*/ 707 w 7621"/>
                    <a:gd name="connsiteY0" fmla="*/ 51816 h 51815"/>
                    <a:gd name="connsiteX1" fmla="*/ 1206 w 7621"/>
                    <a:gd name="connsiteY1" fmla="*/ 33008 h 51815"/>
                    <a:gd name="connsiteX2" fmla="*/ 6811 w 7621"/>
                    <a:gd name="connsiteY2" fmla="*/ 16566 h 51815"/>
                    <a:gd name="connsiteX3" fmla="*/ 6811 w 7621"/>
                    <a:gd name="connsiteY3" fmla="*/ 0 h 51815"/>
                  </a:gdLst>
                  <a:ahLst/>
                  <a:cxnLst>
                    <a:cxn ang="0">
                      <a:pos x="connsiteX0" y="connsiteY0"/>
                    </a:cxn>
                    <a:cxn ang="0">
                      <a:pos x="connsiteX1" y="connsiteY1"/>
                    </a:cxn>
                    <a:cxn ang="0">
                      <a:pos x="connsiteX2" y="connsiteY2"/>
                    </a:cxn>
                    <a:cxn ang="0">
                      <a:pos x="connsiteX3" y="connsiteY3"/>
                    </a:cxn>
                  </a:cxnLst>
                  <a:rect l="l" t="t" r="r" b="b"/>
                  <a:pathLst>
                    <a:path w="7621" h="51815">
                      <a:moveTo>
                        <a:pt x="707" y="51816"/>
                      </a:moveTo>
                      <a:cubicBezTo>
                        <a:pt x="-663" y="43471"/>
                        <a:pt x="209" y="37243"/>
                        <a:pt x="1206" y="33008"/>
                      </a:cubicBezTo>
                      <a:cubicBezTo>
                        <a:pt x="2825" y="26157"/>
                        <a:pt x="5441" y="23417"/>
                        <a:pt x="6811" y="16566"/>
                      </a:cubicBezTo>
                      <a:cubicBezTo>
                        <a:pt x="8181" y="9840"/>
                        <a:pt x="7558" y="3986"/>
                        <a:pt x="68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1" name="Freeform 8223">
                  <a:extLst>
                    <a:ext uri="{FF2B5EF4-FFF2-40B4-BE49-F238E27FC236}">
                      <a16:creationId xmlns:a16="http://schemas.microsoft.com/office/drawing/2014/main" id="{F34902F6-F66F-F8DC-C6C6-6E79FA23E10C}"/>
                    </a:ext>
                  </a:extLst>
                </p:cNvPr>
                <p:cNvSpPr/>
                <p:nvPr/>
              </p:nvSpPr>
              <p:spPr>
                <a:xfrm>
                  <a:off x="4488436" y="1757832"/>
                  <a:ext cx="26380" cy="26405"/>
                </a:xfrm>
                <a:custGeom>
                  <a:avLst/>
                  <a:gdLst>
                    <a:gd name="connsiteX0" fmla="*/ 26281 w 26380"/>
                    <a:gd name="connsiteY0" fmla="*/ 14947 h 26405"/>
                    <a:gd name="connsiteX1" fmla="*/ 11459 w 26380"/>
                    <a:gd name="connsiteY1" fmla="*/ 26281 h 26405"/>
                    <a:gd name="connsiteX2" fmla="*/ 124 w 26380"/>
                    <a:gd name="connsiteY2" fmla="*/ 11459 h 26405"/>
                    <a:gd name="connsiteX3" fmla="*/ 14947 w 26380"/>
                    <a:gd name="connsiteY3" fmla="*/ 124 h 26405"/>
                    <a:gd name="connsiteX4" fmla="*/ 26281 w 2638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05">
                      <a:moveTo>
                        <a:pt x="26281" y="14947"/>
                      </a:moveTo>
                      <a:cubicBezTo>
                        <a:pt x="25285" y="22171"/>
                        <a:pt x="18684" y="27278"/>
                        <a:pt x="11459" y="26281"/>
                      </a:cubicBezTo>
                      <a:cubicBezTo>
                        <a:pt x="4235" y="25285"/>
                        <a:pt x="-872" y="18683"/>
                        <a:pt x="124" y="11459"/>
                      </a:cubicBezTo>
                      <a:cubicBezTo>
                        <a:pt x="1121" y="4235"/>
                        <a:pt x="7722" y="-872"/>
                        <a:pt x="14947" y="124"/>
                      </a:cubicBezTo>
                      <a:cubicBezTo>
                        <a:pt x="22171" y="996"/>
                        <a:pt x="27153"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2" name="Graphic 2987">
                <a:extLst>
                  <a:ext uri="{FF2B5EF4-FFF2-40B4-BE49-F238E27FC236}">
                    <a16:creationId xmlns:a16="http://schemas.microsoft.com/office/drawing/2014/main" id="{63061586-D8A2-4213-4F1C-5DBFC9F5E1B5}"/>
                  </a:ext>
                </a:extLst>
              </p:cNvPr>
              <p:cNvGrpSpPr/>
              <p:nvPr/>
            </p:nvGrpSpPr>
            <p:grpSpPr>
              <a:xfrm>
                <a:off x="4442601" y="1753971"/>
                <a:ext cx="42969" cy="147849"/>
                <a:chOff x="4442601" y="1753971"/>
                <a:chExt cx="42969" cy="147849"/>
              </a:xfrm>
              <a:grpFill/>
            </p:grpSpPr>
            <p:sp>
              <p:nvSpPr>
                <p:cNvPr id="6000" name="Freeform 8225">
                  <a:extLst>
                    <a:ext uri="{FF2B5EF4-FFF2-40B4-BE49-F238E27FC236}">
                      <a16:creationId xmlns:a16="http://schemas.microsoft.com/office/drawing/2014/main" id="{1BC6BB7F-A295-93FB-34AA-72A19EAA2440}"/>
                    </a:ext>
                  </a:extLst>
                </p:cNvPr>
                <p:cNvSpPr/>
                <p:nvPr/>
              </p:nvSpPr>
              <p:spPr>
                <a:xfrm>
                  <a:off x="4460534" y="1830200"/>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488" y="44093"/>
                        <a:pt x="4360" y="37741"/>
                        <a:pt x="4484" y="33381"/>
                      </a:cubicBezTo>
                      <a:cubicBezTo>
                        <a:pt x="4609" y="26406"/>
                        <a:pt x="2865" y="23043"/>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1" name="Freeform 8226">
                  <a:extLst>
                    <a:ext uri="{FF2B5EF4-FFF2-40B4-BE49-F238E27FC236}">
                      <a16:creationId xmlns:a16="http://schemas.microsoft.com/office/drawing/2014/main" id="{C4A1BD64-070F-0404-A053-2C5BAC4FA6CB}"/>
                    </a:ext>
                  </a:extLst>
                </p:cNvPr>
                <p:cNvSpPr/>
                <p:nvPr/>
              </p:nvSpPr>
              <p:spPr>
                <a:xfrm>
                  <a:off x="4452126" y="1834186"/>
                  <a:ext cx="7745" cy="51691"/>
                </a:xfrm>
                <a:custGeom>
                  <a:avLst/>
                  <a:gdLst>
                    <a:gd name="connsiteX0" fmla="*/ 7038 w 7745"/>
                    <a:gd name="connsiteY0" fmla="*/ 0 h 51691"/>
                    <a:gd name="connsiteX1" fmla="*/ 6540 w 7745"/>
                    <a:gd name="connsiteY1" fmla="*/ 18808 h 51691"/>
                    <a:gd name="connsiteX2" fmla="*/ 810 w 7745"/>
                    <a:gd name="connsiteY2" fmla="*/ 35250 h 51691"/>
                    <a:gd name="connsiteX3" fmla="*/ 810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38" y="0"/>
                      </a:moveTo>
                      <a:cubicBezTo>
                        <a:pt x="8408" y="8345"/>
                        <a:pt x="7537" y="14573"/>
                        <a:pt x="6540" y="18808"/>
                      </a:cubicBezTo>
                      <a:cubicBezTo>
                        <a:pt x="4796" y="25659"/>
                        <a:pt x="2305" y="28275"/>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2" name="Freeform 8227">
                  <a:extLst>
                    <a:ext uri="{FF2B5EF4-FFF2-40B4-BE49-F238E27FC236}">
                      <a16:creationId xmlns:a16="http://schemas.microsoft.com/office/drawing/2014/main" id="{F09582E7-B89A-5C84-E08C-FB30A487FEDD}"/>
                    </a:ext>
                  </a:extLst>
                </p:cNvPr>
                <p:cNvSpPr/>
                <p:nvPr/>
              </p:nvSpPr>
              <p:spPr>
                <a:xfrm>
                  <a:off x="4442601" y="1875290"/>
                  <a:ext cx="26649" cy="26530"/>
                </a:xfrm>
                <a:custGeom>
                  <a:avLst/>
                  <a:gdLst>
                    <a:gd name="connsiteX0" fmla="*/ 122 w 26649"/>
                    <a:gd name="connsiteY0" fmla="*/ 11459 h 26530"/>
                    <a:gd name="connsiteX1" fmla="*/ 15069 w 26649"/>
                    <a:gd name="connsiteY1" fmla="*/ 124 h 26530"/>
                    <a:gd name="connsiteX2" fmla="*/ 26528 w 26649"/>
                    <a:gd name="connsiteY2" fmla="*/ 15071 h 26530"/>
                    <a:gd name="connsiteX3" fmla="*/ 11581 w 26649"/>
                    <a:gd name="connsiteY3" fmla="*/ 26406 h 26530"/>
                    <a:gd name="connsiteX4" fmla="*/ 122 w 2664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0">
                      <a:moveTo>
                        <a:pt x="122" y="11459"/>
                      </a:moveTo>
                      <a:cubicBezTo>
                        <a:pt x="1118" y="4235"/>
                        <a:pt x="7844" y="-872"/>
                        <a:pt x="15069" y="124"/>
                      </a:cubicBezTo>
                      <a:cubicBezTo>
                        <a:pt x="22293" y="1121"/>
                        <a:pt x="27525" y="7722"/>
                        <a:pt x="26528" y="15071"/>
                      </a:cubicBezTo>
                      <a:cubicBezTo>
                        <a:pt x="25532" y="22296"/>
                        <a:pt x="18805" y="27402"/>
                        <a:pt x="11581" y="26406"/>
                      </a:cubicBezTo>
                      <a:cubicBezTo>
                        <a:pt x="4357" y="25285"/>
                        <a:pt x="-874"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3" name="Freeform 8228">
                  <a:extLst>
                    <a:ext uri="{FF2B5EF4-FFF2-40B4-BE49-F238E27FC236}">
                      <a16:creationId xmlns:a16="http://schemas.microsoft.com/office/drawing/2014/main" id="{1A2C4B0F-B87F-E557-8D32-01E8761DEA88}"/>
                    </a:ext>
                  </a:extLst>
                </p:cNvPr>
                <p:cNvSpPr/>
                <p:nvPr/>
              </p:nvSpPr>
              <p:spPr>
                <a:xfrm>
                  <a:off x="4460161" y="1773651"/>
                  <a:ext cx="7722" cy="51691"/>
                </a:xfrm>
                <a:custGeom>
                  <a:avLst/>
                  <a:gdLst>
                    <a:gd name="connsiteX0" fmla="*/ 7723 w 7722"/>
                    <a:gd name="connsiteY0" fmla="*/ 0 h 51691"/>
                    <a:gd name="connsiteX1" fmla="*/ 3239 w 7722"/>
                    <a:gd name="connsiteY1" fmla="*/ 18310 h 51691"/>
                    <a:gd name="connsiteX2" fmla="*/ 4360 w 7722"/>
                    <a:gd name="connsiteY2" fmla="*/ 35748 h 51691"/>
                    <a:gd name="connsiteX3" fmla="*/ 0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0"/>
                      </a:moveTo>
                      <a:cubicBezTo>
                        <a:pt x="4235" y="7598"/>
                        <a:pt x="3363" y="13950"/>
                        <a:pt x="3239" y="18310"/>
                      </a:cubicBezTo>
                      <a:cubicBezTo>
                        <a:pt x="3114" y="25285"/>
                        <a:pt x="4733" y="28648"/>
                        <a:pt x="4360" y="35748"/>
                      </a:cubicBezTo>
                      <a:cubicBezTo>
                        <a:pt x="3986" y="42599"/>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4" name="Freeform 8229">
                  <a:extLst>
                    <a:ext uri="{FF2B5EF4-FFF2-40B4-BE49-F238E27FC236}">
                      <a16:creationId xmlns:a16="http://schemas.microsoft.com/office/drawing/2014/main" id="{0176B2E1-9707-373C-8CFC-21D1F26432F5}"/>
                    </a:ext>
                  </a:extLst>
                </p:cNvPr>
                <p:cNvSpPr/>
                <p:nvPr/>
              </p:nvSpPr>
              <p:spPr>
                <a:xfrm>
                  <a:off x="4468546" y="1769665"/>
                  <a:ext cx="7621" cy="51691"/>
                </a:xfrm>
                <a:custGeom>
                  <a:avLst/>
                  <a:gdLst>
                    <a:gd name="connsiteX0" fmla="*/ 707 w 7621"/>
                    <a:gd name="connsiteY0" fmla="*/ 51691 h 51691"/>
                    <a:gd name="connsiteX1" fmla="*/ 1206 w 7621"/>
                    <a:gd name="connsiteY1" fmla="*/ 32883 h 51691"/>
                    <a:gd name="connsiteX2" fmla="*/ 6810 w 7621"/>
                    <a:gd name="connsiteY2" fmla="*/ 16442 h 51691"/>
                    <a:gd name="connsiteX3" fmla="*/ 6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707" y="51691"/>
                      </a:moveTo>
                      <a:cubicBezTo>
                        <a:pt x="-663" y="43346"/>
                        <a:pt x="209" y="37118"/>
                        <a:pt x="1206" y="32883"/>
                      </a:cubicBezTo>
                      <a:cubicBezTo>
                        <a:pt x="2949" y="26033"/>
                        <a:pt x="5440" y="23417"/>
                        <a:pt x="6810" y="16442"/>
                      </a:cubicBezTo>
                      <a:cubicBezTo>
                        <a:pt x="8181" y="9716"/>
                        <a:pt x="7558" y="3861"/>
                        <a:pt x="6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5" name="Freeform 8230">
                  <a:extLst>
                    <a:ext uri="{FF2B5EF4-FFF2-40B4-BE49-F238E27FC236}">
                      <a16:creationId xmlns:a16="http://schemas.microsoft.com/office/drawing/2014/main" id="{5D1A8F26-E10D-E0CC-9BC9-93CA5930C64C}"/>
                    </a:ext>
                  </a:extLst>
                </p:cNvPr>
                <p:cNvSpPr/>
                <p:nvPr/>
              </p:nvSpPr>
              <p:spPr>
                <a:xfrm>
                  <a:off x="4459165" y="1753971"/>
                  <a:ext cx="26405" cy="26405"/>
                </a:xfrm>
                <a:custGeom>
                  <a:avLst/>
                  <a:gdLst>
                    <a:gd name="connsiteX0" fmla="*/ 26281 w 26405"/>
                    <a:gd name="connsiteY0" fmla="*/ 14947 h 26405"/>
                    <a:gd name="connsiteX1" fmla="*/ 11459 w 26405"/>
                    <a:gd name="connsiteY1" fmla="*/ 26281 h 26405"/>
                    <a:gd name="connsiteX2" fmla="*/ 124 w 26405"/>
                    <a:gd name="connsiteY2" fmla="*/ 11459 h 26405"/>
                    <a:gd name="connsiteX3" fmla="*/ 14947 w 26405"/>
                    <a:gd name="connsiteY3" fmla="*/ 124 h 26405"/>
                    <a:gd name="connsiteX4" fmla="*/ 26281 w 26405"/>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05">
                      <a:moveTo>
                        <a:pt x="26281" y="14947"/>
                      </a:moveTo>
                      <a:cubicBezTo>
                        <a:pt x="25285" y="22171"/>
                        <a:pt x="18683" y="27278"/>
                        <a:pt x="11459" y="26281"/>
                      </a:cubicBezTo>
                      <a:cubicBezTo>
                        <a:pt x="4235" y="25285"/>
                        <a:pt x="-872" y="18683"/>
                        <a:pt x="124" y="11459"/>
                      </a:cubicBezTo>
                      <a:cubicBezTo>
                        <a:pt x="1121" y="4235"/>
                        <a:pt x="7722" y="-872"/>
                        <a:pt x="14947" y="124"/>
                      </a:cubicBezTo>
                      <a:cubicBezTo>
                        <a:pt x="22171" y="996"/>
                        <a:pt x="27278"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3" name="Graphic 2987">
                <a:extLst>
                  <a:ext uri="{FF2B5EF4-FFF2-40B4-BE49-F238E27FC236}">
                    <a16:creationId xmlns:a16="http://schemas.microsoft.com/office/drawing/2014/main" id="{F3DA4AED-B1D9-D156-E0E0-A6DED2FAE5FD}"/>
                  </a:ext>
                </a:extLst>
              </p:cNvPr>
              <p:cNvGrpSpPr/>
              <p:nvPr/>
            </p:nvGrpSpPr>
            <p:grpSpPr>
              <a:xfrm>
                <a:off x="4413078" y="1750110"/>
                <a:ext cx="43320" cy="147724"/>
                <a:chOff x="4413078" y="1750110"/>
                <a:chExt cx="43320" cy="147724"/>
              </a:xfrm>
              <a:grpFill/>
            </p:grpSpPr>
            <p:sp>
              <p:nvSpPr>
                <p:cNvPr id="5994" name="Freeform 8232">
                  <a:extLst>
                    <a:ext uri="{FF2B5EF4-FFF2-40B4-BE49-F238E27FC236}">
                      <a16:creationId xmlns:a16="http://schemas.microsoft.com/office/drawing/2014/main" id="{16DE1FF3-D88D-BEB5-7804-747B542BA2C4}"/>
                    </a:ext>
                  </a:extLst>
                </p:cNvPr>
                <p:cNvSpPr/>
                <p:nvPr/>
              </p:nvSpPr>
              <p:spPr>
                <a:xfrm>
                  <a:off x="4431014" y="1826339"/>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612" y="44093"/>
                        <a:pt x="4360" y="37741"/>
                        <a:pt x="4484" y="33381"/>
                      </a:cubicBezTo>
                      <a:cubicBezTo>
                        <a:pt x="4609" y="26406"/>
                        <a:pt x="2990" y="23043"/>
                        <a:pt x="3363" y="15943"/>
                      </a:cubicBezTo>
                      <a:cubicBezTo>
                        <a:pt x="3861"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5" name="Freeform 8233">
                  <a:extLst>
                    <a:ext uri="{FF2B5EF4-FFF2-40B4-BE49-F238E27FC236}">
                      <a16:creationId xmlns:a16="http://schemas.microsoft.com/office/drawing/2014/main" id="{380EC7F2-F194-8AD8-AC19-7BBF5083A83F}"/>
                    </a:ext>
                  </a:extLst>
                </p:cNvPr>
                <p:cNvSpPr/>
                <p:nvPr/>
              </p:nvSpPr>
              <p:spPr>
                <a:xfrm>
                  <a:off x="4422503" y="1830325"/>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8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659"/>
                        <a:pt x="2408" y="28275"/>
                        <a:pt x="913" y="35250"/>
                      </a:cubicBezTo>
                      <a:cubicBezTo>
                        <a:pt x="-582" y="41976"/>
                        <a:pt x="41" y="47830"/>
                        <a:pt x="78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6" name="Freeform 8234">
                  <a:extLst>
                    <a:ext uri="{FF2B5EF4-FFF2-40B4-BE49-F238E27FC236}">
                      <a16:creationId xmlns:a16="http://schemas.microsoft.com/office/drawing/2014/main" id="{80473DFF-A1E9-A8DB-DECA-27F07DA746ED}"/>
                    </a:ext>
                  </a:extLst>
                </p:cNvPr>
                <p:cNvSpPr/>
                <p:nvPr/>
              </p:nvSpPr>
              <p:spPr>
                <a:xfrm>
                  <a:off x="4413078" y="1871304"/>
                  <a:ext cx="26779" cy="26530"/>
                </a:xfrm>
                <a:custGeom>
                  <a:avLst/>
                  <a:gdLst>
                    <a:gd name="connsiteX0" fmla="*/ 124 w 26779"/>
                    <a:gd name="connsiteY0" fmla="*/ 11459 h 26530"/>
                    <a:gd name="connsiteX1" fmla="*/ 15196 w 26779"/>
                    <a:gd name="connsiteY1" fmla="*/ 124 h 26530"/>
                    <a:gd name="connsiteX2" fmla="*/ 26655 w 26779"/>
                    <a:gd name="connsiteY2" fmla="*/ 15071 h 26530"/>
                    <a:gd name="connsiteX3" fmla="*/ 11584 w 26779"/>
                    <a:gd name="connsiteY3" fmla="*/ 26406 h 26530"/>
                    <a:gd name="connsiteX4" fmla="*/ 124 w 2677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0">
                      <a:moveTo>
                        <a:pt x="124" y="11459"/>
                      </a:moveTo>
                      <a:cubicBezTo>
                        <a:pt x="1121" y="4235"/>
                        <a:pt x="7847" y="-872"/>
                        <a:pt x="15196" y="124"/>
                      </a:cubicBezTo>
                      <a:cubicBezTo>
                        <a:pt x="22544" y="1121"/>
                        <a:pt x="27651" y="7722"/>
                        <a:pt x="26655" y="15071"/>
                      </a:cubicBezTo>
                      <a:cubicBezTo>
                        <a:pt x="25658" y="22296"/>
                        <a:pt x="18932" y="27402"/>
                        <a:pt x="11584" y="26406"/>
                      </a:cubicBezTo>
                      <a:cubicBezTo>
                        <a:pt x="4235" y="25409"/>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7" name="Freeform 8235">
                  <a:extLst>
                    <a:ext uri="{FF2B5EF4-FFF2-40B4-BE49-F238E27FC236}">
                      <a16:creationId xmlns:a16="http://schemas.microsoft.com/office/drawing/2014/main" id="{8B69D3E3-FFF2-A0DB-89FB-C55400D0D286}"/>
                    </a:ext>
                  </a:extLst>
                </p:cNvPr>
                <p:cNvSpPr/>
                <p:nvPr/>
              </p:nvSpPr>
              <p:spPr>
                <a:xfrm>
                  <a:off x="4430765" y="1769789"/>
                  <a:ext cx="7847" cy="51566"/>
                </a:xfrm>
                <a:custGeom>
                  <a:avLst/>
                  <a:gdLst>
                    <a:gd name="connsiteX0" fmla="*/ 7847 w 7847"/>
                    <a:gd name="connsiteY0" fmla="*/ 0 h 51566"/>
                    <a:gd name="connsiteX1" fmla="*/ 3363 w 7847"/>
                    <a:gd name="connsiteY1" fmla="*/ 18310 h 51566"/>
                    <a:gd name="connsiteX2" fmla="*/ 4360 w 7847"/>
                    <a:gd name="connsiteY2" fmla="*/ 35624 h 51566"/>
                    <a:gd name="connsiteX3" fmla="*/ 0 w 7847"/>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0"/>
                      </a:moveTo>
                      <a:cubicBezTo>
                        <a:pt x="4235" y="7598"/>
                        <a:pt x="3488" y="13950"/>
                        <a:pt x="3363" y="18310"/>
                      </a:cubicBezTo>
                      <a:cubicBezTo>
                        <a:pt x="3239" y="25285"/>
                        <a:pt x="4858" y="28648"/>
                        <a:pt x="4360" y="35624"/>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8" name="Freeform 8236">
                  <a:extLst>
                    <a:ext uri="{FF2B5EF4-FFF2-40B4-BE49-F238E27FC236}">
                      <a16:creationId xmlns:a16="http://schemas.microsoft.com/office/drawing/2014/main" id="{5103A22C-640E-3255-DB0D-CC7B39C78309}"/>
                    </a:ext>
                  </a:extLst>
                </p:cNvPr>
                <p:cNvSpPr/>
                <p:nvPr/>
              </p:nvSpPr>
              <p:spPr>
                <a:xfrm>
                  <a:off x="4439157" y="1765804"/>
                  <a:ext cx="7915" cy="51691"/>
                </a:xfrm>
                <a:custGeom>
                  <a:avLst/>
                  <a:gdLst>
                    <a:gd name="connsiteX0" fmla="*/ 701 w 7915"/>
                    <a:gd name="connsiteY0" fmla="*/ 51691 h 51691"/>
                    <a:gd name="connsiteX1" fmla="*/ 1324 w 7915"/>
                    <a:gd name="connsiteY1" fmla="*/ 32883 h 51691"/>
                    <a:gd name="connsiteX2" fmla="*/ 7053 w 7915"/>
                    <a:gd name="connsiteY2" fmla="*/ 16442 h 51691"/>
                    <a:gd name="connsiteX3" fmla="*/ 7178 w 7915"/>
                    <a:gd name="connsiteY3" fmla="*/ 0 h 51691"/>
                  </a:gdLst>
                  <a:ahLst/>
                  <a:cxnLst>
                    <a:cxn ang="0">
                      <a:pos x="connsiteX0" y="connsiteY0"/>
                    </a:cxn>
                    <a:cxn ang="0">
                      <a:pos x="connsiteX1" y="connsiteY1"/>
                    </a:cxn>
                    <a:cxn ang="0">
                      <a:pos x="connsiteX2" y="connsiteY2"/>
                    </a:cxn>
                    <a:cxn ang="0">
                      <a:pos x="connsiteX3" y="connsiteY3"/>
                    </a:cxn>
                  </a:cxnLst>
                  <a:rect l="l" t="t" r="r" b="b"/>
                  <a:pathLst>
                    <a:path w="7915" h="51690">
                      <a:moveTo>
                        <a:pt x="701" y="51691"/>
                      </a:moveTo>
                      <a:cubicBezTo>
                        <a:pt x="-669" y="43346"/>
                        <a:pt x="203" y="37118"/>
                        <a:pt x="1324" y="32883"/>
                      </a:cubicBezTo>
                      <a:cubicBezTo>
                        <a:pt x="3068" y="26033"/>
                        <a:pt x="5559" y="23417"/>
                        <a:pt x="7053" y="16442"/>
                      </a:cubicBezTo>
                      <a:cubicBezTo>
                        <a:pt x="8424" y="9715"/>
                        <a:pt x="7925"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9" name="Freeform 8237">
                  <a:extLst>
                    <a:ext uri="{FF2B5EF4-FFF2-40B4-BE49-F238E27FC236}">
                      <a16:creationId xmlns:a16="http://schemas.microsoft.com/office/drawing/2014/main" id="{F6B34FDF-B52E-1C8C-D474-A05336B2B3E1}"/>
                    </a:ext>
                  </a:extLst>
                </p:cNvPr>
                <p:cNvSpPr/>
                <p:nvPr/>
              </p:nvSpPr>
              <p:spPr>
                <a:xfrm>
                  <a:off x="4429988" y="1750110"/>
                  <a:ext cx="26410" cy="26405"/>
                </a:xfrm>
                <a:custGeom>
                  <a:avLst/>
                  <a:gdLst>
                    <a:gd name="connsiteX0" fmla="*/ 26311 w 26410"/>
                    <a:gd name="connsiteY0" fmla="*/ 14947 h 26405"/>
                    <a:gd name="connsiteX1" fmla="*/ 11365 w 26410"/>
                    <a:gd name="connsiteY1" fmla="*/ 26281 h 26405"/>
                    <a:gd name="connsiteX2" fmla="*/ 155 w 26410"/>
                    <a:gd name="connsiteY2" fmla="*/ 11459 h 26405"/>
                    <a:gd name="connsiteX3" fmla="*/ 15101 w 26410"/>
                    <a:gd name="connsiteY3" fmla="*/ 124 h 26405"/>
                    <a:gd name="connsiteX4" fmla="*/ 26311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311" y="14947"/>
                      </a:moveTo>
                      <a:cubicBezTo>
                        <a:pt x="25315" y="22171"/>
                        <a:pt x="18714" y="27278"/>
                        <a:pt x="11365" y="26281"/>
                      </a:cubicBezTo>
                      <a:cubicBezTo>
                        <a:pt x="4140" y="25285"/>
                        <a:pt x="-967" y="18683"/>
                        <a:pt x="155" y="11459"/>
                      </a:cubicBezTo>
                      <a:cubicBezTo>
                        <a:pt x="1151" y="4235"/>
                        <a:pt x="7877" y="-872"/>
                        <a:pt x="15101" y="124"/>
                      </a:cubicBezTo>
                      <a:cubicBezTo>
                        <a:pt x="22201" y="996"/>
                        <a:pt x="27183" y="7598"/>
                        <a:pt x="2631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4" name="Graphic 2987">
                <a:extLst>
                  <a:ext uri="{FF2B5EF4-FFF2-40B4-BE49-F238E27FC236}">
                    <a16:creationId xmlns:a16="http://schemas.microsoft.com/office/drawing/2014/main" id="{CEA10EF5-9DDA-BDF1-2905-124C2B5BBBC5}"/>
                  </a:ext>
                </a:extLst>
              </p:cNvPr>
              <p:cNvGrpSpPr/>
              <p:nvPr/>
            </p:nvGrpSpPr>
            <p:grpSpPr>
              <a:xfrm>
                <a:off x="4383528" y="1746124"/>
                <a:ext cx="43627" cy="147727"/>
                <a:chOff x="4383528" y="1746124"/>
                <a:chExt cx="43627" cy="147727"/>
              </a:xfrm>
              <a:grpFill/>
            </p:grpSpPr>
            <p:sp>
              <p:nvSpPr>
                <p:cNvPr id="5988" name="Freeform 8239">
                  <a:extLst>
                    <a:ext uri="{FF2B5EF4-FFF2-40B4-BE49-F238E27FC236}">
                      <a16:creationId xmlns:a16="http://schemas.microsoft.com/office/drawing/2014/main" id="{A67A76E2-C00C-4033-38F1-BE77B8D2B663}"/>
                    </a:ext>
                  </a:extLst>
                </p:cNvPr>
                <p:cNvSpPr/>
                <p:nvPr/>
              </p:nvSpPr>
              <p:spPr>
                <a:xfrm>
                  <a:off x="4401494" y="1822477"/>
                  <a:ext cx="7971" cy="51566"/>
                </a:xfrm>
                <a:custGeom>
                  <a:avLst/>
                  <a:gdLst>
                    <a:gd name="connsiteX0" fmla="*/ 0 w 7971"/>
                    <a:gd name="connsiteY0" fmla="*/ 51567 h 51566"/>
                    <a:gd name="connsiteX1" fmla="*/ 4609 w 7971"/>
                    <a:gd name="connsiteY1" fmla="*/ 33257 h 51566"/>
                    <a:gd name="connsiteX2" fmla="*/ 3612 w 7971"/>
                    <a:gd name="connsiteY2" fmla="*/ 15943 h 51566"/>
                    <a:gd name="connsiteX3" fmla="*/ 7972 w 7971"/>
                    <a:gd name="connsiteY3" fmla="*/ 0 h 51566"/>
                  </a:gdLst>
                  <a:ahLst/>
                  <a:cxnLst>
                    <a:cxn ang="0">
                      <a:pos x="connsiteX0" y="connsiteY0"/>
                    </a:cxn>
                    <a:cxn ang="0">
                      <a:pos x="connsiteX1" y="connsiteY1"/>
                    </a:cxn>
                    <a:cxn ang="0">
                      <a:pos x="connsiteX2" y="connsiteY2"/>
                    </a:cxn>
                    <a:cxn ang="0">
                      <a:pos x="connsiteX3" y="connsiteY3"/>
                    </a:cxn>
                  </a:cxnLst>
                  <a:rect l="l" t="t" r="r" b="b"/>
                  <a:pathLst>
                    <a:path w="7971" h="51566">
                      <a:moveTo>
                        <a:pt x="0" y="51567"/>
                      </a:moveTo>
                      <a:cubicBezTo>
                        <a:pt x="3612" y="43969"/>
                        <a:pt x="4484" y="37616"/>
                        <a:pt x="4609" y="33257"/>
                      </a:cubicBezTo>
                      <a:cubicBezTo>
                        <a:pt x="4858" y="26282"/>
                        <a:pt x="3114" y="22919"/>
                        <a:pt x="3612" y="15943"/>
                      </a:cubicBezTo>
                      <a:cubicBezTo>
                        <a:pt x="4111" y="9093"/>
                        <a:pt x="6228" y="3612"/>
                        <a:pt x="79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9" name="Freeform 8240">
                  <a:extLst>
                    <a:ext uri="{FF2B5EF4-FFF2-40B4-BE49-F238E27FC236}">
                      <a16:creationId xmlns:a16="http://schemas.microsoft.com/office/drawing/2014/main" id="{7B265163-912F-EC40-5280-40A78D9EAE39}"/>
                    </a:ext>
                  </a:extLst>
                </p:cNvPr>
                <p:cNvSpPr/>
                <p:nvPr/>
              </p:nvSpPr>
              <p:spPr>
                <a:xfrm>
                  <a:off x="4393108" y="1826339"/>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9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0" name="Freeform 8241">
                  <a:extLst>
                    <a:ext uri="{FF2B5EF4-FFF2-40B4-BE49-F238E27FC236}">
                      <a16:creationId xmlns:a16="http://schemas.microsoft.com/office/drawing/2014/main" id="{4C03DD3C-AD37-4FE0-C11E-682C07471E70}"/>
                    </a:ext>
                  </a:extLst>
                </p:cNvPr>
                <p:cNvSpPr/>
                <p:nvPr/>
              </p:nvSpPr>
              <p:spPr>
                <a:xfrm>
                  <a:off x="4383528" y="1867318"/>
                  <a:ext cx="26687" cy="26532"/>
                </a:xfrm>
                <a:custGeom>
                  <a:avLst/>
                  <a:gdLst>
                    <a:gd name="connsiteX0" fmla="*/ 154 w 26687"/>
                    <a:gd name="connsiteY0" fmla="*/ 11459 h 26532"/>
                    <a:gd name="connsiteX1" fmla="*/ 15226 w 26687"/>
                    <a:gd name="connsiteY1" fmla="*/ 124 h 26532"/>
                    <a:gd name="connsiteX2" fmla="*/ 26561 w 26687"/>
                    <a:gd name="connsiteY2" fmla="*/ 15071 h 26532"/>
                    <a:gd name="connsiteX3" fmla="*/ 11489 w 26687"/>
                    <a:gd name="connsiteY3" fmla="*/ 26406 h 26532"/>
                    <a:gd name="connsiteX4" fmla="*/ 154 w 26687"/>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31">
                      <a:moveTo>
                        <a:pt x="154" y="11459"/>
                      </a:moveTo>
                      <a:cubicBezTo>
                        <a:pt x="1151" y="4235"/>
                        <a:pt x="7877" y="-872"/>
                        <a:pt x="15226" y="124"/>
                      </a:cubicBezTo>
                      <a:cubicBezTo>
                        <a:pt x="22575" y="1121"/>
                        <a:pt x="27557" y="7722"/>
                        <a:pt x="26561" y="15071"/>
                      </a:cubicBezTo>
                      <a:cubicBezTo>
                        <a:pt x="25564" y="22420"/>
                        <a:pt x="18838" y="27402"/>
                        <a:pt x="11489" y="26406"/>
                      </a:cubicBezTo>
                      <a:cubicBezTo>
                        <a:pt x="4140" y="25409"/>
                        <a:pt x="-967" y="18683"/>
                        <a:pt x="1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1" name="Freeform 8242">
                  <a:extLst>
                    <a:ext uri="{FF2B5EF4-FFF2-40B4-BE49-F238E27FC236}">
                      <a16:creationId xmlns:a16="http://schemas.microsoft.com/office/drawing/2014/main" id="{37F8F15C-7B37-3B80-8347-710A32383024}"/>
                    </a:ext>
                  </a:extLst>
                </p:cNvPr>
                <p:cNvSpPr/>
                <p:nvPr/>
              </p:nvSpPr>
              <p:spPr>
                <a:xfrm>
                  <a:off x="4401245" y="1765928"/>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8" y="25285"/>
                        <a:pt x="4982" y="28648"/>
                        <a:pt x="4484" y="35624"/>
                      </a:cubicBezTo>
                      <a:cubicBezTo>
                        <a:pt x="3986" y="42474"/>
                        <a:pt x="1868"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2" name="Freeform 8243">
                  <a:extLst>
                    <a:ext uri="{FF2B5EF4-FFF2-40B4-BE49-F238E27FC236}">
                      <a16:creationId xmlns:a16="http://schemas.microsoft.com/office/drawing/2014/main" id="{273279BC-D410-7379-D6B9-AB8CA30BAB24}"/>
                    </a:ext>
                  </a:extLst>
                </p:cNvPr>
                <p:cNvSpPr/>
                <p:nvPr/>
              </p:nvSpPr>
              <p:spPr>
                <a:xfrm>
                  <a:off x="4409761" y="1761818"/>
                  <a:ext cx="7966" cy="51691"/>
                </a:xfrm>
                <a:custGeom>
                  <a:avLst/>
                  <a:gdLst>
                    <a:gd name="connsiteX0" fmla="*/ 701 w 7966"/>
                    <a:gd name="connsiteY0" fmla="*/ 51691 h 51691"/>
                    <a:gd name="connsiteX1" fmla="*/ 1324 w 7966"/>
                    <a:gd name="connsiteY1" fmla="*/ 32883 h 51691"/>
                    <a:gd name="connsiteX2" fmla="*/ 7054 w 7966"/>
                    <a:gd name="connsiteY2" fmla="*/ 16442 h 51691"/>
                    <a:gd name="connsiteX3" fmla="*/ 7178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01" y="51691"/>
                      </a:moveTo>
                      <a:cubicBezTo>
                        <a:pt x="-669" y="43346"/>
                        <a:pt x="203" y="37118"/>
                        <a:pt x="1324" y="32883"/>
                      </a:cubicBezTo>
                      <a:cubicBezTo>
                        <a:pt x="3068" y="26157"/>
                        <a:pt x="5559" y="23417"/>
                        <a:pt x="7054" y="16442"/>
                      </a:cubicBezTo>
                      <a:cubicBezTo>
                        <a:pt x="8548" y="9715"/>
                        <a:pt x="7926"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3" name="Freeform 8244">
                  <a:extLst>
                    <a:ext uri="{FF2B5EF4-FFF2-40B4-BE49-F238E27FC236}">
                      <a16:creationId xmlns:a16="http://schemas.microsoft.com/office/drawing/2014/main" id="{C1C9BE0D-1026-34B4-E308-B8CF59401787}"/>
                    </a:ext>
                  </a:extLst>
                </p:cNvPr>
                <p:cNvSpPr/>
                <p:nvPr/>
              </p:nvSpPr>
              <p:spPr>
                <a:xfrm>
                  <a:off x="4400745" y="1746124"/>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5" name="Graphic 2987">
                <a:extLst>
                  <a:ext uri="{FF2B5EF4-FFF2-40B4-BE49-F238E27FC236}">
                    <a16:creationId xmlns:a16="http://schemas.microsoft.com/office/drawing/2014/main" id="{728A9A02-B3E0-A078-AF9D-845311A7783C}"/>
                  </a:ext>
                </a:extLst>
              </p:cNvPr>
              <p:cNvGrpSpPr/>
              <p:nvPr/>
            </p:nvGrpSpPr>
            <p:grpSpPr>
              <a:xfrm>
                <a:off x="4353913" y="1742263"/>
                <a:ext cx="43970" cy="147600"/>
                <a:chOff x="4353913" y="1742263"/>
                <a:chExt cx="43970" cy="147600"/>
              </a:xfrm>
              <a:grpFill/>
            </p:grpSpPr>
            <p:sp>
              <p:nvSpPr>
                <p:cNvPr id="5982" name="Freeform 8246">
                  <a:extLst>
                    <a:ext uri="{FF2B5EF4-FFF2-40B4-BE49-F238E27FC236}">
                      <a16:creationId xmlns:a16="http://schemas.microsoft.com/office/drawing/2014/main" id="{AE7E612A-168F-E9BF-4A51-B5FCB92224E3}"/>
                    </a:ext>
                  </a:extLst>
                </p:cNvPr>
                <p:cNvSpPr/>
                <p:nvPr/>
              </p:nvSpPr>
              <p:spPr>
                <a:xfrm>
                  <a:off x="4371974" y="1818492"/>
                  <a:ext cx="8096" cy="51566"/>
                </a:xfrm>
                <a:custGeom>
                  <a:avLst/>
                  <a:gdLst>
                    <a:gd name="connsiteX0" fmla="*/ 0 w 8096"/>
                    <a:gd name="connsiteY0" fmla="*/ 51567 h 51566"/>
                    <a:gd name="connsiteX1" fmla="*/ 4609 w 8096"/>
                    <a:gd name="connsiteY1" fmla="*/ 33257 h 51566"/>
                    <a:gd name="connsiteX2" fmla="*/ 3612 w 8096"/>
                    <a:gd name="connsiteY2" fmla="*/ 15943 h 51566"/>
                    <a:gd name="connsiteX3" fmla="*/ 8096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0" y="51567"/>
                      </a:moveTo>
                      <a:cubicBezTo>
                        <a:pt x="3612" y="43969"/>
                        <a:pt x="4484" y="37616"/>
                        <a:pt x="4609" y="33257"/>
                      </a:cubicBezTo>
                      <a:cubicBezTo>
                        <a:pt x="4858" y="26282"/>
                        <a:pt x="3114" y="22919"/>
                        <a:pt x="3612" y="15943"/>
                      </a:cubicBezTo>
                      <a:cubicBezTo>
                        <a:pt x="4110" y="9093"/>
                        <a:pt x="6353"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3" name="Freeform 8247">
                  <a:extLst>
                    <a:ext uri="{FF2B5EF4-FFF2-40B4-BE49-F238E27FC236}">
                      <a16:creationId xmlns:a16="http://schemas.microsoft.com/office/drawing/2014/main" id="{87BBB184-155D-74F9-56E1-5AC3022D84C6}"/>
                    </a:ext>
                  </a:extLst>
                </p:cNvPr>
                <p:cNvSpPr/>
                <p:nvPr/>
              </p:nvSpPr>
              <p:spPr>
                <a:xfrm>
                  <a:off x="4363463" y="1822477"/>
                  <a:ext cx="8179" cy="51691"/>
                </a:xfrm>
                <a:custGeom>
                  <a:avLst/>
                  <a:gdLst>
                    <a:gd name="connsiteX0" fmla="*/ 7515 w 8179"/>
                    <a:gd name="connsiteY0" fmla="*/ 0 h 51691"/>
                    <a:gd name="connsiteX1" fmla="*/ 6767 w 8179"/>
                    <a:gd name="connsiteY1" fmla="*/ 18808 h 51691"/>
                    <a:gd name="connsiteX2" fmla="*/ 913 w 8179"/>
                    <a:gd name="connsiteY2" fmla="*/ 35250 h 51691"/>
                    <a:gd name="connsiteX3" fmla="*/ 78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15" y="0"/>
                      </a:moveTo>
                      <a:cubicBezTo>
                        <a:pt x="8885" y="8345"/>
                        <a:pt x="7888" y="14573"/>
                        <a:pt x="6767" y="18808"/>
                      </a:cubicBezTo>
                      <a:cubicBezTo>
                        <a:pt x="5024"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4" name="Freeform 8248">
                  <a:extLst>
                    <a:ext uri="{FF2B5EF4-FFF2-40B4-BE49-F238E27FC236}">
                      <a16:creationId xmlns:a16="http://schemas.microsoft.com/office/drawing/2014/main" id="{71637F78-1ABC-740E-14A8-2962CA89FA95}"/>
                    </a:ext>
                  </a:extLst>
                </p:cNvPr>
                <p:cNvSpPr/>
                <p:nvPr/>
              </p:nvSpPr>
              <p:spPr>
                <a:xfrm>
                  <a:off x="4353913" y="1863457"/>
                  <a:ext cx="26657" cy="26405"/>
                </a:xfrm>
                <a:custGeom>
                  <a:avLst/>
                  <a:gdLst>
                    <a:gd name="connsiteX0" fmla="*/ 124 w 26657"/>
                    <a:gd name="connsiteY0" fmla="*/ 11459 h 26405"/>
                    <a:gd name="connsiteX1" fmla="*/ 15196 w 26657"/>
                    <a:gd name="connsiteY1" fmla="*/ 124 h 26405"/>
                    <a:gd name="connsiteX2" fmla="*/ 26530 w 26657"/>
                    <a:gd name="connsiteY2" fmla="*/ 14947 h 26405"/>
                    <a:gd name="connsiteX3" fmla="*/ 11459 w 26657"/>
                    <a:gd name="connsiteY3" fmla="*/ 26281 h 26405"/>
                    <a:gd name="connsiteX4" fmla="*/ 124 w 26657"/>
                    <a:gd name="connsiteY4" fmla="*/ 11459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405">
                      <a:moveTo>
                        <a:pt x="124" y="11459"/>
                      </a:moveTo>
                      <a:cubicBezTo>
                        <a:pt x="1121" y="4235"/>
                        <a:pt x="7971" y="-872"/>
                        <a:pt x="15196" y="124"/>
                      </a:cubicBezTo>
                      <a:cubicBezTo>
                        <a:pt x="22544" y="1121"/>
                        <a:pt x="27527" y="7722"/>
                        <a:pt x="26530" y="14947"/>
                      </a:cubicBezTo>
                      <a:cubicBezTo>
                        <a:pt x="25534" y="22171"/>
                        <a:pt x="18683" y="27278"/>
                        <a:pt x="11459" y="26281"/>
                      </a:cubicBezTo>
                      <a:cubicBezTo>
                        <a:pt x="4235" y="25285"/>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5" name="Freeform 8249">
                  <a:extLst>
                    <a:ext uri="{FF2B5EF4-FFF2-40B4-BE49-F238E27FC236}">
                      <a16:creationId xmlns:a16="http://schemas.microsoft.com/office/drawing/2014/main" id="{CE13CF32-C3C7-5454-A92C-5E2C1FDBD88D}"/>
                    </a:ext>
                  </a:extLst>
                </p:cNvPr>
                <p:cNvSpPr/>
                <p:nvPr/>
              </p:nvSpPr>
              <p:spPr>
                <a:xfrm>
                  <a:off x="4371974" y="1761942"/>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9" y="25285"/>
                        <a:pt x="4982" y="28648"/>
                        <a:pt x="4484" y="35624"/>
                      </a:cubicBezTo>
                      <a:cubicBezTo>
                        <a:pt x="3986"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6" name="Freeform 8250">
                  <a:extLst>
                    <a:ext uri="{FF2B5EF4-FFF2-40B4-BE49-F238E27FC236}">
                      <a16:creationId xmlns:a16="http://schemas.microsoft.com/office/drawing/2014/main" id="{AF7699A9-9693-1F5A-C376-136FBD40ADD3}"/>
                    </a:ext>
                  </a:extLst>
                </p:cNvPr>
                <p:cNvSpPr/>
                <p:nvPr/>
              </p:nvSpPr>
              <p:spPr>
                <a:xfrm>
                  <a:off x="4380402" y="1757956"/>
                  <a:ext cx="8191" cy="51691"/>
                </a:xfrm>
                <a:custGeom>
                  <a:avLst/>
                  <a:gdLst>
                    <a:gd name="connsiteX0" fmla="*/ 665 w 8191"/>
                    <a:gd name="connsiteY0" fmla="*/ 51691 h 51691"/>
                    <a:gd name="connsiteX1" fmla="*/ 1413 w 8191"/>
                    <a:gd name="connsiteY1" fmla="*/ 32883 h 51691"/>
                    <a:gd name="connsiteX2" fmla="*/ 7267 w 8191"/>
                    <a:gd name="connsiteY2" fmla="*/ 16442 h 51691"/>
                    <a:gd name="connsiteX3" fmla="*/ 7516 w 8191"/>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665" y="51691"/>
                      </a:moveTo>
                      <a:cubicBezTo>
                        <a:pt x="-705" y="43346"/>
                        <a:pt x="292" y="37118"/>
                        <a:pt x="1413" y="32883"/>
                      </a:cubicBezTo>
                      <a:cubicBezTo>
                        <a:pt x="3156" y="26157"/>
                        <a:pt x="5772" y="23417"/>
                        <a:pt x="7267" y="16442"/>
                      </a:cubicBezTo>
                      <a:cubicBezTo>
                        <a:pt x="8761" y="9715"/>
                        <a:pt x="8138" y="3861"/>
                        <a:pt x="75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7" name="Freeform 8251">
                  <a:extLst>
                    <a:ext uri="{FF2B5EF4-FFF2-40B4-BE49-F238E27FC236}">
                      <a16:creationId xmlns:a16="http://schemas.microsoft.com/office/drawing/2014/main" id="{D65789E9-EDB7-6F73-56E0-C4A3D6E00A38}"/>
                    </a:ext>
                  </a:extLst>
                </p:cNvPr>
                <p:cNvSpPr/>
                <p:nvPr/>
              </p:nvSpPr>
              <p:spPr>
                <a:xfrm>
                  <a:off x="4371474" y="1742263"/>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6" name="Graphic 2987">
                <a:extLst>
                  <a:ext uri="{FF2B5EF4-FFF2-40B4-BE49-F238E27FC236}">
                    <a16:creationId xmlns:a16="http://schemas.microsoft.com/office/drawing/2014/main" id="{9713FB51-92C6-96FC-4298-6428BDD0D723}"/>
                  </a:ext>
                </a:extLst>
              </p:cNvPr>
              <p:cNvGrpSpPr/>
              <p:nvPr/>
            </p:nvGrpSpPr>
            <p:grpSpPr>
              <a:xfrm>
                <a:off x="4324391" y="1738243"/>
                <a:ext cx="44347" cy="147758"/>
                <a:chOff x="4324391" y="1738243"/>
                <a:chExt cx="44347" cy="147758"/>
              </a:xfrm>
              <a:grpFill/>
            </p:grpSpPr>
            <p:sp>
              <p:nvSpPr>
                <p:cNvPr id="5976" name="Freeform 8253">
                  <a:extLst>
                    <a:ext uri="{FF2B5EF4-FFF2-40B4-BE49-F238E27FC236}">
                      <a16:creationId xmlns:a16="http://schemas.microsoft.com/office/drawing/2014/main" id="{98CE0053-EB81-8E66-3A44-7D2CDA39C19F}"/>
                    </a:ext>
                  </a:extLst>
                </p:cNvPr>
                <p:cNvSpPr/>
                <p:nvPr/>
              </p:nvSpPr>
              <p:spPr>
                <a:xfrm>
                  <a:off x="4342329" y="1814755"/>
                  <a:ext cx="8345" cy="51442"/>
                </a:xfrm>
                <a:custGeom>
                  <a:avLst/>
                  <a:gdLst>
                    <a:gd name="connsiteX0" fmla="*/ 0 w 8345"/>
                    <a:gd name="connsiteY0" fmla="*/ 51442 h 51442"/>
                    <a:gd name="connsiteX1" fmla="*/ 4733 w 8345"/>
                    <a:gd name="connsiteY1" fmla="*/ 33257 h 51442"/>
                    <a:gd name="connsiteX2" fmla="*/ 3861 w 8345"/>
                    <a:gd name="connsiteY2" fmla="*/ 15943 h 51442"/>
                    <a:gd name="connsiteX3" fmla="*/ 8346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0" y="51442"/>
                      </a:moveTo>
                      <a:cubicBezTo>
                        <a:pt x="3612" y="43844"/>
                        <a:pt x="4484" y="37492"/>
                        <a:pt x="4733" y="33257"/>
                      </a:cubicBezTo>
                      <a:cubicBezTo>
                        <a:pt x="4982" y="26282"/>
                        <a:pt x="3239" y="22919"/>
                        <a:pt x="3861" y="15943"/>
                      </a:cubicBezTo>
                      <a:cubicBezTo>
                        <a:pt x="4360" y="9093"/>
                        <a:pt x="6602" y="3612"/>
                        <a:pt x="83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7" name="Freeform 8254">
                  <a:extLst>
                    <a:ext uri="{FF2B5EF4-FFF2-40B4-BE49-F238E27FC236}">
                      <a16:creationId xmlns:a16="http://schemas.microsoft.com/office/drawing/2014/main" id="{E866993C-4916-685F-DE14-9C9071A275C8}"/>
                    </a:ext>
                  </a:extLst>
                </p:cNvPr>
                <p:cNvSpPr/>
                <p:nvPr/>
              </p:nvSpPr>
              <p:spPr>
                <a:xfrm>
                  <a:off x="4334056" y="1818367"/>
                  <a:ext cx="8136" cy="51691"/>
                </a:xfrm>
                <a:custGeom>
                  <a:avLst/>
                  <a:gdLst>
                    <a:gd name="connsiteX0" fmla="*/ 7526 w 8136"/>
                    <a:gd name="connsiteY0" fmla="*/ 0 h 51691"/>
                    <a:gd name="connsiteX1" fmla="*/ 6779 w 8136"/>
                    <a:gd name="connsiteY1" fmla="*/ 18808 h 51691"/>
                    <a:gd name="connsiteX2" fmla="*/ 925 w 8136"/>
                    <a:gd name="connsiteY2" fmla="*/ 35125 h 51691"/>
                    <a:gd name="connsiteX3" fmla="*/ 676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7526" y="0"/>
                      </a:moveTo>
                      <a:cubicBezTo>
                        <a:pt x="8772" y="8345"/>
                        <a:pt x="7900" y="14573"/>
                        <a:pt x="6779" y="18808"/>
                      </a:cubicBezTo>
                      <a:cubicBezTo>
                        <a:pt x="5035" y="25534"/>
                        <a:pt x="2419" y="28275"/>
                        <a:pt x="925" y="35125"/>
                      </a:cubicBezTo>
                      <a:cubicBezTo>
                        <a:pt x="-570" y="41851"/>
                        <a:pt x="53" y="47706"/>
                        <a:pt x="6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8" name="Freeform 8255">
                  <a:extLst>
                    <a:ext uri="{FF2B5EF4-FFF2-40B4-BE49-F238E27FC236}">
                      <a16:creationId xmlns:a16="http://schemas.microsoft.com/office/drawing/2014/main" id="{32D660F7-97C1-7F40-2BCF-BF74B1DF10A7}"/>
                    </a:ext>
                  </a:extLst>
                </p:cNvPr>
                <p:cNvSpPr/>
                <p:nvPr/>
              </p:nvSpPr>
              <p:spPr>
                <a:xfrm>
                  <a:off x="4324391" y="1859405"/>
                  <a:ext cx="26657" cy="26596"/>
                </a:xfrm>
                <a:custGeom>
                  <a:avLst/>
                  <a:gdLst>
                    <a:gd name="connsiteX0" fmla="*/ 127 w 26657"/>
                    <a:gd name="connsiteY0" fmla="*/ 11152 h 26596"/>
                    <a:gd name="connsiteX1" fmla="*/ 15198 w 26657"/>
                    <a:gd name="connsiteY1" fmla="*/ 191 h 26596"/>
                    <a:gd name="connsiteX2" fmla="*/ 26533 w 26657"/>
                    <a:gd name="connsiteY2" fmla="*/ 15138 h 26596"/>
                    <a:gd name="connsiteX3" fmla="*/ 11337 w 26657"/>
                    <a:gd name="connsiteY3" fmla="*/ 26473 h 26596"/>
                    <a:gd name="connsiteX4" fmla="*/ 127 w 26657"/>
                    <a:gd name="connsiteY4" fmla="*/ 11152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5">
                      <a:moveTo>
                        <a:pt x="127" y="11152"/>
                      </a:moveTo>
                      <a:cubicBezTo>
                        <a:pt x="1248" y="3928"/>
                        <a:pt x="7974" y="-1055"/>
                        <a:pt x="15198" y="191"/>
                      </a:cubicBezTo>
                      <a:cubicBezTo>
                        <a:pt x="22423" y="1312"/>
                        <a:pt x="27530" y="7789"/>
                        <a:pt x="26533" y="15138"/>
                      </a:cubicBezTo>
                      <a:cubicBezTo>
                        <a:pt x="25537" y="22362"/>
                        <a:pt x="18686" y="27469"/>
                        <a:pt x="11337" y="26473"/>
                      </a:cubicBezTo>
                      <a:cubicBezTo>
                        <a:pt x="4113" y="25227"/>
                        <a:pt x="-870" y="18376"/>
                        <a:pt x="12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9" name="Freeform 8256">
                  <a:extLst>
                    <a:ext uri="{FF2B5EF4-FFF2-40B4-BE49-F238E27FC236}">
                      <a16:creationId xmlns:a16="http://schemas.microsoft.com/office/drawing/2014/main" id="{0E5AC276-3092-9B35-AAE7-38058243A5BE}"/>
                    </a:ext>
                  </a:extLst>
                </p:cNvPr>
                <p:cNvSpPr/>
                <p:nvPr/>
              </p:nvSpPr>
              <p:spPr>
                <a:xfrm>
                  <a:off x="4342703" y="1757956"/>
                  <a:ext cx="8220" cy="51442"/>
                </a:xfrm>
                <a:custGeom>
                  <a:avLst/>
                  <a:gdLst>
                    <a:gd name="connsiteX0" fmla="*/ 8221 w 8220"/>
                    <a:gd name="connsiteY0" fmla="*/ 0 h 51442"/>
                    <a:gd name="connsiteX1" fmla="*/ 3612 w 8220"/>
                    <a:gd name="connsiteY1" fmla="*/ 18185 h 51442"/>
                    <a:gd name="connsiteX2" fmla="*/ 4484 w 8220"/>
                    <a:gd name="connsiteY2" fmla="*/ 35624 h 51442"/>
                    <a:gd name="connsiteX3" fmla="*/ 0 w 8220"/>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220" h="51442">
                      <a:moveTo>
                        <a:pt x="8221" y="0"/>
                      </a:moveTo>
                      <a:cubicBezTo>
                        <a:pt x="4609" y="7598"/>
                        <a:pt x="3737" y="13826"/>
                        <a:pt x="3612" y="18185"/>
                      </a:cubicBezTo>
                      <a:cubicBezTo>
                        <a:pt x="3363" y="25161"/>
                        <a:pt x="4982" y="28524"/>
                        <a:pt x="4484" y="35624"/>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0" name="Freeform 8257">
                  <a:extLst>
                    <a:ext uri="{FF2B5EF4-FFF2-40B4-BE49-F238E27FC236}">
                      <a16:creationId xmlns:a16="http://schemas.microsoft.com/office/drawing/2014/main" id="{29FF2502-6D9E-C464-EE6E-0282A5116E3E}"/>
                    </a:ext>
                  </a:extLst>
                </p:cNvPr>
                <p:cNvSpPr/>
                <p:nvPr/>
              </p:nvSpPr>
              <p:spPr>
                <a:xfrm>
                  <a:off x="4351061" y="1754095"/>
                  <a:ext cx="8136" cy="51691"/>
                </a:xfrm>
                <a:custGeom>
                  <a:avLst/>
                  <a:gdLst>
                    <a:gd name="connsiteX0" fmla="*/ 610 w 8136"/>
                    <a:gd name="connsiteY0" fmla="*/ 51691 h 51691"/>
                    <a:gd name="connsiteX1" fmla="*/ 1357 w 8136"/>
                    <a:gd name="connsiteY1" fmla="*/ 32883 h 51691"/>
                    <a:gd name="connsiteX2" fmla="*/ 7211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1" y="16442"/>
                      </a:cubicBezTo>
                      <a:cubicBezTo>
                        <a:pt x="8706" y="9716"/>
                        <a:pt x="8083"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1" name="Freeform 8258">
                  <a:extLst>
                    <a:ext uri="{FF2B5EF4-FFF2-40B4-BE49-F238E27FC236}">
                      <a16:creationId xmlns:a16="http://schemas.microsoft.com/office/drawing/2014/main" id="{8428122A-705D-DAA8-4E5C-F6AD9ED61F16}"/>
                    </a:ext>
                  </a:extLst>
                </p:cNvPr>
                <p:cNvSpPr/>
                <p:nvPr/>
              </p:nvSpPr>
              <p:spPr>
                <a:xfrm>
                  <a:off x="4342421" y="1738243"/>
                  <a:ext cx="26316" cy="26563"/>
                </a:xfrm>
                <a:custGeom>
                  <a:avLst/>
                  <a:gdLst>
                    <a:gd name="connsiteX0" fmla="*/ 26190 w 26316"/>
                    <a:gd name="connsiteY0" fmla="*/ 15104 h 26563"/>
                    <a:gd name="connsiteX1" fmla="*/ 11243 w 26316"/>
                    <a:gd name="connsiteY1" fmla="*/ 26439 h 26563"/>
                    <a:gd name="connsiteX2" fmla="*/ 158 w 26316"/>
                    <a:gd name="connsiteY2" fmla="*/ 11243 h 26563"/>
                    <a:gd name="connsiteX3" fmla="*/ 15104 w 26316"/>
                    <a:gd name="connsiteY3" fmla="*/ 158 h 26563"/>
                    <a:gd name="connsiteX4" fmla="*/ 26190 w 26316"/>
                    <a:gd name="connsiteY4" fmla="*/ 15104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3">
                      <a:moveTo>
                        <a:pt x="26190" y="15104"/>
                      </a:moveTo>
                      <a:cubicBezTo>
                        <a:pt x="25193" y="22329"/>
                        <a:pt x="18467" y="27436"/>
                        <a:pt x="11243" y="26439"/>
                      </a:cubicBezTo>
                      <a:cubicBezTo>
                        <a:pt x="4019" y="25318"/>
                        <a:pt x="-964" y="18468"/>
                        <a:pt x="158" y="11243"/>
                      </a:cubicBezTo>
                      <a:cubicBezTo>
                        <a:pt x="1279" y="4019"/>
                        <a:pt x="7880" y="-963"/>
                        <a:pt x="15104" y="158"/>
                      </a:cubicBezTo>
                      <a:cubicBezTo>
                        <a:pt x="22204" y="1154"/>
                        <a:pt x="27186" y="7756"/>
                        <a:pt x="26190" y="151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7" name="Graphic 2987">
                <a:extLst>
                  <a:ext uri="{FF2B5EF4-FFF2-40B4-BE49-F238E27FC236}">
                    <a16:creationId xmlns:a16="http://schemas.microsoft.com/office/drawing/2014/main" id="{56BE8969-2C84-47BB-8FFD-E2F468D56278}"/>
                  </a:ext>
                </a:extLst>
              </p:cNvPr>
              <p:cNvGrpSpPr/>
              <p:nvPr/>
            </p:nvGrpSpPr>
            <p:grpSpPr>
              <a:xfrm>
                <a:off x="4294964" y="1733635"/>
                <a:ext cx="44533" cy="147575"/>
                <a:chOff x="4294964" y="1733635"/>
                <a:chExt cx="44533" cy="147575"/>
              </a:xfrm>
              <a:grpFill/>
            </p:grpSpPr>
            <p:sp>
              <p:nvSpPr>
                <p:cNvPr id="5970" name="Freeform 8260">
                  <a:extLst>
                    <a:ext uri="{FF2B5EF4-FFF2-40B4-BE49-F238E27FC236}">
                      <a16:creationId xmlns:a16="http://schemas.microsoft.com/office/drawing/2014/main" id="{3E025DCD-5F68-91A8-5E61-4C306CC93F27}"/>
                    </a:ext>
                  </a:extLst>
                </p:cNvPr>
                <p:cNvSpPr/>
                <p:nvPr/>
              </p:nvSpPr>
              <p:spPr>
                <a:xfrm>
                  <a:off x="4312934" y="1810022"/>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1" name="Freeform 8261">
                  <a:extLst>
                    <a:ext uri="{FF2B5EF4-FFF2-40B4-BE49-F238E27FC236}">
                      <a16:creationId xmlns:a16="http://schemas.microsoft.com/office/drawing/2014/main" id="{EA55C4DC-D054-DD18-2913-0520DC1F04BB}"/>
                    </a:ext>
                  </a:extLst>
                </p:cNvPr>
                <p:cNvSpPr/>
                <p:nvPr/>
              </p:nvSpPr>
              <p:spPr>
                <a:xfrm>
                  <a:off x="4304368" y="1813758"/>
                  <a:ext cx="8395" cy="51691"/>
                </a:xfrm>
                <a:custGeom>
                  <a:avLst/>
                  <a:gdLst>
                    <a:gd name="connsiteX0" fmla="*/ 7819 w 8395"/>
                    <a:gd name="connsiteY0" fmla="*/ 0 h 51691"/>
                    <a:gd name="connsiteX1" fmla="*/ 6947 w 8395"/>
                    <a:gd name="connsiteY1" fmla="*/ 18808 h 51691"/>
                    <a:gd name="connsiteX2" fmla="*/ 968 w 8395"/>
                    <a:gd name="connsiteY2" fmla="*/ 35125 h 51691"/>
                    <a:gd name="connsiteX3" fmla="*/ 719 w 839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0"/>
                      </a:moveTo>
                      <a:cubicBezTo>
                        <a:pt x="9064" y="8345"/>
                        <a:pt x="8068" y="14573"/>
                        <a:pt x="6947" y="18808"/>
                      </a:cubicBezTo>
                      <a:cubicBezTo>
                        <a:pt x="5203" y="25534"/>
                        <a:pt x="2587" y="28275"/>
                        <a:pt x="968" y="35125"/>
                      </a:cubicBezTo>
                      <a:cubicBezTo>
                        <a:pt x="-527" y="41851"/>
                        <a:pt x="-29" y="47706"/>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2" name="Freeform 8262">
                  <a:extLst>
                    <a:ext uri="{FF2B5EF4-FFF2-40B4-BE49-F238E27FC236}">
                      <a16:creationId xmlns:a16="http://schemas.microsoft.com/office/drawing/2014/main" id="{869B754F-3B34-867D-A2CA-764C492A36A7}"/>
                    </a:ext>
                  </a:extLst>
                </p:cNvPr>
                <p:cNvSpPr/>
                <p:nvPr/>
              </p:nvSpPr>
              <p:spPr>
                <a:xfrm>
                  <a:off x="4294964" y="1854671"/>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9" y="3928"/>
                        <a:pt x="8005" y="-1055"/>
                        <a:pt x="15353" y="191"/>
                      </a:cubicBezTo>
                      <a:cubicBezTo>
                        <a:pt x="22578" y="1312"/>
                        <a:pt x="27685" y="8163"/>
                        <a:pt x="26564" y="15387"/>
                      </a:cubicBezTo>
                      <a:cubicBezTo>
                        <a:pt x="25443" y="22611"/>
                        <a:pt x="18717"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3" name="Freeform 8263">
                  <a:extLst>
                    <a:ext uri="{FF2B5EF4-FFF2-40B4-BE49-F238E27FC236}">
                      <a16:creationId xmlns:a16="http://schemas.microsoft.com/office/drawing/2014/main" id="{E2A97C8A-E34B-22CF-4481-9C0C0006A5D5}"/>
                    </a:ext>
                  </a:extLst>
                </p:cNvPr>
                <p:cNvSpPr/>
                <p:nvPr/>
              </p:nvSpPr>
              <p:spPr>
                <a:xfrm>
                  <a:off x="4313307" y="1753348"/>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858" y="7598"/>
                        <a:pt x="3861" y="13826"/>
                        <a:pt x="3737" y="18185"/>
                      </a:cubicBezTo>
                      <a:cubicBezTo>
                        <a:pt x="3488" y="25161"/>
                        <a:pt x="5107" y="28524"/>
                        <a:pt x="4609" y="35623"/>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4" name="Freeform 8264">
                  <a:extLst>
                    <a:ext uri="{FF2B5EF4-FFF2-40B4-BE49-F238E27FC236}">
                      <a16:creationId xmlns:a16="http://schemas.microsoft.com/office/drawing/2014/main" id="{488F4B39-4EE6-234D-EA74-85728CED9414}"/>
                    </a:ext>
                  </a:extLst>
                </p:cNvPr>
                <p:cNvSpPr/>
                <p:nvPr/>
              </p:nvSpPr>
              <p:spPr>
                <a:xfrm>
                  <a:off x="4321819" y="1749487"/>
                  <a:ext cx="8150" cy="51691"/>
                </a:xfrm>
                <a:custGeom>
                  <a:avLst/>
                  <a:gdLst>
                    <a:gd name="connsiteX0" fmla="*/ 581 w 8150"/>
                    <a:gd name="connsiteY0" fmla="*/ 51691 h 51691"/>
                    <a:gd name="connsiteX1" fmla="*/ 1328 w 8150"/>
                    <a:gd name="connsiteY1" fmla="*/ 32883 h 51691"/>
                    <a:gd name="connsiteX2" fmla="*/ 7183 w 8150"/>
                    <a:gd name="connsiteY2" fmla="*/ 16566 h 51691"/>
                    <a:gd name="connsiteX3" fmla="*/ 7432 w 8150"/>
                    <a:gd name="connsiteY3" fmla="*/ 0 h 51691"/>
                  </a:gdLst>
                  <a:ahLst/>
                  <a:cxnLst>
                    <a:cxn ang="0">
                      <a:pos x="connsiteX0" y="connsiteY0"/>
                    </a:cxn>
                    <a:cxn ang="0">
                      <a:pos x="connsiteX1" y="connsiteY1"/>
                    </a:cxn>
                    <a:cxn ang="0">
                      <a:pos x="connsiteX2" y="connsiteY2"/>
                    </a:cxn>
                    <a:cxn ang="0">
                      <a:pos x="connsiteX3" y="connsiteY3"/>
                    </a:cxn>
                  </a:cxnLst>
                  <a:rect l="l" t="t" r="r" b="b"/>
                  <a:pathLst>
                    <a:path w="8150" h="51690">
                      <a:moveTo>
                        <a:pt x="581" y="51691"/>
                      </a:moveTo>
                      <a:cubicBezTo>
                        <a:pt x="-664" y="43346"/>
                        <a:pt x="332" y="37118"/>
                        <a:pt x="1328" y="32883"/>
                      </a:cubicBezTo>
                      <a:cubicBezTo>
                        <a:pt x="3072" y="26157"/>
                        <a:pt x="5688" y="23417"/>
                        <a:pt x="7183" y="16566"/>
                      </a:cubicBezTo>
                      <a:cubicBezTo>
                        <a:pt x="8678" y="9840"/>
                        <a:pt x="8179" y="3986"/>
                        <a:pt x="74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5" name="Freeform 8265">
                  <a:extLst>
                    <a:ext uri="{FF2B5EF4-FFF2-40B4-BE49-F238E27FC236}">
                      <a16:creationId xmlns:a16="http://schemas.microsoft.com/office/drawing/2014/main" id="{3EEB07AE-1F46-2702-867F-20859843A1CA}"/>
                    </a:ext>
                  </a:extLst>
                </p:cNvPr>
                <p:cNvSpPr/>
                <p:nvPr/>
              </p:nvSpPr>
              <p:spPr>
                <a:xfrm>
                  <a:off x="4313150" y="1733635"/>
                  <a:ext cx="26347" cy="26596"/>
                </a:xfrm>
                <a:custGeom>
                  <a:avLst/>
                  <a:gdLst>
                    <a:gd name="connsiteX0" fmla="*/ 26190 w 26347"/>
                    <a:gd name="connsiteY0" fmla="*/ 15354 h 26596"/>
                    <a:gd name="connsiteX1" fmla="*/ 11243 w 26347"/>
                    <a:gd name="connsiteY1" fmla="*/ 26439 h 26596"/>
                    <a:gd name="connsiteX2" fmla="*/ 158 w 26347"/>
                    <a:gd name="connsiteY2" fmla="*/ 11243 h 26596"/>
                    <a:gd name="connsiteX3" fmla="*/ 15104 w 26347"/>
                    <a:gd name="connsiteY3" fmla="*/ 158 h 26596"/>
                    <a:gd name="connsiteX4" fmla="*/ 26190 w 26347"/>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95">
                      <a:moveTo>
                        <a:pt x="26190" y="15354"/>
                      </a:moveTo>
                      <a:cubicBezTo>
                        <a:pt x="25069" y="22578"/>
                        <a:pt x="18468" y="27560"/>
                        <a:pt x="11243" y="26439"/>
                      </a:cubicBezTo>
                      <a:cubicBezTo>
                        <a:pt x="4019" y="25318"/>
                        <a:pt x="-963" y="18468"/>
                        <a:pt x="158" y="11243"/>
                      </a:cubicBezTo>
                      <a:cubicBezTo>
                        <a:pt x="1279" y="4019"/>
                        <a:pt x="8005" y="-963"/>
                        <a:pt x="15104" y="158"/>
                      </a:cubicBezTo>
                      <a:cubicBezTo>
                        <a:pt x="22329" y="1279"/>
                        <a:pt x="27311" y="8129"/>
                        <a:pt x="26190"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8" name="Graphic 2987">
                <a:extLst>
                  <a:ext uri="{FF2B5EF4-FFF2-40B4-BE49-F238E27FC236}">
                    <a16:creationId xmlns:a16="http://schemas.microsoft.com/office/drawing/2014/main" id="{BED4BAFB-5152-5A3A-F825-B79A8DA8BC6D}"/>
                  </a:ext>
                </a:extLst>
              </p:cNvPr>
              <p:cNvGrpSpPr/>
              <p:nvPr/>
            </p:nvGrpSpPr>
            <p:grpSpPr>
              <a:xfrm>
                <a:off x="4265444" y="1728902"/>
                <a:ext cx="45003" cy="147700"/>
                <a:chOff x="4265444" y="1728902"/>
                <a:chExt cx="45003" cy="147700"/>
              </a:xfrm>
              <a:grpFill/>
            </p:grpSpPr>
            <p:sp>
              <p:nvSpPr>
                <p:cNvPr id="5964" name="Freeform 8267">
                  <a:extLst>
                    <a:ext uri="{FF2B5EF4-FFF2-40B4-BE49-F238E27FC236}">
                      <a16:creationId xmlns:a16="http://schemas.microsoft.com/office/drawing/2014/main" id="{D10FF366-FF20-221F-F202-1F9A8114EBF7}"/>
                    </a:ext>
                  </a:extLst>
                </p:cNvPr>
                <p:cNvSpPr/>
                <p:nvPr/>
              </p:nvSpPr>
              <p:spPr>
                <a:xfrm>
                  <a:off x="4283538" y="1805413"/>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60"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5" name="Freeform 8268">
                  <a:extLst>
                    <a:ext uri="{FF2B5EF4-FFF2-40B4-BE49-F238E27FC236}">
                      <a16:creationId xmlns:a16="http://schemas.microsoft.com/office/drawing/2014/main" id="{8B499AA0-D8FE-183D-143B-27E648AB2158}"/>
                    </a:ext>
                  </a:extLst>
                </p:cNvPr>
                <p:cNvSpPr/>
                <p:nvPr/>
              </p:nvSpPr>
              <p:spPr>
                <a:xfrm>
                  <a:off x="4275083" y="1809025"/>
                  <a:ext cx="8409" cy="51691"/>
                </a:xfrm>
                <a:custGeom>
                  <a:avLst/>
                  <a:gdLst>
                    <a:gd name="connsiteX0" fmla="*/ 7832 w 8409"/>
                    <a:gd name="connsiteY0" fmla="*/ 0 h 51691"/>
                    <a:gd name="connsiteX1" fmla="*/ 6960 w 8409"/>
                    <a:gd name="connsiteY1" fmla="*/ 18808 h 51691"/>
                    <a:gd name="connsiteX2" fmla="*/ 981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601" y="28275"/>
                        <a:pt x="981"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6" name="Freeform 8269">
                  <a:extLst>
                    <a:ext uri="{FF2B5EF4-FFF2-40B4-BE49-F238E27FC236}">
                      <a16:creationId xmlns:a16="http://schemas.microsoft.com/office/drawing/2014/main" id="{30AFBF10-5669-E381-513A-6B119D6884D5}"/>
                    </a:ext>
                  </a:extLst>
                </p:cNvPr>
                <p:cNvSpPr/>
                <p:nvPr/>
              </p:nvSpPr>
              <p:spPr>
                <a:xfrm>
                  <a:off x="4265444" y="1850063"/>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8" y="3928"/>
                        <a:pt x="8129" y="-1055"/>
                        <a:pt x="15353" y="191"/>
                      </a:cubicBezTo>
                      <a:cubicBezTo>
                        <a:pt x="22578" y="1437"/>
                        <a:pt x="27685" y="8163"/>
                        <a:pt x="26564" y="15387"/>
                      </a:cubicBezTo>
                      <a:cubicBezTo>
                        <a:pt x="25443" y="22611"/>
                        <a:pt x="18717" y="27594"/>
                        <a:pt x="11368" y="26348"/>
                      </a:cubicBezTo>
                      <a:cubicBezTo>
                        <a:pt x="4019" y="25103"/>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7" name="Freeform 8270">
                  <a:extLst>
                    <a:ext uri="{FF2B5EF4-FFF2-40B4-BE49-F238E27FC236}">
                      <a16:creationId xmlns:a16="http://schemas.microsoft.com/office/drawing/2014/main" id="{31C8578C-2D37-B5F9-8057-666757F2EE83}"/>
                    </a:ext>
                  </a:extLst>
                </p:cNvPr>
                <p:cNvSpPr/>
                <p:nvPr/>
              </p:nvSpPr>
              <p:spPr>
                <a:xfrm>
                  <a:off x="4284036" y="1748615"/>
                  <a:ext cx="8594" cy="51442"/>
                </a:xfrm>
                <a:custGeom>
                  <a:avLst/>
                  <a:gdLst>
                    <a:gd name="connsiteX0" fmla="*/ 8595 w 8594"/>
                    <a:gd name="connsiteY0" fmla="*/ 0 h 51442"/>
                    <a:gd name="connsiteX1" fmla="*/ 3861 w 8594"/>
                    <a:gd name="connsiteY1" fmla="*/ 18185 h 51442"/>
                    <a:gd name="connsiteX2" fmla="*/ 4609 w 8594"/>
                    <a:gd name="connsiteY2" fmla="*/ 35624 h 51442"/>
                    <a:gd name="connsiteX3" fmla="*/ 0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0"/>
                      </a:moveTo>
                      <a:cubicBezTo>
                        <a:pt x="4982" y="7598"/>
                        <a:pt x="3986" y="13826"/>
                        <a:pt x="3861" y="18185"/>
                      </a:cubicBezTo>
                      <a:cubicBezTo>
                        <a:pt x="3612" y="25161"/>
                        <a:pt x="5231" y="28524"/>
                        <a:pt x="4609"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8" name="Freeform 8271">
                  <a:extLst>
                    <a:ext uri="{FF2B5EF4-FFF2-40B4-BE49-F238E27FC236}">
                      <a16:creationId xmlns:a16="http://schemas.microsoft.com/office/drawing/2014/main" id="{3792B103-1706-86CE-8087-D7793034EEA4}"/>
                    </a:ext>
                  </a:extLst>
                </p:cNvPr>
                <p:cNvSpPr/>
                <p:nvPr/>
              </p:nvSpPr>
              <p:spPr>
                <a:xfrm>
                  <a:off x="4292552" y="1744753"/>
                  <a:ext cx="8408" cy="51691"/>
                </a:xfrm>
                <a:custGeom>
                  <a:avLst/>
                  <a:gdLst>
                    <a:gd name="connsiteX0" fmla="*/ 577 w 8408"/>
                    <a:gd name="connsiteY0" fmla="*/ 51691 h 51691"/>
                    <a:gd name="connsiteX1" fmla="*/ 1448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8"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9" name="Freeform 8272">
                  <a:extLst>
                    <a:ext uri="{FF2B5EF4-FFF2-40B4-BE49-F238E27FC236}">
                      <a16:creationId xmlns:a16="http://schemas.microsoft.com/office/drawing/2014/main" id="{66A228DB-3EC4-A40B-572F-7CAC392DEB1D}"/>
                    </a:ext>
                  </a:extLst>
                </p:cNvPr>
                <p:cNvSpPr/>
                <p:nvPr/>
              </p:nvSpPr>
              <p:spPr>
                <a:xfrm>
                  <a:off x="4284031" y="1728902"/>
                  <a:ext cx="26415" cy="26596"/>
                </a:xfrm>
                <a:custGeom>
                  <a:avLst/>
                  <a:gdLst>
                    <a:gd name="connsiteX0" fmla="*/ 26286 w 26415"/>
                    <a:gd name="connsiteY0" fmla="*/ 15354 h 26596"/>
                    <a:gd name="connsiteX1" fmla="*/ 11215 w 26415"/>
                    <a:gd name="connsiteY1" fmla="*/ 26439 h 26596"/>
                    <a:gd name="connsiteX2" fmla="*/ 129 w 26415"/>
                    <a:gd name="connsiteY2" fmla="*/ 11243 h 26596"/>
                    <a:gd name="connsiteX3" fmla="*/ 15201 w 26415"/>
                    <a:gd name="connsiteY3" fmla="*/ 158 h 26596"/>
                    <a:gd name="connsiteX4" fmla="*/ 26286 w 26415"/>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95">
                      <a:moveTo>
                        <a:pt x="26286" y="15354"/>
                      </a:moveTo>
                      <a:cubicBezTo>
                        <a:pt x="25165" y="22578"/>
                        <a:pt x="18439" y="27560"/>
                        <a:pt x="11215" y="26439"/>
                      </a:cubicBezTo>
                      <a:cubicBezTo>
                        <a:pt x="3991" y="25318"/>
                        <a:pt x="-867" y="18468"/>
                        <a:pt x="129" y="11243"/>
                      </a:cubicBezTo>
                      <a:cubicBezTo>
                        <a:pt x="1250" y="4019"/>
                        <a:pt x="7976" y="-963"/>
                        <a:pt x="15201" y="158"/>
                      </a:cubicBezTo>
                      <a:cubicBezTo>
                        <a:pt x="22425" y="1403"/>
                        <a:pt x="27283" y="8129"/>
                        <a:pt x="26286"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9" name="Graphic 2987">
                <a:extLst>
                  <a:ext uri="{FF2B5EF4-FFF2-40B4-BE49-F238E27FC236}">
                    <a16:creationId xmlns:a16="http://schemas.microsoft.com/office/drawing/2014/main" id="{90567D85-E284-D30E-2C2E-F315A72763F1}"/>
                  </a:ext>
                </a:extLst>
              </p:cNvPr>
              <p:cNvGrpSpPr/>
              <p:nvPr/>
            </p:nvGrpSpPr>
            <p:grpSpPr>
              <a:xfrm>
                <a:off x="4236049" y="1724259"/>
                <a:ext cx="45283" cy="147609"/>
                <a:chOff x="4236049" y="1724259"/>
                <a:chExt cx="45283" cy="147609"/>
              </a:xfrm>
              <a:grpFill/>
            </p:grpSpPr>
            <p:sp>
              <p:nvSpPr>
                <p:cNvPr id="5958" name="Freeform 8274">
                  <a:extLst>
                    <a:ext uri="{FF2B5EF4-FFF2-40B4-BE49-F238E27FC236}">
                      <a16:creationId xmlns:a16="http://schemas.microsoft.com/office/drawing/2014/main" id="{392C2EDC-FCEC-BA58-7F73-A05942906F14}"/>
                    </a:ext>
                  </a:extLst>
                </p:cNvPr>
                <p:cNvSpPr/>
                <p:nvPr/>
              </p:nvSpPr>
              <p:spPr>
                <a:xfrm>
                  <a:off x="4254018" y="1800680"/>
                  <a:ext cx="8719" cy="51442"/>
                </a:xfrm>
                <a:custGeom>
                  <a:avLst/>
                  <a:gdLst>
                    <a:gd name="connsiteX0" fmla="*/ 0 w 8719"/>
                    <a:gd name="connsiteY0" fmla="*/ 51442 h 51442"/>
                    <a:gd name="connsiteX1" fmla="*/ 4858 w 8719"/>
                    <a:gd name="connsiteY1" fmla="*/ 33257 h 51442"/>
                    <a:gd name="connsiteX2" fmla="*/ 4110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4"/>
                        <a:pt x="4609" y="37616"/>
                        <a:pt x="4858" y="33257"/>
                      </a:cubicBezTo>
                      <a:cubicBezTo>
                        <a:pt x="5107" y="26282"/>
                        <a:pt x="3488" y="22919"/>
                        <a:pt x="4110"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9" name="Freeform 8275">
                  <a:extLst>
                    <a:ext uri="{FF2B5EF4-FFF2-40B4-BE49-F238E27FC236}">
                      <a16:creationId xmlns:a16="http://schemas.microsoft.com/office/drawing/2014/main" id="{CD6C1204-D1BF-0A12-5BF4-6227909D0084}"/>
                    </a:ext>
                  </a:extLst>
                </p:cNvPr>
                <p:cNvSpPr/>
                <p:nvPr/>
              </p:nvSpPr>
              <p:spPr>
                <a:xfrm>
                  <a:off x="4245812" y="1804417"/>
                  <a:ext cx="8409" cy="51691"/>
                </a:xfrm>
                <a:custGeom>
                  <a:avLst/>
                  <a:gdLst>
                    <a:gd name="connsiteX0" fmla="*/ 7832 w 8409"/>
                    <a:gd name="connsiteY0" fmla="*/ 0 h 51691"/>
                    <a:gd name="connsiteX1" fmla="*/ 6960 w 8409"/>
                    <a:gd name="connsiteY1" fmla="*/ 18808 h 51691"/>
                    <a:gd name="connsiteX2" fmla="*/ 982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476" y="28275"/>
                        <a:pt x="982"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0" name="Freeform 8276">
                  <a:extLst>
                    <a:ext uri="{FF2B5EF4-FFF2-40B4-BE49-F238E27FC236}">
                      <a16:creationId xmlns:a16="http://schemas.microsoft.com/office/drawing/2014/main" id="{36CBC0FA-DC7D-4EB4-6A94-B144D4CD0B81}"/>
                    </a:ext>
                  </a:extLst>
                </p:cNvPr>
                <p:cNvSpPr/>
                <p:nvPr/>
              </p:nvSpPr>
              <p:spPr>
                <a:xfrm>
                  <a:off x="4236049" y="1845330"/>
                  <a:ext cx="26690" cy="26539"/>
                </a:xfrm>
                <a:custGeom>
                  <a:avLst/>
                  <a:gdLst>
                    <a:gd name="connsiteX0" fmla="*/ 157 w 26690"/>
                    <a:gd name="connsiteY0" fmla="*/ 11152 h 26539"/>
                    <a:gd name="connsiteX1" fmla="*/ 15353 w 26690"/>
                    <a:gd name="connsiteY1" fmla="*/ 191 h 26539"/>
                    <a:gd name="connsiteX2" fmla="*/ 26564 w 26690"/>
                    <a:gd name="connsiteY2" fmla="*/ 15387 h 26539"/>
                    <a:gd name="connsiteX3" fmla="*/ 11368 w 26690"/>
                    <a:gd name="connsiteY3" fmla="*/ 26348 h 26539"/>
                    <a:gd name="connsiteX4" fmla="*/ 157 w 26690"/>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38">
                      <a:moveTo>
                        <a:pt x="157" y="11152"/>
                      </a:moveTo>
                      <a:cubicBezTo>
                        <a:pt x="1278" y="3928"/>
                        <a:pt x="8129" y="-1055"/>
                        <a:pt x="15353" y="191"/>
                      </a:cubicBezTo>
                      <a:cubicBezTo>
                        <a:pt x="22578" y="1437"/>
                        <a:pt x="27560" y="8163"/>
                        <a:pt x="26564" y="15387"/>
                      </a:cubicBezTo>
                      <a:cubicBezTo>
                        <a:pt x="25567" y="22611"/>
                        <a:pt x="18592"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1" name="Freeform 8277">
                  <a:extLst>
                    <a:ext uri="{FF2B5EF4-FFF2-40B4-BE49-F238E27FC236}">
                      <a16:creationId xmlns:a16="http://schemas.microsoft.com/office/drawing/2014/main" id="{DBE41100-092F-6F64-091B-11B400683D11}"/>
                    </a:ext>
                  </a:extLst>
                </p:cNvPr>
                <p:cNvSpPr/>
                <p:nvPr/>
              </p:nvSpPr>
              <p:spPr>
                <a:xfrm>
                  <a:off x="4254765" y="1744006"/>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2" y="7598"/>
                        <a:pt x="4111" y="13826"/>
                        <a:pt x="3861" y="18185"/>
                      </a:cubicBezTo>
                      <a:cubicBezTo>
                        <a:pt x="3612" y="25161"/>
                        <a:pt x="5232" y="28524"/>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2" name="Freeform 8278">
                  <a:extLst>
                    <a:ext uri="{FF2B5EF4-FFF2-40B4-BE49-F238E27FC236}">
                      <a16:creationId xmlns:a16="http://schemas.microsoft.com/office/drawing/2014/main" id="{AEEAD5E0-CAA6-817B-6A94-C83C29A494F5}"/>
                    </a:ext>
                  </a:extLst>
                </p:cNvPr>
                <p:cNvSpPr/>
                <p:nvPr/>
              </p:nvSpPr>
              <p:spPr>
                <a:xfrm>
                  <a:off x="4263281" y="1740145"/>
                  <a:ext cx="8408" cy="51691"/>
                </a:xfrm>
                <a:custGeom>
                  <a:avLst/>
                  <a:gdLst>
                    <a:gd name="connsiteX0" fmla="*/ 577 w 8408"/>
                    <a:gd name="connsiteY0" fmla="*/ 51691 h 51691"/>
                    <a:gd name="connsiteX1" fmla="*/ 1449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3" name="Freeform 8279">
                  <a:extLst>
                    <a:ext uri="{FF2B5EF4-FFF2-40B4-BE49-F238E27FC236}">
                      <a16:creationId xmlns:a16="http://schemas.microsoft.com/office/drawing/2014/main" id="{2D391649-C02F-D384-638F-6B8A758DBBAF}"/>
                    </a:ext>
                  </a:extLst>
                </p:cNvPr>
                <p:cNvSpPr/>
                <p:nvPr/>
              </p:nvSpPr>
              <p:spPr>
                <a:xfrm>
                  <a:off x="4254978" y="1724259"/>
                  <a:ext cx="26353" cy="26539"/>
                </a:xfrm>
                <a:custGeom>
                  <a:avLst/>
                  <a:gdLst>
                    <a:gd name="connsiteX0" fmla="*/ 26193 w 26353"/>
                    <a:gd name="connsiteY0" fmla="*/ 15387 h 26539"/>
                    <a:gd name="connsiteX1" fmla="*/ 11122 w 26353"/>
                    <a:gd name="connsiteY1" fmla="*/ 26348 h 26539"/>
                    <a:gd name="connsiteX2" fmla="*/ 161 w 26353"/>
                    <a:gd name="connsiteY2" fmla="*/ 11152 h 26539"/>
                    <a:gd name="connsiteX3" fmla="*/ 15232 w 26353"/>
                    <a:gd name="connsiteY3" fmla="*/ 191 h 26539"/>
                    <a:gd name="connsiteX4" fmla="*/ 26193 w 26353"/>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38">
                      <a:moveTo>
                        <a:pt x="26193" y="15387"/>
                      </a:moveTo>
                      <a:cubicBezTo>
                        <a:pt x="25072" y="22611"/>
                        <a:pt x="18346" y="27594"/>
                        <a:pt x="11122" y="26348"/>
                      </a:cubicBezTo>
                      <a:cubicBezTo>
                        <a:pt x="3898" y="25227"/>
                        <a:pt x="-960" y="18376"/>
                        <a:pt x="161" y="11152"/>
                      </a:cubicBezTo>
                      <a:cubicBezTo>
                        <a:pt x="1282" y="3928"/>
                        <a:pt x="8008" y="-1055"/>
                        <a:pt x="15232" y="191"/>
                      </a:cubicBezTo>
                      <a:cubicBezTo>
                        <a:pt x="22457" y="1437"/>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0" name="Graphic 2987">
                <a:extLst>
                  <a:ext uri="{FF2B5EF4-FFF2-40B4-BE49-F238E27FC236}">
                    <a16:creationId xmlns:a16="http://schemas.microsoft.com/office/drawing/2014/main" id="{D7799FE7-FD6B-B34F-D231-068B052DDE81}"/>
                  </a:ext>
                </a:extLst>
              </p:cNvPr>
              <p:cNvGrpSpPr/>
              <p:nvPr/>
            </p:nvGrpSpPr>
            <p:grpSpPr>
              <a:xfrm>
                <a:off x="4206529" y="1719651"/>
                <a:ext cx="45657" cy="147484"/>
                <a:chOff x="4206529" y="1719651"/>
                <a:chExt cx="45657" cy="147484"/>
              </a:xfrm>
              <a:grpFill/>
            </p:grpSpPr>
            <p:sp>
              <p:nvSpPr>
                <p:cNvPr id="5952" name="Freeform 8281">
                  <a:extLst>
                    <a:ext uri="{FF2B5EF4-FFF2-40B4-BE49-F238E27FC236}">
                      <a16:creationId xmlns:a16="http://schemas.microsoft.com/office/drawing/2014/main" id="{D1784B76-6F59-F248-3879-12F65AF17348}"/>
                    </a:ext>
                  </a:extLst>
                </p:cNvPr>
                <p:cNvSpPr/>
                <p:nvPr/>
              </p:nvSpPr>
              <p:spPr>
                <a:xfrm>
                  <a:off x="4224622" y="1795947"/>
                  <a:ext cx="8843" cy="51442"/>
                </a:xfrm>
                <a:custGeom>
                  <a:avLst/>
                  <a:gdLst>
                    <a:gd name="connsiteX0" fmla="*/ 0 w 8843"/>
                    <a:gd name="connsiteY0" fmla="*/ 51442 h 51442"/>
                    <a:gd name="connsiteX1" fmla="*/ 4858 w 8843"/>
                    <a:gd name="connsiteY1" fmla="*/ 33257 h 51442"/>
                    <a:gd name="connsiteX2" fmla="*/ 4110 w 8843"/>
                    <a:gd name="connsiteY2" fmla="*/ 15819 h 51442"/>
                    <a:gd name="connsiteX3" fmla="*/ 8843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0" y="51442"/>
                      </a:moveTo>
                      <a:cubicBezTo>
                        <a:pt x="3737" y="43844"/>
                        <a:pt x="4733" y="37616"/>
                        <a:pt x="4858" y="33257"/>
                      </a:cubicBezTo>
                      <a:cubicBezTo>
                        <a:pt x="5231" y="26282"/>
                        <a:pt x="3488" y="22919"/>
                        <a:pt x="4110" y="15819"/>
                      </a:cubicBezTo>
                      <a:cubicBezTo>
                        <a:pt x="4733" y="8968"/>
                        <a:pt x="6975" y="3488"/>
                        <a:pt x="8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3" name="Freeform 8282">
                  <a:extLst>
                    <a:ext uri="{FF2B5EF4-FFF2-40B4-BE49-F238E27FC236}">
                      <a16:creationId xmlns:a16="http://schemas.microsoft.com/office/drawing/2014/main" id="{E4C8FA46-4DF0-7203-4B21-500F9C2C747E}"/>
                    </a:ext>
                  </a:extLst>
                </p:cNvPr>
                <p:cNvSpPr/>
                <p:nvPr/>
              </p:nvSpPr>
              <p:spPr>
                <a:xfrm>
                  <a:off x="4216074" y="1799683"/>
                  <a:ext cx="8721" cy="51566"/>
                </a:xfrm>
                <a:custGeom>
                  <a:avLst/>
                  <a:gdLst>
                    <a:gd name="connsiteX0" fmla="*/ 8175 w 8721"/>
                    <a:gd name="connsiteY0" fmla="*/ 0 h 51566"/>
                    <a:gd name="connsiteX1" fmla="*/ 7178 w 8721"/>
                    <a:gd name="connsiteY1" fmla="*/ 18808 h 51566"/>
                    <a:gd name="connsiteX2" fmla="*/ 1075 w 8721"/>
                    <a:gd name="connsiteY2" fmla="*/ 35125 h 51566"/>
                    <a:gd name="connsiteX3" fmla="*/ 701 w 87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721" h="51566">
                      <a:moveTo>
                        <a:pt x="8175" y="0"/>
                      </a:moveTo>
                      <a:cubicBezTo>
                        <a:pt x="9420" y="8345"/>
                        <a:pt x="8299" y="14573"/>
                        <a:pt x="7178" y="18808"/>
                      </a:cubicBezTo>
                      <a:cubicBezTo>
                        <a:pt x="5310" y="25534"/>
                        <a:pt x="2694" y="28275"/>
                        <a:pt x="1075" y="35125"/>
                      </a:cubicBezTo>
                      <a:cubicBezTo>
                        <a:pt x="-544" y="41851"/>
                        <a:pt x="-46" y="47706"/>
                        <a:pt x="7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4" name="Freeform 8283">
                  <a:extLst>
                    <a:ext uri="{FF2B5EF4-FFF2-40B4-BE49-F238E27FC236}">
                      <a16:creationId xmlns:a16="http://schemas.microsoft.com/office/drawing/2014/main" id="{3BC38142-DC55-7E33-68B1-4B98387FD636}"/>
                    </a:ext>
                  </a:extLst>
                </p:cNvPr>
                <p:cNvSpPr/>
                <p:nvPr/>
              </p:nvSpPr>
              <p:spPr>
                <a:xfrm>
                  <a:off x="4206529" y="1840596"/>
                  <a:ext cx="26596" cy="26539"/>
                </a:xfrm>
                <a:custGeom>
                  <a:avLst/>
                  <a:gdLst>
                    <a:gd name="connsiteX0" fmla="*/ 158 w 26596"/>
                    <a:gd name="connsiteY0" fmla="*/ 11152 h 26539"/>
                    <a:gd name="connsiteX1" fmla="*/ 15354 w 26596"/>
                    <a:gd name="connsiteY1" fmla="*/ 191 h 26539"/>
                    <a:gd name="connsiteX2" fmla="*/ 26439 w 26596"/>
                    <a:gd name="connsiteY2" fmla="*/ 15387 h 26539"/>
                    <a:gd name="connsiteX3" fmla="*/ 11243 w 26596"/>
                    <a:gd name="connsiteY3" fmla="*/ 26348 h 26539"/>
                    <a:gd name="connsiteX4" fmla="*/ 158 w 26596"/>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38">
                      <a:moveTo>
                        <a:pt x="158" y="11152"/>
                      </a:moveTo>
                      <a:cubicBezTo>
                        <a:pt x="1279" y="3928"/>
                        <a:pt x="8129" y="-1055"/>
                        <a:pt x="15354" y="191"/>
                      </a:cubicBezTo>
                      <a:cubicBezTo>
                        <a:pt x="22578" y="1437"/>
                        <a:pt x="27560" y="8163"/>
                        <a:pt x="26439" y="15387"/>
                      </a:cubicBezTo>
                      <a:cubicBezTo>
                        <a:pt x="25318" y="22611"/>
                        <a:pt x="18468" y="27594"/>
                        <a:pt x="11243" y="26348"/>
                      </a:cubicBezTo>
                      <a:cubicBezTo>
                        <a:pt x="4019" y="25103"/>
                        <a:pt x="-963" y="18376"/>
                        <a:pt x="158"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5" name="Freeform 8284">
                  <a:extLst>
                    <a:ext uri="{FF2B5EF4-FFF2-40B4-BE49-F238E27FC236}">
                      <a16:creationId xmlns:a16="http://schemas.microsoft.com/office/drawing/2014/main" id="{6C8F59CB-3C78-9689-9407-AEC736BFDECA}"/>
                    </a:ext>
                  </a:extLst>
                </p:cNvPr>
                <p:cNvSpPr/>
                <p:nvPr/>
              </p:nvSpPr>
              <p:spPr>
                <a:xfrm>
                  <a:off x="4225494" y="1739397"/>
                  <a:ext cx="8843" cy="51442"/>
                </a:xfrm>
                <a:custGeom>
                  <a:avLst/>
                  <a:gdLst>
                    <a:gd name="connsiteX0" fmla="*/ 8844 w 8843"/>
                    <a:gd name="connsiteY0" fmla="*/ 0 h 51442"/>
                    <a:gd name="connsiteX1" fmla="*/ 3986 w 8843"/>
                    <a:gd name="connsiteY1" fmla="*/ 18185 h 51442"/>
                    <a:gd name="connsiteX2" fmla="*/ 4733 w 8843"/>
                    <a:gd name="connsiteY2" fmla="*/ 35624 h 51442"/>
                    <a:gd name="connsiteX3" fmla="*/ 0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0"/>
                      </a:moveTo>
                      <a:cubicBezTo>
                        <a:pt x="5107" y="7598"/>
                        <a:pt x="4111" y="13826"/>
                        <a:pt x="3986" y="18185"/>
                      </a:cubicBezTo>
                      <a:cubicBezTo>
                        <a:pt x="3612" y="25161"/>
                        <a:pt x="5232" y="28524"/>
                        <a:pt x="4733" y="35624"/>
                      </a:cubicBezTo>
                      <a:cubicBezTo>
                        <a:pt x="4111" y="42474"/>
                        <a:pt x="1869"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6" name="Freeform 8285">
                  <a:extLst>
                    <a:ext uri="{FF2B5EF4-FFF2-40B4-BE49-F238E27FC236}">
                      <a16:creationId xmlns:a16="http://schemas.microsoft.com/office/drawing/2014/main" id="{AC2EBFF5-E7A5-5A4B-A77F-ECC8D5553D3D}"/>
                    </a:ext>
                  </a:extLst>
                </p:cNvPr>
                <p:cNvSpPr/>
                <p:nvPr/>
              </p:nvSpPr>
              <p:spPr>
                <a:xfrm>
                  <a:off x="4234040" y="1735536"/>
                  <a:ext cx="8596" cy="51566"/>
                </a:xfrm>
                <a:custGeom>
                  <a:avLst/>
                  <a:gdLst>
                    <a:gd name="connsiteX0" fmla="*/ 547 w 8596"/>
                    <a:gd name="connsiteY0" fmla="*/ 51567 h 51566"/>
                    <a:gd name="connsiteX1" fmla="*/ 1543 w 8596"/>
                    <a:gd name="connsiteY1" fmla="*/ 32759 h 51566"/>
                    <a:gd name="connsiteX2" fmla="*/ 7522 w 8596"/>
                    <a:gd name="connsiteY2" fmla="*/ 16442 h 51566"/>
                    <a:gd name="connsiteX3" fmla="*/ 7896 w 8596"/>
                    <a:gd name="connsiteY3" fmla="*/ 0 h 51566"/>
                  </a:gdLst>
                  <a:ahLst/>
                  <a:cxnLst>
                    <a:cxn ang="0">
                      <a:pos x="connsiteX0" y="connsiteY0"/>
                    </a:cxn>
                    <a:cxn ang="0">
                      <a:pos x="connsiteX1" y="connsiteY1"/>
                    </a:cxn>
                    <a:cxn ang="0">
                      <a:pos x="connsiteX2" y="connsiteY2"/>
                    </a:cxn>
                    <a:cxn ang="0">
                      <a:pos x="connsiteX3" y="connsiteY3"/>
                    </a:cxn>
                  </a:cxnLst>
                  <a:rect l="l" t="t" r="r" b="b"/>
                  <a:pathLst>
                    <a:path w="8596" h="51566">
                      <a:moveTo>
                        <a:pt x="547" y="51567"/>
                      </a:moveTo>
                      <a:cubicBezTo>
                        <a:pt x="-699" y="43221"/>
                        <a:pt x="422" y="36994"/>
                        <a:pt x="1543" y="32759"/>
                      </a:cubicBezTo>
                      <a:cubicBezTo>
                        <a:pt x="3412" y="26033"/>
                        <a:pt x="6027" y="23292"/>
                        <a:pt x="7522" y="16442"/>
                      </a:cubicBezTo>
                      <a:cubicBezTo>
                        <a:pt x="9141" y="9715"/>
                        <a:pt x="8643" y="3861"/>
                        <a:pt x="78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7" name="Freeform 8286">
                  <a:extLst>
                    <a:ext uri="{FF2B5EF4-FFF2-40B4-BE49-F238E27FC236}">
                      <a16:creationId xmlns:a16="http://schemas.microsoft.com/office/drawing/2014/main" id="{EAA06035-C9FF-A36C-ECB3-AF616D48DD98}"/>
                    </a:ext>
                  </a:extLst>
                </p:cNvPr>
                <p:cNvSpPr/>
                <p:nvPr/>
              </p:nvSpPr>
              <p:spPr>
                <a:xfrm>
                  <a:off x="4225832" y="1719651"/>
                  <a:ext cx="26354" cy="26539"/>
                </a:xfrm>
                <a:custGeom>
                  <a:avLst/>
                  <a:gdLst>
                    <a:gd name="connsiteX0" fmla="*/ 26193 w 26354"/>
                    <a:gd name="connsiteY0" fmla="*/ 15387 h 26539"/>
                    <a:gd name="connsiteX1" fmla="*/ 11122 w 26354"/>
                    <a:gd name="connsiteY1" fmla="*/ 26348 h 26539"/>
                    <a:gd name="connsiteX2" fmla="*/ 161 w 26354"/>
                    <a:gd name="connsiteY2" fmla="*/ 11152 h 26539"/>
                    <a:gd name="connsiteX3" fmla="*/ 15232 w 26354"/>
                    <a:gd name="connsiteY3" fmla="*/ 191 h 26539"/>
                    <a:gd name="connsiteX4" fmla="*/ 26193 w 26354"/>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26193" y="15387"/>
                      </a:moveTo>
                      <a:cubicBezTo>
                        <a:pt x="25072" y="22611"/>
                        <a:pt x="18346" y="27594"/>
                        <a:pt x="11122" y="26348"/>
                      </a:cubicBezTo>
                      <a:cubicBezTo>
                        <a:pt x="3897" y="25227"/>
                        <a:pt x="-960" y="18376"/>
                        <a:pt x="161" y="11152"/>
                      </a:cubicBezTo>
                      <a:cubicBezTo>
                        <a:pt x="1282" y="3928"/>
                        <a:pt x="8133" y="-1055"/>
                        <a:pt x="15232" y="191"/>
                      </a:cubicBezTo>
                      <a:cubicBezTo>
                        <a:pt x="22457" y="1312"/>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1" name="Graphic 2987">
                <a:extLst>
                  <a:ext uri="{FF2B5EF4-FFF2-40B4-BE49-F238E27FC236}">
                    <a16:creationId xmlns:a16="http://schemas.microsoft.com/office/drawing/2014/main" id="{3D515917-D489-F14C-B490-05404E7E3220}"/>
                  </a:ext>
                </a:extLst>
              </p:cNvPr>
              <p:cNvGrpSpPr/>
              <p:nvPr/>
            </p:nvGrpSpPr>
            <p:grpSpPr>
              <a:xfrm>
                <a:off x="4177099" y="1715042"/>
                <a:ext cx="46064" cy="147360"/>
                <a:chOff x="4177099" y="1715042"/>
                <a:chExt cx="46064" cy="147360"/>
              </a:xfrm>
              <a:grpFill/>
            </p:grpSpPr>
            <p:sp>
              <p:nvSpPr>
                <p:cNvPr id="5946" name="Freeform 8288">
                  <a:extLst>
                    <a:ext uri="{FF2B5EF4-FFF2-40B4-BE49-F238E27FC236}">
                      <a16:creationId xmlns:a16="http://schemas.microsoft.com/office/drawing/2014/main" id="{09066439-0EF4-732B-F385-ACF17BE90094}"/>
                    </a:ext>
                  </a:extLst>
                </p:cNvPr>
                <p:cNvSpPr/>
                <p:nvPr/>
              </p:nvSpPr>
              <p:spPr>
                <a:xfrm>
                  <a:off x="4195102" y="1791338"/>
                  <a:ext cx="9092" cy="51442"/>
                </a:xfrm>
                <a:custGeom>
                  <a:avLst/>
                  <a:gdLst>
                    <a:gd name="connsiteX0" fmla="*/ 0 w 9092"/>
                    <a:gd name="connsiteY0" fmla="*/ 51442 h 51442"/>
                    <a:gd name="connsiteX1" fmla="*/ 4983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3" y="33257"/>
                      </a:cubicBezTo>
                      <a:cubicBezTo>
                        <a:pt x="5356" y="26282"/>
                        <a:pt x="3737" y="22919"/>
                        <a:pt x="4360" y="15819"/>
                      </a:cubicBezTo>
                      <a:cubicBezTo>
                        <a:pt x="4983" y="8968"/>
                        <a:pt x="7225"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7" name="Freeform 8289">
                  <a:extLst>
                    <a:ext uri="{FF2B5EF4-FFF2-40B4-BE49-F238E27FC236}">
                      <a16:creationId xmlns:a16="http://schemas.microsoft.com/office/drawing/2014/main" id="{540CF8D9-E2FA-914A-0819-6E2A57B0718E}"/>
                    </a:ext>
                  </a:extLst>
                </p:cNvPr>
                <p:cNvSpPr/>
                <p:nvPr/>
              </p:nvSpPr>
              <p:spPr>
                <a:xfrm>
                  <a:off x="4186788" y="1795075"/>
                  <a:ext cx="8681" cy="51566"/>
                </a:xfrm>
                <a:custGeom>
                  <a:avLst/>
                  <a:gdLst>
                    <a:gd name="connsiteX0" fmla="*/ 8190 w 8681"/>
                    <a:gd name="connsiteY0" fmla="*/ 0 h 51566"/>
                    <a:gd name="connsiteX1" fmla="*/ 7193 w 8681"/>
                    <a:gd name="connsiteY1" fmla="*/ 18808 h 51566"/>
                    <a:gd name="connsiteX2" fmla="*/ 1090 w 8681"/>
                    <a:gd name="connsiteY2" fmla="*/ 35125 h 51566"/>
                    <a:gd name="connsiteX3" fmla="*/ 592 w 868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0"/>
                      </a:moveTo>
                      <a:cubicBezTo>
                        <a:pt x="9311" y="8345"/>
                        <a:pt x="8314" y="14573"/>
                        <a:pt x="7193" y="18808"/>
                      </a:cubicBezTo>
                      <a:cubicBezTo>
                        <a:pt x="5325" y="25534"/>
                        <a:pt x="2709"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8" name="Freeform 8290">
                  <a:extLst>
                    <a:ext uri="{FF2B5EF4-FFF2-40B4-BE49-F238E27FC236}">
                      <a16:creationId xmlns:a16="http://schemas.microsoft.com/office/drawing/2014/main" id="{C590BDB7-C59D-2EE9-BCEC-0773C4A0CA3D}"/>
                    </a:ext>
                  </a:extLst>
                </p:cNvPr>
                <p:cNvSpPr/>
                <p:nvPr/>
              </p:nvSpPr>
              <p:spPr>
                <a:xfrm>
                  <a:off x="4177099" y="1835893"/>
                  <a:ext cx="26754" cy="26508"/>
                </a:xfrm>
                <a:custGeom>
                  <a:avLst/>
                  <a:gdLst>
                    <a:gd name="connsiteX0" fmla="*/ 191 w 26754"/>
                    <a:gd name="connsiteY0" fmla="*/ 11122 h 26508"/>
                    <a:gd name="connsiteX1" fmla="*/ 15512 w 26754"/>
                    <a:gd name="connsiteY1" fmla="*/ 161 h 26508"/>
                    <a:gd name="connsiteX2" fmla="*/ 26597 w 26754"/>
                    <a:gd name="connsiteY2" fmla="*/ 15357 h 26508"/>
                    <a:gd name="connsiteX3" fmla="*/ 11277 w 26754"/>
                    <a:gd name="connsiteY3" fmla="*/ 26318 h 26508"/>
                    <a:gd name="connsiteX4" fmla="*/ 191 w 26754"/>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508">
                      <a:moveTo>
                        <a:pt x="191" y="11122"/>
                      </a:moveTo>
                      <a:cubicBezTo>
                        <a:pt x="1312" y="3897"/>
                        <a:pt x="8163" y="-960"/>
                        <a:pt x="15512" y="161"/>
                      </a:cubicBezTo>
                      <a:cubicBezTo>
                        <a:pt x="22736" y="1282"/>
                        <a:pt x="27718" y="8132"/>
                        <a:pt x="26597" y="15357"/>
                      </a:cubicBezTo>
                      <a:cubicBezTo>
                        <a:pt x="25476" y="22581"/>
                        <a:pt x="18626" y="27563"/>
                        <a:pt x="11277" y="26318"/>
                      </a:cubicBezTo>
                      <a:cubicBezTo>
                        <a:pt x="3928" y="25197"/>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9" name="Freeform 8291">
                  <a:extLst>
                    <a:ext uri="{FF2B5EF4-FFF2-40B4-BE49-F238E27FC236}">
                      <a16:creationId xmlns:a16="http://schemas.microsoft.com/office/drawing/2014/main" id="{BF15ACDC-20A3-4592-EB55-9DB57FC1A293}"/>
                    </a:ext>
                  </a:extLst>
                </p:cNvPr>
                <p:cNvSpPr/>
                <p:nvPr/>
              </p:nvSpPr>
              <p:spPr>
                <a:xfrm>
                  <a:off x="4196099" y="1734789"/>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0" name="Freeform 8292">
                  <a:extLst>
                    <a:ext uri="{FF2B5EF4-FFF2-40B4-BE49-F238E27FC236}">
                      <a16:creationId xmlns:a16="http://schemas.microsoft.com/office/drawing/2014/main" id="{E5C7B933-1064-61B5-4687-97F122F70930}"/>
                    </a:ext>
                  </a:extLst>
                </p:cNvPr>
                <p:cNvSpPr/>
                <p:nvPr/>
              </p:nvSpPr>
              <p:spPr>
                <a:xfrm>
                  <a:off x="4204824" y="1730927"/>
                  <a:ext cx="8681" cy="51566"/>
                </a:xfrm>
                <a:custGeom>
                  <a:avLst/>
                  <a:gdLst>
                    <a:gd name="connsiteX0" fmla="*/ 491 w 8681"/>
                    <a:gd name="connsiteY0" fmla="*/ 51567 h 51566"/>
                    <a:gd name="connsiteX1" fmla="*/ 1488 w 8681"/>
                    <a:gd name="connsiteY1" fmla="*/ 32759 h 51566"/>
                    <a:gd name="connsiteX2" fmla="*/ 7591 w 8681"/>
                    <a:gd name="connsiteY2" fmla="*/ 16442 h 51566"/>
                    <a:gd name="connsiteX3" fmla="*/ 8090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1" y="51567"/>
                      </a:moveTo>
                      <a:cubicBezTo>
                        <a:pt x="-630" y="43222"/>
                        <a:pt x="367" y="36994"/>
                        <a:pt x="1488" y="32759"/>
                      </a:cubicBezTo>
                      <a:cubicBezTo>
                        <a:pt x="3356" y="26033"/>
                        <a:pt x="5972" y="23292"/>
                        <a:pt x="7591" y="16442"/>
                      </a:cubicBezTo>
                      <a:cubicBezTo>
                        <a:pt x="9211" y="9716"/>
                        <a:pt x="8712" y="3861"/>
                        <a:pt x="80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1" name="Freeform 8293">
                  <a:extLst>
                    <a:ext uri="{FF2B5EF4-FFF2-40B4-BE49-F238E27FC236}">
                      <a16:creationId xmlns:a16="http://schemas.microsoft.com/office/drawing/2014/main" id="{B7B3D0FF-C4EE-2E9C-5344-D7C93D1D1167}"/>
                    </a:ext>
                  </a:extLst>
                </p:cNvPr>
                <p:cNvSpPr/>
                <p:nvPr/>
              </p:nvSpPr>
              <p:spPr>
                <a:xfrm>
                  <a:off x="4196685" y="1715042"/>
                  <a:ext cx="26478" cy="26539"/>
                </a:xfrm>
                <a:custGeom>
                  <a:avLst/>
                  <a:gdLst>
                    <a:gd name="connsiteX0" fmla="*/ 26318 w 26478"/>
                    <a:gd name="connsiteY0" fmla="*/ 15387 h 26539"/>
                    <a:gd name="connsiteX1" fmla="*/ 11122 w 26478"/>
                    <a:gd name="connsiteY1" fmla="*/ 26348 h 26539"/>
                    <a:gd name="connsiteX2" fmla="*/ 161 w 26478"/>
                    <a:gd name="connsiteY2" fmla="*/ 11152 h 26539"/>
                    <a:gd name="connsiteX3" fmla="*/ 15357 w 26478"/>
                    <a:gd name="connsiteY3" fmla="*/ 191 h 26539"/>
                    <a:gd name="connsiteX4" fmla="*/ 26318 w 26478"/>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538">
                      <a:moveTo>
                        <a:pt x="26318" y="15387"/>
                      </a:moveTo>
                      <a:cubicBezTo>
                        <a:pt x="25197" y="22611"/>
                        <a:pt x="18346" y="27594"/>
                        <a:pt x="11122" y="26348"/>
                      </a:cubicBezTo>
                      <a:cubicBezTo>
                        <a:pt x="3897" y="25227"/>
                        <a:pt x="-960" y="18376"/>
                        <a:pt x="161" y="11152"/>
                      </a:cubicBezTo>
                      <a:cubicBezTo>
                        <a:pt x="1282" y="3928"/>
                        <a:pt x="8132" y="-1055"/>
                        <a:pt x="15357" y="191"/>
                      </a:cubicBezTo>
                      <a:cubicBezTo>
                        <a:pt x="22581" y="1312"/>
                        <a:pt x="27439" y="8163"/>
                        <a:pt x="2631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2" name="Graphic 2987">
                <a:extLst>
                  <a:ext uri="{FF2B5EF4-FFF2-40B4-BE49-F238E27FC236}">
                    <a16:creationId xmlns:a16="http://schemas.microsoft.com/office/drawing/2014/main" id="{5F7B073F-EF7B-8F8C-5AB0-ADAA4C90F627}"/>
                  </a:ext>
                </a:extLst>
              </p:cNvPr>
              <p:cNvGrpSpPr/>
              <p:nvPr/>
            </p:nvGrpSpPr>
            <p:grpSpPr>
              <a:xfrm>
                <a:off x="4147579" y="1710434"/>
                <a:ext cx="46441" cy="147329"/>
                <a:chOff x="4147579" y="1710434"/>
                <a:chExt cx="46441" cy="147329"/>
              </a:xfrm>
              <a:grpFill/>
            </p:grpSpPr>
            <p:sp>
              <p:nvSpPr>
                <p:cNvPr id="5940" name="Freeform 8295">
                  <a:extLst>
                    <a:ext uri="{FF2B5EF4-FFF2-40B4-BE49-F238E27FC236}">
                      <a16:creationId xmlns:a16="http://schemas.microsoft.com/office/drawing/2014/main" id="{C63F9D84-444F-17A0-345A-8DBD4D24E023}"/>
                    </a:ext>
                  </a:extLst>
                </p:cNvPr>
                <p:cNvSpPr/>
                <p:nvPr/>
              </p:nvSpPr>
              <p:spPr>
                <a:xfrm>
                  <a:off x="4165706" y="1786605"/>
                  <a:ext cx="9092" cy="51442"/>
                </a:xfrm>
                <a:custGeom>
                  <a:avLst/>
                  <a:gdLst>
                    <a:gd name="connsiteX0" fmla="*/ 0 w 9092"/>
                    <a:gd name="connsiteY0" fmla="*/ 51442 h 51442"/>
                    <a:gd name="connsiteX1" fmla="*/ 4982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2" y="33257"/>
                      </a:cubicBezTo>
                      <a:cubicBezTo>
                        <a:pt x="5356" y="26282"/>
                        <a:pt x="3737" y="22919"/>
                        <a:pt x="4360" y="15819"/>
                      </a:cubicBezTo>
                      <a:cubicBezTo>
                        <a:pt x="4982" y="8968"/>
                        <a:pt x="7349"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1" name="Freeform 8296">
                  <a:extLst>
                    <a:ext uri="{FF2B5EF4-FFF2-40B4-BE49-F238E27FC236}">
                      <a16:creationId xmlns:a16="http://schemas.microsoft.com/office/drawing/2014/main" id="{B61A05B1-3F92-D739-D518-A01E8A55FDF1}"/>
                    </a:ext>
                  </a:extLst>
                </p:cNvPr>
                <p:cNvSpPr/>
                <p:nvPr/>
              </p:nvSpPr>
              <p:spPr>
                <a:xfrm>
                  <a:off x="4157268" y="1790341"/>
                  <a:ext cx="8926" cy="51566"/>
                </a:xfrm>
                <a:custGeom>
                  <a:avLst/>
                  <a:gdLst>
                    <a:gd name="connsiteX0" fmla="*/ 8439 w 8926"/>
                    <a:gd name="connsiteY0" fmla="*/ 0 h 51566"/>
                    <a:gd name="connsiteX1" fmla="*/ 7318 w 8926"/>
                    <a:gd name="connsiteY1" fmla="*/ 18808 h 51566"/>
                    <a:gd name="connsiteX2" fmla="*/ 1090 w 8926"/>
                    <a:gd name="connsiteY2" fmla="*/ 35125 h 51566"/>
                    <a:gd name="connsiteX3" fmla="*/ 592 w 892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0"/>
                      </a:moveTo>
                      <a:cubicBezTo>
                        <a:pt x="9560" y="8345"/>
                        <a:pt x="8563" y="14573"/>
                        <a:pt x="7318" y="18808"/>
                      </a:cubicBezTo>
                      <a:cubicBezTo>
                        <a:pt x="5449" y="25534"/>
                        <a:pt x="2834"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2" name="Freeform 8297">
                  <a:extLst>
                    <a:ext uri="{FF2B5EF4-FFF2-40B4-BE49-F238E27FC236}">
                      <a16:creationId xmlns:a16="http://schemas.microsoft.com/office/drawing/2014/main" id="{E78A8A84-3B7E-9F49-AB84-43460BD0BC33}"/>
                    </a:ext>
                  </a:extLst>
                </p:cNvPr>
                <p:cNvSpPr/>
                <p:nvPr/>
              </p:nvSpPr>
              <p:spPr>
                <a:xfrm>
                  <a:off x="4147579" y="1831285"/>
                  <a:ext cx="26754" cy="26478"/>
                </a:xfrm>
                <a:custGeom>
                  <a:avLst/>
                  <a:gdLst>
                    <a:gd name="connsiteX0" fmla="*/ 191 w 26754"/>
                    <a:gd name="connsiteY0" fmla="*/ 11122 h 26478"/>
                    <a:gd name="connsiteX1" fmla="*/ 15512 w 26754"/>
                    <a:gd name="connsiteY1" fmla="*/ 161 h 26478"/>
                    <a:gd name="connsiteX2" fmla="*/ 26597 w 26754"/>
                    <a:gd name="connsiteY2" fmla="*/ 15357 h 26478"/>
                    <a:gd name="connsiteX3" fmla="*/ 11277 w 26754"/>
                    <a:gd name="connsiteY3" fmla="*/ 26318 h 26478"/>
                    <a:gd name="connsiteX4" fmla="*/ 191 w 26754"/>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191" y="11122"/>
                      </a:moveTo>
                      <a:cubicBezTo>
                        <a:pt x="1437" y="3897"/>
                        <a:pt x="8287" y="-960"/>
                        <a:pt x="15512" y="161"/>
                      </a:cubicBezTo>
                      <a:cubicBezTo>
                        <a:pt x="22736" y="1282"/>
                        <a:pt x="27718" y="8132"/>
                        <a:pt x="26597" y="15357"/>
                      </a:cubicBezTo>
                      <a:cubicBezTo>
                        <a:pt x="25476" y="22581"/>
                        <a:pt x="18501" y="27439"/>
                        <a:pt x="11277" y="26318"/>
                      </a:cubicBezTo>
                      <a:cubicBezTo>
                        <a:pt x="3927" y="25072"/>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3" name="Freeform 8298">
                  <a:extLst>
                    <a:ext uri="{FF2B5EF4-FFF2-40B4-BE49-F238E27FC236}">
                      <a16:creationId xmlns:a16="http://schemas.microsoft.com/office/drawing/2014/main" id="{83B34598-6405-0B6B-8A9D-0F3A06937943}"/>
                    </a:ext>
                  </a:extLst>
                </p:cNvPr>
                <p:cNvSpPr/>
                <p:nvPr/>
              </p:nvSpPr>
              <p:spPr>
                <a:xfrm>
                  <a:off x="4166952" y="1730056"/>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4" name="Freeform 8299">
                  <a:extLst>
                    <a:ext uri="{FF2B5EF4-FFF2-40B4-BE49-F238E27FC236}">
                      <a16:creationId xmlns:a16="http://schemas.microsoft.com/office/drawing/2014/main" id="{2080107C-A9FC-5BF0-25AE-1441D376BD7E}"/>
                    </a:ext>
                  </a:extLst>
                </p:cNvPr>
                <p:cNvSpPr/>
                <p:nvPr/>
              </p:nvSpPr>
              <p:spPr>
                <a:xfrm>
                  <a:off x="4175557" y="1726194"/>
                  <a:ext cx="8802" cy="51566"/>
                </a:xfrm>
                <a:custGeom>
                  <a:avLst/>
                  <a:gdLst>
                    <a:gd name="connsiteX0" fmla="*/ 488 w 8802"/>
                    <a:gd name="connsiteY0" fmla="*/ 51567 h 51566"/>
                    <a:gd name="connsiteX1" fmla="*/ 1609 w 8802"/>
                    <a:gd name="connsiteY1" fmla="*/ 32759 h 51566"/>
                    <a:gd name="connsiteX2" fmla="*/ 7712 w 8802"/>
                    <a:gd name="connsiteY2" fmla="*/ 16442 h 51566"/>
                    <a:gd name="connsiteX3" fmla="*/ 8211 w 8802"/>
                    <a:gd name="connsiteY3" fmla="*/ 0 h 51566"/>
                  </a:gdLst>
                  <a:ahLst/>
                  <a:cxnLst>
                    <a:cxn ang="0">
                      <a:pos x="connsiteX0" y="connsiteY0"/>
                    </a:cxn>
                    <a:cxn ang="0">
                      <a:pos x="connsiteX1" y="connsiteY1"/>
                    </a:cxn>
                    <a:cxn ang="0">
                      <a:pos x="connsiteX2" y="connsiteY2"/>
                    </a:cxn>
                    <a:cxn ang="0">
                      <a:pos x="connsiteX3" y="connsiteY3"/>
                    </a:cxn>
                  </a:cxnLst>
                  <a:rect l="l" t="t" r="r" b="b"/>
                  <a:pathLst>
                    <a:path w="8802" h="51566">
                      <a:moveTo>
                        <a:pt x="488" y="51567"/>
                      </a:moveTo>
                      <a:cubicBezTo>
                        <a:pt x="-633" y="43221"/>
                        <a:pt x="363" y="36994"/>
                        <a:pt x="1609" y="32759"/>
                      </a:cubicBezTo>
                      <a:cubicBezTo>
                        <a:pt x="3477" y="26033"/>
                        <a:pt x="6093" y="23292"/>
                        <a:pt x="7712" y="16442"/>
                      </a:cubicBezTo>
                      <a:cubicBezTo>
                        <a:pt x="9332" y="9715"/>
                        <a:pt x="8833" y="3861"/>
                        <a:pt x="82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5" name="Freeform 8300">
                  <a:extLst>
                    <a:ext uri="{FF2B5EF4-FFF2-40B4-BE49-F238E27FC236}">
                      <a16:creationId xmlns:a16="http://schemas.microsoft.com/office/drawing/2014/main" id="{318FC00A-4F9C-5D27-ED3B-6A6F2B9CF97E}"/>
                    </a:ext>
                  </a:extLst>
                </p:cNvPr>
                <p:cNvSpPr/>
                <p:nvPr/>
              </p:nvSpPr>
              <p:spPr>
                <a:xfrm>
                  <a:off x="4167629" y="1710434"/>
                  <a:ext cx="26391" cy="26539"/>
                </a:xfrm>
                <a:custGeom>
                  <a:avLst/>
                  <a:gdLst>
                    <a:gd name="connsiteX0" fmla="*/ 26228 w 26391"/>
                    <a:gd name="connsiteY0" fmla="*/ 15387 h 26539"/>
                    <a:gd name="connsiteX1" fmla="*/ 11032 w 26391"/>
                    <a:gd name="connsiteY1" fmla="*/ 26348 h 26539"/>
                    <a:gd name="connsiteX2" fmla="*/ 195 w 26391"/>
                    <a:gd name="connsiteY2" fmla="*/ 11152 h 26539"/>
                    <a:gd name="connsiteX3" fmla="*/ 15391 w 26391"/>
                    <a:gd name="connsiteY3" fmla="*/ 191 h 26539"/>
                    <a:gd name="connsiteX4" fmla="*/ 26228 w 26391"/>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38">
                      <a:moveTo>
                        <a:pt x="26228" y="15387"/>
                      </a:moveTo>
                      <a:cubicBezTo>
                        <a:pt x="25106" y="22611"/>
                        <a:pt x="18256" y="27594"/>
                        <a:pt x="11032" y="26348"/>
                      </a:cubicBezTo>
                      <a:cubicBezTo>
                        <a:pt x="3807" y="25227"/>
                        <a:pt x="-1051" y="18376"/>
                        <a:pt x="195" y="11152"/>
                      </a:cubicBezTo>
                      <a:cubicBezTo>
                        <a:pt x="1440" y="3928"/>
                        <a:pt x="8167" y="-1055"/>
                        <a:pt x="15391" y="191"/>
                      </a:cubicBezTo>
                      <a:cubicBezTo>
                        <a:pt x="22615" y="1437"/>
                        <a:pt x="27349" y="8163"/>
                        <a:pt x="2622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3" name="Graphic 2987">
                <a:extLst>
                  <a:ext uri="{FF2B5EF4-FFF2-40B4-BE49-F238E27FC236}">
                    <a16:creationId xmlns:a16="http://schemas.microsoft.com/office/drawing/2014/main" id="{A0FF1DBA-B0AC-FC64-6FCC-FA4331DA6234}"/>
                  </a:ext>
                </a:extLst>
              </p:cNvPr>
              <p:cNvGrpSpPr/>
              <p:nvPr/>
            </p:nvGrpSpPr>
            <p:grpSpPr>
              <a:xfrm>
                <a:off x="4118089" y="1705731"/>
                <a:ext cx="46815" cy="147299"/>
                <a:chOff x="4118089" y="1705731"/>
                <a:chExt cx="46815" cy="147299"/>
              </a:xfrm>
              <a:grpFill/>
            </p:grpSpPr>
            <p:sp>
              <p:nvSpPr>
                <p:cNvPr id="5934" name="Freeform 8302">
                  <a:extLst>
                    <a:ext uri="{FF2B5EF4-FFF2-40B4-BE49-F238E27FC236}">
                      <a16:creationId xmlns:a16="http://schemas.microsoft.com/office/drawing/2014/main" id="{D3088AD1-D856-F8CA-D486-5C645E088432}"/>
                    </a:ext>
                  </a:extLst>
                </p:cNvPr>
                <p:cNvSpPr/>
                <p:nvPr/>
              </p:nvSpPr>
              <p:spPr>
                <a:xfrm>
                  <a:off x="4136311" y="1781872"/>
                  <a:ext cx="9217" cy="51442"/>
                </a:xfrm>
                <a:custGeom>
                  <a:avLst/>
                  <a:gdLst>
                    <a:gd name="connsiteX0" fmla="*/ 0 w 9217"/>
                    <a:gd name="connsiteY0" fmla="*/ 51442 h 51442"/>
                    <a:gd name="connsiteX1" fmla="*/ 4983 w 9217"/>
                    <a:gd name="connsiteY1" fmla="*/ 33257 h 51442"/>
                    <a:gd name="connsiteX2" fmla="*/ 4360 w 9217"/>
                    <a:gd name="connsiteY2" fmla="*/ 15819 h 51442"/>
                    <a:gd name="connsiteX3" fmla="*/ 9218 w 9217"/>
                    <a:gd name="connsiteY3" fmla="*/ 0 h 51442"/>
                  </a:gdLst>
                  <a:ahLst/>
                  <a:cxnLst>
                    <a:cxn ang="0">
                      <a:pos x="connsiteX0" y="connsiteY0"/>
                    </a:cxn>
                    <a:cxn ang="0">
                      <a:pos x="connsiteX1" y="connsiteY1"/>
                    </a:cxn>
                    <a:cxn ang="0">
                      <a:pos x="connsiteX2" y="connsiteY2"/>
                    </a:cxn>
                    <a:cxn ang="0">
                      <a:pos x="connsiteX3" y="connsiteY3"/>
                    </a:cxn>
                  </a:cxnLst>
                  <a:rect l="l" t="t" r="r" b="b"/>
                  <a:pathLst>
                    <a:path w="9217" h="51442">
                      <a:moveTo>
                        <a:pt x="0" y="51442"/>
                      </a:moveTo>
                      <a:cubicBezTo>
                        <a:pt x="3737" y="43844"/>
                        <a:pt x="4858" y="37616"/>
                        <a:pt x="4983" y="33257"/>
                      </a:cubicBezTo>
                      <a:cubicBezTo>
                        <a:pt x="5356" y="26282"/>
                        <a:pt x="3737" y="22919"/>
                        <a:pt x="4360" y="15819"/>
                      </a:cubicBezTo>
                      <a:cubicBezTo>
                        <a:pt x="4983" y="8968"/>
                        <a:pt x="7349" y="3488"/>
                        <a:pt x="92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5" name="Freeform 8303">
                  <a:extLst>
                    <a:ext uri="{FF2B5EF4-FFF2-40B4-BE49-F238E27FC236}">
                      <a16:creationId xmlns:a16="http://schemas.microsoft.com/office/drawing/2014/main" id="{DBABBA1A-BA26-7957-B4EF-CF87288F6975}"/>
                    </a:ext>
                  </a:extLst>
                </p:cNvPr>
                <p:cNvSpPr/>
                <p:nvPr/>
              </p:nvSpPr>
              <p:spPr>
                <a:xfrm>
                  <a:off x="4127932" y="1785733"/>
                  <a:ext cx="8968" cy="51566"/>
                </a:xfrm>
                <a:custGeom>
                  <a:avLst/>
                  <a:gdLst>
                    <a:gd name="connsiteX0" fmla="*/ 8504 w 8968"/>
                    <a:gd name="connsiteY0" fmla="*/ 0 h 51566"/>
                    <a:gd name="connsiteX1" fmla="*/ 7383 w 8968"/>
                    <a:gd name="connsiteY1" fmla="*/ 18808 h 51566"/>
                    <a:gd name="connsiteX2" fmla="*/ 1155 w 8968"/>
                    <a:gd name="connsiteY2" fmla="*/ 35125 h 51566"/>
                    <a:gd name="connsiteX3" fmla="*/ 532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0"/>
                      </a:moveTo>
                      <a:cubicBezTo>
                        <a:pt x="9625" y="8345"/>
                        <a:pt x="8504" y="14573"/>
                        <a:pt x="7383" y="18808"/>
                      </a:cubicBezTo>
                      <a:cubicBezTo>
                        <a:pt x="5514" y="25534"/>
                        <a:pt x="2899" y="28150"/>
                        <a:pt x="1155" y="35125"/>
                      </a:cubicBezTo>
                      <a:cubicBezTo>
                        <a:pt x="-464" y="41851"/>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6" name="Freeform 8304">
                  <a:extLst>
                    <a:ext uri="{FF2B5EF4-FFF2-40B4-BE49-F238E27FC236}">
                      <a16:creationId xmlns:a16="http://schemas.microsoft.com/office/drawing/2014/main" id="{D8703ECF-6D7A-BEBB-3F4C-6A9ED47962E8}"/>
                    </a:ext>
                  </a:extLst>
                </p:cNvPr>
                <p:cNvSpPr/>
                <p:nvPr/>
              </p:nvSpPr>
              <p:spPr>
                <a:xfrm>
                  <a:off x="4118089" y="1826552"/>
                  <a:ext cx="26633" cy="26478"/>
                </a:xfrm>
                <a:custGeom>
                  <a:avLst/>
                  <a:gdLst>
                    <a:gd name="connsiteX0" fmla="*/ 161 w 26633"/>
                    <a:gd name="connsiteY0" fmla="*/ 11122 h 26478"/>
                    <a:gd name="connsiteX1" fmla="*/ 15481 w 26633"/>
                    <a:gd name="connsiteY1" fmla="*/ 161 h 26478"/>
                    <a:gd name="connsiteX2" fmla="*/ 26442 w 26633"/>
                    <a:gd name="connsiteY2" fmla="*/ 15357 h 26478"/>
                    <a:gd name="connsiteX3" fmla="*/ 11122 w 26633"/>
                    <a:gd name="connsiteY3" fmla="*/ 26318 h 26478"/>
                    <a:gd name="connsiteX4" fmla="*/ 161 w 26633"/>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161" y="11122"/>
                      </a:moveTo>
                      <a:cubicBezTo>
                        <a:pt x="1406" y="3897"/>
                        <a:pt x="8257" y="-960"/>
                        <a:pt x="15481" y="161"/>
                      </a:cubicBezTo>
                      <a:cubicBezTo>
                        <a:pt x="22706" y="1282"/>
                        <a:pt x="27688" y="8132"/>
                        <a:pt x="26442" y="15357"/>
                      </a:cubicBezTo>
                      <a:cubicBezTo>
                        <a:pt x="25197" y="22581"/>
                        <a:pt x="18346" y="27439"/>
                        <a:pt x="11122" y="26318"/>
                      </a:cubicBezTo>
                      <a:cubicBezTo>
                        <a:pt x="3897" y="25197"/>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7" name="Freeform 8305">
                  <a:extLst>
                    <a:ext uri="{FF2B5EF4-FFF2-40B4-BE49-F238E27FC236}">
                      <a16:creationId xmlns:a16="http://schemas.microsoft.com/office/drawing/2014/main" id="{D5F098AD-DB9B-8CBC-8CBF-598AC66D4145}"/>
                    </a:ext>
                  </a:extLst>
                </p:cNvPr>
                <p:cNvSpPr/>
                <p:nvPr/>
              </p:nvSpPr>
              <p:spPr>
                <a:xfrm>
                  <a:off x="4137556" y="1725447"/>
                  <a:ext cx="9341" cy="51442"/>
                </a:xfrm>
                <a:custGeom>
                  <a:avLst/>
                  <a:gdLst>
                    <a:gd name="connsiteX0" fmla="*/ 9342 w 9341"/>
                    <a:gd name="connsiteY0" fmla="*/ 0 h 51442"/>
                    <a:gd name="connsiteX1" fmla="*/ 4360 w 9341"/>
                    <a:gd name="connsiteY1" fmla="*/ 18185 h 51442"/>
                    <a:gd name="connsiteX2" fmla="*/ 4858 w 9341"/>
                    <a:gd name="connsiteY2" fmla="*/ 35624 h 51442"/>
                    <a:gd name="connsiteX3" fmla="*/ 0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9342" y="0"/>
                      </a:moveTo>
                      <a:cubicBezTo>
                        <a:pt x="5605" y="7598"/>
                        <a:pt x="4484" y="13826"/>
                        <a:pt x="4360" y="18185"/>
                      </a:cubicBezTo>
                      <a:cubicBezTo>
                        <a:pt x="3986" y="25161"/>
                        <a:pt x="5605" y="28524"/>
                        <a:pt x="4858" y="35624"/>
                      </a:cubicBezTo>
                      <a:cubicBezTo>
                        <a:pt x="4235"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8" name="Freeform 8306">
                  <a:extLst>
                    <a:ext uri="{FF2B5EF4-FFF2-40B4-BE49-F238E27FC236}">
                      <a16:creationId xmlns:a16="http://schemas.microsoft.com/office/drawing/2014/main" id="{85C5099F-3A29-104D-9934-92B675E828BC}"/>
                    </a:ext>
                  </a:extLst>
                </p:cNvPr>
                <p:cNvSpPr/>
                <p:nvPr/>
              </p:nvSpPr>
              <p:spPr>
                <a:xfrm>
                  <a:off x="4146309" y="1721586"/>
                  <a:ext cx="8919" cy="51566"/>
                </a:xfrm>
                <a:custGeom>
                  <a:avLst/>
                  <a:gdLst>
                    <a:gd name="connsiteX0" fmla="*/ 464 w 8919"/>
                    <a:gd name="connsiteY0" fmla="*/ 51567 h 51566"/>
                    <a:gd name="connsiteX1" fmla="*/ 1585 w 8919"/>
                    <a:gd name="connsiteY1" fmla="*/ 32759 h 51566"/>
                    <a:gd name="connsiteX2" fmla="*/ 7813 w 8919"/>
                    <a:gd name="connsiteY2" fmla="*/ 16442 h 51566"/>
                    <a:gd name="connsiteX3" fmla="*/ 8436 w 8919"/>
                    <a:gd name="connsiteY3" fmla="*/ 0 h 51566"/>
                  </a:gdLst>
                  <a:ahLst/>
                  <a:cxnLst>
                    <a:cxn ang="0">
                      <a:pos x="connsiteX0" y="connsiteY0"/>
                    </a:cxn>
                    <a:cxn ang="0">
                      <a:pos x="connsiteX1" y="connsiteY1"/>
                    </a:cxn>
                    <a:cxn ang="0">
                      <a:pos x="connsiteX2" y="connsiteY2"/>
                    </a:cxn>
                    <a:cxn ang="0">
                      <a:pos x="connsiteX3" y="connsiteY3"/>
                    </a:cxn>
                  </a:cxnLst>
                  <a:rect l="l" t="t" r="r" b="b"/>
                  <a:pathLst>
                    <a:path w="8919" h="51566">
                      <a:moveTo>
                        <a:pt x="464" y="51567"/>
                      </a:moveTo>
                      <a:cubicBezTo>
                        <a:pt x="-657" y="43222"/>
                        <a:pt x="464" y="36994"/>
                        <a:pt x="1585" y="32759"/>
                      </a:cubicBezTo>
                      <a:cubicBezTo>
                        <a:pt x="3454" y="26033"/>
                        <a:pt x="6069" y="23292"/>
                        <a:pt x="7813" y="16442"/>
                      </a:cubicBezTo>
                      <a:cubicBezTo>
                        <a:pt x="9433" y="9716"/>
                        <a:pt x="8934"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9" name="Freeform 8307">
                  <a:extLst>
                    <a:ext uri="{FF2B5EF4-FFF2-40B4-BE49-F238E27FC236}">
                      <a16:creationId xmlns:a16="http://schemas.microsoft.com/office/drawing/2014/main" id="{D32565CC-4C10-28EE-9E73-D2D1699BD66F}"/>
                    </a:ext>
                  </a:extLst>
                </p:cNvPr>
                <p:cNvSpPr/>
                <p:nvPr/>
              </p:nvSpPr>
              <p:spPr>
                <a:xfrm>
                  <a:off x="4138483" y="1705731"/>
                  <a:ext cx="26422" cy="26508"/>
                </a:xfrm>
                <a:custGeom>
                  <a:avLst/>
                  <a:gdLst>
                    <a:gd name="connsiteX0" fmla="*/ 26227 w 26422"/>
                    <a:gd name="connsiteY0" fmla="*/ 15357 h 26508"/>
                    <a:gd name="connsiteX1" fmla="*/ 11032 w 26422"/>
                    <a:gd name="connsiteY1" fmla="*/ 26318 h 26508"/>
                    <a:gd name="connsiteX2" fmla="*/ 195 w 26422"/>
                    <a:gd name="connsiteY2" fmla="*/ 11122 h 26508"/>
                    <a:gd name="connsiteX3" fmla="*/ 15391 w 26422"/>
                    <a:gd name="connsiteY3" fmla="*/ 161 h 26508"/>
                    <a:gd name="connsiteX4" fmla="*/ 26227 w 26422"/>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5357"/>
                      </a:moveTo>
                      <a:cubicBezTo>
                        <a:pt x="24982" y="22581"/>
                        <a:pt x="18256" y="27563"/>
                        <a:pt x="11032" y="26318"/>
                      </a:cubicBezTo>
                      <a:cubicBezTo>
                        <a:pt x="3807" y="25197"/>
                        <a:pt x="-1051" y="18346"/>
                        <a:pt x="195" y="11122"/>
                      </a:cubicBezTo>
                      <a:cubicBezTo>
                        <a:pt x="1440" y="3897"/>
                        <a:pt x="8167"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4" name="Graphic 2987">
                <a:extLst>
                  <a:ext uri="{FF2B5EF4-FFF2-40B4-BE49-F238E27FC236}">
                    <a16:creationId xmlns:a16="http://schemas.microsoft.com/office/drawing/2014/main" id="{76874579-0D7B-3266-68C0-A61D9B6ABD78}"/>
                  </a:ext>
                </a:extLst>
              </p:cNvPr>
              <p:cNvGrpSpPr/>
              <p:nvPr/>
            </p:nvGrpSpPr>
            <p:grpSpPr>
              <a:xfrm>
                <a:off x="4088660" y="1701122"/>
                <a:ext cx="47098" cy="147174"/>
                <a:chOff x="4088660" y="1701122"/>
                <a:chExt cx="47098" cy="147174"/>
              </a:xfrm>
              <a:grpFill/>
            </p:grpSpPr>
            <p:sp>
              <p:nvSpPr>
                <p:cNvPr id="5928" name="Freeform 8309">
                  <a:extLst>
                    <a:ext uri="{FF2B5EF4-FFF2-40B4-BE49-F238E27FC236}">
                      <a16:creationId xmlns:a16="http://schemas.microsoft.com/office/drawing/2014/main" id="{FF8B5B9D-5759-136F-3E31-F75D7094B5B8}"/>
                    </a:ext>
                  </a:extLst>
                </p:cNvPr>
                <p:cNvSpPr/>
                <p:nvPr/>
              </p:nvSpPr>
              <p:spPr>
                <a:xfrm>
                  <a:off x="4106791" y="1777263"/>
                  <a:ext cx="9466" cy="51442"/>
                </a:xfrm>
                <a:custGeom>
                  <a:avLst/>
                  <a:gdLst>
                    <a:gd name="connsiteX0" fmla="*/ 0 w 9466"/>
                    <a:gd name="connsiteY0" fmla="*/ 51442 h 51442"/>
                    <a:gd name="connsiteX1" fmla="*/ 5107 w 9466"/>
                    <a:gd name="connsiteY1" fmla="*/ 33257 h 51442"/>
                    <a:gd name="connsiteX2" fmla="*/ 4609 w 9466"/>
                    <a:gd name="connsiteY2" fmla="*/ 15819 h 51442"/>
                    <a:gd name="connsiteX3" fmla="*/ 9467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0" y="51442"/>
                      </a:moveTo>
                      <a:cubicBezTo>
                        <a:pt x="3861" y="43969"/>
                        <a:pt x="4858" y="37616"/>
                        <a:pt x="5107" y="33257"/>
                      </a:cubicBezTo>
                      <a:cubicBezTo>
                        <a:pt x="5481" y="26282"/>
                        <a:pt x="3861" y="22919"/>
                        <a:pt x="4609" y="15819"/>
                      </a:cubicBezTo>
                      <a:cubicBezTo>
                        <a:pt x="5232" y="8968"/>
                        <a:pt x="7598" y="3488"/>
                        <a:pt x="94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9" name="Freeform 8310">
                  <a:extLst>
                    <a:ext uri="{FF2B5EF4-FFF2-40B4-BE49-F238E27FC236}">
                      <a16:creationId xmlns:a16="http://schemas.microsoft.com/office/drawing/2014/main" id="{0683C85D-9EED-0EA5-5896-6EAD410E5AB2}"/>
                    </a:ext>
                  </a:extLst>
                </p:cNvPr>
                <p:cNvSpPr/>
                <p:nvPr/>
              </p:nvSpPr>
              <p:spPr>
                <a:xfrm>
                  <a:off x="4098412" y="1781000"/>
                  <a:ext cx="9089" cy="51442"/>
                </a:xfrm>
                <a:custGeom>
                  <a:avLst/>
                  <a:gdLst>
                    <a:gd name="connsiteX0" fmla="*/ 8628 w 9089"/>
                    <a:gd name="connsiteY0" fmla="*/ 0 h 51442"/>
                    <a:gd name="connsiteX1" fmla="*/ 7383 w 9089"/>
                    <a:gd name="connsiteY1" fmla="*/ 18684 h 51442"/>
                    <a:gd name="connsiteX2" fmla="*/ 1155 w 9089"/>
                    <a:gd name="connsiteY2" fmla="*/ 35001 h 51442"/>
                    <a:gd name="connsiteX3" fmla="*/ 532 w 908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89" h="51442">
                      <a:moveTo>
                        <a:pt x="8628" y="0"/>
                      </a:moveTo>
                      <a:cubicBezTo>
                        <a:pt x="9749" y="8345"/>
                        <a:pt x="8628" y="14573"/>
                        <a:pt x="7383" y="18684"/>
                      </a:cubicBezTo>
                      <a:cubicBezTo>
                        <a:pt x="5390" y="25410"/>
                        <a:pt x="2774" y="28025"/>
                        <a:pt x="1155" y="35001"/>
                      </a:cubicBezTo>
                      <a:cubicBezTo>
                        <a:pt x="-464" y="41727"/>
                        <a:pt x="-91" y="47581"/>
                        <a:pt x="53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0" name="Freeform 8311">
                  <a:extLst>
                    <a:ext uri="{FF2B5EF4-FFF2-40B4-BE49-F238E27FC236}">
                      <a16:creationId xmlns:a16="http://schemas.microsoft.com/office/drawing/2014/main" id="{F329976C-ED45-4630-45EB-F942380E7694}"/>
                    </a:ext>
                  </a:extLst>
                </p:cNvPr>
                <p:cNvSpPr/>
                <p:nvPr/>
              </p:nvSpPr>
              <p:spPr>
                <a:xfrm>
                  <a:off x="4088660" y="1821818"/>
                  <a:ext cx="26792" cy="26478"/>
                </a:xfrm>
                <a:custGeom>
                  <a:avLst/>
                  <a:gdLst>
                    <a:gd name="connsiteX0" fmla="*/ 195 w 26792"/>
                    <a:gd name="connsiteY0" fmla="*/ 11122 h 26478"/>
                    <a:gd name="connsiteX1" fmla="*/ 15640 w 26792"/>
                    <a:gd name="connsiteY1" fmla="*/ 161 h 26478"/>
                    <a:gd name="connsiteX2" fmla="*/ 26601 w 26792"/>
                    <a:gd name="connsiteY2" fmla="*/ 15357 h 26478"/>
                    <a:gd name="connsiteX3" fmla="*/ 11156 w 26792"/>
                    <a:gd name="connsiteY3" fmla="*/ 26318 h 26478"/>
                    <a:gd name="connsiteX4" fmla="*/ 195 w 2679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77">
                      <a:moveTo>
                        <a:pt x="195" y="11122"/>
                      </a:moveTo>
                      <a:cubicBezTo>
                        <a:pt x="1440" y="3897"/>
                        <a:pt x="8291" y="-960"/>
                        <a:pt x="15640" y="161"/>
                      </a:cubicBezTo>
                      <a:cubicBezTo>
                        <a:pt x="22864" y="1282"/>
                        <a:pt x="27846" y="8132"/>
                        <a:pt x="26601" y="15357"/>
                      </a:cubicBezTo>
                      <a:cubicBezTo>
                        <a:pt x="25355" y="22581"/>
                        <a:pt x="18505" y="27439"/>
                        <a:pt x="11156" y="26318"/>
                      </a:cubicBezTo>
                      <a:cubicBezTo>
                        <a:pt x="3807" y="25197"/>
                        <a:pt x="-1051"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1" name="Freeform 8312">
                  <a:extLst>
                    <a:ext uri="{FF2B5EF4-FFF2-40B4-BE49-F238E27FC236}">
                      <a16:creationId xmlns:a16="http://schemas.microsoft.com/office/drawing/2014/main" id="{2631AEFC-F6A0-E9D6-2C57-563DF30D5F8E}"/>
                    </a:ext>
                  </a:extLst>
                </p:cNvPr>
                <p:cNvSpPr/>
                <p:nvPr/>
              </p:nvSpPr>
              <p:spPr>
                <a:xfrm>
                  <a:off x="4108410" y="1720838"/>
                  <a:ext cx="9466" cy="51317"/>
                </a:xfrm>
                <a:custGeom>
                  <a:avLst/>
                  <a:gdLst>
                    <a:gd name="connsiteX0" fmla="*/ 9467 w 9466"/>
                    <a:gd name="connsiteY0" fmla="*/ 0 h 51317"/>
                    <a:gd name="connsiteX1" fmla="*/ 4360 w 9466"/>
                    <a:gd name="connsiteY1" fmla="*/ 18185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30" y="7598"/>
                        <a:pt x="4609" y="13826"/>
                        <a:pt x="4360" y="18185"/>
                      </a:cubicBezTo>
                      <a:cubicBezTo>
                        <a:pt x="3986" y="25161"/>
                        <a:pt x="5605" y="28524"/>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2" name="Freeform 8313">
                  <a:extLst>
                    <a:ext uri="{FF2B5EF4-FFF2-40B4-BE49-F238E27FC236}">
                      <a16:creationId xmlns:a16="http://schemas.microsoft.com/office/drawing/2014/main" id="{470D8947-5E88-3805-63DB-2835DEBB3A99}"/>
                    </a:ext>
                  </a:extLst>
                </p:cNvPr>
                <p:cNvSpPr/>
                <p:nvPr/>
              </p:nvSpPr>
              <p:spPr>
                <a:xfrm>
                  <a:off x="4117041" y="1716852"/>
                  <a:ext cx="9089" cy="51566"/>
                </a:xfrm>
                <a:custGeom>
                  <a:avLst/>
                  <a:gdLst>
                    <a:gd name="connsiteX0" fmla="*/ 461 w 9089"/>
                    <a:gd name="connsiteY0" fmla="*/ 51567 h 51566"/>
                    <a:gd name="connsiteX1" fmla="*/ 1707 w 9089"/>
                    <a:gd name="connsiteY1" fmla="*/ 32759 h 51566"/>
                    <a:gd name="connsiteX2" fmla="*/ 7935 w 9089"/>
                    <a:gd name="connsiteY2" fmla="*/ 16442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1"/>
                        <a:pt x="461" y="36994"/>
                        <a:pt x="1707" y="32759"/>
                      </a:cubicBezTo>
                      <a:cubicBezTo>
                        <a:pt x="3699" y="26033"/>
                        <a:pt x="6191" y="23417"/>
                        <a:pt x="7935" y="16442"/>
                      </a:cubicBezTo>
                      <a:cubicBezTo>
                        <a:pt x="9554" y="9715"/>
                        <a:pt x="9180" y="3861"/>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3" name="Freeform 8314">
                  <a:extLst>
                    <a:ext uri="{FF2B5EF4-FFF2-40B4-BE49-F238E27FC236}">
                      <a16:creationId xmlns:a16="http://schemas.microsoft.com/office/drawing/2014/main" id="{B79FBD44-A8E3-0FCE-4E21-7B92B03A89F7}"/>
                    </a:ext>
                  </a:extLst>
                </p:cNvPr>
                <p:cNvSpPr/>
                <p:nvPr/>
              </p:nvSpPr>
              <p:spPr>
                <a:xfrm>
                  <a:off x="4109336" y="1701122"/>
                  <a:ext cx="26422" cy="26478"/>
                </a:xfrm>
                <a:custGeom>
                  <a:avLst/>
                  <a:gdLst>
                    <a:gd name="connsiteX0" fmla="*/ 26227 w 26422"/>
                    <a:gd name="connsiteY0" fmla="*/ 15357 h 26478"/>
                    <a:gd name="connsiteX1" fmla="*/ 11031 w 26422"/>
                    <a:gd name="connsiteY1" fmla="*/ 26318 h 26478"/>
                    <a:gd name="connsiteX2" fmla="*/ 195 w 26422"/>
                    <a:gd name="connsiteY2" fmla="*/ 11122 h 26478"/>
                    <a:gd name="connsiteX3" fmla="*/ 15391 w 26422"/>
                    <a:gd name="connsiteY3" fmla="*/ 161 h 26478"/>
                    <a:gd name="connsiteX4" fmla="*/ 26227 w 26422"/>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7" y="15357"/>
                      </a:moveTo>
                      <a:cubicBezTo>
                        <a:pt x="24982" y="22581"/>
                        <a:pt x="18131" y="27439"/>
                        <a:pt x="11031" y="26318"/>
                      </a:cubicBezTo>
                      <a:cubicBezTo>
                        <a:pt x="3807" y="25197"/>
                        <a:pt x="-1051" y="18346"/>
                        <a:pt x="195" y="11122"/>
                      </a:cubicBezTo>
                      <a:cubicBezTo>
                        <a:pt x="1440" y="3897"/>
                        <a:pt x="8291"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5" name="Graphic 2987">
                <a:extLst>
                  <a:ext uri="{FF2B5EF4-FFF2-40B4-BE49-F238E27FC236}">
                    <a16:creationId xmlns:a16="http://schemas.microsoft.com/office/drawing/2014/main" id="{07813E32-773C-B253-5BC1-3A3385CB9DA5}"/>
                  </a:ext>
                </a:extLst>
              </p:cNvPr>
              <p:cNvGrpSpPr/>
              <p:nvPr/>
            </p:nvGrpSpPr>
            <p:grpSpPr>
              <a:xfrm>
                <a:off x="4059264" y="1696438"/>
                <a:ext cx="47472" cy="147067"/>
                <a:chOff x="4059264" y="1696438"/>
                <a:chExt cx="47472" cy="147067"/>
              </a:xfrm>
              <a:grpFill/>
            </p:grpSpPr>
            <p:sp>
              <p:nvSpPr>
                <p:cNvPr id="5922" name="Freeform 8316">
                  <a:extLst>
                    <a:ext uri="{FF2B5EF4-FFF2-40B4-BE49-F238E27FC236}">
                      <a16:creationId xmlns:a16="http://schemas.microsoft.com/office/drawing/2014/main" id="{AC1F579E-E34F-29B8-57E7-FF4E0E144D7B}"/>
                    </a:ext>
                  </a:extLst>
                </p:cNvPr>
                <p:cNvSpPr/>
                <p:nvPr/>
              </p:nvSpPr>
              <p:spPr>
                <a:xfrm>
                  <a:off x="4077395" y="1772654"/>
                  <a:ext cx="9466" cy="51193"/>
                </a:xfrm>
                <a:custGeom>
                  <a:avLst/>
                  <a:gdLst>
                    <a:gd name="connsiteX0" fmla="*/ 0 w 9466"/>
                    <a:gd name="connsiteY0" fmla="*/ 51193 h 51193"/>
                    <a:gd name="connsiteX1" fmla="*/ 5107 w 9466"/>
                    <a:gd name="connsiteY1" fmla="*/ 33132 h 51193"/>
                    <a:gd name="connsiteX2" fmla="*/ 4609 w 9466"/>
                    <a:gd name="connsiteY2" fmla="*/ 15694 h 51193"/>
                    <a:gd name="connsiteX3" fmla="*/ 9466 w 9466"/>
                    <a:gd name="connsiteY3" fmla="*/ 0 h 51193"/>
                  </a:gdLst>
                  <a:ahLst/>
                  <a:cxnLst>
                    <a:cxn ang="0">
                      <a:pos x="connsiteX0" y="connsiteY0"/>
                    </a:cxn>
                    <a:cxn ang="0">
                      <a:pos x="connsiteX1" y="connsiteY1"/>
                    </a:cxn>
                    <a:cxn ang="0">
                      <a:pos x="connsiteX2" y="connsiteY2"/>
                    </a:cxn>
                    <a:cxn ang="0">
                      <a:pos x="connsiteX3" y="connsiteY3"/>
                    </a:cxn>
                  </a:cxnLst>
                  <a:rect l="l" t="t" r="r" b="b"/>
                  <a:pathLst>
                    <a:path w="9466" h="51193">
                      <a:moveTo>
                        <a:pt x="0" y="51193"/>
                      </a:moveTo>
                      <a:cubicBezTo>
                        <a:pt x="3861" y="43720"/>
                        <a:pt x="4858" y="37492"/>
                        <a:pt x="5107" y="33132"/>
                      </a:cubicBezTo>
                      <a:cubicBezTo>
                        <a:pt x="5481" y="26157"/>
                        <a:pt x="3986" y="22794"/>
                        <a:pt x="4609" y="15694"/>
                      </a:cubicBezTo>
                      <a:cubicBezTo>
                        <a:pt x="5356" y="8844"/>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3" name="Freeform 8317">
                  <a:extLst>
                    <a:ext uri="{FF2B5EF4-FFF2-40B4-BE49-F238E27FC236}">
                      <a16:creationId xmlns:a16="http://schemas.microsoft.com/office/drawing/2014/main" id="{F14BF595-63A8-E627-BC61-A444C44C9860}"/>
                    </a:ext>
                  </a:extLst>
                </p:cNvPr>
                <p:cNvSpPr/>
                <p:nvPr/>
              </p:nvSpPr>
              <p:spPr>
                <a:xfrm>
                  <a:off x="4069016" y="1776017"/>
                  <a:ext cx="9213" cy="51566"/>
                </a:xfrm>
                <a:custGeom>
                  <a:avLst/>
                  <a:gdLst>
                    <a:gd name="connsiteX0" fmla="*/ 8753 w 9213"/>
                    <a:gd name="connsiteY0" fmla="*/ 0 h 51566"/>
                    <a:gd name="connsiteX1" fmla="*/ 7507 w 9213"/>
                    <a:gd name="connsiteY1" fmla="*/ 18808 h 51566"/>
                    <a:gd name="connsiteX2" fmla="*/ 1155 w 9213"/>
                    <a:gd name="connsiteY2" fmla="*/ 35001 h 51566"/>
                    <a:gd name="connsiteX3" fmla="*/ 532 w 921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213" h="51566">
                      <a:moveTo>
                        <a:pt x="8753" y="0"/>
                      </a:moveTo>
                      <a:cubicBezTo>
                        <a:pt x="9874" y="8345"/>
                        <a:pt x="8753" y="14573"/>
                        <a:pt x="7507" y="18808"/>
                      </a:cubicBezTo>
                      <a:cubicBezTo>
                        <a:pt x="5514" y="25534"/>
                        <a:pt x="2899" y="28150"/>
                        <a:pt x="1155"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4" name="Freeform 8318">
                  <a:extLst>
                    <a:ext uri="{FF2B5EF4-FFF2-40B4-BE49-F238E27FC236}">
                      <a16:creationId xmlns:a16="http://schemas.microsoft.com/office/drawing/2014/main" id="{604AC053-E954-B6D3-068C-2CF8D6EC1B47}"/>
                    </a:ext>
                  </a:extLst>
                </p:cNvPr>
                <p:cNvSpPr/>
                <p:nvPr/>
              </p:nvSpPr>
              <p:spPr>
                <a:xfrm>
                  <a:off x="4059264" y="1816885"/>
                  <a:ext cx="26671" cy="26620"/>
                </a:xfrm>
                <a:custGeom>
                  <a:avLst/>
                  <a:gdLst>
                    <a:gd name="connsiteX0" fmla="*/ 195 w 26671"/>
                    <a:gd name="connsiteY0" fmla="*/ 10823 h 26620"/>
                    <a:gd name="connsiteX1" fmla="*/ 15640 w 26671"/>
                    <a:gd name="connsiteY1" fmla="*/ 236 h 26620"/>
                    <a:gd name="connsiteX2" fmla="*/ 26476 w 26671"/>
                    <a:gd name="connsiteY2" fmla="*/ 15557 h 26620"/>
                    <a:gd name="connsiteX3" fmla="*/ 11031 w 26671"/>
                    <a:gd name="connsiteY3" fmla="*/ 26393 h 26620"/>
                    <a:gd name="connsiteX4" fmla="*/ 195 w 26671"/>
                    <a:gd name="connsiteY4" fmla="*/ 10823 h 26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620">
                      <a:moveTo>
                        <a:pt x="195" y="10823"/>
                      </a:moveTo>
                      <a:cubicBezTo>
                        <a:pt x="1440" y="3599"/>
                        <a:pt x="8291" y="-1134"/>
                        <a:pt x="15640" y="236"/>
                      </a:cubicBezTo>
                      <a:cubicBezTo>
                        <a:pt x="22864" y="1606"/>
                        <a:pt x="27722" y="8332"/>
                        <a:pt x="26476" y="15557"/>
                      </a:cubicBezTo>
                      <a:cubicBezTo>
                        <a:pt x="25231" y="22781"/>
                        <a:pt x="18255" y="27763"/>
                        <a:pt x="11031" y="26393"/>
                      </a:cubicBezTo>
                      <a:cubicBezTo>
                        <a:pt x="3807" y="25023"/>
                        <a:pt x="-1051" y="18048"/>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5" name="Freeform 8319">
                  <a:extLst>
                    <a:ext uri="{FF2B5EF4-FFF2-40B4-BE49-F238E27FC236}">
                      <a16:creationId xmlns:a16="http://schemas.microsoft.com/office/drawing/2014/main" id="{4990082D-D6BD-2F5B-ED92-48333AE4C9C8}"/>
                    </a:ext>
                  </a:extLst>
                </p:cNvPr>
                <p:cNvSpPr/>
                <p:nvPr/>
              </p:nvSpPr>
              <p:spPr>
                <a:xfrm>
                  <a:off x="4079014" y="1715856"/>
                  <a:ext cx="9715" cy="51193"/>
                </a:xfrm>
                <a:custGeom>
                  <a:avLst/>
                  <a:gdLst>
                    <a:gd name="connsiteX0" fmla="*/ 9715 w 9715"/>
                    <a:gd name="connsiteY0" fmla="*/ 0 h 51193"/>
                    <a:gd name="connsiteX1" fmla="*/ 4609 w 9715"/>
                    <a:gd name="connsiteY1" fmla="*/ 18061 h 51193"/>
                    <a:gd name="connsiteX2" fmla="*/ 4982 w 9715"/>
                    <a:gd name="connsiteY2" fmla="*/ 35499 h 51193"/>
                    <a:gd name="connsiteX3" fmla="*/ 0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9715" y="0"/>
                      </a:moveTo>
                      <a:cubicBezTo>
                        <a:pt x="5854" y="7473"/>
                        <a:pt x="4858" y="13701"/>
                        <a:pt x="4609" y="18061"/>
                      </a:cubicBezTo>
                      <a:cubicBezTo>
                        <a:pt x="4235"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6" name="Freeform 8320">
                  <a:extLst>
                    <a:ext uri="{FF2B5EF4-FFF2-40B4-BE49-F238E27FC236}">
                      <a16:creationId xmlns:a16="http://schemas.microsoft.com/office/drawing/2014/main" id="{693B93EF-EC34-6607-235F-5879D5C687B3}"/>
                    </a:ext>
                  </a:extLst>
                </p:cNvPr>
                <p:cNvSpPr/>
                <p:nvPr/>
              </p:nvSpPr>
              <p:spPr>
                <a:xfrm>
                  <a:off x="4087770" y="1712119"/>
                  <a:ext cx="9089" cy="51566"/>
                </a:xfrm>
                <a:custGeom>
                  <a:avLst/>
                  <a:gdLst>
                    <a:gd name="connsiteX0" fmla="*/ 461 w 9089"/>
                    <a:gd name="connsiteY0" fmla="*/ 51567 h 51566"/>
                    <a:gd name="connsiteX1" fmla="*/ 1707 w 9089"/>
                    <a:gd name="connsiteY1" fmla="*/ 32759 h 51566"/>
                    <a:gd name="connsiteX2" fmla="*/ 7935 w 9089"/>
                    <a:gd name="connsiteY2" fmla="*/ 16566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2"/>
                        <a:pt x="461" y="36994"/>
                        <a:pt x="1707" y="32759"/>
                      </a:cubicBezTo>
                      <a:cubicBezTo>
                        <a:pt x="3700" y="26033"/>
                        <a:pt x="6315" y="23417"/>
                        <a:pt x="7935" y="16566"/>
                      </a:cubicBezTo>
                      <a:cubicBezTo>
                        <a:pt x="9554" y="9840"/>
                        <a:pt x="9180" y="3986"/>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7" name="Freeform 8321">
                  <a:extLst>
                    <a:ext uri="{FF2B5EF4-FFF2-40B4-BE49-F238E27FC236}">
                      <a16:creationId xmlns:a16="http://schemas.microsoft.com/office/drawing/2014/main" id="{A3427AE7-70BF-3CAF-B9AC-132F0A16BE5C}"/>
                    </a:ext>
                  </a:extLst>
                </p:cNvPr>
                <p:cNvSpPr/>
                <p:nvPr/>
              </p:nvSpPr>
              <p:spPr>
                <a:xfrm>
                  <a:off x="4080310" y="1696438"/>
                  <a:ext cx="26426" cy="26495"/>
                </a:xfrm>
                <a:custGeom>
                  <a:avLst/>
                  <a:gdLst>
                    <a:gd name="connsiteX0" fmla="*/ 26231 w 26426"/>
                    <a:gd name="connsiteY0" fmla="*/ 15432 h 26495"/>
                    <a:gd name="connsiteX1" fmla="*/ 10911 w 26426"/>
                    <a:gd name="connsiteY1" fmla="*/ 26269 h 26495"/>
                    <a:gd name="connsiteX2" fmla="*/ 199 w 26426"/>
                    <a:gd name="connsiteY2" fmla="*/ 10823 h 26495"/>
                    <a:gd name="connsiteX3" fmla="*/ 15395 w 26426"/>
                    <a:gd name="connsiteY3" fmla="*/ 236 h 26495"/>
                    <a:gd name="connsiteX4" fmla="*/ 26231 w 26426"/>
                    <a:gd name="connsiteY4" fmla="*/ 15432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95">
                      <a:moveTo>
                        <a:pt x="26231" y="15432"/>
                      </a:moveTo>
                      <a:cubicBezTo>
                        <a:pt x="24986" y="22656"/>
                        <a:pt x="18135" y="27639"/>
                        <a:pt x="10911" y="26269"/>
                      </a:cubicBezTo>
                      <a:cubicBezTo>
                        <a:pt x="3686" y="24899"/>
                        <a:pt x="-1047" y="18048"/>
                        <a:pt x="199" y="10823"/>
                      </a:cubicBezTo>
                      <a:cubicBezTo>
                        <a:pt x="1444" y="3599"/>
                        <a:pt x="8295" y="-1134"/>
                        <a:pt x="15395" y="236"/>
                      </a:cubicBezTo>
                      <a:cubicBezTo>
                        <a:pt x="22619" y="1482"/>
                        <a:pt x="27477" y="8208"/>
                        <a:pt x="26231" y="154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6" name="Graphic 2987">
                <a:extLst>
                  <a:ext uri="{FF2B5EF4-FFF2-40B4-BE49-F238E27FC236}">
                    <a16:creationId xmlns:a16="http://schemas.microsoft.com/office/drawing/2014/main" id="{05B9DFC5-8F6D-B61D-D3FE-B94C969F571F}"/>
                  </a:ext>
                </a:extLst>
              </p:cNvPr>
              <p:cNvGrpSpPr/>
              <p:nvPr/>
            </p:nvGrpSpPr>
            <p:grpSpPr>
              <a:xfrm>
                <a:off x="4029868" y="1690958"/>
                <a:ext cx="47849" cy="147076"/>
                <a:chOff x="4029868" y="1690958"/>
                <a:chExt cx="47849" cy="147076"/>
              </a:xfrm>
              <a:grpFill/>
            </p:grpSpPr>
            <p:sp>
              <p:nvSpPr>
                <p:cNvPr id="5916" name="Freeform 8323">
                  <a:extLst>
                    <a:ext uri="{FF2B5EF4-FFF2-40B4-BE49-F238E27FC236}">
                      <a16:creationId xmlns:a16="http://schemas.microsoft.com/office/drawing/2014/main" id="{508A1455-E66F-DCB2-1E95-E33B7DC91DE3}"/>
                    </a:ext>
                  </a:extLst>
                </p:cNvPr>
                <p:cNvSpPr/>
                <p:nvPr/>
              </p:nvSpPr>
              <p:spPr>
                <a:xfrm>
                  <a:off x="4048124" y="1767298"/>
                  <a:ext cx="9840" cy="51193"/>
                </a:xfrm>
                <a:custGeom>
                  <a:avLst/>
                  <a:gdLst>
                    <a:gd name="connsiteX0" fmla="*/ 0 w 9840"/>
                    <a:gd name="connsiteY0" fmla="*/ 51193 h 51193"/>
                    <a:gd name="connsiteX1" fmla="*/ 5232 w 9840"/>
                    <a:gd name="connsiteY1" fmla="*/ 33132 h 51193"/>
                    <a:gd name="connsiteX2" fmla="*/ 4858 w 9840"/>
                    <a:gd name="connsiteY2" fmla="*/ 15694 h 51193"/>
                    <a:gd name="connsiteX3" fmla="*/ 984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982" y="37492"/>
                        <a:pt x="5232" y="33132"/>
                      </a:cubicBezTo>
                      <a:cubicBezTo>
                        <a:pt x="5730" y="26157"/>
                        <a:pt x="4110" y="22794"/>
                        <a:pt x="4858" y="15694"/>
                      </a:cubicBezTo>
                      <a:cubicBezTo>
                        <a:pt x="5605" y="8844"/>
                        <a:pt x="7972"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7" name="Freeform 8324">
                  <a:extLst>
                    <a:ext uri="{FF2B5EF4-FFF2-40B4-BE49-F238E27FC236}">
                      <a16:creationId xmlns:a16="http://schemas.microsoft.com/office/drawing/2014/main" id="{91B768DD-3E2B-E539-5CC4-12029155ACAF}"/>
                    </a:ext>
                  </a:extLst>
                </p:cNvPr>
                <p:cNvSpPr/>
                <p:nvPr/>
              </p:nvSpPr>
              <p:spPr>
                <a:xfrm>
                  <a:off x="4039683" y="1770661"/>
                  <a:ext cx="9322" cy="51566"/>
                </a:xfrm>
                <a:custGeom>
                  <a:avLst/>
                  <a:gdLst>
                    <a:gd name="connsiteX0" fmla="*/ 8940 w 9322"/>
                    <a:gd name="connsiteY0" fmla="*/ 0 h 51566"/>
                    <a:gd name="connsiteX1" fmla="*/ 7569 w 9322"/>
                    <a:gd name="connsiteY1" fmla="*/ 18808 h 51566"/>
                    <a:gd name="connsiteX2" fmla="*/ 1217 w 9322"/>
                    <a:gd name="connsiteY2" fmla="*/ 35001 h 51566"/>
                    <a:gd name="connsiteX3" fmla="*/ 470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8940" y="0"/>
                      </a:moveTo>
                      <a:cubicBezTo>
                        <a:pt x="9936" y="8345"/>
                        <a:pt x="8815" y="14573"/>
                        <a:pt x="7569" y="18808"/>
                      </a:cubicBezTo>
                      <a:cubicBezTo>
                        <a:pt x="5576" y="25534"/>
                        <a:pt x="2961" y="28150"/>
                        <a:pt x="1217" y="35001"/>
                      </a:cubicBezTo>
                      <a:cubicBezTo>
                        <a:pt x="-527" y="41727"/>
                        <a:pt x="-28" y="47581"/>
                        <a:pt x="47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8" name="Freeform 8325">
                  <a:extLst>
                    <a:ext uri="{FF2B5EF4-FFF2-40B4-BE49-F238E27FC236}">
                      <a16:creationId xmlns:a16="http://schemas.microsoft.com/office/drawing/2014/main" id="{9277AA15-68E5-66A0-3378-3D9E9E596A90}"/>
                    </a:ext>
                  </a:extLst>
                </p:cNvPr>
                <p:cNvSpPr/>
                <p:nvPr/>
              </p:nvSpPr>
              <p:spPr>
                <a:xfrm>
                  <a:off x="4029868" y="1811529"/>
                  <a:ext cx="26671" cy="26504"/>
                </a:xfrm>
                <a:custGeom>
                  <a:avLst/>
                  <a:gdLst>
                    <a:gd name="connsiteX0" fmla="*/ 195 w 26671"/>
                    <a:gd name="connsiteY0" fmla="*/ 10823 h 26504"/>
                    <a:gd name="connsiteX1" fmla="*/ 15640 w 26671"/>
                    <a:gd name="connsiteY1" fmla="*/ 236 h 26504"/>
                    <a:gd name="connsiteX2" fmla="*/ 26477 w 26671"/>
                    <a:gd name="connsiteY2" fmla="*/ 15681 h 26504"/>
                    <a:gd name="connsiteX3" fmla="*/ 11032 w 26671"/>
                    <a:gd name="connsiteY3" fmla="*/ 26269 h 26504"/>
                    <a:gd name="connsiteX4" fmla="*/ 195 w 26671"/>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04">
                      <a:moveTo>
                        <a:pt x="195" y="10823"/>
                      </a:moveTo>
                      <a:cubicBezTo>
                        <a:pt x="1440" y="3599"/>
                        <a:pt x="8416" y="-1134"/>
                        <a:pt x="15640" y="236"/>
                      </a:cubicBezTo>
                      <a:cubicBezTo>
                        <a:pt x="22864" y="1606"/>
                        <a:pt x="27722" y="8581"/>
                        <a:pt x="26477" y="15681"/>
                      </a:cubicBezTo>
                      <a:cubicBezTo>
                        <a:pt x="25231" y="22906"/>
                        <a:pt x="18256" y="27639"/>
                        <a:pt x="11032" y="26269"/>
                      </a:cubicBezTo>
                      <a:cubicBezTo>
                        <a:pt x="3807" y="24898"/>
                        <a:pt x="-1051" y="17923"/>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9" name="Freeform 8326">
                  <a:extLst>
                    <a:ext uri="{FF2B5EF4-FFF2-40B4-BE49-F238E27FC236}">
                      <a16:creationId xmlns:a16="http://schemas.microsoft.com/office/drawing/2014/main" id="{5AC5EE93-C997-ED0A-EEAA-6DE0438AAF9B}"/>
                    </a:ext>
                  </a:extLst>
                </p:cNvPr>
                <p:cNvSpPr/>
                <p:nvPr/>
              </p:nvSpPr>
              <p:spPr>
                <a:xfrm>
                  <a:off x="4049868" y="1710500"/>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982"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0" name="Freeform 8327">
                  <a:extLst>
                    <a:ext uri="{FF2B5EF4-FFF2-40B4-BE49-F238E27FC236}">
                      <a16:creationId xmlns:a16="http://schemas.microsoft.com/office/drawing/2014/main" id="{474873DA-C037-9F01-D4D1-C130AE618A5C}"/>
                    </a:ext>
                  </a:extLst>
                </p:cNvPr>
                <p:cNvSpPr/>
                <p:nvPr/>
              </p:nvSpPr>
              <p:spPr>
                <a:xfrm>
                  <a:off x="4058699" y="1706763"/>
                  <a:ext cx="9157" cy="51566"/>
                </a:xfrm>
                <a:custGeom>
                  <a:avLst/>
                  <a:gdLst>
                    <a:gd name="connsiteX0" fmla="*/ 386 w 9157"/>
                    <a:gd name="connsiteY0" fmla="*/ 51567 h 51566"/>
                    <a:gd name="connsiteX1" fmla="*/ 1631 w 9157"/>
                    <a:gd name="connsiteY1" fmla="*/ 32759 h 51566"/>
                    <a:gd name="connsiteX2" fmla="*/ 7984 w 9157"/>
                    <a:gd name="connsiteY2" fmla="*/ 16566 h 51566"/>
                    <a:gd name="connsiteX3" fmla="*/ 8731 w 9157"/>
                    <a:gd name="connsiteY3" fmla="*/ 0 h 51566"/>
                  </a:gdLst>
                  <a:ahLst/>
                  <a:cxnLst>
                    <a:cxn ang="0">
                      <a:pos x="connsiteX0" y="connsiteY0"/>
                    </a:cxn>
                    <a:cxn ang="0">
                      <a:pos x="connsiteX1" y="connsiteY1"/>
                    </a:cxn>
                    <a:cxn ang="0">
                      <a:pos x="connsiteX2" y="connsiteY2"/>
                    </a:cxn>
                    <a:cxn ang="0">
                      <a:pos x="connsiteX3" y="connsiteY3"/>
                    </a:cxn>
                  </a:cxnLst>
                  <a:rect l="l" t="t" r="r" b="b"/>
                  <a:pathLst>
                    <a:path w="9157" h="51566">
                      <a:moveTo>
                        <a:pt x="386" y="51567"/>
                      </a:moveTo>
                      <a:cubicBezTo>
                        <a:pt x="-611" y="43222"/>
                        <a:pt x="510" y="36994"/>
                        <a:pt x="1631" y="32759"/>
                      </a:cubicBezTo>
                      <a:cubicBezTo>
                        <a:pt x="3624" y="26033"/>
                        <a:pt x="6240" y="23417"/>
                        <a:pt x="7984" y="16566"/>
                      </a:cubicBezTo>
                      <a:cubicBezTo>
                        <a:pt x="9603" y="9840"/>
                        <a:pt x="9229" y="3986"/>
                        <a:pt x="87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1" name="Freeform 8328">
                  <a:extLst>
                    <a:ext uri="{FF2B5EF4-FFF2-40B4-BE49-F238E27FC236}">
                      <a16:creationId xmlns:a16="http://schemas.microsoft.com/office/drawing/2014/main" id="{F8D7271E-DC14-7A3F-C040-1D513AAB4F8B}"/>
                    </a:ext>
                  </a:extLst>
                </p:cNvPr>
                <p:cNvSpPr/>
                <p:nvPr/>
              </p:nvSpPr>
              <p:spPr>
                <a:xfrm>
                  <a:off x="4051288" y="1690958"/>
                  <a:ext cx="26429" cy="26504"/>
                </a:xfrm>
                <a:custGeom>
                  <a:avLst/>
                  <a:gdLst>
                    <a:gd name="connsiteX0" fmla="*/ 26231 w 26429"/>
                    <a:gd name="connsiteY0" fmla="*/ 15681 h 26504"/>
                    <a:gd name="connsiteX1" fmla="*/ 10911 w 26429"/>
                    <a:gd name="connsiteY1" fmla="*/ 26269 h 26504"/>
                    <a:gd name="connsiteX2" fmla="*/ 199 w 26429"/>
                    <a:gd name="connsiteY2" fmla="*/ 10823 h 26504"/>
                    <a:gd name="connsiteX3" fmla="*/ 15519 w 26429"/>
                    <a:gd name="connsiteY3" fmla="*/ 236 h 26504"/>
                    <a:gd name="connsiteX4" fmla="*/ 26231 w 2642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9" h="26504">
                      <a:moveTo>
                        <a:pt x="26231" y="15681"/>
                      </a:moveTo>
                      <a:cubicBezTo>
                        <a:pt x="24986" y="22906"/>
                        <a:pt x="18135" y="27639"/>
                        <a:pt x="10911" y="26269"/>
                      </a:cubicBezTo>
                      <a:cubicBezTo>
                        <a:pt x="3686" y="24898"/>
                        <a:pt x="-1047" y="18048"/>
                        <a:pt x="199" y="10823"/>
                      </a:cubicBezTo>
                      <a:cubicBezTo>
                        <a:pt x="1444" y="3599"/>
                        <a:pt x="8295" y="-1134"/>
                        <a:pt x="15519" y="236"/>
                      </a:cubicBezTo>
                      <a:cubicBezTo>
                        <a:pt x="22744" y="1606"/>
                        <a:pt x="27477" y="8457"/>
                        <a:pt x="26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7" name="Graphic 2987">
                <a:extLst>
                  <a:ext uri="{FF2B5EF4-FFF2-40B4-BE49-F238E27FC236}">
                    <a16:creationId xmlns:a16="http://schemas.microsoft.com/office/drawing/2014/main" id="{7B5DC61A-EC63-F013-E96D-2FADBEBBCB17}"/>
                  </a:ext>
                </a:extLst>
              </p:cNvPr>
              <p:cNvGrpSpPr/>
              <p:nvPr/>
            </p:nvGrpSpPr>
            <p:grpSpPr>
              <a:xfrm>
                <a:off x="4000561" y="1685477"/>
                <a:ext cx="48168" cy="147076"/>
                <a:chOff x="4000561" y="1685477"/>
                <a:chExt cx="48168" cy="147076"/>
              </a:xfrm>
              <a:grpFill/>
            </p:grpSpPr>
            <p:sp>
              <p:nvSpPr>
                <p:cNvPr id="5910" name="Freeform 8330">
                  <a:extLst>
                    <a:ext uri="{FF2B5EF4-FFF2-40B4-BE49-F238E27FC236}">
                      <a16:creationId xmlns:a16="http://schemas.microsoft.com/office/drawing/2014/main" id="{A69063CA-D9C0-B047-C06A-09325944EB73}"/>
                    </a:ext>
                  </a:extLst>
                </p:cNvPr>
                <p:cNvSpPr/>
                <p:nvPr/>
              </p:nvSpPr>
              <p:spPr>
                <a:xfrm>
                  <a:off x="4018729" y="1761818"/>
                  <a:ext cx="9839" cy="51193"/>
                </a:xfrm>
                <a:custGeom>
                  <a:avLst/>
                  <a:gdLst>
                    <a:gd name="connsiteX0" fmla="*/ 0 w 9839"/>
                    <a:gd name="connsiteY0" fmla="*/ 51193 h 51193"/>
                    <a:gd name="connsiteX1" fmla="*/ 5231 w 9839"/>
                    <a:gd name="connsiteY1" fmla="*/ 33132 h 51193"/>
                    <a:gd name="connsiteX2" fmla="*/ 4858 w 9839"/>
                    <a:gd name="connsiteY2" fmla="*/ 15694 h 51193"/>
                    <a:gd name="connsiteX3" fmla="*/ 984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0" y="51193"/>
                      </a:moveTo>
                      <a:cubicBezTo>
                        <a:pt x="3861" y="43720"/>
                        <a:pt x="4982" y="37492"/>
                        <a:pt x="5231" y="33132"/>
                      </a:cubicBezTo>
                      <a:cubicBezTo>
                        <a:pt x="5730" y="26157"/>
                        <a:pt x="4110" y="22794"/>
                        <a:pt x="4858" y="15694"/>
                      </a:cubicBezTo>
                      <a:cubicBezTo>
                        <a:pt x="5605" y="8844"/>
                        <a:pt x="7971"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1" name="Freeform 8331">
                  <a:extLst>
                    <a:ext uri="{FF2B5EF4-FFF2-40B4-BE49-F238E27FC236}">
                      <a16:creationId xmlns:a16="http://schemas.microsoft.com/office/drawing/2014/main" id="{E3118605-1D08-6CF7-C23F-092AD52E5476}"/>
                    </a:ext>
                  </a:extLst>
                </p:cNvPr>
                <p:cNvSpPr/>
                <p:nvPr/>
              </p:nvSpPr>
              <p:spPr>
                <a:xfrm>
                  <a:off x="4010486" y="1765181"/>
                  <a:ext cx="9372" cy="51442"/>
                </a:xfrm>
                <a:custGeom>
                  <a:avLst/>
                  <a:gdLst>
                    <a:gd name="connsiteX0" fmla="*/ 8990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0"/>
                      </a:moveTo>
                      <a:cubicBezTo>
                        <a:pt x="9986" y="8345"/>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2" name="Freeform 8332">
                  <a:extLst>
                    <a:ext uri="{FF2B5EF4-FFF2-40B4-BE49-F238E27FC236}">
                      <a16:creationId xmlns:a16="http://schemas.microsoft.com/office/drawing/2014/main" id="{218AF810-13C3-DC16-A2B3-6B11C270D953}"/>
                    </a:ext>
                  </a:extLst>
                </p:cNvPr>
                <p:cNvSpPr/>
                <p:nvPr/>
              </p:nvSpPr>
              <p:spPr>
                <a:xfrm>
                  <a:off x="4000561" y="1806049"/>
                  <a:ext cx="26707" cy="26504"/>
                </a:xfrm>
                <a:custGeom>
                  <a:avLst/>
                  <a:gdLst>
                    <a:gd name="connsiteX0" fmla="*/ 231 w 26707"/>
                    <a:gd name="connsiteY0" fmla="*/ 10823 h 26504"/>
                    <a:gd name="connsiteX1" fmla="*/ 15676 w 26707"/>
                    <a:gd name="connsiteY1" fmla="*/ 236 h 26504"/>
                    <a:gd name="connsiteX2" fmla="*/ 26513 w 26707"/>
                    <a:gd name="connsiteY2" fmla="*/ 15681 h 26504"/>
                    <a:gd name="connsiteX3" fmla="*/ 11068 w 26707"/>
                    <a:gd name="connsiteY3" fmla="*/ 26269 h 26504"/>
                    <a:gd name="connsiteX4" fmla="*/ 231 w 26707"/>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504">
                      <a:moveTo>
                        <a:pt x="231" y="10823"/>
                      </a:moveTo>
                      <a:cubicBezTo>
                        <a:pt x="1477" y="3599"/>
                        <a:pt x="8452" y="-1134"/>
                        <a:pt x="15676" y="236"/>
                      </a:cubicBezTo>
                      <a:cubicBezTo>
                        <a:pt x="22901" y="1606"/>
                        <a:pt x="27759" y="8581"/>
                        <a:pt x="26513" y="15681"/>
                      </a:cubicBezTo>
                      <a:cubicBezTo>
                        <a:pt x="25267" y="22906"/>
                        <a:pt x="18292" y="27639"/>
                        <a:pt x="11068" y="26269"/>
                      </a:cubicBezTo>
                      <a:cubicBezTo>
                        <a:pt x="3719" y="24898"/>
                        <a:pt x="-1139" y="17923"/>
                        <a:pt x="23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3" name="Freeform 8333">
                  <a:extLst>
                    <a:ext uri="{FF2B5EF4-FFF2-40B4-BE49-F238E27FC236}">
                      <a16:creationId xmlns:a16="http://schemas.microsoft.com/office/drawing/2014/main" id="{8AAF4F48-61DA-7B07-69CA-68050EAA968B}"/>
                    </a:ext>
                  </a:extLst>
                </p:cNvPr>
                <p:cNvSpPr/>
                <p:nvPr/>
              </p:nvSpPr>
              <p:spPr>
                <a:xfrm>
                  <a:off x="4020971" y="1705144"/>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858"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4" name="Freeform 8334">
                  <a:extLst>
                    <a:ext uri="{FF2B5EF4-FFF2-40B4-BE49-F238E27FC236}">
                      <a16:creationId xmlns:a16="http://schemas.microsoft.com/office/drawing/2014/main" id="{339EED3B-8BA3-92DA-4DAF-FF504833EED7}"/>
                    </a:ext>
                  </a:extLst>
                </p:cNvPr>
                <p:cNvSpPr/>
                <p:nvPr/>
              </p:nvSpPr>
              <p:spPr>
                <a:xfrm>
                  <a:off x="4029680" y="1701407"/>
                  <a:ext cx="9372" cy="51442"/>
                </a:xfrm>
                <a:custGeom>
                  <a:avLst/>
                  <a:gdLst>
                    <a:gd name="connsiteX0" fmla="*/ 383 w 9372"/>
                    <a:gd name="connsiteY0" fmla="*/ 51442 h 51442"/>
                    <a:gd name="connsiteX1" fmla="*/ 1754 w 9372"/>
                    <a:gd name="connsiteY1" fmla="*/ 32634 h 51442"/>
                    <a:gd name="connsiteX2" fmla="*/ 8106 w 9372"/>
                    <a:gd name="connsiteY2" fmla="*/ 16442 h 51442"/>
                    <a:gd name="connsiteX3" fmla="*/ 8853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383" y="51442"/>
                      </a:moveTo>
                      <a:cubicBezTo>
                        <a:pt x="-613" y="43097"/>
                        <a:pt x="508" y="36869"/>
                        <a:pt x="1754" y="32634"/>
                      </a:cubicBezTo>
                      <a:cubicBezTo>
                        <a:pt x="3746" y="25908"/>
                        <a:pt x="6362" y="23292"/>
                        <a:pt x="8106" y="16442"/>
                      </a:cubicBezTo>
                      <a:cubicBezTo>
                        <a:pt x="9850" y="9715"/>
                        <a:pt x="9476"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5" name="Freeform 8335">
                  <a:extLst>
                    <a:ext uri="{FF2B5EF4-FFF2-40B4-BE49-F238E27FC236}">
                      <a16:creationId xmlns:a16="http://schemas.microsoft.com/office/drawing/2014/main" id="{3B1ECDE3-9AB1-5594-AD1D-4F0E86EA6BB6}"/>
                    </a:ext>
                  </a:extLst>
                </p:cNvPr>
                <p:cNvSpPr/>
                <p:nvPr/>
              </p:nvSpPr>
              <p:spPr>
                <a:xfrm>
                  <a:off x="4022354" y="1685477"/>
                  <a:ext cx="26375" cy="26504"/>
                </a:xfrm>
                <a:custGeom>
                  <a:avLst/>
                  <a:gdLst>
                    <a:gd name="connsiteX0" fmla="*/ 26144 w 26375"/>
                    <a:gd name="connsiteY0" fmla="*/ 15681 h 26504"/>
                    <a:gd name="connsiteX1" fmla="*/ 10823 w 26375"/>
                    <a:gd name="connsiteY1" fmla="*/ 26269 h 26504"/>
                    <a:gd name="connsiteX2" fmla="*/ 236 w 26375"/>
                    <a:gd name="connsiteY2" fmla="*/ 10823 h 26504"/>
                    <a:gd name="connsiteX3" fmla="*/ 15556 w 26375"/>
                    <a:gd name="connsiteY3" fmla="*/ 236 h 26504"/>
                    <a:gd name="connsiteX4" fmla="*/ 26144 w 2637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504">
                      <a:moveTo>
                        <a:pt x="26144" y="15681"/>
                      </a:moveTo>
                      <a:cubicBezTo>
                        <a:pt x="24898" y="22906"/>
                        <a:pt x="18048" y="27639"/>
                        <a:pt x="10823" y="26269"/>
                      </a:cubicBezTo>
                      <a:cubicBezTo>
                        <a:pt x="3599" y="24898"/>
                        <a:pt x="-1134" y="18048"/>
                        <a:pt x="236" y="10823"/>
                      </a:cubicBezTo>
                      <a:cubicBezTo>
                        <a:pt x="1481" y="3599"/>
                        <a:pt x="8457" y="-1134"/>
                        <a:pt x="15556" y="236"/>
                      </a:cubicBezTo>
                      <a:cubicBezTo>
                        <a:pt x="22656" y="1606"/>
                        <a:pt x="27514" y="8581"/>
                        <a:pt x="26144"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8" name="Graphic 2987">
                <a:extLst>
                  <a:ext uri="{FF2B5EF4-FFF2-40B4-BE49-F238E27FC236}">
                    <a16:creationId xmlns:a16="http://schemas.microsoft.com/office/drawing/2014/main" id="{95D051C0-4479-88BD-A21C-409B1F2C2E85}"/>
                  </a:ext>
                </a:extLst>
              </p:cNvPr>
              <p:cNvGrpSpPr/>
              <p:nvPr/>
            </p:nvGrpSpPr>
            <p:grpSpPr>
              <a:xfrm>
                <a:off x="3971198" y="1680121"/>
                <a:ext cx="48601" cy="146951"/>
                <a:chOff x="3971198" y="1680121"/>
                <a:chExt cx="48601" cy="146951"/>
              </a:xfrm>
              <a:grpFill/>
            </p:grpSpPr>
            <p:sp>
              <p:nvSpPr>
                <p:cNvPr id="5904" name="Freeform 8337">
                  <a:extLst>
                    <a:ext uri="{FF2B5EF4-FFF2-40B4-BE49-F238E27FC236}">
                      <a16:creationId xmlns:a16="http://schemas.microsoft.com/office/drawing/2014/main" id="{D7AFE874-AB8D-634A-982E-A8B67392082D}"/>
                    </a:ext>
                  </a:extLst>
                </p:cNvPr>
                <p:cNvSpPr/>
                <p:nvPr/>
              </p:nvSpPr>
              <p:spPr>
                <a:xfrm>
                  <a:off x="3989457" y="175633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3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20"/>
                        <a:pt x="4982" y="37492"/>
                        <a:pt x="5356" y="33132"/>
                      </a:cubicBezTo>
                      <a:cubicBezTo>
                        <a:pt x="5854" y="26157"/>
                        <a:pt x="4235" y="22794"/>
                        <a:pt x="5107" y="15694"/>
                      </a:cubicBezTo>
                      <a:cubicBezTo>
                        <a:pt x="5854" y="8844"/>
                        <a:pt x="8221" y="3488"/>
                        <a:pt x="102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5" name="Freeform 8338">
                  <a:extLst>
                    <a:ext uri="{FF2B5EF4-FFF2-40B4-BE49-F238E27FC236}">
                      <a16:creationId xmlns:a16="http://schemas.microsoft.com/office/drawing/2014/main" id="{71EC3551-CD87-C6CF-6F78-A725067F39F5}"/>
                    </a:ext>
                  </a:extLst>
                </p:cNvPr>
                <p:cNvSpPr/>
                <p:nvPr/>
              </p:nvSpPr>
              <p:spPr>
                <a:xfrm>
                  <a:off x="3981195" y="1759700"/>
                  <a:ext cx="9517" cy="51442"/>
                </a:xfrm>
                <a:custGeom>
                  <a:avLst/>
                  <a:gdLst>
                    <a:gd name="connsiteX0" fmla="*/ 9134 w 9517"/>
                    <a:gd name="connsiteY0" fmla="*/ 0 h 51442"/>
                    <a:gd name="connsiteX1" fmla="*/ 7764 w 9517"/>
                    <a:gd name="connsiteY1" fmla="*/ 18808 h 51442"/>
                    <a:gd name="connsiteX2" fmla="*/ 1288 w 9517"/>
                    <a:gd name="connsiteY2" fmla="*/ 35001 h 51442"/>
                    <a:gd name="connsiteX3" fmla="*/ 416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9134" y="0"/>
                      </a:moveTo>
                      <a:cubicBezTo>
                        <a:pt x="10131" y="8345"/>
                        <a:pt x="9010" y="14573"/>
                        <a:pt x="7764" y="18808"/>
                      </a:cubicBezTo>
                      <a:cubicBezTo>
                        <a:pt x="5772" y="25534"/>
                        <a:pt x="3031" y="28150"/>
                        <a:pt x="1288" y="35001"/>
                      </a:cubicBezTo>
                      <a:cubicBezTo>
                        <a:pt x="-456" y="41727"/>
                        <a:pt x="-83" y="47581"/>
                        <a:pt x="41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6" name="Freeform 8339">
                  <a:extLst>
                    <a:ext uri="{FF2B5EF4-FFF2-40B4-BE49-F238E27FC236}">
                      <a16:creationId xmlns:a16="http://schemas.microsoft.com/office/drawing/2014/main" id="{99D46DA7-CF7A-1FC7-5EE2-D861F9A3F059}"/>
                    </a:ext>
                  </a:extLst>
                </p:cNvPr>
                <p:cNvSpPr/>
                <p:nvPr/>
              </p:nvSpPr>
              <p:spPr>
                <a:xfrm>
                  <a:off x="3971198" y="1800568"/>
                  <a:ext cx="26712" cy="26504"/>
                </a:xfrm>
                <a:custGeom>
                  <a:avLst/>
                  <a:gdLst>
                    <a:gd name="connsiteX0" fmla="*/ 199 w 26712"/>
                    <a:gd name="connsiteY0" fmla="*/ 10824 h 26504"/>
                    <a:gd name="connsiteX1" fmla="*/ 15768 w 26712"/>
                    <a:gd name="connsiteY1" fmla="*/ 236 h 26504"/>
                    <a:gd name="connsiteX2" fmla="*/ 26481 w 26712"/>
                    <a:gd name="connsiteY2" fmla="*/ 15681 h 26504"/>
                    <a:gd name="connsiteX3" fmla="*/ 10911 w 26712"/>
                    <a:gd name="connsiteY3" fmla="*/ 26269 h 26504"/>
                    <a:gd name="connsiteX4" fmla="*/ 199 w 26712"/>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2" h="26504">
                      <a:moveTo>
                        <a:pt x="199" y="10824"/>
                      </a:moveTo>
                      <a:cubicBezTo>
                        <a:pt x="1569" y="3599"/>
                        <a:pt x="8420" y="-1134"/>
                        <a:pt x="15768" y="236"/>
                      </a:cubicBezTo>
                      <a:cubicBezTo>
                        <a:pt x="22993" y="1606"/>
                        <a:pt x="27851" y="8457"/>
                        <a:pt x="26481" y="15681"/>
                      </a:cubicBezTo>
                      <a:cubicBezTo>
                        <a:pt x="25235" y="22906"/>
                        <a:pt x="18260" y="27639"/>
                        <a:pt x="10911" y="26269"/>
                      </a:cubicBezTo>
                      <a:cubicBezTo>
                        <a:pt x="3686" y="24898"/>
                        <a:pt x="-1047" y="18048"/>
                        <a:pt x="199"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7" name="Freeform 8340">
                  <a:extLst>
                    <a:ext uri="{FF2B5EF4-FFF2-40B4-BE49-F238E27FC236}">
                      <a16:creationId xmlns:a16="http://schemas.microsoft.com/office/drawing/2014/main" id="{3027D2A4-778B-1F4E-F706-8AF886E91D5F}"/>
                    </a:ext>
                  </a:extLst>
                </p:cNvPr>
                <p:cNvSpPr/>
                <p:nvPr/>
              </p:nvSpPr>
              <p:spPr>
                <a:xfrm>
                  <a:off x="3991575" y="1699663"/>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232" y="13701"/>
                        <a:pt x="4858" y="18061"/>
                      </a:cubicBezTo>
                      <a:cubicBezTo>
                        <a:pt x="4360" y="25036"/>
                        <a:pt x="5854" y="28399"/>
                        <a:pt x="5107" y="35499"/>
                      </a:cubicBezTo>
                      <a:cubicBezTo>
                        <a:pt x="4360"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8" name="Freeform 8341">
                  <a:extLst>
                    <a:ext uri="{FF2B5EF4-FFF2-40B4-BE49-F238E27FC236}">
                      <a16:creationId xmlns:a16="http://schemas.microsoft.com/office/drawing/2014/main" id="{ABC42D27-5DAC-2B1B-0AE6-8698C498E99C}"/>
                    </a:ext>
                  </a:extLst>
                </p:cNvPr>
                <p:cNvSpPr/>
                <p:nvPr/>
              </p:nvSpPr>
              <p:spPr>
                <a:xfrm>
                  <a:off x="4000533" y="1696051"/>
                  <a:ext cx="9517" cy="51442"/>
                </a:xfrm>
                <a:custGeom>
                  <a:avLst/>
                  <a:gdLst>
                    <a:gd name="connsiteX0" fmla="*/ 383 w 9517"/>
                    <a:gd name="connsiteY0" fmla="*/ 51442 h 51442"/>
                    <a:gd name="connsiteX1" fmla="*/ 1754 w 9517"/>
                    <a:gd name="connsiteY1" fmla="*/ 32634 h 51442"/>
                    <a:gd name="connsiteX2" fmla="*/ 8230 w 9517"/>
                    <a:gd name="connsiteY2" fmla="*/ 16442 h 51442"/>
                    <a:gd name="connsiteX3" fmla="*/ 9102 w 9517"/>
                    <a:gd name="connsiteY3" fmla="*/ 0 h 51442"/>
                  </a:gdLst>
                  <a:ahLst/>
                  <a:cxnLst>
                    <a:cxn ang="0">
                      <a:pos x="connsiteX0" y="connsiteY0"/>
                    </a:cxn>
                    <a:cxn ang="0">
                      <a:pos x="connsiteX1" y="connsiteY1"/>
                    </a:cxn>
                    <a:cxn ang="0">
                      <a:pos x="connsiteX2" y="connsiteY2"/>
                    </a:cxn>
                    <a:cxn ang="0">
                      <a:pos x="connsiteX3" y="connsiteY3"/>
                    </a:cxn>
                  </a:cxnLst>
                  <a:rect l="l" t="t" r="r" b="b"/>
                  <a:pathLst>
                    <a:path w="9517" h="51442">
                      <a:moveTo>
                        <a:pt x="383" y="51442"/>
                      </a:moveTo>
                      <a:cubicBezTo>
                        <a:pt x="-613" y="43097"/>
                        <a:pt x="508" y="36869"/>
                        <a:pt x="1754" y="32634"/>
                      </a:cubicBezTo>
                      <a:cubicBezTo>
                        <a:pt x="3746" y="25908"/>
                        <a:pt x="6362" y="23292"/>
                        <a:pt x="8230" y="16442"/>
                      </a:cubicBezTo>
                      <a:cubicBezTo>
                        <a:pt x="9974" y="9716"/>
                        <a:pt x="9601" y="3861"/>
                        <a:pt x="91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9" name="Freeform 8342">
                  <a:extLst>
                    <a:ext uri="{FF2B5EF4-FFF2-40B4-BE49-F238E27FC236}">
                      <a16:creationId xmlns:a16="http://schemas.microsoft.com/office/drawing/2014/main" id="{3926B740-52B8-C988-93C7-E53CBFD4D9E9}"/>
                    </a:ext>
                  </a:extLst>
                </p:cNvPr>
                <p:cNvSpPr/>
                <p:nvPr/>
              </p:nvSpPr>
              <p:spPr>
                <a:xfrm>
                  <a:off x="3993461" y="1680121"/>
                  <a:ext cx="26338" cy="26504"/>
                </a:xfrm>
                <a:custGeom>
                  <a:avLst/>
                  <a:gdLst>
                    <a:gd name="connsiteX0" fmla="*/ 26140 w 26338"/>
                    <a:gd name="connsiteY0" fmla="*/ 15681 h 26504"/>
                    <a:gd name="connsiteX1" fmla="*/ 10819 w 26338"/>
                    <a:gd name="connsiteY1" fmla="*/ 26269 h 26504"/>
                    <a:gd name="connsiteX2" fmla="*/ 232 w 26338"/>
                    <a:gd name="connsiteY2" fmla="*/ 10823 h 26504"/>
                    <a:gd name="connsiteX3" fmla="*/ 15552 w 26338"/>
                    <a:gd name="connsiteY3" fmla="*/ 236 h 26504"/>
                    <a:gd name="connsiteX4" fmla="*/ 26140 w 26338"/>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504">
                      <a:moveTo>
                        <a:pt x="26140" y="15681"/>
                      </a:moveTo>
                      <a:cubicBezTo>
                        <a:pt x="24894" y="22906"/>
                        <a:pt x="17919" y="27639"/>
                        <a:pt x="10819" y="26269"/>
                      </a:cubicBezTo>
                      <a:cubicBezTo>
                        <a:pt x="3719" y="24898"/>
                        <a:pt x="-1139" y="18048"/>
                        <a:pt x="232" y="10823"/>
                      </a:cubicBezTo>
                      <a:cubicBezTo>
                        <a:pt x="1602" y="3599"/>
                        <a:pt x="8453" y="-1134"/>
                        <a:pt x="15552" y="236"/>
                      </a:cubicBezTo>
                      <a:cubicBezTo>
                        <a:pt x="22652" y="1606"/>
                        <a:pt x="27385" y="8457"/>
                        <a:pt x="26140"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9" name="Graphic 2987">
                <a:extLst>
                  <a:ext uri="{FF2B5EF4-FFF2-40B4-BE49-F238E27FC236}">
                    <a16:creationId xmlns:a16="http://schemas.microsoft.com/office/drawing/2014/main" id="{2364E565-048F-6EC1-79F4-44FE6CA13AD7}"/>
                  </a:ext>
                </a:extLst>
              </p:cNvPr>
              <p:cNvGrpSpPr/>
              <p:nvPr/>
            </p:nvGrpSpPr>
            <p:grpSpPr>
              <a:xfrm>
                <a:off x="3941889" y="1674765"/>
                <a:ext cx="48924" cy="146827"/>
                <a:chOff x="3941889" y="1674765"/>
                <a:chExt cx="48924" cy="146827"/>
              </a:xfrm>
              <a:grpFill/>
            </p:grpSpPr>
            <p:sp>
              <p:nvSpPr>
                <p:cNvPr id="5898" name="Freeform 8344">
                  <a:extLst>
                    <a:ext uri="{FF2B5EF4-FFF2-40B4-BE49-F238E27FC236}">
                      <a16:creationId xmlns:a16="http://schemas.microsoft.com/office/drawing/2014/main" id="{B4763601-AC37-D52E-9D3C-102031C85917}"/>
                    </a:ext>
                  </a:extLst>
                </p:cNvPr>
                <p:cNvSpPr/>
                <p:nvPr/>
              </p:nvSpPr>
              <p:spPr>
                <a:xfrm>
                  <a:off x="3960062" y="175085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986" y="43720"/>
                        <a:pt x="5107" y="37492"/>
                        <a:pt x="5356" y="33132"/>
                      </a:cubicBezTo>
                      <a:cubicBezTo>
                        <a:pt x="5854" y="26157"/>
                        <a:pt x="4360" y="22794"/>
                        <a:pt x="5107" y="15694"/>
                      </a:cubicBezTo>
                      <a:cubicBezTo>
                        <a:pt x="5854" y="8844"/>
                        <a:pt x="8346"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9" name="Freeform 8345">
                  <a:extLst>
                    <a:ext uri="{FF2B5EF4-FFF2-40B4-BE49-F238E27FC236}">
                      <a16:creationId xmlns:a16="http://schemas.microsoft.com/office/drawing/2014/main" id="{02B5DB0A-804E-6128-98F8-574BFA0E9A9B}"/>
                    </a:ext>
                  </a:extLst>
                </p:cNvPr>
                <p:cNvSpPr/>
                <p:nvPr/>
              </p:nvSpPr>
              <p:spPr>
                <a:xfrm>
                  <a:off x="3951799" y="1754344"/>
                  <a:ext cx="9621" cy="51442"/>
                </a:xfrm>
                <a:custGeom>
                  <a:avLst/>
                  <a:gdLst>
                    <a:gd name="connsiteX0" fmla="*/ 9259 w 9621"/>
                    <a:gd name="connsiteY0" fmla="*/ 0 h 51442"/>
                    <a:gd name="connsiteX1" fmla="*/ 7765 w 9621"/>
                    <a:gd name="connsiteY1" fmla="*/ 18808 h 51442"/>
                    <a:gd name="connsiteX2" fmla="*/ 1287 w 9621"/>
                    <a:gd name="connsiteY2" fmla="*/ 35001 h 51442"/>
                    <a:gd name="connsiteX3" fmla="*/ 415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0"/>
                      </a:moveTo>
                      <a:cubicBezTo>
                        <a:pt x="10256" y="8345"/>
                        <a:pt x="9010" y="14573"/>
                        <a:pt x="7765" y="18808"/>
                      </a:cubicBezTo>
                      <a:cubicBezTo>
                        <a:pt x="5772" y="25534"/>
                        <a:pt x="3031" y="28150"/>
                        <a:pt x="1287" y="35001"/>
                      </a:cubicBezTo>
                      <a:cubicBezTo>
                        <a:pt x="-456" y="41727"/>
                        <a:pt x="-83" y="47581"/>
                        <a:pt x="41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0" name="Freeform 8346">
                  <a:extLst>
                    <a:ext uri="{FF2B5EF4-FFF2-40B4-BE49-F238E27FC236}">
                      <a16:creationId xmlns:a16="http://schemas.microsoft.com/office/drawing/2014/main" id="{BD29150F-8115-1F47-106C-B1A58DFC3010}"/>
                    </a:ext>
                  </a:extLst>
                </p:cNvPr>
                <p:cNvSpPr/>
                <p:nvPr/>
              </p:nvSpPr>
              <p:spPr>
                <a:xfrm>
                  <a:off x="3941889" y="1795088"/>
                  <a:ext cx="26749" cy="26504"/>
                </a:xfrm>
                <a:custGeom>
                  <a:avLst/>
                  <a:gdLst>
                    <a:gd name="connsiteX0" fmla="*/ 236 w 26749"/>
                    <a:gd name="connsiteY0" fmla="*/ 10823 h 26504"/>
                    <a:gd name="connsiteX1" fmla="*/ 15806 w 26749"/>
                    <a:gd name="connsiteY1" fmla="*/ 236 h 26504"/>
                    <a:gd name="connsiteX2" fmla="*/ 26518 w 26749"/>
                    <a:gd name="connsiteY2" fmla="*/ 15681 h 26504"/>
                    <a:gd name="connsiteX3" fmla="*/ 10948 w 26749"/>
                    <a:gd name="connsiteY3" fmla="*/ 26269 h 26504"/>
                    <a:gd name="connsiteX4" fmla="*/ 236 w 2674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04">
                      <a:moveTo>
                        <a:pt x="236" y="10823"/>
                      </a:moveTo>
                      <a:cubicBezTo>
                        <a:pt x="1606" y="3599"/>
                        <a:pt x="8581" y="-1134"/>
                        <a:pt x="15806" y="236"/>
                      </a:cubicBezTo>
                      <a:cubicBezTo>
                        <a:pt x="23030" y="1606"/>
                        <a:pt x="27888" y="8457"/>
                        <a:pt x="26518" y="15681"/>
                      </a:cubicBezTo>
                      <a:cubicBezTo>
                        <a:pt x="25147"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1" name="Freeform 8347">
                  <a:extLst>
                    <a:ext uri="{FF2B5EF4-FFF2-40B4-BE49-F238E27FC236}">
                      <a16:creationId xmlns:a16="http://schemas.microsoft.com/office/drawing/2014/main" id="{21CE6063-65CC-6640-DCC4-5D68CA1563E7}"/>
                    </a:ext>
                  </a:extLst>
                </p:cNvPr>
                <p:cNvSpPr/>
                <p:nvPr/>
              </p:nvSpPr>
              <p:spPr>
                <a:xfrm>
                  <a:off x="3962553" y="1694308"/>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107" y="13701"/>
                        <a:pt x="4858" y="18061"/>
                      </a:cubicBezTo>
                      <a:cubicBezTo>
                        <a:pt x="4360" y="25036"/>
                        <a:pt x="5854" y="28399"/>
                        <a:pt x="5107" y="35499"/>
                      </a:cubicBezTo>
                      <a:cubicBezTo>
                        <a:pt x="4360"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2" name="Freeform 8348">
                  <a:extLst>
                    <a:ext uri="{FF2B5EF4-FFF2-40B4-BE49-F238E27FC236}">
                      <a16:creationId xmlns:a16="http://schemas.microsoft.com/office/drawing/2014/main" id="{9F511FA4-100F-1EC4-8742-5D91D111C72D}"/>
                    </a:ext>
                  </a:extLst>
                </p:cNvPr>
                <p:cNvSpPr/>
                <p:nvPr/>
              </p:nvSpPr>
              <p:spPr>
                <a:xfrm>
                  <a:off x="3971408" y="1690571"/>
                  <a:ext cx="9621" cy="51442"/>
                </a:xfrm>
                <a:custGeom>
                  <a:avLst/>
                  <a:gdLst>
                    <a:gd name="connsiteX0" fmla="*/ 362 w 9621"/>
                    <a:gd name="connsiteY0" fmla="*/ 51442 h 51442"/>
                    <a:gd name="connsiteX1" fmla="*/ 1857 w 9621"/>
                    <a:gd name="connsiteY1" fmla="*/ 32634 h 51442"/>
                    <a:gd name="connsiteX2" fmla="*/ 8334 w 9621"/>
                    <a:gd name="connsiteY2" fmla="*/ 16442 h 51442"/>
                    <a:gd name="connsiteX3" fmla="*/ 9205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362" y="51442"/>
                      </a:moveTo>
                      <a:cubicBezTo>
                        <a:pt x="-634" y="43097"/>
                        <a:pt x="611" y="36869"/>
                        <a:pt x="1857" y="32634"/>
                      </a:cubicBezTo>
                      <a:cubicBezTo>
                        <a:pt x="3850" y="25908"/>
                        <a:pt x="6590" y="23292"/>
                        <a:pt x="8334" y="16442"/>
                      </a:cubicBezTo>
                      <a:cubicBezTo>
                        <a:pt x="10077" y="9715"/>
                        <a:pt x="9704" y="3861"/>
                        <a:pt x="9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3" name="Freeform 8349">
                  <a:extLst>
                    <a:ext uri="{FF2B5EF4-FFF2-40B4-BE49-F238E27FC236}">
                      <a16:creationId xmlns:a16="http://schemas.microsoft.com/office/drawing/2014/main" id="{4264A564-E55D-9D25-B956-0CD2AA565A5C}"/>
                    </a:ext>
                  </a:extLst>
                </p:cNvPr>
                <p:cNvSpPr/>
                <p:nvPr/>
              </p:nvSpPr>
              <p:spPr>
                <a:xfrm>
                  <a:off x="3964343" y="1674765"/>
                  <a:ext cx="26471" cy="26504"/>
                </a:xfrm>
                <a:custGeom>
                  <a:avLst/>
                  <a:gdLst>
                    <a:gd name="connsiteX0" fmla="*/ 26235 w 26471"/>
                    <a:gd name="connsiteY0" fmla="*/ 15681 h 26504"/>
                    <a:gd name="connsiteX1" fmla="*/ 10790 w 26471"/>
                    <a:gd name="connsiteY1" fmla="*/ 26269 h 26504"/>
                    <a:gd name="connsiteX2" fmla="*/ 203 w 26471"/>
                    <a:gd name="connsiteY2" fmla="*/ 10823 h 26504"/>
                    <a:gd name="connsiteX3" fmla="*/ 15648 w 26471"/>
                    <a:gd name="connsiteY3" fmla="*/ 236 h 26504"/>
                    <a:gd name="connsiteX4" fmla="*/ 26235 w 26471"/>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504">
                      <a:moveTo>
                        <a:pt x="26235" y="15681"/>
                      </a:moveTo>
                      <a:cubicBezTo>
                        <a:pt x="24865" y="22906"/>
                        <a:pt x="18015" y="27639"/>
                        <a:pt x="10790" y="26269"/>
                      </a:cubicBezTo>
                      <a:cubicBezTo>
                        <a:pt x="3566" y="24898"/>
                        <a:pt x="-1043" y="18048"/>
                        <a:pt x="203" y="10823"/>
                      </a:cubicBezTo>
                      <a:cubicBezTo>
                        <a:pt x="1573" y="3599"/>
                        <a:pt x="8424" y="-1134"/>
                        <a:pt x="15648" y="236"/>
                      </a:cubicBezTo>
                      <a:cubicBezTo>
                        <a:pt x="22872" y="1482"/>
                        <a:pt x="27605" y="8457"/>
                        <a:pt x="26235"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0" name="Graphic 2987">
                <a:extLst>
                  <a:ext uri="{FF2B5EF4-FFF2-40B4-BE49-F238E27FC236}">
                    <a16:creationId xmlns:a16="http://schemas.microsoft.com/office/drawing/2014/main" id="{5570B1B1-7946-09D9-D066-23FDA74C2E3F}"/>
                  </a:ext>
                </a:extLst>
              </p:cNvPr>
              <p:cNvGrpSpPr/>
              <p:nvPr/>
            </p:nvGrpSpPr>
            <p:grpSpPr>
              <a:xfrm>
                <a:off x="3912494" y="1669284"/>
                <a:ext cx="49394" cy="146827"/>
                <a:chOff x="3912494" y="1669284"/>
                <a:chExt cx="49394" cy="146827"/>
              </a:xfrm>
              <a:grpFill/>
            </p:grpSpPr>
            <p:sp>
              <p:nvSpPr>
                <p:cNvPr id="5892" name="Freeform 8351">
                  <a:extLst>
                    <a:ext uri="{FF2B5EF4-FFF2-40B4-BE49-F238E27FC236}">
                      <a16:creationId xmlns:a16="http://schemas.microsoft.com/office/drawing/2014/main" id="{16984F72-46EB-5B2A-7466-E7037CE5CB20}"/>
                    </a:ext>
                  </a:extLst>
                </p:cNvPr>
                <p:cNvSpPr/>
                <p:nvPr/>
              </p:nvSpPr>
              <p:spPr>
                <a:xfrm>
                  <a:off x="3930791" y="1745376"/>
                  <a:ext cx="10338" cy="51193"/>
                </a:xfrm>
                <a:custGeom>
                  <a:avLst/>
                  <a:gdLst>
                    <a:gd name="connsiteX0" fmla="*/ 0 w 10338"/>
                    <a:gd name="connsiteY0" fmla="*/ 51193 h 51193"/>
                    <a:gd name="connsiteX1" fmla="*/ 5481 w 10338"/>
                    <a:gd name="connsiteY1" fmla="*/ 33132 h 51193"/>
                    <a:gd name="connsiteX2" fmla="*/ 5232 w 10338"/>
                    <a:gd name="connsiteY2" fmla="*/ 15694 h 51193"/>
                    <a:gd name="connsiteX3" fmla="*/ 10339 w 10338"/>
                    <a:gd name="connsiteY3" fmla="*/ 0 h 51193"/>
                  </a:gdLst>
                  <a:ahLst/>
                  <a:cxnLst>
                    <a:cxn ang="0">
                      <a:pos x="connsiteX0" y="connsiteY0"/>
                    </a:cxn>
                    <a:cxn ang="0">
                      <a:pos x="connsiteX1" y="connsiteY1"/>
                    </a:cxn>
                    <a:cxn ang="0">
                      <a:pos x="connsiteX2" y="connsiteY2"/>
                    </a:cxn>
                    <a:cxn ang="0">
                      <a:pos x="connsiteX3" y="connsiteY3"/>
                    </a:cxn>
                  </a:cxnLst>
                  <a:rect l="l" t="t" r="r" b="b"/>
                  <a:pathLst>
                    <a:path w="10338" h="51193">
                      <a:moveTo>
                        <a:pt x="0" y="51193"/>
                      </a:moveTo>
                      <a:cubicBezTo>
                        <a:pt x="3986" y="43720"/>
                        <a:pt x="5107" y="37492"/>
                        <a:pt x="5481" y="33132"/>
                      </a:cubicBezTo>
                      <a:cubicBezTo>
                        <a:pt x="5979" y="26157"/>
                        <a:pt x="4484" y="22794"/>
                        <a:pt x="5232" y="15694"/>
                      </a:cubicBezTo>
                      <a:cubicBezTo>
                        <a:pt x="5979" y="8844"/>
                        <a:pt x="8470" y="3488"/>
                        <a:pt x="103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3" name="Freeform 8352">
                  <a:extLst>
                    <a:ext uri="{FF2B5EF4-FFF2-40B4-BE49-F238E27FC236}">
                      <a16:creationId xmlns:a16="http://schemas.microsoft.com/office/drawing/2014/main" id="{B062E2AA-8D60-1B93-3E93-44780595CE3A}"/>
                    </a:ext>
                  </a:extLst>
                </p:cNvPr>
                <p:cNvSpPr/>
                <p:nvPr/>
              </p:nvSpPr>
              <p:spPr>
                <a:xfrm>
                  <a:off x="3922476" y="1748864"/>
                  <a:ext cx="9797" cy="51317"/>
                </a:xfrm>
                <a:custGeom>
                  <a:avLst/>
                  <a:gdLst>
                    <a:gd name="connsiteX0" fmla="*/ 9436 w 9797"/>
                    <a:gd name="connsiteY0" fmla="*/ 0 h 51317"/>
                    <a:gd name="connsiteX1" fmla="*/ 7941 w 9797"/>
                    <a:gd name="connsiteY1" fmla="*/ 18684 h 51317"/>
                    <a:gd name="connsiteX2" fmla="*/ 1339 w 9797"/>
                    <a:gd name="connsiteY2" fmla="*/ 34876 h 51317"/>
                    <a:gd name="connsiteX3" fmla="*/ 468 w 9797"/>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797" h="51317">
                      <a:moveTo>
                        <a:pt x="9436" y="0"/>
                      </a:moveTo>
                      <a:cubicBezTo>
                        <a:pt x="10432" y="8345"/>
                        <a:pt x="9186" y="14573"/>
                        <a:pt x="7941" y="18684"/>
                      </a:cubicBezTo>
                      <a:cubicBezTo>
                        <a:pt x="5823" y="25410"/>
                        <a:pt x="3208" y="28025"/>
                        <a:pt x="1339" y="34876"/>
                      </a:cubicBezTo>
                      <a:cubicBezTo>
                        <a:pt x="-404" y="41602"/>
                        <a:pt x="-155" y="47456"/>
                        <a:pt x="468"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4" name="Freeform 8353">
                  <a:extLst>
                    <a:ext uri="{FF2B5EF4-FFF2-40B4-BE49-F238E27FC236}">
                      <a16:creationId xmlns:a16="http://schemas.microsoft.com/office/drawing/2014/main" id="{1583433B-1598-5B82-2CB5-9C7A9B806F91}"/>
                    </a:ext>
                  </a:extLst>
                </p:cNvPr>
                <p:cNvSpPr/>
                <p:nvPr/>
              </p:nvSpPr>
              <p:spPr>
                <a:xfrm>
                  <a:off x="3912494" y="1789607"/>
                  <a:ext cx="26716" cy="26504"/>
                </a:xfrm>
                <a:custGeom>
                  <a:avLst/>
                  <a:gdLst>
                    <a:gd name="connsiteX0" fmla="*/ 236 w 26716"/>
                    <a:gd name="connsiteY0" fmla="*/ 10823 h 26504"/>
                    <a:gd name="connsiteX1" fmla="*/ 15806 w 26716"/>
                    <a:gd name="connsiteY1" fmla="*/ 236 h 26504"/>
                    <a:gd name="connsiteX2" fmla="*/ 26517 w 26716"/>
                    <a:gd name="connsiteY2" fmla="*/ 15681 h 26504"/>
                    <a:gd name="connsiteX3" fmla="*/ 10948 w 26716"/>
                    <a:gd name="connsiteY3" fmla="*/ 26269 h 26504"/>
                    <a:gd name="connsiteX4" fmla="*/ 236 w 2671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4">
                      <a:moveTo>
                        <a:pt x="236" y="10823"/>
                      </a:moveTo>
                      <a:cubicBezTo>
                        <a:pt x="1606" y="3599"/>
                        <a:pt x="8581" y="-1134"/>
                        <a:pt x="15806" y="236"/>
                      </a:cubicBezTo>
                      <a:cubicBezTo>
                        <a:pt x="23030" y="1606"/>
                        <a:pt x="27763" y="8457"/>
                        <a:pt x="26517" y="15681"/>
                      </a:cubicBezTo>
                      <a:cubicBezTo>
                        <a:pt x="25272"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5" name="Freeform 8354">
                  <a:extLst>
                    <a:ext uri="{FF2B5EF4-FFF2-40B4-BE49-F238E27FC236}">
                      <a16:creationId xmlns:a16="http://schemas.microsoft.com/office/drawing/2014/main" id="{5C67C618-D81E-FD73-4604-B6B39E31B82A}"/>
                    </a:ext>
                  </a:extLst>
                </p:cNvPr>
                <p:cNvSpPr/>
                <p:nvPr/>
              </p:nvSpPr>
              <p:spPr>
                <a:xfrm>
                  <a:off x="3933157" y="1688952"/>
                  <a:ext cx="10587" cy="51193"/>
                </a:xfrm>
                <a:custGeom>
                  <a:avLst/>
                  <a:gdLst>
                    <a:gd name="connsiteX0" fmla="*/ 10587 w 10587"/>
                    <a:gd name="connsiteY0" fmla="*/ 0 h 51193"/>
                    <a:gd name="connsiteX1" fmla="*/ 5107 w 10587"/>
                    <a:gd name="connsiteY1" fmla="*/ 18061 h 51193"/>
                    <a:gd name="connsiteX2" fmla="*/ 5232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4" y="28399"/>
                        <a:pt x="5232" y="35499"/>
                      </a:cubicBezTo>
                      <a:cubicBezTo>
                        <a:pt x="4484"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6" name="Freeform 8355">
                  <a:extLst>
                    <a:ext uri="{FF2B5EF4-FFF2-40B4-BE49-F238E27FC236}">
                      <a16:creationId xmlns:a16="http://schemas.microsoft.com/office/drawing/2014/main" id="{9BBE24F8-2076-203B-1EB0-C504AC1C196F}"/>
                    </a:ext>
                  </a:extLst>
                </p:cNvPr>
                <p:cNvSpPr/>
                <p:nvPr/>
              </p:nvSpPr>
              <p:spPr>
                <a:xfrm>
                  <a:off x="3942262" y="1685339"/>
                  <a:ext cx="9673" cy="51317"/>
                </a:xfrm>
                <a:custGeom>
                  <a:avLst/>
                  <a:gdLst>
                    <a:gd name="connsiteX0" fmla="*/ 362 w 9673"/>
                    <a:gd name="connsiteY0" fmla="*/ 51318 h 51317"/>
                    <a:gd name="connsiteX1" fmla="*/ 1857 w 9673"/>
                    <a:gd name="connsiteY1" fmla="*/ 32634 h 51317"/>
                    <a:gd name="connsiteX2" fmla="*/ 8334 w 9673"/>
                    <a:gd name="connsiteY2" fmla="*/ 16442 h 51317"/>
                    <a:gd name="connsiteX3" fmla="*/ 9206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362" y="51318"/>
                      </a:moveTo>
                      <a:cubicBezTo>
                        <a:pt x="-634" y="42972"/>
                        <a:pt x="611" y="36745"/>
                        <a:pt x="1857" y="32634"/>
                      </a:cubicBezTo>
                      <a:cubicBezTo>
                        <a:pt x="3974" y="25908"/>
                        <a:pt x="6590" y="23292"/>
                        <a:pt x="8334" y="16442"/>
                      </a:cubicBezTo>
                      <a:cubicBezTo>
                        <a:pt x="10078" y="9716"/>
                        <a:pt x="9829"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7" name="Freeform 8356">
                  <a:extLst>
                    <a:ext uri="{FF2B5EF4-FFF2-40B4-BE49-F238E27FC236}">
                      <a16:creationId xmlns:a16="http://schemas.microsoft.com/office/drawing/2014/main" id="{C1FB69F5-9EFB-B5C9-53C1-F2B6D15EFE32}"/>
                    </a:ext>
                  </a:extLst>
                </p:cNvPr>
                <p:cNvSpPr/>
                <p:nvPr/>
              </p:nvSpPr>
              <p:spPr>
                <a:xfrm>
                  <a:off x="3935532" y="1669284"/>
                  <a:ext cx="26355" cy="26504"/>
                </a:xfrm>
                <a:custGeom>
                  <a:avLst/>
                  <a:gdLst>
                    <a:gd name="connsiteX0" fmla="*/ 26149 w 26355"/>
                    <a:gd name="connsiteY0" fmla="*/ 15681 h 26504"/>
                    <a:gd name="connsiteX1" fmla="*/ 10704 w 26355"/>
                    <a:gd name="connsiteY1" fmla="*/ 26269 h 26504"/>
                    <a:gd name="connsiteX2" fmla="*/ 241 w 26355"/>
                    <a:gd name="connsiteY2" fmla="*/ 10823 h 26504"/>
                    <a:gd name="connsiteX3" fmla="*/ 15686 w 26355"/>
                    <a:gd name="connsiteY3" fmla="*/ 236 h 26504"/>
                    <a:gd name="connsiteX4" fmla="*/ 26149 w 2635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504">
                      <a:moveTo>
                        <a:pt x="26149" y="15681"/>
                      </a:moveTo>
                      <a:cubicBezTo>
                        <a:pt x="24779" y="22906"/>
                        <a:pt x="17928" y="27639"/>
                        <a:pt x="10704" y="26269"/>
                      </a:cubicBezTo>
                      <a:cubicBezTo>
                        <a:pt x="3479" y="24898"/>
                        <a:pt x="-1129" y="18048"/>
                        <a:pt x="241" y="10823"/>
                      </a:cubicBezTo>
                      <a:cubicBezTo>
                        <a:pt x="1611" y="3599"/>
                        <a:pt x="8462" y="-1134"/>
                        <a:pt x="15686" y="236"/>
                      </a:cubicBezTo>
                      <a:cubicBezTo>
                        <a:pt x="22910" y="1606"/>
                        <a:pt x="27394" y="8581"/>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1" name="Graphic 2987">
                <a:extLst>
                  <a:ext uri="{FF2B5EF4-FFF2-40B4-BE49-F238E27FC236}">
                    <a16:creationId xmlns:a16="http://schemas.microsoft.com/office/drawing/2014/main" id="{DA5F9B38-089C-2745-CCA0-D6EC82EA6E9B}"/>
                  </a:ext>
                </a:extLst>
              </p:cNvPr>
              <p:cNvGrpSpPr/>
              <p:nvPr/>
            </p:nvGrpSpPr>
            <p:grpSpPr>
              <a:xfrm>
                <a:off x="3883188" y="1663929"/>
                <a:ext cx="49707" cy="146702"/>
                <a:chOff x="3883188" y="1663929"/>
                <a:chExt cx="49707" cy="146702"/>
              </a:xfrm>
              <a:grpFill/>
            </p:grpSpPr>
            <p:sp>
              <p:nvSpPr>
                <p:cNvPr id="5886" name="Freeform 8358">
                  <a:extLst>
                    <a:ext uri="{FF2B5EF4-FFF2-40B4-BE49-F238E27FC236}">
                      <a16:creationId xmlns:a16="http://schemas.microsoft.com/office/drawing/2014/main" id="{BB5E866A-331D-137C-DC3A-FE1770F82799}"/>
                    </a:ext>
                  </a:extLst>
                </p:cNvPr>
                <p:cNvSpPr/>
                <p:nvPr/>
              </p:nvSpPr>
              <p:spPr>
                <a:xfrm>
                  <a:off x="3901520" y="1739896"/>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986" y="43720"/>
                        <a:pt x="5107" y="37492"/>
                        <a:pt x="5481" y="33132"/>
                      </a:cubicBezTo>
                      <a:cubicBezTo>
                        <a:pt x="5979" y="26157"/>
                        <a:pt x="4484" y="22794"/>
                        <a:pt x="5356" y="15694"/>
                      </a:cubicBezTo>
                      <a:cubicBezTo>
                        <a:pt x="6228" y="8844"/>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7" name="Freeform 8359">
                  <a:extLst>
                    <a:ext uri="{FF2B5EF4-FFF2-40B4-BE49-F238E27FC236}">
                      <a16:creationId xmlns:a16="http://schemas.microsoft.com/office/drawing/2014/main" id="{A8D3F4E9-78B3-8D5E-1909-6AAC1919FC2A}"/>
                    </a:ext>
                  </a:extLst>
                </p:cNvPr>
                <p:cNvSpPr/>
                <p:nvPr/>
              </p:nvSpPr>
              <p:spPr>
                <a:xfrm>
                  <a:off x="3893181" y="1743383"/>
                  <a:ext cx="9891" cy="51317"/>
                </a:xfrm>
                <a:custGeom>
                  <a:avLst/>
                  <a:gdLst>
                    <a:gd name="connsiteX0" fmla="*/ 9584 w 9891"/>
                    <a:gd name="connsiteY0" fmla="*/ 0 h 51317"/>
                    <a:gd name="connsiteX1" fmla="*/ 7965 w 9891"/>
                    <a:gd name="connsiteY1" fmla="*/ 18684 h 51317"/>
                    <a:gd name="connsiteX2" fmla="*/ 1364 w 9891"/>
                    <a:gd name="connsiteY2" fmla="*/ 34876 h 51317"/>
                    <a:gd name="connsiteX3" fmla="*/ 367 w 98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0"/>
                      </a:moveTo>
                      <a:cubicBezTo>
                        <a:pt x="10456" y="8345"/>
                        <a:pt x="9335" y="14573"/>
                        <a:pt x="7965" y="18684"/>
                      </a:cubicBezTo>
                      <a:cubicBezTo>
                        <a:pt x="5848" y="25410"/>
                        <a:pt x="3232" y="28025"/>
                        <a:pt x="1364" y="34876"/>
                      </a:cubicBezTo>
                      <a:cubicBezTo>
                        <a:pt x="-380" y="41602"/>
                        <a:pt x="-131" y="47456"/>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8" name="Freeform 8360">
                  <a:extLst>
                    <a:ext uri="{FF2B5EF4-FFF2-40B4-BE49-F238E27FC236}">
                      <a16:creationId xmlns:a16="http://schemas.microsoft.com/office/drawing/2014/main" id="{087D9E31-72B1-5245-F10D-40B79F488561}"/>
                    </a:ext>
                  </a:extLst>
                </p:cNvPr>
                <p:cNvSpPr/>
                <p:nvPr/>
              </p:nvSpPr>
              <p:spPr>
                <a:xfrm>
                  <a:off x="3883188" y="1784127"/>
                  <a:ext cx="26793" cy="26504"/>
                </a:xfrm>
                <a:custGeom>
                  <a:avLst/>
                  <a:gdLst>
                    <a:gd name="connsiteX0" fmla="*/ 271 w 26793"/>
                    <a:gd name="connsiteY0" fmla="*/ 10824 h 26504"/>
                    <a:gd name="connsiteX1" fmla="*/ 15965 w 26793"/>
                    <a:gd name="connsiteY1" fmla="*/ 236 h 26504"/>
                    <a:gd name="connsiteX2" fmla="*/ 26553 w 26793"/>
                    <a:gd name="connsiteY2" fmla="*/ 15681 h 26504"/>
                    <a:gd name="connsiteX3" fmla="*/ 10858 w 26793"/>
                    <a:gd name="connsiteY3" fmla="*/ 26269 h 26504"/>
                    <a:gd name="connsiteX4" fmla="*/ 271 w 26793"/>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04">
                      <a:moveTo>
                        <a:pt x="271" y="10824"/>
                      </a:moveTo>
                      <a:cubicBezTo>
                        <a:pt x="1641" y="3599"/>
                        <a:pt x="8616" y="-1134"/>
                        <a:pt x="15965" y="236"/>
                      </a:cubicBezTo>
                      <a:cubicBezTo>
                        <a:pt x="23314" y="1606"/>
                        <a:pt x="27922" y="8457"/>
                        <a:pt x="26553" y="15681"/>
                      </a:cubicBezTo>
                      <a:cubicBezTo>
                        <a:pt x="25182" y="22906"/>
                        <a:pt x="18207" y="27639"/>
                        <a:pt x="10858" y="26269"/>
                      </a:cubicBezTo>
                      <a:cubicBezTo>
                        <a:pt x="3634" y="24898"/>
                        <a:pt x="-1224" y="18048"/>
                        <a:pt x="271"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9" name="Freeform 8361">
                  <a:extLst>
                    <a:ext uri="{FF2B5EF4-FFF2-40B4-BE49-F238E27FC236}">
                      <a16:creationId xmlns:a16="http://schemas.microsoft.com/office/drawing/2014/main" id="{6B76FFAE-DDC9-E475-D157-1C0B7CFBB16A}"/>
                    </a:ext>
                  </a:extLst>
                </p:cNvPr>
                <p:cNvSpPr/>
                <p:nvPr/>
              </p:nvSpPr>
              <p:spPr>
                <a:xfrm>
                  <a:off x="3904260" y="1683471"/>
                  <a:ext cx="10587" cy="51193"/>
                </a:xfrm>
                <a:custGeom>
                  <a:avLst/>
                  <a:gdLst>
                    <a:gd name="connsiteX0" fmla="*/ 10587 w 10587"/>
                    <a:gd name="connsiteY0" fmla="*/ 0 h 51193"/>
                    <a:gd name="connsiteX1" fmla="*/ 5107 w 10587"/>
                    <a:gd name="connsiteY1" fmla="*/ 18061 h 51193"/>
                    <a:gd name="connsiteX2" fmla="*/ 5231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3" y="28399"/>
                        <a:pt x="5231" y="35499"/>
                      </a:cubicBezTo>
                      <a:cubicBezTo>
                        <a:pt x="4359"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0" name="Freeform 8362">
                  <a:extLst>
                    <a:ext uri="{FF2B5EF4-FFF2-40B4-BE49-F238E27FC236}">
                      <a16:creationId xmlns:a16="http://schemas.microsoft.com/office/drawing/2014/main" id="{CE35ED80-23DA-B1E5-6BC0-88D7C452D47D}"/>
                    </a:ext>
                  </a:extLst>
                </p:cNvPr>
                <p:cNvSpPr/>
                <p:nvPr/>
              </p:nvSpPr>
              <p:spPr>
                <a:xfrm>
                  <a:off x="3913170" y="1679859"/>
                  <a:ext cx="9891" cy="51317"/>
                </a:xfrm>
                <a:custGeom>
                  <a:avLst/>
                  <a:gdLst>
                    <a:gd name="connsiteX0" fmla="*/ 308 w 9891"/>
                    <a:gd name="connsiteY0" fmla="*/ 51318 h 51317"/>
                    <a:gd name="connsiteX1" fmla="*/ 1927 w 9891"/>
                    <a:gd name="connsiteY1" fmla="*/ 32634 h 51317"/>
                    <a:gd name="connsiteX2" fmla="*/ 8529 w 9891"/>
                    <a:gd name="connsiteY2" fmla="*/ 16442 h 51317"/>
                    <a:gd name="connsiteX3" fmla="*/ 9525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308" y="51318"/>
                      </a:moveTo>
                      <a:cubicBezTo>
                        <a:pt x="-564" y="42972"/>
                        <a:pt x="557" y="36745"/>
                        <a:pt x="1927" y="32634"/>
                      </a:cubicBezTo>
                      <a:cubicBezTo>
                        <a:pt x="4044" y="25908"/>
                        <a:pt x="6660" y="23292"/>
                        <a:pt x="8529" y="16442"/>
                      </a:cubicBezTo>
                      <a:cubicBezTo>
                        <a:pt x="10272" y="9715"/>
                        <a:pt x="10023" y="3861"/>
                        <a:pt x="95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1" name="Freeform 8363">
                  <a:extLst>
                    <a:ext uri="{FF2B5EF4-FFF2-40B4-BE49-F238E27FC236}">
                      <a16:creationId xmlns:a16="http://schemas.microsoft.com/office/drawing/2014/main" id="{C588A179-F7F6-DE33-4BEA-F861106E6AB4}"/>
                    </a:ext>
                  </a:extLst>
                </p:cNvPr>
                <p:cNvSpPr/>
                <p:nvPr/>
              </p:nvSpPr>
              <p:spPr>
                <a:xfrm>
                  <a:off x="3906510" y="1663929"/>
                  <a:ext cx="26385" cy="26504"/>
                </a:xfrm>
                <a:custGeom>
                  <a:avLst/>
                  <a:gdLst>
                    <a:gd name="connsiteX0" fmla="*/ 26149 w 26385"/>
                    <a:gd name="connsiteY0" fmla="*/ 15681 h 26504"/>
                    <a:gd name="connsiteX1" fmla="*/ 10704 w 26385"/>
                    <a:gd name="connsiteY1" fmla="*/ 26269 h 26504"/>
                    <a:gd name="connsiteX2" fmla="*/ 241 w 26385"/>
                    <a:gd name="connsiteY2" fmla="*/ 10823 h 26504"/>
                    <a:gd name="connsiteX3" fmla="*/ 15686 w 26385"/>
                    <a:gd name="connsiteY3" fmla="*/ 236 h 26504"/>
                    <a:gd name="connsiteX4" fmla="*/ 26149 w 2638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4">
                      <a:moveTo>
                        <a:pt x="26149" y="15681"/>
                      </a:moveTo>
                      <a:cubicBezTo>
                        <a:pt x="24779" y="22906"/>
                        <a:pt x="17803" y="27639"/>
                        <a:pt x="10704" y="26269"/>
                      </a:cubicBezTo>
                      <a:cubicBezTo>
                        <a:pt x="3479" y="24898"/>
                        <a:pt x="-1129" y="18048"/>
                        <a:pt x="241" y="10823"/>
                      </a:cubicBezTo>
                      <a:cubicBezTo>
                        <a:pt x="1611" y="3599"/>
                        <a:pt x="8586" y="-1134"/>
                        <a:pt x="15686" y="236"/>
                      </a:cubicBezTo>
                      <a:cubicBezTo>
                        <a:pt x="22786" y="1606"/>
                        <a:pt x="27519" y="8457"/>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2" name="Graphic 2987">
                <a:extLst>
                  <a:ext uri="{FF2B5EF4-FFF2-40B4-BE49-F238E27FC236}">
                    <a16:creationId xmlns:a16="http://schemas.microsoft.com/office/drawing/2014/main" id="{CE0ADBEB-01D9-2ED3-CBEC-FA5B7C562EAA}"/>
                  </a:ext>
                </a:extLst>
              </p:cNvPr>
              <p:cNvGrpSpPr/>
              <p:nvPr/>
            </p:nvGrpSpPr>
            <p:grpSpPr>
              <a:xfrm>
                <a:off x="3853827" y="1658573"/>
                <a:ext cx="50085" cy="146578"/>
                <a:chOff x="3853827" y="1658573"/>
                <a:chExt cx="50085" cy="146578"/>
              </a:xfrm>
              <a:grpFill/>
            </p:grpSpPr>
            <p:sp>
              <p:nvSpPr>
                <p:cNvPr id="5880" name="Freeform 8365">
                  <a:extLst>
                    <a:ext uri="{FF2B5EF4-FFF2-40B4-BE49-F238E27FC236}">
                      <a16:creationId xmlns:a16="http://schemas.microsoft.com/office/drawing/2014/main" id="{9DB4E783-CFBB-7DBE-EB85-D68506E51867}"/>
                    </a:ext>
                  </a:extLst>
                </p:cNvPr>
                <p:cNvSpPr/>
                <p:nvPr/>
              </p:nvSpPr>
              <p:spPr>
                <a:xfrm>
                  <a:off x="3872124" y="1734540"/>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232" y="37367"/>
                        <a:pt x="5481" y="33132"/>
                      </a:cubicBezTo>
                      <a:cubicBezTo>
                        <a:pt x="6103" y="26157"/>
                        <a:pt x="4484" y="22794"/>
                        <a:pt x="5356" y="15694"/>
                      </a:cubicBezTo>
                      <a:cubicBezTo>
                        <a:pt x="6228" y="8844"/>
                        <a:pt x="8719"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1" name="Freeform 8366">
                  <a:extLst>
                    <a:ext uri="{FF2B5EF4-FFF2-40B4-BE49-F238E27FC236}">
                      <a16:creationId xmlns:a16="http://schemas.microsoft.com/office/drawing/2014/main" id="{2319FA4E-6980-47A1-6FB2-07D09905BBB5}"/>
                    </a:ext>
                  </a:extLst>
                </p:cNvPr>
                <p:cNvSpPr/>
                <p:nvPr/>
              </p:nvSpPr>
              <p:spPr>
                <a:xfrm>
                  <a:off x="3863872" y="1738027"/>
                  <a:ext cx="10038" cy="51317"/>
                </a:xfrm>
                <a:custGeom>
                  <a:avLst/>
                  <a:gdLst>
                    <a:gd name="connsiteX0" fmla="*/ 9747 w 10038"/>
                    <a:gd name="connsiteY0" fmla="*/ 0 h 51317"/>
                    <a:gd name="connsiteX1" fmla="*/ 8128 w 10038"/>
                    <a:gd name="connsiteY1" fmla="*/ 18684 h 51317"/>
                    <a:gd name="connsiteX2" fmla="*/ 1402 w 10038"/>
                    <a:gd name="connsiteY2" fmla="*/ 34876 h 51317"/>
                    <a:gd name="connsiteX3" fmla="*/ 405 w 10038"/>
                    <a:gd name="connsiteY3" fmla="*/ 51318 h 51317"/>
                  </a:gdLst>
                  <a:ahLst/>
                  <a:cxnLst>
                    <a:cxn ang="0">
                      <a:pos x="connsiteX0" y="connsiteY0"/>
                    </a:cxn>
                    <a:cxn ang="0">
                      <a:pos x="connsiteX1" y="connsiteY1"/>
                    </a:cxn>
                    <a:cxn ang="0">
                      <a:pos x="connsiteX2" y="connsiteY2"/>
                    </a:cxn>
                    <a:cxn ang="0">
                      <a:pos x="connsiteX3" y="connsiteY3"/>
                    </a:cxn>
                  </a:cxnLst>
                  <a:rect l="l" t="t" r="r" b="b"/>
                  <a:pathLst>
                    <a:path w="10038" h="51317">
                      <a:moveTo>
                        <a:pt x="9747" y="0"/>
                      </a:moveTo>
                      <a:cubicBezTo>
                        <a:pt x="10619" y="8345"/>
                        <a:pt x="9373" y="14573"/>
                        <a:pt x="8128" y="18684"/>
                      </a:cubicBezTo>
                      <a:cubicBezTo>
                        <a:pt x="6010" y="25410"/>
                        <a:pt x="3270" y="27901"/>
                        <a:pt x="1402" y="34876"/>
                      </a:cubicBezTo>
                      <a:cubicBezTo>
                        <a:pt x="-467" y="41602"/>
                        <a:pt x="-93" y="47456"/>
                        <a:pt x="40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2" name="Freeform 8367">
                  <a:extLst>
                    <a:ext uri="{FF2B5EF4-FFF2-40B4-BE49-F238E27FC236}">
                      <a16:creationId xmlns:a16="http://schemas.microsoft.com/office/drawing/2014/main" id="{D85242C6-AF16-618C-7CD6-2983E4FDB767}"/>
                    </a:ext>
                  </a:extLst>
                </p:cNvPr>
                <p:cNvSpPr/>
                <p:nvPr/>
              </p:nvSpPr>
              <p:spPr>
                <a:xfrm>
                  <a:off x="3853827" y="1778646"/>
                  <a:ext cx="26753" cy="26504"/>
                </a:xfrm>
                <a:custGeom>
                  <a:avLst/>
                  <a:gdLst>
                    <a:gd name="connsiteX0" fmla="*/ 236 w 26753"/>
                    <a:gd name="connsiteY0" fmla="*/ 10823 h 26504"/>
                    <a:gd name="connsiteX1" fmla="*/ 15930 w 26753"/>
                    <a:gd name="connsiteY1" fmla="*/ 236 h 26504"/>
                    <a:gd name="connsiteX2" fmla="*/ 26518 w 26753"/>
                    <a:gd name="connsiteY2" fmla="*/ 15681 h 26504"/>
                    <a:gd name="connsiteX3" fmla="*/ 10823 w 26753"/>
                    <a:gd name="connsiteY3" fmla="*/ 26269 h 26504"/>
                    <a:gd name="connsiteX4" fmla="*/ 236 w 26753"/>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823"/>
                      </a:moveTo>
                      <a:cubicBezTo>
                        <a:pt x="1606" y="3599"/>
                        <a:pt x="8706" y="-1134"/>
                        <a:pt x="15930" y="236"/>
                      </a:cubicBezTo>
                      <a:cubicBezTo>
                        <a:pt x="23155" y="1606"/>
                        <a:pt x="27888" y="8457"/>
                        <a:pt x="26518" y="15681"/>
                      </a:cubicBezTo>
                      <a:cubicBezTo>
                        <a:pt x="25148" y="22906"/>
                        <a:pt x="18048" y="27639"/>
                        <a:pt x="10823"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3" name="Freeform 8368">
                  <a:extLst>
                    <a:ext uri="{FF2B5EF4-FFF2-40B4-BE49-F238E27FC236}">
                      <a16:creationId xmlns:a16="http://schemas.microsoft.com/office/drawing/2014/main" id="{110E70B2-A9B5-C920-9620-68477B79159F}"/>
                    </a:ext>
                  </a:extLst>
                </p:cNvPr>
                <p:cNvSpPr/>
                <p:nvPr/>
              </p:nvSpPr>
              <p:spPr>
                <a:xfrm>
                  <a:off x="3875238" y="1678115"/>
                  <a:ext cx="10587" cy="51068"/>
                </a:xfrm>
                <a:custGeom>
                  <a:avLst/>
                  <a:gdLst>
                    <a:gd name="connsiteX0" fmla="*/ 10587 w 10587"/>
                    <a:gd name="connsiteY0" fmla="*/ 0 h 51068"/>
                    <a:gd name="connsiteX1" fmla="*/ 5107 w 10587"/>
                    <a:gd name="connsiteY1" fmla="*/ 17936 h 51068"/>
                    <a:gd name="connsiteX2" fmla="*/ 5232 w 10587"/>
                    <a:gd name="connsiteY2" fmla="*/ 35374 h 51068"/>
                    <a:gd name="connsiteX3" fmla="*/ 0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0"/>
                      </a:moveTo>
                      <a:cubicBezTo>
                        <a:pt x="6602" y="7473"/>
                        <a:pt x="5356" y="13701"/>
                        <a:pt x="5107" y="17936"/>
                      </a:cubicBezTo>
                      <a:cubicBezTo>
                        <a:pt x="4484" y="24912"/>
                        <a:pt x="5979" y="28275"/>
                        <a:pt x="5232" y="35374"/>
                      </a:cubicBezTo>
                      <a:cubicBezTo>
                        <a:pt x="4360" y="42225"/>
                        <a:pt x="1868"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4" name="Freeform 8369">
                  <a:extLst>
                    <a:ext uri="{FF2B5EF4-FFF2-40B4-BE49-F238E27FC236}">
                      <a16:creationId xmlns:a16="http://schemas.microsoft.com/office/drawing/2014/main" id="{A723035D-48C1-D55B-62D4-E602D1AEAB77}"/>
                    </a:ext>
                  </a:extLst>
                </p:cNvPr>
                <p:cNvSpPr/>
                <p:nvPr/>
              </p:nvSpPr>
              <p:spPr>
                <a:xfrm>
                  <a:off x="3884039" y="1674378"/>
                  <a:ext cx="9875" cy="51317"/>
                </a:xfrm>
                <a:custGeom>
                  <a:avLst/>
                  <a:gdLst>
                    <a:gd name="connsiteX0" fmla="*/ 291 w 9875"/>
                    <a:gd name="connsiteY0" fmla="*/ 51318 h 51317"/>
                    <a:gd name="connsiteX1" fmla="*/ 1911 w 9875"/>
                    <a:gd name="connsiteY1" fmla="*/ 32634 h 51317"/>
                    <a:gd name="connsiteX2" fmla="*/ 8512 w 9875"/>
                    <a:gd name="connsiteY2" fmla="*/ 16442 h 51317"/>
                    <a:gd name="connsiteX3" fmla="*/ 9509 w 9875"/>
                    <a:gd name="connsiteY3" fmla="*/ 0 h 51317"/>
                  </a:gdLst>
                  <a:ahLst/>
                  <a:cxnLst>
                    <a:cxn ang="0">
                      <a:pos x="connsiteX0" y="connsiteY0"/>
                    </a:cxn>
                    <a:cxn ang="0">
                      <a:pos x="connsiteX1" y="connsiteY1"/>
                    </a:cxn>
                    <a:cxn ang="0">
                      <a:pos x="connsiteX2" y="connsiteY2"/>
                    </a:cxn>
                    <a:cxn ang="0">
                      <a:pos x="connsiteX3" y="connsiteY3"/>
                    </a:cxn>
                  </a:cxnLst>
                  <a:rect l="l" t="t" r="r" b="b"/>
                  <a:pathLst>
                    <a:path w="9875" h="51317">
                      <a:moveTo>
                        <a:pt x="291" y="51318"/>
                      </a:moveTo>
                      <a:cubicBezTo>
                        <a:pt x="-581" y="42972"/>
                        <a:pt x="665" y="36744"/>
                        <a:pt x="1911" y="32634"/>
                      </a:cubicBezTo>
                      <a:cubicBezTo>
                        <a:pt x="4028" y="25908"/>
                        <a:pt x="6644" y="23292"/>
                        <a:pt x="8512" y="16442"/>
                      </a:cubicBezTo>
                      <a:cubicBezTo>
                        <a:pt x="10256"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5" name="Freeform 8370">
                  <a:extLst>
                    <a:ext uri="{FF2B5EF4-FFF2-40B4-BE49-F238E27FC236}">
                      <a16:creationId xmlns:a16="http://schemas.microsoft.com/office/drawing/2014/main" id="{6AB2D165-A644-0A8C-67FF-D8BC0B541AE6}"/>
                    </a:ext>
                  </a:extLst>
                </p:cNvPr>
                <p:cNvSpPr/>
                <p:nvPr/>
              </p:nvSpPr>
              <p:spPr>
                <a:xfrm>
                  <a:off x="3877364" y="1658573"/>
                  <a:ext cx="26549" cy="26504"/>
                </a:xfrm>
                <a:custGeom>
                  <a:avLst/>
                  <a:gdLst>
                    <a:gd name="connsiteX0" fmla="*/ 26273 w 26549"/>
                    <a:gd name="connsiteY0" fmla="*/ 15681 h 26504"/>
                    <a:gd name="connsiteX1" fmla="*/ 10704 w 26549"/>
                    <a:gd name="connsiteY1" fmla="*/ 26269 h 26504"/>
                    <a:gd name="connsiteX2" fmla="*/ 241 w 26549"/>
                    <a:gd name="connsiteY2" fmla="*/ 10823 h 26504"/>
                    <a:gd name="connsiteX3" fmla="*/ 15810 w 26549"/>
                    <a:gd name="connsiteY3" fmla="*/ 236 h 26504"/>
                    <a:gd name="connsiteX4" fmla="*/ 26273 w 2654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504">
                      <a:moveTo>
                        <a:pt x="26273" y="15681"/>
                      </a:moveTo>
                      <a:cubicBezTo>
                        <a:pt x="24903" y="22906"/>
                        <a:pt x="17928" y="27639"/>
                        <a:pt x="10704" y="26269"/>
                      </a:cubicBezTo>
                      <a:cubicBezTo>
                        <a:pt x="3479" y="24898"/>
                        <a:pt x="-1129" y="18048"/>
                        <a:pt x="241" y="10823"/>
                      </a:cubicBezTo>
                      <a:cubicBezTo>
                        <a:pt x="1611" y="3599"/>
                        <a:pt x="8586" y="-1134"/>
                        <a:pt x="15810" y="236"/>
                      </a:cubicBezTo>
                      <a:cubicBezTo>
                        <a:pt x="23035" y="1606"/>
                        <a:pt x="27768" y="8457"/>
                        <a:pt x="26273"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3" name="Graphic 2987">
                <a:extLst>
                  <a:ext uri="{FF2B5EF4-FFF2-40B4-BE49-F238E27FC236}">
                    <a16:creationId xmlns:a16="http://schemas.microsoft.com/office/drawing/2014/main" id="{021807DD-D59D-B0DE-4263-0C2CBEDF0C04}"/>
                  </a:ext>
                </a:extLst>
              </p:cNvPr>
              <p:cNvGrpSpPr/>
              <p:nvPr/>
            </p:nvGrpSpPr>
            <p:grpSpPr>
              <a:xfrm>
                <a:off x="3824431" y="1653129"/>
                <a:ext cx="50549" cy="146665"/>
                <a:chOff x="3824431" y="1653129"/>
                <a:chExt cx="50549" cy="146665"/>
              </a:xfrm>
              <a:grpFill/>
            </p:grpSpPr>
            <p:sp>
              <p:nvSpPr>
                <p:cNvPr id="5874" name="Freeform 8372">
                  <a:extLst>
                    <a:ext uri="{FF2B5EF4-FFF2-40B4-BE49-F238E27FC236}">
                      <a16:creationId xmlns:a16="http://schemas.microsoft.com/office/drawing/2014/main" id="{08D38087-9F64-1102-11E5-CDB042669709}"/>
                    </a:ext>
                  </a:extLst>
                </p:cNvPr>
                <p:cNvSpPr/>
                <p:nvPr/>
              </p:nvSpPr>
              <p:spPr>
                <a:xfrm>
                  <a:off x="3842853" y="1729059"/>
                  <a:ext cx="10961" cy="51068"/>
                </a:xfrm>
                <a:custGeom>
                  <a:avLst/>
                  <a:gdLst>
                    <a:gd name="connsiteX0" fmla="*/ 0 w 10961"/>
                    <a:gd name="connsiteY0" fmla="*/ 51069 h 51068"/>
                    <a:gd name="connsiteX1" fmla="*/ 5605 w 10961"/>
                    <a:gd name="connsiteY1" fmla="*/ 33132 h 51068"/>
                    <a:gd name="connsiteX2" fmla="*/ 5605 w 10961"/>
                    <a:gd name="connsiteY2" fmla="*/ 15694 h 51068"/>
                    <a:gd name="connsiteX3" fmla="*/ 10961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0" y="51069"/>
                      </a:moveTo>
                      <a:cubicBezTo>
                        <a:pt x="3986" y="43595"/>
                        <a:pt x="5232" y="37367"/>
                        <a:pt x="5605" y="33132"/>
                      </a:cubicBezTo>
                      <a:cubicBezTo>
                        <a:pt x="6228" y="26157"/>
                        <a:pt x="4733" y="22794"/>
                        <a:pt x="5605" y="15694"/>
                      </a:cubicBezTo>
                      <a:cubicBezTo>
                        <a:pt x="6477" y="8844"/>
                        <a:pt x="8968" y="3488"/>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5" name="Freeform 8373">
                  <a:extLst>
                    <a:ext uri="{FF2B5EF4-FFF2-40B4-BE49-F238E27FC236}">
                      <a16:creationId xmlns:a16="http://schemas.microsoft.com/office/drawing/2014/main" id="{CAE33801-DCDF-3ED3-84AE-0875423BF90C}"/>
                    </a:ext>
                  </a:extLst>
                </p:cNvPr>
                <p:cNvSpPr/>
                <p:nvPr/>
              </p:nvSpPr>
              <p:spPr>
                <a:xfrm>
                  <a:off x="3834398" y="1732547"/>
                  <a:ext cx="10239" cy="51193"/>
                </a:xfrm>
                <a:custGeom>
                  <a:avLst/>
                  <a:gdLst>
                    <a:gd name="connsiteX0" fmla="*/ 9950 w 10239"/>
                    <a:gd name="connsiteY0" fmla="*/ 0 h 51193"/>
                    <a:gd name="connsiteX1" fmla="*/ 8206 w 10239"/>
                    <a:gd name="connsiteY1" fmla="*/ 18684 h 51193"/>
                    <a:gd name="connsiteX2" fmla="*/ 1480 w 10239"/>
                    <a:gd name="connsiteY2" fmla="*/ 34752 h 51193"/>
                    <a:gd name="connsiteX3" fmla="*/ 359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0"/>
                      </a:moveTo>
                      <a:cubicBezTo>
                        <a:pt x="10822" y="8345"/>
                        <a:pt x="9576" y="14573"/>
                        <a:pt x="8206" y="18684"/>
                      </a:cubicBezTo>
                      <a:cubicBezTo>
                        <a:pt x="6088" y="25410"/>
                        <a:pt x="3348" y="27901"/>
                        <a:pt x="1480" y="34752"/>
                      </a:cubicBezTo>
                      <a:cubicBezTo>
                        <a:pt x="-389" y="41478"/>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6" name="Freeform 8374">
                  <a:extLst>
                    <a:ext uri="{FF2B5EF4-FFF2-40B4-BE49-F238E27FC236}">
                      <a16:creationId xmlns:a16="http://schemas.microsoft.com/office/drawing/2014/main" id="{4CA8449F-EE08-1CFE-5516-50E21FD55406}"/>
                    </a:ext>
                  </a:extLst>
                </p:cNvPr>
                <p:cNvSpPr/>
                <p:nvPr/>
              </p:nvSpPr>
              <p:spPr>
                <a:xfrm>
                  <a:off x="3824431" y="1773290"/>
                  <a:ext cx="26753" cy="26504"/>
                </a:xfrm>
                <a:custGeom>
                  <a:avLst/>
                  <a:gdLst>
                    <a:gd name="connsiteX0" fmla="*/ 236 w 26753"/>
                    <a:gd name="connsiteY0" fmla="*/ 10699 h 26504"/>
                    <a:gd name="connsiteX1" fmla="*/ 15930 w 26753"/>
                    <a:gd name="connsiteY1" fmla="*/ 236 h 26504"/>
                    <a:gd name="connsiteX2" fmla="*/ 26518 w 26753"/>
                    <a:gd name="connsiteY2" fmla="*/ 15681 h 26504"/>
                    <a:gd name="connsiteX3" fmla="*/ 10824 w 26753"/>
                    <a:gd name="connsiteY3" fmla="*/ 26269 h 26504"/>
                    <a:gd name="connsiteX4" fmla="*/ 236 w 26753"/>
                    <a:gd name="connsiteY4" fmla="*/ 10699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699"/>
                      </a:moveTo>
                      <a:cubicBezTo>
                        <a:pt x="1606" y="3599"/>
                        <a:pt x="8706" y="-1134"/>
                        <a:pt x="15930" y="236"/>
                      </a:cubicBezTo>
                      <a:cubicBezTo>
                        <a:pt x="23155" y="1606"/>
                        <a:pt x="27888" y="8457"/>
                        <a:pt x="26518" y="15681"/>
                      </a:cubicBezTo>
                      <a:cubicBezTo>
                        <a:pt x="25148" y="22906"/>
                        <a:pt x="18048" y="27639"/>
                        <a:pt x="10824" y="26269"/>
                      </a:cubicBezTo>
                      <a:cubicBezTo>
                        <a:pt x="3599" y="24774"/>
                        <a:pt x="-1134" y="17923"/>
                        <a:pt x="236"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7" name="Freeform 8375">
                  <a:extLst>
                    <a:ext uri="{FF2B5EF4-FFF2-40B4-BE49-F238E27FC236}">
                      <a16:creationId xmlns:a16="http://schemas.microsoft.com/office/drawing/2014/main" id="{73208C7A-65EF-260F-9D19-176F58EBC606}"/>
                    </a:ext>
                  </a:extLst>
                </p:cNvPr>
                <p:cNvSpPr/>
                <p:nvPr/>
              </p:nvSpPr>
              <p:spPr>
                <a:xfrm>
                  <a:off x="3845842" y="1672635"/>
                  <a:ext cx="10961" cy="51068"/>
                </a:xfrm>
                <a:custGeom>
                  <a:avLst/>
                  <a:gdLst>
                    <a:gd name="connsiteX0" fmla="*/ 10961 w 10961"/>
                    <a:gd name="connsiteY0" fmla="*/ 0 h 51068"/>
                    <a:gd name="connsiteX1" fmla="*/ 5356 w 10961"/>
                    <a:gd name="connsiteY1" fmla="*/ 17936 h 51068"/>
                    <a:gd name="connsiteX2" fmla="*/ 5356 w 10961"/>
                    <a:gd name="connsiteY2" fmla="*/ 35374 h 51068"/>
                    <a:gd name="connsiteX3" fmla="*/ 0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0"/>
                      </a:moveTo>
                      <a:cubicBezTo>
                        <a:pt x="6975" y="7473"/>
                        <a:pt x="5730" y="13701"/>
                        <a:pt x="5356" y="17936"/>
                      </a:cubicBezTo>
                      <a:cubicBezTo>
                        <a:pt x="4733" y="24912"/>
                        <a:pt x="6228" y="28275"/>
                        <a:pt x="5356" y="35374"/>
                      </a:cubicBezTo>
                      <a:cubicBezTo>
                        <a:pt x="4484" y="42225"/>
                        <a:pt x="1993"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8" name="Freeform 8376">
                  <a:extLst>
                    <a:ext uri="{FF2B5EF4-FFF2-40B4-BE49-F238E27FC236}">
                      <a16:creationId xmlns:a16="http://schemas.microsoft.com/office/drawing/2014/main" id="{E240CD8A-A54E-788A-3421-6427FD1C27D8}"/>
                    </a:ext>
                  </a:extLst>
                </p:cNvPr>
                <p:cNvSpPr/>
                <p:nvPr/>
              </p:nvSpPr>
              <p:spPr>
                <a:xfrm>
                  <a:off x="3854894" y="1669022"/>
                  <a:ext cx="10239" cy="51317"/>
                </a:xfrm>
                <a:custGeom>
                  <a:avLst/>
                  <a:gdLst>
                    <a:gd name="connsiteX0" fmla="*/ 290 w 10239"/>
                    <a:gd name="connsiteY0" fmla="*/ 51318 h 51317"/>
                    <a:gd name="connsiteX1" fmla="*/ 2033 w 10239"/>
                    <a:gd name="connsiteY1" fmla="*/ 32634 h 51317"/>
                    <a:gd name="connsiteX2" fmla="*/ 8760 w 10239"/>
                    <a:gd name="connsiteY2" fmla="*/ 16442 h 51317"/>
                    <a:gd name="connsiteX3" fmla="*/ 9881 w 10239"/>
                    <a:gd name="connsiteY3" fmla="*/ 0 h 51317"/>
                  </a:gdLst>
                  <a:ahLst/>
                  <a:cxnLst>
                    <a:cxn ang="0">
                      <a:pos x="connsiteX0" y="connsiteY0"/>
                    </a:cxn>
                    <a:cxn ang="0">
                      <a:pos x="connsiteX1" y="connsiteY1"/>
                    </a:cxn>
                    <a:cxn ang="0">
                      <a:pos x="connsiteX2" y="connsiteY2"/>
                    </a:cxn>
                    <a:cxn ang="0">
                      <a:pos x="connsiteX3" y="connsiteY3"/>
                    </a:cxn>
                  </a:cxnLst>
                  <a:rect l="l" t="t" r="r" b="b"/>
                  <a:pathLst>
                    <a:path w="10239" h="51317">
                      <a:moveTo>
                        <a:pt x="290" y="51318"/>
                      </a:moveTo>
                      <a:cubicBezTo>
                        <a:pt x="-582" y="42972"/>
                        <a:pt x="664" y="36745"/>
                        <a:pt x="2033" y="32634"/>
                      </a:cubicBezTo>
                      <a:cubicBezTo>
                        <a:pt x="4151" y="25908"/>
                        <a:pt x="6891" y="23417"/>
                        <a:pt x="8760" y="16442"/>
                      </a:cubicBezTo>
                      <a:cubicBezTo>
                        <a:pt x="10628" y="9715"/>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9" name="Freeform 8377">
                  <a:extLst>
                    <a:ext uri="{FF2B5EF4-FFF2-40B4-BE49-F238E27FC236}">
                      <a16:creationId xmlns:a16="http://schemas.microsoft.com/office/drawing/2014/main" id="{3024EE29-AA19-AE88-C836-138D8FDA1CD4}"/>
                    </a:ext>
                  </a:extLst>
                </p:cNvPr>
                <p:cNvSpPr/>
                <p:nvPr/>
              </p:nvSpPr>
              <p:spPr>
                <a:xfrm>
                  <a:off x="3848550" y="1653129"/>
                  <a:ext cx="26430" cy="26467"/>
                </a:xfrm>
                <a:custGeom>
                  <a:avLst/>
                  <a:gdLst>
                    <a:gd name="connsiteX0" fmla="*/ 26189 w 26430"/>
                    <a:gd name="connsiteY0" fmla="*/ 15644 h 26467"/>
                    <a:gd name="connsiteX1" fmla="*/ 10619 w 26430"/>
                    <a:gd name="connsiteY1" fmla="*/ 26231 h 26467"/>
                    <a:gd name="connsiteX2" fmla="*/ 281 w 26430"/>
                    <a:gd name="connsiteY2" fmla="*/ 10786 h 26467"/>
                    <a:gd name="connsiteX3" fmla="*/ 15851 w 26430"/>
                    <a:gd name="connsiteY3" fmla="*/ 199 h 26467"/>
                    <a:gd name="connsiteX4" fmla="*/ 26189 w 26430"/>
                    <a:gd name="connsiteY4" fmla="*/ 15644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67">
                      <a:moveTo>
                        <a:pt x="26189" y="15644"/>
                      </a:moveTo>
                      <a:cubicBezTo>
                        <a:pt x="24819" y="22868"/>
                        <a:pt x="17844" y="27602"/>
                        <a:pt x="10619" y="26231"/>
                      </a:cubicBezTo>
                      <a:cubicBezTo>
                        <a:pt x="3395" y="24861"/>
                        <a:pt x="-1213" y="18011"/>
                        <a:pt x="281" y="10786"/>
                      </a:cubicBezTo>
                      <a:cubicBezTo>
                        <a:pt x="1651" y="3687"/>
                        <a:pt x="8627" y="-1047"/>
                        <a:pt x="15851" y="199"/>
                      </a:cubicBezTo>
                      <a:cubicBezTo>
                        <a:pt x="22951" y="1569"/>
                        <a:pt x="27559" y="8544"/>
                        <a:pt x="2618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4" name="Graphic 2987">
                <a:extLst>
                  <a:ext uri="{FF2B5EF4-FFF2-40B4-BE49-F238E27FC236}">
                    <a16:creationId xmlns:a16="http://schemas.microsoft.com/office/drawing/2014/main" id="{40C70EF4-6AC1-036B-C895-FDF18777FD0A}"/>
                  </a:ext>
                </a:extLst>
              </p:cNvPr>
              <p:cNvGrpSpPr/>
              <p:nvPr/>
            </p:nvGrpSpPr>
            <p:grpSpPr>
              <a:xfrm>
                <a:off x="3795245" y="1647187"/>
                <a:ext cx="50754" cy="146680"/>
                <a:chOff x="3795245" y="1647187"/>
                <a:chExt cx="50754" cy="146680"/>
              </a:xfrm>
              <a:grpFill/>
            </p:grpSpPr>
            <p:sp>
              <p:nvSpPr>
                <p:cNvPr id="5868" name="Freeform 8379">
                  <a:extLst>
                    <a:ext uri="{FF2B5EF4-FFF2-40B4-BE49-F238E27FC236}">
                      <a16:creationId xmlns:a16="http://schemas.microsoft.com/office/drawing/2014/main" id="{18878051-B877-93C1-46D7-29BD58DFA6BC}"/>
                    </a:ext>
                  </a:extLst>
                </p:cNvPr>
                <p:cNvSpPr/>
                <p:nvPr/>
              </p:nvSpPr>
              <p:spPr>
                <a:xfrm>
                  <a:off x="3813582" y="1723329"/>
                  <a:ext cx="10960" cy="50944"/>
                </a:xfrm>
                <a:custGeom>
                  <a:avLst/>
                  <a:gdLst>
                    <a:gd name="connsiteX0" fmla="*/ 0 w 10960"/>
                    <a:gd name="connsiteY0" fmla="*/ 50944 h 50944"/>
                    <a:gd name="connsiteX1" fmla="*/ 5605 w 10960"/>
                    <a:gd name="connsiteY1" fmla="*/ 33008 h 50944"/>
                    <a:gd name="connsiteX2" fmla="*/ 5605 w 10960"/>
                    <a:gd name="connsiteY2" fmla="*/ 15570 h 50944"/>
                    <a:gd name="connsiteX3" fmla="*/ 10961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0" y="50944"/>
                      </a:moveTo>
                      <a:cubicBezTo>
                        <a:pt x="3986" y="43595"/>
                        <a:pt x="5231" y="37367"/>
                        <a:pt x="5605" y="33008"/>
                      </a:cubicBezTo>
                      <a:cubicBezTo>
                        <a:pt x="6228" y="26033"/>
                        <a:pt x="4733" y="22545"/>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9" name="Freeform 8380">
                  <a:extLst>
                    <a:ext uri="{FF2B5EF4-FFF2-40B4-BE49-F238E27FC236}">
                      <a16:creationId xmlns:a16="http://schemas.microsoft.com/office/drawing/2014/main" id="{9CD4E082-43CF-1E7C-0EAF-D8586989505B}"/>
                    </a:ext>
                  </a:extLst>
                </p:cNvPr>
                <p:cNvSpPr/>
                <p:nvPr/>
              </p:nvSpPr>
              <p:spPr>
                <a:xfrm>
                  <a:off x="3805376" y="1726568"/>
                  <a:ext cx="10224" cy="51193"/>
                </a:xfrm>
                <a:custGeom>
                  <a:avLst/>
                  <a:gdLst>
                    <a:gd name="connsiteX0" fmla="*/ 9950 w 10224"/>
                    <a:gd name="connsiteY0" fmla="*/ 0 h 51193"/>
                    <a:gd name="connsiteX1" fmla="*/ 8206 w 10224"/>
                    <a:gd name="connsiteY1" fmla="*/ 18684 h 51193"/>
                    <a:gd name="connsiteX2" fmla="*/ 1480 w 10224"/>
                    <a:gd name="connsiteY2" fmla="*/ 34752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2" y="8345"/>
                        <a:pt x="9451" y="14573"/>
                        <a:pt x="8206" y="18684"/>
                      </a:cubicBezTo>
                      <a:cubicBezTo>
                        <a:pt x="6088" y="25285"/>
                        <a:pt x="3348" y="27901"/>
                        <a:pt x="1480" y="34752"/>
                      </a:cubicBezTo>
                      <a:cubicBezTo>
                        <a:pt x="-389" y="41353"/>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0" name="Freeform 8381">
                  <a:extLst>
                    <a:ext uri="{FF2B5EF4-FFF2-40B4-BE49-F238E27FC236}">
                      <a16:creationId xmlns:a16="http://schemas.microsoft.com/office/drawing/2014/main" id="{2BA732BF-A65B-8228-D4BB-58141867488E}"/>
                    </a:ext>
                  </a:extLst>
                </p:cNvPr>
                <p:cNvSpPr/>
                <p:nvPr/>
              </p:nvSpPr>
              <p:spPr>
                <a:xfrm>
                  <a:off x="3795245" y="1767261"/>
                  <a:ext cx="26673" cy="26606"/>
                </a:xfrm>
                <a:custGeom>
                  <a:avLst/>
                  <a:gdLst>
                    <a:gd name="connsiteX0" fmla="*/ 276 w 26673"/>
                    <a:gd name="connsiteY0" fmla="*/ 10501 h 26606"/>
                    <a:gd name="connsiteX1" fmla="*/ 15970 w 26673"/>
                    <a:gd name="connsiteY1" fmla="*/ 287 h 26606"/>
                    <a:gd name="connsiteX2" fmla="*/ 26433 w 26673"/>
                    <a:gd name="connsiteY2" fmla="*/ 16106 h 26606"/>
                    <a:gd name="connsiteX3" fmla="*/ 10739 w 26673"/>
                    <a:gd name="connsiteY3" fmla="*/ 26319 h 26606"/>
                    <a:gd name="connsiteX4" fmla="*/ 276 w 26673"/>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606">
                      <a:moveTo>
                        <a:pt x="276" y="10501"/>
                      </a:moveTo>
                      <a:cubicBezTo>
                        <a:pt x="1770" y="3276"/>
                        <a:pt x="8746" y="-1208"/>
                        <a:pt x="15970" y="287"/>
                      </a:cubicBezTo>
                      <a:cubicBezTo>
                        <a:pt x="23194" y="1782"/>
                        <a:pt x="27803" y="8881"/>
                        <a:pt x="26433" y="16106"/>
                      </a:cubicBezTo>
                      <a:cubicBezTo>
                        <a:pt x="25063" y="23330"/>
                        <a:pt x="17963" y="27814"/>
                        <a:pt x="10739" y="26319"/>
                      </a:cubicBezTo>
                      <a:cubicBezTo>
                        <a:pt x="3514" y="24700"/>
                        <a:pt x="-1219" y="17600"/>
                        <a:pt x="276"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1" name="Freeform 8382">
                  <a:extLst>
                    <a:ext uri="{FF2B5EF4-FFF2-40B4-BE49-F238E27FC236}">
                      <a16:creationId xmlns:a16="http://schemas.microsoft.com/office/drawing/2014/main" id="{B09CCC97-9A48-5D2F-1079-20FF0CFDE955}"/>
                    </a:ext>
                  </a:extLst>
                </p:cNvPr>
                <p:cNvSpPr/>
                <p:nvPr/>
              </p:nvSpPr>
              <p:spPr>
                <a:xfrm>
                  <a:off x="3816820" y="1666656"/>
                  <a:ext cx="11085" cy="50944"/>
                </a:xfrm>
                <a:custGeom>
                  <a:avLst/>
                  <a:gdLst>
                    <a:gd name="connsiteX0" fmla="*/ 11086 w 11085"/>
                    <a:gd name="connsiteY0" fmla="*/ 0 h 50944"/>
                    <a:gd name="connsiteX1" fmla="*/ 5481 w 11085"/>
                    <a:gd name="connsiteY1" fmla="*/ 17936 h 50944"/>
                    <a:gd name="connsiteX2" fmla="*/ 5356 w 11085"/>
                    <a:gd name="connsiteY2" fmla="*/ 35374 h 50944"/>
                    <a:gd name="connsiteX3" fmla="*/ 0 w 1108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085" h="50944">
                      <a:moveTo>
                        <a:pt x="11086" y="0"/>
                      </a:moveTo>
                      <a:cubicBezTo>
                        <a:pt x="7100" y="7349"/>
                        <a:pt x="5854" y="13577"/>
                        <a:pt x="5481" y="17936"/>
                      </a:cubicBezTo>
                      <a:cubicBezTo>
                        <a:pt x="4858" y="24912"/>
                        <a:pt x="6353" y="28399"/>
                        <a:pt x="5356"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2" name="Freeform 8383">
                  <a:extLst>
                    <a:ext uri="{FF2B5EF4-FFF2-40B4-BE49-F238E27FC236}">
                      <a16:creationId xmlns:a16="http://schemas.microsoft.com/office/drawing/2014/main" id="{0021DE6F-DB66-480B-80A7-AAE49CCBA1B2}"/>
                    </a:ext>
                  </a:extLst>
                </p:cNvPr>
                <p:cNvSpPr/>
                <p:nvPr/>
              </p:nvSpPr>
              <p:spPr>
                <a:xfrm>
                  <a:off x="3825887" y="1663293"/>
                  <a:ext cx="10224" cy="51193"/>
                </a:xfrm>
                <a:custGeom>
                  <a:avLst/>
                  <a:gdLst>
                    <a:gd name="connsiteX0" fmla="*/ 275 w 10224"/>
                    <a:gd name="connsiteY0" fmla="*/ 51193 h 51193"/>
                    <a:gd name="connsiteX1" fmla="*/ 2019 w 10224"/>
                    <a:gd name="connsiteY1" fmla="*/ 32510 h 51193"/>
                    <a:gd name="connsiteX2" fmla="*/ 8745 w 10224"/>
                    <a:gd name="connsiteY2" fmla="*/ 16442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8"/>
                        <a:pt x="773" y="36620"/>
                        <a:pt x="2019" y="32510"/>
                      </a:cubicBezTo>
                      <a:cubicBezTo>
                        <a:pt x="4136" y="25908"/>
                        <a:pt x="6877" y="23292"/>
                        <a:pt x="8745" y="16442"/>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3" name="Freeform 8384">
                  <a:extLst>
                    <a:ext uri="{FF2B5EF4-FFF2-40B4-BE49-F238E27FC236}">
                      <a16:creationId xmlns:a16="http://schemas.microsoft.com/office/drawing/2014/main" id="{5F301158-12D3-AF7A-D17C-AE02D71D9429}"/>
                    </a:ext>
                  </a:extLst>
                </p:cNvPr>
                <p:cNvSpPr/>
                <p:nvPr/>
              </p:nvSpPr>
              <p:spPr>
                <a:xfrm>
                  <a:off x="3819653" y="1647187"/>
                  <a:ext cx="26346" cy="26606"/>
                </a:xfrm>
                <a:custGeom>
                  <a:avLst/>
                  <a:gdLst>
                    <a:gd name="connsiteX0" fmla="*/ 26065 w 26346"/>
                    <a:gd name="connsiteY0" fmla="*/ 16106 h 26606"/>
                    <a:gd name="connsiteX1" fmla="*/ 10495 w 26346"/>
                    <a:gd name="connsiteY1" fmla="*/ 26319 h 26606"/>
                    <a:gd name="connsiteX2" fmla="*/ 282 w 26346"/>
                    <a:gd name="connsiteY2" fmla="*/ 10501 h 26606"/>
                    <a:gd name="connsiteX3" fmla="*/ 15851 w 26346"/>
                    <a:gd name="connsiteY3" fmla="*/ 287 h 26606"/>
                    <a:gd name="connsiteX4" fmla="*/ 26065 w 26346"/>
                    <a:gd name="connsiteY4" fmla="*/ 16106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6106"/>
                      </a:moveTo>
                      <a:cubicBezTo>
                        <a:pt x="24570" y="23330"/>
                        <a:pt x="17720" y="27814"/>
                        <a:pt x="10495" y="26319"/>
                      </a:cubicBezTo>
                      <a:cubicBezTo>
                        <a:pt x="3395" y="24825"/>
                        <a:pt x="-1213" y="17725"/>
                        <a:pt x="282" y="10501"/>
                      </a:cubicBezTo>
                      <a:cubicBezTo>
                        <a:pt x="1776" y="3276"/>
                        <a:pt x="8751" y="-1208"/>
                        <a:pt x="15851" y="287"/>
                      </a:cubicBezTo>
                      <a:cubicBezTo>
                        <a:pt x="22951" y="1782"/>
                        <a:pt x="27560" y="8881"/>
                        <a:pt x="26065" y="16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5" name="Graphic 2987">
                <a:extLst>
                  <a:ext uri="{FF2B5EF4-FFF2-40B4-BE49-F238E27FC236}">
                    <a16:creationId xmlns:a16="http://schemas.microsoft.com/office/drawing/2014/main" id="{531E9DAB-BED8-D497-DC7A-45E5357C59BC}"/>
                  </a:ext>
                </a:extLst>
              </p:cNvPr>
              <p:cNvGrpSpPr/>
              <p:nvPr/>
            </p:nvGrpSpPr>
            <p:grpSpPr>
              <a:xfrm>
                <a:off x="3766093" y="1641084"/>
                <a:ext cx="51133" cy="146430"/>
                <a:chOff x="3766093" y="1641084"/>
                <a:chExt cx="51133" cy="146430"/>
              </a:xfrm>
              <a:grpFill/>
            </p:grpSpPr>
            <p:sp>
              <p:nvSpPr>
                <p:cNvPr id="5862" name="Freeform 8386">
                  <a:extLst>
                    <a:ext uri="{FF2B5EF4-FFF2-40B4-BE49-F238E27FC236}">
                      <a16:creationId xmlns:a16="http://schemas.microsoft.com/office/drawing/2014/main" id="{BEAD0F5E-32E1-2AC3-8BEF-5E5B86B54E03}"/>
                    </a:ext>
                  </a:extLst>
                </p:cNvPr>
                <p:cNvSpPr/>
                <p:nvPr/>
              </p:nvSpPr>
              <p:spPr>
                <a:xfrm>
                  <a:off x="3784435" y="1717102"/>
                  <a:ext cx="11210" cy="50944"/>
                </a:xfrm>
                <a:custGeom>
                  <a:avLst/>
                  <a:gdLst>
                    <a:gd name="connsiteX0" fmla="*/ 0 w 11210"/>
                    <a:gd name="connsiteY0" fmla="*/ 50944 h 50944"/>
                    <a:gd name="connsiteX1" fmla="*/ 5730 w 11210"/>
                    <a:gd name="connsiteY1" fmla="*/ 33008 h 50944"/>
                    <a:gd name="connsiteX2" fmla="*/ 5854 w 11210"/>
                    <a:gd name="connsiteY2" fmla="*/ 15570 h 50944"/>
                    <a:gd name="connsiteX3" fmla="*/ 1121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0" y="50944"/>
                      </a:moveTo>
                      <a:cubicBezTo>
                        <a:pt x="4111" y="43595"/>
                        <a:pt x="5356" y="37367"/>
                        <a:pt x="5730" y="33008"/>
                      </a:cubicBezTo>
                      <a:cubicBezTo>
                        <a:pt x="6353" y="26033"/>
                        <a:pt x="4858" y="22545"/>
                        <a:pt x="5854" y="15570"/>
                      </a:cubicBezTo>
                      <a:cubicBezTo>
                        <a:pt x="6726" y="8719"/>
                        <a:pt x="9342" y="3363"/>
                        <a:pt x="112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3" name="Freeform 8387">
                  <a:extLst>
                    <a:ext uri="{FF2B5EF4-FFF2-40B4-BE49-F238E27FC236}">
                      <a16:creationId xmlns:a16="http://schemas.microsoft.com/office/drawing/2014/main" id="{F05ED8D4-5AD2-9621-1492-F0CA761BF12A}"/>
                    </a:ext>
                  </a:extLst>
                </p:cNvPr>
                <p:cNvSpPr/>
                <p:nvPr/>
              </p:nvSpPr>
              <p:spPr>
                <a:xfrm>
                  <a:off x="3776076" y="1720340"/>
                  <a:ext cx="10451" cy="51193"/>
                </a:xfrm>
                <a:custGeom>
                  <a:avLst/>
                  <a:gdLst>
                    <a:gd name="connsiteX0" fmla="*/ 10228 w 10451"/>
                    <a:gd name="connsiteY0" fmla="*/ 0 h 51193"/>
                    <a:gd name="connsiteX1" fmla="*/ 8359 w 10451"/>
                    <a:gd name="connsiteY1" fmla="*/ 18684 h 51193"/>
                    <a:gd name="connsiteX2" fmla="*/ 1508 w 10451"/>
                    <a:gd name="connsiteY2" fmla="*/ 34752 h 51193"/>
                    <a:gd name="connsiteX3" fmla="*/ 263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10228" y="0"/>
                      </a:moveTo>
                      <a:cubicBezTo>
                        <a:pt x="10975" y="8345"/>
                        <a:pt x="9729" y="14573"/>
                        <a:pt x="8359" y="18684"/>
                      </a:cubicBezTo>
                      <a:cubicBezTo>
                        <a:pt x="6242" y="25285"/>
                        <a:pt x="3501"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4" name="Freeform 8388">
                  <a:extLst>
                    <a:ext uri="{FF2B5EF4-FFF2-40B4-BE49-F238E27FC236}">
                      <a16:creationId xmlns:a16="http://schemas.microsoft.com/office/drawing/2014/main" id="{96EBF637-2332-50DD-481F-7CA2D77ED4A5}"/>
                    </a:ext>
                  </a:extLst>
                </p:cNvPr>
                <p:cNvSpPr/>
                <p:nvPr/>
              </p:nvSpPr>
              <p:spPr>
                <a:xfrm>
                  <a:off x="3766093" y="1760908"/>
                  <a:ext cx="26589" cy="26606"/>
                </a:xfrm>
                <a:custGeom>
                  <a:avLst/>
                  <a:gdLst>
                    <a:gd name="connsiteX0" fmla="*/ 281 w 26589"/>
                    <a:gd name="connsiteY0" fmla="*/ 10501 h 26606"/>
                    <a:gd name="connsiteX1" fmla="*/ 15976 w 26589"/>
                    <a:gd name="connsiteY1" fmla="*/ 287 h 26606"/>
                    <a:gd name="connsiteX2" fmla="*/ 26314 w 26589"/>
                    <a:gd name="connsiteY2" fmla="*/ 16106 h 26606"/>
                    <a:gd name="connsiteX3" fmla="*/ 10619 w 26589"/>
                    <a:gd name="connsiteY3" fmla="*/ 26319 h 26606"/>
                    <a:gd name="connsiteX4" fmla="*/ 281 w 2658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8" h="26606">
                      <a:moveTo>
                        <a:pt x="281" y="10501"/>
                      </a:moveTo>
                      <a:cubicBezTo>
                        <a:pt x="1776" y="3276"/>
                        <a:pt x="8876" y="-1208"/>
                        <a:pt x="15976" y="287"/>
                      </a:cubicBezTo>
                      <a:cubicBezTo>
                        <a:pt x="23075" y="1782"/>
                        <a:pt x="27808" y="8881"/>
                        <a:pt x="26314" y="16106"/>
                      </a:cubicBezTo>
                      <a:cubicBezTo>
                        <a:pt x="24819" y="23330"/>
                        <a:pt x="17844" y="27814"/>
                        <a:pt x="10619" y="26319"/>
                      </a:cubicBezTo>
                      <a:cubicBezTo>
                        <a:pt x="3395" y="24825"/>
                        <a:pt x="-1213" y="17725"/>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5" name="Freeform 8389">
                  <a:extLst>
                    <a:ext uri="{FF2B5EF4-FFF2-40B4-BE49-F238E27FC236}">
                      <a16:creationId xmlns:a16="http://schemas.microsoft.com/office/drawing/2014/main" id="{DFDF8B03-F90A-26FD-396D-766E74DA7760}"/>
                    </a:ext>
                  </a:extLst>
                </p:cNvPr>
                <p:cNvSpPr/>
                <p:nvPr/>
              </p:nvSpPr>
              <p:spPr>
                <a:xfrm>
                  <a:off x="3787923" y="1660552"/>
                  <a:ext cx="11210" cy="50944"/>
                </a:xfrm>
                <a:custGeom>
                  <a:avLst/>
                  <a:gdLst>
                    <a:gd name="connsiteX0" fmla="*/ 11210 w 11210"/>
                    <a:gd name="connsiteY0" fmla="*/ 0 h 50944"/>
                    <a:gd name="connsiteX1" fmla="*/ 5481 w 11210"/>
                    <a:gd name="connsiteY1" fmla="*/ 17936 h 50944"/>
                    <a:gd name="connsiteX2" fmla="*/ 5356 w 11210"/>
                    <a:gd name="connsiteY2" fmla="*/ 35374 h 50944"/>
                    <a:gd name="connsiteX3" fmla="*/ 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0"/>
                      </a:moveTo>
                      <a:cubicBezTo>
                        <a:pt x="7225" y="7349"/>
                        <a:pt x="5854" y="13577"/>
                        <a:pt x="5481" y="17936"/>
                      </a:cubicBezTo>
                      <a:cubicBezTo>
                        <a:pt x="4858" y="24912"/>
                        <a:pt x="6353" y="28399"/>
                        <a:pt x="5356" y="35374"/>
                      </a:cubicBezTo>
                      <a:cubicBezTo>
                        <a:pt x="4484"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6" name="Freeform 8390">
                  <a:extLst>
                    <a:ext uri="{FF2B5EF4-FFF2-40B4-BE49-F238E27FC236}">
                      <a16:creationId xmlns:a16="http://schemas.microsoft.com/office/drawing/2014/main" id="{F7255EB0-7BD9-E0ED-82EA-5A35F234E001}"/>
                    </a:ext>
                  </a:extLst>
                </p:cNvPr>
                <p:cNvSpPr/>
                <p:nvPr/>
              </p:nvSpPr>
              <p:spPr>
                <a:xfrm>
                  <a:off x="3796916" y="1657065"/>
                  <a:ext cx="10327" cy="51193"/>
                </a:xfrm>
                <a:custGeom>
                  <a:avLst/>
                  <a:gdLst>
                    <a:gd name="connsiteX0" fmla="*/ 224 w 10327"/>
                    <a:gd name="connsiteY0" fmla="*/ 51193 h 51193"/>
                    <a:gd name="connsiteX1" fmla="*/ 2093 w 10327"/>
                    <a:gd name="connsiteY1" fmla="*/ 32510 h 51193"/>
                    <a:gd name="connsiteX2" fmla="*/ 8819 w 10327"/>
                    <a:gd name="connsiteY2" fmla="*/ 16442 h 51193"/>
                    <a:gd name="connsiteX3" fmla="*/ 10065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224" y="51193"/>
                      </a:moveTo>
                      <a:cubicBezTo>
                        <a:pt x="-523" y="42848"/>
                        <a:pt x="723" y="36620"/>
                        <a:pt x="2093" y="32510"/>
                      </a:cubicBezTo>
                      <a:cubicBezTo>
                        <a:pt x="4210" y="25908"/>
                        <a:pt x="6951" y="23292"/>
                        <a:pt x="8819" y="16442"/>
                      </a:cubicBezTo>
                      <a:cubicBezTo>
                        <a:pt x="10687" y="9840"/>
                        <a:pt x="10438" y="3861"/>
                        <a:pt x="100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7" name="Freeform 8391">
                  <a:extLst>
                    <a:ext uri="{FF2B5EF4-FFF2-40B4-BE49-F238E27FC236}">
                      <a16:creationId xmlns:a16="http://schemas.microsoft.com/office/drawing/2014/main" id="{4994AFB9-D1BA-1CD2-DE9B-4A42EEE2EC8F}"/>
                    </a:ext>
                  </a:extLst>
                </p:cNvPr>
                <p:cNvSpPr/>
                <p:nvPr/>
              </p:nvSpPr>
              <p:spPr>
                <a:xfrm>
                  <a:off x="3790880" y="1641084"/>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881"/>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6" name="Graphic 2987">
                <a:extLst>
                  <a:ext uri="{FF2B5EF4-FFF2-40B4-BE49-F238E27FC236}">
                    <a16:creationId xmlns:a16="http://schemas.microsoft.com/office/drawing/2014/main" id="{1066299E-CD78-EB91-82F6-3828E33F440A}"/>
                  </a:ext>
                </a:extLst>
              </p:cNvPr>
              <p:cNvGrpSpPr/>
              <p:nvPr/>
            </p:nvGrpSpPr>
            <p:grpSpPr>
              <a:xfrm>
                <a:off x="3736822" y="1634980"/>
                <a:ext cx="51631" cy="146306"/>
                <a:chOff x="3736822" y="1634980"/>
                <a:chExt cx="51631" cy="146306"/>
              </a:xfrm>
              <a:grpFill/>
            </p:grpSpPr>
            <p:sp>
              <p:nvSpPr>
                <p:cNvPr id="5856" name="Freeform 8393">
                  <a:extLst>
                    <a:ext uri="{FF2B5EF4-FFF2-40B4-BE49-F238E27FC236}">
                      <a16:creationId xmlns:a16="http://schemas.microsoft.com/office/drawing/2014/main" id="{F56E81C6-42D5-FEBC-4983-F6B5223BF9DF}"/>
                    </a:ext>
                  </a:extLst>
                </p:cNvPr>
                <p:cNvSpPr/>
                <p:nvPr/>
              </p:nvSpPr>
              <p:spPr>
                <a:xfrm>
                  <a:off x="3755289" y="1710874"/>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5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4111" y="43595"/>
                        <a:pt x="5356" y="37367"/>
                        <a:pt x="5730" y="33008"/>
                      </a:cubicBezTo>
                      <a:cubicBezTo>
                        <a:pt x="6353" y="26033"/>
                        <a:pt x="4858" y="22545"/>
                        <a:pt x="5854" y="15570"/>
                      </a:cubicBezTo>
                      <a:cubicBezTo>
                        <a:pt x="6726" y="8719"/>
                        <a:pt x="9342" y="3363"/>
                        <a:pt x="11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7" name="Freeform 8394">
                  <a:extLst>
                    <a:ext uri="{FF2B5EF4-FFF2-40B4-BE49-F238E27FC236}">
                      <a16:creationId xmlns:a16="http://schemas.microsoft.com/office/drawing/2014/main" id="{B63D4A8D-785C-9C36-55DE-6A580FA07A27}"/>
                    </a:ext>
                  </a:extLst>
                </p:cNvPr>
                <p:cNvSpPr/>
                <p:nvPr/>
              </p:nvSpPr>
              <p:spPr>
                <a:xfrm>
                  <a:off x="3747000" y="1714112"/>
                  <a:ext cx="10506" cy="51068"/>
                </a:xfrm>
                <a:custGeom>
                  <a:avLst/>
                  <a:gdLst>
                    <a:gd name="connsiteX0" fmla="*/ 10282 w 10506"/>
                    <a:gd name="connsiteY0" fmla="*/ 0 h 51068"/>
                    <a:gd name="connsiteX1" fmla="*/ 8414 w 10506"/>
                    <a:gd name="connsiteY1" fmla="*/ 18684 h 51068"/>
                    <a:gd name="connsiteX2" fmla="*/ 1563 w 10506"/>
                    <a:gd name="connsiteY2" fmla="*/ 34627 h 51068"/>
                    <a:gd name="connsiteX3" fmla="*/ 318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0"/>
                      </a:moveTo>
                      <a:cubicBezTo>
                        <a:pt x="11029" y="8345"/>
                        <a:pt x="9784" y="14573"/>
                        <a:pt x="8414" y="18684"/>
                      </a:cubicBezTo>
                      <a:cubicBezTo>
                        <a:pt x="6172"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8" name="Freeform 8395">
                  <a:extLst>
                    <a:ext uri="{FF2B5EF4-FFF2-40B4-BE49-F238E27FC236}">
                      <a16:creationId xmlns:a16="http://schemas.microsoft.com/office/drawing/2014/main" id="{DFC313CA-2E36-373E-9D11-B76F610FDD40}"/>
                    </a:ext>
                  </a:extLst>
                </p:cNvPr>
                <p:cNvSpPr/>
                <p:nvPr/>
              </p:nvSpPr>
              <p:spPr>
                <a:xfrm>
                  <a:off x="3736822" y="1754680"/>
                  <a:ext cx="26719" cy="26606"/>
                </a:xfrm>
                <a:custGeom>
                  <a:avLst/>
                  <a:gdLst>
                    <a:gd name="connsiteX0" fmla="*/ 281 w 26719"/>
                    <a:gd name="connsiteY0" fmla="*/ 10501 h 26606"/>
                    <a:gd name="connsiteX1" fmla="*/ 16100 w 26719"/>
                    <a:gd name="connsiteY1" fmla="*/ 287 h 26606"/>
                    <a:gd name="connsiteX2" fmla="*/ 26438 w 26719"/>
                    <a:gd name="connsiteY2" fmla="*/ 16106 h 26606"/>
                    <a:gd name="connsiteX3" fmla="*/ 10619 w 26719"/>
                    <a:gd name="connsiteY3" fmla="*/ 26319 h 26606"/>
                    <a:gd name="connsiteX4" fmla="*/ 281 w 2671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6">
                      <a:moveTo>
                        <a:pt x="281" y="10501"/>
                      </a:moveTo>
                      <a:cubicBezTo>
                        <a:pt x="1776" y="3276"/>
                        <a:pt x="8876" y="-1208"/>
                        <a:pt x="16100" y="287"/>
                      </a:cubicBezTo>
                      <a:cubicBezTo>
                        <a:pt x="23325" y="1782"/>
                        <a:pt x="27933" y="8881"/>
                        <a:pt x="26438" y="16106"/>
                      </a:cubicBezTo>
                      <a:cubicBezTo>
                        <a:pt x="24944" y="23330"/>
                        <a:pt x="17844" y="27814"/>
                        <a:pt x="10619" y="26319"/>
                      </a:cubicBezTo>
                      <a:cubicBezTo>
                        <a:pt x="3395" y="24825"/>
                        <a:pt x="-1213" y="17600"/>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9" name="Freeform 8396">
                  <a:extLst>
                    <a:ext uri="{FF2B5EF4-FFF2-40B4-BE49-F238E27FC236}">
                      <a16:creationId xmlns:a16="http://schemas.microsoft.com/office/drawing/2014/main" id="{4ED4694A-3924-966A-DD33-60C8550F32F3}"/>
                    </a:ext>
                  </a:extLst>
                </p:cNvPr>
                <p:cNvSpPr/>
                <p:nvPr/>
              </p:nvSpPr>
              <p:spPr>
                <a:xfrm>
                  <a:off x="3759026" y="1654325"/>
                  <a:ext cx="11334" cy="50944"/>
                </a:xfrm>
                <a:custGeom>
                  <a:avLst/>
                  <a:gdLst>
                    <a:gd name="connsiteX0" fmla="*/ 11335 w 11334"/>
                    <a:gd name="connsiteY0" fmla="*/ 0 h 50944"/>
                    <a:gd name="connsiteX1" fmla="*/ 5605 w 11334"/>
                    <a:gd name="connsiteY1" fmla="*/ 17936 h 50944"/>
                    <a:gd name="connsiteX2" fmla="*/ 5481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0"/>
                      </a:moveTo>
                      <a:cubicBezTo>
                        <a:pt x="7224" y="7349"/>
                        <a:pt x="5979" y="13577"/>
                        <a:pt x="5605" y="17936"/>
                      </a:cubicBezTo>
                      <a:cubicBezTo>
                        <a:pt x="4982" y="24912"/>
                        <a:pt x="6352" y="28275"/>
                        <a:pt x="5481"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0" name="Freeform 8397">
                  <a:extLst>
                    <a:ext uri="{FF2B5EF4-FFF2-40B4-BE49-F238E27FC236}">
                      <a16:creationId xmlns:a16="http://schemas.microsoft.com/office/drawing/2014/main" id="{77DD3916-EAC1-9AF4-BA6E-0F61314D02E3}"/>
                    </a:ext>
                  </a:extLst>
                </p:cNvPr>
                <p:cNvSpPr/>
                <p:nvPr/>
              </p:nvSpPr>
              <p:spPr>
                <a:xfrm>
                  <a:off x="3768018" y="1650837"/>
                  <a:ext cx="10506" cy="51193"/>
                </a:xfrm>
                <a:custGeom>
                  <a:avLst/>
                  <a:gdLst>
                    <a:gd name="connsiteX0" fmla="*/ 224 w 10506"/>
                    <a:gd name="connsiteY0" fmla="*/ 51193 h 51193"/>
                    <a:gd name="connsiteX1" fmla="*/ 2093 w 10506"/>
                    <a:gd name="connsiteY1" fmla="*/ 32510 h 51193"/>
                    <a:gd name="connsiteX2" fmla="*/ 8944 w 10506"/>
                    <a:gd name="connsiteY2" fmla="*/ 16442 h 51193"/>
                    <a:gd name="connsiteX3" fmla="*/ 10189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224" y="51193"/>
                      </a:moveTo>
                      <a:cubicBezTo>
                        <a:pt x="-523" y="42848"/>
                        <a:pt x="723" y="36620"/>
                        <a:pt x="2093" y="32510"/>
                      </a:cubicBezTo>
                      <a:cubicBezTo>
                        <a:pt x="4335" y="25908"/>
                        <a:pt x="6951" y="23292"/>
                        <a:pt x="8944" y="16442"/>
                      </a:cubicBezTo>
                      <a:cubicBezTo>
                        <a:pt x="10812" y="9840"/>
                        <a:pt x="10687" y="3861"/>
                        <a:pt x="10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1" name="Freeform 8398">
                  <a:extLst>
                    <a:ext uri="{FF2B5EF4-FFF2-40B4-BE49-F238E27FC236}">
                      <a16:creationId xmlns:a16="http://schemas.microsoft.com/office/drawing/2014/main" id="{E5D66A7B-110B-FB38-71D4-953BEF52FF42}"/>
                    </a:ext>
                  </a:extLst>
                </p:cNvPr>
                <p:cNvSpPr/>
                <p:nvPr/>
              </p:nvSpPr>
              <p:spPr>
                <a:xfrm>
                  <a:off x="3762107" y="1634980"/>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757"/>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7" name="Graphic 2987">
                <a:extLst>
                  <a:ext uri="{FF2B5EF4-FFF2-40B4-BE49-F238E27FC236}">
                    <a16:creationId xmlns:a16="http://schemas.microsoft.com/office/drawing/2014/main" id="{0F1228EA-93E7-EF35-4F69-E95CF9761BFC}"/>
                  </a:ext>
                </a:extLst>
              </p:cNvPr>
              <p:cNvGrpSpPr/>
              <p:nvPr/>
            </p:nvGrpSpPr>
            <p:grpSpPr>
              <a:xfrm>
                <a:off x="3707676" y="1628758"/>
                <a:ext cx="52010" cy="146300"/>
                <a:chOff x="3707676" y="1628758"/>
                <a:chExt cx="52010" cy="146300"/>
              </a:xfrm>
              <a:grpFill/>
            </p:grpSpPr>
            <p:sp>
              <p:nvSpPr>
                <p:cNvPr id="5850" name="Freeform 8400">
                  <a:extLst>
                    <a:ext uri="{FF2B5EF4-FFF2-40B4-BE49-F238E27FC236}">
                      <a16:creationId xmlns:a16="http://schemas.microsoft.com/office/drawing/2014/main" id="{FE1CDB55-2139-C5A6-EF1A-943735739121}"/>
                    </a:ext>
                  </a:extLst>
                </p:cNvPr>
                <p:cNvSpPr/>
                <p:nvPr/>
              </p:nvSpPr>
              <p:spPr>
                <a:xfrm>
                  <a:off x="3726018" y="1704646"/>
                  <a:ext cx="11583" cy="50944"/>
                </a:xfrm>
                <a:custGeom>
                  <a:avLst/>
                  <a:gdLst>
                    <a:gd name="connsiteX0" fmla="*/ 0 w 11583"/>
                    <a:gd name="connsiteY0" fmla="*/ 50944 h 50944"/>
                    <a:gd name="connsiteX1" fmla="*/ 5854 w 11583"/>
                    <a:gd name="connsiteY1" fmla="*/ 33008 h 50944"/>
                    <a:gd name="connsiteX2" fmla="*/ 6103 w 11583"/>
                    <a:gd name="connsiteY2" fmla="*/ 15570 h 50944"/>
                    <a:gd name="connsiteX3" fmla="*/ 11584 w 11583"/>
                    <a:gd name="connsiteY3" fmla="*/ 0 h 50944"/>
                  </a:gdLst>
                  <a:ahLst/>
                  <a:cxnLst>
                    <a:cxn ang="0">
                      <a:pos x="connsiteX0" y="connsiteY0"/>
                    </a:cxn>
                    <a:cxn ang="0">
                      <a:pos x="connsiteX1" y="connsiteY1"/>
                    </a:cxn>
                    <a:cxn ang="0">
                      <a:pos x="connsiteX2" y="connsiteY2"/>
                    </a:cxn>
                    <a:cxn ang="0">
                      <a:pos x="connsiteX3" y="connsiteY3"/>
                    </a:cxn>
                  </a:cxnLst>
                  <a:rect l="l" t="t" r="r" b="b"/>
                  <a:pathLst>
                    <a:path w="11583" h="50944">
                      <a:moveTo>
                        <a:pt x="0" y="50944"/>
                      </a:moveTo>
                      <a:cubicBezTo>
                        <a:pt x="4110" y="43595"/>
                        <a:pt x="5356" y="37367"/>
                        <a:pt x="5854" y="33008"/>
                      </a:cubicBezTo>
                      <a:cubicBezTo>
                        <a:pt x="6477" y="26033"/>
                        <a:pt x="5107" y="22669"/>
                        <a:pt x="6103" y="15570"/>
                      </a:cubicBezTo>
                      <a:cubicBezTo>
                        <a:pt x="7099"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1" name="Freeform 8401">
                  <a:extLst>
                    <a:ext uri="{FF2B5EF4-FFF2-40B4-BE49-F238E27FC236}">
                      <a16:creationId xmlns:a16="http://schemas.microsoft.com/office/drawing/2014/main" id="{3DE0A70B-9E97-77D6-850D-47A7202F3232}"/>
                    </a:ext>
                  </a:extLst>
                </p:cNvPr>
                <p:cNvSpPr/>
                <p:nvPr/>
              </p:nvSpPr>
              <p:spPr>
                <a:xfrm>
                  <a:off x="3717729" y="1707884"/>
                  <a:ext cx="10742" cy="51068"/>
                </a:xfrm>
                <a:custGeom>
                  <a:avLst/>
                  <a:gdLst>
                    <a:gd name="connsiteX0" fmla="*/ 10531 w 10742"/>
                    <a:gd name="connsiteY0" fmla="*/ 0 h 51068"/>
                    <a:gd name="connsiteX1" fmla="*/ 8538 w 10742"/>
                    <a:gd name="connsiteY1" fmla="*/ 18684 h 51068"/>
                    <a:gd name="connsiteX2" fmla="*/ 1563 w 10742"/>
                    <a:gd name="connsiteY2" fmla="*/ 34627 h 51068"/>
                    <a:gd name="connsiteX3" fmla="*/ 318 w 1074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42" h="51068">
                      <a:moveTo>
                        <a:pt x="10531" y="0"/>
                      </a:moveTo>
                      <a:cubicBezTo>
                        <a:pt x="11279" y="8345"/>
                        <a:pt x="9908" y="14573"/>
                        <a:pt x="8538" y="18684"/>
                      </a:cubicBezTo>
                      <a:cubicBezTo>
                        <a:pt x="6296"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2" name="Freeform 8402">
                  <a:extLst>
                    <a:ext uri="{FF2B5EF4-FFF2-40B4-BE49-F238E27FC236}">
                      <a16:creationId xmlns:a16="http://schemas.microsoft.com/office/drawing/2014/main" id="{7B749A08-6A9D-170C-03D5-8384899F8C7B}"/>
                    </a:ext>
                  </a:extLst>
                </p:cNvPr>
                <p:cNvSpPr/>
                <p:nvPr/>
              </p:nvSpPr>
              <p:spPr>
                <a:xfrm>
                  <a:off x="3707676" y="1748458"/>
                  <a:ext cx="26719" cy="26601"/>
                </a:xfrm>
                <a:custGeom>
                  <a:avLst/>
                  <a:gdLst>
                    <a:gd name="connsiteX0" fmla="*/ 281 w 26719"/>
                    <a:gd name="connsiteY0" fmla="*/ 10495 h 26601"/>
                    <a:gd name="connsiteX1" fmla="*/ 16100 w 26719"/>
                    <a:gd name="connsiteY1" fmla="*/ 282 h 26601"/>
                    <a:gd name="connsiteX2" fmla="*/ 26438 w 26719"/>
                    <a:gd name="connsiteY2" fmla="*/ 16100 h 26601"/>
                    <a:gd name="connsiteX3" fmla="*/ 10619 w 26719"/>
                    <a:gd name="connsiteY3" fmla="*/ 26314 h 26601"/>
                    <a:gd name="connsiteX4" fmla="*/ 281 w 26719"/>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1">
                      <a:moveTo>
                        <a:pt x="281" y="10495"/>
                      </a:moveTo>
                      <a:cubicBezTo>
                        <a:pt x="1776" y="3395"/>
                        <a:pt x="8876" y="-1213"/>
                        <a:pt x="16100" y="282"/>
                      </a:cubicBezTo>
                      <a:cubicBezTo>
                        <a:pt x="23325" y="1776"/>
                        <a:pt x="27933" y="8876"/>
                        <a:pt x="26438" y="16100"/>
                      </a:cubicBezTo>
                      <a:cubicBezTo>
                        <a:pt x="24944" y="23325"/>
                        <a:pt x="17844" y="27809"/>
                        <a:pt x="10619" y="26314"/>
                      </a:cubicBezTo>
                      <a:cubicBezTo>
                        <a:pt x="3395" y="24819"/>
                        <a:pt x="-1213" y="17595"/>
                        <a:pt x="28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3" name="Freeform 8403">
                  <a:extLst>
                    <a:ext uri="{FF2B5EF4-FFF2-40B4-BE49-F238E27FC236}">
                      <a16:creationId xmlns:a16="http://schemas.microsoft.com/office/drawing/2014/main" id="{097199E7-D7E6-C82A-7ECF-50DE04DE3388}"/>
                    </a:ext>
                  </a:extLst>
                </p:cNvPr>
                <p:cNvSpPr/>
                <p:nvPr/>
              </p:nvSpPr>
              <p:spPr>
                <a:xfrm>
                  <a:off x="3729879" y="1648097"/>
                  <a:ext cx="11583" cy="50944"/>
                </a:xfrm>
                <a:custGeom>
                  <a:avLst/>
                  <a:gdLst>
                    <a:gd name="connsiteX0" fmla="*/ 11584 w 11583"/>
                    <a:gd name="connsiteY0" fmla="*/ 0 h 50944"/>
                    <a:gd name="connsiteX1" fmla="*/ 5730 w 11583"/>
                    <a:gd name="connsiteY1" fmla="*/ 17936 h 50944"/>
                    <a:gd name="connsiteX2" fmla="*/ 5481 w 11583"/>
                    <a:gd name="connsiteY2" fmla="*/ 35374 h 50944"/>
                    <a:gd name="connsiteX3" fmla="*/ 0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11584" y="0"/>
                      </a:moveTo>
                      <a:cubicBezTo>
                        <a:pt x="7473" y="7349"/>
                        <a:pt x="6228" y="13577"/>
                        <a:pt x="5730" y="17936"/>
                      </a:cubicBezTo>
                      <a:cubicBezTo>
                        <a:pt x="4982" y="24912"/>
                        <a:pt x="6477" y="28275"/>
                        <a:pt x="5481"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4" name="Freeform 8404">
                  <a:extLst>
                    <a:ext uri="{FF2B5EF4-FFF2-40B4-BE49-F238E27FC236}">
                      <a16:creationId xmlns:a16="http://schemas.microsoft.com/office/drawing/2014/main" id="{66D22E7A-250E-E234-CCC1-F08A02DBCBD2}"/>
                    </a:ext>
                  </a:extLst>
                </p:cNvPr>
                <p:cNvSpPr/>
                <p:nvPr/>
              </p:nvSpPr>
              <p:spPr>
                <a:xfrm>
                  <a:off x="3739010" y="1644734"/>
                  <a:ext cx="10617" cy="51068"/>
                </a:xfrm>
                <a:custGeom>
                  <a:avLst/>
                  <a:gdLst>
                    <a:gd name="connsiteX0" fmla="*/ 211 w 10617"/>
                    <a:gd name="connsiteY0" fmla="*/ 51069 h 51068"/>
                    <a:gd name="connsiteX1" fmla="*/ 2204 w 10617"/>
                    <a:gd name="connsiteY1" fmla="*/ 32385 h 51068"/>
                    <a:gd name="connsiteX2" fmla="*/ 9055 w 10617"/>
                    <a:gd name="connsiteY2" fmla="*/ 16442 h 51068"/>
                    <a:gd name="connsiteX3" fmla="*/ 10300 w 10617"/>
                    <a:gd name="connsiteY3" fmla="*/ 0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51069"/>
                      </a:moveTo>
                      <a:cubicBezTo>
                        <a:pt x="-536" y="42723"/>
                        <a:pt x="834" y="36495"/>
                        <a:pt x="2204" y="32385"/>
                      </a:cubicBezTo>
                      <a:cubicBezTo>
                        <a:pt x="4446" y="25783"/>
                        <a:pt x="7062" y="23168"/>
                        <a:pt x="9055" y="16442"/>
                      </a:cubicBezTo>
                      <a:cubicBezTo>
                        <a:pt x="10923" y="9840"/>
                        <a:pt x="10798"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5" name="Freeform 8405">
                  <a:extLst>
                    <a:ext uri="{FF2B5EF4-FFF2-40B4-BE49-F238E27FC236}">
                      <a16:creationId xmlns:a16="http://schemas.microsoft.com/office/drawing/2014/main" id="{5991E33B-14BB-9A8B-B5AB-0445B324450D}"/>
                    </a:ext>
                  </a:extLst>
                </p:cNvPr>
                <p:cNvSpPr/>
                <p:nvPr/>
              </p:nvSpPr>
              <p:spPr>
                <a:xfrm>
                  <a:off x="3733291" y="1628758"/>
                  <a:ext cx="26395" cy="26476"/>
                </a:xfrm>
                <a:custGeom>
                  <a:avLst/>
                  <a:gdLst>
                    <a:gd name="connsiteX0" fmla="*/ 26108 w 26395"/>
                    <a:gd name="connsiteY0" fmla="*/ 15976 h 26476"/>
                    <a:gd name="connsiteX1" fmla="*/ 10414 w 26395"/>
                    <a:gd name="connsiteY1" fmla="*/ 26190 h 26476"/>
                    <a:gd name="connsiteX2" fmla="*/ 325 w 26395"/>
                    <a:gd name="connsiteY2" fmla="*/ 10495 h 26476"/>
                    <a:gd name="connsiteX3" fmla="*/ 16019 w 26395"/>
                    <a:gd name="connsiteY3" fmla="*/ 282 h 26476"/>
                    <a:gd name="connsiteX4" fmla="*/ 26108 w 26395"/>
                    <a:gd name="connsiteY4" fmla="*/ 15976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476">
                      <a:moveTo>
                        <a:pt x="26108" y="15976"/>
                      </a:moveTo>
                      <a:cubicBezTo>
                        <a:pt x="24613" y="23200"/>
                        <a:pt x="17638" y="27684"/>
                        <a:pt x="10414" y="26190"/>
                      </a:cubicBezTo>
                      <a:cubicBezTo>
                        <a:pt x="3314" y="24695"/>
                        <a:pt x="-1295" y="17595"/>
                        <a:pt x="325" y="10495"/>
                      </a:cubicBezTo>
                      <a:cubicBezTo>
                        <a:pt x="1819" y="3396"/>
                        <a:pt x="8919" y="-1213"/>
                        <a:pt x="16019" y="282"/>
                      </a:cubicBezTo>
                      <a:cubicBezTo>
                        <a:pt x="23118" y="1776"/>
                        <a:pt x="27603" y="8876"/>
                        <a:pt x="26108"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8" name="Graphic 2987">
                <a:extLst>
                  <a:ext uri="{FF2B5EF4-FFF2-40B4-BE49-F238E27FC236}">
                    <a16:creationId xmlns:a16="http://schemas.microsoft.com/office/drawing/2014/main" id="{F80A7DBB-97ED-B097-03F0-AD7E49DD0697}"/>
                  </a:ext>
                </a:extLst>
              </p:cNvPr>
              <p:cNvGrpSpPr/>
              <p:nvPr/>
            </p:nvGrpSpPr>
            <p:grpSpPr>
              <a:xfrm>
                <a:off x="3678486" y="1622530"/>
                <a:ext cx="52427" cy="146213"/>
                <a:chOff x="3678486" y="1622530"/>
                <a:chExt cx="52427" cy="146213"/>
              </a:xfrm>
              <a:grpFill/>
            </p:grpSpPr>
            <p:sp>
              <p:nvSpPr>
                <p:cNvPr id="5844" name="Freeform 8407">
                  <a:extLst>
                    <a:ext uri="{FF2B5EF4-FFF2-40B4-BE49-F238E27FC236}">
                      <a16:creationId xmlns:a16="http://schemas.microsoft.com/office/drawing/2014/main" id="{FC52D66E-B510-296E-9E3B-A31BADC6973C}"/>
                    </a:ext>
                  </a:extLst>
                </p:cNvPr>
                <p:cNvSpPr/>
                <p:nvPr/>
              </p:nvSpPr>
              <p:spPr>
                <a:xfrm>
                  <a:off x="3696871" y="1698418"/>
                  <a:ext cx="11708" cy="50819"/>
                </a:xfrm>
                <a:custGeom>
                  <a:avLst/>
                  <a:gdLst>
                    <a:gd name="connsiteX0" fmla="*/ 0 w 11708"/>
                    <a:gd name="connsiteY0" fmla="*/ 50820 h 50819"/>
                    <a:gd name="connsiteX1" fmla="*/ 5854 w 11708"/>
                    <a:gd name="connsiteY1" fmla="*/ 33008 h 50819"/>
                    <a:gd name="connsiteX2" fmla="*/ 6104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4" y="33008"/>
                      </a:cubicBezTo>
                      <a:cubicBezTo>
                        <a:pt x="6602" y="26033"/>
                        <a:pt x="5107" y="22669"/>
                        <a:pt x="6104" y="15570"/>
                      </a:cubicBezTo>
                      <a:cubicBezTo>
                        <a:pt x="7100" y="8719"/>
                        <a:pt x="9715"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5" name="Freeform 8408">
                  <a:extLst>
                    <a:ext uri="{FF2B5EF4-FFF2-40B4-BE49-F238E27FC236}">
                      <a16:creationId xmlns:a16="http://schemas.microsoft.com/office/drawing/2014/main" id="{4DC93527-B719-CAD2-BD70-9D10DE79A385}"/>
                    </a:ext>
                  </a:extLst>
                </p:cNvPr>
                <p:cNvSpPr/>
                <p:nvPr/>
              </p:nvSpPr>
              <p:spPr>
                <a:xfrm>
                  <a:off x="3688643" y="1701656"/>
                  <a:ext cx="10805" cy="51068"/>
                </a:xfrm>
                <a:custGeom>
                  <a:avLst/>
                  <a:gdLst>
                    <a:gd name="connsiteX0" fmla="*/ 10595 w 10805"/>
                    <a:gd name="connsiteY0" fmla="*/ 0 h 51068"/>
                    <a:gd name="connsiteX1" fmla="*/ 8602 w 10805"/>
                    <a:gd name="connsiteY1" fmla="*/ 18684 h 51068"/>
                    <a:gd name="connsiteX2" fmla="*/ 1626 w 10805"/>
                    <a:gd name="connsiteY2" fmla="*/ 34627 h 51068"/>
                    <a:gd name="connsiteX3" fmla="*/ 256 w 1080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5" h="51068">
                      <a:moveTo>
                        <a:pt x="10595" y="0"/>
                      </a:moveTo>
                      <a:cubicBezTo>
                        <a:pt x="11342" y="8345"/>
                        <a:pt x="9972" y="14573"/>
                        <a:pt x="8602" y="18684"/>
                      </a:cubicBezTo>
                      <a:cubicBezTo>
                        <a:pt x="6360" y="25285"/>
                        <a:pt x="3619" y="27901"/>
                        <a:pt x="1626" y="34627"/>
                      </a:cubicBezTo>
                      <a:cubicBezTo>
                        <a:pt x="-367" y="41229"/>
                        <a:pt x="-117" y="47207"/>
                        <a:pt x="25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6" name="Freeform 8409">
                  <a:extLst>
                    <a:ext uri="{FF2B5EF4-FFF2-40B4-BE49-F238E27FC236}">
                      <a16:creationId xmlns:a16="http://schemas.microsoft.com/office/drawing/2014/main" id="{709C53DA-5135-F0FF-19E4-00E2D7013BFA}"/>
                    </a:ext>
                  </a:extLst>
                </p:cNvPr>
                <p:cNvSpPr/>
                <p:nvPr/>
              </p:nvSpPr>
              <p:spPr>
                <a:xfrm>
                  <a:off x="3678486" y="1742187"/>
                  <a:ext cx="26680" cy="26556"/>
                </a:xfrm>
                <a:custGeom>
                  <a:avLst/>
                  <a:gdLst>
                    <a:gd name="connsiteX0" fmla="*/ 324 w 26680"/>
                    <a:gd name="connsiteY0" fmla="*/ 10414 h 26556"/>
                    <a:gd name="connsiteX1" fmla="*/ 16143 w 26680"/>
                    <a:gd name="connsiteY1" fmla="*/ 324 h 26556"/>
                    <a:gd name="connsiteX2" fmla="*/ 26357 w 26680"/>
                    <a:gd name="connsiteY2" fmla="*/ 16143 h 26556"/>
                    <a:gd name="connsiteX3" fmla="*/ 10538 w 26680"/>
                    <a:gd name="connsiteY3" fmla="*/ 26232 h 26556"/>
                    <a:gd name="connsiteX4" fmla="*/ 324 w 26680"/>
                    <a:gd name="connsiteY4" fmla="*/ 10414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56">
                      <a:moveTo>
                        <a:pt x="324" y="10414"/>
                      </a:moveTo>
                      <a:cubicBezTo>
                        <a:pt x="1944" y="3314"/>
                        <a:pt x="9043" y="-1295"/>
                        <a:pt x="16143" y="324"/>
                      </a:cubicBezTo>
                      <a:cubicBezTo>
                        <a:pt x="23367" y="1819"/>
                        <a:pt x="27976" y="8919"/>
                        <a:pt x="26357" y="16143"/>
                      </a:cubicBezTo>
                      <a:cubicBezTo>
                        <a:pt x="24862" y="23243"/>
                        <a:pt x="17762" y="27852"/>
                        <a:pt x="10538" y="26232"/>
                      </a:cubicBezTo>
                      <a:cubicBezTo>
                        <a:pt x="3313" y="24613"/>
                        <a:pt x="-1295" y="17638"/>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7" name="Freeform 8410">
                  <a:extLst>
                    <a:ext uri="{FF2B5EF4-FFF2-40B4-BE49-F238E27FC236}">
                      <a16:creationId xmlns:a16="http://schemas.microsoft.com/office/drawing/2014/main" id="{0EE1ADE2-4DBE-21CB-2FF2-767F7F3A38FC}"/>
                    </a:ext>
                  </a:extLst>
                </p:cNvPr>
                <p:cNvSpPr/>
                <p:nvPr/>
              </p:nvSpPr>
              <p:spPr>
                <a:xfrm>
                  <a:off x="3700982" y="1641993"/>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2"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8" name="Freeform 8411">
                  <a:extLst>
                    <a:ext uri="{FF2B5EF4-FFF2-40B4-BE49-F238E27FC236}">
                      <a16:creationId xmlns:a16="http://schemas.microsoft.com/office/drawing/2014/main" id="{3443DE8F-0350-E42E-00C5-58FE12863FC6}"/>
                    </a:ext>
                  </a:extLst>
                </p:cNvPr>
                <p:cNvSpPr/>
                <p:nvPr/>
              </p:nvSpPr>
              <p:spPr>
                <a:xfrm>
                  <a:off x="3709988" y="163850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6" y="25783"/>
                        <a:pt x="7187" y="23168"/>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9" name="Freeform 8412">
                  <a:extLst>
                    <a:ext uri="{FF2B5EF4-FFF2-40B4-BE49-F238E27FC236}">
                      <a16:creationId xmlns:a16="http://schemas.microsoft.com/office/drawing/2014/main" id="{FBC970AE-9E07-C273-985B-8AFA39D0B34D}"/>
                    </a:ext>
                  </a:extLst>
                </p:cNvPr>
                <p:cNvSpPr/>
                <p:nvPr/>
              </p:nvSpPr>
              <p:spPr>
                <a:xfrm>
                  <a:off x="3704556" y="1622530"/>
                  <a:ext cx="26357" cy="26471"/>
                </a:xfrm>
                <a:custGeom>
                  <a:avLst/>
                  <a:gdLst>
                    <a:gd name="connsiteX0" fmla="*/ 26071 w 26357"/>
                    <a:gd name="connsiteY0" fmla="*/ 15976 h 26471"/>
                    <a:gd name="connsiteX1" fmla="*/ 10376 w 26357"/>
                    <a:gd name="connsiteY1" fmla="*/ 26190 h 26471"/>
                    <a:gd name="connsiteX2" fmla="*/ 287 w 26357"/>
                    <a:gd name="connsiteY2" fmla="*/ 10495 h 26471"/>
                    <a:gd name="connsiteX3" fmla="*/ 15982 w 26357"/>
                    <a:gd name="connsiteY3" fmla="*/ 282 h 26471"/>
                    <a:gd name="connsiteX4" fmla="*/ 26071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6071" y="15976"/>
                      </a:moveTo>
                      <a:cubicBezTo>
                        <a:pt x="24576" y="23076"/>
                        <a:pt x="17476" y="27684"/>
                        <a:pt x="10376" y="26190"/>
                      </a:cubicBezTo>
                      <a:cubicBezTo>
                        <a:pt x="3276" y="24695"/>
                        <a:pt x="-1207" y="17595"/>
                        <a:pt x="287" y="10495"/>
                      </a:cubicBezTo>
                      <a:cubicBezTo>
                        <a:pt x="1906" y="3396"/>
                        <a:pt x="8882" y="-1213"/>
                        <a:pt x="15982" y="282"/>
                      </a:cubicBezTo>
                      <a:cubicBezTo>
                        <a:pt x="23081" y="1776"/>
                        <a:pt x="27565" y="8876"/>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9" name="Graphic 2987">
                <a:extLst>
                  <a:ext uri="{FF2B5EF4-FFF2-40B4-BE49-F238E27FC236}">
                    <a16:creationId xmlns:a16="http://schemas.microsoft.com/office/drawing/2014/main" id="{165D4A41-4B69-F964-2096-42FF08A0E314}"/>
                  </a:ext>
                </a:extLst>
              </p:cNvPr>
              <p:cNvGrpSpPr/>
              <p:nvPr/>
            </p:nvGrpSpPr>
            <p:grpSpPr>
              <a:xfrm>
                <a:off x="3649215" y="1616427"/>
                <a:ext cx="52844" cy="145964"/>
                <a:chOff x="3649215" y="1616427"/>
                <a:chExt cx="52844" cy="145964"/>
              </a:xfrm>
              <a:grpFill/>
            </p:grpSpPr>
            <p:sp>
              <p:nvSpPr>
                <p:cNvPr id="5838" name="Freeform 8414">
                  <a:extLst>
                    <a:ext uri="{FF2B5EF4-FFF2-40B4-BE49-F238E27FC236}">
                      <a16:creationId xmlns:a16="http://schemas.microsoft.com/office/drawing/2014/main" id="{C191EFD0-5B43-0F94-08E5-E44E2C4886EB}"/>
                    </a:ext>
                  </a:extLst>
                </p:cNvPr>
                <p:cNvSpPr/>
                <p:nvPr/>
              </p:nvSpPr>
              <p:spPr>
                <a:xfrm>
                  <a:off x="3667725" y="1692190"/>
                  <a:ext cx="11833" cy="50819"/>
                </a:xfrm>
                <a:custGeom>
                  <a:avLst/>
                  <a:gdLst>
                    <a:gd name="connsiteX0" fmla="*/ 0 w 11833"/>
                    <a:gd name="connsiteY0" fmla="*/ 50820 h 50819"/>
                    <a:gd name="connsiteX1" fmla="*/ 5979 w 11833"/>
                    <a:gd name="connsiteY1" fmla="*/ 33008 h 50819"/>
                    <a:gd name="connsiteX2" fmla="*/ 6228 w 11833"/>
                    <a:gd name="connsiteY2" fmla="*/ 15570 h 50819"/>
                    <a:gd name="connsiteX3" fmla="*/ 11833 w 11833"/>
                    <a:gd name="connsiteY3" fmla="*/ 0 h 50819"/>
                  </a:gdLst>
                  <a:ahLst/>
                  <a:cxnLst>
                    <a:cxn ang="0">
                      <a:pos x="connsiteX0" y="connsiteY0"/>
                    </a:cxn>
                    <a:cxn ang="0">
                      <a:pos x="connsiteX1" y="connsiteY1"/>
                    </a:cxn>
                    <a:cxn ang="0">
                      <a:pos x="connsiteX2" y="connsiteY2"/>
                    </a:cxn>
                    <a:cxn ang="0">
                      <a:pos x="connsiteX3" y="connsiteY3"/>
                    </a:cxn>
                  </a:cxnLst>
                  <a:rect l="l" t="t" r="r" b="b"/>
                  <a:pathLst>
                    <a:path w="11833" h="50818">
                      <a:moveTo>
                        <a:pt x="0" y="50820"/>
                      </a:moveTo>
                      <a:cubicBezTo>
                        <a:pt x="4111" y="43471"/>
                        <a:pt x="5481" y="37243"/>
                        <a:pt x="5979" y="33008"/>
                      </a:cubicBezTo>
                      <a:cubicBezTo>
                        <a:pt x="6726" y="26033"/>
                        <a:pt x="5232" y="22669"/>
                        <a:pt x="6228" y="15570"/>
                      </a:cubicBezTo>
                      <a:cubicBezTo>
                        <a:pt x="7225" y="8719"/>
                        <a:pt x="9840" y="3488"/>
                        <a:pt x="118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9" name="Freeform 8415">
                  <a:extLst>
                    <a:ext uri="{FF2B5EF4-FFF2-40B4-BE49-F238E27FC236}">
                      <a16:creationId xmlns:a16="http://schemas.microsoft.com/office/drawing/2014/main" id="{A675AB4B-328D-8383-C4D4-83257C6D4C56}"/>
                    </a:ext>
                  </a:extLst>
                </p:cNvPr>
                <p:cNvSpPr/>
                <p:nvPr/>
              </p:nvSpPr>
              <p:spPr>
                <a:xfrm>
                  <a:off x="3659442" y="1695429"/>
                  <a:ext cx="10984" cy="51068"/>
                </a:xfrm>
                <a:custGeom>
                  <a:avLst/>
                  <a:gdLst>
                    <a:gd name="connsiteX0" fmla="*/ 10774 w 10984"/>
                    <a:gd name="connsiteY0" fmla="*/ 0 h 51068"/>
                    <a:gd name="connsiteX1" fmla="*/ 8657 w 10984"/>
                    <a:gd name="connsiteY1" fmla="*/ 18684 h 51068"/>
                    <a:gd name="connsiteX2" fmla="*/ 1682 w 10984"/>
                    <a:gd name="connsiteY2" fmla="*/ 34627 h 51068"/>
                    <a:gd name="connsiteX3" fmla="*/ 312 w 10984"/>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84" h="51068">
                      <a:moveTo>
                        <a:pt x="10774" y="0"/>
                      </a:moveTo>
                      <a:cubicBezTo>
                        <a:pt x="11522" y="8345"/>
                        <a:pt x="10151" y="14573"/>
                        <a:pt x="8657" y="18684"/>
                      </a:cubicBezTo>
                      <a:cubicBezTo>
                        <a:pt x="6415" y="25285"/>
                        <a:pt x="3674" y="27776"/>
                        <a:pt x="1682" y="34627"/>
                      </a:cubicBezTo>
                      <a:cubicBezTo>
                        <a:pt x="-311" y="41229"/>
                        <a:pt x="-187" y="47083"/>
                        <a:pt x="3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0" name="Freeform 8416">
                  <a:extLst>
                    <a:ext uri="{FF2B5EF4-FFF2-40B4-BE49-F238E27FC236}">
                      <a16:creationId xmlns:a16="http://schemas.microsoft.com/office/drawing/2014/main" id="{3B935A76-7D1A-DD6C-0A92-2AD399B13136}"/>
                    </a:ext>
                  </a:extLst>
                </p:cNvPr>
                <p:cNvSpPr/>
                <p:nvPr/>
              </p:nvSpPr>
              <p:spPr>
                <a:xfrm>
                  <a:off x="3649215" y="1735959"/>
                  <a:ext cx="26805" cy="26432"/>
                </a:xfrm>
                <a:custGeom>
                  <a:avLst/>
                  <a:gdLst>
                    <a:gd name="connsiteX0" fmla="*/ 324 w 26805"/>
                    <a:gd name="connsiteY0" fmla="*/ 10414 h 26432"/>
                    <a:gd name="connsiteX1" fmla="*/ 16268 w 26805"/>
                    <a:gd name="connsiteY1" fmla="*/ 324 h 26432"/>
                    <a:gd name="connsiteX2" fmla="*/ 26481 w 26805"/>
                    <a:gd name="connsiteY2" fmla="*/ 16019 h 26432"/>
                    <a:gd name="connsiteX3" fmla="*/ 10538 w 26805"/>
                    <a:gd name="connsiteY3" fmla="*/ 26108 h 26432"/>
                    <a:gd name="connsiteX4" fmla="*/ 324 w 26805"/>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431">
                      <a:moveTo>
                        <a:pt x="324" y="10414"/>
                      </a:moveTo>
                      <a:cubicBezTo>
                        <a:pt x="1944" y="3314"/>
                        <a:pt x="9043" y="-1295"/>
                        <a:pt x="16268" y="324"/>
                      </a:cubicBezTo>
                      <a:cubicBezTo>
                        <a:pt x="23492" y="1944"/>
                        <a:pt x="28101" y="8919"/>
                        <a:pt x="26481" y="16019"/>
                      </a:cubicBezTo>
                      <a:cubicBezTo>
                        <a:pt x="24862" y="23119"/>
                        <a:pt x="17762" y="27727"/>
                        <a:pt x="10538" y="26108"/>
                      </a:cubicBezTo>
                      <a:cubicBezTo>
                        <a:pt x="3313" y="24613"/>
                        <a:pt x="-1295" y="17513"/>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1" name="Freeform 8417">
                  <a:extLst>
                    <a:ext uri="{FF2B5EF4-FFF2-40B4-BE49-F238E27FC236}">
                      <a16:creationId xmlns:a16="http://schemas.microsoft.com/office/drawing/2014/main" id="{9594FC04-CF30-EA4F-40A4-13CF66084303}"/>
                    </a:ext>
                  </a:extLst>
                </p:cNvPr>
                <p:cNvSpPr/>
                <p:nvPr/>
              </p:nvSpPr>
              <p:spPr>
                <a:xfrm>
                  <a:off x="3671835" y="1635765"/>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577"/>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2" name="Freeform 8418">
                  <a:extLst>
                    <a:ext uri="{FF2B5EF4-FFF2-40B4-BE49-F238E27FC236}">
                      <a16:creationId xmlns:a16="http://schemas.microsoft.com/office/drawing/2014/main" id="{DD7EAADB-C7B8-3B41-777A-5FBA157BBD38}"/>
                    </a:ext>
                  </a:extLst>
                </p:cNvPr>
                <p:cNvSpPr/>
                <p:nvPr/>
              </p:nvSpPr>
              <p:spPr>
                <a:xfrm>
                  <a:off x="3681091" y="1632402"/>
                  <a:ext cx="10984" cy="51068"/>
                </a:xfrm>
                <a:custGeom>
                  <a:avLst/>
                  <a:gdLst>
                    <a:gd name="connsiteX0" fmla="*/ 210 w 10984"/>
                    <a:gd name="connsiteY0" fmla="*/ 51069 h 51068"/>
                    <a:gd name="connsiteX1" fmla="*/ 2328 w 10984"/>
                    <a:gd name="connsiteY1" fmla="*/ 32385 h 51068"/>
                    <a:gd name="connsiteX2" fmla="*/ 9303 w 10984"/>
                    <a:gd name="connsiteY2" fmla="*/ 16442 h 51068"/>
                    <a:gd name="connsiteX3" fmla="*/ 10674 w 10984"/>
                    <a:gd name="connsiteY3" fmla="*/ 0 h 51068"/>
                  </a:gdLst>
                  <a:ahLst/>
                  <a:cxnLst>
                    <a:cxn ang="0">
                      <a:pos x="connsiteX0" y="connsiteY0"/>
                    </a:cxn>
                    <a:cxn ang="0">
                      <a:pos x="connsiteX1" y="connsiteY1"/>
                    </a:cxn>
                    <a:cxn ang="0">
                      <a:pos x="connsiteX2" y="connsiteY2"/>
                    </a:cxn>
                    <a:cxn ang="0">
                      <a:pos x="connsiteX3" y="connsiteY3"/>
                    </a:cxn>
                  </a:cxnLst>
                  <a:rect l="l" t="t" r="r" b="b"/>
                  <a:pathLst>
                    <a:path w="10984" h="51068">
                      <a:moveTo>
                        <a:pt x="210" y="51069"/>
                      </a:moveTo>
                      <a:cubicBezTo>
                        <a:pt x="-537" y="42723"/>
                        <a:pt x="833" y="36495"/>
                        <a:pt x="2328" y="32385"/>
                      </a:cubicBezTo>
                      <a:cubicBezTo>
                        <a:pt x="4570" y="25783"/>
                        <a:pt x="7310" y="23168"/>
                        <a:pt x="9303" y="16442"/>
                      </a:cubicBezTo>
                      <a:cubicBezTo>
                        <a:pt x="11296" y="9840"/>
                        <a:pt x="11172" y="3986"/>
                        <a:pt x="106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3" name="Freeform 8419">
                  <a:extLst>
                    <a:ext uri="{FF2B5EF4-FFF2-40B4-BE49-F238E27FC236}">
                      <a16:creationId xmlns:a16="http://schemas.microsoft.com/office/drawing/2014/main" id="{506A34D2-FE33-56E7-EA37-138B6D63A078}"/>
                    </a:ext>
                  </a:extLst>
                </p:cNvPr>
                <p:cNvSpPr/>
                <p:nvPr/>
              </p:nvSpPr>
              <p:spPr>
                <a:xfrm>
                  <a:off x="3675658" y="1616427"/>
                  <a:ext cx="26401" cy="26471"/>
                </a:xfrm>
                <a:custGeom>
                  <a:avLst/>
                  <a:gdLst>
                    <a:gd name="connsiteX0" fmla="*/ 26071 w 26401"/>
                    <a:gd name="connsiteY0" fmla="*/ 15976 h 26471"/>
                    <a:gd name="connsiteX1" fmla="*/ 10376 w 26401"/>
                    <a:gd name="connsiteY1" fmla="*/ 26190 h 26471"/>
                    <a:gd name="connsiteX2" fmla="*/ 287 w 26401"/>
                    <a:gd name="connsiteY2" fmla="*/ 10495 h 26471"/>
                    <a:gd name="connsiteX3" fmla="*/ 15982 w 26401"/>
                    <a:gd name="connsiteY3" fmla="*/ 282 h 26471"/>
                    <a:gd name="connsiteX4" fmla="*/ 26071 w 26401"/>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70">
                      <a:moveTo>
                        <a:pt x="26071" y="15976"/>
                      </a:moveTo>
                      <a:cubicBezTo>
                        <a:pt x="24451" y="23076"/>
                        <a:pt x="17476" y="27684"/>
                        <a:pt x="10376" y="26190"/>
                      </a:cubicBezTo>
                      <a:cubicBezTo>
                        <a:pt x="3276" y="24695"/>
                        <a:pt x="-1207" y="17595"/>
                        <a:pt x="287" y="10495"/>
                      </a:cubicBezTo>
                      <a:cubicBezTo>
                        <a:pt x="1906" y="3396"/>
                        <a:pt x="8882" y="-1213"/>
                        <a:pt x="15982" y="282"/>
                      </a:cubicBezTo>
                      <a:cubicBezTo>
                        <a:pt x="23206" y="1776"/>
                        <a:pt x="27690" y="8751"/>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0" name="Graphic 2987">
                <a:extLst>
                  <a:ext uri="{FF2B5EF4-FFF2-40B4-BE49-F238E27FC236}">
                    <a16:creationId xmlns:a16="http://schemas.microsoft.com/office/drawing/2014/main" id="{7279D064-B326-A7E5-3897-4472FBBF0ED7}"/>
                  </a:ext>
                </a:extLst>
              </p:cNvPr>
              <p:cNvGrpSpPr/>
              <p:nvPr/>
            </p:nvGrpSpPr>
            <p:grpSpPr>
              <a:xfrm>
                <a:off x="3620063" y="1610199"/>
                <a:ext cx="53224" cy="145964"/>
                <a:chOff x="3620063" y="1610199"/>
                <a:chExt cx="53224" cy="145964"/>
              </a:xfrm>
              <a:grpFill/>
            </p:grpSpPr>
            <p:sp>
              <p:nvSpPr>
                <p:cNvPr id="5832" name="Freeform 8421">
                  <a:extLst>
                    <a:ext uri="{FF2B5EF4-FFF2-40B4-BE49-F238E27FC236}">
                      <a16:creationId xmlns:a16="http://schemas.microsoft.com/office/drawing/2014/main" id="{B9F66F5B-4DEB-FBF3-A026-F9D37B46CF98}"/>
                    </a:ext>
                  </a:extLst>
                </p:cNvPr>
                <p:cNvSpPr/>
                <p:nvPr/>
              </p:nvSpPr>
              <p:spPr>
                <a:xfrm>
                  <a:off x="3638578" y="1685962"/>
                  <a:ext cx="12082" cy="50819"/>
                </a:xfrm>
                <a:custGeom>
                  <a:avLst/>
                  <a:gdLst>
                    <a:gd name="connsiteX0" fmla="*/ 0 w 12082"/>
                    <a:gd name="connsiteY0" fmla="*/ 50820 h 50819"/>
                    <a:gd name="connsiteX1" fmla="*/ 5979 w 12082"/>
                    <a:gd name="connsiteY1" fmla="*/ 33008 h 50819"/>
                    <a:gd name="connsiteX2" fmla="*/ 6353 w 12082"/>
                    <a:gd name="connsiteY2" fmla="*/ 15570 h 50819"/>
                    <a:gd name="connsiteX3" fmla="*/ 12082 w 12082"/>
                    <a:gd name="connsiteY3" fmla="*/ 0 h 50819"/>
                  </a:gdLst>
                  <a:ahLst/>
                  <a:cxnLst>
                    <a:cxn ang="0">
                      <a:pos x="connsiteX0" y="connsiteY0"/>
                    </a:cxn>
                    <a:cxn ang="0">
                      <a:pos x="connsiteX1" y="connsiteY1"/>
                    </a:cxn>
                    <a:cxn ang="0">
                      <a:pos x="connsiteX2" y="connsiteY2"/>
                    </a:cxn>
                    <a:cxn ang="0">
                      <a:pos x="connsiteX3" y="connsiteY3"/>
                    </a:cxn>
                  </a:cxnLst>
                  <a:rect l="l" t="t" r="r" b="b"/>
                  <a:pathLst>
                    <a:path w="12082" h="50818">
                      <a:moveTo>
                        <a:pt x="0" y="50820"/>
                      </a:moveTo>
                      <a:cubicBezTo>
                        <a:pt x="4235" y="43471"/>
                        <a:pt x="5605" y="37243"/>
                        <a:pt x="5979" y="33008"/>
                      </a:cubicBezTo>
                      <a:cubicBezTo>
                        <a:pt x="6726" y="26033"/>
                        <a:pt x="5356" y="22669"/>
                        <a:pt x="6353" y="15570"/>
                      </a:cubicBezTo>
                      <a:cubicBezTo>
                        <a:pt x="7349" y="8719"/>
                        <a:pt x="9965" y="3488"/>
                        <a:pt x="120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3" name="Freeform 8422">
                  <a:extLst>
                    <a:ext uri="{FF2B5EF4-FFF2-40B4-BE49-F238E27FC236}">
                      <a16:creationId xmlns:a16="http://schemas.microsoft.com/office/drawing/2014/main" id="{368128D3-2DB9-3087-8C68-593B2CE11924}"/>
                    </a:ext>
                  </a:extLst>
                </p:cNvPr>
                <p:cNvSpPr/>
                <p:nvPr/>
              </p:nvSpPr>
              <p:spPr>
                <a:xfrm>
                  <a:off x="3630261" y="1689201"/>
                  <a:ext cx="11087" cy="51068"/>
                </a:xfrm>
                <a:custGeom>
                  <a:avLst/>
                  <a:gdLst>
                    <a:gd name="connsiteX0" fmla="*/ 10933 w 11087"/>
                    <a:gd name="connsiteY0" fmla="*/ 0 h 51068"/>
                    <a:gd name="connsiteX1" fmla="*/ 8816 w 11087"/>
                    <a:gd name="connsiteY1" fmla="*/ 18684 h 51068"/>
                    <a:gd name="connsiteX2" fmla="*/ 1716 w 11087"/>
                    <a:gd name="connsiteY2" fmla="*/ 34627 h 51068"/>
                    <a:gd name="connsiteX3" fmla="*/ 221 w 110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0"/>
                      </a:moveTo>
                      <a:cubicBezTo>
                        <a:pt x="11556" y="8345"/>
                        <a:pt x="10186" y="14573"/>
                        <a:pt x="8816" y="18684"/>
                      </a:cubicBezTo>
                      <a:cubicBezTo>
                        <a:pt x="6574" y="25285"/>
                        <a:pt x="3834"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4" name="Freeform 8423">
                  <a:extLst>
                    <a:ext uri="{FF2B5EF4-FFF2-40B4-BE49-F238E27FC236}">
                      <a16:creationId xmlns:a16="http://schemas.microsoft.com/office/drawing/2014/main" id="{36CCFF40-15B9-0B6A-E80F-F13625478E7A}"/>
                    </a:ext>
                  </a:extLst>
                </p:cNvPr>
                <p:cNvSpPr/>
                <p:nvPr/>
              </p:nvSpPr>
              <p:spPr>
                <a:xfrm>
                  <a:off x="3620063" y="1729731"/>
                  <a:ext cx="26774" cy="26432"/>
                </a:xfrm>
                <a:custGeom>
                  <a:avLst/>
                  <a:gdLst>
                    <a:gd name="connsiteX0" fmla="*/ 330 w 26774"/>
                    <a:gd name="connsiteY0" fmla="*/ 10414 h 26432"/>
                    <a:gd name="connsiteX1" fmla="*/ 16274 w 26774"/>
                    <a:gd name="connsiteY1" fmla="*/ 324 h 26432"/>
                    <a:gd name="connsiteX2" fmla="*/ 26487 w 26774"/>
                    <a:gd name="connsiteY2" fmla="*/ 16019 h 26432"/>
                    <a:gd name="connsiteX3" fmla="*/ 10544 w 26774"/>
                    <a:gd name="connsiteY3" fmla="*/ 26108 h 26432"/>
                    <a:gd name="connsiteX4" fmla="*/ 330 w 2677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4" h="26431">
                      <a:moveTo>
                        <a:pt x="330" y="10414"/>
                      </a:moveTo>
                      <a:cubicBezTo>
                        <a:pt x="1950" y="3314"/>
                        <a:pt x="9049" y="-1295"/>
                        <a:pt x="16274" y="324"/>
                      </a:cubicBezTo>
                      <a:cubicBezTo>
                        <a:pt x="23498" y="1944"/>
                        <a:pt x="27982" y="8919"/>
                        <a:pt x="26487" y="16019"/>
                      </a:cubicBezTo>
                      <a:cubicBezTo>
                        <a:pt x="24868" y="23119"/>
                        <a:pt x="17768" y="27727"/>
                        <a:pt x="10544" y="26108"/>
                      </a:cubicBezTo>
                      <a:cubicBezTo>
                        <a:pt x="3195" y="24613"/>
                        <a:pt x="-1289" y="17513"/>
                        <a:pt x="330"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5" name="Freeform 8424">
                  <a:extLst>
                    <a:ext uri="{FF2B5EF4-FFF2-40B4-BE49-F238E27FC236}">
                      <a16:creationId xmlns:a16="http://schemas.microsoft.com/office/drawing/2014/main" id="{E827D2C7-517B-8E01-321C-7716D1A3EFCF}"/>
                    </a:ext>
                  </a:extLst>
                </p:cNvPr>
                <p:cNvSpPr/>
                <p:nvPr/>
              </p:nvSpPr>
              <p:spPr>
                <a:xfrm>
                  <a:off x="3642938" y="1629538"/>
                  <a:ext cx="12082" cy="50819"/>
                </a:xfrm>
                <a:custGeom>
                  <a:avLst/>
                  <a:gdLst>
                    <a:gd name="connsiteX0" fmla="*/ 12082 w 12082"/>
                    <a:gd name="connsiteY0" fmla="*/ 0 h 50819"/>
                    <a:gd name="connsiteX1" fmla="*/ 6103 w 12082"/>
                    <a:gd name="connsiteY1" fmla="*/ 17812 h 50819"/>
                    <a:gd name="connsiteX2" fmla="*/ 5730 w 12082"/>
                    <a:gd name="connsiteY2" fmla="*/ 35250 h 50819"/>
                    <a:gd name="connsiteX3" fmla="*/ 0 w 12082"/>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082" h="50818">
                      <a:moveTo>
                        <a:pt x="12082" y="0"/>
                      </a:moveTo>
                      <a:cubicBezTo>
                        <a:pt x="7971" y="7349"/>
                        <a:pt x="6602" y="13577"/>
                        <a:pt x="6103" y="17812"/>
                      </a:cubicBezTo>
                      <a:cubicBezTo>
                        <a:pt x="5356" y="24787"/>
                        <a:pt x="6726" y="28150"/>
                        <a:pt x="5730" y="35250"/>
                      </a:cubicBezTo>
                      <a:cubicBezTo>
                        <a:pt x="4733" y="42101"/>
                        <a:pt x="2118"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6" name="Freeform 8425">
                  <a:extLst>
                    <a:ext uri="{FF2B5EF4-FFF2-40B4-BE49-F238E27FC236}">
                      <a16:creationId xmlns:a16="http://schemas.microsoft.com/office/drawing/2014/main" id="{68D9ADDD-7AA6-6D0E-8589-BD542E60E82B}"/>
                    </a:ext>
                  </a:extLst>
                </p:cNvPr>
                <p:cNvSpPr/>
                <p:nvPr/>
              </p:nvSpPr>
              <p:spPr>
                <a:xfrm>
                  <a:off x="3652125" y="1626174"/>
                  <a:ext cx="11087" cy="51068"/>
                </a:xfrm>
                <a:custGeom>
                  <a:avLst/>
                  <a:gdLst>
                    <a:gd name="connsiteX0" fmla="*/ 155 w 11087"/>
                    <a:gd name="connsiteY0" fmla="*/ 51069 h 51068"/>
                    <a:gd name="connsiteX1" fmla="*/ 2272 w 11087"/>
                    <a:gd name="connsiteY1" fmla="*/ 32385 h 51068"/>
                    <a:gd name="connsiteX2" fmla="*/ 9372 w 11087"/>
                    <a:gd name="connsiteY2" fmla="*/ 16442 h 51068"/>
                    <a:gd name="connsiteX3" fmla="*/ 10866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55" y="51069"/>
                      </a:moveTo>
                      <a:cubicBezTo>
                        <a:pt x="-468" y="42723"/>
                        <a:pt x="902" y="36495"/>
                        <a:pt x="2272" y="32385"/>
                      </a:cubicBezTo>
                      <a:cubicBezTo>
                        <a:pt x="4514" y="25783"/>
                        <a:pt x="7254" y="23292"/>
                        <a:pt x="9372" y="16442"/>
                      </a:cubicBezTo>
                      <a:cubicBezTo>
                        <a:pt x="11365" y="9840"/>
                        <a:pt x="11240" y="3986"/>
                        <a:pt x="10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7" name="Freeform 8426">
                  <a:extLst>
                    <a:ext uri="{FF2B5EF4-FFF2-40B4-BE49-F238E27FC236}">
                      <a16:creationId xmlns:a16="http://schemas.microsoft.com/office/drawing/2014/main" id="{9D5384A7-1AC1-E556-3B4A-80E7639C1C33}"/>
                    </a:ext>
                  </a:extLst>
                </p:cNvPr>
                <p:cNvSpPr/>
                <p:nvPr/>
              </p:nvSpPr>
              <p:spPr>
                <a:xfrm>
                  <a:off x="3646842" y="1610199"/>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520" y="27684"/>
                        <a:pt x="10295" y="26190"/>
                      </a:cubicBezTo>
                      <a:cubicBezTo>
                        <a:pt x="3196" y="24695"/>
                        <a:pt x="-1288" y="17595"/>
                        <a:pt x="331" y="10495"/>
                      </a:cubicBezTo>
                      <a:cubicBezTo>
                        <a:pt x="1950" y="3396"/>
                        <a:pt x="9050" y="-1213"/>
                        <a:pt x="16150" y="282"/>
                      </a:cubicBezTo>
                      <a:cubicBezTo>
                        <a:pt x="23249" y="1776"/>
                        <a:pt x="27734" y="8876"/>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1" name="Graphic 2987">
                <a:extLst>
                  <a:ext uri="{FF2B5EF4-FFF2-40B4-BE49-F238E27FC236}">
                    <a16:creationId xmlns:a16="http://schemas.microsoft.com/office/drawing/2014/main" id="{D628A0A1-2564-43D0-75B9-B2D20FB8E76B}"/>
                  </a:ext>
                </a:extLst>
              </p:cNvPr>
              <p:cNvGrpSpPr/>
              <p:nvPr/>
            </p:nvGrpSpPr>
            <p:grpSpPr>
              <a:xfrm>
                <a:off x="3590791" y="1604095"/>
                <a:ext cx="53723" cy="145715"/>
                <a:chOff x="3590791" y="1604095"/>
                <a:chExt cx="53723" cy="145715"/>
              </a:xfrm>
              <a:grpFill/>
            </p:grpSpPr>
            <p:sp>
              <p:nvSpPr>
                <p:cNvPr id="5826" name="Freeform 8428">
                  <a:extLst>
                    <a:ext uri="{FF2B5EF4-FFF2-40B4-BE49-F238E27FC236}">
                      <a16:creationId xmlns:a16="http://schemas.microsoft.com/office/drawing/2014/main" id="{2A7D6734-51C7-9D37-79B8-52E89BFD9230}"/>
                    </a:ext>
                  </a:extLst>
                </p:cNvPr>
                <p:cNvSpPr/>
                <p:nvPr/>
              </p:nvSpPr>
              <p:spPr>
                <a:xfrm>
                  <a:off x="3609432" y="1679859"/>
                  <a:ext cx="12206" cy="50694"/>
                </a:xfrm>
                <a:custGeom>
                  <a:avLst/>
                  <a:gdLst>
                    <a:gd name="connsiteX0" fmla="*/ 0 w 12206"/>
                    <a:gd name="connsiteY0" fmla="*/ 50695 h 50694"/>
                    <a:gd name="connsiteX1" fmla="*/ 6103 w 12206"/>
                    <a:gd name="connsiteY1" fmla="*/ 32883 h 50694"/>
                    <a:gd name="connsiteX2" fmla="*/ 6477 w 12206"/>
                    <a:gd name="connsiteY2" fmla="*/ 15445 h 50694"/>
                    <a:gd name="connsiteX3" fmla="*/ 12207 w 12206"/>
                    <a:gd name="connsiteY3" fmla="*/ 0 h 50694"/>
                  </a:gdLst>
                  <a:ahLst/>
                  <a:cxnLst>
                    <a:cxn ang="0">
                      <a:pos x="connsiteX0" y="connsiteY0"/>
                    </a:cxn>
                    <a:cxn ang="0">
                      <a:pos x="connsiteX1" y="connsiteY1"/>
                    </a:cxn>
                    <a:cxn ang="0">
                      <a:pos x="connsiteX2" y="connsiteY2"/>
                    </a:cxn>
                    <a:cxn ang="0">
                      <a:pos x="connsiteX3" y="connsiteY3"/>
                    </a:cxn>
                  </a:cxnLst>
                  <a:rect l="l" t="t" r="r" b="b"/>
                  <a:pathLst>
                    <a:path w="12206" h="50694">
                      <a:moveTo>
                        <a:pt x="0" y="50695"/>
                      </a:moveTo>
                      <a:cubicBezTo>
                        <a:pt x="4235" y="43346"/>
                        <a:pt x="5605" y="37243"/>
                        <a:pt x="6103" y="32883"/>
                      </a:cubicBezTo>
                      <a:cubicBezTo>
                        <a:pt x="6851" y="25908"/>
                        <a:pt x="5481" y="22545"/>
                        <a:pt x="6477" y="15445"/>
                      </a:cubicBezTo>
                      <a:cubicBezTo>
                        <a:pt x="7474" y="8594"/>
                        <a:pt x="10214" y="3363"/>
                        <a:pt x="122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7" name="Freeform 8429">
                  <a:extLst>
                    <a:ext uri="{FF2B5EF4-FFF2-40B4-BE49-F238E27FC236}">
                      <a16:creationId xmlns:a16="http://schemas.microsoft.com/office/drawing/2014/main" id="{0B0369D2-D5E2-51CA-0096-7C1B04287B5D}"/>
                    </a:ext>
                  </a:extLst>
                </p:cNvPr>
                <p:cNvSpPr/>
                <p:nvPr/>
              </p:nvSpPr>
              <p:spPr>
                <a:xfrm>
                  <a:off x="3601114" y="1682973"/>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1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709"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8" name="Freeform 8430">
                  <a:extLst>
                    <a:ext uri="{FF2B5EF4-FFF2-40B4-BE49-F238E27FC236}">
                      <a16:creationId xmlns:a16="http://schemas.microsoft.com/office/drawing/2014/main" id="{092E88E3-4AF9-96B3-A6C4-D9260C34A2D0}"/>
                    </a:ext>
                  </a:extLst>
                </p:cNvPr>
                <p:cNvSpPr/>
                <p:nvPr/>
              </p:nvSpPr>
              <p:spPr>
                <a:xfrm>
                  <a:off x="3590791" y="1723379"/>
                  <a:ext cx="26693" cy="26432"/>
                </a:xfrm>
                <a:custGeom>
                  <a:avLst/>
                  <a:gdLst>
                    <a:gd name="connsiteX0" fmla="*/ 331 w 26693"/>
                    <a:gd name="connsiteY0" fmla="*/ 10414 h 26432"/>
                    <a:gd name="connsiteX1" fmla="*/ 16274 w 26693"/>
                    <a:gd name="connsiteY1" fmla="*/ 324 h 26432"/>
                    <a:gd name="connsiteX2" fmla="*/ 26363 w 26693"/>
                    <a:gd name="connsiteY2" fmla="*/ 16019 h 26432"/>
                    <a:gd name="connsiteX3" fmla="*/ 10420 w 26693"/>
                    <a:gd name="connsiteY3" fmla="*/ 26108 h 26432"/>
                    <a:gd name="connsiteX4" fmla="*/ 331 w 26693"/>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31">
                      <a:moveTo>
                        <a:pt x="331" y="10414"/>
                      </a:moveTo>
                      <a:cubicBezTo>
                        <a:pt x="1950" y="3314"/>
                        <a:pt x="9174" y="-1295"/>
                        <a:pt x="16274" y="324"/>
                      </a:cubicBezTo>
                      <a:cubicBezTo>
                        <a:pt x="23498" y="1819"/>
                        <a:pt x="27982" y="8919"/>
                        <a:pt x="26363" y="16019"/>
                      </a:cubicBezTo>
                      <a:cubicBezTo>
                        <a:pt x="24744" y="23119"/>
                        <a:pt x="17644" y="27727"/>
                        <a:pt x="10420" y="26108"/>
                      </a:cubicBezTo>
                      <a:cubicBezTo>
                        <a:pt x="3195" y="24489"/>
                        <a:pt x="-1289"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9" name="Freeform 8431">
                  <a:extLst>
                    <a:ext uri="{FF2B5EF4-FFF2-40B4-BE49-F238E27FC236}">
                      <a16:creationId xmlns:a16="http://schemas.microsoft.com/office/drawing/2014/main" id="{AB4E25DB-DB3D-C48A-65A5-199D43395C7B}"/>
                    </a:ext>
                  </a:extLst>
                </p:cNvPr>
                <p:cNvSpPr/>
                <p:nvPr/>
              </p:nvSpPr>
              <p:spPr>
                <a:xfrm>
                  <a:off x="3613916" y="1623434"/>
                  <a:ext cx="12331" cy="50570"/>
                </a:xfrm>
                <a:custGeom>
                  <a:avLst/>
                  <a:gdLst>
                    <a:gd name="connsiteX0" fmla="*/ 12331 w 12331"/>
                    <a:gd name="connsiteY0" fmla="*/ 0 h 50570"/>
                    <a:gd name="connsiteX1" fmla="*/ 6228 w 12331"/>
                    <a:gd name="connsiteY1" fmla="*/ 17812 h 50570"/>
                    <a:gd name="connsiteX2" fmla="*/ 5730 w 12331"/>
                    <a:gd name="connsiteY2" fmla="*/ 35125 h 50570"/>
                    <a:gd name="connsiteX3" fmla="*/ 0 w 12331"/>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0"/>
                      </a:moveTo>
                      <a:cubicBezTo>
                        <a:pt x="8096" y="7349"/>
                        <a:pt x="6726" y="13452"/>
                        <a:pt x="6228" y="17812"/>
                      </a:cubicBezTo>
                      <a:cubicBezTo>
                        <a:pt x="5480" y="24787"/>
                        <a:pt x="6851" y="28150"/>
                        <a:pt x="5730"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0" name="Freeform 8432">
                  <a:extLst>
                    <a:ext uri="{FF2B5EF4-FFF2-40B4-BE49-F238E27FC236}">
                      <a16:creationId xmlns:a16="http://schemas.microsoft.com/office/drawing/2014/main" id="{CED3CB6F-F1D0-AA70-FE38-7C7850D8EEC4}"/>
                    </a:ext>
                  </a:extLst>
                </p:cNvPr>
                <p:cNvSpPr/>
                <p:nvPr/>
              </p:nvSpPr>
              <p:spPr>
                <a:xfrm>
                  <a:off x="3623104" y="1619947"/>
                  <a:ext cx="11211" cy="51068"/>
                </a:xfrm>
                <a:custGeom>
                  <a:avLst/>
                  <a:gdLst>
                    <a:gd name="connsiteX0" fmla="*/ 154 w 11211"/>
                    <a:gd name="connsiteY0" fmla="*/ 51069 h 51068"/>
                    <a:gd name="connsiteX1" fmla="*/ 2396 w 11211"/>
                    <a:gd name="connsiteY1" fmla="*/ 32385 h 51068"/>
                    <a:gd name="connsiteX2" fmla="*/ 9496 w 11211"/>
                    <a:gd name="connsiteY2" fmla="*/ 16442 h 51068"/>
                    <a:gd name="connsiteX3" fmla="*/ 1099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9"/>
                      </a:moveTo>
                      <a:cubicBezTo>
                        <a:pt x="-469" y="42723"/>
                        <a:pt x="901" y="36495"/>
                        <a:pt x="2396" y="32385"/>
                      </a:cubicBezTo>
                      <a:cubicBezTo>
                        <a:pt x="4638" y="25783"/>
                        <a:pt x="7503" y="23292"/>
                        <a:pt x="9496" y="16442"/>
                      </a:cubicBezTo>
                      <a:cubicBezTo>
                        <a:pt x="11489" y="9840"/>
                        <a:pt x="11364" y="3986"/>
                        <a:pt x="109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1" name="Freeform 8433">
                  <a:extLst>
                    <a:ext uri="{FF2B5EF4-FFF2-40B4-BE49-F238E27FC236}">
                      <a16:creationId xmlns:a16="http://schemas.microsoft.com/office/drawing/2014/main" id="{A060F644-8F02-B269-11CE-BF2ADD339967}"/>
                    </a:ext>
                  </a:extLst>
                </p:cNvPr>
                <p:cNvSpPr/>
                <p:nvPr/>
              </p:nvSpPr>
              <p:spPr>
                <a:xfrm>
                  <a:off x="3618069" y="1604095"/>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395" y="27684"/>
                        <a:pt x="10295" y="26190"/>
                      </a:cubicBezTo>
                      <a:cubicBezTo>
                        <a:pt x="3196" y="24695"/>
                        <a:pt x="-1288" y="17595"/>
                        <a:pt x="331" y="10495"/>
                      </a:cubicBezTo>
                      <a:cubicBezTo>
                        <a:pt x="1950" y="3396"/>
                        <a:pt x="9050" y="-1213"/>
                        <a:pt x="16150" y="282"/>
                      </a:cubicBezTo>
                      <a:cubicBezTo>
                        <a:pt x="23249" y="1776"/>
                        <a:pt x="27734" y="8751"/>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2" name="Graphic 2987">
                <a:extLst>
                  <a:ext uri="{FF2B5EF4-FFF2-40B4-BE49-F238E27FC236}">
                    <a16:creationId xmlns:a16="http://schemas.microsoft.com/office/drawing/2014/main" id="{7F172B4B-E0F6-0462-6237-705233AA65FE}"/>
                  </a:ext>
                </a:extLst>
              </p:cNvPr>
              <p:cNvGrpSpPr/>
              <p:nvPr/>
            </p:nvGrpSpPr>
            <p:grpSpPr>
              <a:xfrm>
                <a:off x="3561770" y="1597562"/>
                <a:ext cx="53972" cy="146065"/>
                <a:chOff x="3561770" y="1597562"/>
                <a:chExt cx="53972" cy="146065"/>
              </a:xfrm>
              <a:grpFill/>
            </p:grpSpPr>
            <p:sp>
              <p:nvSpPr>
                <p:cNvPr id="5820" name="Freeform 8435">
                  <a:extLst>
                    <a:ext uri="{FF2B5EF4-FFF2-40B4-BE49-F238E27FC236}">
                      <a16:creationId xmlns:a16="http://schemas.microsoft.com/office/drawing/2014/main" id="{C7D31122-AE2F-ED95-044E-73C4FB470514}"/>
                    </a:ext>
                  </a:extLst>
                </p:cNvPr>
                <p:cNvSpPr/>
                <p:nvPr/>
              </p:nvSpPr>
              <p:spPr>
                <a:xfrm>
                  <a:off x="3580161" y="1673506"/>
                  <a:ext cx="12331" cy="50694"/>
                </a:xfrm>
                <a:custGeom>
                  <a:avLst/>
                  <a:gdLst>
                    <a:gd name="connsiteX0" fmla="*/ 0 w 12331"/>
                    <a:gd name="connsiteY0" fmla="*/ 50695 h 50694"/>
                    <a:gd name="connsiteX1" fmla="*/ 6104 w 12331"/>
                    <a:gd name="connsiteY1" fmla="*/ 32883 h 50694"/>
                    <a:gd name="connsiteX2" fmla="*/ 6602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471"/>
                        <a:pt x="5605" y="37243"/>
                        <a:pt x="6104" y="32883"/>
                      </a:cubicBezTo>
                      <a:cubicBezTo>
                        <a:pt x="6851" y="25908"/>
                        <a:pt x="5481" y="22420"/>
                        <a:pt x="6602" y="15445"/>
                      </a:cubicBezTo>
                      <a:cubicBezTo>
                        <a:pt x="7723" y="8594"/>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1" name="Freeform 8436">
                  <a:extLst>
                    <a:ext uri="{FF2B5EF4-FFF2-40B4-BE49-F238E27FC236}">
                      <a16:creationId xmlns:a16="http://schemas.microsoft.com/office/drawing/2014/main" id="{E2497420-11EA-525C-00DE-E70504C81E1F}"/>
                    </a:ext>
                  </a:extLst>
                </p:cNvPr>
                <p:cNvSpPr/>
                <p:nvPr/>
              </p:nvSpPr>
              <p:spPr>
                <a:xfrm>
                  <a:off x="3571998" y="1676371"/>
                  <a:ext cx="11422" cy="50944"/>
                </a:xfrm>
                <a:custGeom>
                  <a:avLst/>
                  <a:gdLst>
                    <a:gd name="connsiteX0" fmla="*/ 11277 w 11422"/>
                    <a:gd name="connsiteY0" fmla="*/ 0 h 50944"/>
                    <a:gd name="connsiteX1" fmla="*/ 9035 w 11422"/>
                    <a:gd name="connsiteY1" fmla="*/ 18684 h 50944"/>
                    <a:gd name="connsiteX2" fmla="*/ 1811 w 11422"/>
                    <a:gd name="connsiteY2" fmla="*/ 34502 h 50944"/>
                    <a:gd name="connsiteX3" fmla="*/ 192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1277" y="0"/>
                      </a:moveTo>
                      <a:cubicBezTo>
                        <a:pt x="11900" y="8470"/>
                        <a:pt x="10405" y="14573"/>
                        <a:pt x="9035" y="18684"/>
                      </a:cubicBezTo>
                      <a:cubicBezTo>
                        <a:pt x="6669" y="25285"/>
                        <a:pt x="3928" y="27776"/>
                        <a:pt x="1811" y="34502"/>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2" name="Freeform 8437">
                  <a:extLst>
                    <a:ext uri="{FF2B5EF4-FFF2-40B4-BE49-F238E27FC236}">
                      <a16:creationId xmlns:a16="http://schemas.microsoft.com/office/drawing/2014/main" id="{52115498-2010-4EBD-BCE6-B456CC54DB37}"/>
                    </a:ext>
                  </a:extLst>
                </p:cNvPr>
                <p:cNvSpPr/>
                <p:nvPr/>
              </p:nvSpPr>
              <p:spPr>
                <a:xfrm>
                  <a:off x="3561770" y="1716967"/>
                  <a:ext cx="26687" cy="26661"/>
                </a:xfrm>
                <a:custGeom>
                  <a:avLst/>
                  <a:gdLst>
                    <a:gd name="connsiteX0" fmla="*/ 331 w 26687"/>
                    <a:gd name="connsiteY0" fmla="*/ 10100 h 26661"/>
                    <a:gd name="connsiteX1" fmla="*/ 16274 w 26687"/>
                    <a:gd name="connsiteY1" fmla="*/ 384 h 26661"/>
                    <a:gd name="connsiteX2" fmla="*/ 26363 w 26687"/>
                    <a:gd name="connsiteY2" fmla="*/ 16328 h 26661"/>
                    <a:gd name="connsiteX3" fmla="*/ 10420 w 26687"/>
                    <a:gd name="connsiteY3" fmla="*/ 26292 h 26661"/>
                    <a:gd name="connsiteX4" fmla="*/ 331 w 26687"/>
                    <a:gd name="connsiteY4" fmla="*/ 10100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661">
                      <a:moveTo>
                        <a:pt x="331" y="10100"/>
                      </a:moveTo>
                      <a:cubicBezTo>
                        <a:pt x="1949" y="3000"/>
                        <a:pt x="9174" y="-1360"/>
                        <a:pt x="16274" y="384"/>
                      </a:cubicBezTo>
                      <a:cubicBezTo>
                        <a:pt x="23373" y="2252"/>
                        <a:pt x="27982" y="9103"/>
                        <a:pt x="26363" y="16328"/>
                      </a:cubicBezTo>
                      <a:cubicBezTo>
                        <a:pt x="24744" y="23427"/>
                        <a:pt x="17519" y="28036"/>
                        <a:pt x="10420" y="26292"/>
                      </a:cubicBezTo>
                      <a:cubicBezTo>
                        <a:pt x="3195" y="24424"/>
                        <a:pt x="-1289" y="17199"/>
                        <a:pt x="331"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3" name="Freeform 8438">
                  <a:extLst>
                    <a:ext uri="{FF2B5EF4-FFF2-40B4-BE49-F238E27FC236}">
                      <a16:creationId xmlns:a16="http://schemas.microsoft.com/office/drawing/2014/main" id="{FAA2D780-6326-5DF4-85D1-CD1C39CD636B}"/>
                    </a:ext>
                  </a:extLst>
                </p:cNvPr>
                <p:cNvSpPr/>
                <p:nvPr/>
              </p:nvSpPr>
              <p:spPr>
                <a:xfrm>
                  <a:off x="3585143" y="1616957"/>
                  <a:ext cx="12331" cy="50694"/>
                </a:xfrm>
                <a:custGeom>
                  <a:avLst/>
                  <a:gdLst>
                    <a:gd name="connsiteX0" fmla="*/ 12331 w 12331"/>
                    <a:gd name="connsiteY0" fmla="*/ 0 h 50694"/>
                    <a:gd name="connsiteX1" fmla="*/ 6228 w 12331"/>
                    <a:gd name="connsiteY1" fmla="*/ 17812 h 50694"/>
                    <a:gd name="connsiteX2" fmla="*/ 5730 w 12331"/>
                    <a:gd name="connsiteY2" fmla="*/ 35250 h 50694"/>
                    <a:gd name="connsiteX3" fmla="*/ 0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0"/>
                      </a:moveTo>
                      <a:cubicBezTo>
                        <a:pt x="8097" y="7224"/>
                        <a:pt x="6726" y="13452"/>
                        <a:pt x="6228" y="17812"/>
                      </a:cubicBezTo>
                      <a:cubicBezTo>
                        <a:pt x="5356"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4" name="Freeform 8439">
                  <a:extLst>
                    <a:ext uri="{FF2B5EF4-FFF2-40B4-BE49-F238E27FC236}">
                      <a16:creationId xmlns:a16="http://schemas.microsoft.com/office/drawing/2014/main" id="{0A7E80BF-007B-998D-7C4F-89D79D8C777B}"/>
                    </a:ext>
                  </a:extLst>
                </p:cNvPr>
                <p:cNvSpPr/>
                <p:nvPr/>
              </p:nvSpPr>
              <p:spPr>
                <a:xfrm>
                  <a:off x="3594215" y="1613719"/>
                  <a:ext cx="11298" cy="50944"/>
                </a:xfrm>
                <a:custGeom>
                  <a:avLst/>
                  <a:gdLst>
                    <a:gd name="connsiteX0" fmla="*/ 146 w 11298"/>
                    <a:gd name="connsiteY0" fmla="*/ 50944 h 50944"/>
                    <a:gd name="connsiteX1" fmla="*/ 2388 w 11298"/>
                    <a:gd name="connsiteY1" fmla="*/ 32260 h 50944"/>
                    <a:gd name="connsiteX2" fmla="*/ 9487 w 11298"/>
                    <a:gd name="connsiteY2" fmla="*/ 16442 h 50944"/>
                    <a:gd name="connsiteX3" fmla="*/ 11107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46" y="50944"/>
                      </a:moveTo>
                      <a:cubicBezTo>
                        <a:pt x="-477" y="42474"/>
                        <a:pt x="1018" y="36371"/>
                        <a:pt x="2388" y="32260"/>
                      </a:cubicBezTo>
                      <a:cubicBezTo>
                        <a:pt x="4754" y="25659"/>
                        <a:pt x="7494" y="23168"/>
                        <a:pt x="9487" y="16442"/>
                      </a:cubicBezTo>
                      <a:cubicBezTo>
                        <a:pt x="11480" y="9840"/>
                        <a:pt x="11480" y="3986"/>
                        <a:pt x="111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5" name="Freeform 8440">
                  <a:extLst>
                    <a:ext uri="{FF2B5EF4-FFF2-40B4-BE49-F238E27FC236}">
                      <a16:creationId xmlns:a16="http://schemas.microsoft.com/office/drawing/2014/main" id="{8DEB464A-C8DE-ADE4-7862-47E84775C681}"/>
                    </a:ext>
                  </a:extLst>
                </p:cNvPr>
                <p:cNvSpPr/>
                <p:nvPr/>
              </p:nvSpPr>
              <p:spPr>
                <a:xfrm>
                  <a:off x="3589414" y="1597562"/>
                  <a:ext cx="26327" cy="26654"/>
                </a:xfrm>
                <a:custGeom>
                  <a:avLst/>
                  <a:gdLst>
                    <a:gd name="connsiteX0" fmla="*/ 25996 w 26327"/>
                    <a:gd name="connsiteY0" fmla="*/ 16281 h 26654"/>
                    <a:gd name="connsiteX1" fmla="*/ 10177 w 26327"/>
                    <a:gd name="connsiteY1" fmla="*/ 26245 h 26654"/>
                    <a:gd name="connsiteX2" fmla="*/ 337 w 26327"/>
                    <a:gd name="connsiteY2" fmla="*/ 10177 h 26654"/>
                    <a:gd name="connsiteX3" fmla="*/ 16156 w 26327"/>
                    <a:gd name="connsiteY3" fmla="*/ 337 h 26654"/>
                    <a:gd name="connsiteX4" fmla="*/ 25996 w 26327"/>
                    <a:gd name="connsiteY4" fmla="*/ 16281 h 2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654">
                      <a:moveTo>
                        <a:pt x="25996" y="16281"/>
                      </a:moveTo>
                      <a:cubicBezTo>
                        <a:pt x="24377" y="23381"/>
                        <a:pt x="17277" y="28114"/>
                        <a:pt x="10177" y="26245"/>
                      </a:cubicBezTo>
                      <a:cubicBezTo>
                        <a:pt x="3078" y="24502"/>
                        <a:pt x="-1282" y="17277"/>
                        <a:pt x="337" y="10177"/>
                      </a:cubicBezTo>
                      <a:cubicBezTo>
                        <a:pt x="1956" y="3078"/>
                        <a:pt x="9056" y="-1282"/>
                        <a:pt x="16156" y="337"/>
                      </a:cubicBezTo>
                      <a:cubicBezTo>
                        <a:pt x="23131" y="2206"/>
                        <a:pt x="27616" y="9056"/>
                        <a:pt x="25996"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3" name="Graphic 2987">
                <a:extLst>
                  <a:ext uri="{FF2B5EF4-FFF2-40B4-BE49-F238E27FC236}">
                    <a16:creationId xmlns:a16="http://schemas.microsoft.com/office/drawing/2014/main" id="{DC4CE01D-1F28-9B68-1310-AF97D4D25BC9}"/>
                  </a:ext>
                </a:extLst>
              </p:cNvPr>
              <p:cNvGrpSpPr/>
              <p:nvPr/>
            </p:nvGrpSpPr>
            <p:grpSpPr>
              <a:xfrm>
                <a:off x="3532708" y="1590541"/>
                <a:ext cx="54391" cy="145877"/>
                <a:chOff x="3532708" y="1590541"/>
                <a:chExt cx="54391" cy="145877"/>
              </a:xfrm>
              <a:grpFill/>
            </p:grpSpPr>
            <p:sp>
              <p:nvSpPr>
                <p:cNvPr id="5814" name="Freeform 8442">
                  <a:extLst>
                    <a:ext uri="{FF2B5EF4-FFF2-40B4-BE49-F238E27FC236}">
                      <a16:creationId xmlns:a16="http://schemas.microsoft.com/office/drawing/2014/main" id="{3B76C3A6-A250-733F-9F69-3FF4DE2EF225}"/>
                    </a:ext>
                  </a:extLst>
                </p:cNvPr>
                <p:cNvSpPr/>
                <p:nvPr/>
              </p:nvSpPr>
              <p:spPr>
                <a:xfrm>
                  <a:off x="3551263" y="1666531"/>
                  <a:ext cx="12580" cy="50570"/>
                </a:xfrm>
                <a:custGeom>
                  <a:avLst/>
                  <a:gdLst>
                    <a:gd name="connsiteX0" fmla="*/ 0 w 12580"/>
                    <a:gd name="connsiteY0" fmla="*/ 50570 h 50570"/>
                    <a:gd name="connsiteX1" fmla="*/ 6228 w 12580"/>
                    <a:gd name="connsiteY1" fmla="*/ 32883 h 50570"/>
                    <a:gd name="connsiteX2" fmla="*/ 6726 w 12580"/>
                    <a:gd name="connsiteY2" fmla="*/ 15445 h 50570"/>
                    <a:gd name="connsiteX3" fmla="*/ 12580 w 12580"/>
                    <a:gd name="connsiteY3" fmla="*/ 0 h 50570"/>
                  </a:gdLst>
                  <a:ahLst/>
                  <a:cxnLst>
                    <a:cxn ang="0">
                      <a:pos x="connsiteX0" y="connsiteY0"/>
                    </a:cxn>
                    <a:cxn ang="0">
                      <a:pos x="connsiteX1" y="connsiteY1"/>
                    </a:cxn>
                    <a:cxn ang="0">
                      <a:pos x="connsiteX2" y="connsiteY2"/>
                    </a:cxn>
                    <a:cxn ang="0">
                      <a:pos x="connsiteX3" y="connsiteY3"/>
                    </a:cxn>
                  </a:cxnLst>
                  <a:rect l="l" t="t" r="r" b="b"/>
                  <a:pathLst>
                    <a:path w="12580" h="50570">
                      <a:moveTo>
                        <a:pt x="0" y="50570"/>
                      </a:moveTo>
                      <a:cubicBezTo>
                        <a:pt x="4235" y="43346"/>
                        <a:pt x="5730" y="37118"/>
                        <a:pt x="6228" y="32883"/>
                      </a:cubicBezTo>
                      <a:cubicBezTo>
                        <a:pt x="7100" y="25908"/>
                        <a:pt x="5605" y="22420"/>
                        <a:pt x="6726" y="15445"/>
                      </a:cubicBezTo>
                      <a:cubicBezTo>
                        <a:pt x="7847" y="8594"/>
                        <a:pt x="10463" y="3363"/>
                        <a:pt x="125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5" name="Freeform 8443">
                  <a:extLst>
                    <a:ext uri="{FF2B5EF4-FFF2-40B4-BE49-F238E27FC236}">
                      <a16:creationId xmlns:a16="http://schemas.microsoft.com/office/drawing/2014/main" id="{F73F1E5E-B147-C0CA-2C78-9508D36A72AA}"/>
                    </a:ext>
                  </a:extLst>
                </p:cNvPr>
                <p:cNvSpPr/>
                <p:nvPr/>
              </p:nvSpPr>
              <p:spPr>
                <a:xfrm>
                  <a:off x="3542950" y="1669396"/>
                  <a:ext cx="11572" cy="50944"/>
                </a:xfrm>
                <a:custGeom>
                  <a:avLst/>
                  <a:gdLst>
                    <a:gd name="connsiteX0" fmla="*/ 11427 w 11572"/>
                    <a:gd name="connsiteY0" fmla="*/ 0 h 50944"/>
                    <a:gd name="connsiteX1" fmla="*/ 9061 w 11572"/>
                    <a:gd name="connsiteY1" fmla="*/ 18684 h 50944"/>
                    <a:gd name="connsiteX2" fmla="*/ 1836 w 11572"/>
                    <a:gd name="connsiteY2" fmla="*/ 34502 h 50944"/>
                    <a:gd name="connsiteX3" fmla="*/ 217 w 1157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72" h="50944">
                      <a:moveTo>
                        <a:pt x="11427" y="0"/>
                      </a:moveTo>
                      <a:cubicBezTo>
                        <a:pt x="12050" y="8470"/>
                        <a:pt x="10555" y="14573"/>
                        <a:pt x="9061" y="18684"/>
                      </a:cubicBezTo>
                      <a:cubicBezTo>
                        <a:pt x="6694" y="25285"/>
                        <a:pt x="3954"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6" name="Freeform 8444">
                  <a:extLst>
                    <a:ext uri="{FF2B5EF4-FFF2-40B4-BE49-F238E27FC236}">
                      <a16:creationId xmlns:a16="http://schemas.microsoft.com/office/drawing/2014/main" id="{46474693-CB0D-24D5-747B-AC962974FFEE}"/>
                    </a:ext>
                  </a:extLst>
                </p:cNvPr>
                <p:cNvSpPr/>
                <p:nvPr/>
              </p:nvSpPr>
              <p:spPr>
                <a:xfrm>
                  <a:off x="3532708" y="1709867"/>
                  <a:ext cx="26608" cy="26551"/>
                </a:xfrm>
                <a:custGeom>
                  <a:avLst/>
                  <a:gdLst>
                    <a:gd name="connsiteX0" fmla="*/ 370 w 26608"/>
                    <a:gd name="connsiteY0" fmla="*/ 10100 h 26551"/>
                    <a:gd name="connsiteX1" fmla="*/ 16313 w 26608"/>
                    <a:gd name="connsiteY1" fmla="*/ 384 h 26551"/>
                    <a:gd name="connsiteX2" fmla="*/ 26278 w 26608"/>
                    <a:gd name="connsiteY2" fmla="*/ 16452 h 26551"/>
                    <a:gd name="connsiteX3" fmla="*/ 10334 w 26608"/>
                    <a:gd name="connsiteY3" fmla="*/ 26168 h 26551"/>
                    <a:gd name="connsiteX4" fmla="*/ 370 w 26608"/>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551">
                      <a:moveTo>
                        <a:pt x="370" y="10100"/>
                      </a:moveTo>
                      <a:cubicBezTo>
                        <a:pt x="1989" y="3000"/>
                        <a:pt x="9213" y="-1360"/>
                        <a:pt x="16313" y="384"/>
                      </a:cubicBezTo>
                      <a:cubicBezTo>
                        <a:pt x="23413" y="2128"/>
                        <a:pt x="27897" y="9352"/>
                        <a:pt x="26278" y="16452"/>
                      </a:cubicBezTo>
                      <a:cubicBezTo>
                        <a:pt x="24659" y="23552"/>
                        <a:pt x="17434" y="27911"/>
                        <a:pt x="10334" y="26168"/>
                      </a:cubicBezTo>
                      <a:cubicBezTo>
                        <a:pt x="3235" y="24424"/>
                        <a:pt x="-1374" y="17199"/>
                        <a:pt x="37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7" name="Freeform 8445">
                  <a:extLst>
                    <a:ext uri="{FF2B5EF4-FFF2-40B4-BE49-F238E27FC236}">
                      <a16:creationId xmlns:a16="http://schemas.microsoft.com/office/drawing/2014/main" id="{A2D60D77-B9E6-CA33-5553-9025B589BF69}"/>
                    </a:ext>
                  </a:extLst>
                </p:cNvPr>
                <p:cNvSpPr/>
                <p:nvPr/>
              </p:nvSpPr>
              <p:spPr>
                <a:xfrm>
                  <a:off x="3556121" y="1609982"/>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7100" y="13452"/>
                        <a:pt x="6477" y="17687"/>
                      </a:cubicBezTo>
                      <a:cubicBezTo>
                        <a:pt x="5605" y="24662"/>
                        <a:pt x="6975" y="28150"/>
                        <a:pt x="5854" y="35125"/>
                      </a:cubicBezTo>
                      <a:cubicBezTo>
                        <a:pt x="4733"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8" name="Freeform 8446">
                  <a:extLst>
                    <a:ext uri="{FF2B5EF4-FFF2-40B4-BE49-F238E27FC236}">
                      <a16:creationId xmlns:a16="http://schemas.microsoft.com/office/drawing/2014/main" id="{6E2EAB77-C613-2D1D-E075-8F8B9CAC8520}"/>
                    </a:ext>
                  </a:extLst>
                </p:cNvPr>
                <p:cNvSpPr/>
                <p:nvPr/>
              </p:nvSpPr>
              <p:spPr>
                <a:xfrm>
                  <a:off x="3565443" y="1606743"/>
                  <a:ext cx="11546" cy="50944"/>
                </a:xfrm>
                <a:custGeom>
                  <a:avLst/>
                  <a:gdLst>
                    <a:gd name="connsiteX0" fmla="*/ 145 w 11546"/>
                    <a:gd name="connsiteY0" fmla="*/ 50944 h 50944"/>
                    <a:gd name="connsiteX1" fmla="*/ 2512 w 11546"/>
                    <a:gd name="connsiteY1" fmla="*/ 32260 h 50944"/>
                    <a:gd name="connsiteX2" fmla="*/ 9736 w 11546"/>
                    <a:gd name="connsiteY2" fmla="*/ 16442 h 50944"/>
                    <a:gd name="connsiteX3" fmla="*/ 11355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50944"/>
                      </a:moveTo>
                      <a:cubicBezTo>
                        <a:pt x="-478" y="42474"/>
                        <a:pt x="1017" y="36371"/>
                        <a:pt x="2512" y="32260"/>
                      </a:cubicBezTo>
                      <a:cubicBezTo>
                        <a:pt x="4878" y="25659"/>
                        <a:pt x="7618" y="23168"/>
                        <a:pt x="9736" y="16442"/>
                      </a:cubicBezTo>
                      <a:cubicBezTo>
                        <a:pt x="11729"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9" name="Freeform 8447">
                  <a:extLst>
                    <a:ext uri="{FF2B5EF4-FFF2-40B4-BE49-F238E27FC236}">
                      <a16:creationId xmlns:a16="http://schemas.microsoft.com/office/drawing/2014/main" id="{4CA34755-3FCB-8C56-581E-6E13117C5281}"/>
                    </a:ext>
                  </a:extLst>
                </p:cNvPr>
                <p:cNvSpPr/>
                <p:nvPr/>
              </p:nvSpPr>
              <p:spPr>
                <a:xfrm>
                  <a:off x="3560844" y="1590541"/>
                  <a:ext cx="26256" cy="26551"/>
                </a:xfrm>
                <a:custGeom>
                  <a:avLst/>
                  <a:gdLst>
                    <a:gd name="connsiteX0" fmla="*/ 25918 w 26256"/>
                    <a:gd name="connsiteY0" fmla="*/ 16452 h 26551"/>
                    <a:gd name="connsiteX1" fmla="*/ 10100 w 26256"/>
                    <a:gd name="connsiteY1" fmla="*/ 26168 h 26551"/>
                    <a:gd name="connsiteX2" fmla="*/ 384 w 26256"/>
                    <a:gd name="connsiteY2" fmla="*/ 10100 h 26551"/>
                    <a:gd name="connsiteX3" fmla="*/ 16203 w 26256"/>
                    <a:gd name="connsiteY3" fmla="*/ 384 h 26551"/>
                    <a:gd name="connsiteX4" fmla="*/ 25918 w 26256"/>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51">
                      <a:moveTo>
                        <a:pt x="25918" y="16452"/>
                      </a:moveTo>
                      <a:cubicBezTo>
                        <a:pt x="24299" y="23552"/>
                        <a:pt x="17200" y="27911"/>
                        <a:pt x="10100" y="26168"/>
                      </a:cubicBezTo>
                      <a:cubicBezTo>
                        <a:pt x="3000" y="24424"/>
                        <a:pt x="-1360" y="17199"/>
                        <a:pt x="384" y="10100"/>
                      </a:cubicBezTo>
                      <a:cubicBezTo>
                        <a:pt x="2003" y="3000"/>
                        <a:pt x="9103" y="-1360"/>
                        <a:pt x="16203" y="384"/>
                      </a:cubicBezTo>
                      <a:cubicBezTo>
                        <a:pt x="23178" y="2128"/>
                        <a:pt x="27538" y="9352"/>
                        <a:pt x="25918"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4" name="Graphic 2987">
                <a:extLst>
                  <a:ext uri="{FF2B5EF4-FFF2-40B4-BE49-F238E27FC236}">
                    <a16:creationId xmlns:a16="http://schemas.microsoft.com/office/drawing/2014/main" id="{22CE6B95-13F9-DE0D-F46E-BA0DBCC3D8B8}"/>
                  </a:ext>
                </a:extLst>
              </p:cNvPr>
              <p:cNvGrpSpPr/>
              <p:nvPr/>
            </p:nvGrpSpPr>
            <p:grpSpPr>
              <a:xfrm>
                <a:off x="3503680" y="1583565"/>
                <a:ext cx="54811" cy="145753"/>
                <a:chOff x="3503680" y="1583565"/>
                <a:chExt cx="54811" cy="145753"/>
              </a:xfrm>
              <a:grpFill/>
            </p:grpSpPr>
            <p:sp>
              <p:nvSpPr>
                <p:cNvPr id="5808" name="Freeform 8449">
                  <a:extLst>
                    <a:ext uri="{FF2B5EF4-FFF2-40B4-BE49-F238E27FC236}">
                      <a16:creationId xmlns:a16="http://schemas.microsoft.com/office/drawing/2014/main" id="{CF1264DF-1844-E163-8938-A51D16BEAB66}"/>
                    </a:ext>
                  </a:extLst>
                </p:cNvPr>
                <p:cNvSpPr/>
                <p:nvPr/>
              </p:nvSpPr>
              <p:spPr>
                <a:xfrm>
                  <a:off x="3522241" y="1659431"/>
                  <a:ext cx="12704" cy="50570"/>
                </a:xfrm>
                <a:custGeom>
                  <a:avLst/>
                  <a:gdLst>
                    <a:gd name="connsiteX0" fmla="*/ 0 w 12704"/>
                    <a:gd name="connsiteY0" fmla="*/ 50570 h 50570"/>
                    <a:gd name="connsiteX1" fmla="*/ 6228 w 12704"/>
                    <a:gd name="connsiteY1" fmla="*/ 32883 h 50570"/>
                    <a:gd name="connsiteX2" fmla="*/ 6851 w 12704"/>
                    <a:gd name="connsiteY2" fmla="*/ 15445 h 50570"/>
                    <a:gd name="connsiteX3" fmla="*/ 12705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0" y="50570"/>
                      </a:moveTo>
                      <a:cubicBezTo>
                        <a:pt x="4235" y="43346"/>
                        <a:pt x="5730" y="37118"/>
                        <a:pt x="6228" y="32883"/>
                      </a:cubicBezTo>
                      <a:cubicBezTo>
                        <a:pt x="7100" y="25908"/>
                        <a:pt x="5730" y="22420"/>
                        <a:pt x="6851" y="15445"/>
                      </a:cubicBezTo>
                      <a:cubicBezTo>
                        <a:pt x="7972" y="8594"/>
                        <a:pt x="10712"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9" name="Freeform 8450">
                  <a:extLst>
                    <a:ext uri="{FF2B5EF4-FFF2-40B4-BE49-F238E27FC236}">
                      <a16:creationId xmlns:a16="http://schemas.microsoft.com/office/drawing/2014/main" id="{3DF49DC6-6A8D-3768-D272-4E0934F76232}"/>
                    </a:ext>
                  </a:extLst>
                </p:cNvPr>
                <p:cNvSpPr/>
                <p:nvPr/>
              </p:nvSpPr>
              <p:spPr>
                <a:xfrm>
                  <a:off x="3514053" y="1662296"/>
                  <a:ext cx="11655" cy="50944"/>
                </a:xfrm>
                <a:custGeom>
                  <a:avLst/>
                  <a:gdLst>
                    <a:gd name="connsiteX0" fmla="*/ 11552 w 11655"/>
                    <a:gd name="connsiteY0" fmla="*/ 0 h 50944"/>
                    <a:gd name="connsiteX1" fmla="*/ 9185 w 11655"/>
                    <a:gd name="connsiteY1" fmla="*/ 18684 h 50944"/>
                    <a:gd name="connsiteX2" fmla="*/ 1836 w 11655"/>
                    <a:gd name="connsiteY2" fmla="*/ 34502 h 50944"/>
                    <a:gd name="connsiteX3" fmla="*/ 217 w 1165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55" h="50944">
                      <a:moveTo>
                        <a:pt x="11552" y="0"/>
                      </a:moveTo>
                      <a:cubicBezTo>
                        <a:pt x="12050" y="8470"/>
                        <a:pt x="10680" y="14573"/>
                        <a:pt x="9185" y="18684"/>
                      </a:cubicBezTo>
                      <a:cubicBezTo>
                        <a:pt x="6819" y="25285"/>
                        <a:pt x="4078"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0" name="Freeform 8451">
                  <a:extLst>
                    <a:ext uri="{FF2B5EF4-FFF2-40B4-BE49-F238E27FC236}">
                      <a16:creationId xmlns:a16="http://schemas.microsoft.com/office/drawing/2014/main" id="{9B4F55B6-E0EE-5DD2-E144-83687F4F440E}"/>
                    </a:ext>
                  </a:extLst>
                </p:cNvPr>
                <p:cNvSpPr/>
                <p:nvPr/>
              </p:nvSpPr>
              <p:spPr>
                <a:xfrm>
                  <a:off x="3503680" y="1702767"/>
                  <a:ext cx="26739" cy="26551"/>
                </a:xfrm>
                <a:custGeom>
                  <a:avLst/>
                  <a:gdLst>
                    <a:gd name="connsiteX0" fmla="*/ 376 w 26739"/>
                    <a:gd name="connsiteY0" fmla="*/ 10100 h 26551"/>
                    <a:gd name="connsiteX1" fmla="*/ 16444 w 26739"/>
                    <a:gd name="connsiteY1" fmla="*/ 384 h 26551"/>
                    <a:gd name="connsiteX2" fmla="*/ 26409 w 26739"/>
                    <a:gd name="connsiteY2" fmla="*/ 16452 h 26551"/>
                    <a:gd name="connsiteX3" fmla="*/ 10341 w 26739"/>
                    <a:gd name="connsiteY3" fmla="*/ 26168 h 26551"/>
                    <a:gd name="connsiteX4" fmla="*/ 376 w 2673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 h="26551">
                      <a:moveTo>
                        <a:pt x="376" y="10100"/>
                      </a:moveTo>
                      <a:cubicBezTo>
                        <a:pt x="2120" y="3000"/>
                        <a:pt x="9220" y="-1360"/>
                        <a:pt x="16444" y="384"/>
                      </a:cubicBezTo>
                      <a:cubicBezTo>
                        <a:pt x="23544" y="2128"/>
                        <a:pt x="28028" y="9352"/>
                        <a:pt x="26409" y="16452"/>
                      </a:cubicBezTo>
                      <a:cubicBezTo>
                        <a:pt x="24790" y="23552"/>
                        <a:pt x="17565" y="27911"/>
                        <a:pt x="10341" y="26168"/>
                      </a:cubicBezTo>
                      <a:cubicBezTo>
                        <a:pt x="3117" y="24424"/>
                        <a:pt x="-1368" y="17199"/>
                        <a:pt x="376"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1" name="Freeform 8452">
                  <a:extLst>
                    <a:ext uri="{FF2B5EF4-FFF2-40B4-BE49-F238E27FC236}">
                      <a16:creationId xmlns:a16="http://schemas.microsoft.com/office/drawing/2014/main" id="{206D15B4-2569-EB82-1AFD-7939C469D68E}"/>
                    </a:ext>
                  </a:extLst>
                </p:cNvPr>
                <p:cNvSpPr/>
                <p:nvPr/>
              </p:nvSpPr>
              <p:spPr>
                <a:xfrm>
                  <a:off x="3527473" y="1603007"/>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6975" y="13452"/>
                        <a:pt x="6477" y="17687"/>
                      </a:cubicBezTo>
                      <a:cubicBezTo>
                        <a:pt x="5605" y="24662"/>
                        <a:pt x="6975" y="28150"/>
                        <a:pt x="5854"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2" name="Freeform 8453">
                  <a:extLst>
                    <a:ext uri="{FF2B5EF4-FFF2-40B4-BE49-F238E27FC236}">
                      <a16:creationId xmlns:a16="http://schemas.microsoft.com/office/drawing/2014/main" id="{AC3818E6-A38A-5429-BC4F-062E59CB2384}"/>
                    </a:ext>
                  </a:extLst>
                </p:cNvPr>
                <p:cNvSpPr/>
                <p:nvPr/>
              </p:nvSpPr>
              <p:spPr>
                <a:xfrm>
                  <a:off x="3536711" y="1599644"/>
                  <a:ext cx="11572" cy="50944"/>
                </a:xfrm>
                <a:custGeom>
                  <a:avLst/>
                  <a:gdLst>
                    <a:gd name="connsiteX0" fmla="*/ 104 w 11572"/>
                    <a:gd name="connsiteY0" fmla="*/ 50944 h 50944"/>
                    <a:gd name="connsiteX1" fmla="*/ 2471 w 11572"/>
                    <a:gd name="connsiteY1" fmla="*/ 32260 h 50944"/>
                    <a:gd name="connsiteX2" fmla="*/ 9695 w 11572"/>
                    <a:gd name="connsiteY2" fmla="*/ 16442 h 50944"/>
                    <a:gd name="connsiteX3" fmla="*/ 11439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04" y="50944"/>
                      </a:moveTo>
                      <a:cubicBezTo>
                        <a:pt x="-394" y="42474"/>
                        <a:pt x="976" y="36371"/>
                        <a:pt x="2471" y="32260"/>
                      </a:cubicBezTo>
                      <a:cubicBezTo>
                        <a:pt x="4837" y="25659"/>
                        <a:pt x="7577" y="23168"/>
                        <a:pt x="9695" y="16442"/>
                      </a:cubicBezTo>
                      <a:cubicBezTo>
                        <a:pt x="11813" y="9840"/>
                        <a:pt x="11688" y="3986"/>
                        <a:pt x="114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3" name="Freeform 8454">
                  <a:extLst>
                    <a:ext uri="{FF2B5EF4-FFF2-40B4-BE49-F238E27FC236}">
                      <a16:creationId xmlns:a16="http://schemas.microsoft.com/office/drawing/2014/main" id="{2D99A427-2B5C-52B7-2201-5ED45CEEC2DB}"/>
                    </a:ext>
                  </a:extLst>
                </p:cNvPr>
                <p:cNvSpPr/>
                <p:nvPr/>
              </p:nvSpPr>
              <p:spPr>
                <a:xfrm>
                  <a:off x="3532196" y="1583565"/>
                  <a:ext cx="26295" cy="26551"/>
                </a:xfrm>
                <a:custGeom>
                  <a:avLst/>
                  <a:gdLst>
                    <a:gd name="connsiteX0" fmla="*/ 25919 w 26295"/>
                    <a:gd name="connsiteY0" fmla="*/ 16452 h 26551"/>
                    <a:gd name="connsiteX1" fmla="*/ 10100 w 26295"/>
                    <a:gd name="connsiteY1" fmla="*/ 26168 h 26551"/>
                    <a:gd name="connsiteX2" fmla="*/ 384 w 26295"/>
                    <a:gd name="connsiteY2" fmla="*/ 10100 h 26551"/>
                    <a:gd name="connsiteX3" fmla="*/ 16203 w 26295"/>
                    <a:gd name="connsiteY3" fmla="*/ 384 h 26551"/>
                    <a:gd name="connsiteX4" fmla="*/ 25919 w 26295"/>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51">
                      <a:moveTo>
                        <a:pt x="25919" y="16452"/>
                      </a:moveTo>
                      <a:cubicBezTo>
                        <a:pt x="24299" y="23552"/>
                        <a:pt x="17199" y="27911"/>
                        <a:pt x="10100" y="26168"/>
                      </a:cubicBezTo>
                      <a:cubicBezTo>
                        <a:pt x="3000" y="24424"/>
                        <a:pt x="-1360" y="17324"/>
                        <a:pt x="384" y="10100"/>
                      </a:cubicBezTo>
                      <a:cubicBezTo>
                        <a:pt x="2128" y="3000"/>
                        <a:pt x="9228" y="-1360"/>
                        <a:pt x="16203" y="384"/>
                      </a:cubicBezTo>
                      <a:cubicBezTo>
                        <a:pt x="23178" y="2128"/>
                        <a:pt x="27662" y="9352"/>
                        <a:pt x="25919"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5" name="Graphic 2987">
                <a:extLst>
                  <a:ext uri="{FF2B5EF4-FFF2-40B4-BE49-F238E27FC236}">
                    <a16:creationId xmlns:a16="http://schemas.microsoft.com/office/drawing/2014/main" id="{834FB417-993C-4E26-83D9-FD794B3FCE38}"/>
                  </a:ext>
                </a:extLst>
              </p:cNvPr>
              <p:cNvGrpSpPr/>
              <p:nvPr/>
            </p:nvGrpSpPr>
            <p:grpSpPr>
              <a:xfrm>
                <a:off x="3474657" y="1576590"/>
                <a:ext cx="55277" cy="145628"/>
                <a:chOff x="3474657" y="1576590"/>
                <a:chExt cx="55277" cy="145628"/>
              </a:xfrm>
              <a:grpFill/>
            </p:grpSpPr>
            <p:sp>
              <p:nvSpPr>
                <p:cNvPr id="5802" name="Freeform 8456">
                  <a:extLst>
                    <a:ext uri="{FF2B5EF4-FFF2-40B4-BE49-F238E27FC236}">
                      <a16:creationId xmlns:a16="http://schemas.microsoft.com/office/drawing/2014/main" id="{60C3265B-64EF-7EB4-D186-CB8800E351B5}"/>
                    </a:ext>
                  </a:extLst>
                </p:cNvPr>
                <p:cNvSpPr/>
                <p:nvPr/>
              </p:nvSpPr>
              <p:spPr>
                <a:xfrm>
                  <a:off x="3493220" y="1652332"/>
                  <a:ext cx="12953" cy="50570"/>
                </a:xfrm>
                <a:custGeom>
                  <a:avLst/>
                  <a:gdLst>
                    <a:gd name="connsiteX0" fmla="*/ 0 w 12953"/>
                    <a:gd name="connsiteY0" fmla="*/ 50570 h 50570"/>
                    <a:gd name="connsiteX1" fmla="*/ 6352 w 12953"/>
                    <a:gd name="connsiteY1" fmla="*/ 32883 h 50570"/>
                    <a:gd name="connsiteX2" fmla="*/ 6975 w 12953"/>
                    <a:gd name="connsiteY2" fmla="*/ 15445 h 50570"/>
                    <a:gd name="connsiteX3" fmla="*/ 12954 w 12953"/>
                    <a:gd name="connsiteY3" fmla="*/ 0 h 50570"/>
                  </a:gdLst>
                  <a:ahLst/>
                  <a:cxnLst>
                    <a:cxn ang="0">
                      <a:pos x="connsiteX0" y="connsiteY0"/>
                    </a:cxn>
                    <a:cxn ang="0">
                      <a:pos x="connsiteX1" y="connsiteY1"/>
                    </a:cxn>
                    <a:cxn ang="0">
                      <a:pos x="connsiteX2" y="connsiteY2"/>
                    </a:cxn>
                    <a:cxn ang="0">
                      <a:pos x="connsiteX3" y="connsiteY3"/>
                    </a:cxn>
                  </a:cxnLst>
                  <a:rect l="l" t="t" r="r" b="b"/>
                  <a:pathLst>
                    <a:path w="12952" h="50570">
                      <a:moveTo>
                        <a:pt x="0" y="50570"/>
                      </a:moveTo>
                      <a:cubicBezTo>
                        <a:pt x="4359" y="43346"/>
                        <a:pt x="5730" y="37118"/>
                        <a:pt x="6352" y="32883"/>
                      </a:cubicBezTo>
                      <a:cubicBezTo>
                        <a:pt x="7224" y="25908"/>
                        <a:pt x="5854" y="22420"/>
                        <a:pt x="6975" y="15445"/>
                      </a:cubicBezTo>
                      <a:cubicBezTo>
                        <a:pt x="8096" y="8594"/>
                        <a:pt x="10836" y="3363"/>
                        <a:pt x="129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3" name="Freeform 8457">
                  <a:extLst>
                    <a:ext uri="{FF2B5EF4-FFF2-40B4-BE49-F238E27FC236}">
                      <a16:creationId xmlns:a16="http://schemas.microsoft.com/office/drawing/2014/main" id="{42D04FD1-B4D1-F2B6-1F3C-66F7F9C00C64}"/>
                    </a:ext>
                  </a:extLst>
                </p:cNvPr>
                <p:cNvSpPr/>
                <p:nvPr/>
              </p:nvSpPr>
              <p:spPr>
                <a:xfrm>
                  <a:off x="3484935" y="1655321"/>
                  <a:ext cx="11870" cy="50944"/>
                </a:xfrm>
                <a:custGeom>
                  <a:avLst/>
                  <a:gdLst>
                    <a:gd name="connsiteX0" fmla="*/ 11773 w 11870"/>
                    <a:gd name="connsiteY0" fmla="*/ 0 h 50944"/>
                    <a:gd name="connsiteX1" fmla="*/ 9281 w 11870"/>
                    <a:gd name="connsiteY1" fmla="*/ 18684 h 50944"/>
                    <a:gd name="connsiteX2" fmla="*/ 1932 w 11870"/>
                    <a:gd name="connsiteY2" fmla="*/ 34502 h 50944"/>
                    <a:gd name="connsiteX3" fmla="*/ 188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3" y="0"/>
                      </a:moveTo>
                      <a:cubicBezTo>
                        <a:pt x="12270" y="8345"/>
                        <a:pt x="10776" y="14573"/>
                        <a:pt x="9281" y="18684"/>
                      </a:cubicBezTo>
                      <a:cubicBezTo>
                        <a:pt x="6915" y="25285"/>
                        <a:pt x="4050"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4" name="Freeform 8458">
                  <a:extLst>
                    <a:ext uri="{FF2B5EF4-FFF2-40B4-BE49-F238E27FC236}">
                      <a16:creationId xmlns:a16="http://schemas.microsoft.com/office/drawing/2014/main" id="{8EB43007-5B28-45C3-FF66-4BB00546379E}"/>
                    </a:ext>
                  </a:extLst>
                </p:cNvPr>
                <p:cNvSpPr/>
                <p:nvPr/>
              </p:nvSpPr>
              <p:spPr>
                <a:xfrm>
                  <a:off x="3474657" y="1695667"/>
                  <a:ext cx="26661" cy="26551"/>
                </a:xfrm>
                <a:custGeom>
                  <a:avLst/>
                  <a:gdLst>
                    <a:gd name="connsiteX0" fmla="*/ 377 w 26661"/>
                    <a:gd name="connsiteY0" fmla="*/ 10100 h 26551"/>
                    <a:gd name="connsiteX1" fmla="*/ 16445 w 26661"/>
                    <a:gd name="connsiteY1" fmla="*/ 384 h 26551"/>
                    <a:gd name="connsiteX2" fmla="*/ 26285 w 26661"/>
                    <a:gd name="connsiteY2" fmla="*/ 16452 h 26551"/>
                    <a:gd name="connsiteX3" fmla="*/ 10217 w 26661"/>
                    <a:gd name="connsiteY3" fmla="*/ 26168 h 26551"/>
                    <a:gd name="connsiteX4" fmla="*/ 377 w 2666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1">
                      <a:moveTo>
                        <a:pt x="377" y="10100"/>
                      </a:moveTo>
                      <a:cubicBezTo>
                        <a:pt x="2121" y="3000"/>
                        <a:pt x="9345" y="-1360"/>
                        <a:pt x="16445" y="384"/>
                      </a:cubicBezTo>
                      <a:cubicBezTo>
                        <a:pt x="23545" y="2128"/>
                        <a:pt x="28029" y="9352"/>
                        <a:pt x="26285" y="16452"/>
                      </a:cubicBezTo>
                      <a:cubicBezTo>
                        <a:pt x="24541" y="23552"/>
                        <a:pt x="17317" y="27911"/>
                        <a:pt x="10217" y="26168"/>
                      </a:cubicBezTo>
                      <a:cubicBezTo>
                        <a:pt x="3117" y="24424"/>
                        <a:pt x="-1367" y="17199"/>
                        <a:pt x="377"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5" name="Freeform 8459">
                  <a:extLst>
                    <a:ext uri="{FF2B5EF4-FFF2-40B4-BE49-F238E27FC236}">
                      <a16:creationId xmlns:a16="http://schemas.microsoft.com/office/drawing/2014/main" id="{12CF683A-27F6-C786-BBD4-FF360C9006C5}"/>
                    </a:ext>
                  </a:extLst>
                </p:cNvPr>
                <p:cNvSpPr/>
                <p:nvPr/>
              </p:nvSpPr>
              <p:spPr>
                <a:xfrm>
                  <a:off x="3498451" y="1595907"/>
                  <a:ext cx="13078" cy="50570"/>
                </a:xfrm>
                <a:custGeom>
                  <a:avLst/>
                  <a:gdLst>
                    <a:gd name="connsiteX0" fmla="*/ 13079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9" y="0"/>
                      </a:moveTo>
                      <a:cubicBezTo>
                        <a:pt x="8843" y="7224"/>
                        <a:pt x="7349" y="13452"/>
                        <a:pt x="6726" y="17687"/>
                      </a:cubicBezTo>
                      <a:cubicBezTo>
                        <a:pt x="5854" y="24662"/>
                        <a:pt x="7225" y="28150"/>
                        <a:pt x="5979" y="35125"/>
                      </a:cubicBezTo>
                      <a:cubicBezTo>
                        <a:pt x="4858"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6" name="Freeform 8460">
                  <a:extLst>
                    <a:ext uri="{FF2B5EF4-FFF2-40B4-BE49-F238E27FC236}">
                      <a16:creationId xmlns:a16="http://schemas.microsoft.com/office/drawing/2014/main" id="{2B67D7D5-D49E-909F-F2C5-93CDC02C3D4C}"/>
                    </a:ext>
                  </a:extLst>
                </p:cNvPr>
                <p:cNvSpPr/>
                <p:nvPr/>
              </p:nvSpPr>
              <p:spPr>
                <a:xfrm>
                  <a:off x="3507944" y="1592668"/>
                  <a:ext cx="11869" cy="50944"/>
                </a:xfrm>
                <a:custGeom>
                  <a:avLst/>
                  <a:gdLst>
                    <a:gd name="connsiteX0" fmla="*/ 98 w 11869"/>
                    <a:gd name="connsiteY0" fmla="*/ 50944 h 50944"/>
                    <a:gd name="connsiteX1" fmla="*/ 2589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9" y="32260"/>
                      </a:cubicBezTo>
                      <a:cubicBezTo>
                        <a:pt x="4955" y="25659"/>
                        <a:pt x="7696"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7" name="Freeform 8461">
                  <a:extLst>
                    <a:ext uri="{FF2B5EF4-FFF2-40B4-BE49-F238E27FC236}">
                      <a16:creationId xmlns:a16="http://schemas.microsoft.com/office/drawing/2014/main" id="{FB37E267-8FF3-75CC-152F-BB5A0119D0B5}"/>
                    </a:ext>
                  </a:extLst>
                </p:cNvPr>
                <p:cNvSpPr/>
                <p:nvPr/>
              </p:nvSpPr>
              <p:spPr>
                <a:xfrm>
                  <a:off x="3503547" y="1576590"/>
                  <a:ext cx="26387" cy="26551"/>
                </a:xfrm>
                <a:custGeom>
                  <a:avLst/>
                  <a:gdLst>
                    <a:gd name="connsiteX0" fmla="*/ 26043 w 26387"/>
                    <a:gd name="connsiteY0" fmla="*/ 16452 h 26551"/>
                    <a:gd name="connsiteX1" fmla="*/ 10100 w 26387"/>
                    <a:gd name="connsiteY1" fmla="*/ 26168 h 26551"/>
                    <a:gd name="connsiteX2" fmla="*/ 384 w 26387"/>
                    <a:gd name="connsiteY2" fmla="*/ 10100 h 26551"/>
                    <a:gd name="connsiteX3" fmla="*/ 16327 w 26387"/>
                    <a:gd name="connsiteY3" fmla="*/ 384 h 26551"/>
                    <a:gd name="connsiteX4" fmla="*/ 26043 w 26387"/>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7" h="26551">
                      <a:moveTo>
                        <a:pt x="26043" y="16452"/>
                      </a:moveTo>
                      <a:cubicBezTo>
                        <a:pt x="24299" y="23552"/>
                        <a:pt x="17199" y="27911"/>
                        <a:pt x="10100" y="26168"/>
                      </a:cubicBezTo>
                      <a:cubicBezTo>
                        <a:pt x="3000" y="24424"/>
                        <a:pt x="-1360" y="17324"/>
                        <a:pt x="384" y="10100"/>
                      </a:cubicBezTo>
                      <a:cubicBezTo>
                        <a:pt x="2128" y="3000"/>
                        <a:pt x="9228" y="-1360"/>
                        <a:pt x="16327" y="384"/>
                      </a:cubicBezTo>
                      <a:cubicBezTo>
                        <a:pt x="23427" y="2128"/>
                        <a:pt x="27662" y="9352"/>
                        <a:pt x="26043"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6" name="Graphic 2987">
                <a:extLst>
                  <a:ext uri="{FF2B5EF4-FFF2-40B4-BE49-F238E27FC236}">
                    <a16:creationId xmlns:a16="http://schemas.microsoft.com/office/drawing/2014/main" id="{CEB06CF9-33F4-CD31-8AEB-F80DC8264EBD}"/>
                  </a:ext>
                </a:extLst>
              </p:cNvPr>
              <p:cNvGrpSpPr/>
              <p:nvPr/>
            </p:nvGrpSpPr>
            <p:grpSpPr>
              <a:xfrm>
                <a:off x="3445628" y="1569739"/>
                <a:ext cx="55705" cy="145379"/>
                <a:chOff x="3445628" y="1569739"/>
                <a:chExt cx="55705" cy="145379"/>
              </a:xfrm>
              <a:grpFill/>
            </p:grpSpPr>
            <p:sp>
              <p:nvSpPr>
                <p:cNvPr id="5796" name="Freeform 8463">
                  <a:extLst>
                    <a:ext uri="{FF2B5EF4-FFF2-40B4-BE49-F238E27FC236}">
                      <a16:creationId xmlns:a16="http://schemas.microsoft.com/office/drawing/2014/main" id="{2FBBEE7C-190C-D561-0F2F-7F719B986621}"/>
                    </a:ext>
                  </a:extLst>
                </p:cNvPr>
                <p:cNvSpPr/>
                <p:nvPr/>
              </p:nvSpPr>
              <p:spPr>
                <a:xfrm>
                  <a:off x="3464198" y="1645356"/>
                  <a:ext cx="13078" cy="50445"/>
                </a:xfrm>
                <a:custGeom>
                  <a:avLst/>
                  <a:gdLst>
                    <a:gd name="connsiteX0" fmla="*/ 0 w 13078"/>
                    <a:gd name="connsiteY0" fmla="*/ 50446 h 50445"/>
                    <a:gd name="connsiteX1" fmla="*/ 6353 w 13078"/>
                    <a:gd name="connsiteY1" fmla="*/ 32759 h 50445"/>
                    <a:gd name="connsiteX2" fmla="*/ 7100 w 13078"/>
                    <a:gd name="connsiteY2" fmla="*/ 15321 h 50445"/>
                    <a:gd name="connsiteX3" fmla="*/ 13079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0" y="50446"/>
                      </a:moveTo>
                      <a:cubicBezTo>
                        <a:pt x="4360" y="43222"/>
                        <a:pt x="5854" y="37118"/>
                        <a:pt x="6353" y="32759"/>
                      </a:cubicBezTo>
                      <a:cubicBezTo>
                        <a:pt x="7225" y="25783"/>
                        <a:pt x="5854" y="22296"/>
                        <a:pt x="7100" y="15321"/>
                      </a:cubicBezTo>
                      <a:cubicBezTo>
                        <a:pt x="8221" y="8470"/>
                        <a:pt x="10961" y="3239"/>
                        <a:pt x="130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7" name="Freeform 8464">
                  <a:extLst>
                    <a:ext uri="{FF2B5EF4-FFF2-40B4-BE49-F238E27FC236}">
                      <a16:creationId xmlns:a16="http://schemas.microsoft.com/office/drawing/2014/main" id="{66736CF5-969B-CEFB-1634-CCCAD798FDAB}"/>
                    </a:ext>
                  </a:extLst>
                </p:cNvPr>
                <p:cNvSpPr/>
                <p:nvPr/>
              </p:nvSpPr>
              <p:spPr>
                <a:xfrm>
                  <a:off x="3456038" y="1648221"/>
                  <a:ext cx="11994" cy="50944"/>
                </a:xfrm>
                <a:custGeom>
                  <a:avLst/>
                  <a:gdLst>
                    <a:gd name="connsiteX0" fmla="*/ 11897 w 11994"/>
                    <a:gd name="connsiteY0" fmla="*/ 0 h 50944"/>
                    <a:gd name="connsiteX1" fmla="*/ 9406 w 11994"/>
                    <a:gd name="connsiteY1" fmla="*/ 18684 h 50944"/>
                    <a:gd name="connsiteX2" fmla="*/ 1932 w 11994"/>
                    <a:gd name="connsiteY2" fmla="*/ 34502 h 50944"/>
                    <a:gd name="connsiteX3" fmla="*/ 188 w 1199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94" h="50944">
                      <a:moveTo>
                        <a:pt x="11897" y="0"/>
                      </a:moveTo>
                      <a:cubicBezTo>
                        <a:pt x="12395" y="8345"/>
                        <a:pt x="10900" y="14573"/>
                        <a:pt x="9406" y="18684"/>
                      </a:cubicBezTo>
                      <a:cubicBezTo>
                        <a:pt x="7039" y="25285"/>
                        <a:pt x="4174"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8" name="Freeform 8465">
                  <a:extLst>
                    <a:ext uri="{FF2B5EF4-FFF2-40B4-BE49-F238E27FC236}">
                      <a16:creationId xmlns:a16="http://schemas.microsoft.com/office/drawing/2014/main" id="{FA0E795E-C496-2CBA-776C-603ED9443BF2}"/>
                    </a:ext>
                  </a:extLst>
                </p:cNvPr>
                <p:cNvSpPr/>
                <p:nvPr/>
              </p:nvSpPr>
              <p:spPr>
                <a:xfrm>
                  <a:off x="3445628" y="1688567"/>
                  <a:ext cx="26793" cy="26551"/>
                </a:xfrm>
                <a:custGeom>
                  <a:avLst/>
                  <a:gdLst>
                    <a:gd name="connsiteX0" fmla="*/ 384 w 26793"/>
                    <a:gd name="connsiteY0" fmla="*/ 10100 h 26551"/>
                    <a:gd name="connsiteX1" fmla="*/ 16576 w 26793"/>
                    <a:gd name="connsiteY1" fmla="*/ 384 h 26551"/>
                    <a:gd name="connsiteX2" fmla="*/ 26416 w 26793"/>
                    <a:gd name="connsiteY2" fmla="*/ 16452 h 26551"/>
                    <a:gd name="connsiteX3" fmla="*/ 10224 w 26793"/>
                    <a:gd name="connsiteY3" fmla="*/ 26168 h 26551"/>
                    <a:gd name="connsiteX4" fmla="*/ 384 w 2679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51">
                      <a:moveTo>
                        <a:pt x="384" y="10100"/>
                      </a:moveTo>
                      <a:cubicBezTo>
                        <a:pt x="2127" y="3000"/>
                        <a:pt x="9352" y="-1360"/>
                        <a:pt x="16576" y="384"/>
                      </a:cubicBezTo>
                      <a:cubicBezTo>
                        <a:pt x="23676" y="2128"/>
                        <a:pt x="28160" y="9352"/>
                        <a:pt x="26416" y="16452"/>
                      </a:cubicBezTo>
                      <a:cubicBezTo>
                        <a:pt x="24672" y="23552"/>
                        <a:pt x="17448" y="27911"/>
                        <a:pt x="10224" y="26168"/>
                      </a:cubicBezTo>
                      <a:cubicBezTo>
                        <a:pt x="2999"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9" name="Freeform 8466">
                  <a:extLst>
                    <a:ext uri="{FF2B5EF4-FFF2-40B4-BE49-F238E27FC236}">
                      <a16:creationId xmlns:a16="http://schemas.microsoft.com/office/drawing/2014/main" id="{9A8C24E8-EC1D-E60F-FD1D-B928CE0BEA63}"/>
                    </a:ext>
                  </a:extLst>
                </p:cNvPr>
                <p:cNvSpPr/>
                <p:nvPr/>
              </p:nvSpPr>
              <p:spPr>
                <a:xfrm>
                  <a:off x="3469803" y="1588932"/>
                  <a:ext cx="13078" cy="50445"/>
                </a:xfrm>
                <a:custGeom>
                  <a:avLst/>
                  <a:gdLst>
                    <a:gd name="connsiteX0" fmla="*/ 13078 w 13078"/>
                    <a:gd name="connsiteY0" fmla="*/ 0 h 50445"/>
                    <a:gd name="connsiteX1" fmla="*/ 6726 w 13078"/>
                    <a:gd name="connsiteY1" fmla="*/ 17687 h 50445"/>
                    <a:gd name="connsiteX2" fmla="*/ 5979 w 13078"/>
                    <a:gd name="connsiteY2" fmla="*/ 35125 h 50445"/>
                    <a:gd name="connsiteX3" fmla="*/ 0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0"/>
                      </a:moveTo>
                      <a:cubicBezTo>
                        <a:pt x="8719" y="7224"/>
                        <a:pt x="7224" y="13328"/>
                        <a:pt x="6726" y="17687"/>
                      </a:cubicBezTo>
                      <a:cubicBezTo>
                        <a:pt x="5854" y="24662"/>
                        <a:pt x="7100" y="28150"/>
                        <a:pt x="5979" y="35125"/>
                      </a:cubicBezTo>
                      <a:cubicBezTo>
                        <a:pt x="4858" y="41976"/>
                        <a:pt x="2117"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0" name="Freeform 8467">
                  <a:extLst>
                    <a:ext uri="{FF2B5EF4-FFF2-40B4-BE49-F238E27FC236}">
                      <a16:creationId xmlns:a16="http://schemas.microsoft.com/office/drawing/2014/main" id="{AE46A9BE-F692-296D-FEDF-0A1686F1B592}"/>
                    </a:ext>
                  </a:extLst>
                </p:cNvPr>
                <p:cNvSpPr/>
                <p:nvPr/>
              </p:nvSpPr>
              <p:spPr>
                <a:xfrm>
                  <a:off x="3479171" y="1585569"/>
                  <a:ext cx="11870" cy="50944"/>
                </a:xfrm>
                <a:custGeom>
                  <a:avLst/>
                  <a:gdLst>
                    <a:gd name="connsiteX0" fmla="*/ 98 w 11870"/>
                    <a:gd name="connsiteY0" fmla="*/ 50944 h 50944"/>
                    <a:gd name="connsiteX1" fmla="*/ 2589 w 11870"/>
                    <a:gd name="connsiteY1" fmla="*/ 32260 h 50944"/>
                    <a:gd name="connsiteX2" fmla="*/ 9938 w 11870"/>
                    <a:gd name="connsiteY2" fmla="*/ 16442 h 50944"/>
                    <a:gd name="connsiteX3" fmla="*/ 11682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98" y="50944"/>
                      </a:moveTo>
                      <a:cubicBezTo>
                        <a:pt x="-400" y="42599"/>
                        <a:pt x="1094" y="36371"/>
                        <a:pt x="2589" y="32260"/>
                      </a:cubicBezTo>
                      <a:cubicBezTo>
                        <a:pt x="4956" y="25659"/>
                        <a:pt x="7821" y="23292"/>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1" name="Freeform 8468">
                  <a:extLst>
                    <a:ext uri="{FF2B5EF4-FFF2-40B4-BE49-F238E27FC236}">
                      <a16:creationId xmlns:a16="http://schemas.microsoft.com/office/drawing/2014/main" id="{F8502645-949D-09D0-BA88-D03B003B2F2E}"/>
                    </a:ext>
                  </a:extLst>
                </p:cNvPr>
                <p:cNvSpPr/>
                <p:nvPr/>
              </p:nvSpPr>
              <p:spPr>
                <a:xfrm>
                  <a:off x="3475016" y="1569739"/>
                  <a:ext cx="26317" cy="26427"/>
                </a:xfrm>
                <a:custGeom>
                  <a:avLst/>
                  <a:gdLst>
                    <a:gd name="connsiteX0" fmla="*/ 25926 w 26317"/>
                    <a:gd name="connsiteY0" fmla="*/ 16327 h 26427"/>
                    <a:gd name="connsiteX1" fmla="*/ 9983 w 26317"/>
                    <a:gd name="connsiteY1" fmla="*/ 26043 h 26427"/>
                    <a:gd name="connsiteX2" fmla="*/ 392 w 26317"/>
                    <a:gd name="connsiteY2" fmla="*/ 10100 h 26427"/>
                    <a:gd name="connsiteX3" fmla="*/ 16335 w 26317"/>
                    <a:gd name="connsiteY3" fmla="*/ 384 h 26427"/>
                    <a:gd name="connsiteX4" fmla="*/ 25926 w 26317"/>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27">
                      <a:moveTo>
                        <a:pt x="25926" y="16327"/>
                      </a:moveTo>
                      <a:cubicBezTo>
                        <a:pt x="24182" y="23427"/>
                        <a:pt x="17082" y="27787"/>
                        <a:pt x="9983" y="26043"/>
                      </a:cubicBezTo>
                      <a:cubicBezTo>
                        <a:pt x="2883" y="24299"/>
                        <a:pt x="-1352" y="17199"/>
                        <a:pt x="392" y="10100"/>
                      </a:cubicBezTo>
                      <a:cubicBezTo>
                        <a:pt x="2136" y="3000"/>
                        <a:pt x="9236" y="-1360"/>
                        <a:pt x="16335" y="384"/>
                      </a:cubicBezTo>
                      <a:cubicBezTo>
                        <a:pt x="23435" y="2128"/>
                        <a:pt x="27670" y="9228"/>
                        <a:pt x="25926"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7" name="Graphic 2987">
                <a:extLst>
                  <a:ext uri="{FF2B5EF4-FFF2-40B4-BE49-F238E27FC236}">
                    <a16:creationId xmlns:a16="http://schemas.microsoft.com/office/drawing/2014/main" id="{CA9D3BC3-90A5-F6B1-2525-69D1307B942E}"/>
                  </a:ext>
                </a:extLst>
              </p:cNvPr>
              <p:cNvGrpSpPr/>
              <p:nvPr/>
            </p:nvGrpSpPr>
            <p:grpSpPr>
              <a:xfrm>
                <a:off x="3416606" y="1562764"/>
                <a:ext cx="56079" cy="145255"/>
                <a:chOff x="3416606" y="1562764"/>
                <a:chExt cx="56079" cy="145255"/>
              </a:xfrm>
              <a:grpFill/>
            </p:grpSpPr>
            <p:sp>
              <p:nvSpPr>
                <p:cNvPr id="5790" name="Freeform 8470">
                  <a:extLst>
                    <a:ext uri="{FF2B5EF4-FFF2-40B4-BE49-F238E27FC236}">
                      <a16:creationId xmlns:a16="http://schemas.microsoft.com/office/drawing/2014/main" id="{62A1F6E2-D904-BC11-89A3-BCFAE5366A13}"/>
                    </a:ext>
                  </a:extLst>
                </p:cNvPr>
                <p:cNvSpPr/>
                <p:nvPr/>
              </p:nvSpPr>
              <p:spPr>
                <a:xfrm>
                  <a:off x="3435176" y="1638257"/>
                  <a:ext cx="13327" cy="50445"/>
                </a:xfrm>
                <a:custGeom>
                  <a:avLst/>
                  <a:gdLst>
                    <a:gd name="connsiteX0" fmla="*/ 0 w 13327"/>
                    <a:gd name="connsiteY0" fmla="*/ 50446 h 50445"/>
                    <a:gd name="connsiteX1" fmla="*/ 6477 w 13327"/>
                    <a:gd name="connsiteY1" fmla="*/ 32759 h 50445"/>
                    <a:gd name="connsiteX2" fmla="*/ 7224 w 13327"/>
                    <a:gd name="connsiteY2" fmla="*/ 15321 h 50445"/>
                    <a:gd name="connsiteX3" fmla="*/ 13327 w 13327"/>
                    <a:gd name="connsiteY3" fmla="*/ 0 h 50445"/>
                  </a:gdLst>
                  <a:ahLst/>
                  <a:cxnLst>
                    <a:cxn ang="0">
                      <a:pos x="connsiteX0" y="connsiteY0"/>
                    </a:cxn>
                    <a:cxn ang="0">
                      <a:pos x="connsiteX1" y="connsiteY1"/>
                    </a:cxn>
                    <a:cxn ang="0">
                      <a:pos x="connsiteX2" y="connsiteY2"/>
                    </a:cxn>
                    <a:cxn ang="0">
                      <a:pos x="connsiteX3" y="connsiteY3"/>
                    </a:cxn>
                  </a:cxnLst>
                  <a:rect l="l" t="t" r="r" b="b"/>
                  <a:pathLst>
                    <a:path w="13327" h="50445">
                      <a:moveTo>
                        <a:pt x="0" y="50446"/>
                      </a:moveTo>
                      <a:cubicBezTo>
                        <a:pt x="4360" y="43222"/>
                        <a:pt x="5854" y="37118"/>
                        <a:pt x="6477" y="32759"/>
                      </a:cubicBezTo>
                      <a:cubicBezTo>
                        <a:pt x="7349" y="25783"/>
                        <a:pt x="6103" y="22420"/>
                        <a:pt x="7224" y="15321"/>
                      </a:cubicBezTo>
                      <a:cubicBezTo>
                        <a:pt x="8345" y="8470"/>
                        <a:pt x="11210" y="3239"/>
                        <a:pt x="133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1" name="Freeform 8471">
                  <a:extLst>
                    <a:ext uri="{FF2B5EF4-FFF2-40B4-BE49-F238E27FC236}">
                      <a16:creationId xmlns:a16="http://schemas.microsoft.com/office/drawing/2014/main" id="{819BE5DB-EA97-F974-A9E0-84E8780F8C3E}"/>
                    </a:ext>
                  </a:extLst>
                </p:cNvPr>
                <p:cNvSpPr/>
                <p:nvPr/>
              </p:nvSpPr>
              <p:spPr>
                <a:xfrm>
                  <a:off x="3426968" y="1641121"/>
                  <a:ext cx="12160" cy="50819"/>
                </a:xfrm>
                <a:custGeom>
                  <a:avLst/>
                  <a:gdLst>
                    <a:gd name="connsiteX0" fmla="*/ 12069 w 12160"/>
                    <a:gd name="connsiteY0" fmla="*/ 0 h 50819"/>
                    <a:gd name="connsiteX1" fmla="*/ 9453 w 12160"/>
                    <a:gd name="connsiteY1" fmla="*/ 18559 h 50819"/>
                    <a:gd name="connsiteX2" fmla="*/ 1979 w 12160"/>
                    <a:gd name="connsiteY2" fmla="*/ 34378 h 50819"/>
                    <a:gd name="connsiteX3" fmla="*/ 111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0"/>
                      </a:moveTo>
                      <a:cubicBezTo>
                        <a:pt x="12567" y="8345"/>
                        <a:pt x="10948" y="14573"/>
                        <a:pt x="9453" y="18559"/>
                      </a:cubicBezTo>
                      <a:cubicBezTo>
                        <a:pt x="6962" y="25161"/>
                        <a:pt x="4221" y="27527"/>
                        <a:pt x="1979" y="34378"/>
                      </a:cubicBezTo>
                      <a:cubicBezTo>
                        <a:pt x="-138" y="40979"/>
                        <a:pt x="-138" y="46834"/>
                        <a:pt x="111"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2" name="Freeform 8472">
                  <a:extLst>
                    <a:ext uri="{FF2B5EF4-FFF2-40B4-BE49-F238E27FC236}">
                      <a16:creationId xmlns:a16="http://schemas.microsoft.com/office/drawing/2014/main" id="{43B02D88-05AE-2D19-FDAD-81271DCADDF8}"/>
                    </a:ext>
                  </a:extLst>
                </p:cNvPr>
                <p:cNvSpPr/>
                <p:nvPr/>
              </p:nvSpPr>
              <p:spPr>
                <a:xfrm>
                  <a:off x="3416606" y="1681468"/>
                  <a:ext cx="26800" cy="26551"/>
                </a:xfrm>
                <a:custGeom>
                  <a:avLst/>
                  <a:gdLst>
                    <a:gd name="connsiteX0" fmla="*/ 384 w 26800"/>
                    <a:gd name="connsiteY0" fmla="*/ 10100 h 26551"/>
                    <a:gd name="connsiteX1" fmla="*/ 16576 w 26800"/>
                    <a:gd name="connsiteY1" fmla="*/ 384 h 26551"/>
                    <a:gd name="connsiteX2" fmla="*/ 26417 w 26800"/>
                    <a:gd name="connsiteY2" fmla="*/ 16452 h 26551"/>
                    <a:gd name="connsiteX3" fmla="*/ 10224 w 26800"/>
                    <a:gd name="connsiteY3" fmla="*/ 26168 h 26551"/>
                    <a:gd name="connsiteX4" fmla="*/ 384 w 2680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551">
                      <a:moveTo>
                        <a:pt x="384" y="10100"/>
                      </a:moveTo>
                      <a:cubicBezTo>
                        <a:pt x="2128" y="3000"/>
                        <a:pt x="9352" y="-1360"/>
                        <a:pt x="16576" y="384"/>
                      </a:cubicBezTo>
                      <a:cubicBezTo>
                        <a:pt x="23801" y="2128"/>
                        <a:pt x="28160" y="9352"/>
                        <a:pt x="26417" y="16452"/>
                      </a:cubicBezTo>
                      <a:cubicBezTo>
                        <a:pt x="24673" y="23552"/>
                        <a:pt x="17448" y="27911"/>
                        <a:pt x="10224" y="26168"/>
                      </a:cubicBezTo>
                      <a:cubicBezTo>
                        <a:pt x="3000"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3" name="Freeform 8473">
                  <a:extLst>
                    <a:ext uri="{FF2B5EF4-FFF2-40B4-BE49-F238E27FC236}">
                      <a16:creationId xmlns:a16="http://schemas.microsoft.com/office/drawing/2014/main" id="{934ECD2D-F9FA-488C-08F7-B5D6B654F51D}"/>
                    </a:ext>
                  </a:extLst>
                </p:cNvPr>
                <p:cNvSpPr/>
                <p:nvPr/>
              </p:nvSpPr>
              <p:spPr>
                <a:xfrm>
                  <a:off x="3440905" y="1581956"/>
                  <a:ext cx="13452" cy="50445"/>
                </a:xfrm>
                <a:custGeom>
                  <a:avLst/>
                  <a:gdLst>
                    <a:gd name="connsiteX0" fmla="*/ 13452 w 13452"/>
                    <a:gd name="connsiteY0" fmla="*/ 0 h 50445"/>
                    <a:gd name="connsiteX1" fmla="*/ 6975 w 13452"/>
                    <a:gd name="connsiteY1" fmla="*/ 17687 h 50445"/>
                    <a:gd name="connsiteX2" fmla="*/ 6103 w 13452"/>
                    <a:gd name="connsiteY2" fmla="*/ 35125 h 50445"/>
                    <a:gd name="connsiteX3" fmla="*/ 0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0"/>
                      </a:moveTo>
                      <a:cubicBezTo>
                        <a:pt x="9093" y="7224"/>
                        <a:pt x="7598" y="13328"/>
                        <a:pt x="6975" y="17687"/>
                      </a:cubicBezTo>
                      <a:cubicBezTo>
                        <a:pt x="6103" y="24662"/>
                        <a:pt x="7349" y="28025"/>
                        <a:pt x="6103" y="35125"/>
                      </a:cubicBezTo>
                      <a:cubicBezTo>
                        <a:pt x="4858" y="41976"/>
                        <a:pt x="2118"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4" name="Freeform 8474">
                  <a:extLst>
                    <a:ext uri="{FF2B5EF4-FFF2-40B4-BE49-F238E27FC236}">
                      <a16:creationId xmlns:a16="http://schemas.microsoft.com/office/drawing/2014/main" id="{C695E2E9-8C07-47AD-5342-A8CA6B614C96}"/>
                    </a:ext>
                  </a:extLst>
                </p:cNvPr>
                <p:cNvSpPr/>
                <p:nvPr/>
              </p:nvSpPr>
              <p:spPr>
                <a:xfrm>
                  <a:off x="3450280" y="1578718"/>
                  <a:ext cx="12160" cy="50819"/>
                </a:xfrm>
                <a:custGeom>
                  <a:avLst/>
                  <a:gdLst>
                    <a:gd name="connsiteX0" fmla="*/ 92 w 12160"/>
                    <a:gd name="connsiteY0" fmla="*/ 50820 h 50819"/>
                    <a:gd name="connsiteX1" fmla="*/ 2708 w 12160"/>
                    <a:gd name="connsiteY1" fmla="*/ 32260 h 50819"/>
                    <a:gd name="connsiteX2" fmla="*/ 10181 w 12160"/>
                    <a:gd name="connsiteY2" fmla="*/ 16442 h 50819"/>
                    <a:gd name="connsiteX3" fmla="*/ 12049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50820"/>
                      </a:moveTo>
                      <a:cubicBezTo>
                        <a:pt x="-406" y="42474"/>
                        <a:pt x="1213" y="36246"/>
                        <a:pt x="2708" y="32260"/>
                      </a:cubicBezTo>
                      <a:cubicBezTo>
                        <a:pt x="5199" y="25659"/>
                        <a:pt x="7939" y="23292"/>
                        <a:pt x="10181" y="16442"/>
                      </a:cubicBezTo>
                      <a:cubicBezTo>
                        <a:pt x="12298" y="9840"/>
                        <a:pt x="12298"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5" name="Freeform 8475">
                  <a:extLst>
                    <a:ext uri="{FF2B5EF4-FFF2-40B4-BE49-F238E27FC236}">
                      <a16:creationId xmlns:a16="http://schemas.microsoft.com/office/drawing/2014/main" id="{B6868FCC-D7DF-4731-103B-445A0DDAF207}"/>
                    </a:ext>
                  </a:extLst>
                </p:cNvPr>
                <p:cNvSpPr/>
                <p:nvPr/>
              </p:nvSpPr>
              <p:spPr>
                <a:xfrm>
                  <a:off x="3446375" y="1562764"/>
                  <a:ext cx="26310" cy="26427"/>
                </a:xfrm>
                <a:custGeom>
                  <a:avLst/>
                  <a:gdLst>
                    <a:gd name="connsiteX0" fmla="*/ 25919 w 26310"/>
                    <a:gd name="connsiteY0" fmla="*/ 16327 h 26427"/>
                    <a:gd name="connsiteX1" fmla="*/ 9975 w 26310"/>
                    <a:gd name="connsiteY1" fmla="*/ 26043 h 26427"/>
                    <a:gd name="connsiteX2" fmla="*/ 385 w 26310"/>
                    <a:gd name="connsiteY2" fmla="*/ 10100 h 26427"/>
                    <a:gd name="connsiteX3" fmla="*/ 16328 w 26310"/>
                    <a:gd name="connsiteY3" fmla="*/ 384 h 26427"/>
                    <a:gd name="connsiteX4" fmla="*/ 25919 w 26310"/>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27">
                      <a:moveTo>
                        <a:pt x="25919" y="16327"/>
                      </a:moveTo>
                      <a:cubicBezTo>
                        <a:pt x="24175" y="23427"/>
                        <a:pt x="16951" y="27787"/>
                        <a:pt x="9975" y="26043"/>
                      </a:cubicBezTo>
                      <a:cubicBezTo>
                        <a:pt x="3000" y="24299"/>
                        <a:pt x="-1359" y="17199"/>
                        <a:pt x="385" y="10100"/>
                      </a:cubicBezTo>
                      <a:cubicBezTo>
                        <a:pt x="2128" y="3000"/>
                        <a:pt x="9353" y="-1360"/>
                        <a:pt x="16328" y="384"/>
                      </a:cubicBezTo>
                      <a:cubicBezTo>
                        <a:pt x="23428" y="2003"/>
                        <a:pt x="27663" y="9228"/>
                        <a:pt x="25919"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8" name="Graphic 2987">
                <a:extLst>
                  <a:ext uri="{FF2B5EF4-FFF2-40B4-BE49-F238E27FC236}">
                    <a16:creationId xmlns:a16="http://schemas.microsoft.com/office/drawing/2014/main" id="{5AED342E-0BE8-91E6-2222-E273438592C0}"/>
                  </a:ext>
                </a:extLst>
              </p:cNvPr>
              <p:cNvGrpSpPr/>
              <p:nvPr/>
            </p:nvGrpSpPr>
            <p:grpSpPr>
              <a:xfrm>
                <a:off x="3387536" y="1555789"/>
                <a:ext cx="56626" cy="145130"/>
                <a:chOff x="3387536" y="1555789"/>
                <a:chExt cx="56626" cy="145130"/>
              </a:xfrm>
              <a:grpFill/>
            </p:grpSpPr>
            <p:sp>
              <p:nvSpPr>
                <p:cNvPr id="5784" name="Freeform 8477">
                  <a:extLst>
                    <a:ext uri="{FF2B5EF4-FFF2-40B4-BE49-F238E27FC236}">
                      <a16:creationId xmlns:a16="http://schemas.microsoft.com/office/drawing/2014/main" id="{B437FD63-CC3E-14E1-90BB-5CA457903D6C}"/>
                    </a:ext>
                  </a:extLst>
                </p:cNvPr>
                <p:cNvSpPr/>
                <p:nvPr/>
              </p:nvSpPr>
              <p:spPr>
                <a:xfrm>
                  <a:off x="3406278" y="1631157"/>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979" y="37118"/>
                        <a:pt x="6477" y="32759"/>
                      </a:cubicBezTo>
                      <a:cubicBezTo>
                        <a:pt x="7474" y="25783"/>
                        <a:pt x="6103" y="22420"/>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5" name="Freeform 8478">
                  <a:extLst>
                    <a:ext uri="{FF2B5EF4-FFF2-40B4-BE49-F238E27FC236}">
                      <a16:creationId xmlns:a16="http://schemas.microsoft.com/office/drawing/2014/main" id="{743F9E37-02D0-8CA9-7D58-2C16C7BA00CB}"/>
                    </a:ext>
                  </a:extLst>
                </p:cNvPr>
                <p:cNvSpPr/>
                <p:nvPr/>
              </p:nvSpPr>
              <p:spPr>
                <a:xfrm>
                  <a:off x="3398142" y="1634146"/>
                  <a:ext cx="12213" cy="50570"/>
                </a:xfrm>
                <a:custGeom>
                  <a:avLst/>
                  <a:gdLst>
                    <a:gd name="connsiteX0" fmla="*/ 12122 w 12213"/>
                    <a:gd name="connsiteY0" fmla="*/ 0 h 50570"/>
                    <a:gd name="connsiteX1" fmla="*/ 9506 w 12213"/>
                    <a:gd name="connsiteY1" fmla="*/ 18559 h 50570"/>
                    <a:gd name="connsiteX2" fmla="*/ 2033 w 12213"/>
                    <a:gd name="connsiteY2" fmla="*/ 34253 h 50570"/>
                    <a:gd name="connsiteX3" fmla="*/ 164 w 1221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213" h="50570">
                      <a:moveTo>
                        <a:pt x="12122" y="0"/>
                      </a:moveTo>
                      <a:cubicBezTo>
                        <a:pt x="12620" y="8345"/>
                        <a:pt x="11001" y="14573"/>
                        <a:pt x="9506" y="18559"/>
                      </a:cubicBezTo>
                      <a:cubicBezTo>
                        <a:pt x="7015" y="25161"/>
                        <a:pt x="4150" y="27527"/>
                        <a:pt x="2033" y="34253"/>
                      </a:cubicBezTo>
                      <a:cubicBezTo>
                        <a:pt x="-85" y="40855"/>
                        <a:pt x="-209" y="46709"/>
                        <a:pt x="16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6" name="Freeform 8479">
                  <a:extLst>
                    <a:ext uri="{FF2B5EF4-FFF2-40B4-BE49-F238E27FC236}">
                      <a16:creationId xmlns:a16="http://schemas.microsoft.com/office/drawing/2014/main" id="{F3927D17-4E9C-B613-5F69-CB9554BA384B}"/>
                    </a:ext>
                  </a:extLst>
                </p:cNvPr>
                <p:cNvSpPr/>
                <p:nvPr/>
              </p:nvSpPr>
              <p:spPr>
                <a:xfrm>
                  <a:off x="3387536" y="1674368"/>
                  <a:ext cx="26724" cy="26551"/>
                </a:xfrm>
                <a:custGeom>
                  <a:avLst/>
                  <a:gdLst>
                    <a:gd name="connsiteX0" fmla="*/ 432 w 26724"/>
                    <a:gd name="connsiteY0" fmla="*/ 10100 h 26551"/>
                    <a:gd name="connsiteX1" fmla="*/ 16625 w 26724"/>
                    <a:gd name="connsiteY1" fmla="*/ 384 h 26551"/>
                    <a:gd name="connsiteX2" fmla="*/ 26340 w 26724"/>
                    <a:gd name="connsiteY2" fmla="*/ 16452 h 26551"/>
                    <a:gd name="connsiteX3" fmla="*/ 10148 w 26724"/>
                    <a:gd name="connsiteY3" fmla="*/ 26168 h 26551"/>
                    <a:gd name="connsiteX4" fmla="*/ 432 w 26724"/>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51">
                      <a:moveTo>
                        <a:pt x="432" y="10100"/>
                      </a:moveTo>
                      <a:cubicBezTo>
                        <a:pt x="2301" y="3000"/>
                        <a:pt x="9525" y="-1360"/>
                        <a:pt x="16625" y="384"/>
                      </a:cubicBezTo>
                      <a:cubicBezTo>
                        <a:pt x="23725" y="2128"/>
                        <a:pt x="28084" y="9352"/>
                        <a:pt x="26340" y="16452"/>
                      </a:cubicBezTo>
                      <a:cubicBezTo>
                        <a:pt x="24597" y="23552"/>
                        <a:pt x="17248" y="27911"/>
                        <a:pt x="10148" y="26168"/>
                      </a:cubicBezTo>
                      <a:cubicBezTo>
                        <a:pt x="2924" y="24299"/>
                        <a:pt x="-1436" y="17199"/>
                        <a:pt x="43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7" name="Freeform 8480">
                  <a:extLst>
                    <a:ext uri="{FF2B5EF4-FFF2-40B4-BE49-F238E27FC236}">
                      <a16:creationId xmlns:a16="http://schemas.microsoft.com/office/drawing/2014/main" id="{FE7D7C35-057C-6168-2EEE-1A905FFCEA31}"/>
                    </a:ext>
                  </a:extLst>
                </p:cNvPr>
                <p:cNvSpPr/>
                <p:nvPr/>
              </p:nvSpPr>
              <p:spPr>
                <a:xfrm>
                  <a:off x="3412257" y="1574981"/>
                  <a:ext cx="13452" cy="50321"/>
                </a:xfrm>
                <a:custGeom>
                  <a:avLst/>
                  <a:gdLst>
                    <a:gd name="connsiteX0" fmla="*/ 13452 w 13452"/>
                    <a:gd name="connsiteY0" fmla="*/ 0 h 50321"/>
                    <a:gd name="connsiteX1" fmla="*/ 6975 w 13452"/>
                    <a:gd name="connsiteY1" fmla="*/ 17687 h 50321"/>
                    <a:gd name="connsiteX2" fmla="*/ 6103 w 13452"/>
                    <a:gd name="connsiteY2" fmla="*/ 35001 h 50321"/>
                    <a:gd name="connsiteX3" fmla="*/ 0 w 1345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8"/>
                        <a:pt x="6975" y="17687"/>
                      </a:cubicBezTo>
                      <a:cubicBezTo>
                        <a:pt x="5979" y="24662"/>
                        <a:pt x="7349" y="28025"/>
                        <a:pt x="6103" y="35001"/>
                      </a:cubicBezTo>
                      <a:cubicBezTo>
                        <a:pt x="4858"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8" name="Freeform 8481">
                  <a:extLst>
                    <a:ext uri="{FF2B5EF4-FFF2-40B4-BE49-F238E27FC236}">
                      <a16:creationId xmlns:a16="http://schemas.microsoft.com/office/drawing/2014/main" id="{A2865DCA-9C8F-3450-290A-CAB09935630B}"/>
                    </a:ext>
                  </a:extLst>
                </p:cNvPr>
                <p:cNvSpPr/>
                <p:nvPr/>
              </p:nvSpPr>
              <p:spPr>
                <a:xfrm>
                  <a:off x="3421507" y="1571867"/>
                  <a:ext cx="12213" cy="50570"/>
                </a:xfrm>
                <a:custGeom>
                  <a:avLst/>
                  <a:gdLst>
                    <a:gd name="connsiteX0" fmla="*/ 92 w 12213"/>
                    <a:gd name="connsiteY0" fmla="*/ 50570 h 50570"/>
                    <a:gd name="connsiteX1" fmla="*/ 2708 w 12213"/>
                    <a:gd name="connsiteY1" fmla="*/ 32011 h 50570"/>
                    <a:gd name="connsiteX2" fmla="*/ 10181 w 12213"/>
                    <a:gd name="connsiteY2" fmla="*/ 16317 h 50570"/>
                    <a:gd name="connsiteX3" fmla="*/ 12049 w 12213"/>
                    <a:gd name="connsiteY3" fmla="*/ 0 h 50570"/>
                  </a:gdLst>
                  <a:ahLst/>
                  <a:cxnLst>
                    <a:cxn ang="0">
                      <a:pos x="connsiteX0" y="connsiteY0"/>
                    </a:cxn>
                    <a:cxn ang="0">
                      <a:pos x="connsiteX1" y="connsiteY1"/>
                    </a:cxn>
                    <a:cxn ang="0">
                      <a:pos x="connsiteX2" y="connsiteY2"/>
                    </a:cxn>
                    <a:cxn ang="0">
                      <a:pos x="connsiteX3" y="connsiteY3"/>
                    </a:cxn>
                  </a:cxnLst>
                  <a:rect l="l" t="t" r="r" b="b"/>
                  <a:pathLst>
                    <a:path w="12213" h="50570">
                      <a:moveTo>
                        <a:pt x="92" y="50570"/>
                      </a:moveTo>
                      <a:cubicBezTo>
                        <a:pt x="-406" y="42225"/>
                        <a:pt x="1213" y="35997"/>
                        <a:pt x="2708" y="32011"/>
                      </a:cubicBezTo>
                      <a:cubicBezTo>
                        <a:pt x="5199" y="25410"/>
                        <a:pt x="7939" y="23043"/>
                        <a:pt x="10181" y="16317"/>
                      </a:cubicBezTo>
                      <a:cubicBezTo>
                        <a:pt x="12298" y="9716"/>
                        <a:pt x="12423" y="3861"/>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9" name="Freeform 8482">
                  <a:extLst>
                    <a:ext uri="{FF2B5EF4-FFF2-40B4-BE49-F238E27FC236}">
                      <a16:creationId xmlns:a16="http://schemas.microsoft.com/office/drawing/2014/main" id="{C4E5C20F-0485-14B9-6180-F2DFA2264796}"/>
                    </a:ext>
                  </a:extLst>
                </p:cNvPr>
                <p:cNvSpPr/>
                <p:nvPr/>
              </p:nvSpPr>
              <p:spPr>
                <a:xfrm>
                  <a:off x="3417720" y="1555789"/>
                  <a:ext cx="26442" cy="26427"/>
                </a:xfrm>
                <a:custGeom>
                  <a:avLst/>
                  <a:gdLst>
                    <a:gd name="connsiteX0" fmla="*/ 26051 w 26442"/>
                    <a:gd name="connsiteY0" fmla="*/ 16327 h 26427"/>
                    <a:gd name="connsiteX1" fmla="*/ 9983 w 26442"/>
                    <a:gd name="connsiteY1" fmla="*/ 26043 h 26427"/>
                    <a:gd name="connsiteX2" fmla="*/ 392 w 26442"/>
                    <a:gd name="connsiteY2" fmla="*/ 10100 h 26427"/>
                    <a:gd name="connsiteX3" fmla="*/ 16459 w 26442"/>
                    <a:gd name="connsiteY3" fmla="*/ 384 h 26427"/>
                    <a:gd name="connsiteX4" fmla="*/ 26051 w 26442"/>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427">
                      <a:moveTo>
                        <a:pt x="26051" y="16327"/>
                      </a:moveTo>
                      <a:cubicBezTo>
                        <a:pt x="24307" y="23427"/>
                        <a:pt x="17082" y="27787"/>
                        <a:pt x="9983" y="26043"/>
                      </a:cubicBezTo>
                      <a:cubicBezTo>
                        <a:pt x="2883" y="24299"/>
                        <a:pt x="-1352" y="17199"/>
                        <a:pt x="392" y="10100"/>
                      </a:cubicBezTo>
                      <a:cubicBezTo>
                        <a:pt x="2135" y="3000"/>
                        <a:pt x="9360" y="-1360"/>
                        <a:pt x="16459" y="384"/>
                      </a:cubicBezTo>
                      <a:cubicBezTo>
                        <a:pt x="23559" y="2003"/>
                        <a:pt x="27794" y="9228"/>
                        <a:pt x="26051"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9" name="Graphic 2987">
                <a:extLst>
                  <a:ext uri="{FF2B5EF4-FFF2-40B4-BE49-F238E27FC236}">
                    <a16:creationId xmlns:a16="http://schemas.microsoft.com/office/drawing/2014/main" id="{4D39D7D2-DF55-31AB-9DCD-B27828FDD2CC}"/>
                  </a:ext>
                </a:extLst>
              </p:cNvPr>
              <p:cNvGrpSpPr/>
              <p:nvPr/>
            </p:nvGrpSpPr>
            <p:grpSpPr>
              <a:xfrm>
                <a:off x="3358514" y="1548814"/>
                <a:ext cx="57041" cy="145005"/>
                <a:chOff x="3358514" y="1548814"/>
                <a:chExt cx="57041" cy="145005"/>
              </a:xfrm>
              <a:grpFill/>
            </p:grpSpPr>
            <p:sp>
              <p:nvSpPr>
                <p:cNvPr id="5778" name="Freeform 8484">
                  <a:extLst>
                    <a:ext uri="{FF2B5EF4-FFF2-40B4-BE49-F238E27FC236}">
                      <a16:creationId xmlns:a16="http://schemas.microsoft.com/office/drawing/2014/main" id="{97EC6E39-716C-D6B2-A4C7-E2B714066FC1}"/>
                    </a:ext>
                  </a:extLst>
                </p:cNvPr>
                <p:cNvSpPr/>
                <p:nvPr/>
              </p:nvSpPr>
              <p:spPr>
                <a:xfrm>
                  <a:off x="3377257" y="1624182"/>
                  <a:ext cx="13576" cy="50321"/>
                </a:xfrm>
                <a:custGeom>
                  <a:avLst/>
                  <a:gdLst>
                    <a:gd name="connsiteX0" fmla="*/ 0 w 13576"/>
                    <a:gd name="connsiteY0" fmla="*/ 50321 h 50321"/>
                    <a:gd name="connsiteX1" fmla="*/ 6602 w 13576"/>
                    <a:gd name="connsiteY1" fmla="*/ 32634 h 50321"/>
                    <a:gd name="connsiteX2" fmla="*/ 7473 w 13576"/>
                    <a:gd name="connsiteY2" fmla="*/ 15321 h 50321"/>
                    <a:gd name="connsiteX3" fmla="*/ 13577 w 13576"/>
                    <a:gd name="connsiteY3" fmla="*/ 0 h 50321"/>
                  </a:gdLst>
                  <a:ahLst/>
                  <a:cxnLst>
                    <a:cxn ang="0">
                      <a:pos x="connsiteX0" y="connsiteY0"/>
                    </a:cxn>
                    <a:cxn ang="0">
                      <a:pos x="connsiteX1" y="connsiteY1"/>
                    </a:cxn>
                    <a:cxn ang="0">
                      <a:pos x="connsiteX2" y="connsiteY2"/>
                    </a:cxn>
                    <a:cxn ang="0">
                      <a:pos x="connsiteX3" y="connsiteY3"/>
                    </a:cxn>
                  </a:cxnLst>
                  <a:rect l="l" t="t" r="r" b="b"/>
                  <a:pathLst>
                    <a:path w="13576" h="50321">
                      <a:moveTo>
                        <a:pt x="0" y="50321"/>
                      </a:moveTo>
                      <a:cubicBezTo>
                        <a:pt x="4359" y="43097"/>
                        <a:pt x="5979" y="36994"/>
                        <a:pt x="6602" y="32634"/>
                      </a:cubicBezTo>
                      <a:cubicBezTo>
                        <a:pt x="7598" y="25659"/>
                        <a:pt x="6228" y="22296"/>
                        <a:pt x="7473" y="15321"/>
                      </a:cubicBezTo>
                      <a:cubicBezTo>
                        <a:pt x="8719" y="8470"/>
                        <a:pt x="11459" y="3363"/>
                        <a:pt x="13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9" name="Freeform 8485">
                  <a:extLst>
                    <a:ext uri="{FF2B5EF4-FFF2-40B4-BE49-F238E27FC236}">
                      <a16:creationId xmlns:a16="http://schemas.microsoft.com/office/drawing/2014/main" id="{4EF3B82A-D165-E76A-06F0-4EBED9B9D0D9}"/>
                    </a:ext>
                  </a:extLst>
                </p:cNvPr>
                <p:cNvSpPr/>
                <p:nvPr/>
              </p:nvSpPr>
              <p:spPr>
                <a:xfrm>
                  <a:off x="3368927" y="1627046"/>
                  <a:ext cx="12498" cy="50570"/>
                </a:xfrm>
                <a:custGeom>
                  <a:avLst/>
                  <a:gdLst>
                    <a:gd name="connsiteX0" fmla="*/ 12440 w 12498"/>
                    <a:gd name="connsiteY0" fmla="*/ 0 h 50570"/>
                    <a:gd name="connsiteX1" fmla="*/ 9700 w 12498"/>
                    <a:gd name="connsiteY1" fmla="*/ 18559 h 50570"/>
                    <a:gd name="connsiteX2" fmla="*/ 2102 w 12498"/>
                    <a:gd name="connsiteY2" fmla="*/ 34253 h 50570"/>
                    <a:gd name="connsiteX3" fmla="*/ 109 w 1249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8" h="50570">
                      <a:moveTo>
                        <a:pt x="12440" y="0"/>
                      </a:moveTo>
                      <a:cubicBezTo>
                        <a:pt x="12814" y="8345"/>
                        <a:pt x="11319" y="14573"/>
                        <a:pt x="9700" y="18559"/>
                      </a:cubicBezTo>
                      <a:cubicBezTo>
                        <a:pt x="7209" y="25161"/>
                        <a:pt x="4344" y="27527"/>
                        <a:pt x="2102" y="34253"/>
                      </a:cubicBezTo>
                      <a:cubicBezTo>
                        <a:pt x="-140" y="40855"/>
                        <a:pt x="-140" y="46709"/>
                        <a:pt x="10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0" name="Freeform 8486">
                  <a:extLst>
                    <a:ext uri="{FF2B5EF4-FFF2-40B4-BE49-F238E27FC236}">
                      <a16:creationId xmlns:a16="http://schemas.microsoft.com/office/drawing/2014/main" id="{AA3AC1D7-306A-651A-EB62-E826ED4B6E78}"/>
                    </a:ext>
                  </a:extLst>
                </p:cNvPr>
                <p:cNvSpPr/>
                <p:nvPr/>
              </p:nvSpPr>
              <p:spPr>
                <a:xfrm>
                  <a:off x="3358514" y="1667268"/>
                  <a:ext cx="26849" cy="26551"/>
                </a:xfrm>
                <a:custGeom>
                  <a:avLst/>
                  <a:gdLst>
                    <a:gd name="connsiteX0" fmla="*/ 433 w 26849"/>
                    <a:gd name="connsiteY0" fmla="*/ 10100 h 26551"/>
                    <a:gd name="connsiteX1" fmla="*/ 16750 w 26849"/>
                    <a:gd name="connsiteY1" fmla="*/ 384 h 26551"/>
                    <a:gd name="connsiteX2" fmla="*/ 26465 w 26849"/>
                    <a:gd name="connsiteY2" fmla="*/ 16452 h 26551"/>
                    <a:gd name="connsiteX3" fmla="*/ 10148 w 26849"/>
                    <a:gd name="connsiteY3" fmla="*/ 26168 h 26551"/>
                    <a:gd name="connsiteX4" fmla="*/ 433 w 268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9" h="26551">
                      <a:moveTo>
                        <a:pt x="433" y="10100"/>
                      </a:moveTo>
                      <a:cubicBezTo>
                        <a:pt x="2301" y="3000"/>
                        <a:pt x="9525" y="-1360"/>
                        <a:pt x="16750" y="384"/>
                      </a:cubicBezTo>
                      <a:cubicBezTo>
                        <a:pt x="23849" y="2128"/>
                        <a:pt x="28209" y="9352"/>
                        <a:pt x="26465" y="16452"/>
                      </a:cubicBezTo>
                      <a:cubicBezTo>
                        <a:pt x="24721" y="23552"/>
                        <a:pt x="17372" y="27911"/>
                        <a:pt x="10148" y="26168"/>
                      </a:cubicBezTo>
                      <a:cubicBezTo>
                        <a:pt x="2924" y="24424"/>
                        <a:pt x="-1436" y="17199"/>
                        <a:pt x="43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1" name="Freeform 8487">
                  <a:extLst>
                    <a:ext uri="{FF2B5EF4-FFF2-40B4-BE49-F238E27FC236}">
                      <a16:creationId xmlns:a16="http://schemas.microsoft.com/office/drawing/2014/main" id="{B62064FF-5526-21EB-EA02-F821688EE546}"/>
                    </a:ext>
                  </a:extLst>
                </p:cNvPr>
                <p:cNvSpPr/>
                <p:nvPr/>
              </p:nvSpPr>
              <p:spPr>
                <a:xfrm>
                  <a:off x="3383235" y="1568006"/>
                  <a:ext cx="13826" cy="50321"/>
                </a:xfrm>
                <a:custGeom>
                  <a:avLst/>
                  <a:gdLst>
                    <a:gd name="connsiteX0" fmla="*/ 13826 w 13826"/>
                    <a:gd name="connsiteY0" fmla="*/ 0 h 50321"/>
                    <a:gd name="connsiteX1" fmla="*/ 7225 w 13826"/>
                    <a:gd name="connsiteY1" fmla="*/ 17687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224"/>
                        <a:pt x="7847" y="13328"/>
                        <a:pt x="7225" y="17687"/>
                      </a:cubicBezTo>
                      <a:cubicBezTo>
                        <a:pt x="6228" y="24662"/>
                        <a:pt x="7598" y="28025"/>
                        <a:pt x="6228" y="35001"/>
                      </a:cubicBezTo>
                      <a:cubicBezTo>
                        <a:pt x="4982" y="41851"/>
                        <a:pt x="2242"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2" name="Freeform 8488">
                  <a:extLst>
                    <a:ext uri="{FF2B5EF4-FFF2-40B4-BE49-F238E27FC236}">
                      <a16:creationId xmlns:a16="http://schemas.microsoft.com/office/drawing/2014/main" id="{6D7A9A4D-C26A-4DB1-E4D7-0AA95BD9D0E3}"/>
                    </a:ext>
                  </a:extLst>
                </p:cNvPr>
                <p:cNvSpPr/>
                <p:nvPr/>
              </p:nvSpPr>
              <p:spPr>
                <a:xfrm>
                  <a:off x="3392768" y="1564892"/>
                  <a:ext cx="12498" cy="50570"/>
                </a:xfrm>
                <a:custGeom>
                  <a:avLst/>
                  <a:gdLst>
                    <a:gd name="connsiteX0" fmla="*/ 58 w 12498"/>
                    <a:gd name="connsiteY0" fmla="*/ 50570 h 50570"/>
                    <a:gd name="connsiteX1" fmla="*/ 2798 w 12498"/>
                    <a:gd name="connsiteY1" fmla="*/ 32011 h 50570"/>
                    <a:gd name="connsiteX2" fmla="*/ 10396 w 12498"/>
                    <a:gd name="connsiteY2" fmla="*/ 16317 h 50570"/>
                    <a:gd name="connsiteX3" fmla="*/ 12389 w 12498"/>
                    <a:gd name="connsiteY3" fmla="*/ 0 h 50570"/>
                  </a:gdLst>
                  <a:ahLst/>
                  <a:cxnLst>
                    <a:cxn ang="0">
                      <a:pos x="connsiteX0" y="connsiteY0"/>
                    </a:cxn>
                    <a:cxn ang="0">
                      <a:pos x="connsiteX1" y="connsiteY1"/>
                    </a:cxn>
                    <a:cxn ang="0">
                      <a:pos x="connsiteX2" y="connsiteY2"/>
                    </a:cxn>
                    <a:cxn ang="0">
                      <a:pos x="connsiteX3" y="connsiteY3"/>
                    </a:cxn>
                  </a:cxnLst>
                  <a:rect l="l" t="t" r="r" b="b"/>
                  <a:pathLst>
                    <a:path w="12498" h="50570">
                      <a:moveTo>
                        <a:pt x="58" y="50570"/>
                      </a:moveTo>
                      <a:cubicBezTo>
                        <a:pt x="-316" y="42225"/>
                        <a:pt x="1179" y="35997"/>
                        <a:pt x="2798" y="32011"/>
                      </a:cubicBezTo>
                      <a:cubicBezTo>
                        <a:pt x="5289" y="25410"/>
                        <a:pt x="8154" y="23043"/>
                        <a:pt x="10396" y="16317"/>
                      </a:cubicBezTo>
                      <a:cubicBezTo>
                        <a:pt x="12638" y="9715"/>
                        <a:pt x="12638" y="3861"/>
                        <a:pt x="123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3" name="Freeform 8489">
                  <a:extLst>
                    <a:ext uri="{FF2B5EF4-FFF2-40B4-BE49-F238E27FC236}">
                      <a16:creationId xmlns:a16="http://schemas.microsoft.com/office/drawing/2014/main" id="{C29EFB9D-CD7D-9E6F-8E65-DC302CF27E3F}"/>
                    </a:ext>
                  </a:extLst>
                </p:cNvPr>
                <p:cNvSpPr/>
                <p:nvPr/>
              </p:nvSpPr>
              <p:spPr>
                <a:xfrm>
                  <a:off x="3389146" y="1548814"/>
                  <a:ext cx="26408" cy="26427"/>
                </a:xfrm>
                <a:custGeom>
                  <a:avLst/>
                  <a:gdLst>
                    <a:gd name="connsiteX0" fmla="*/ 25975 w 26408"/>
                    <a:gd name="connsiteY0" fmla="*/ 16327 h 26427"/>
                    <a:gd name="connsiteX1" fmla="*/ 9908 w 26408"/>
                    <a:gd name="connsiteY1" fmla="*/ 26043 h 26427"/>
                    <a:gd name="connsiteX2" fmla="*/ 441 w 26408"/>
                    <a:gd name="connsiteY2" fmla="*/ 10100 h 26427"/>
                    <a:gd name="connsiteX3" fmla="*/ 16509 w 26408"/>
                    <a:gd name="connsiteY3" fmla="*/ 384 h 26427"/>
                    <a:gd name="connsiteX4" fmla="*/ 25975 w 26408"/>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427">
                      <a:moveTo>
                        <a:pt x="25975" y="16327"/>
                      </a:moveTo>
                      <a:cubicBezTo>
                        <a:pt x="24232" y="23427"/>
                        <a:pt x="17007" y="27787"/>
                        <a:pt x="9908" y="26043"/>
                      </a:cubicBezTo>
                      <a:cubicBezTo>
                        <a:pt x="2808" y="24299"/>
                        <a:pt x="-1427" y="17199"/>
                        <a:pt x="441" y="10100"/>
                      </a:cubicBezTo>
                      <a:cubicBezTo>
                        <a:pt x="2310" y="3000"/>
                        <a:pt x="9534" y="-1360"/>
                        <a:pt x="16509" y="384"/>
                      </a:cubicBezTo>
                      <a:cubicBezTo>
                        <a:pt x="23485" y="2128"/>
                        <a:pt x="27844" y="9228"/>
                        <a:pt x="25975"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0" name="Graphic 2987">
                <a:extLst>
                  <a:ext uri="{FF2B5EF4-FFF2-40B4-BE49-F238E27FC236}">
                    <a16:creationId xmlns:a16="http://schemas.microsoft.com/office/drawing/2014/main" id="{1283C87E-54BE-8619-5CA5-43742F533FAC}"/>
                  </a:ext>
                </a:extLst>
              </p:cNvPr>
              <p:cNvGrpSpPr/>
              <p:nvPr/>
            </p:nvGrpSpPr>
            <p:grpSpPr>
              <a:xfrm>
                <a:off x="3329608" y="1541648"/>
                <a:ext cx="57383" cy="144996"/>
                <a:chOff x="3329608" y="1541648"/>
                <a:chExt cx="57383" cy="144996"/>
              </a:xfrm>
              <a:grpFill/>
            </p:grpSpPr>
            <p:sp>
              <p:nvSpPr>
                <p:cNvPr id="5772" name="Freeform 8491">
                  <a:extLst>
                    <a:ext uri="{FF2B5EF4-FFF2-40B4-BE49-F238E27FC236}">
                      <a16:creationId xmlns:a16="http://schemas.microsoft.com/office/drawing/2014/main" id="{0BC7BCF3-8727-4AF9-CC2B-8E5605308DC1}"/>
                    </a:ext>
                  </a:extLst>
                </p:cNvPr>
                <p:cNvSpPr/>
                <p:nvPr/>
              </p:nvSpPr>
              <p:spPr>
                <a:xfrm>
                  <a:off x="3348234" y="1617082"/>
                  <a:ext cx="13826" cy="50321"/>
                </a:xfrm>
                <a:custGeom>
                  <a:avLst/>
                  <a:gdLst>
                    <a:gd name="connsiteX0" fmla="*/ 0 w 13826"/>
                    <a:gd name="connsiteY0" fmla="*/ 50321 h 50321"/>
                    <a:gd name="connsiteX1" fmla="*/ 6602 w 13826"/>
                    <a:gd name="connsiteY1" fmla="*/ 32634 h 50321"/>
                    <a:gd name="connsiteX2" fmla="*/ 7598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484" y="43097"/>
                        <a:pt x="5979" y="36994"/>
                        <a:pt x="6602" y="32634"/>
                      </a:cubicBezTo>
                      <a:cubicBezTo>
                        <a:pt x="7598" y="25659"/>
                        <a:pt x="6228" y="22296"/>
                        <a:pt x="7598" y="15321"/>
                      </a:cubicBezTo>
                      <a:cubicBezTo>
                        <a:pt x="8843"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3" name="Freeform 8492">
                  <a:extLst>
                    <a:ext uri="{FF2B5EF4-FFF2-40B4-BE49-F238E27FC236}">
                      <a16:creationId xmlns:a16="http://schemas.microsoft.com/office/drawing/2014/main" id="{A42DC1AB-1BCB-82AC-A07F-A67BB116FF37}"/>
                    </a:ext>
                  </a:extLst>
                </p:cNvPr>
                <p:cNvSpPr/>
                <p:nvPr/>
              </p:nvSpPr>
              <p:spPr>
                <a:xfrm>
                  <a:off x="3339976" y="1619822"/>
                  <a:ext cx="12672" cy="50694"/>
                </a:xfrm>
                <a:custGeom>
                  <a:avLst/>
                  <a:gdLst>
                    <a:gd name="connsiteX0" fmla="*/ 12618 w 12672"/>
                    <a:gd name="connsiteY0" fmla="*/ 0 h 50694"/>
                    <a:gd name="connsiteX1" fmla="*/ 9753 w 12672"/>
                    <a:gd name="connsiteY1" fmla="*/ 18684 h 50694"/>
                    <a:gd name="connsiteX2" fmla="*/ 2155 w 12672"/>
                    <a:gd name="connsiteY2" fmla="*/ 34253 h 50694"/>
                    <a:gd name="connsiteX3" fmla="*/ 162 w 1267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672" h="50694">
                      <a:moveTo>
                        <a:pt x="12618" y="0"/>
                      </a:moveTo>
                      <a:cubicBezTo>
                        <a:pt x="12991" y="8470"/>
                        <a:pt x="11372" y="14573"/>
                        <a:pt x="9753" y="18684"/>
                      </a:cubicBezTo>
                      <a:cubicBezTo>
                        <a:pt x="7262" y="25161"/>
                        <a:pt x="4397" y="27527"/>
                        <a:pt x="2155" y="34253"/>
                      </a:cubicBezTo>
                      <a:cubicBezTo>
                        <a:pt x="-87" y="40730"/>
                        <a:pt x="-212" y="46709"/>
                        <a:pt x="16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4" name="Freeform 8493">
                  <a:extLst>
                    <a:ext uri="{FF2B5EF4-FFF2-40B4-BE49-F238E27FC236}">
                      <a16:creationId xmlns:a16="http://schemas.microsoft.com/office/drawing/2014/main" id="{8AAB71E8-528F-8A62-2F3B-E7D49245DFB9}"/>
                    </a:ext>
                  </a:extLst>
                </p:cNvPr>
                <p:cNvSpPr/>
                <p:nvPr/>
              </p:nvSpPr>
              <p:spPr>
                <a:xfrm>
                  <a:off x="3329608" y="1660050"/>
                  <a:ext cx="26657" cy="26594"/>
                </a:xfrm>
                <a:custGeom>
                  <a:avLst/>
                  <a:gdLst>
                    <a:gd name="connsiteX0" fmla="*/ 441 w 26657"/>
                    <a:gd name="connsiteY0" fmla="*/ 9720 h 26594"/>
                    <a:gd name="connsiteX1" fmla="*/ 16634 w 26657"/>
                    <a:gd name="connsiteY1" fmla="*/ 503 h 26594"/>
                    <a:gd name="connsiteX2" fmla="*/ 26225 w 26657"/>
                    <a:gd name="connsiteY2" fmla="*/ 16570 h 26594"/>
                    <a:gd name="connsiteX3" fmla="*/ 9907 w 26657"/>
                    <a:gd name="connsiteY3" fmla="*/ 26161 h 26594"/>
                    <a:gd name="connsiteX4" fmla="*/ 441 w 26657"/>
                    <a:gd name="connsiteY4" fmla="*/ 9720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4">
                      <a:moveTo>
                        <a:pt x="441" y="9720"/>
                      </a:moveTo>
                      <a:cubicBezTo>
                        <a:pt x="2310" y="2620"/>
                        <a:pt x="9534" y="-1490"/>
                        <a:pt x="16634" y="503"/>
                      </a:cubicBezTo>
                      <a:cubicBezTo>
                        <a:pt x="23734" y="2371"/>
                        <a:pt x="28093" y="9471"/>
                        <a:pt x="26225" y="16570"/>
                      </a:cubicBezTo>
                      <a:cubicBezTo>
                        <a:pt x="24356" y="23670"/>
                        <a:pt x="17132" y="28030"/>
                        <a:pt x="9907" y="26161"/>
                      </a:cubicBezTo>
                      <a:cubicBezTo>
                        <a:pt x="2808" y="24168"/>
                        <a:pt x="-1427" y="16820"/>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5" name="Freeform 8494">
                  <a:extLst>
                    <a:ext uri="{FF2B5EF4-FFF2-40B4-BE49-F238E27FC236}">
                      <a16:creationId xmlns:a16="http://schemas.microsoft.com/office/drawing/2014/main" id="{589AD1AC-2BD8-3AFC-F4D5-3CF72ED44D28}"/>
                    </a:ext>
                  </a:extLst>
                </p:cNvPr>
                <p:cNvSpPr/>
                <p:nvPr/>
              </p:nvSpPr>
              <p:spPr>
                <a:xfrm>
                  <a:off x="3354711" y="1560782"/>
                  <a:ext cx="13826" cy="50321"/>
                </a:xfrm>
                <a:custGeom>
                  <a:avLst/>
                  <a:gdLst>
                    <a:gd name="connsiteX0" fmla="*/ 13826 w 13826"/>
                    <a:gd name="connsiteY0" fmla="*/ 0 h 50321"/>
                    <a:gd name="connsiteX1" fmla="*/ 7225 w 13826"/>
                    <a:gd name="connsiteY1" fmla="*/ 17563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100"/>
                        <a:pt x="7847" y="13203"/>
                        <a:pt x="7225" y="17563"/>
                      </a:cubicBezTo>
                      <a:cubicBezTo>
                        <a:pt x="6228" y="24538"/>
                        <a:pt x="7474" y="28025"/>
                        <a:pt x="6228" y="35001"/>
                      </a:cubicBezTo>
                      <a:cubicBezTo>
                        <a:pt x="4983" y="41851"/>
                        <a:pt x="2118"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6" name="Freeform 8495">
                  <a:extLst>
                    <a:ext uri="{FF2B5EF4-FFF2-40B4-BE49-F238E27FC236}">
                      <a16:creationId xmlns:a16="http://schemas.microsoft.com/office/drawing/2014/main" id="{BF041135-F53A-47E8-CACB-61BC9616E582}"/>
                    </a:ext>
                  </a:extLst>
                </p:cNvPr>
                <p:cNvSpPr/>
                <p:nvPr/>
              </p:nvSpPr>
              <p:spPr>
                <a:xfrm>
                  <a:off x="3363999" y="1557792"/>
                  <a:ext cx="12494" cy="50570"/>
                </a:xfrm>
                <a:custGeom>
                  <a:avLst/>
                  <a:gdLst>
                    <a:gd name="connsiteX0" fmla="*/ 54 w 12494"/>
                    <a:gd name="connsiteY0" fmla="*/ 50570 h 50570"/>
                    <a:gd name="connsiteX1" fmla="*/ 2795 w 12494"/>
                    <a:gd name="connsiteY1" fmla="*/ 32011 h 50570"/>
                    <a:gd name="connsiteX2" fmla="*/ 10393 w 12494"/>
                    <a:gd name="connsiteY2" fmla="*/ 16317 h 50570"/>
                    <a:gd name="connsiteX3" fmla="*/ 12386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54" y="50570"/>
                      </a:moveTo>
                      <a:cubicBezTo>
                        <a:pt x="-319" y="42225"/>
                        <a:pt x="1300" y="36122"/>
                        <a:pt x="2795" y="32011"/>
                      </a:cubicBezTo>
                      <a:cubicBezTo>
                        <a:pt x="5286" y="25410"/>
                        <a:pt x="8151" y="23043"/>
                        <a:pt x="10393" y="16317"/>
                      </a:cubicBezTo>
                      <a:cubicBezTo>
                        <a:pt x="12635" y="9715"/>
                        <a:pt x="12635" y="3861"/>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7" name="Freeform 8496">
                  <a:extLst>
                    <a:ext uri="{FF2B5EF4-FFF2-40B4-BE49-F238E27FC236}">
                      <a16:creationId xmlns:a16="http://schemas.microsoft.com/office/drawing/2014/main" id="{DEDBB044-A003-F694-A67B-691144464099}"/>
                    </a:ext>
                  </a:extLst>
                </p:cNvPr>
                <p:cNvSpPr/>
                <p:nvPr/>
              </p:nvSpPr>
              <p:spPr>
                <a:xfrm>
                  <a:off x="3360747" y="1541648"/>
                  <a:ext cx="26244" cy="26493"/>
                </a:xfrm>
                <a:custGeom>
                  <a:avLst/>
                  <a:gdLst>
                    <a:gd name="connsiteX0" fmla="*/ 25852 w 26244"/>
                    <a:gd name="connsiteY0" fmla="*/ 16393 h 26493"/>
                    <a:gd name="connsiteX1" fmla="*/ 9784 w 26244"/>
                    <a:gd name="connsiteY1" fmla="*/ 26109 h 26493"/>
                    <a:gd name="connsiteX2" fmla="*/ 442 w 26244"/>
                    <a:gd name="connsiteY2" fmla="*/ 9792 h 26493"/>
                    <a:gd name="connsiteX3" fmla="*/ 16510 w 26244"/>
                    <a:gd name="connsiteY3" fmla="*/ 450 h 26493"/>
                    <a:gd name="connsiteX4" fmla="*/ 25852 w 26244"/>
                    <a:gd name="connsiteY4" fmla="*/ 16393 h 2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4" h="26493">
                      <a:moveTo>
                        <a:pt x="25852" y="16393"/>
                      </a:moveTo>
                      <a:cubicBezTo>
                        <a:pt x="23983" y="23493"/>
                        <a:pt x="16759" y="27853"/>
                        <a:pt x="9784" y="26109"/>
                      </a:cubicBezTo>
                      <a:cubicBezTo>
                        <a:pt x="2808" y="24116"/>
                        <a:pt x="-1426" y="16892"/>
                        <a:pt x="442" y="9792"/>
                      </a:cubicBezTo>
                      <a:cubicBezTo>
                        <a:pt x="2310" y="2692"/>
                        <a:pt x="9534" y="-1418"/>
                        <a:pt x="16510" y="450"/>
                      </a:cubicBezTo>
                      <a:cubicBezTo>
                        <a:pt x="23360" y="2318"/>
                        <a:pt x="27595" y="9294"/>
                        <a:pt x="25852" y="163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1" name="Graphic 2987">
                <a:extLst>
                  <a:ext uri="{FF2B5EF4-FFF2-40B4-BE49-F238E27FC236}">
                    <a16:creationId xmlns:a16="http://schemas.microsoft.com/office/drawing/2014/main" id="{F3C2FBC9-0E21-70D9-4B6A-01F06AF96049}"/>
                  </a:ext>
                </a:extLst>
              </p:cNvPr>
              <p:cNvGrpSpPr/>
              <p:nvPr/>
            </p:nvGrpSpPr>
            <p:grpSpPr>
              <a:xfrm>
                <a:off x="3300702" y="1533801"/>
                <a:ext cx="57814" cy="144941"/>
                <a:chOff x="3300702" y="1533801"/>
                <a:chExt cx="57814" cy="144941"/>
              </a:xfrm>
              <a:grpFill/>
            </p:grpSpPr>
            <p:sp>
              <p:nvSpPr>
                <p:cNvPr id="5766" name="Freeform 8498">
                  <a:extLst>
                    <a:ext uri="{FF2B5EF4-FFF2-40B4-BE49-F238E27FC236}">
                      <a16:creationId xmlns:a16="http://schemas.microsoft.com/office/drawing/2014/main" id="{686E32D2-5745-1740-86EF-BFAC13EEA547}"/>
                    </a:ext>
                  </a:extLst>
                </p:cNvPr>
                <p:cNvSpPr/>
                <p:nvPr/>
              </p:nvSpPr>
              <p:spPr>
                <a:xfrm>
                  <a:off x="3319462" y="1609359"/>
                  <a:ext cx="13950" cy="50196"/>
                </a:xfrm>
                <a:custGeom>
                  <a:avLst/>
                  <a:gdLst>
                    <a:gd name="connsiteX0" fmla="*/ 0 w 13950"/>
                    <a:gd name="connsiteY0" fmla="*/ 50197 h 50196"/>
                    <a:gd name="connsiteX1" fmla="*/ 6726 w 13950"/>
                    <a:gd name="connsiteY1" fmla="*/ 32634 h 50196"/>
                    <a:gd name="connsiteX2" fmla="*/ 7723 w 13950"/>
                    <a:gd name="connsiteY2" fmla="*/ 15196 h 50196"/>
                    <a:gd name="connsiteX3" fmla="*/ 13950 w 13950"/>
                    <a:gd name="connsiteY3" fmla="*/ 0 h 50196"/>
                  </a:gdLst>
                  <a:ahLst/>
                  <a:cxnLst>
                    <a:cxn ang="0">
                      <a:pos x="connsiteX0" y="connsiteY0"/>
                    </a:cxn>
                    <a:cxn ang="0">
                      <a:pos x="connsiteX1" y="connsiteY1"/>
                    </a:cxn>
                    <a:cxn ang="0">
                      <a:pos x="connsiteX2" y="connsiteY2"/>
                    </a:cxn>
                    <a:cxn ang="0">
                      <a:pos x="connsiteX3" y="connsiteY3"/>
                    </a:cxn>
                  </a:cxnLst>
                  <a:rect l="l" t="t" r="r" b="b"/>
                  <a:pathLst>
                    <a:path w="13950" h="50196">
                      <a:moveTo>
                        <a:pt x="0" y="50197"/>
                      </a:moveTo>
                      <a:cubicBezTo>
                        <a:pt x="4484" y="43097"/>
                        <a:pt x="6103" y="36994"/>
                        <a:pt x="6726" y="32634"/>
                      </a:cubicBezTo>
                      <a:cubicBezTo>
                        <a:pt x="7723" y="25659"/>
                        <a:pt x="6477" y="22171"/>
                        <a:pt x="7723" y="15196"/>
                      </a:cubicBezTo>
                      <a:cubicBezTo>
                        <a:pt x="8968" y="8345"/>
                        <a:pt x="11833" y="3239"/>
                        <a:pt x="139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7" name="Freeform 8499">
                  <a:extLst>
                    <a:ext uri="{FF2B5EF4-FFF2-40B4-BE49-F238E27FC236}">
                      <a16:creationId xmlns:a16="http://schemas.microsoft.com/office/drawing/2014/main" id="{68DE7A61-714F-62B4-9002-14EDCE334BAB}"/>
                    </a:ext>
                  </a:extLst>
                </p:cNvPr>
                <p:cNvSpPr/>
                <p:nvPr/>
              </p:nvSpPr>
              <p:spPr>
                <a:xfrm>
                  <a:off x="3311149" y="1611975"/>
                  <a:ext cx="12850" cy="50570"/>
                </a:xfrm>
                <a:custGeom>
                  <a:avLst/>
                  <a:gdLst>
                    <a:gd name="connsiteX0" fmla="*/ 12796 w 12850"/>
                    <a:gd name="connsiteY0" fmla="*/ 0 h 50570"/>
                    <a:gd name="connsiteX1" fmla="*/ 9932 w 12850"/>
                    <a:gd name="connsiteY1" fmla="*/ 18559 h 50570"/>
                    <a:gd name="connsiteX2" fmla="*/ 2209 w 12850"/>
                    <a:gd name="connsiteY2" fmla="*/ 34129 h 50570"/>
                    <a:gd name="connsiteX3" fmla="*/ 92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12796" y="0"/>
                      </a:moveTo>
                      <a:cubicBezTo>
                        <a:pt x="13170" y="8470"/>
                        <a:pt x="11551" y="14573"/>
                        <a:pt x="9932" y="18559"/>
                      </a:cubicBezTo>
                      <a:cubicBezTo>
                        <a:pt x="7440" y="25036"/>
                        <a:pt x="4576" y="27403"/>
                        <a:pt x="2209" y="34129"/>
                      </a:cubicBezTo>
                      <a:cubicBezTo>
                        <a:pt x="-33" y="40606"/>
                        <a:pt x="-157"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8" name="Freeform 8500">
                  <a:extLst>
                    <a:ext uri="{FF2B5EF4-FFF2-40B4-BE49-F238E27FC236}">
                      <a16:creationId xmlns:a16="http://schemas.microsoft.com/office/drawing/2014/main" id="{69E0268D-8C24-DCD5-7F6D-D187821B74EB}"/>
                    </a:ext>
                  </a:extLst>
                </p:cNvPr>
                <p:cNvSpPr/>
                <p:nvPr/>
              </p:nvSpPr>
              <p:spPr>
                <a:xfrm>
                  <a:off x="3300702" y="1652203"/>
                  <a:ext cx="26674" cy="26539"/>
                </a:xfrm>
                <a:custGeom>
                  <a:avLst/>
                  <a:gdLst>
                    <a:gd name="connsiteX0" fmla="*/ 449 w 26674"/>
                    <a:gd name="connsiteY0" fmla="*/ 9720 h 26539"/>
                    <a:gd name="connsiteX1" fmla="*/ 16766 w 26674"/>
                    <a:gd name="connsiteY1" fmla="*/ 503 h 26539"/>
                    <a:gd name="connsiteX2" fmla="*/ 26233 w 26674"/>
                    <a:gd name="connsiteY2" fmla="*/ 16820 h 26539"/>
                    <a:gd name="connsiteX3" fmla="*/ 9916 w 26674"/>
                    <a:gd name="connsiteY3" fmla="*/ 26037 h 26539"/>
                    <a:gd name="connsiteX4" fmla="*/ 449 w 26674"/>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38">
                      <a:moveTo>
                        <a:pt x="449" y="9720"/>
                      </a:moveTo>
                      <a:cubicBezTo>
                        <a:pt x="2318" y="2620"/>
                        <a:pt x="9667" y="-1490"/>
                        <a:pt x="16766" y="503"/>
                      </a:cubicBezTo>
                      <a:cubicBezTo>
                        <a:pt x="23866" y="2495"/>
                        <a:pt x="28101" y="9844"/>
                        <a:pt x="26233" y="16820"/>
                      </a:cubicBezTo>
                      <a:cubicBezTo>
                        <a:pt x="24365" y="23919"/>
                        <a:pt x="17140" y="28030"/>
                        <a:pt x="9916" y="26037"/>
                      </a:cubicBezTo>
                      <a:cubicBezTo>
                        <a:pt x="2691" y="24044"/>
                        <a:pt x="-1419" y="16695"/>
                        <a:pt x="44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9" name="Freeform 8501">
                  <a:extLst>
                    <a:ext uri="{FF2B5EF4-FFF2-40B4-BE49-F238E27FC236}">
                      <a16:creationId xmlns:a16="http://schemas.microsoft.com/office/drawing/2014/main" id="{12B4CF13-05CC-AE84-2D64-36A60550D403}"/>
                    </a:ext>
                  </a:extLst>
                </p:cNvPr>
                <p:cNvSpPr/>
                <p:nvPr/>
              </p:nvSpPr>
              <p:spPr>
                <a:xfrm>
                  <a:off x="3326063" y="1552935"/>
                  <a:ext cx="14075" cy="50196"/>
                </a:xfrm>
                <a:custGeom>
                  <a:avLst/>
                  <a:gdLst>
                    <a:gd name="connsiteX0" fmla="*/ 14075 w 14075"/>
                    <a:gd name="connsiteY0" fmla="*/ 0 h 50196"/>
                    <a:gd name="connsiteX1" fmla="*/ 7349 w 14075"/>
                    <a:gd name="connsiteY1" fmla="*/ 17563 h 50196"/>
                    <a:gd name="connsiteX2" fmla="*/ 6228 w 14075"/>
                    <a:gd name="connsiteY2" fmla="*/ 35001 h 50196"/>
                    <a:gd name="connsiteX3" fmla="*/ 0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0"/>
                      </a:moveTo>
                      <a:cubicBezTo>
                        <a:pt x="9591" y="7100"/>
                        <a:pt x="7972" y="13203"/>
                        <a:pt x="7349" y="17563"/>
                      </a:cubicBezTo>
                      <a:cubicBezTo>
                        <a:pt x="6353" y="24538"/>
                        <a:pt x="7598" y="28025"/>
                        <a:pt x="6228" y="35001"/>
                      </a:cubicBezTo>
                      <a:cubicBezTo>
                        <a:pt x="4982" y="41851"/>
                        <a:pt x="2118"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0" name="Freeform 8502">
                  <a:extLst>
                    <a:ext uri="{FF2B5EF4-FFF2-40B4-BE49-F238E27FC236}">
                      <a16:creationId xmlns:a16="http://schemas.microsoft.com/office/drawing/2014/main" id="{65F048DD-2B80-5834-47CA-5B437777E1B4}"/>
                    </a:ext>
                  </a:extLst>
                </p:cNvPr>
                <p:cNvSpPr/>
                <p:nvPr/>
              </p:nvSpPr>
              <p:spPr>
                <a:xfrm>
                  <a:off x="3335475" y="1549945"/>
                  <a:ext cx="12726" cy="50570"/>
                </a:xfrm>
                <a:custGeom>
                  <a:avLst/>
                  <a:gdLst>
                    <a:gd name="connsiteX0" fmla="*/ 54 w 12726"/>
                    <a:gd name="connsiteY0" fmla="*/ 50570 h 50570"/>
                    <a:gd name="connsiteX1" fmla="*/ 2919 w 12726"/>
                    <a:gd name="connsiteY1" fmla="*/ 32011 h 50570"/>
                    <a:gd name="connsiteX2" fmla="*/ 10517 w 12726"/>
                    <a:gd name="connsiteY2" fmla="*/ 16442 h 50570"/>
                    <a:gd name="connsiteX3" fmla="*/ 12634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54" y="50570"/>
                      </a:moveTo>
                      <a:cubicBezTo>
                        <a:pt x="-319" y="42101"/>
                        <a:pt x="1300" y="35997"/>
                        <a:pt x="2919" y="32011"/>
                      </a:cubicBezTo>
                      <a:cubicBezTo>
                        <a:pt x="5410" y="25534"/>
                        <a:pt x="8275" y="23168"/>
                        <a:pt x="10517" y="16442"/>
                      </a:cubicBezTo>
                      <a:cubicBezTo>
                        <a:pt x="12759" y="9965"/>
                        <a:pt x="12884" y="3986"/>
                        <a:pt x="126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1" name="Freeform 8503">
                  <a:extLst>
                    <a:ext uri="{FF2B5EF4-FFF2-40B4-BE49-F238E27FC236}">
                      <a16:creationId xmlns:a16="http://schemas.microsoft.com/office/drawing/2014/main" id="{CBB763DD-4128-C767-8E36-6ABA4C8A846D}"/>
                    </a:ext>
                  </a:extLst>
                </p:cNvPr>
                <p:cNvSpPr/>
                <p:nvPr/>
              </p:nvSpPr>
              <p:spPr>
                <a:xfrm>
                  <a:off x="3332223" y="1533801"/>
                  <a:ext cx="26293" cy="26558"/>
                </a:xfrm>
                <a:custGeom>
                  <a:avLst/>
                  <a:gdLst>
                    <a:gd name="connsiteX0" fmla="*/ 25852 w 26293"/>
                    <a:gd name="connsiteY0" fmla="*/ 16767 h 26558"/>
                    <a:gd name="connsiteX1" fmla="*/ 9784 w 26293"/>
                    <a:gd name="connsiteY1" fmla="*/ 26109 h 26558"/>
                    <a:gd name="connsiteX2" fmla="*/ 442 w 26293"/>
                    <a:gd name="connsiteY2" fmla="*/ 9792 h 26558"/>
                    <a:gd name="connsiteX3" fmla="*/ 16510 w 26293"/>
                    <a:gd name="connsiteY3" fmla="*/ 450 h 26558"/>
                    <a:gd name="connsiteX4" fmla="*/ 25852 w 26293"/>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58">
                      <a:moveTo>
                        <a:pt x="25852" y="16767"/>
                      </a:moveTo>
                      <a:cubicBezTo>
                        <a:pt x="23983" y="23867"/>
                        <a:pt x="16759" y="27977"/>
                        <a:pt x="9784" y="26109"/>
                      </a:cubicBezTo>
                      <a:cubicBezTo>
                        <a:pt x="2808" y="24241"/>
                        <a:pt x="-1426" y="16892"/>
                        <a:pt x="442" y="9792"/>
                      </a:cubicBezTo>
                      <a:cubicBezTo>
                        <a:pt x="2310" y="2692"/>
                        <a:pt x="9535" y="-1418"/>
                        <a:pt x="16510" y="450"/>
                      </a:cubicBezTo>
                      <a:cubicBezTo>
                        <a:pt x="23485" y="2318"/>
                        <a:pt x="27720" y="9667"/>
                        <a:pt x="25852"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2" name="Graphic 2987">
                <a:extLst>
                  <a:ext uri="{FF2B5EF4-FFF2-40B4-BE49-F238E27FC236}">
                    <a16:creationId xmlns:a16="http://schemas.microsoft.com/office/drawing/2014/main" id="{5DBA8088-820A-BEEE-38CA-83012888AE97}"/>
                  </a:ext>
                </a:extLst>
              </p:cNvPr>
              <p:cNvGrpSpPr/>
              <p:nvPr/>
            </p:nvGrpSpPr>
            <p:grpSpPr>
              <a:xfrm>
                <a:off x="3271937" y="1525954"/>
                <a:ext cx="58231" cy="144816"/>
                <a:chOff x="3271937" y="1525954"/>
                <a:chExt cx="58231" cy="144816"/>
              </a:xfrm>
              <a:grpFill/>
            </p:grpSpPr>
            <p:sp>
              <p:nvSpPr>
                <p:cNvPr id="5760" name="Freeform 8505">
                  <a:extLst>
                    <a:ext uri="{FF2B5EF4-FFF2-40B4-BE49-F238E27FC236}">
                      <a16:creationId xmlns:a16="http://schemas.microsoft.com/office/drawing/2014/main" id="{0D5D945D-063E-9EDF-FCC4-3B6E78D6FCB8}"/>
                    </a:ext>
                  </a:extLst>
                </p:cNvPr>
                <p:cNvSpPr/>
                <p:nvPr/>
              </p:nvSpPr>
              <p:spPr>
                <a:xfrm>
                  <a:off x="3290689" y="1601387"/>
                  <a:ext cx="14199" cy="50196"/>
                </a:xfrm>
                <a:custGeom>
                  <a:avLst/>
                  <a:gdLst>
                    <a:gd name="connsiteX0" fmla="*/ 0 w 14199"/>
                    <a:gd name="connsiteY0" fmla="*/ 50197 h 50196"/>
                    <a:gd name="connsiteX1" fmla="*/ 6726 w 14199"/>
                    <a:gd name="connsiteY1" fmla="*/ 32634 h 50196"/>
                    <a:gd name="connsiteX2" fmla="*/ 7847 w 14199"/>
                    <a:gd name="connsiteY2" fmla="*/ 15196 h 50196"/>
                    <a:gd name="connsiteX3" fmla="*/ 14199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994"/>
                        <a:pt x="6726" y="32634"/>
                      </a:cubicBezTo>
                      <a:cubicBezTo>
                        <a:pt x="7723" y="25659"/>
                        <a:pt x="6477" y="22171"/>
                        <a:pt x="7847" y="15196"/>
                      </a:cubicBezTo>
                      <a:cubicBezTo>
                        <a:pt x="9217" y="8470"/>
                        <a:pt x="11957" y="3239"/>
                        <a:pt x="14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1" name="Freeform 8506">
                  <a:extLst>
                    <a:ext uri="{FF2B5EF4-FFF2-40B4-BE49-F238E27FC236}">
                      <a16:creationId xmlns:a16="http://schemas.microsoft.com/office/drawing/2014/main" id="{FD343C51-12AD-B861-2072-9E2DCB730A23}"/>
                    </a:ext>
                  </a:extLst>
                </p:cNvPr>
                <p:cNvSpPr/>
                <p:nvPr/>
              </p:nvSpPr>
              <p:spPr>
                <a:xfrm>
                  <a:off x="3282501" y="1604003"/>
                  <a:ext cx="12946" cy="50570"/>
                </a:xfrm>
                <a:custGeom>
                  <a:avLst/>
                  <a:gdLst>
                    <a:gd name="connsiteX0" fmla="*/ 12921 w 12946"/>
                    <a:gd name="connsiteY0" fmla="*/ 0 h 50570"/>
                    <a:gd name="connsiteX1" fmla="*/ 9931 w 12946"/>
                    <a:gd name="connsiteY1" fmla="*/ 18559 h 50570"/>
                    <a:gd name="connsiteX2" fmla="*/ 2209 w 12946"/>
                    <a:gd name="connsiteY2" fmla="*/ 34129 h 50570"/>
                    <a:gd name="connsiteX3" fmla="*/ 92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12921" y="0"/>
                      </a:moveTo>
                      <a:cubicBezTo>
                        <a:pt x="13170" y="8470"/>
                        <a:pt x="11551" y="14573"/>
                        <a:pt x="9931" y="18559"/>
                      </a:cubicBezTo>
                      <a:cubicBezTo>
                        <a:pt x="7316" y="25036"/>
                        <a:pt x="4576" y="27403"/>
                        <a:pt x="2209" y="34129"/>
                      </a:cubicBezTo>
                      <a:cubicBezTo>
                        <a:pt x="-33" y="40606"/>
                        <a:pt x="-158"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2" name="Freeform 8507">
                  <a:extLst>
                    <a:ext uri="{FF2B5EF4-FFF2-40B4-BE49-F238E27FC236}">
                      <a16:creationId xmlns:a16="http://schemas.microsoft.com/office/drawing/2014/main" id="{77A7AEB2-2409-87A6-1B9C-AF8EB04C3299}"/>
                    </a:ext>
                  </a:extLst>
                </p:cNvPr>
                <p:cNvSpPr/>
                <p:nvPr/>
              </p:nvSpPr>
              <p:spPr>
                <a:xfrm>
                  <a:off x="3271937" y="1644231"/>
                  <a:ext cx="26666" cy="26539"/>
                </a:xfrm>
                <a:custGeom>
                  <a:avLst/>
                  <a:gdLst>
                    <a:gd name="connsiteX0" fmla="*/ 441 w 26666"/>
                    <a:gd name="connsiteY0" fmla="*/ 9720 h 26539"/>
                    <a:gd name="connsiteX1" fmla="*/ 16758 w 26666"/>
                    <a:gd name="connsiteY1" fmla="*/ 503 h 26539"/>
                    <a:gd name="connsiteX2" fmla="*/ 26225 w 26666"/>
                    <a:gd name="connsiteY2" fmla="*/ 16820 h 26539"/>
                    <a:gd name="connsiteX3" fmla="*/ 9908 w 26666"/>
                    <a:gd name="connsiteY3" fmla="*/ 26037 h 26539"/>
                    <a:gd name="connsiteX4" fmla="*/ 441 w 2666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38">
                      <a:moveTo>
                        <a:pt x="441" y="9720"/>
                      </a:moveTo>
                      <a:cubicBezTo>
                        <a:pt x="2310" y="2620"/>
                        <a:pt x="9658" y="-1490"/>
                        <a:pt x="16758" y="503"/>
                      </a:cubicBezTo>
                      <a:cubicBezTo>
                        <a:pt x="23858" y="2495"/>
                        <a:pt x="28093" y="9844"/>
                        <a:pt x="26225" y="16820"/>
                      </a:cubicBezTo>
                      <a:cubicBezTo>
                        <a:pt x="24357" y="23919"/>
                        <a:pt x="17007" y="28030"/>
                        <a:pt x="9908" y="26037"/>
                      </a:cubicBezTo>
                      <a:cubicBezTo>
                        <a:pt x="2808" y="24044"/>
                        <a:pt x="-1427" y="16695"/>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3" name="Freeform 8508">
                  <a:extLst>
                    <a:ext uri="{FF2B5EF4-FFF2-40B4-BE49-F238E27FC236}">
                      <a16:creationId xmlns:a16="http://schemas.microsoft.com/office/drawing/2014/main" id="{C8021AF8-A29B-A030-D49F-B7B485E54EED}"/>
                    </a:ext>
                  </a:extLst>
                </p:cNvPr>
                <p:cNvSpPr/>
                <p:nvPr/>
              </p:nvSpPr>
              <p:spPr>
                <a:xfrm>
                  <a:off x="3297539" y="1545087"/>
                  <a:ext cx="14199" cy="50196"/>
                </a:xfrm>
                <a:custGeom>
                  <a:avLst/>
                  <a:gdLst>
                    <a:gd name="connsiteX0" fmla="*/ 14200 w 14199"/>
                    <a:gd name="connsiteY0" fmla="*/ 0 h 50196"/>
                    <a:gd name="connsiteX1" fmla="*/ 7474 w 14199"/>
                    <a:gd name="connsiteY1" fmla="*/ 17563 h 50196"/>
                    <a:gd name="connsiteX2" fmla="*/ 6353 w 14199"/>
                    <a:gd name="connsiteY2" fmla="*/ 35001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5" y="7100"/>
                        <a:pt x="8097" y="13203"/>
                        <a:pt x="7474" y="17563"/>
                      </a:cubicBezTo>
                      <a:cubicBezTo>
                        <a:pt x="6353" y="24538"/>
                        <a:pt x="7723" y="28025"/>
                        <a:pt x="6353" y="35001"/>
                      </a:cubicBezTo>
                      <a:cubicBezTo>
                        <a:pt x="4983" y="41727"/>
                        <a:pt x="2242"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4" name="Freeform 8509">
                  <a:extLst>
                    <a:ext uri="{FF2B5EF4-FFF2-40B4-BE49-F238E27FC236}">
                      <a16:creationId xmlns:a16="http://schemas.microsoft.com/office/drawing/2014/main" id="{294BFFAB-1AD8-F4CF-CE37-B509921F36D1}"/>
                    </a:ext>
                  </a:extLst>
                </p:cNvPr>
                <p:cNvSpPr/>
                <p:nvPr/>
              </p:nvSpPr>
              <p:spPr>
                <a:xfrm>
                  <a:off x="3306856" y="1542223"/>
                  <a:ext cx="12946" cy="50445"/>
                </a:xfrm>
                <a:custGeom>
                  <a:avLst/>
                  <a:gdLst>
                    <a:gd name="connsiteX0" fmla="*/ 25 w 12946"/>
                    <a:gd name="connsiteY0" fmla="*/ 50446 h 50445"/>
                    <a:gd name="connsiteX1" fmla="*/ 3015 w 12946"/>
                    <a:gd name="connsiteY1" fmla="*/ 31887 h 50445"/>
                    <a:gd name="connsiteX2" fmla="*/ 10738 w 12946"/>
                    <a:gd name="connsiteY2" fmla="*/ 16317 h 50445"/>
                    <a:gd name="connsiteX3" fmla="*/ 12855 w 12946"/>
                    <a:gd name="connsiteY3" fmla="*/ 0 h 50445"/>
                  </a:gdLst>
                  <a:ahLst/>
                  <a:cxnLst>
                    <a:cxn ang="0">
                      <a:pos x="connsiteX0" y="connsiteY0"/>
                    </a:cxn>
                    <a:cxn ang="0">
                      <a:pos x="connsiteX1" y="connsiteY1"/>
                    </a:cxn>
                    <a:cxn ang="0">
                      <a:pos x="connsiteX2" y="connsiteY2"/>
                    </a:cxn>
                    <a:cxn ang="0">
                      <a:pos x="connsiteX3" y="connsiteY3"/>
                    </a:cxn>
                  </a:cxnLst>
                  <a:rect l="l" t="t" r="r" b="b"/>
                  <a:pathLst>
                    <a:path w="12945" h="50445">
                      <a:moveTo>
                        <a:pt x="25" y="50446"/>
                      </a:moveTo>
                      <a:cubicBezTo>
                        <a:pt x="-224" y="41976"/>
                        <a:pt x="1396" y="35873"/>
                        <a:pt x="3015" y="31887"/>
                      </a:cubicBezTo>
                      <a:cubicBezTo>
                        <a:pt x="5506" y="25410"/>
                        <a:pt x="8371" y="23043"/>
                        <a:pt x="10738" y="16317"/>
                      </a:cubicBezTo>
                      <a:cubicBezTo>
                        <a:pt x="12980" y="9840"/>
                        <a:pt x="13104" y="3861"/>
                        <a:pt x="128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5" name="Freeform 8510">
                  <a:extLst>
                    <a:ext uri="{FF2B5EF4-FFF2-40B4-BE49-F238E27FC236}">
                      <a16:creationId xmlns:a16="http://schemas.microsoft.com/office/drawing/2014/main" id="{F6621C1C-2A13-6147-8C91-69DE1EF92983}"/>
                    </a:ext>
                  </a:extLst>
                </p:cNvPr>
                <p:cNvSpPr/>
                <p:nvPr/>
              </p:nvSpPr>
              <p:spPr>
                <a:xfrm>
                  <a:off x="3303897" y="1525954"/>
                  <a:ext cx="26272" cy="26558"/>
                </a:xfrm>
                <a:custGeom>
                  <a:avLst/>
                  <a:gdLst>
                    <a:gd name="connsiteX0" fmla="*/ 25779 w 26272"/>
                    <a:gd name="connsiteY0" fmla="*/ 16767 h 26558"/>
                    <a:gd name="connsiteX1" fmla="*/ 9711 w 26272"/>
                    <a:gd name="connsiteY1" fmla="*/ 26109 h 26558"/>
                    <a:gd name="connsiteX2" fmla="*/ 494 w 26272"/>
                    <a:gd name="connsiteY2" fmla="*/ 9792 h 26558"/>
                    <a:gd name="connsiteX3" fmla="*/ 16561 w 26272"/>
                    <a:gd name="connsiteY3" fmla="*/ 450 h 26558"/>
                    <a:gd name="connsiteX4" fmla="*/ 25779 w 26272"/>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558">
                      <a:moveTo>
                        <a:pt x="25779" y="16767"/>
                      </a:moveTo>
                      <a:cubicBezTo>
                        <a:pt x="23911" y="23867"/>
                        <a:pt x="16686" y="27977"/>
                        <a:pt x="9711" y="26109"/>
                      </a:cubicBezTo>
                      <a:cubicBezTo>
                        <a:pt x="2736" y="24116"/>
                        <a:pt x="-1499" y="16892"/>
                        <a:pt x="494" y="9792"/>
                      </a:cubicBezTo>
                      <a:cubicBezTo>
                        <a:pt x="2362" y="2692"/>
                        <a:pt x="9586" y="-1418"/>
                        <a:pt x="16561" y="450"/>
                      </a:cubicBezTo>
                      <a:cubicBezTo>
                        <a:pt x="23537" y="2318"/>
                        <a:pt x="27772" y="9792"/>
                        <a:pt x="25779"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3" name="Graphic 2987">
                <a:extLst>
                  <a:ext uri="{FF2B5EF4-FFF2-40B4-BE49-F238E27FC236}">
                    <a16:creationId xmlns:a16="http://schemas.microsoft.com/office/drawing/2014/main" id="{A9592EF3-D41E-4CFD-647D-F6D06C047A90}"/>
                  </a:ext>
                </a:extLst>
              </p:cNvPr>
              <p:cNvGrpSpPr/>
              <p:nvPr/>
            </p:nvGrpSpPr>
            <p:grpSpPr>
              <a:xfrm>
                <a:off x="3243114" y="1518107"/>
                <a:ext cx="58737" cy="144692"/>
                <a:chOff x="3243114" y="1518107"/>
                <a:chExt cx="58737" cy="144692"/>
              </a:xfrm>
              <a:grpFill/>
            </p:grpSpPr>
            <p:sp>
              <p:nvSpPr>
                <p:cNvPr id="5754" name="Freeform 8512">
                  <a:extLst>
                    <a:ext uri="{FF2B5EF4-FFF2-40B4-BE49-F238E27FC236}">
                      <a16:creationId xmlns:a16="http://schemas.microsoft.com/office/drawing/2014/main" id="{C14FA404-269E-DC6E-DF36-A278E4C25FC1}"/>
                    </a:ext>
                  </a:extLst>
                </p:cNvPr>
                <p:cNvSpPr/>
                <p:nvPr/>
              </p:nvSpPr>
              <p:spPr>
                <a:xfrm>
                  <a:off x="3261916" y="1593416"/>
                  <a:ext cx="14324" cy="50196"/>
                </a:xfrm>
                <a:custGeom>
                  <a:avLst/>
                  <a:gdLst>
                    <a:gd name="connsiteX0" fmla="*/ 0 w 14324"/>
                    <a:gd name="connsiteY0" fmla="*/ 50197 h 50196"/>
                    <a:gd name="connsiteX1" fmla="*/ 6851 w 14324"/>
                    <a:gd name="connsiteY1" fmla="*/ 32634 h 50196"/>
                    <a:gd name="connsiteX2" fmla="*/ 7971 w 14324"/>
                    <a:gd name="connsiteY2" fmla="*/ 15196 h 50196"/>
                    <a:gd name="connsiteX3" fmla="*/ 14324 w 14324"/>
                    <a:gd name="connsiteY3" fmla="*/ 0 h 50196"/>
                  </a:gdLst>
                  <a:ahLst/>
                  <a:cxnLst>
                    <a:cxn ang="0">
                      <a:pos x="connsiteX0" y="connsiteY0"/>
                    </a:cxn>
                    <a:cxn ang="0">
                      <a:pos x="connsiteX1" y="connsiteY1"/>
                    </a:cxn>
                    <a:cxn ang="0">
                      <a:pos x="connsiteX2" y="connsiteY2"/>
                    </a:cxn>
                    <a:cxn ang="0">
                      <a:pos x="connsiteX3" y="connsiteY3"/>
                    </a:cxn>
                  </a:cxnLst>
                  <a:rect l="l" t="t" r="r" b="b"/>
                  <a:pathLst>
                    <a:path w="14324" h="50196">
                      <a:moveTo>
                        <a:pt x="0" y="50197"/>
                      </a:moveTo>
                      <a:cubicBezTo>
                        <a:pt x="4484" y="43097"/>
                        <a:pt x="6103" y="36994"/>
                        <a:pt x="6851" y="32634"/>
                      </a:cubicBezTo>
                      <a:cubicBezTo>
                        <a:pt x="7971" y="25659"/>
                        <a:pt x="6602" y="22171"/>
                        <a:pt x="7971" y="15196"/>
                      </a:cubicBezTo>
                      <a:cubicBezTo>
                        <a:pt x="9342" y="8470"/>
                        <a:pt x="12206" y="3239"/>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5" name="Freeform 8513">
                  <a:extLst>
                    <a:ext uri="{FF2B5EF4-FFF2-40B4-BE49-F238E27FC236}">
                      <a16:creationId xmlns:a16="http://schemas.microsoft.com/office/drawing/2014/main" id="{8D5F387C-0D93-7506-DBE1-579BD18855DC}"/>
                    </a:ext>
                  </a:extLst>
                </p:cNvPr>
                <p:cNvSpPr/>
                <p:nvPr/>
              </p:nvSpPr>
              <p:spPr>
                <a:xfrm>
                  <a:off x="3253617" y="1596156"/>
                  <a:ext cx="13181" cy="50445"/>
                </a:xfrm>
                <a:custGeom>
                  <a:avLst/>
                  <a:gdLst>
                    <a:gd name="connsiteX0" fmla="*/ 13156 w 13181"/>
                    <a:gd name="connsiteY0" fmla="*/ 0 h 50445"/>
                    <a:gd name="connsiteX1" fmla="*/ 10167 w 13181"/>
                    <a:gd name="connsiteY1" fmla="*/ 18559 h 50445"/>
                    <a:gd name="connsiteX2" fmla="*/ 2320 w 13181"/>
                    <a:gd name="connsiteY2" fmla="*/ 34129 h 50445"/>
                    <a:gd name="connsiteX3" fmla="*/ 78 w 1318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0"/>
                      </a:moveTo>
                      <a:cubicBezTo>
                        <a:pt x="13406" y="8470"/>
                        <a:pt x="11786" y="14573"/>
                        <a:pt x="10167" y="18559"/>
                      </a:cubicBezTo>
                      <a:cubicBezTo>
                        <a:pt x="7551" y="25036"/>
                        <a:pt x="4686" y="27403"/>
                        <a:pt x="2320" y="34129"/>
                      </a:cubicBezTo>
                      <a:cubicBezTo>
                        <a:pt x="78" y="40606"/>
                        <a:pt x="-171" y="46585"/>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6" name="Freeform 8514">
                  <a:extLst>
                    <a:ext uri="{FF2B5EF4-FFF2-40B4-BE49-F238E27FC236}">
                      <a16:creationId xmlns:a16="http://schemas.microsoft.com/office/drawing/2014/main" id="{5FD8F3E7-7CA8-F55C-1CFD-2AB88284B7A6}"/>
                    </a:ext>
                  </a:extLst>
                </p:cNvPr>
                <p:cNvSpPr/>
                <p:nvPr/>
              </p:nvSpPr>
              <p:spPr>
                <a:xfrm>
                  <a:off x="3243114" y="1636259"/>
                  <a:ext cx="26841" cy="26539"/>
                </a:xfrm>
                <a:custGeom>
                  <a:avLst/>
                  <a:gdLst>
                    <a:gd name="connsiteX0" fmla="*/ 492 w 26841"/>
                    <a:gd name="connsiteY0" fmla="*/ 9720 h 26539"/>
                    <a:gd name="connsiteX1" fmla="*/ 16934 w 26841"/>
                    <a:gd name="connsiteY1" fmla="*/ 503 h 26539"/>
                    <a:gd name="connsiteX2" fmla="*/ 26400 w 26841"/>
                    <a:gd name="connsiteY2" fmla="*/ 16820 h 26539"/>
                    <a:gd name="connsiteX3" fmla="*/ 9959 w 26841"/>
                    <a:gd name="connsiteY3" fmla="*/ 26037 h 26539"/>
                    <a:gd name="connsiteX4" fmla="*/ 492 w 2684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38">
                      <a:moveTo>
                        <a:pt x="492" y="9720"/>
                      </a:moveTo>
                      <a:cubicBezTo>
                        <a:pt x="2485" y="2620"/>
                        <a:pt x="9710" y="-1490"/>
                        <a:pt x="16934" y="503"/>
                      </a:cubicBezTo>
                      <a:cubicBezTo>
                        <a:pt x="24034" y="2495"/>
                        <a:pt x="28269" y="9844"/>
                        <a:pt x="26400" y="16820"/>
                      </a:cubicBezTo>
                      <a:cubicBezTo>
                        <a:pt x="24532" y="23919"/>
                        <a:pt x="17183" y="28030"/>
                        <a:pt x="9959" y="26037"/>
                      </a:cubicBezTo>
                      <a:cubicBezTo>
                        <a:pt x="2734" y="24044"/>
                        <a:pt x="-1500" y="16695"/>
                        <a:pt x="492"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7" name="Freeform 8515">
                  <a:extLst>
                    <a:ext uri="{FF2B5EF4-FFF2-40B4-BE49-F238E27FC236}">
                      <a16:creationId xmlns:a16="http://schemas.microsoft.com/office/drawing/2014/main" id="{75A6D9CF-D83A-8FAD-C1D5-4E9798B590B2}"/>
                    </a:ext>
                  </a:extLst>
                </p:cNvPr>
                <p:cNvSpPr/>
                <p:nvPr/>
              </p:nvSpPr>
              <p:spPr>
                <a:xfrm>
                  <a:off x="3268891" y="1537240"/>
                  <a:ext cx="14448" cy="50196"/>
                </a:xfrm>
                <a:custGeom>
                  <a:avLst/>
                  <a:gdLst>
                    <a:gd name="connsiteX0" fmla="*/ 14449 w 14448"/>
                    <a:gd name="connsiteY0" fmla="*/ 0 h 50196"/>
                    <a:gd name="connsiteX1" fmla="*/ 7598 w 14448"/>
                    <a:gd name="connsiteY1" fmla="*/ 17563 h 50196"/>
                    <a:gd name="connsiteX2" fmla="*/ 6353 w 14448"/>
                    <a:gd name="connsiteY2" fmla="*/ 35001 h 50196"/>
                    <a:gd name="connsiteX3" fmla="*/ 0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14449" y="0"/>
                      </a:moveTo>
                      <a:cubicBezTo>
                        <a:pt x="9964" y="7100"/>
                        <a:pt x="8345" y="13203"/>
                        <a:pt x="7598" y="17563"/>
                      </a:cubicBezTo>
                      <a:cubicBezTo>
                        <a:pt x="6477" y="24538"/>
                        <a:pt x="7723" y="28025"/>
                        <a:pt x="6353" y="35001"/>
                      </a:cubicBezTo>
                      <a:cubicBezTo>
                        <a:pt x="4982" y="41727"/>
                        <a:pt x="2117"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8" name="Freeform 8516">
                  <a:extLst>
                    <a:ext uri="{FF2B5EF4-FFF2-40B4-BE49-F238E27FC236}">
                      <a16:creationId xmlns:a16="http://schemas.microsoft.com/office/drawing/2014/main" id="{40F9BF8B-3948-B7B4-14E7-5F53B768421B}"/>
                    </a:ext>
                  </a:extLst>
                </p:cNvPr>
                <p:cNvSpPr/>
                <p:nvPr/>
              </p:nvSpPr>
              <p:spPr>
                <a:xfrm>
                  <a:off x="3278332" y="1534375"/>
                  <a:ext cx="13057" cy="50445"/>
                </a:xfrm>
                <a:custGeom>
                  <a:avLst/>
                  <a:gdLst>
                    <a:gd name="connsiteX0" fmla="*/ 26 w 13057"/>
                    <a:gd name="connsiteY0" fmla="*/ 50446 h 50445"/>
                    <a:gd name="connsiteX1" fmla="*/ 3015 w 13057"/>
                    <a:gd name="connsiteY1" fmla="*/ 31887 h 50445"/>
                    <a:gd name="connsiteX2" fmla="*/ 10737 w 13057"/>
                    <a:gd name="connsiteY2" fmla="*/ 16317 h 50445"/>
                    <a:gd name="connsiteX3" fmla="*/ 12979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26" y="50446"/>
                      </a:moveTo>
                      <a:cubicBezTo>
                        <a:pt x="-224" y="41976"/>
                        <a:pt x="1395" y="35873"/>
                        <a:pt x="3015" y="31887"/>
                      </a:cubicBezTo>
                      <a:cubicBezTo>
                        <a:pt x="5630" y="25410"/>
                        <a:pt x="8495" y="23043"/>
                        <a:pt x="10737" y="16317"/>
                      </a:cubicBezTo>
                      <a:cubicBezTo>
                        <a:pt x="12979" y="9840"/>
                        <a:pt x="13229" y="3861"/>
                        <a:pt x="12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9" name="Freeform 8517">
                  <a:extLst>
                    <a:ext uri="{FF2B5EF4-FFF2-40B4-BE49-F238E27FC236}">
                      <a16:creationId xmlns:a16="http://schemas.microsoft.com/office/drawing/2014/main" id="{9F2F5A19-274A-EC4C-4C31-A1ED1A6EC111}"/>
                    </a:ext>
                  </a:extLst>
                </p:cNvPr>
                <p:cNvSpPr/>
                <p:nvPr/>
              </p:nvSpPr>
              <p:spPr>
                <a:xfrm>
                  <a:off x="3275540" y="1518107"/>
                  <a:ext cx="26310" cy="26558"/>
                </a:xfrm>
                <a:custGeom>
                  <a:avLst/>
                  <a:gdLst>
                    <a:gd name="connsiteX0" fmla="*/ 25860 w 26310"/>
                    <a:gd name="connsiteY0" fmla="*/ 16767 h 26558"/>
                    <a:gd name="connsiteX1" fmla="*/ 9668 w 26310"/>
                    <a:gd name="connsiteY1" fmla="*/ 26109 h 26558"/>
                    <a:gd name="connsiteX2" fmla="*/ 451 w 26310"/>
                    <a:gd name="connsiteY2" fmla="*/ 9792 h 26558"/>
                    <a:gd name="connsiteX3" fmla="*/ 16643 w 26310"/>
                    <a:gd name="connsiteY3" fmla="*/ 450 h 26558"/>
                    <a:gd name="connsiteX4" fmla="*/ 25860 w 26310"/>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8">
                      <a:moveTo>
                        <a:pt x="25860" y="16767"/>
                      </a:moveTo>
                      <a:cubicBezTo>
                        <a:pt x="23992" y="23867"/>
                        <a:pt x="16768" y="27977"/>
                        <a:pt x="9668" y="26109"/>
                      </a:cubicBezTo>
                      <a:cubicBezTo>
                        <a:pt x="2693" y="24116"/>
                        <a:pt x="-1418" y="16892"/>
                        <a:pt x="451" y="9792"/>
                      </a:cubicBezTo>
                      <a:cubicBezTo>
                        <a:pt x="2444" y="2692"/>
                        <a:pt x="9668" y="-1418"/>
                        <a:pt x="16643" y="450"/>
                      </a:cubicBezTo>
                      <a:cubicBezTo>
                        <a:pt x="23618" y="2443"/>
                        <a:pt x="27729" y="9792"/>
                        <a:pt x="25860"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4" name="Graphic 2987">
                <a:extLst>
                  <a:ext uri="{FF2B5EF4-FFF2-40B4-BE49-F238E27FC236}">
                    <a16:creationId xmlns:a16="http://schemas.microsoft.com/office/drawing/2014/main" id="{E81A55C0-1D16-27A2-4D08-D3C3F83BC4FA}"/>
                  </a:ext>
                </a:extLst>
              </p:cNvPr>
              <p:cNvGrpSpPr/>
              <p:nvPr/>
            </p:nvGrpSpPr>
            <p:grpSpPr>
              <a:xfrm>
                <a:off x="3214259" y="1510332"/>
                <a:ext cx="59246" cy="144495"/>
                <a:chOff x="3214259" y="1510332"/>
                <a:chExt cx="59246" cy="144495"/>
              </a:xfrm>
              <a:grpFill/>
            </p:grpSpPr>
            <p:sp>
              <p:nvSpPr>
                <p:cNvPr id="5748" name="Freeform 8519">
                  <a:extLst>
                    <a:ext uri="{FF2B5EF4-FFF2-40B4-BE49-F238E27FC236}">
                      <a16:creationId xmlns:a16="http://schemas.microsoft.com/office/drawing/2014/main" id="{543A4198-2602-18BB-6F52-298A9A615247}"/>
                    </a:ext>
                  </a:extLst>
                </p:cNvPr>
                <p:cNvSpPr/>
                <p:nvPr/>
              </p:nvSpPr>
              <p:spPr>
                <a:xfrm>
                  <a:off x="3233019" y="1585693"/>
                  <a:ext cx="14573" cy="50072"/>
                </a:xfrm>
                <a:custGeom>
                  <a:avLst/>
                  <a:gdLst>
                    <a:gd name="connsiteX0" fmla="*/ 0 w 14573"/>
                    <a:gd name="connsiteY0" fmla="*/ 50072 h 50072"/>
                    <a:gd name="connsiteX1" fmla="*/ 6851 w 14573"/>
                    <a:gd name="connsiteY1" fmla="*/ 32634 h 50072"/>
                    <a:gd name="connsiteX2" fmla="*/ 8096 w 14573"/>
                    <a:gd name="connsiteY2" fmla="*/ 15196 h 50072"/>
                    <a:gd name="connsiteX3" fmla="*/ 14573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0" y="50072"/>
                      </a:moveTo>
                      <a:cubicBezTo>
                        <a:pt x="4609" y="42972"/>
                        <a:pt x="6228" y="36869"/>
                        <a:pt x="6851" y="32634"/>
                      </a:cubicBezTo>
                      <a:cubicBezTo>
                        <a:pt x="7972" y="25659"/>
                        <a:pt x="6726" y="22171"/>
                        <a:pt x="8096" y="15196"/>
                      </a:cubicBezTo>
                      <a:cubicBezTo>
                        <a:pt x="9467" y="8470"/>
                        <a:pt x="12331" y="3239"/>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9" name="Freeform 8520">
                  <a:extLst>
                    <a:ext uri="{FF2B5EF4-FFF2-40B4-BE49-F238E27FC236}">
                      <a16:creationId xmlns:a16="http://schemas.microsoft.com/office/drawing/2014/main" id="{4954B214-256F-0CA4-A92A-AF1BC42DB3D2}"/>
                    </a:ext>
                  </a:extLst>
                </p:cNvPr>
                <p:cNvSpPr/>
                <p:nvPr/>
              </p:nvSpPr>
              <p:spPr>
                <a:xfrm>
                  <a:off x="3224832" y="1588184"/>
                  <a:ext cx="13317" cy="50445"/>
                </a:xfrm>
                <a:custGeom>
                  <a:avLst/>
                  <a:gdLst>
                    <a:gd name="connsiteX0" fmla="*/ 13293 w 13317"/>
                    <a:gd name="connsiteY0" fmla="*/ 0 h 50445"/>
                    <a:gd name="connsiteX1" fmla="*/ 10179 w 13317"/>
                    <a:gd name="connsiteY1" fmla="*/ 18559 h 50445"/>
                    <a:gd name="connsiteX2" fmla="*/ 2332 w 13317"/>
                    <a:gd name="connsiteY2" fmla="*/ 34129 h 50445"/>
                    <a:gd name="connsiteX3" fmla="*/ 90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0"/>
                      </a:moveTo>
                      <a:cubicBezTo>
                        <a:pt x="13542" y="8470"/>
                        <a:pt x="11799" y="14573"/>
                        <a:pt x="10179" y="18559"/>
                      </a:cubicBezTo>
                      <a:cubicBezTo>
                        <a:pt x="7564" y="25036"/>
                        <a:pt x="4699" y="27403"/>
                        <a:pt x="2332" y="34129"/>
                      </a:cubicBezTo>
                      <a:cubicBezTo>
                        <a:pt x="-34" y="40606"/>
                        <a:pt x="-159" y="46585"/>
                        <a:pt x="9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0" name="Freeform 8521">
                  <a:extLst>
                    <a:ext uri="{FF2B5EF4-FFF2-40B4-BE49-F238E27FC236}">
                      <a16:creationId xmlns:a16="http://schemas.microsoft.com/office/drawing/2014/main" id="{EDE5E968-55C2-AB1B-F4BF-E18CD676F35D}"/>
                    </a:ext>
                  </a:extLst>
                </p:cNvPr>
                <p:cNvSpPr/>
                <p:nvPr/>
              </p:nvSpPr>
              <p:spPr>
                <a:xfrm>
                  <a:off x="3214259" y="1628288"/>
                  <a:ext cx="26726" cy="26539"/>
                </a:xfrm>
                <a:custGeom>
                  <a:avLst/>
                  <a:gdLst>
                    <a:gd name="connsiteX0" fmla="*/ 450 w 26726"/>
                    <a:gd name="connsiteY0" fmla="*/ 9720 h 26539"/>
                    <a:gd name="connsiteX1" fmla="*/ 16892 w 26726"/>
                    <a:gd name="connsiteY1" fmla="*/ 503 h 26539"/>
                    <a:gd name="connsiteX2" fmla="*/ 26234 w 26726"/>
                    <a:gd name="connsiteY2" fmla="*/ 16820 h 26539"/>
                    <a:gd name="connsiteX3" fmla="*/ 9792 w 26726"/>
                    <a:gd name="connsiteY3" fmla="*/ 26037 h 26539"/>
                    <a:gd name="connsiteX4" fmla="*/ 450 w 2672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38">
                      <a:moveTo>
                        <a:pt x="450" y="9720"/>
                      </a:moveTo>
                      <a:cubicBezTo>
                        <a:pt x="2443" y="2620"/>
                        <a:pt x="9792" y="-1490"/>
                        <a:pt x="16892" y="503"/>
                      </a:cubicBezTo>
                      <a:cubicBezTo>
                        <a:pt x="23992" y="2495"/>
                        <a:pt x="28227" y="9720"/>
                        <a:pt x="26234" y="16820"/>
                      </a:cubicBezTo>
                      <a:cubicBezTo>
                        <a:pt x="24241" y="23919"/>
                        <a:pt x="16892" y="28030"/>
                        <a:pt x="9792" y="26037"/>
                      </a:cubicBezTo>
                      <a:cubicBezTo>
                        <a:pt x="2692" y="24044"/>
                        <a:pt x="-1418" y="16820"/>
                        <a:pt x="450"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1" name="Freeform 8522">
                  <a:extLst>
                    <a:ext uri="{FF2B5EF4-FFF2-40B4-BE49-F238E27FC236}">
                      <a16:creationId xmlns:a16="http://schemas.microsoft.com/office/drawing/2014/main" id="{06760354-3140-AA11-87D4-6D5690F3C423}"/>
                    </a:ext>
                  </a:extLst>
                </p:cNvPr>
                <p:cNvSpPr/>
                <p:nvPr/>
              </p:nvSpPr>
              <p:spPr>
                <a:xfrm>
                  <a:off x="3240367" y="1529393"/>
                  <a:ext cx="14573" cy="49947"/>
                </a:xfrm>
                <a:custGeom>
                  <a:avLst/>
                  <a:gdLst>
                    <a:gd name="connsiteX0" fmla="*/ 14573 w 14573"/>
                    <a:gd name="connsiteY0" fmla="*/ 0 h 49947"/>
                    <a:gd name="connsiteX1" fmla="*/ 7723 w 14573"/>
                    <a:gd name="connsiteY1" fmla="*/ 17438 h 49947"/>
                    <a:gd name="connsiteX2" fmla="*/ 6477 w 14573"/>
                    <a:gd name="connsiteY2" fmla="*/ 34752 h 49947"/>
                    <a:gd name="connsiteX3" fmla="*/ 0 w 14573"/>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573" h="49947">
                      <a:moveTo>
                        <a:pt x="14573" y="0"/>
                      </a:moveTo>
                      <a:cubicBezTo>
                        <a:pt x="10089" y="7100"/>
                        <a:pt x="8346" y="13203"/>
                        <a:pt x="7723" y="17438"/>
                      </a:cubicBezTo>
                      <a:cubicBezTo>
                        <a:pt x="6602" y="24289"/>
                        <a:pt x="7847" y="27901"/>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2" name="Freeform 8523">
                  <a:extLst>
                    <a:ext uri="{FF2B5EF4-FFF2-40B4-BE49-F238E27FC236}">
                      <a16:creationId xmlns:a16="http://schemas.microsoft.com/office/drawing/2014/main" id="{0441DCAB-5D51-6A0F-6083-DE94318DF5E0}"/>
                    </a:ext>
                  </a:extLst>
                </p:cNvPr>
                <p:cNvSpPr/>
                <p:nvPr/>
              </p:nvSpPr>
              <p:spPr>
                <a:xfrm>
                  <a:off x="3249810" y="1526404"/>
                  <a:ext cx="13317" cy="50445"/>
                </a:xfrm>
                <a:custGeom>
                  <a:avLst/>
                  <a:gdLst>
                    <a:gd name="connsiteX0" fmla="*/ 24 w 13317"/>
                    <a:gd name="connsiteY0" fmla="*/ 50446 h 50445"/>
                    <a:gd name="connsiteX1" fmla="*/ 3138 w 13317"/>
                    <a:gd name="connsiteY1" fmla="*/ 31887 h 50445"/>
                    <a:gd name="connsiteX2" fmla="*/ 10985 w 13317"/>
                    <a:gd name="connsiteY2" fmla="*/ 16317 h 50445"/>
                    <a:gd name="connsiteX3" fmla="*/ 13227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24" y="50446"/>
                      </a:moveTo>
                      <a:cubicBezTo>
                        <a:pt x="-225" y="41976"/>
                        <a:pt x="1519" y="35873"/>
                        <a:pt x="3138" y="31887"/>
                      </a:cubicBezTo>
                      <a:cubicBezTo>
                        <a:pt x="5753" y="25410"/>
                        <a:pt x="8618" y="23043"/>
                        <a:pt x="10985" y="16317"/>
                      </a:cubicBezTo>
                      <a:cubicBezTo>
                        <a:pt x="13352" y="9840"/>
                        <a:pt x="13476" y="3861"/>
                        <a:pt x="132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3" name="Freeform 8524">
                  <a:extLst>
                    <a:ext uri="{FF2B5EF4-FFF2-40B4-BE49-F238E27FC236}">
                      <a16:creationId xmlns:a16="http://schemas.microsoft.com/office/drawing/2014/main" id="{A9AA43F4-5FB5-6DFD-4FA3-99941CD4355A}"/>
                    </a:ext>
                  </a:extLst>
                </p:cNvPr>
                <p:cNvSpPr/>
                <p:nvPr/>
              </p:nvSpPr>
              <p:spPr>
                <a:xfrm>
                  <a:off x="3247213" y="1510332"/>
                  <a:ext cx="26291" cy="26539"/>
                </a:xfrm>
                <a:custGeom>
                  <a:avLst/>
                  <a:gdLst>
                    <a:gd name="connsiteX0" fmla="*/ 25788 w 26291"/>
                    <a:gd name="connsiteY0" fmla="*/ 16820 h 26539"/>
                    <a:gd name="connsiteX1" fmla="*/ 9596 w 26291"/>
                    <a:gd name="connsiteY1" fmla="*/ 26037 h 26539"/>
                    <a:gd name="connsiteX2" fmla="*/ 503 w 26291"/>
                    <a:gd name="connsiteY2" fmla="*/ 9720 h 26539"/>
                    <a:gd name="connsiteX3" fmla="*/ 16696 w 26291"/>
                    <a:gd name="connsiteY3" fmla="*/ 503 h 26539"/>
                    <a:gd name="connsiteX4" fmla="*/ 25788 w 2629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8">
                      <a:moveTo>
                        <a:pt x="25788" y="16820"/>
                      </a:moveTo>
                      <a:cubicBezTo>
                        <a:pt x="23795" y="23919"/>
                        <a:pt x="16571" y="28030"/>
                        <a:pt x="9596" y="26037"/>
                      </a:cubicBezTo>
                      <a:cubicBezTo>
                        <a:pt x="2621" y="24044"/>
                        <a:pt x="-1490" y="16820"/>
                        <a:pt x="503" y="9720"/>
                      </a:cubicBezTo>
                      <a:cubicBezTo>
                        <a:pt x="2496" y="2620"/>
                        <a:pt x="9721" y="-1490"/>
                        <a:pt x="16696" y="503"/>
                      </a:cubicBezTo>
                      <a:cubicBezTo>
                        <a:pt x="23671" y="2371"/>
                        <a:pt x="27781" y="9720"/>
                        <a:pt x="25788"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5" name="Graphic 2987">
                <a:extLst>
                  <a:ext uri="{FF2B5EF4-FFF2-40B4-BE49-F238E27FC236}">
                    <a16:creationId xmlns:a16="http://schemas.microsoft.com/office/drawing/2014/main" id="{A31784D1-C29E-3462-431C-71AA8C62079E}"/>
                  </a:ext>
                </a:extLst>
              </p:cNvPr>
              <p:cNvGrpSpPr/>
              <p:nvPr/>
            </p:nvGrpSpPr>
            <p:grpSpPr>
              <a:xfrm>
                <a:off x="3185443" y="1502484"/>
                <a:ext cx="59662" cy="144370"/>
                <a:chOff x="3185443" y="1502484"/>
                <a:chExt cx="59662" cy="144370"/>
              </a:xfrm>
              <a:grpFill/>
            </p:grpSpPr>
            <p:sp>
              <p:nvSpPr>
                <p:cNvPr id="5742" name="Freeform 8526">
                  <a:extLst>
                    <a:ext uri="{FF2B5EF4-FFF2-40B4-BE49-F238E27FC236}">
                      <a16:creationId xmlns:a16="http://schemas.microsoft.com/office/drawing/2014/main" id="{2F11E11B-DDB5-7DD2-C6BE-9BA59049D074}"/>
                    </a:ext>
                  </a:extLst>
                </p:cNvPr>
                <p:cNvSpPr/>
                <p:nvPr/>
              </p:nvSpPr>
              <p:spPr>
                <a:xfrm>
                  <a:off x="3204246" y="1577846"/>
                  <a:ext cx="14697" cy="49947"/>
                </a:xfrm>
                <a:custGeom>
                  <a:avLst/>
                  <a:gdLst>
                    <a:gd name="connsiteX0" fmla="*/ 0 w 14697"/>
                    <a:gd name="connsiteY0" fmla="*/ 49948 h 49947"/>
                    <a:gd name="connsiteX1" fmla="*/ 6975 w 14697"/>
                    <a:gd name="connsiteY1" fmla="*/ 32510 h 49947"/>
                    <a:gd name="connsiteX2" fmla="*/ 8221 w 14697"/>
                    <a:gd name="connsiteY2" fmla="*/ 15196 h 49947"/>
                    <a:gd name="connsiteX3" fmla="*/ 14698 w 14697"/>
                    <a:gd name="connsiteY3" fmla="*/ 0 h 49947"/>
                  </a:gdLst>
                  <a:ahLst/>
                  <a:cxnLst>
                    <a:cxn ang="0">
                      <a:pos x="connsiteX0" y="connsiteY0"/>
                    </a:cxn>
                    <a:cxn ang="0">
                      <a:pos x="connsiteX1" y="connsiteY1"/>
                    </a:cxn>
                    <a:cxn ang="0">
                      <a:pos x="connsiteX2" y="connsiteY2"/>
                    </a:cxn>
                    <a:cxn ang="0">
                      <a:pos x="connsiteX3" y="connsiteY3"/>
                    </a:cxn>
                  </a:cxnLst>
                  <a:rect l="l" t="t" r="r" b="b"/>
                  <a:pathLst>
                    <a:path w="14697" h="49947">
                      <a:moveTo>
                        <a:pt x="0" y="49948"/>
                      </a:moveTo>
                      <a:cubicBezTo>
                        <a:pt x="4609" y="42848"/>
                        <a:pt x="6228" y="36745"/>
                        <a:pt x="6975" y="32510"/>
                      </a:cubicBezTo>
                      <a:cubicBezTo>
                        <a:pt x="8096" y="25659"/>
                        <a:pt x="6851" y="22047"/>
                        <a:pt x="8221" y="15196"/>
                      </a:cubicBezTo>
                      <a:cubicBezTo>
                        <a:pt x="9591" y="8470"/>
                        <a:pt x="12456" y="3239"/>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3" name="Freeform 8527">
                  <a:extLst>
                    <a:ext uri="{FF2B5EF4-FFF2-40B4-BE49-F238E27FC236}">
                      <a16:creationId xmlns:a16="http://schemas.microsoft.com/office/drawing/2014/main" id="{A0455DA3-61FB-9CC3-0372-6861D6A49D26}"/>
                    </a:ext>
                  </a:extLst>
                </p:cNvPr>
                <p:cNvSpPr/>
                <p:nvPr/>
              </p:nvSpPr>
              <p:spPr>
                <a:xfrm>
                  <a:off x="3196117" y="1580337"/>
                  <a:ext cx="13508" cy="50445"/>
                </a:xfrm>
                <a:custGeom>
                  <a:avLst/>
                  <a:gdLst>
                    <a:gd name="connsiteX0" fmla="*/ 13485 w 13508"/>
                    <a:gd name="connsiteY0" fmla="*/ 0 h 50445"/>
                    <a:gd name="connsiteX1" fmla="*/ 10371 w 13508"/>
                    <a:gd name="connsiteY1" fmla="*/ 18559 h 50445"/>
                    <a:gd name="connsiteX2" fmla="*/ 2399 w 13508"/>
                    <a:gd name="connsiteY2" fmla="*/ 34129 h 50445"/>
                    <a:gd name="connsiteX3" fmla="*/ 33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0"/>
                      </a:moveTo>
                      <a:cubicBezTo>
                        <a:pt x="13734" y="8345"/>
                        <a:pt x="11990" y="14449"/>
                        <a:pt x="10371" y="18559"/>
                      </a:cubicBezTo>
                      <a:cubicBezTo>
                        <a:pt x="7755" y="25036"/>
                        <a:pt x="4890" y="27403"/>
                        <a:pt x="2399" y="34129"/>
                      </a:cubicBezTo>
                      <a:cubicBezTo>
                        <a:pt x="33" y="40606"/>
                        <a:pt x="-92" y="46460"/>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4" name="Freeform 8528">
                  <a:extLst>
                    <a:ext uri="{FF2B5EF4-FFF2-40B4-BE49-F238E27FC236}">
                      <a16:creationId xmlns:a16="http://schemas.microsoft.com/office/drawing/2014/main" id="{823FFCD8-9FFE-1E1C-C82E-8A9A17078C56}"/>
                    </a:ext>
                  </a:extLst>
                </p:cNvPr>
                <p:cNvSpPr/>
                <p:nvPr/>
              </p:nvSpPr>
              <p:spPr>
                <a:xfrm>
                  <a:off x="3185443" y="1620316"/>
                  <a:ext cx="26769" cy="26539"/>
                </a:xfrm>
                <a:custGeom>
                  <a:avLst/>
                  <a:gdLst>
                    <a:gd name="connsiteX0" fmla="*/ 493 w 26769"/>
                    <a:gd name="connsiteY0" fmla="*/ 9720 h 26539"/>
                    <a:gd name="connsiteX1" fmla="*/ 16935 w 26769"/>
                    <a:gd name="connsiteY1" fmla="*/ 503 h 26539"/>
                    <a:gd name="connsiteX2" fmla="*/ 26277 w 26769"/>
                    <a:gd name="connsiteY2" fmla="*/ 16820 h 26539"/>
                    <a:gd name="connsiteX3" fmla="*/ 9835 w 26769"/>
                    <a:gd name="connsiteY3" fmla="*/ 26037 h 26539"/>
                    <a:gd name="connsiteX4" fmla="*/ 493 w 26769"/>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538">
                      <a:moveTo>
                        <a:pt x="493" y="9720"/>
                      </a:moveTo>
                      <a:cubicBezTo>
                        <a:pt x="2486" y="2620"/>
                        <a:pt x="9835" y="-1490"/>
                        <a:pt x="16935" y="503"/>
                      </a:cubicBezTo>
                      <a:cubicBezTo>
                        <a:pt x="24035" y="2496"/>
                        <a:pt x="28270" y="9720"/>
                        <a:pt x="26277" y="16820"/>
                      </a:cubicBezTo>
                      <a:cubicBezTo>
                        <a:pt x="24284" y="23919"/>
                        <a:pt x="16935" y="28030"/>
                        <a:pt x="9835" y="26037"/>
                      </a:cubicBezTo>
                      <a:cubicBezTo>
                        <a:pt x="2735" y="24044"/>
                        <a:pt x="-1500" y="16820"/>
                        <a:pt x="49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5" name="Freeform 8529">
                  <a:extLst>
                    <a:ext uri="{FF2B5EF4-FFF2-40B4-BE49-F238E27FC236}">
                      <a16:creationId xmlns:a16="http://schemas.microsoft.com/office/drawing/2014/main" id="{78E83E4E-8775-6453-E014-B8F70CC801B7}"/>
                    </a:ext>
                  </a:extLst>
                </p:cNvPr>
                <p:cNvSpPr/>
                <p:nvPr/>
              </p:nvSpPr>
              <p:spPr>
                <a:xfrm>
                  <a:off x="3211719" y="1521546"/>
                  <a:ext cx="14822" cy="49947"/>
                </a:xfrm>
                <a:custGeom>
                  <a:avLst/>
                  <a:gdLst>
                    <a:gd name="connsiteX0" fmla="*/ 14822 w 14822"/>
                    <a:gd name="connsiteY0" fmla="*/ 0 h 49947"/>
                    <a:gd name="connsiteX1" fmla="*/ 7847 w 14822"/>
                    <a:gd name="connsiteY1" fmla="*/ 17438 h 49947"/>
                    <a:gd name="connsiteX2" fmla="*/ 6477 w 14822"/>
                    <a:gd name="connsiteY2" fmla="*/ 34752 h 49947"/>
                    <a:gd name="connsiteX3" fmla="*/ 0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0"/>
                      </a:moveTo>
                      <a:cubicBezTo>
                        <a:pt x="10214" y="7100"/>
                        <a:pt x="8595" y="13203"/>
                        <a:pt x="7847" y="17438"/>
                      </a:cubicBezTo>
                      <a:cubicBezTo>
                        <a:pt x="6726" y="24289"/>
                        <a:pt x="7971" y="27776"/>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6" name="Freeform 8530">
                  <a:extLst>
                    <a:ext uri="{FF2B5EF4-FFF2-40B4-BE49-F238E27FC236}">
                      <a16:creationId xmlns:a16="http://schemas.microsoft.com/office/drawing/2014/main" id="{7371F145-BA2C-E782-34F7-AA61EE270C41}"/>
                    </a:ext>
                  </a:extLst>
                </p:cNvPr>
                <p:cNvSpPr/>
                <p:nvPr/>
              </p:nvSpPr>
              <p:spPr>
                <a:xfrm>
                  <a:off x="3221286" y="151855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2101"/>
                        <a:pt x="1519" y="35997"/>
                        <a:pt x="3138" y="31887"/>
                      </a:cubicBezTo>
                      <a:cubicBezTo>
                        <a:pt x="5753" y="25410"/>
                        <a:pt x="8618" y="23043"/>
                        <a:pt x="10985" y="16317"/>
                      </a:cubicBezTo>
                      <a:cubicBezTo>
                        <a:pt x="13352" y="9840"/>
                        <a:pt x="13476" y="3986"/>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7" name="Freeform 8531">
                  <a:extLst>
                    <a:ext uri="{FF2B5EF4-FFF2-40B4-BE49-F238E27FC236}">
                      <a16:creationId xmlns:a16="http://schemas.microsoft.com/office/drawing/2014/main" id="{B8869538-456D-D9D0-2909-488B56774312}"/>
                    </a:ext>
                  </a:extLst>
                </p:cNvPr>
                <p:cNvSpPr/>
                <p:nvPr/>
              </p:nvSpPr>
              <p:spPr>
                <a:xfrm>
                  <a:off x="3218690" y="1502484"/>
                  <a:ext cx="26415" cy="26539"/>
                </a:xfrm>
                <a:custGeom>
                  <a:avLst/>
                  <a:gdLst>
                    <a:gd name="connsiteX0" fmla="*/ 25913 w 26415"/>
                    <a:gd name="connsiteY0" fmla="*/ 16820 h 26539"/>
                    <a:gd name="connsiteX1" fmla="*/ 9596 w 26415"/>
                    <a:gd name="connsiteY1" fmla="*/ 26037 h 26539"/>
                    <a:gd name="connsiteX2" fmla="*/ 503 w 26415"/>
                    <a:gd name="connsiteY2" fmla="*/ 9720 h 26539"/>
                    <a:gd name="connsiteX3" fmla="*/ 16820 w 26415"/>
                    <a:gd name="connsiteY3" fmla="*/ 503 h 26539"/>
                    <a:gd name="connsiteX4" fmla="*/ 25913 w 2641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16820"/>
                      </a:moveTo>
                      <a:cubicBezTo>
                        <a:pt x="23920" y="23919"/>
                        <a:pt x="16696" y="28030"/>
                        <a:pt x="9596" y="26037"/>
                      </a:cubicBezTo>
                      <a:cubicBezTo>
                        <a:pt x="2620" y="24044"/>
                        <a:pt x="-1490" y="16820"/>
                        <a:pt x="503" y="9720"/>
                      </a:cubicBezTo>
                      <a:cubicBezTo>
                        <a:pt x="2496" y="2620"/>
                        <a:pt x="9845" y="-1490"/>
                        <a:pt x="16820" y="503"/>
                      </a:cubicBezTo>
                      <a:cubicBezTo>
                        <a:pt x="23795" y="2495"/>
                        <a:pt x="27906" y="9720"/>
                        <a:pt x="259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6" name="Graphic 2987">
                <a:extLst>
                  <a:ext uri="{FF2B5EF4-FFF2-40B4-BE49-F238E27FC236}">
                    <a16:creationId xmlns:a16="http://schemas.microsoft.com/office/drawing/2014/main" id="{99C33B60-5A06-13D7-812D-103E77210E0B}"/>
                  </a:ext>
                </a:extLst>
              </p:cNvPr>
              <p:cNvGrpSpPr/>
              <p:nvPr/>
            </p:nvGrpSpPr>
            <p:grpSpPr>
              <a:xfrm>
                <a:off x="3156660" y="1494771"/>
                <a:ext cx="60170" cy="144112"/>
                <a:chOff x="3156660" y="1494771"/>
                <a:chExt cx="60170" cy="144112"/>
              </a:xfrm>
              <a:grpFill/>
            </p:grpSpPr>
            <p:sp>
              <p:nvSpPr>
                <p:cNvPr id="5736" name="Freeform 8533">
                  <a:extLst>
                    <a:ext uri="{FF2B5EF4-FFF2-40B4-BE49-F238E27FC236}">
                      <a16:creationId xmlns:a16="http://schemas.microsoft.com/office/drawing/2014/main" id="{A787164D-1757-C98B-490A-69A78DCC1404}"/>
                    </a:ext>
                  </a:extLst>
                </p:cNvPr>
                <p:cNvSpPr/>
                <p:nvPr/>
              </p:nvSpPr>
              <p:spPr>
                <a:xfrm>
                  <a:off x="3175473" y="1569874"/>
                  <a:ext cx="14947" cy="49947"/>
                </a:xfrm>
                <a:custGeom>
                  <a:avLst/>
                  <a:gdLst>
                    <a:gd name="connsiteX0" fmla="*/ 0 w 14947"/>
                    <a:gd name="connsiteY0" fmla="*/ 49948 h 49947"/>
                    <a:gd name="connsiteX1" fmla="*/ 6975 w 14947"/>
                    <a:gd name="connsiteY1" fmla="*/ 32510 h 49947"/>
                    <a:gd name="connsiteX2" fmla="*/ 8345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2" y="36745"/>
                        <a:pt x="6975" y="32510"/>
                      </a:cubicBezTo>
                      <a:cubicBezTo>
                        <a:pt x="8096" y="25659"/>
                        <a:pt x="6851" y="22171"/>
                        <a:pt x="8345" y="15196"/>
                      </a:cubicBezTo>
                      <a:cubicBezTo>
                        <a:pt x="9715"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7" name="Freeform 8534">
                  <a:extLst>
                    <a:ext uri="{FF2B5EF4-FFF2-40B4-BE49-F238E27FC236}">
                      <a16:creationId xmlns:a16="http://schemas.microsoft.com/office/drawing/2014/main" id="{2D09E1FF-3944-4332-4638-5E1E2FAD7AEF}"/>
                    </a:ext>
                  </a:extLst>
                </p:cNvPr>
                <p:cNvSpPr/>
                <p:nvPr/>
              </p:nvSpPr>
              <p:spPr>
                <a:xfrm>
                  <a:off x="3167300" y="1572366"/>
                  <a:ext cx="13660" cy="50445"/>
                </a:xfrm>
                <a:custGeom>
                  <a:avLst/>
                  <a:gdLst>
                    <a:gd name="connsiteX0" fmla="*/ 13654 w 13660"/>
                    <a:gd name="connsiteY0" fmla="*/ 0 h 50445"/>
                    <a:gd name="connsiteX1" fmla="*/ 10415 w 13660"/>
                    <a:gd name="connsiteY1" fmla="*/ 18559 h 50445"/>
                    <a:gd name="connsiteX2" fmla="*/ 2444 w 13660"/>
                    <a:gd name="connsiteY2" fmla="*/ 34129 h 50445"/>
                    <a:gd name="connsiteX3" fmla="*/ 77 w 13660"/>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660" h="50445">
                      <a:moveTo>
                        <a:pt x="13654" y="0"/>
                      </a:moveTo>
                      <a:cubicBezTo>
                        <a:pt x="13778" y="8345"/>
                        <a:pt x="12035" y="14449"/>
                        <a:pt x="10415" y="18559"/>
                      </a:cubicBezTo>
                      <a:cubicBezTo>
                        <a:pt x="7800" y="25036"/>
                        <a:pt x="4810" y="27403"/>
                        <a:pt x="2444" y="34129"/>
                      </a:cubicBezTo>
                      <a:cubicBezTo>
                        <a:pt x="77" y="40606"/>
                        <a:pt x="-172" y="46460"/>
                        <a:pt x="7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8" name="Freeform 8535">
                  <a:extLst>
                    <a:ext uri="{FF2B5EF4-FFF2-40B4-BE49-F238E27FC236}">
                      <a16:creationId xmlns:a16="http://schemas.microsoft.com/office/drawing/2014/main" id="{62284613-0AA9-5F46-85BF-0120EEB0C9B6}"/>
                    </a:ext>
                  </a:extLst>
                </p:cNvPr>
                <p:cNvSpPr/>
                <p:nvPr/>
              </p:nvSpPr>
              <p:spPr>
                <a:xfrm>
                  <a:off x="3156660" y="1612396"/>
                  <a:ext cx="26788" cy="26487"/>
                </a:xfrm>
                <a:custGeom>
                  <a:avLst/>
                  <a:gdLst>
                    <a:gd name="connsiteX0" fmla="*/ 503 w 26788"/>
                    <a:gd name="connsiteY0" fmla="*/ 9668 h 26487"/>
                    <a:gd name="connsiteX1" fmla="*/ 17069 w 26788"/>
                    <a:gd name="connsiteY1" fmla="*/ 451 h 26487"/>
                    <a:gd name="connsiteX2" fmla="*/ 26286 w 26788"/>
                    <a:gd name="connsiteY2" fmla="*/ 16768 h 26487"/>
                    <a:gd name="connsiteX3" fmla="*/ 9720 w 26788"/>
                    <a:gd name="connsiteY3" fmla="*/ 25985 h 26487"/>
                    <a:gd name="connsiteX4" fmla="*/ 503 w 26788"/>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87">
                      <a:moveTo>
                        <a:pt x="503" y="9668"/>
                      </a:moveTo>
                      <a:cubicBezTo>
                        <a:pt x="2496" y="2693"/>
                        <a:pt x="9969" y="-1418"/>
                        <a:pt x="17069" y="451"/>
                      </a:cubicBezTo>
                      <a:cubicBezTo>
                        <a:pt x="24168" y="2443"/>
                        <a:pt x="28279" y="9668"/>
                        <a:pt x="26286" y="16768"/>
                      </a:cubicBezTo>
                      <a:cubicBezTo>
                        <a:pt x="24293" y="23867"/>
                        <a:pt x="16944" y="27978"/>
                        <a:pt x="9720" y="25985"/>
                      </a:cubicBezTo>
                      <a:cubicBezTo>
                        <a:pt x="2620" y="23992"/>
                        <a:pt x="-1490" y="16768"/>
                        <a:pt x="503"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9" name="Freeform 8536">
                  <a:extLst>
                    <a:ext uri="{FF2B5EF4-FFF2-40B4-BE49-F238E27FC236}">
                      <a16:creationId xmlns:a16="http://schemas.microsoft.com/office/drawing/2014/main" id="{F0351746-A0A7-E9D1-D539-64BD1DBDE1FC}"/>
                    </a:ext>
                  </a:extLst>
                </p:cNvPr>
                <p:cNvSpPr/>
                <p:nvPr/>
              </p:nvSpPr>
              <p:spPr>
                <a:xfrm>
                  <a:off x="3183195" y="1513823"/>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7972" y="27776"/>
                        <a:pt x="6602" y="34752"/>
                      </a:cubicBezTo>
                      <a:cubicBezTo>
                        <a:pt x="5231"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0" name="Freeform 8537">
                  <a:extLst>
                    <a:ext uri="{FF2B5EF4-FFF2-40B4-BE49-F238E27FC236}">
                      <a16:creationId xmlns:a16="http://schemas.microsoft.com/office/drawing/2014/main" id="{9286D337-9EC0-EFF4-F0AC-D731B33DE6D4}"/>
                    </a:ext>
                  </a:extLst>
                </p:cNvPr>
                <p:cNvSpPr/>
                <p:nvPr/>
              </p:nvSpPr>
              <p:spPr>
                <a:xfrm>
                  <a:off x="3192639" y="1510710"/>
                  <a:ext cx="13676" cy="50445"/>
                </a:xfrm>
                <a:custGeom>
                  <a:avLst/>
                  <a:gdLst>
                    <a:gd name="connsiteX0" fmla="*/ 23 w 13676"/>
                    <a:gd name="connsiteY0" fmla="*/ 50446 h 50445"/>
                    <a:gd name="connsiteX1" fmla="*/ 3261 w 13676"/>
                    <a:gd name="connsiteY1" fmla="*/ 31887 h 50445"/>
                    <a:gd name="connsiteX2" fmla="*/ 11233 w 13676"/>
                    <a:gd name="connsiteY2" fmla="*/ 16317 h 50445"/>
                    <a:gd name="connsiteX3" fmla="*/ 13599 w 13676"/>
                    <a:gd name="connsiteY3" fmla="*/ 0 h 50445"/>
                  </a:gdLst>
                  <a:ahLst/>
                  <a:cxnLst>
                    <a:cxn ang="0">
                      <a:pos x="connsiteX0" y="connsiteY0"/>
                    </a:cxn>
                    <a:cxn ang="0">
                      <a:pos x="connsiteX1" y="connsiteY1"/>
                    </a:cxn>
                    <a:cxn ang="0">
                      <a:pos x="connsiteX2" y="connsiteY2"/>
                    </a:cxn>
                    <a:cxn ang="0">
                      <a:pos x="connsiteX3" y="connsiteY3"/>
                    </a:cxn>
                  </a:cxnLst>
                  <a:rect l="l" t="t" r="r" b="b"/>
                  <a:pathLst>
                    <a:path w="13676" h="50445">
                      <a:moveTo>
                        <a:pt x="23" y="50446"/>
                      </a:moveTo>
                      <a:cubicBezTo>
                        <a:pt x="-227" y="42100"/>
                        <a:pt x="1642" y="35997"/>
                        <a:pt x="3261" y="31887"/>
                      </a:cubicBezTo>
                      <a:cubicBezTo>
                        <a:pt x="5877" y="25410"/>
                        <a:pt x="8741" y="23043"/>
                        <a:pt x="11233" y="16317"/>
                      </a:cubicBezTo>
                      <a:cubicBezTo>
                        <a:pt x="13599" y="9840"/>
                        <a:pt x="13848" y="3986"/>
                        <a:pt x="135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1" name="Freeform 8538">
                  <a:extLst>
                    <a:ext uri="{FF2B5EF4-FFF2-40B4-BE49-F238E27FC236}">
                      <a16:creationId xmlns:a16="http://schemas.microsoft.com/office/drawing/2014/main" id="{B8399014-A637-F8C6-1C78-F67EEAB488D4}"/>
                    </a:ext>
                  </a:extLst>
                </p:cNvPr>
                <p:cNvSpPr/>
                <p:nvPr/>
              </p:nvSpPr>
              <p:spPr>
                <a:xfrm>
                  <a:off x="3190415" y="1494771"/>
                  <a:ext cx="26416" cy="26405"/>
                </a:xfrm>
                <a:custGeom>
                  <a:avLst/>
                  <a:gdLst>
                    <a:gd name="connsiteX0" fmla="*/ 25913 w 26416"/>
                    <a:gd name="connsiteY0" fmla="*/ 16686 h 26405"/>
                    <a:gd name="connsiteX1" fmla="*/ 9596 w 26416"/>
                    <a:gd name="connsiteY1" fmla="*/ 25903 h 26405"/>
                    <a:gd name="connsiteX2" fmla="*/ 503 w 26416"/>
                    <a:gd name="connsiteY2" fmla="*/ 9711 h 26405"/>
                    <a:gd name="connsiteX3" fmla="*/ 16820 w 26416"/>
                    <a:gd name="connsiteY3" fmla="*/ 494 h 26405"/>
                    <a:gd name="connsiteX4" fmla="*/ 25913 w 26416"/>
                    <a:gd name="connsiteY4" fmla="*/ 1668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05">
                      <a:moveTo>
                        <a:pt x="25913" y="16686"/>
                      </a:moveTo>
                      <a:cubicBezTo>
                        <a:pt x="23920" y="23786"/>
                        <a:pt x="16571" y="27896"/>
                        <a:pt x="9596" y="25903"/>
                      </a:cubicBezTo>
                      <a:cubicBezTo>
                        <a:pt x="2621" y="23910"/>
                        <a:pt x="-1490" y="16686"/>
                        <a:pt x="503" y="9711"/>
                      </a:cubicBezTo>
                      <a:cubicBezTo>
                        <a:pt x="2496" y="2736"/>
                        <a:pt x="9845" y="-1499"/>
                        <a:pt x="16820" y="494"/>
                      </a:cubicBezTo>
                      <a:cubicBezTo>
                        <a:pt x="23795" y="2362"/>
                        <a:pt x="27906" y="9586"/>
                        <a:pt x="2591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7" name="Graphic 2987">
                <a:extLst>
                  <a:ext uri="{FF2B5EF4-FFF2-40B4-BE49-F238E27FC236}">
                    <a16:creationId xmlns:a16="http://schemas.microsoft.com/office/drawing/2014/main" id="{327F55EA-E2C7-0D33-2145-30E63A076F22}"/>
                  </a:ext>
                </a:extLst>
              </p:cNvPr>
              <p:cNvGrpSpPr/>
              <p:nvPr/>
            </p:nvGrpSpPr>
            <p:grpSpPr>
              <a:xfrm>
                <a:off x="3127763" y="1486924"/>
                <a:ext cx="60678" cy="143936"/>
                <a:chOff x="3127763" y="1486924"/>
                <a:chExt cx="60678" cy="143936"/>
              </a:xfrm>
              <a:grpFill/>
            </p:grpSpPr>
            <p:sp>
              <p:nvSpPr>
                <p:cNvPr id="5730" name="Freeform 8540">
                  <a:extLst>
                    <a:ext uri="{FF2B5EF4-FFF2-40B4-BE49-F238E27FC236}">
                      <a16:creationId xmlns:a16="http://schemas.microsoft.com/office/drawing/2014/main" id="{46E4F751-27A4-80E8-52CB-0318F0E20213}"/>
                    </a:ext>
                  </a:extLst>
                </p:cNvPr>
                <p:cNvSpPr/>
                <p:nvPr/>
              </p:nvSpPr>
              <p:spPr>
                <a:xfrm>
                  <a:off x="3146700" y="1561903"/>
                  <a:ext cx="15071" cy="49947"/>
                </a:xfrm>
                <a:custGeom>
                  <a:avLst/>
                  <a:gdLst>
                    <a:gd name="connsiteX0" fmla="*/ 0 w 15071"/>
                    <a:gd name="connsiteY0" fmla="*/ 49948 h 49947"/>
                    <a:gd name="connsiteX1" fmla="*/ 7100 w 15071"/>
                    <a:gd name="connsiteY1" fmla="*/ 32510 h 49947"/>
                    <a:gd name="connsiteX2" fmla="*/ 8470 w 15071"/>
                    <a:gd name="connsiteY2" fmla="*/ 15196 h 49947"/>
                    <a:gd name="connsiteX3" fmla="*/ 15071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0" y="49948"/>
                      </a:moveTo>
                      <a:cubicBezTo>
                        <a:pt x="4609" y="42848"/>
                        <a:pt x="6352" y="36745"/>
                        <a:pt x="7100" y="32510"/>
                      </a:cubicBezTo>
                      <a:cubicBezTo>
                        <a:pt x="8221" y="25659"/>
                        <a:pt x="7100" y="22171"/>
                        <a:pt x="8470" y="15196"/>
                      </a:cubicBezTo>
                      <a:cubicBezTo>
                        <a:pt x="9964" y="8470"/>
                        <a:pt x="12829" y="3363"/>
                        <a:pt x="150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1" name="Freeform 8541">
                  <a:extLst>
                    <a:ext uri="{FF2B5EF4-FFF2-40B4-BE49-F238E27FC236}">
                      <a16:creationId xmlns:a16="http://schemas.microsoft.com/office/drawing/2014/main" id="{AC32612F-1B68-B426-BA25-A0224636E2B9}"/>
                    </a:ext>
                  </a:extLst>
                </p:cNvPr>
                <p:cNvSpPr/>
                <p:nvPr/>
              </p:nvSpPr>
              <p:spPr>
                <a:xfrm>
                  <a:off x="3138454" y="1564518"/>
                  <a:ext cx="13857" cy="50196"/>
                </a:xfrm>
                <a:custGeom>
                  <a:avLst/>
                  <a:gdLst>
                    <a:gd name="connsiteX0" fmla="*/ 13852 w 13857"/>
                    <a:gd name="connsiteY0" fmla="*/ 0 h 50196"/>
                    <a:gd name="connsiteX1" fmla="*/ 10613 w 13857"/>
                    <a:gd name="connsiteY1" fmla="*/ 18435 h 50196"/>
                    <a:gd name="connsiteX2" fmla="*/ 2517 w 13857"/>
                    <a:gd name="connsiteY2" fmla="*/ 33880 h 50196"/>
                    <a:gd name="connsiteX3" fmla="*/ 26 w 13857"/>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57" h="50196">
                      <a:moveTo>
                        <a:pt x="13852" y="0"/>
                      </a:moveTo>
                      <a:cubicBezTo>
                        <a:pt x="13976" y="8345"/>
                        <a:pt x="12232" y="14449"/>
                        <a:pt x="10613" y="18435"/>
                      </a:cubicBezTo>
                      <a:cubicBezTo>
                        <a:pt x="7873" y="24912"/>
                        <a:pt x="5008" y="27278"/>
                        <a:pt x="2517"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2" name="Freeform 8542">
                  <a:extLst>
                    <a:ext uri="{FF2B5EF4-FFF2-40B4-BE49-F238E27FC236}">
                      <a16:creationId xmlns:a16="http://schemas.microsoft.com/office/drawing/2014/main" id="{0660BE72-36E8-8F59-E7AC-6967E1456C85}"/>
                    </a:ext>
                  </a:extLst>
                </p:cNvPr>
                <p:cNvSpPr/>
                <p:nvPr/>
              </p:nvSpPr>
              <p:spPr>
                <a:xfrm>
                  <a:off x="3127763" y="1604425"/>
                  <a:ext cx="26788" cy="26435"/>
                </a:xfrm>
                <a:custGeom>
                  <a:avLst/>
                  <a:gdLst>
                    <a:gd name="connsiteX0" fmla="*/ 502 w 26788"/>
                    <a:gd name="connsiteY0" fmla="*/ 9668 h 26435"/>
                    <a:gd name="connsiteX1" fmla="*/ 17069 w 26788"/>
                    <a:gd name="connsiteY1" fmla="*/ 451 h 26435"/>
                    <a:gd name="connsiteX2" fmla="*/ 26286 w 26788"/>
                    <a:gd name="connsiteY2" fmla="*/ 16768 h 26435"/>
                    <a:gd name="connsiteX3" fmla="*/ 9720 w 26788"/>
                    <a:gd name="connsiteY3" fmla="*/ 25985 h 26435"/>
                    <a:gd name="connsiteX4" fmla="*/ 502 w 26788"/>
                    <a:gd name="connsiteY4" fmla="*/ 9668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35">
                      <a:moveTo>
                        <a:pt x="502" y="9668"/>
                      </a:moveTo>
                      <a:cubicBezTo>
                        <a:pt x="2495" y="2693"/>
                        <a:pt x="9969" y="-1418"/>
                        <a:pt x="17069" y="451"/>
                      </a:cubicBezTo>
                      <a:cubicBezTo>
                        <a:pt x="24169" y="2443"/>
                        <a:pt x="28279" y="9668"/>
                        <a:pt x="26286" y="16768"/>
                      </a:cubicBezTo>
                      <a:cubicBezTo>
                        <a:pt x="24293" y="23743"/>
                        <a:pt x="16820" y="27853"/>
                        <a:pt x="9720" y="25985"/>
                      </a:cubicBezTo>
                      <a:cubicBezTo>
                        <a:pt x="2620" y="23992"/>
                        <a:pt x="-1490" y="16768"/>
                        <a:pt x="502"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3" name="Freeform 8543">
                  <a:extLst>
                    <a:ext uri="{FF2B5EF4-FFF2-40B4-BE49-F238E27FC236}">
                      <a16:creationId xmlns:a16="http://schemas.microsoft.com/office/drawing/2014/main" id="{F25BE73C-548D-89A2-3077-3E706FF3FB0E}"/>
                    </a:ext>
                  </a:extLst>
                </p:cNvPr>
                <p:cNvSpPr/>
                <p:nvPr/>
              </p:nvSpPr>
              <p:spPr>
                <a:xfrm>
                  <a:off x="3154547" y="1505976"/>
                  <a:ext cx="15196" cy="49947"/>
                </a:xfrm>
                <a:custGeom>
                  <a:avLst/>
                  <a:gdLst>
                    <a:gd name="connsiteX0" fmla="*/ 15196 w 15196"/>
                    <a:gd name="connsiteY0" fmla="*/ 0 h 49947"/>
                    <a:gd name="connsiteX1" fmla="*/ 8096 w 15196"/>
                    <a:gd name="connsiteY1" fmla="*/ 17438 h 49947"/>
                    <a:gd name="connsiteX2" fmla="*/ 6602 w 15196"/>
                    <a:gd name="connsiteY2" fmla="*/ 34752 h 49947"/>
                    <a:gd name="connsiteX3" fmla="*/ 0 w 15196"/>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0"/>
                      </a:moveTo>
                      <a:cubicBezTo>
                        <a:pt x="10587" y="7100"/>
                        <a:pt x="8844" y="13203"/>
                        <a:pt x="8096" y="17438"/>
                      </a:cubicBezTo>
                      <a:cubicBezTo>
                        <a:pt x="6851" y="24289"/>
                        <a:pt x="8096" y="27776"/>
                        <a:pt x="6602" y="34752"/>
                      </a:cubicBezTo>
                      <a:cubicBezTo>
                        <a:pt x="5107"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4" name="Freeform 8544">
                  <a:extLst>
                    <a:ext uri="{FF2B5EF4-FFF2-40B4-BE49-F238E27FC236}">
                      <a16:creationId xmlns:a16="http://schemas.microsoft.com/office/drawing/2014/main" id="{E71B6914-0A73-9863-83A5-12633087D929}"/>
                    </a:ext>
                  </a:extLst>
                </p:cNvPr>
                <p:cNvSpPr/>
                <p:nvPr/>
              </p:nvSpPr>
              <p:spPr>
                <a:xfrm>
                  <a:off x="3164132" y="1502987"/>
                  <a:ext cx="13733" cy="50196"/>
                </a:xfrm>
                <a:custGeom>
                  <a:avLst/>
                  <a:gdLst>
                    <a:gd name="connsiteX0" fmla="*/ 6 w 13733"/>
                    <a:gd name="connsiteY0" fmla="*/ 50197 h 50196"/>
                    <a:gd name="connsiteX1" fmla="*/ 3245 w 13733"/>
                    <a:gd name="connsiteY1" fmla="*/ 31762 h 50196"/>
                    <a:gd name="connsiteX2" fmla="*/ 11216 w 13733"/>
                    <a:gd name="connsiteY2" fmla="*/ 16317 h 50196"/>
                    <a:gd name="connsiteX3" fmla="*/ 13708 w 13733"/>
                    <a:gd name="connsiteY3" fmla="*/ 0 h 50196"/>
                  </a:gdLst>
                  <a:ahLst/>
                  <a:cxnLst>
                    <a:cxn ang="0">
                      <a:pos x="connsiteX0" y="connsiteY0"/>
                    </a:cxn>
                    <a:cxn ang="0">
                      <a:pos x="connsiteX1" y="connsiteY1"/>
                    </a:cxn>
                    <a:cxn ang="0">
                      <a:pos x="connsiteX2" y="connsiteY2"/>
                    </a:cxn>
                    <a:cxn ang="0">
                      <a:pos x="connsiteX3" y="connsiteY3"/>
                    </a:cxn>
                  </a:cxnLst>
                  <a:rect l="l" t="t" r="r" b="b"/>
                  <a:pathLst>
                    <a:path w="13733" h="50196">
                      <a:moveTo>
                        <a:pt x="6" y="50197"/>
                      </a:moveTo>
                      <a:cubicBezTo>
                        <a:pt x="-118" y="41851"/>
                        <a:pt x="1626" y="35748"/>
                        <a:pt x="3245" y="31762"/>
                      </a:cubicBezTo>
                      <a:cubicBezTo>
                        <a:pt x="5985" y="25285"/>
                        <a:pt x="8850" y="22919"/>
                        <a:pt x="11216" y="16317"/>
                      </a:cubicBezTo>
                      <a:cubicBezTo>
                        <a:pt x="13583" y="9840"/>
                        <a:pt x="13832" y="3986"/>
                        <a:pt x="13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5" name="Freeform 8545">
                  <a:extLst>
                    <a:ext uri="{FF2B5EF4-FFF2-40B4-BE49-F238E27FC236}">
                      <a16:creationId xmlns:a16="http://schemas.microsoft.com/office/drawing/2014/main" id="{257F092F-83FE-20C5-374A-3025E238E2A4}"/>
                    </a:ext>
                  </a:extLst>
                </p:cNvPr>
                <p:cNvSpPr/>
                <p:nvPr/>
              </p:nvSpPr>
              <p:spPr>
                <a:xfrm>
                  <a:off x="3162086" y="1486924"/>
                  <a:ext cx="26355" cy="26397"/>
                </a:xfrm>
                <a:custGeom>
                  <a:avLst/>
                  <a:gdLst>
                    <a:gd name="connsiteX0" fmla="*/ 25843 w 26355"/>
                    <a:gd name="connsiteY0" fmla="*/ 16686 h 26397"/>
                    <a:gd name="connsiteX1" fmla="*/ 9526 w 26355"/>
                    <a:gd name="connsiteY1" fmla="*/ 25903 h 26397"/>
                    <a:gd name="connsiteX2" fmla="*/ 558 w 26355"/>
                    <a:gd name="connsiteY2" fmla="*/ 9711 h 26397"/>
                    <a:gd name="connsiteX3" fmla="*/ 16875 w 26355"/>
                    <a:gd name="connsiteY3" fmla="*/ 494 h 26397"/>
                    <a:gd name="connsiteX4" fmla="*/ 25843 w 26355"/>
                    <a:gd name="connsiteY4" fmla="*/ 16686 h 26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397">
                      <a:moveTo>
                        <a:pt x="25843" y="16686"/>
                      </a:moveTo>
                      <a:cubicBezTo>
                        <a:pt x="23850" y="23661"/>
                        <a:pt x="16501" y="27896"/>
                        <a:pt x="9526" y="25903"/>
                      </a:cubicBezTo>
                      <a:cubicBezTo>
                        <a:pt x="2551" y="23910"/>
                        <a:pt x="-1560" y="16686"/>
                        <a:pt x="558" y="9711"/>
                      </a:cubicBezTo>
                      <a:cubicBezTo>
                        <a:pt x="2551" y="2736"/>
                        <a:pt x="9900" y="-1499"/>
                        <a:pt x="16875" y="494"/>
                      </a:cubicBezTo>
                      <a:cubicBezTo>
                        <a:pt x="23850" y="2362"/>
                        <a:pt x="27836" y="9586"/>
                        <a:pt x="2584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8" name="Graphic 2987">
                <a:extLst>
                  <a:ext uri="{FF2B5EF4-FFF2-40B4-BE49-F238E27FC236}">
                    <a16:creationId xmlns:a16="http://schemas.microsoft.com/office/drawing/2014/main" id="{3B82D6CB-0354-9FFB-02E2-0A1FD930D2AF}"/>
                  </a:ext>
                </a:extLst>
              </p:cNvPr>
              <p:cNvGrpSpPr/>
              <p:nvPr/>
            </p:nvGrpSpPr>
            <p:grpSpPr>
              <a:xfrm>
                <a:off x="3099105" y="1478877"/>
                <a:ext cx="60982" cy="144108"/>
                <a:chOff x="3099105" y="1478877"/>
                <a:chExt cx="60982" cy="144108"/>
              </a:xfrm>
              <a:grpFill/>
            </p:grpSpPr>
            <p:sp>
              <p:nvSpPr>
                <p:cNvPr id="5724" name="Freeform 8547">
                  <a:extLst>
                    <a:ext uri="{FF2B5EF4-FFF2-40B4-BE49-F238E27FC236}">
                      <a16:creationId xmlns:a16="http://schemas.microsoft.com/office/drawing/2014/main" id="{4427571B-E4EC-05CD-C486-7F2560E3C03C}"/>
                    </a:ext>
                  </a:extLst>
                </p:cNvPr>
                <p:cNvSpPr/>
                <p:nvPr/>
              </p:nvSpPr>
              <p:spPr>
                <a:xfrm>
                  <a:off x="3117927" y="1554056"/>
                  <a:ext cx="15445" cy="49823"/>
                </a:xfrm>
                <a:custGeom>
                  <a:avLst/>
                  <a:gdLst>
                    <a:gd name="connsiteX0" fmla="*/ 0 w 15445"/>
                    <a:gd name="connsiteY0" fmla="*/ 49823 h 49823"/>
                    <a:gd name="connsiteX1" fmla="*/ 7224 w 15445"/>
                    <a:gd name="connsiteY1" fmla="*/ 32385 h 49823"/>
                    <a:gd name="connsiteX2" fmla="*/ 8719 w 15445"/>
                    <a:gd name="connsiteY2" fmla="*/ 15071 h 49823"/>
                    <a:gd name="connsiteX3" fmla="*/ 15445 w 15445"/>
                    <a:gd name="connsiteY3" fmla="*/ 0 h 49823"/>
                  </a:gdLst>
                  <a:ahLst/>
                  <a:cxnLst>
                    <a:cxn ang="0">
                      <a:pos x="connsiteX0" y="connsiteY0"/>
                    </a:cxn>
                    <a:cxn ang="0">
                      <a:pos x="connsiteX1" y="connsiteY1"/>
                    </a:cxn>
                    <a:cxn ang="0">
                      <a:pos x="connsiteX2" y="connsiteY2"/>
                    </a:cxn>
                    <a:cxn ang="0">
                      <a:pos x="connsiteX3" y="connsiteY3"/>
                    </a:cxn>
                  </a:cxnLst>
                  <a:rect l="l" t="t" r="r" b="b"/>
                  <a:pathLst>
                    <a:path w="15445" h="49823">
                      <a:moveTo>
                        <a:pt x="0" y="49823"/>
                      </a:moveTo>
                      <a:cubicBezTo>
                        <a:pt x="4609" y="42723"/>
                        <a:pt x="6477" y="36745"/>
                        <a:pt x="7224" y="32385"/>
                      </a:cubicBezTo>
                      <a:cubicBezTo>
                        <a:pt x="8470" y="25534"/>
                        <a:pt x="7224" y="22047"/>
                        <a:pt x="8719" y="15071"/>
                      </a:cubicBezTo>
                      <a:cubicBezTo>
                        <a:pt x="10214" y="8345"/>
                        <a:pt x="13078" y="3239"/>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5" name="Freeform 8548">
                  <a:extLst>
                    <a:ext uri="{FF2B5EF4-FFF2-40B4-BE49-F238E27FC236}">
                      <a16:creationId xmlns:a16="http://schemas.microsoft.com/office/drawing/2014/main" id="{9AA17411-F89A-C39A-93CB-D62287DF7783}"/>
                    </a:ext>
                  </a:extLst>
                </p:cNvPr>
                <p:cNvSpPr/>
                <p:nvPr/>
              </p:nvSpPr>
              <p:spPr>
                <a:xfrm>
                  <a:off x="3109765" y="1556422"/>
                  <a:ext cx="14022" cy="50196"/>
                </a:xfrm>
                <a:custGeom>
                  <a:avLst/>
                  <a:gdLst>
                    <a:gd name="connsiteX0" fmla="*/ 14017 w 14022"/>
                    <a:gd name="connsiteY0" fmla="*/ 0 h 50196"/>
                    <a:gd name="connsiteX1" fmla="*/ 10654 w 14022"/>
                    <a:gd name="connsiteY1" fmla="*/ 18559 h 50196"/>
                    <a:gd name="connsiteX2" fmla="*/ 2557 w 14022"/>
                    <a:gd name="connsiteY2" fmla="*/ 33880 h 50196"/>
                    <a:gd name="connsiteX3" fmla="*/ 6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0"/>
                      </a:moveTo>
                      <a:cubicBezTo>
                        <a:pt x="14141" y="8470"/>
                        <a:pt x="12273" y="14573"/>
                        <a:pt x="10654" y="18559"/>
                      </a:cubicBezTo>
                      <a:cubicBezTo>
                        <a:pt x="7914" y="25036"/>
                        <a:pt x="5049" y="27278"/>
                        <a:pt x="2557" y="33880"/>
                      </a:cubicBezTo>
                      <a:cubicBezTo>
                        <a:pt x="191" y="40357"/>
                        <a:pt x="-183" y="46211"/>
                        <a:pt x="6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6" name="Freeform 8549">
                  <a:extLst>
                    <a:ext uri="{FF2B5EF4-FFF2-40B4-BE49-F238E27FC236}">
                      <a16:creationId xmlns:a16="http://schemas.microsoft.com/office/drawing/2014/main" id="{645CF9D7-6302-8A2A-F96F-6BE009553448}"/>
                    </a:ext>
                  </a:extLst>
                </p:cNvPr>
                <p:cNvSpPr/>
                <p:nvPr/>
              </p:nvSpPr>
              <p:spPr>
                <a:xfrm>
                  <a:off x="3099105" y="1596278"/>
                  <a:ext cx="26728" cy="26707"/>
                </a:xfrm>
                <a:custGeom>
                  <a:avLst/>
                  <a:gdLst>
                    <a:gd name="connsiteX0" fmla="*/ 512 w 26728"/>
                    <a:gd name="connsiteY0" fmla="*/ 9345 h 26707"/>
                    <a:gd name="connsiteX1" fmla="*/ 17078 w 26728"/>
                    <a:gd name="connsiteY1" fmla="*/ 626 h 26707"/>
                    <a:gd name="connsiteX2" fmla="*/ 26171 w 26728"/>
                    <a:gd name="connsiteY2" fmla="*/ 17067 h 26707"/>
                    <a:gd name="connsiteX3" fmla="*/ 9605 w 26728"/>
                    <a:gd name="connsiteY3" fmla="*/ 26160 h 26707"/>
                    <a:gd name="connsiteX4" fmla="*/ 512 w 26728"/>
                    <a:gd name="connsiteY4" fmla="*/ 9345 h 26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706">
                      <a:moveTo>
                        <a:pt x="512" y="9345"/>
                      </a:moveTo>
                      <a:cubicBezTo>
                        <a:pt x="2630" y="2370"/>
                        <a:pt x="9979" y="-1616"/>
                        <a:pt x="17078" y="626"/>
                      </a:cubicBezTo>
                      <a:cubicBezTo>
                        <a:pt x="24178" y="2868"/>
                        <a:pt x="28289" y="9968"/>
                        <a:pt x="26171" y="17067"/>
                      </a:cubicBezTo>
                      <a:cubicBezTo>
                        <a:pt x="24178" y="24043"/>
                        <a:pt x="16705" y="28278"/>
                        <a:pt x="9605" y="26160"/>
                      </a:cubicBezTo>
                      <a:cubicBezTo>
                        <a:pt x="2505" y="23793"/>
                        <a:pt x="-1481" y="16320"/>
                        <a:pt x="51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7" name="Freeform 8550">
                  <a:extLst>
                    <a:ext uri="{FF2B5EF4-FFF2-40B4-BE49-F238E27FC236}">
                      <a16:creationId xmlns:a16="http://schemas.microsoft.com/office/drawing/2014/main" id="{72078CB1-026B-578A-E2A9-C33EDA2DEFAE}"/>
                    </a:ext>
                  </a:extLst>
                </p:cNvPr>
                <p:cNvSpPr/>
                <p:nvPr/>
              </p:nvSpPr>
              <p:spPr>
                <a:xfrm>
                  <a:off x="3126024" y="1497880"/>
                  <a:ext cx="15445" cy="49823"/>
                </a:xfrm>
                <a:custGeom>
                  <a:avLst/>
                  <a:gdLst>
                    <a:gd name="connsiteX0" fmla="*/ 15445 w 15445"/>
                    <a:gd name="connsiteY0" fmla="*/ 0 h 49823"/>
                    <a:gd name="connsiteX1" fmla="*/ 8345 w 15445"/>
                    <a:gd name="connsiteY1" fmla="*/ 17314 h 49823"/>
                    <a:gd name="connsiteX2" fmla="*/ 6726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836" y="6975"/>
                        <a:pt x="9093" y="13079"/>
                        <a:pt x="8345" y="17314"/>
                      </a:cubicBezTo>
                      <a:cubicBezTo>
                        <a:pt x="7100" y="24164"/>
                        <a:pt x="8345"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8" name="Freeform 8551">
                  <a:extLst>
                    <a:ext uri="{FF2B5EF4-FFF2-40B4-BE49-F238E27FC236}">
                      <a16:creationId xmlns:a16="http://schemas.microsoft.com/office/drawing/2014/main" id="{C6ECAFDF-2F03-F438-9898-CB1E48C9F4D9}"/>
                    </a:ext>
                  </a:extLst>
                </p:cNvPr>
                <p:cNvSpPr/>
                <p:nvPr/>
              </p:nvSpPr>
              <p:spPr>
                <a:xfrm>
                  <a:off x="3135609" y="1495015"/>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9" y="41851"/>
                        <a:pt x="1750" y="35748"/>
                        <a:pt x="3369" y="31762"/>
                      </a:cubicBezTo>
                      <a:cubicBezTo>
                        <a:pt x="6109" y="25285"/>
                        <a:pt x="8974" y="23043"/>
                        <a:pt x="11465" y="16317"/>
                      </a:cubicBezTo>
                      <a:cubicBezTo>
                        <a:pt x="13832" y="9840"/>
                        <a:pt x="14081" y="3986"/>
                        <a:pt x="139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9" name="Freeform 8552">
                  <a:extLst>
                    <a:ext uri="{FF2B5EF4-FFF2-40B4-BE49-F238E27FC236}">
                      <a16:creationId xmlns:a16="http://schemas.microsoft.com/office/drawing/2014/main" id="{6EB701EC-72A3-186E-ECA5-252B5A92B234}"/>
                    </a:ext>
                  </a:extLst>
                </p:cNvPr>
                <p:cNvSpPr/>
                <p:nvPr/>
              </p:nvSpPr>
              <p:spPr>
                <a:xfrm>
                  <a:off x="3133676" y="1478877"/>
                  <a:ext cx="26411" cy="26525"/>
                </a:xfrm>
                <a:custGeom>
                  <a:avLst/>
                  <a:gdLst>
                    <a:gd name="connsiteX0" fmla="*/ 25854 w 26411"/>
                    <a:gd name="connsiteY0" fmla="*/ 16885 h 26525"/>
                    <a:gd name="connsiteX1" fmla="*/ 9412 w 26411"/>
                    <a:gd name="connsiteY1" fmla="*/ 25978 h 26525"/>
                    <a:gd name="connsiteX2" fmla="*/ 568 w 26411"/>
                    <a:gd name="connsiteY2" fmla="*/ 9412 h 26525"/>
                    <a:gd name="connsiteX3" fmla="*/ 16885 w 26411"/>
                    <a:gd name="connsiteY3" fmla="*/ 568 h 26525"/>
                    <a:gd name="connsiteX4" fmla="*/ 25854 w 26411"/>
                    <a:gd name="connsiteY4" fmla="*/ 16885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1" h="26524">
                      <a:moveTo>
                        <a:pt x="25854" y="16885"/>
                      </a:moveTo>
                      <a:cubicBezTo>
                        <a:pt x="23861" y="23861"/>
                        <a:pt x="16387" y="28096"/>
                        <a:pt x="9412" y="25978"/>
                      </a:cubicBezTo>
                      <a:cubicBezTo>
                        <a:pt x="2437" y="23861"/>
                        <a:pt x="-1549" y="16387"/>
                        <a:pt x="568" y="9412"/>
                      </a:cubicBezTo>
                      <a:cubicBezTo>
                        <a:pt x="2686" y="2437"/>
                        <a:pt x="9910" y="-1549"/>
                        <a:pt x="16885" y="568"/>
                      </a:cubicBezTo>
                      <a:cubicBezTo>
                        <a:pt x="23861" y="2686"/>
                        <a:pt x="27971" y="9786"/>
                        <a:pt x="25854" y="16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9" name="Graphic 2987">
                <a:extLst>
                  <a:ext uri="{FF2B5EF4-FFF2-40B4-BE49-F238E27FC236}">
                    <a16:creationId xmlns:a16="http://schemas.microsoft.com/office/drawing/2014/main" id="{2613E2C1-01A3-D780-3C99-E1FC669EBBEE}"/>
                  </a:ext>
                </a:extLst>
              </p:cNvPr>
              <p:cNvGrpSpPr/>
              <p:nvPr/>
            </p:nvGrpSpPr>
            <p:grpSpPr>
              <a:xfrm>
                <a:off x="3070526" y="1470158"/>
                <a:ext cx="61422" cy="143937"/>
                <a:chOff x="3070526" y="1470158"/>
                <a:chExt cx="61422" cy="143937"/>
              </a:xfrm>
              <a:grpFill/>
            </p:grpSpPr>
            <p:sp>
              <p:nvSpPr>
                <p:cNvPr id="5718" name="Freeform 8554">
                  <a:extLst>
                    <a:ext uri="{FF2B5EF4-FFF2-40B4-BE49-F238E27FC236}">
                      <a16:creationId xmlns:a16="http://schemas.microsoft.com/office/drawing/2014/main" id="{4D83204B-89AE-C017-30B6-78DDB3C503F9}"/>
                    </a:ext>
                  </a:extLst>
                </p:cNvPr>
                <p:cNvSpPr/>
                <p:nvPr/>
              </p:nvSpPr>
              <p:spPr>
                <a:xfrm>
                  <a:off x="3089404" y="1545212"/>
                  <a:ext cx="15569" cy="49823"/>
                </a:xfrm>
                <a:custGeom>
                  <a:avLst/>
                  <a:gdLst>
                    <a:gd name="connsiteX0" fmla="*/ 0 w 15569"/>
                    <a:gd name="connsiteY0" fmla="*/ 49823 h 49823"/>
                    <a:gd name="connsiteX1" fmla="*/ 7224 w 15569"/>
                    <a:gd name="connsiteY1" fmla="*/ 32510 h 49823"/>
                    <a:gd name="connsiteX2" fmla="*/ 8844 w 15569"/>
                    <a:gd name="connsiteY2" fmla="*/ 15071 h 49823"/>
                    <a:gd name="connsiteX3" fmla="*/ 1557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0" y="49823"/>
                      </a:moveTo>
                      <a:cubicBezTo>
                        <a:pt x="4733" y="42848"/>
                        <a:pt x="6477" y="36745"/>
                        <a:pt x="7224" y="32510"/>
                      </a:cubicBezTo>
                      <a:cubicBezTo>
                        <a:pt x="8470" y="25659"/>
                        <a:pt x="7224" y="22047"/>
                        <a:pt x="8844" y="15071"/>
                      </a:cubicBezTo>
                      <a:cubicBezTo>
                        <a:pt x="10338" y="8345"/>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9" name="Freeform 8555">
                  <a:extLst>
                    <a:ext uri="{FF2B5EF4-FFF2-40B4-BE49-F238E27FC236}">
                      <a16:creationId xmlns:a16="http://schemas.microsoft.com/office/drawing/2014/main" id="{7137F681-B155-B883-943D-07414538DE0F}"/>
                    </a:ext>
                  </a:extLst>
                </p:cNvPr>
                <p:cNvSpPr/>
                <p:nvPr/>
              </p:nvSpPr>
              <p:spPr>
                <a:xfrm>
                  <a:off x="3081033" y="1547579"/>
                  <a:ext cx="14355" cy="50196"/>
                </a:xfrm>
                <a:custGeom>
                  <a:avLst/>
                  <a:gdLst>
                    <a:gd name="connsiteX0" fmla="*/ 14350 w 14355"/>
                    <a:gd name="connsiteY0" fmla="*/ 0 h 50196"/>
                    <a:gd name="connsiteX1" fmla="*/ 10862 w 14355"/>
                    <a:gd name="connsiteY1" fmla="*/ 18559 h 50196"/>
                    <a:gd name="connsiteX2" fmla="*/ 2641 w 14355"/>
                    <a:gd name="connsiteY2" fmla="*/ 33880 h 50196"/>
                    <a:gd name="connsiteX3" fmla="*/ 26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14350" y="0"/>
                      </a:moveTo>
                      <a:cubicBezTo>
                        <a:pt x="14474" y="8470"/>
                        <a:pt x="12606" y="14573"/>
                        <a:pt x="10862" y="18559"/>
                      </a:cubicBezTo>
                      <a:cubicBezTo>
                        <a:pt x="8122" y="25036"/>
                        <a:pt x="5257" y="27278"/>
                        <a:pt x="2641"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0" name="Freeform 8556">
                  <a:extLst>
                    <a:ext uri="{FF2B5EF4-FFF2-40B4-BE49-F238E27FC236}">
                      <a16:creationId xmlns:a16="http://schemas.microsoft.com/office/drawing/2014/main" id="{CF5F0107-19F7-AA62-AE14-49E99F7F132B}"/>
                    </a:ext>
                  </a:extLst>
                </p:cNvPr>
                <p:cNvSpPr/>
                <p:nvPr/>
              </p:nvSpPr>
              <p:spPr>
                <a:xfrm>
                  <a:off x="3070526" y="1587434"/>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034" y="-1616"/>
                        <a:pt x="17134" y="626"/>
                      </a:cubicBezTo>
                      <a:cubicBezTo>
                        <a:pt x="24234" y="2868"/>
                        <a:pt x="28219" y="10217"/>
                        <a:pt x="26102" y="17316"/>
                      </a:cubicBezTo>
                      <a:cubicBezTo>
                        <a:pt x="23985" y="24292"/>
                        <a:pt x="16636" y="28277"/>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1" name="Freeform 8557">
                  <a:extLst>
                    <a:ext uri="{FF2B5EF4-FFF2-40B4-BE49-F238E27FC236}">
                      <a16:creationId xmlns:a16="http://schemas.microsoft.com/office/drawing/2014/main" id="{C87C8137-8B4F-41E7-C3D9-2C9D2AB08966}"/>
                    </a:ext>
                  </a:extLst>
                </p:cNvPr>
                <p:cNvSpPr/>
                <p:nvPr/>
              </p:nvSpPr>
              <p:spPr>
                <a:xfrm>
                  <a:off x="3097749" y="1489161"/>
                  <a:ext cx="15569" cy="49823"/>
                </a:xfrm>
                <a:custGeom>
                  <a:avLst/>
                  <a:gdLst>
                    <a:gd name="connsiteX0" fmla="*/ 15570 w 15569"/>
                    <a:gd name="connsiteY0" fmla="*/ 0 h 49823"/>
                    <a:gd name="connsiteX1" fmla="*/ 8345 w 15569"/>
                    <a:gd name="connsiteY1" fmla="*/ 17314 h 49823"/>
                    <a:gd name="connsiteX2" fmla="*/ 6726 w 15569"/>
                    <a:gd name="connsiteY2" fmla="*/ 34752 h 49823"/>
                    <a:gd name="connsiteX3" fmla="*/ 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0"/>
                      </a:moveTo>
                      <a:cubicBezTo>
                        <a:pt x="10961" y="6975"/>
                        <a:pt x="9093" y="13079"/>
                        <a:pt x="8345" y="17314"/>
                      </a:cubicBezTo>
                      <a:cubicBezTo>
                        <a:pt x="7100" y="24164"/>
                        <a:pt x="8221"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2" name="Freeform 8558">
                  <a:extLst>
                    <a:ext uri="{FF2B5EF4-FFF2-40B4-BE49-F238E27FC236}">
                      <a16:creationId xmlns:a16="http://schemas.microsoft.com/office/drawing/2014/main" id="{8FAE5370-36AA-55B7-3796-E684FC878D2C}"/>
                    </a:ext>
                  </a:extLst>
                </p:cNvPr>
                <p:cNvSpPr/>
                <p:nvPr/>
              </p:nvSpPr>
              <p:spPr>
                <a:xfrm>
                  <a:off x="3107209" y="1486421"/>
                  <a:ext cx="14231" cy="50196"/>
                </a:xfrm>
                <a:custGeom>
                  <a:avLst/>
                  <a:gdLst>
                    <a:gd name="connsiteX0" fmla="*/ 6 w 14231"/>
                    <a:gd name="connsiteY0" fmla="*/ 50197 h 50196"/>
                    <a:gd name="connsiteX1" fmla="*/ 3494 w 14231"/>
                    <a:gd name="connsiteY1" fmla="*/ 31638 h 50196"/>
                    <a:gd name="connsiteX2" fmla="*/ 11590 w 14231"/>
                    <a:gd name="connsiteY2" fmla="*/ 16317 h 50196"/>
                    <a:gd name="connsiteX3" fmla="*/ 14205 w 14231"/>
                    <a:gd name="connsiteY3" fmla="*/ 0 h 50196"/>
                  </a:gdLst>
                  <a:ahLst/>
                  <a:cxnLst>
                    <a:cxn ang="0">
                      <a:pos x="connsiteX0" y="connsiteY0"/>
                    </a:cxn>
                    <a:cxn ang="0">
                      <a:pos x="connsiteX1" y="connsiteY1"/>
                    </a:cxn>
                    <a:cxn ang="0">
                      <a:pos x="connsiteX2" y="connsiteY2"/>
                    </a:cxn>
                    <a:cxn ang="0">
                      <a:pos x="connsiteX3" y="connsiteY3"/>
                    </a:cxn>
                  </a:cxnLst>
                  <a:rect l="l" t="t" r="r" b="b"/>
                  <a:pathLst>
                    <a:path w="14231" h="50196">
                      <a:moveTo>
                        <a:pt x="6" y="50197"/>
                      </a:moveTo>
                      <a:cubicBezTo>
                        <a:pt x="-119" y="41727"/>
                        <a:pt x="1750" y="35624"/>
                        <a:pt x="3494" y="31638"/>
                      </a:cubicBezTo>
                      <a:cubicBezTo>
                        <a:pt x="6234" y="25161"/>
                        <a:pt x="9099" y="22919"/>
                        <a:pt x="11590" y="16317"/>
                      </a:cubicBezTo>
                      <a:cubicBezTo>
                        <a:pt x="14081" y="9840"/>
                        <a:pt x="14330" y="3986"/>
                        <a:pt x="14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3" name="Freeform 8559">
                  <a:extLst>
                    <a:ext uri="{FF2B5EF4-FFF2-40B4-BE49-F238E27FC236}">
                      <a16:creationId xmlns:a16="http://schemas.microsoft.com/office/drawing/2014/main" id="{59F2182F-ECE0-06E5-1807-496C710049E0}"/>
                    </a:ext>
                  </a:extLst>
                </p:cNvPr>
                <p:cNvSpPr/>
                <p:nvPr/>
              </p:nvSpPr>
              <p:spPr>
                <a:xfrm>
                  <a:off x="3105764" y="1470158"/>
                  <a:ext cx="26184" cy="26546"/>
                </a:xfrm>
                <a:custGeom>
                  <a:avLst/>
                  <a:gdLst>
                    <a:gd name="connsiteX0" fmla="*/ 25615 w 26184"/>
                    <a:gd name="connsiteY0" fmla="*/ 17135 h 26546"/>
                    <a:gd name="connsiteX1" fmla="*/ 9298 w 26184"/>
                    <a:gd name="connsiteY1" fmla="*/ 25978 h 26546"/>
                    <a:gd name="connsiteX2" fmla="*/ 579 w 26184"/>
                    <a:gd name="connsiteY2" fmla="*/ 9412 h 26546"/>
                    <a:gd name="connsiteX3" fmla="*/ 16896 w 26184"/>
                    <a:gd name="connsiteY3" fmla="*/ 568 h 26546"/>
                    <a:gd name="connsiteX4" fmla="*/ 25615 w 26184"/>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545">
                      <a:moveTo>
                        <a:pt x="25615" y="17135"/>
                      </a:moveTo>
                      <a:cubicBezTo>
                        <a:pt x="23498" y="24110"/>
                        <a:pt x="16274" y="28096"/>
                        <a:pt x="9298" y="25978"/>
                      </a:cubicBezTo>
                      <a:cubicBezTo>
                        <a:pt x="2323" y="23861"/>
                        <a:pt x="-1538" y="16387"/>
                        <a:pt x="579" y="9412"/>
                      </a:cubicBezTo>
                      <a:cubicBezTo>
                        <a:pt x="2697" y="2437"/>
                        <a:pt x="10046" y="-1549"/>
                        <a:pt x="16896" y="568"/>
                      </a:cubicBezTo>
                      <a:cubicBezTo>
                        <a:pt x="23747" y="2686"/>
                        <a:pt x="27733" y="10159"/>
                        <a:pt x="25615"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0" name="Graphic 2987">
                <a:extLst>
                  <a:ext uri="{FF2B5EF4-FFF2-40B4-BE49-F238E27FC236}">
                    <a16:creationId xmlns:a16="http://schemas.microsoft.com/office/drawing/2014/main" id="{19C68C07-1C06-58D7-1F36-80CB2D6F8D4E}"/>
                  </a:ext>
                </a:extLst>
              </p:cNvPr>
              <p:cNvGrpSpPr/>
              <p:nvPr/>
            </p:nvGrpSpPr>
            <p:grpSpPr>
              <a:xfrm>
                <a:off x="3041878" y="1461439"/>
                <a:ext cx="62045" cy="143812"/>
                <a:chOff x="3041878" y="1461439"/>
                <a:chExt cx="62045" cy="143812"/>
              </a:xfrm>
              <a:grpFill/>
            </p:grpSpPr>
            <p:sp>
              <p:nvSpPr>
                <p:cNvPr id="5712" name="Freeform 8561">
                  <a:extLst>
                    <a:ext uri="{FF2B5EF4-FFF2-40B4-BE49-F238E27FC236}">
                      <a16:creationId xmlns:a16="http://schemas.microsoft.com/office/drawing/2014/main" id="{BBFB7E70-A80E-8F04-6F0E-157E58A36E1D}"/>
                    </a:ext>
                  </a:extLst>
                </p:cNvPr>
                <p:cNvSpPr/>
                <p:nvPr/>
              </p:nvSpPr>
              <p:spPr>
                <a:xfrm>
                  <a:off x="3060880" y="1536493"/>
                  <a:ext cx="15818" cy="49698"/>
                </a:xfrm>
                <a:custGeom>
                  <a:avLst/>
                  <a:gdLst>
                    <a:gd name="connsiteX0" fmla="*/ 0 w 15818"/>
                    <a:gd name="connsiteY0" fmla="*/ 49699 h 49698"/>
                    <a:gd name="connsiteX1" fmla="*/ 7349 w 15818"/>
                    <a:gd name="connsiteY1" fmla="*/ 32385 h 49698"/>
                    <a:gd name="connsiteX2" fmla="*/ 8968 w 15818"/>
                    <a:gd name="connsiteY2" fmla="*/ 15071 h 49698"/>
                    <a:gd name="connsiteX3" fmla="*/ 15819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0" y="49699"/>
                      </a:moveTo>
                      <a:cubicBezTo>
                        <a:pt x="4733" y="42723"/>
                        <a:pt x="6477" y="36620"/>
                        <a:pt x="7349" y="32385"/>
                      </a:cubicBezTo>
                      <a:cubicBezTo>
                        <a:pt x="8594" y="25534"/>
                        <a:pt x="7473" y="21922"/>
                        <a:pt x="8968" y="15071"/>
                      </a:cubicBezTo>
                      <a:cubicBezTo>
                        <a:pt x="10463" y="8345"/>
                        <a:pt x="13452" y="3239"/>
                        <a:pt x="158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3" name="Freeform 8562">
                  <a:extLst>
                    <a:ext uri="{FF2B5EF4-FFF2-40B4-BE49-F238E27FC236}">
                      <a16:creationId xmlns:a16="http://schemas.microsoft.com/office/drawing/2014/main" id="{AC76E36E-DC8E-FFA7-FC4B-8AF753FF0991}"/>
                    </a:ext>
                  </a:extLst>
                </p:cNvPr>
                <p:cNvSpPr/>
                <p:nvPr/>
              </p:nvSpPr>
              <p:spPr>
                <a:xfrm>
                  <a:off x="3052758" y="1538735"/>
                  <a:ext cx="14349" cy="50072"/>
                </a:xfrm>
                <a:custGeom>
                  <a:avLst/>
                  <a:gdLst>
                    <a:gd name="connsiteX0" fmla="*/ 14350 w 14349"/>
                    <a:gd name="connsiteY0" fmla="*/ 0 h 50072"/>
                    <a:gd name="connsiteX1" fmla="*/ 10862 w 14349"/>
                    <a:gd name="connsiteY1" fmla="*/ 18435 h 50072"/>
                    <a:gd name="connsiteX2" fmla="*/ 2641 w 14349"/>
                    <a:gd name="connsiteY2" fmla="*/ 33755 h 50072"/>
                    <a:gd name="connsiteX3" fmla="*/ 26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14350" y="0"/>
                      </a:moveTo>
                      <a:cubicBezTo>
                        <a:pt x="14350" y="8470"/>
                        <a:pt x="12481" y="14449"/>
                        <a:pt x="10862" y="18435"/>
                      </a:cubicBezTo>
                      <a:cubicBezTo>
                        <a:pt x="8122" y="24912"/>
                        <a:pt x="5132" y="27154"/>
                        <a:pt x="2641" y="33755"/>
                      </a:cubicBezTo>
                      <a:cubicBezTo>
                        <a:pt x="150" y="40232"/>
                        <a:pt x="-99" y="46086"/>
                        <a:pt x="26"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4" name="Freeform 8563">
                  <a:extLst>
                    <a:ext uri="{FF2B5EF4-FFF2-40B4-BE49-F238E27FC236}">
                      <a16:creationId xmlns:a16="http://schemas.microsoft.com/office/drawing/2014/main" id="{B727034B-C513-36E5-EC37-45E025C7C60B}"/>
                    </a:ext>
                  </a:extLst>
                </p:cNvPr>
                <p:cNvSpPr/>
                <p:nvPr/>
              </p:nvSpPr>
              <p:spPr>
                <a:xfrm>
                  <a:off x="3041878" y="1578591"/>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159" y="-1616"/>
                        <a:pt x="17134" y="626"/>
                      </a:cubicBezTo>
                      <a:cubicBezTo>
                        <a:pt x="24234" y="2868"/>
                        <a:pt x="28219" y="10217"/>
                        <a:pt x="26102" y="17316"/>
                      </a:cubicBezTo>
                      <a:cubicBezTo>
                        <a:pt x="23985" y="24292"/>
                        <a:pt x="16511" y="28278"/>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5" name="Freeform 8564">
                  <a:extLst>
                    <a:ext uri="{FF2B5EF4-FFF2-40B4-BE49-F238E27FC236}">
                      <a16:creationId xmlns:a16="http://schemas.microsoft.com/office/drawing/2014/main" id="{C59AC49F-BCCD-DA6A-3DE6-194BE79A4455}"/>
                    </a:ext>
                  </a:extLst>
                </p:cNvPr>
                <p:cNvSpPr/>
                <p:nvPr/>
              </p:nvSpPr>
              <p:spPr>
                <a:xfrm>
                  <a:off x="3069350" y="1480442"/>
                  <a:ext cx="15943" cy="49698"/>
                </a:xfrm>
                <a:custGeom>
                  <a:avLst/>
                  <a:gdLst>
                    <a:gd name="connsiteX0" fmla="*/ 15943 w 15943"/>
                    <a:gd name="connsiteY0" fmla="*/ 0 h 49698"/>
                    <a:gd name="connsiteX1" fmla="*/ 8595 w 15943"/>
                    <a:gd name="connsiteY1" fmla="*/ 17314 h 49698"/>
                    <a:gd name="connsiteX2" fmla="*/ 6851 w 15943"/>
                    <a:gd name="connsiteY2" fmla="*/ 34627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1210" y="6975"/>
                        <a:pt x="9466" y="13079"/>
                        <a:pt x="8595" y="17314"/>
                      </a:cubicBezTo>
                      <a:cubicBezTo>
                        <a:pt x="7349" y="24164"/>
                        <a:pt x="8470" y="27776"/>
                        <a:pt x="6851" y="34627"/>
                      </a:cubicBezTo>
                      <a:cubicBezTo>
                        <a:pt x="5356" y="41353"/>
                        <a:pt x="2367" y="46460"/>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6" name="Freeform 8565">
                  <a:extLst>
                    <a:ext uri="{FF2B5EF4-FFF2-40B4-BE49-F238E27FC236}">
                      <a16:creationId xmlns:a16="http://schemas.microsoft.com/office/drawing/2014/main" id="{04693F95-8A78-B64E-392F-E999ECA8206E}"/>
                    </a:ext>
                  </a:extLst>
                </p:cNvPr>
                <p:cNvSpPr/>
                <p:nvPr/>
              </p:nvSpPr>
              <p:spPr>
                <a:xfrm>
                  <a:off x="3078941" y="1477702"/>
                  <a:ext cx="14448" cy="50072"/>
                </a:xfrm>
                <a:custGeom>
                  <a:avLst/>
                  <a:gdLst>
                    <a:gd name="connsiteX0" fmla="*/ 0 w 14448"/>
                    <a:gd name="connsiteY0" fmla="*/ 50072 h 50072"/>
                    <a:gd name="connsiteX1" fmla="*/ 3488 w 14448"/>
                    <a:gd name="connsiteY1" fmla="*/ 31638 h 50072"/>
                    <a:gd name="connsiteX2" fmla="*/ 11708 w 14448"/>
                    <a:gd name="connsiteY2" fmla="*/ 16317 h 50072"/>
                    <a:gd name="connsiteX3" fmla="*/ 14449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0" y="41602"/>
                        <a:pt x="1868" y="35624"/>
                        <a:pt x="3488" y="31638"/>
                      </a:cubicBezTo>
                      <a:cubicBezTo>
                        <a:pt x="6228" y="25161"/>
                        <a:pt x="9093" y="22919"/>
                        <a:pt x="11708" y="16317"/>
                      </a:cubicBezTo>
                      <a:cubicBezTo>
                        <a:pt x="14200" y="9840"/>
                        <a:pt x="14449" y="3986"/>
                        <a:pt x="144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7" name="Freeform 8566">
                  <a:extLst>
                    <a:ext uri="{FF2B5EF4-FFF2-40B4-BE49-F238E27FC236}">
                      <a16:creationId xmlns:a16="http://schemas.microsoft.com/office/drawing/2014/main" id="{68B685E7-8983-320E-75E9-B05CB9E00497}"/>
                    </a:ext>
                  </a:extLst>
                </p:cNvPr>
                <p:cNvSpPr/>
                <p:nvPr/>
              </p:nvSpPr>
              <p:spPr>
                <a:xfrm>
                  <a:off x="3077614" y="1461439"/>
                  <a:ext cx="26309" cy="26546"/>
                </a:xfrm>
                <a:custGeom>
                  <a:avLst/>
                  <a:gdLst>
                    <a:gd name="connsiteX0" fmla="*/ 25740 w 26309"/>
                    <a:gd name="connsiteY0" fmla="*/ 17135 h 26546"/>
                    <a:gd name="connsiteX1" fmla="*/ 9298 w 26309"/>
                    <a:gd name="connsiteY1" fmla="*/ 25978 h 26546"/>
                    <a:gd name="connsiteX2" fmla="*/ 579 w 26309"/>
                    <a:gd name="connsiteY2" fmla="*/ 9412 h 26546"/>
                    <a:gd name="connsiteX3" fmla="*/ 17021 w 26309"/>
                    <a:gd name="connsiteY3" fmla="*/ 568 h 26546"/>
                    <a:gd name="connsiteX4" fmla="*/ 25740 w 26309"/>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45">
                      <a:moveTo>
                        <a:pt x="25740" y="17135"/>
                      </a:moveTo>
                      <a:cubicBezTo>
                        <a:pt x="23623" y="24110"/>
                        <a:pt x="16274" y="28096"/>
                        <a:pt x="9298" y="25978"/>
                      </a:cubicBezTo>
                      <a:cubicBezTo>
                        <a:pt x="2323" y="23861"/>
                        <a:pt x="-1538" y="16387"/>
                        <a:pt x="579" y="9412"/>
                      </a:cubicBezTo>
                      <a:cubicBezTo>
                        <a:pt x="2697" y="2437"/>
                        <a:pt x="10046" y="-1549"/>
                        <a:pt x="17021" y="568"/>
                      </a:cubicBezTo>
                      <a:cubicBezTo>
                        <a:pt x="23872" y="2686"/>
                        <a:pt x="27858" y="10159"/>
                        <a:pt x="25740"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1" name="Graphic 2987">
                <a:extLst>
                  <a:ext uri="{FF2B5EF4-FFF2-40B4-BE49-F238E27FC236}">
                    <a16:creationId xmlns:a16="http://schemas.microsoft.com/office/drawing/2014/main" id="{8174940F-14CE-C873-BEC3-32BB16D1ABC8}"/>
                  </a:ext>
                </a:extLst>
              </p:cNvPr>
              <p:cNvGrpSpPr/>
              <p:nvPr/>
            </p:nvGrpSpPr>
            <p:grpSpPr>
              <a:xfrm>
                <a:off x="3013353" y="1452663"/>
                <a:ext cx="62419" cy="143699"/>
                <a:chOff x="3013353" y="1452663"/>
                <a:chExt cx="62419" cy="143699"/>
              </a:xfrm>
              <a:grpFill/>
            </p:grpSpPr>
            <p:sp>
              <p:nvSpPr>
                <p:cNvPr id="5706" name="Freeform 8568">
                  <a:extLst>
                    <a:ext uri="{FF2B5EF4-FFF2-40B4-BE49-F238E27FC236}">
                      <a16:creationId xmlns:a16="http://schemas.microsoft.com/office/drawing/2014/main" id="{CE65F021-3AE2-D7E5-FB93-97414EC09F78}"/>
                    </a:ext>
                  </a:extLst>
                </p:cNvPr>
                <p:cNvSpPr/>
                <p:nvPr/>
              </p:nvSpPr>
              <p:spPr>
                <a:xfrm>
                  <a:off x="3032356" y="1527774"/>
                  <a:ext cx="15943" cy="49573"/>
                </a:xfrm>
                <a:custGeom>
                  <a:avLst/>
                  <a:gdLst>
                    <a:gd name="connsiteX0" fmla="*/ 0 w 15943"/>
                    <a:gd name="connsiteY0" fmla="*/ 49574 h 49573"/>
                    <a:gd name="connsiteX1" fmla="*/ 7349 w 15943"/>
                    <a:gd name="connsiteY1" fmla="*/ 32260 h 49573"/>
                    <a:gd name="connsiteX2" fmla="*/ 9093 w 15943"/>
                    <a:gd name="connsiteY2" fmla="*/ 14947 h 49573"/>
                    <a:gd name="connsiteX3" fmla="*/ 15943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0" y="49574"/>
                      </a:moveTo>
                      <a:cubicBezTo>
                        <a:pt x="4733" y="42599"/>
                        <a:pt x="6602" y="36620"/>
                        <a:pt x="7349" y="32260"/>
                      </a:cubicBezTo>
                      <a:cubicBezTo>
                        <a:pt x="8595" y="25410"/>
                        <a:pt x="7474" y="21798"/>
                        <a:pt x="9093" y="14947"/>
                      </a:cubicBezTo>
                      <a:cubicBezTo>
                        <a:pt x="10587" y="8221"/>
                        <a:pt x="13701" y="3114"/>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7" name="Freeform 8569">
                  <a:extLst>
                    <a:ext uri="{FF2B5EF4-FFF2-40B4-BE49-F238E27FC236}">
                      <a16:creationId xmlns:a16="http://schemas.microsoft.com/office/drawing/2014/main" id="{07D62BA6-DCEE-EC12-7AE6-E16C3D0629B7}"/>
                    </a:ext>
                  </a:extLst>
                </p:cNvPr>
                <p:cNvSpPr/>
                <p:nvPr/>
              </p:nvSpPr>
              <p:spPr>
                <a:xfrm>
                  <a:off x="3023990" y="1530016"/>
                  <a:ext cx="14718" cy="50072"/>
                </a:xfrm>
                <a:custGeom>
                  <a:avLst/>
                  <a:gdLst>
                    <a:gd name="connsiteX0" fmla="*/ 14719 w 14718"/>
                    <a:gd name="connsiteY0" fmla="*/ 0 h 50072"/>
                    <a:gd name="connsiteX1" fmla="*/ 11106 w 14718"/>
                    <a:gd name="connsiteY1" fmla="*/ 18435 h 50072"/>
                    <a:gd name="connsiteX2" fmla="*/ 2761 w 14718"/>
                    <a:gd name="connsiteY2" fmla="*/ 33755 h 50072"/>
                    <a:gd name="connsiteX3" fmla="*/ 21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0"/>
                      </a:moveTo>
                      <a:cubicBezTo>
                        <a:pt x="14719" y="8470"/>
                        <a:pt x="12850" y="14449"/>
                        <a:pt x="11106" y="18435"/>
                      </a:cubicBezTo>
                      <a:cubicBezTo>
                        <a:pt x="8366" y="24912"/>
                        <a:pt x="5377" y="27154"/>
                        <a:pt x="2761" y="33755"/>
                      </a:cubicBezTo>
                      <a:cubicBezTo>
                        <a:pt x="270" y="40232"/>
                        <a:pt x="-104"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8" name="Freeform 8570">
                  <a:extLst>
                    <a:ext uri="{FF2B5EF4-FFF2-40B4-BE49-F238E27FC236}">
                      <a16:creationId xmlns:a16="http://schemas.microsoft.com/office/drawing/2014/main" id="{61CC0317-7B5E-126A-D1A1-2CA30CA54DFA}"/>
                    </a:ext>
                  </a:extLst>
                </p:cNvPr>
                <p:cNvSpPr/>
                <p:nvPr/>
              </p:nvSpPr>
              <p:spPr>
                <a:xfrm>
                  <a:off x="3013353" y="1569793"/>
                  <a:ext cx="26727" cy="26568"/>
                </a:xfrm>
                <a:custGeom>
                  <a:avLst/>
                  <a:gdLst>
                    <a:gd name="connsiteX0" fmla="*/ 568 w 26727"/>
                    <a:gd name="connsiteY0" fmla="*/ 9298 h 26568"/>
                    <a:gd name="connsiteX1" fmla="*/ 17259 w 26727"/>
                    <a:gd name="connsiteY1" fmla="*/ 579 h 26568"/>
                    <a:gd name="connsiteX2" fmla="*/ 26103 w 26727"/>
                    <a:gd name="connsiteY2" fmla="*/ 17270 h 26568"/>
                    <a:gd name="connsiteX3" fmla="*/ 9412 w 26727"/>
                    <a:gd name="connsiteY3" fmla="*/ 25989 h 26568"/>
                    <a:gd name="connsiteX4" fmla="*/ 568 w 26727"/>
                    <a:gd name="connsiteY4" fmla="*/ 9298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 h="26567">
                      <a:moveTo>
                        <a:pt x="568" y="9298"/>
                      </a:moveTo>
                      <a:cubicBezTo>
                        <a:pt x="2686" y="2323"/>
                        <a:pt x="10159" y="-1538"/>
                        <a:pt x="17259" y="579"/>
                      </a:cubicBezTo>
                      <a:cubicBezTo>
                        <a:pt x="24359" y="2697"/>
                        <a:pt x="28345" y="10170"/>
                        <a:pt x="26103" y="17270"/>
                      </a:cubicBezTo>
                      <a:cubicBezTo>
                        <a:pt x="23985" y="24245"/>
                        <a:pt x="16512" y="28107"/>
                        <a:pt x="9412" y="25989"/>
                      </a:cubicBezTo>
                      <a:cubicBezTo>
                        <a:pt x="2437" y="23623"/>
                        <a:pt x="-1549" y="16274"/>
                        <a:pt x="568"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9" name="Freeform 8571">
                  <a:extLst>
                    <a:ext uri="{FF2B5EF4-FFF2-40B4-BE49-F238E27FC236}">
                      <a16:creationId xmlns:a16="http://schemas.microsoft.com/office/drawing/2014/main" id="{C56644E2-0BB5-ADA1-539E-F719859817CD}"/>
                    </a:ext>
                  </a:extLst>
                </p:cNvPr>
                <p:cNvSpPr/>
                <p:nvPr/>
              </p:nvSpPr>
              <p:spPr>
                <a:xfrm>
                  <a:off x="3041200" y="1471723"/>
                  <a:ext cx="15943" cy="49573"/>
                </a:xfrm>
                <a:custGeom>
                  <a:avLst/>
                  <a:gdLst>
                    <a:gd name="connsiteX0" fmla="*/ 15943 w 15943"/>
                    <a:gd name="connsiteY0" fmla="*/ 0 h 49573"/>
                    <a:gd name="connsiteX1" fmla="*/ 8595 w 15943"/>
                    <a:gd name="connsiteY1" fmla="*/ 17314 h 49573"/>
                    <a:gd name="connsiteX2" fmla="*/ 6851 w 15943"/>
                    <a:gd name="connsiteY2" fmla="*/ 34627 h 49573"/>
                    <a:gd name="connsiteX3" fmla="*/ 0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0"/>
                      </a:moveTo>
                      <a:cubicBezTo>
                        <a:pt x="11210" y="6975"/>
                        <a:pt x="9342" y="13079"/>
                        <a:pt x="8595" y="17314"/>
                      </a:cubicBezTo>
                      <a:cubicBezTo>
                        <a:pt x="7224" y="24164"/>
                        <a:pt x="8470" y="27776"/>
                        <a:pt x="6851" y="34627"/>
                      </a:cubicBezTo>
                      <a:cubicBezTo>
                        <a:pt x="5356"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0" name="Freeform 8572">
                  <a:extLst>
                    <a:ext uri="{FF2B5EF4-FFF2-40B4-BE49-F238E27FC236}">
                      <a16:creationId xmlns:a16="http://schemas.microsoft.com/office/drawing/2014/main" id="{495EA5B2-C6D1-3408-7FCB-D94E1714BF84}"/>
                    </a:ext>
                  </a:extLst>
                </p:cNvPr>
                <p:cNvSpPr/>
                <p:nvPr/>
              </p:nvSpPr>
              <p:spPr>
                <a:xfrm>
                  <a:off x="3050666" y="1468983"/>
                  <a:ext cx="14594" cy="50072"/>
                </a:xfrm>
                <a:custGeom>
                  <a:avLst/>
                  <a:gdLst>
                    <a:gd name="connsiteX0" fmla="*/ 0 w 14594"/>
                    <a:gd name="connsiteY0" fmla="*/ 50072 h 50072"/>
                    <a:gd name="connsiteX1" fmla="*/ 3612 w 14594"/>
                    <a:gd name="connsiteY1" fmla="*/ 31638 h 50072"/>
                    <a:gd name="connsiteX2" fmla="*/ 11833 w 14594"/>
                    <a:gd name="connsiteY2" fmla="*/ 16317 h 50072"/>
                    <a:gd name="connsiteX3" fmla="*/ 14573 w 14594"/>
                    <a:gd name="connsiteY3" fmla="*/ 0 h 50072"/>
                  </a:gdLst>
                  <a:ahLst/>
                  <a:cxnLst>
                    <a:cxn ang="0">
                      <a:pos x="connsiteX0" y="connsiteY0"/>
                    </a:cxn>
                    <a:cxn ang="0">
                      <a:pos x="connsiteX1" y="connsiteY1"/>
                    </a:cxn>
                    <a:cxn ang="0">
                      <a:pos x="connsiteX2" y="connsiteY2"/>
                    </a:cxn>
                    <a:cxn ang="0">
                      <a:pos x="connsiteX3" y="connsiteY3"/>
                    </a:cxn>
                  </a:cxnLst>
                  <a:rect l="l" t="t" r="r" b="b"/>
                  <a:pathLst>
                    <a:path w="14594" h="50072">
                      <a:moveTo>
                        <a:pt x="0" y="50072"/>
                      </a:moveTo>
                      <a:cubicBezTo>
                        <a:pt x="0" y="41602"/>
                        <a:pt x="1868" y="35624"/>
                        <a:pt x="3612" y="31638"/>
                      </a:cubicBezTo>
                      <a:cubicBezTo>
                        <a:pt x="6352" y="25161"/>
                        <a:pt x="9342" y="22919"/>
                        <a:pt x="11833" y="16317"/>
                      </a:cubicBezTo>
                      <a:cubicBezTo>
                        <a:pt x="14324" y="9840"/>
                        <a:pt x="14698" y="3986"/>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1" name="Freeform 8573">
                  <a:extLst>
                    <a:ext uri="{FF2B5EF4-FFF2-40B4-BE49-F238E27FC236}">
                      <a16:creationId xmlns:a16="http://schemas.microsoft.com/office/drawing/2014/main" id="{6A70AB1C-DC4E-9634-6D3A-59C77E23DC17}"/>
                    </a:ext>
                  </a:extLst>
                </p:cNvPr>
                <p:cNvSpPr/>
                <p:nvPr/>
              </p:nvSpPr>
              <p:spPr>
                <a:xfrm>
                  <a:off x="3049464" y="1452663"/>
                  <a:ext cx="26309" cy="26536"/>
                </a:xfrm>
                <a:custGeom>
                  <a:avLst/>
                  <a:gdLst>
                    <a:gd name="connsiteX0" fmla="*/ 25740 w 26309"/>
                    <a:gd name="connsiteY0" fmla="*/ 17192 h 26536"/>
                    <a:gd name="connsiteX1" fmla="*/ 9299 w 26309"/>
                    <a:gd name="connsiteY1" fmla="*/ 25911 h 26536"/>
                    <a:gd name="connsiteX2" fmla="*/ 579 w 26309"/>
                    <a:gd name="connsiteY2" fmla="*/ 9345 h 26536"/>
                    <a:gd name="connsiteX3" fmla="*/ 17021 w 26309"/>
                    <a:gd name="connsiteY3" fmla="*/ 626 h 26536"/>
                    <a:gd name="connsiteX4" fmla="*/ 25740 w 26309"/>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36">
                      <a:moveTo>
                        <a:pt x="25740" y="17192"/>
                      </a:moveTo>
                      <a:cubicBezTo>
                        <a:pt x="23623" y="24167"/>
                        <a:pt x="16274" y="28153"/>
                        <a:pt x="9299" y="25911"/>
                      </a:cubicBezTo>
                      <a:cubicBezTo>
                        <a:pt x="2323" y="23669"/>
                        <a:pt x="-1538" y="16320"/>
                        <a:pt x="579" y="9345"/>
                      </a:cubicBezTo>
                      <a:cubicBezTo>
                        <a:pt x="2697" y="2370"/>
                        <a:pt x="10170" y="-1616"/>
                        <a:pt x="17021" y="626"/>
                      </a:cubicBezTo>
                      <a:cubicBezTo>
                        <a:pt x="23872" y="2868"/>
                        <a:pt x="27858" y="10217"/>
                        <a:pt x="25740"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2" name="Graphic 2987">
                <a:extLst>
                  <a:ext uri="{FF2B5EF4-FFF2-40B4-BE49-F238E27FC236}">
                    <a16:creationId xmlns:a16="http://schemas.microsoft.com/office/drawing/2014/main" id="{BE0E73A9-228E-238B-6550-E6A84F5D2FD7}"/>
                  </a:ext>
                </a:extLst>
              </p:cNvPr>
              <p:cNvGrpSpPr/>
              <p:nvPr/>
            </p:nvGrpSpPr>
            <p:grpSpPr>
              <a:xfrm>
                <a:off x="2984773" y="1443944"/>
                <a:ext cx="62985" cy="143325"/>
                <a:chOff x="2984773" y="1443944"/>
                <a:chExt cx="62985" cy="143325"/>
              </a:xfrm>
              <a:grpFill/>
            </p:grpSpPr>
            <p:sp>
              <p:nvSpPr>
                <p:cNvPr id="5700" name="Freeform 8575">
                  <a:extLst>
                    <a:ext uri="{FF2B5EF4-FFF2-40B4-BE49-F238E27FC236}">
                      <a16:creationId xmlns:a16="http://schemas.microsoft.com/office/drawing/2014/main" id="{285598C0-248F-DC0F-336D-1FBAA7C95E71}"/>
                    </a:ext>
                  </a:extLst>
                </p:cNvPr>
                <p:cNvSpPr/>
                <p:nvPr/>
              </p:nvSpPr>
              <p:spPr>
                <a:xfrm>
                  <a:off x="3003708" y="1518930"/>
                  <a:ext cx="16192" cy="49573"/>
                </a:xfrm>
                <a:custGeom>
                  <a:avLst/>
                  <a:gdLst>
                    <a:gd name="connsiteX0" fmla="*/ 0 w 16192"/>
                    <a:gd name="connsiteY0" fmla="*/ 49574 h 49573"/>
                    <a:gd name="connsiteX1" fmla="*/ 7474 w 16192"/>
                    <a:gd name="connsiteY1" fmla="*/ 32260 h 49573"/>
                    <a:gd name="connsiteX2" fmla="*/ 9217 w 16192"/>
                    <a:gd name="connsiteY2" fmla="*/ 14947 h 49573"/>
                    <a:gd name="connsiteX3" fmla="*/ 16193 w 16192"/>
                    <a:gd name="connsiteY3" fmla="*/ 0 h 49573"/>
                  </a:gdLst>
                  <a:ahLst/>
                  <a:cxnLst>
                    <a:cxn ang="0">
                      <a:pos x="connsiteX0" y="connsiteY0"/>
                    </a:cxn>
                    <a:cxn ang="0">
                      <a:pos x="connsiteX1" y="connsiteY1"/>
                    </a:cxn>
                    <a:cxn ang="0">
                      <a:pos x="connsiteX2" y="connsiteY2"/>
                    </a:cxn>
                    <a:cxn ang="0">
                      <a:pos x="connsiteX3" y="connsiteY3"/>
                    </a:cxn>
                  </a:cxnLst>
                  <a:rect l="l" t="t" r="r" b="b"/>
                  <a:pathLst>
                    <a:path w="16192" h="49573">
                      <a:moveTo>
                        <a:pt x="0" y="49574"/>
                      </a:moveTo>
                      <a:cubicBezTo>
                        <a:pt x="4733" y="42599"/>
                        <a:pt x="6602" y="36620"/>
                        <a:pt x="7474" y="32260"/>
                      </a:cubicBezTo>
                      <a:cubicBezTo>
                        <a:pt x="8844" y="25410"/>
                        <a:pt x="7598" y="21798"/>
                        <a:pt x="9217" y="14947"/>
                      </a:cubicBezTo>
                      <a:cubicBezTo>
                        <a:pt x="10837" y="8221"/>
                        <a:pt x="13826" y="3114"/>
                        <a:pt x="161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1" name="Freeform 8576">
                  <a:extLst>
                    <a:ext uri="{FF2B5EF4-FFF2-40B4-BE49-F238E27FC236}">
                      <a16:creationId xmlns:a16="http://schemas.microsoft.com/office/drawing/2014/main" id="{FC9E84F6-8667-5F9B-2F92-D01CA10E10FF}"/>
                    </a:ext>
                  </a:extLst>
                </p:cNvPr>
                <p:cNvSpPr/>
                <p:nvPr/>
              </p:nvSpPr>
              <p:spPr>
                <a:xfrm>
                  <a:off x="2995362" y="1521172"/>
                  <a:ext cx="14946" cy="50072"/>
                </a:xfrm>
                <a:custGeom>
                  <a:avLst/>
                  <a:gdLst>
                    <a:gd name="connsiteX0" fmla="*/ 14947 w 14946"/>
                    <a:gd name="connsiteY0" fmla="*/ 0 h 50072"/>
                    <a:gd name="connsiteX1" fmla="*/ 11210 w 14946"/>
                    <a:gd name="connsiteY1" fmla="*/ 18435 h 50072"/>
                    <a:gd name="connsiteX2" fmla="*/ 2865 w 14946"/>
                    <a:gd name="connsiteY2" fmla="*/ 33755 h 50072"/>
                    <a:gd name="connsiteX3" fmla="*/ 0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14947" y="0"/>
                      </a:moveTo>
                      <a:cubicBezTo>
                        <a:pt x="14947" y="8470"/>
                        <a:pt x="13079" y="14449"/>
                        <a:pt x="11210" y="18435"/>
                      </a:cubicBezTo>
                      <a:cubicBezTo>
                        <a:pt x="8345" y="24787"/>
                        <a:pt x="5481" y="27154"/>
                        <a:pt x="2865" y="33755"/>
                      </a:cubicBezTo>
                      <a:cubicBezTo>
                        <a:pt x="374"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2" name="Freeform 8577">
                  <a:extLst>
                    <a:ext uri="{FF2B5EF4-FFF2-40B4-BE49-F238E27FC236}">
                      <a16:creationId xmlns:a16="http://schemas.microsoft.com/office/drawing/2014/main" id="{FB924570-B7EC-12C2-5313-970000613525}"/>
                    </a:ext>
                  </a:extLst>
                </p:cNvPr>
                <p:cNvSpPr/>
                <p:nvPr/>
              </p:nvSpPr>
              <p:spPr>
                <a:xfrm>
                  <a:off x="2984773" y="1560825"/>
                  <a:ext cx="26737" cy="26444"/>
                </a:xfrm>
                <a:custGeom>
                  <a:avLst/>
                  <a:gdLst>
                    <a:gd name="connsiteX0" fmla="*/ 625 w 26737"/>
                    <a:gd name="connsiteY0" fmla="*/ 9299 h 26444"/>
                    <a:gd name="connsiteX1" fmla="*/ 17316 w 26737"/>
                    <a:gd name="connsiteY1" fmla="*/ 579 h 26444"/>
                    <a:gd name="connsiteX2" fmla="*/ 26159 w 26737"/>
                    <a:gd name="connsiteY2" fmla="*/ 17146 h 26444"/>
                    <a:gd name="connsiteX3" fmla="*/ 9468 w 26737"/>
                    <a:gd name="connsiteY3" fmla="*/ 25865 h 26444"/>
                    <a:gd name="connsiteX4" fmla="*/ 625 w 26737"/>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7" h="26444">
                      <a:moveTo>
                        <a:pt x="625" y="9299"/>
                      </a:moveTo>
                      <a:cubicBezTo>
                        <a:pt x="2867" y="2323"/>
                        <a:pt x="10340" y="-1538"/>
                        <a:pt x="17316" y="579"/>
                      </a:cubicBezTo>
                      <a:cubicBezTo>
                        <a:pt x="24415" y="2822"/>
                        <a:pt x="28277" y="10170"/>
                        <a:pt x="26159" y="17146"/>
                      </a:cubicBezTo>
                      <a:cubicBezTo>
                        <a:pt x="24042" y="24121"/>
                        <a:pt x="16444" y="27982"/>
                        <a:pt x="9468" y="25865"/>
                      </a:cubicBezTo>
                      <a:cubicBezTo>
                        <a:pt x="2369" y="23747"/>
                        <a:pt x="-1617" y="16274"/>
                        <a:pt x="62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3" name="Freeform 8578">
                  <a:extLst>
                    <a:ext uri="{FF2B5EF4-FFF2-40B4-BE49-F238E27FC236}">
                      <a16:creationId xmlns:a16="http://schemas.microsoft.com/office/drawing/2014/main" id="{2F43A7D1-CF5A-7B13-9B71-C2445CC7D335}"/>
                    </a:ext>
                  </a:extLst>
                </p:cNvPr>
                <p:cNvSpPr/>
                <p:nvPr/>
              </p:nvSpPr>
              <p:spPr>
                <a:xfrm>
                  <a:off x="3012676" y="1463004"/>
                  <a:ext cx="16317" cy="49573"/>
                </a:xfrm>
                <a:custGeom>
                  <a:avLst/>
                  <a:gdLst>
                    <a:gd name="connsiteX0" fmla="*/ 16317 w 16317"/>
                    <a:gd name="connsiteY0" fmla="*/ 0 h 49573"/>
                    <a:gd name="connsiteX1" fmla="*/ 8844 w 16317"/>
                    <a:gd name="connsiteY1" fmla="*/ 17314 h 49573"/>
                    <a:gd name="connsiteX2" fmla="*/ 6975 w 16317"/>
                    <a:gd name="connsiteY2" fmla="*/ 34627 h 49573"/>
                    <a:gd name="connsiteX3" fmla="*/ 0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0"/>
                      </a:moveTo>
                      <a:cubicBezTo>
                        <a:pt x="11584" y="6975"/>
                        <a:pt x="9715" y="12954"/>
                        <a:pt x="8844" y="17314"/>
                      </a:cubicBezTo>
                      <a:cubicBezTo>
                        <a:pt x="7474" y="24164"/>
                        <a:pt x="8595" y="27776"/>
                        <a:pt x="6975" y="34627"/>
                      </a:cubicBezTo>
                      <a:cubicBezTo>
                        <a:pt x="5356" y="41353"/>
                        <a:pt x="2367"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4" name="Freeform 8579">
                  <a:extLst>
                    <a:ext uri="{FF2B5EF4-FFF2-40B4-BE49-F238E27FC236}">
                      <a16:creationId xmlns:a16="http://schemas.microsoft.com/office/drawing/2014/main" id="{4270232F-A437-093F-2413-A2B0BF7EAC77}"/>
                    </a:ext>
                  </a:extLst>
                </p:cNvPr>
                <p:cNvSpPr/>
                <p:nvPr/>
              </p:nvSpPr>
              <p:spPr>
                <a:xfrm>
                  <a:off x="3022391" y="1460139"/>
                  <a:ext cx="14947" cy="50072"/>
                </a:xfrm>
                <a:custGeom>
                  <a:avLst/>
                  <a:gdLst>
                    <a:gd name="connsiteX0" fmla="*/ 0 w 14947"/>
                    <a:gd name="connsiteY0" fmla="*/ 50072 h 50072"/>
                    <a:gd name="connsiteX1" fmla="*/ 3737 w 14947"/>
                    <a:gd name="connsiteY1" fmla="*/ 31638 h 50072"/>
                    <a:gd name="connsiteX2" fmla="*/ 12082 w 14947"/>
                    <a:gd name="connsiteY2" fmla="*/ 16317 h 50072"/>
                    <a:gd name="connsiteX3" fmla="*/ 14947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0" y="50072"/>
                      </a:moveTo>
                      <a:cubicBezTo>
                        <a:pt x="0" y="41602"/>
                        <a:pt x="1868" y="35623"/>
                        <a:pt x="3737" y="31638"/>
                      </a:cubicBezTo>
                      <a:cubicBezTo>
                        <a:pt x="6602" y="25285"/>
                        <a:pt x="9467" y="22919"/>
                        <a:pt x="12082" y="16317"/>
                      </a:cubicBezTo>
                      <a:cubicBezTo>
                        <a:pt x="14573" y="9840"/>
                        <a:pt x="14947" y="3986"/>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5" name="Freeform 8580">
                  <a:extLst>
                    <a:ext uri="{FF2B5EF4-FFF2-40B4-BE49-F238E27FC236}">
                      <a16:creationId xmlns:a16="http://schemas.microsoft.com/office/drawing/2014/main" id="{060CEA07-C2B7-BEF8-AF82-3F31E67CEAD8}"/>
                    </a:ext>
                  </a:extLst>
                </p:cNvPr>
                <p:cNvSpPr/>
                <p:nvPr/>
              </p:nvSpPr>
              <p:spPr>
                <a:xfrm>
                  <a:off x="3021380" y="1443944"/>
                  <a:ext cx="26378" cy="26536"/>
                </a:xfrm>
                <a:custGeom>
                  <a:avLst/>
                  <a:gdLst>
                    <a:gd name="connsiteX0" fmla="*/ 25798 w 26378"/>
                    <a:gd name="connsiteY0" fmla="*/ 17192 h 26536"/>
                    <a:gd name="connsiteX1" fmla="*/ 9232 w 26378"/>
                    <a:gd name="connsiteY1" fmla="*/ 25911 h 26536"/>
                    <a:gd name="connsiteX2" fmla="*/ 638 w 26378"/>
                    <a:gd name="connsiteY2" fmla="*/ 9345 h 26536"/>
                    <a:gd name="connsiteX3" fmla="*/ 17204 w 26378"/>
                    <a:gd name="connsiteY3" fmla="*/ 626 h 26536"/>
                    <a:gd name="connsiteX4" fmla="*/ 25798 w 26378"/>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6">
                      <a:moveTo>
                        <a:pt x="25798" y="17192"/>
                      </a:moveTo>
                      <a:cubicBezTo>
                        <a:pt x="23681" y="24167"/>
                        <a:pt x="16207" y="28153"/>
                        <a:pt x="9232" y="25911"/>
                      </a:cubicBezTo>
                      <a:cubicBezTo>
                        <a:pt x="2257" y="23793"/>
                        <a:pt x="-1604" y="16320"/>
                        <a:pt x="638" y="9345"/>
                      </a:cubicBezTo>
                      <a:cubicBezTo>
                        <a:pt x="2880" y="2370"/>
                        <a:pt x="10229" y="-1616"/>
                        <a:pt x="17204" y="626"/>
                      </a:cubicBezTo>
                      <a:cubicBezTo>
                        <a:pt x="24054" y="2868"/>
                        <a:pt x="27916" y="10217"/>
                        <a:pt x="25798"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3" name="Graphic 2987">
                <a:extLst>
                  <a:ext uri="{FF2B5EF4-FFF2-40B4-BE49-F238E27FC236}">
                    <a16:creationId xmlns:a16="http://schemas.microsoft.com/office/drawing/2014/main" id="{A4BAA6A9-2FD8-089D-EC57-6FB67280653A}"/>
                  </a:ext>
                </a:extLst>
              </p:cNvPr>
              <p:cNvGrpSpPr/>
              <p:nvPr/>
            </p:nvGrpSpPr>
            <p:grpSpPr>
              <a:xfrm>
                <a:off x="2956125" y="1435271"/>
                <a:ext cx="63541" cy="143154"/>
                <a:chOff x="2956125" y="1435271"/>
                <a:chExt cx="63541" cy="143154"/>
              </a:xfrm>
              <a:grpFill/>
            </p:grpSpPr>
            <p:sp>
              <p:nvSpPr>
                <p:cNvPr id="5694" name="Freeform 8582">
                  <a:extLst>
                    <a:ext uri="{FF2B5EF4-FFF2-40B4-BE49-F238E27FC236}">
                      <a16:creationId xmlns:a16="http://schemas.microsoft.com/office/drawing/2014/main" id="{7CE6C04A-AE20-7774-34FF-CC77A43BD93C}"/>
                    </a:ext>
                  </a:extLst>
                </p:cNvPr>
                <p:cNvSpPr/>
                <p:nvPr/>
              </p:nvSpPr>
              <p:spPr>
                <a:xfrm>
                  <a:off x="2975184" y="1510087"/>
                  <a:ext cx="16441" cy="49449"/>
                </a:xfrm>
                <a:custGeom>
                  <a:avLst/>
                  <a:gdLst>
                    <a:gd name="connsiteX0" fmla="*/ 0 w 16441"/>
                    <a:gd name="connsiteY0" fmla="*/ 49449 h 49449"/>
                    <a:gd name="connsiteX1" fmla="*/ 7598 w 16441"/>
                    <a:gd name="connsiteY1" fmla="*/ 32260 h 49449"/>
                    <a:gd name="connsiteX2" fmla="*/ 9466 w 16441"/>
                    <a:gd name="connsiteY2" fmla="*/ 14947 h 49449"/>
                    <a:gd name="connsiteX3" fmla="*/ 16442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0" y="49449"/>
                      </a:moveTo>
                      <a:cubicBezTo>
                        <a:pt x="4858" y="42474"/>
                        <a:pt x="6726" y="36495"/>
                        <a:pt x="7598" y="32260"/>
                      </a:cubicBezTo>
                      <a:cubicBezTo>
                        <a:pt x="8968" y="25410"/>
                        <a:pt x="7847" y="21798"/>
                        <a:pt x="9466" y="14947"/>
                      </a:cubicBezTo>
                      <a:cubicBezTo>
                        <a:pt x="11086" y="8221"/>
                        <a:pt x="14200" y="3239"/>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5" name="Freeform 8583">
                  <a:extLst>
                    <a:ext uri="{FF2B5EF4-FFF2-40B4-BE49-F238E27FC236}">
                      <a16:creationId xmlns:a16="http://schemas.microsoft.com/office/drawing/2014/main" id="{844B14D7-A12D-AD31-812F-F2AD423CB80B}"/>
                    </a:ext>
                  </a:extLst>
                </p:cNvPr>
                <p:cNvSpPr/>
                <p:nvPr/>
              </p:nvSpPr>
              <p:spPr>
                <a:xfrm>
                  <a:off x="2966943" y="1512329"/>
                  <a:ext cx="15092" cy="49947"/>
                </a:xfrm>
                <a:custGeom>
                  <a:avLst/>
                  <a:gdLst>
                    <a:gd name="connsiteX0" fmla="*/ 15092 w 15092"/>
                    <a:gd name="connsiteY0" fmla="*/ 0 h 49947"/>
                    <a:gd name="connsiteX1" fmla="*/ 11356 w 15092"/>
                    <a:gd name="connsiteY1" fmla="*/ 18435 h 49947"/>
                    <a:gd name="connsiteX2" fmla="*/ 2885 w 15092"/>
                    <a:gd name="connsiteY2" fmla="*/ 33755 h 49947"/>
                    <a:gd name="connsiteX3" fmla="*/ 21 w 1509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92" h="49947">
                      <a:moveTo>
                        <a:pt x="15092" y="0"/>
                      </a:moveTo>
                      <a:cubicBezTo>
                        <a:pt x="15092" y="8345"/>
                        <a:pt x="13099" y="14449"/>
                        <a:pt x="11356" y="18435"/>
                      </a:cubicBezTo>
                      <a:cubicBezTo>
                        <a:pt x="8491" y="24787"/>
                        <a:pt x="5501" y="27154"/>
                        <a:pt x="2885" y="33755"/>
                      </a:cubicBezTo>
                      <a:cubicBezTo>
                        <a:pt x="270" y="40232"/>
                        <a:pt x="-104" y="46086"/>
                        <a:pt x="2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6" name="Freeform 8584">
                  <a:extLst>
                    <a:ext uri="{FF2B5EF4-FFF2-40B4-BE49-F238E27FC236}">
                      <a16:creationId xmlns:a16="http://schemas.microsoft.com/office/drawing/2014/main" id="{6B73A8C6-E52B-A63D-1EF9-97F03BC7D1C8}"/>
                    </a:ext>
                  </a:extLst>
                </p:cNvPr>
                <p:cNvSpPr/>
                <p:nvPr/>
              </p:nvSpPr>
              <p:spPr>
                <a:xfrm>
                  <a:off x="2956125" y="1551981"/>
                  <a:ext cx="26862" cy="26444"/>
                </a:xfrm>
                <a:custGeom>
                  <a:avLst/>
                  <a:gdLst>
                    <a:gd name="connsiteX0" fmla="*/ 625 w 26862"/>
                    <a:gd name="connsiteY0" fmla="*/ 9298 h 26444"/>
                    <a:gd name="connsiteX1" fmla="*/ 17440 w 26862"/>
                    <a:gd name="connsiteY1" fmla="*/ 579 h 26444"/>
                    <a:gd name="connsiteX2" fmla="*/ 26284 w 26862"/>
                    <a:gd name="connsiteY2" fmla="*/ 17146 h 26444"/>
                    <a:gd name="connsiteX3" fmla="*/ 9468 w 26862"/>
                    <a:gd name="connsiteY3" fmla="*/ 25865 h 26444"/>
                    <a:gd name="connsiteX4" fmla="*/ 625 w 26862"/>
                    <a:gd name="connsiteY4" fmla="*/ 9298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625" y="9298"/>
                      </a:moveTo>
                      <a:cubicBezTo>
                        <a:pt x="2867" y="2323"/>
                        <a:pt x="10340" y="-1538"/>
                        <a:pt x="17440" y="579"/>
                      </a:cubicBezTo>
                      <a:cubicBezTo>
                        <a:pt x="24540" y="2822"/>
                        <a:pt x="28401" y="10170"/>
                        <a:pt x="26284" y="17146"/>
                      </a:cubicBezTo>
                      <a:cubicBezTo>
                        <a:pt x="24042" y="24121"/>
                        <a:pt x="16568" y="27982"/>
                        <a:pt x="9468" y="25865"/>
                      </a:cubicBezTo>
                      <a:cubicBezTo>
                        <a:pt x="2369" y="23747"/>
                        <a:pt x="-1617" y="16274"/>
                        <a:pt x="62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7" name="Freeform 8585">
                  <a:extLst>
                    <a:ext uri="{FF2B5EF4-FFF2-40B4-BE49-F238E27FC236}">
                      <a16:creationId xmlns:a16="http://schemas.microsoft.com/office/drawing/2014/main" id="{0C7628F3-56DB-150E-0FE9-6D9C0795F2EB}"/>
                    </a:ext>
                  </a:extLst>
                </p:cNvPr>
                <p:cNvSpPr/>
                <p:nvPr/>
              </p:nvSpPr>
              <p:spPr>
                <a:xfrm>
                  <a:off x="2984526" y="1454285"/>
                  <a:ext cx="16441" cy="49449"/>
                </a:xfrm>
                <a:custGeom>
                  <a:avLst/>
                  <a:gdLst>
                    <a:gd name="connsiteX0" fmla="*/ 16442 w 16441"/>
                    <a:gd name="connsiteY0" fmla="*/ 0 h 49449"/>
                    <a:gd name="connsiteX1" fmla="*/ 8844 w 16441"/>
                    <a:gd name="connsiteY1" fmla="*/ 17189 h 49449"/>
                    <a:gd name="connsiteX2" fmla="*/ 6975 w 16441"/>
                    <a:gd name="connsiteY2" fmla="*/ 34502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1708" y="6975"/>
                        <a:pt x="9715" y="12954"/>
                        <a:pt x="8844" y="17189"/>
                      </a:cubicBezTo>
                      <a:cubicBezTo>
                        <a:pt x="7474" y="24040"/>
                        <a:pt x="8595" y="27527"/>
                        <a:pt x="6975" y="34502"/>
                      </a:cubicBezTo>
                      <a:cubicBezTo>
                        <a:pt x="5356" y="41229"/>
                        <a:pt x="2242"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8" name="Freeform 8586">
                  <a:extLst>
                    <a:ext uri="{FF2B5EF4-FFF2-40B4-BE49-F238E27FC236}">
                      <a16:creationId xmlns:a16="http://schemas.microsoft.com/office/drawing/2014/main" id="{7C21335F-3AB3-112C-55F0-927EA6DD9274}"/>
                    </a:ext>
                  </a:extLst>
                </p:cNvPr>
                <p:cNvSpPr/>
                <p:nvPr/>
              </p:nvSpPr>
              <p:spPr>
                <a:xfrm>
                  <a:off x="2994117" y="1451545"/>
                  <a:ext cx="14964" cy="49947"/>
                </a:xfrm>
                <a:custGeom>
                  <a:avLst/>
                  <a:gdLst>
                    <a:gd name="connsiteX0" fmla="*/ 0 w 14964"/>
                    <a:gd name="connsiteY0" fmla="*/ 49948 h 49947"/>
                    <a:gd name="connsiteX1" fmla="*/ 3737 w 14964"/>
                    <a:gd name="connsiteY1" fmla="*/ 31513 h 49947"/>
                    <a:gd name="connsiteX2" fmla="*/ 12082 w 14964"/>
                    <a:gd name="connsiteY2" fmla="*/ 16192 h 49947"/>
                    <a:gd name="connsiteX3" fmla="*/ 14947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0" y="49948"/>
                      </a:moveTo>
                      <a:cubicBezTo>
                        <a:pt x="0" y="41602"/>
                        <a:pt x="1993" y="35499"/>
                        <a:pt x="3737" y="31513"/>
                      </a:cubicBezTo>
                      <a:cubicBezTo>
                        <a:pt x="6602" y="25161"/>
                        <a:pt x="9466" y="22794"/>
                        <a:pt x="12082" y="16192"/>
                      </a:cubicBezTo>
                      <a:cubicBezTo>
                        <a:pt x="14573" y="9716"/>
                        <a:pt x="15071" y="3861"/>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9" name="Freeform 8587">
                  <a:extLst>
                    <a:ext uri="{FF2B5EF4-FFF2-40B4-BE49-F238E27FC236}">
                      <a16:creationId xmlns:a16="http://schemas.microsoft.com/office/drawing/2014/main" id="{147A8AB9-3252-8242-1C9B-141584D01BBF}"/>
                    </a:ext>
                  </a:extLst>
                </p:cNvPr>
                <p:cNvSpPr/>
                <p:nvPr/>
              </p:nvSpPr>
              <p:spPr>
                <a:xfrm>
                  <a:off x="2993230" y="1435271"/>
                  <a:ext cx="26435" cy="26444"/>
                </a:xfrm>
                <a:custGeom>
                  <a:avLst/>
                  <a:gdLst>
                    <a:gd name="connsiteX0" fmla="*/ 25798 w 26435"/>
                    <a:gd name="connsiteY0" fmla="*/ 17146 h 26444"/>
                    <a:gd name="connsiteX1" fmla="*/ 9232 w 26435"/>
                    <a:gd name="connsiteY1" fmla="*/ 25865 h 26444"/>
                    <a:gd name="connsiteX2" fmla="*/ 638 w 26435"/>
                    <a:gd name="connsiteY2" fmla="*/ 9299 h 26444"/>
                    <a:gd name="connsiteX3" fmla="*/ 17204 w 26435"/>
                    <a:gd name="connsiteY3" fmla="*/ 579 h 26444"/>
                    <a:gd name="connsiteX4" fmla="*/ 25798 w 26435"/>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44">
                      <a:moveTo>
                        <a:pt x="25798" y="17146"/>
                      </a:moveTo>
                      <a:cubicBezTo>
                        <a:pt x="23556" y="24121"/>
                        <a:pt x="16207" y="27982"/>
                        <a:pt x="9232" y="25865"/>
                      </a:cubicBezTo>
                      <a:cubicBezTo>
                        <a:pt x="2257" y="23747"/>
                        <a:pt x="-1605" y="16274"/>
                        <a:pt x="638" y="9299"/>
                      </a:cubicBezTo>
                      <a:cubicBezTo>
                        <a:pt x="2880" y="2323"/>
                        <a:pt x="10229" y="-1538"/>
                        <a:pt x="17204" y="579"/>
                      </a:cubicBezTo>
                      <a:cubicBezTo>
                        <a:pt x="24179" y="2822"/>
                        <a:pt x="28040" y="10170"/>
                        <a:pt x="2579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4" name="Graphic 2987">
                <a:extLst>
                  <a:ext uri="{FF2B5EF4-FFF2-40B4-BE49-F238E27FC236}">
                    <a16:creationId xmlns:a16="http://schemas.microsoft.com/office/drawing/2014/main" id="{E7210C93-5A2E-93BD-0BA9-E9E902FAF377}"/>
                  </a:ext>
                </a:extLst>
              </p:cNvPr>
              <p:cNvGrpSpPr/>
              <p:nvPr/>
            </p:nvGrpSpPr>
            <p:grpSpPr>
              <a:xfrm>
                <a:off x="2927589" y="1426552"/>
                <a:ext cx="64052" cy="143088"/>
                <a:chOff x="2927589" y="1426552"/>
                <a:chExt cx="64052" cy="143088"/>
              </a:xfrm>
              <a:grpFill/>
            </p:grpSpPr>
            <p:sp>
              <p:nvSpPr>
                <p:cNvPr id="5688" name="Freeform 8589">
                  <a:extLst>
                    <a:ext uri="{FF2B5EF4-FFF2-40B4-BE49-F238E27FC236}">
                      <a16:creationId xmlns:a16="http://schemas.microsoft.com/office/drawing/2014/main" id="{C57D523F-FF9A-183A-4232-A0B40EE96454}"/>
                    </a:ext>
                  </a:extLst>
                </p:cNvPr>
                <p:cNvSpPr/>
                <p:nvPr/>
              </p:nvSpPr>
              <p:spPr>
                <a:xfrm>
                  <a:off x="2946661" y="1501243"/>
                  <a:ext cx="16690" cy="49449"/>
                </a:xfrm>
                <a:custGeom>
                  <a:avLst/>
                  <a:gdLst>
                    <a:gd name="connsiteX0" fmla="*/ 0 w 16690"/>
                    <a:gd name="connsiteY0" fmla="*/ 49449 h 49449"/>
                    <a:gd name="connsiteX1" fmla="*/ 7598 w 16690"/>
                    <a:gd name="connsiteY1" fmla="*/ 32260 h 49449"/>
                    <a:gd name="connsiteX2" fmla="*/ 9591 w 16690"/>
                    <a:gd name="connsiteY2" fmla="*/ 14947 h 49449"/>
                    <a:gd name="connsiteX3" fmla="*/ 16691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0" y="49449"/>
                      </a:moveTo>
                      <a:cubicBezTo>
                        <a:pt x="4858" y="42474"/>
                        <a:pt x="6726" y="36495"/>
                        <a:pt x="7598" y="32260"/>
                      </a:cubicBezTo>
                      <a:cubicBezTo>
                        <a:pt x="8968" y="25410"/>
                        <a:pt x="7847" y="21922"/>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9" name="Freeform 8590">
                  <a:extLst>
                    <a:ext uri="{FF2B5EF4-FFF2-40B4-BE49-F238E27FC236}">
                      <a16:creationId xmlns:a16="http://schemas.microsoft.com/office/drawing/2014/main" id="{6B9FBC46-EB33-B787-1892-ED4151E0B999}"/>
                    </a:ext>
                  </a:extLst>
                </p:cNvPr>
                <p:cNvSpPr/>
                <p:nvPr/>
              </p:nvSpPr>
              <p:spPr>
                <a:xfrm>
                  <a:off x="2938315" y="1503610"/>
                  <a:ext cx="15320" cy="49823"/>
                </a:xfrm>
                <a:custGeom>
                  <a:avLst/>
                  <a:gdLst>
                    <a:gd name="connsiteX0" fmla="*/ 15321 w 15320"/>
                    <a:gd name="connsiteY0" fmla="*/ 0 h 49823"/>
                    <a:gd name="connsiteX1" fmla="*/ 11459 w 15320"/>
                    <a:gd name="connsiteY1" fmla="*/ 18435 h 49823"/>
                    <a:gd name="connsiteX2" fmla="*/ 2989 w 15320"/>
                    <a:gd name="connsiteY2" fmla="*/ 33631 h 49823"/>
                    <a:gd name="connsiteX3" fmla="*/ 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0"/>
                      </a:moveTo>
                      <a:cubicBezTo>
                        <a:pt x="15196" y="8345"/>
                        <a:pt x="13328" y="14449"/>
                        <a:pt x="11459" y="18435"/>
                      </a:cubicBezTo>
                      <a:cubicBezTo>
                        <a:pt x="8595" y="24787"/>
                        <a:pt x="5605" y="27029"/>
                        <a:pt x="2989" y="33631"/>
                      </a:cubicBezTo>
                      <a:cubicBezTo>
                        <a:pt x="374"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0" name="Freeform 8591">
                  <a:extLst>
                    <a:ext uri="{FF2B5EF4-FFF2-40B4-BE49-F238E27FC236}">
                      <a16:creationId xmlns:a16="http://schemas.microsoft.com/office/drawing/2014/main" id="{99638A8C-CAC9-9900-8B08-6927D261667C}"/>
                    </a:ext>
                  </a:extLst>
                </p:cNvPr>
                <p:cNvSpPr/>
                <p:nvPr/>
              </p:nvSpPr>
              <p:spPr>
                <a:xfrm>
                  <a:off x="2927589" y="1543204"/>
                  <a:ext cx="26796" cy="26435"/>
                </a:xfrm>
                <a:custGeom>
                  <a:avLst/>
                  <a:gdLst>
                    <a:gd name="connsiteX0" fmla="*/ 637 w 26796"/>
                    <a:gd name="connsiteY0" fmla="*/ 9232 h 26435"/>
                    <a:gd name="connsiteX1" fmla="*/ 17452 w 26796"/>
                    <a:gd name="connsiteY1" fmla="*/ 638 h 26435"/>
                    <a:gd name="connsiteX2" fmla="*/ 26171 w 26796"/>
                    <a:gd name="connsiteY2" fmla="*/ 17204 h 26435"/>
                    <a:gd name="connsiteX3" fmla="*/ 9356 w 26796"/>
                    <a:gd name="connsiteY3" fmla="*/ 25798 h 26435"/>
                    <a:gd name="connsiteX4" fmla="*/ 637 w 26796"/>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6" h="26435">
                      <a:moveTo>
                        <a:pt x="637" y="9232"/>
                      </a:moveTo>
                      <a:cubicBezTo>
                        <a:pt x="2879" y="2257"/>
                        <a:pt x="10477" y="-1604"/>
                        <a:pt x="17452" y="638"/>
                      </a:cubicBezTo>
                      <a:cubicBezTo>
                        <a:pt x="24427" y="2880"/>
                        <a:pt x="28413" y="10229"/>
                        <a:pt x="26171" y="17204"/>
                      </a:cubicBezTo>
                      <a:cubicBezTo>
                        <a:pt x="23929" y="24179"/>
                        <a:pt x="16456" y="28040"/>
                        <a:pt x="9356" y="25798"/>
                      </a:cubicBezTo>
                      <a:cubicBezTo>
                        <a:pt x="2256" y="23556"/>
                        <a:pt x="-1605" y="16207"/>
                        <a:pt x="637"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1" name="Freeform 8592">
                  <a:extLst>
                    <a:ext uri="{FF2B5EF4-FFF2-40B4-BE49-F238E27FC236}">
                      <a16:creationId xmlns:a16="http://schemas.microsoft.com/office/drawing/2014/main" id="{EB2FF9CF-8530-D6D7-13C4-F646DE8C1649}"/>
                    </a:ext>
                  </a:extLst>
                </p:cNvPr>
                <p:cNvSpPr/>
                <p:nvPr/>
              </p:nvSpPr>
              <p:spPr>
                <a:xfrm>
                  <a:off x="2956127" y="1445566"/>
                  <a:ext cx="16690" cy="49449"/>
                </a:xfrm>
                <a:custGeom>
                  <a:avLst/>
                  <a:gdLst>
                    <a:gd name="connsiteX0" fmla="*/ 16691 w 16690"/>
                    <a:gd name="connsiteY0" fmla="*/ 0 h 49449"/>
                    <a:gd name="connsiteX1" fmla="*/ 9093 w 16690"/>
                    <a:gd name="connsiteY1" fmla="*/ 17189 h 49449"/>
                    <a:gd name="connsiteX2" fmla="*/ 7100 w 16690"/>
                    <a:gd name="connsiteY2" fmla="*/ 34502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1833" y="6975"/>
                        <a:pt x="9965" y="12954"/>
                        <a:pt x="9093" y="17189"/>
                      </a:cubicBezTo>
                      <a:cubicBezTo>
                        <a:pt x="7723" y="24040"/>
                        <a:pt x="8843" y="27527"/>
                        <a:pt x="7100" y="34502"/>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2" name="Freeform 8593">
                  <a:extLst>
                    <a:ext uri="{FF2B5EF4-FFF2-40B4-BE49-F238E27FC236}">
                      <a16:creationId xmlns:a16="http://schemas.microsoft.com/office/drawing/2014/main" id="{FEB591F4-E8A6-CE5F-4123-E16E06EA0906}"/>
                    </a:ext>
                  </a:extLst>
                </p:cNvPr>
                <p:cNvSpPr/>
                <p:nvPr/>
              </p:nvSpPr>
              <p:spPr>
                <a:xfrm>
                  <a:off x="2965842" y="1442826"/>
                  <a:ext cx="15320" cy="49823"/>
                </a:xfrm>
                <a:custGeom>
                  <a:avLst/>
                  <a:gdLst>
                    <a:gd name="connsiteX0" fmla="*/ 0 w 15320"/>
                    <a:gd name="connsiteY0" fmla="*/ 49823 h 49823"/>
                    <a:gd name="connsiteX1" fmla="*/ 3861 w 15320"/>
                    <a:gd name="connsiteY1" fmla="*/ 31389 h 49823"/>
                    <a:gd name="connsiteX2" fmla="*/ 12331 w 15320"/>
                    <a:gd name="connsiteY2" fmla="*/ 16193 h 49823"/>
                    <a:gd name="connsiteX3" fmla="*/ 15321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0" y="49823"/>
                      </a:moveTo>
                      <a:cubicBezTo>
                        <a:pt x="124" y="41478"/>
                        <a:pt x="1993" y="35374"/>
                        <a:pt x="3861" y="31389"/>
                      </a:cubicBezTo>
                      <a:cubicBezTo>
                        <a:pt x="6726" y="25036"/>
                        <a:pt x="9715" y="22670"/>
                        <a:pt x="12331" y="16193"/>
                      </a:cubicBezTo>
                      <a:cubicBezTo>
                        <a:pt x="14947" y="9840"/>
                        <a:pt x="15321" y="3861"/>
                        <a:pt x="153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3" name="Freeform 8594">
                  <a:extLst>
                    <a:ext uri="{FF2B5EF4-FFF2-40B4-BE49-F238E27FC236}">
                      <a16:creationId xmlns:a16="http://schemas.microsoft.com/office/drawing/2014/main" id="{FEA8BA81-3287-D543-B2FC-08BFE3F7C066}"/>
                    </a:ext>
                  </a:extLst>
                </p:cNvPr>
                <p:cNvSpPr/>
                <p:nvPr/>
              </p:nvSpPr>
              <p:spPr>
                <a:xfrm>
                  <a:off x="2965317" y="1426552"/>
                  <a:ext cx="26324" cy="26444"/>
                </a:xfrm>
                <a:custGeom>
                  <a:avLst/>
                  <a:gdLst>
                    <a:gd name="connsiteX0" fmla="*/ 25686 w 26324"/>
                    <a:gd name="connsiteY0" fmla="*/ 17146 h 26444"/>
                    <a:gd name="connsiteX1" fmla="*/ 9120 w 26324"/>
                    <a:gd name="connsiteY1" fmla="*/ 25865 h 26444"/>
                    <a:gd name="connsiteX2" fmla="*/ 650 w 26324"/>
                    <a:gd name="connsiteY2" fmla="*/ 9298 h 26444"/>
                    <a:gd name="connsiteX3" fmla="*/ 17216 w 26324"/>
                    <a:gd name="connsiteY3" fmla="*/ 579 h 26444"/>
                    <a:gd name="connsiteX4" fmla="*/ 25686 w 26324"/>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44">
                      <a:moveTo>
                        <a:pt x="25686" y="17146"/>
                      </a:moveTo>
                      <a:cubicBezTo>
                        <a:pt x="23444" y="24121"/>
                        <a:pt x="15971" y="27982"/>
                        <a:pt x="9120" y="25865"/>
                      </a:cubicBezTo>
                      <a:cubicBezTo>
                        <a:pt x="2145" y="23747"/>
                        <a:pt x="-1592" y="16274"/>
                        <a:pt x="650" y="9298"/>
                      </a:cubicBezTo>
                      <a:cubicBezTo>
                        <a:pt x="2892" y="2323"/>
                        <a:pt x="10365" y="-1538"/>
                        <a:pt x="17216" y="579"/>
                      </a:cubicBezTo>
                      <a:cubicBezTo>
                        <a:pt x="24067" y="2697"/>
                        <a:pt x="27928" y="10170"/>
                        <a:pt x="25686"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5" name="Graphic 2987">
                <a:extLst>
                  <a:ext uri="{FF2B5EF4-FFF2-40B4-BE49-F238E27FC236}">
                    <a16:creationId xmlns:a16="http://schemas.microsoft.com/office/drawing/2014/main" id="{04677987-7F2B-CC60-C8FD-8E9F3C5B48C9}"/>
                  </a:ext>
                </a:extLst>
              </p:cNvPr>
              <p:cNvGrpSpPr/>
              <p:nvPr/>
            </p:nvGrpSpPr>
            <p:grpSpPr>
              <a:xfrm>
                <a:off x="2899018" y="1417957"/>
                <a:ext cx="64597" cy="142839"/>
                <a:chOff x="2899018" y="1417957"/>
                <a:chExt cx="64597" cy="142839"/>
              </a:xfrm>
              <a:grpFill/>
            </p:grpSpPr>
            <p:sp>
              <p:nvSpPr>
                <p:cNvPr id="5682" name="Freeform 8596">
                  <a:extLst>
                    <a:ext uri="{FF2B5EF4-FFF2-40B4-BE49-F238E27FC236}">
                      <a16:creationId xmlns:a16="http://schemas.microsoft.com/office/drawing/2014/main" id="{9DCF6EF9-6466-EFE4-1BFE-0C6FE8123727}"/>
                    </a:ext>
                  </a:extLst>
                </p:cNvPr>
                <p:cNvSpPr/>
                <p:nvPr/>
              </p:nvSpPr>
              <p:spPr>
                <a:xfrm>
                  <a:off x="2918137" y="1492400"/>
                  <a:ext cx="16815" cy="49449"/>
                </a:xfrm>
                <a:custGeom>
                  <a:avLst/>
                  <a:gdLst>
                    <a:gd name="connsiteX0" fmla="*/ 0 w 16815"/>
                    <a:gd name="connsiteY0" fmla="*/ 49449 h 49449"/>
                    <a:gd name="connsiteX1" fmla="*/ 7723 w 16815"/>
                    <a:gd name="connsiteY1" fmla="*/ 32260 h 49449"/>
                    <a:gd name="connsiteX2" fmla="*/ 9715 w 16815"/>
                    <a:gd name="connsiteY2" fmla="*/ 14947 h 49449"/>
                    <a:gd name="connsiteX3" fmla="*/ 16815 w 16815"/>
                    <a:gd name="connsiteY3" fmla="*/ 0 h 49449"/>
                  </a:gdLst>
                  <a:ahLst/>
                  <a:cxnLst>
                    <a:cxn ang="0">
                      <a:pos x="connsiteX0" y="connsiteY0"/>
                    </a:cxn>
                    <a:cxn ang="0">
                      <a:pos x="connsiteX1" y="connsiteY1"/>
                    </a:cxn>
                    <a:cxn ang="0">
                      <a:pos x="connsiteX2" y="connsiteY2"/>
                    </a:cxn>
                    <a:cxn ang="0">
                      <a:pos x="connsiteX3" y="connsiteY3"/>
                    </a:cxn>
                  </a:cxnLst>
                  <a:rect l="l" t="t" r="r" b="b"/>
                  <a:pathLst>
                    <a:path w="16815" h="49449">
                      <a:moveTo>
                        <a:pt x="0" y="49449"/>
                      </a:moveTo>
                      <a:cubicBezTo>
                        <a:pt x="4858" y="42599"/>
                        <a:pt x="6851" y="36495"/>
                        <a:pt x="7723" y="32260"/>
                      </a:cubicBezTo>
                      <a:cubicBezTo>
                        <a:pt x="9093" y="25410"/>
                        <a:pt x="7972" y="21922"/>
                        <a:pt x="9715" y="14947"/>
                      </a:cubicBezTo>
                      <a:cubicBezTo>
                        <a:pt x="11335" y="8221"/>
                        <a:pt x="14449" y="3239"/>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3" name="Freeform 8597">
                  <a:extLst>
                    <a:ext uri="{FF2B5EF4-FFF2-40B4-BE49-F238E27FC236}">
                      <a16:creationId xmlns:a16="http://schemas.microsoft.com/office/drawing/2014/main" id="{96C1514B-D515-BE89-4A9F-D9523F217407}"/>
                    </a:ext>
                  </a:extLst>
                </p:cNvPr>
                <p:cNvSpPr/>
                <p:nvPr/>
              </p:nvSpPr>
              <p:spPr>
                <a:xfrm>
                  <a:off x="2909791" y="1494766"/>
                  <a:ext cx="15445" cy="49698"/>
                </a:xfrm>
                <a:custGeom>
                  <a:avLst/>
                  <a:gdLst>
                    <a:gd name="connsiteX0" fmla="*/ 15445 w 15445"/>
                    <a:gd name="connsiteY0" fmla="*/ 0 h 49698"/>
                    <a:gd name="connsiteX1" fmla="*/ 11584 w 15445"/>
                    <a:gd name="connsiteY1" fmla="*/ 18310 h 49698"/>
                    <a:gd name="connsiteX2" fmla="*/ 2989 w 15445"/>
                    <a:gd name="connsiteY2" fmla="*/ 33506 h 49698"/>
                    <a:gd name="connsiteX3" fmla="*/ 0 w 15445"/>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0"/>
                      </a:moveTo>
                      <a:cubicBezTo>
                        <a:pt x="15321" y="8345"/>
                        <a:pt x="13328" y="14449"/>
                        <a:pt x="11584" y="18310"/>
                      </a:cubicBezTo>
                      <a:cubicBezTo>
                        <a:pt x="8719" y="24662"/>
                        <a:pt x="5730" y="26904"/>
                        <a:pt x="2989" y="33506"/>
                      </a:cubicBezTo>
                      <a:cubicBezTo>
                        <a:pt x="374"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4" name="Freeform 8598">
                  <a:extLst>
                    <a:ext uri="{FF2B5EF4-FFF2-40B4-BE49-F238E27FC236}">
                      <a16:creationId xmlns:a16="http://schemas.microsoft.com/office/drawing/2014/main" id="{8F8C4690-FDF0-BDB2-B9E5-57D120DE876A}"/>
                    </a:ext>
                  </a:extLst>
                </p:cNvPr>
                <p:cNvSpPr/>
                <p:nvPr/>
              </p:nvSpPr>
              <p:spPr>
                <a:xfrm>
                  <a:off x="2899018" y="1534361"/>
                  <a:ext cx="26979" cy="26435"/>
                </a:xfrm>
                <a:custGeom>
                  <a:avLst/>
                  <a:gdLst>
                    <a:gd name="connsiteX0" fmla="*/ 684 w 26979"/>
                    <a:gd name="connsiteY0" fmla="*/ 9232 h 26435"/>
                    <a:gd name="connsiteX1" fmla="*/ 17624 w 26979"/>
                    <a:gd name="connsiteY1" fmla="*/ 638 h 26435"/>
                    <a:gd name="connsiteX2" fmla="*/ 26343 w 26979"/>
                    <a:gd name="connsiteY2" fmla="*/ 17204 h 26435"/>
                    <a:gd name="connsiteX3" fmla="*/ 9403 w 26979"/>
                    <a:gd name="connsiteY3" fmla="*/ 25798 h 26435"/>
                    <a:gd name="connsiteX4" fmla="*/ 684 w 26979"/>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8" h="26435">
                      <a:moveTo>
                        <a:pt x="684" y="9232"/>
                      </a:moveTo>
                      <a:cubicBezTo>
                        <a:pt x="2926" y="2257"/>
                        <a:pt x="10524" y="-1604"/>
                        <a:pt x="17624" y="638"/>
                      </a:cubicBezTo>
                      <a:cubicBezTo>
                        <a:pt x="24723" y="2880"/>
                        <a:pt x="28585" y="10229"/>
                        <a:pt x="26343" y="17204"/>
                      </a:cubicBezTo>
                      <a:cubicBezTo>
                        <a:pt x="24101" y="24179"/>
                        <a:pt x="16503" y="28040"/>
                        <a:pt x="9403" y="25798"/>
                      </a:cubicBezTo>
                      <a:cubicBezTo>
                        <a:pt x="2303" y="23556"/>
                        <a:pt x="-1683" y="16207"/>
                        <a:pt x="684"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5" name="Freeform 8599">
                  <a:extLst>
                    <a:ext uri="{FF2B5EF4-FFF2-40B4-BE49-F238E27FC236}">
                      <a16:creationId xmlns:a16="http://schemas.microsoft.com/office/drawing/2014/main" id="{46B43068-D0C6-5D54-096C-AC8EAD4EF988}"/>
                    </a:ext>
                  </a:extLst>
                </p:cNvPr>
                <p:cNvSpPr/>
                <p:nvPr/>
              </p:nvSpPr>
              <p:spPr>
                <a:xfrm>
                  <a:off x="2927852" y="1436847"/>
                  <a:ext cx="16815" cy="49324"/>
                </a:xfrm>
                <a:custGeom>
                  <a:avLst/>
                  <a:gdLst>
                    <a:gd name="connsiteX0" fmla="*/ 16815 w 16815"/>
                    <a:gd name="connsiteY0" fmla="*/ 0 h 49324"/>
                    <a:gd name="connsiteX1" fmla="*/ 9093 w 16815"/>
                    <a:gd name="connsiteY1" fmla="*/ 17189 h 49324"/>
                    <a:gd name="connsiteX2" fmla="*/ 7100 w 16815"/>
                    <a:gd name="connsiteY2" fmla="*/ 34378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1958" y="6975"/>
                        <a:pt x="9965" y="12954"/>
                        <a:pt x="9093" y="17189"/>
                      </a:cubicBezTo>
                      <a:cubicBezTo>
                        <a:pt x="7723" y="24040"/>
                        <a:pt x="8719" y="27527"/>
                        <a:pt x="7100" y="34378"/>
                      </a:cubicBezTo>
                      <a:cubicBezTo>
                        <a:pt x="5481" y="41104"/>
                        <a:pt x="2367" y="46086"/>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6" name="Freeform 8600">
                  <a:extLst>
                    <a:ext uri="{FF2B5EF4-FFF2-40B4-BE49-F238E27FC236}">
                      <a16:creationId xmlns:a16="http://schemas.microsoft.com/office/drawing/2014/main" id="{CDCB8BFB-28E1-E2B3-90DD-AD273AD5768B}"/>
                    </a:ext>
                  </a:extLst>
                </p:cNvPr>
                <p:cNvSpPr/>
                <p:nvPr/>
              </p:nvSpPr>
              <p:spPr>
                <a:xfrm>
                  <a:off x="2937443" y="1434231"/>
                  <a:ext cx="15445" cy="49698"/>
                </a:xfrm>
                <a:custGeom>
                  <a:avLst/>
                  <a:gdLst>
                    <a:gd name="connsiteX0" fmla="*/ 0 w 15445"/>
                    <a:gd name="connsiteY0" fmla="*/ 49699 h 49698"/>
                    <a:gd name="connsiteX1" fmla="*/ 3861 w 15445"/>
                    <a:gd name="connsiteY1" fmla="*/ 31389 h 49698"/>
                    <a:gd name="connsiteX2" fmla="*/ 12456 w 15445"/>
                    <a:gd name="connsiteY2" fmla="*/ 16192 h 49698"/>
                    <a:gd name="connsiteX3" fmla="*/ 15445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0" y="49699"/>
                      </a:moveTo>
                      <a:cubicBezTo>
                        <a:pt x="124" y="41353"/>
                        <a:pt x="2117" y="35250"/>
                        <a:pt x="3861" y="31389"/>
                      </a:cubicBezTo>
                      <a:cubicBezTo>
                        <a:pt x="6726" y="25036"/>
                        <a:pt x="9715" y="22794"/>
                        <a:pt x="12456" y="16192"/>
                      </a:cubicBezTo>
                      <a:cubicBezTo>
                        <a:pt x="15071" y="9840"/>
                        <a:pt x="15445" y="3986"/>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7" name="Freeform 8601">
                  <a:extLst>
                    <a:ext uri="{FF2B5EF4-FFF2-40B4-BE49-F238E27FC236}">
                      <a16:creationId xmlns:a16="http://schemas.microsoft.com/office/drawing/2014/main" id="{164DFE81-8F6D-EE10-EAF2-D3A945995EC7}"/>
                    </a:ext>
                  </a:extLst>
                </p:cNvPr>
                <p:cNvSpPr/>
                <p:nvPr/>
              </p:nvSpPr>
              <p:spPr>
                <a:xfrm>
                  <a:off x="2937167" y="1417957"/>
                  <a:ext cx="26449" cy="26319"/>
                </a:xfrm>
                <a:custGeom>
                  <a:avLst/>
                  <a:gdLst>
                    <a:gd name="connsiteX0" fmla="*/ 25811 w 26449"/>
                    <a:gd name="connsiteY0" fmla="*/ 17021 h 26319"/>
                    <a:gd name="connsiteX1" fmla="*/ 9120 w 26449"/>
                    <a:gd name="connsiteY1" fmla="*/ 25740 h 26319"/>
                    <a:gd name="connsiteX2" fmla="*/ 650 w 26449"/>
                    <a:gd name="connsiteY2" fmla="*/ 9298 h 26319"/>
                    <a:gd name="connsiteX3" fmla="*/ 17341 w 26449"/>
                    <a:gd name="connsiteY3" fmla="*/ 579 h 26319"/>
                    <a:gd name="connsiteX4" fmla="*/ 25811 w 26449"/>
                    <a:gd name="connsiteY4" fmla="*/ 17021 h 2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319">
                      <a:moveTo>
                        <a:pt x="25811" y="17021"/>
                      </a:moveTo>
                      <a:cubicBezTo>
                        <a:pt x="23569" y="23996"/>
                        <a:pt x="16095" y="27858"/>
                        <a:pt x="9120" y="25740"/>
                      </a:cubicBezTo>
                      <a:cubicBezTo>
                        <a:pt x="2145" y="23623"/>
                        <a:pt x="-1592" y="16149"/>
                        <a:pt x="650" y="9298"/>
                      </a:cubicBezTo>
                      <a:cubicBezTo>
                        <a:pt x="2892" y="2323"/>
                        <a:pt x="10365" y="-1538"/>
                        <a:pt x="17341" y="579"/>
                      </a:cubicBezTo>
                      <a:cubicBezTo>
                        <a:pt x="24191" y="2697"/>
                        <a:pt x="28053" y="10170"/>
                        <a:pt x="25811" y="170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6" name="Graphic 2987">
                <a:extLst>
                  <a:ext uri="{FF2B5EF4-FFF2-40B4-BE49-F238E27FC236}">
                    <a16:creationId xmlns:a16="http://schemas.microsoft.com/office/drawing/2014/main" id="{1BE55F5B-DDAE-47B5-7665-1D37B5CD03DC}"/>
                  </a:ext>
                </a:extLst>
              </p:cNvPr>
              <p:cNvGrpSpPr/>
              <p:nvPr/>
            </p:nvGrpSpPr>
            <p:grpSpPr>
              <a:xfrm>
                <a:off x="2870653" y="1408595"/>
                <a:ext cx="64886" cy="142946"/>
                <a:chOff x="2870653" y="1408595"/>
                <a:chExt cx="64886" cy="142946"/>
              </a:xfrm>
              <a:grpFill/>
            </p:grpSpPr>
            <p:sp>
              <p:nvSpPr>
                <p:cNvPr id="5676" name="Freeform 8603">
                  <a:extLst>
                    <a:ext uri="{FF2B5EF4-FFF2-40B4-BE49-F238E27FC236}">
                      <a16:creationId xmlns:a16="http://schemas.microsoft.com/office/drawing/2014/main" id="{9D52238E-CCA2-356B-9890-42BCCEEB66AB}"/>
                    </a:ext>
                  </a:extLst>
                </p:cNvPr>
                <p:cNvSpPr/>
                <p:nvPr/>
              </p:nvSpPr>
              <p:spPr>
                <a:xfrm>
                  <a:off x="2889738" y="1483431"/>
                  <a:ext cx="17064" cy="49200"/>
                </a:xfrm>
                <a:custGeom>
                  <a:avLst/>
                  <a:gdLst>
                    <a:gd name="connsiteX0" fmla="*/ 0 w 17064"/>
                    <a:gd name="connsiteY0" fmla="*/ 49200 h 49200"/>
                    <a:gd name="connsiteX1" fmla="*/ 7723 w 17064"/>
                    <a:gd name="connsiteY1" fmla="*/ 32136 h 49200"/>
                    <a:gd name="connsiteX2" fmla="*/ 9840 w 17064"/>
                    <a:gd name="connsiteY2" fmla="*/ 14822 h 49200"/>
                    <a:gd name="connsiteX3" fmla="*/ 17064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0" y="49200"/>
                      </a:moveTo>
                      <a:cubicBezTo>
                        <a:pt x="4858" y="42350"/>
                        <a:pt x="6851" y="36371"/>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7" name="Freeform 8604">
                  <a:extLst>
                    <a:ext uri="{FF2B5EF4-FFF2-40B4-BE49-F238E27FC236}">
                      <a16:creationId xmlns:a16="http://schemas.microsoft.com/office/drawing/2014/main" id="{59F01E98-7EAC-6980-870D-9AD3FCF960B7}"/>
                    </a:ext>
                  </a:extLst>
                </p:cNvPr>
                <p:cNvSpPr/>
                <p:nvPr/>
              </p:nvSpPr>
              <p:spPr>
                <a:xfrm>
                  <a:off x="2881392" y="1485424"/>
                  <a:ext cx="15694" cy="49698"/>
                </a:xfrm>
                <a:custGeom>
                  <a:avLst/>
                  <a:gdLst>
                    <a:gd name="connsiteX0" fmla="*/ 15694 w 15694"/>
                    <a:gd name="connsiteY0" fmla="*/ 0 h 49698"/>
                    <a:gd name="connsiteX1" fmla="*/ 11708 w 15694"/>
                    <a:gd name="connsiteY1" fmla="*/ 18435 h 49698"/>
                    <a:gd name="connsiteX2" fmla="*/ 3114 w 15694"/>
                    <a:gd name="connsiteY2" fmla="*/ 33506 h 49698"/>
                    <a:gd name="connsiteX3" fmla="*/ 0 w 15694"/>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0"/>
                      </a:moveTo>
                      <a:cubicBezTo>
                        <a:pt x="15570" y="8470"/>
                        <a:pt x="13452" y="14449"/>
                        <a:pt x="11708" y="18435"/>
                      </a:cubicBezTo>
                      <a:cubicBezTo>
                        <a:pt x="8843" y="24787"/>
                        <a:pt x="5854" y="27029"/>
                        <a:pt x="3114" y="33506"/>
                      </a:cubicBezTo>
                      <a:cubicBezTo>
                        <a:pt x="498" y="39858"/>
                        <a:pt x="0" y="45837"/>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8" name="Freeform 8605">
                  <a:extLst>
                    <a:ext uri="{FF2B5EF4-FFF2-40B4-BE49-F238E27FC236}">
                      <a16:creationId xmlns:a16="http://schemas.microsoft.com/office/drawing/2014/main" id="{932A714B-728E-05C5-8093-848F32AEB83A}"/>
                    </a:ext>
                  </a:extLst>
                </p:cNvPr>
                <p:cNvSpPr/>
                <p:nvPr/>
              </p:nvSpPr>
              <p:spPr>
                <a:xfrm>
                  <a:off x="2870653" y="1524932"/>
                  <a:ext cx="26632" cy="26609"/>
                </a:xfrm>
                <a:custGeom>
                  <a:avLst/>
                  <a:gdLst>
                    <a:gd name="connsiteX0" fmla="*/ 650 w 26632"/>
                    <a:gd name="connsiteY0" fmla="*/ 8945 h 26609"/>
                    <a:gd name="connsiteX1" fmla="*/ 17465 w 26632"/>
                    <a:gd name="connsiteY1" fmla="*/ 724 h 26609"/>
                    <a:gd name="connsiteX2" fmla="*/ 25935 w 26632"/>
                    <a:gd name="connsiteY2" fmla="*/ 17664 h 26609"/>
                    <a:gd name="connsiteX3" fmla="*/ 9120 w 26632"/>
                    <a:gd name="connsiteY3" fmla="*/ 25885 h 26609"/>
                    <a:gd name="connsiteX4" fmla="*/ 650 w 26632"/>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609">
                      <a:moveTo>
                        <a:pt x="650" y="8945"/>
                      </a:moveTo>
                      <a:cubicBezTo>
                        <a:pt x="3017" y="1970"/>
                        <a:pt x="10490" y="-1642"/>
                        <a:pt x="17465" y="724"/>
                      </a:cubicBezTo>
                      <a:cubicBezTo>
                        <a:pt x="24440" y="3091"/>
                        <a:pt x="28302" y="10689"/>
                        <a:pt x="25935" y="17664"/>
                      </a:cubicBezTo>
                      <a:cubicBezTo>
                        <a:pt x="23693" y="24639"/>
                        <a:pt x="16095" y="28252"/>
                        <a:pt x="9120" y="25885"/>
                      </a:cubicBezTo>
                      <a:cubicBezTo>
                        <a:pt x="2145" y="23394"/>
                        <a:pt x="-1592" y="15796"/>
                        <a:pt x="65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9" name="Freeform 8606">
                  <a:extLst>
                    <a:ext uri="{FF2B5EF4-FFF2-40B4-BE49-F238E27FC236}">
                      <a16:creationId xmlns:a16="http://schemas.microsoft.com/office/drawing/2014/main" id="{2A8AE00C-3215-B347-0692-8137BA108C83}"/>
                    </a:ext>
                  </a:extLst>
                </p:cNvPr>
                <p:cNvSpPr/>
                <p:nvPr/>
              </p:nvSpPr>
              <p:spPr>
                <a:xfrm>
                  <a:off x="2899702" y="1427505"/>
                  <a:ext cx="17064" cy="49200"/>
                </a:xfrm>
                <a:custGeom>
                  <a:avLst/>
                  <a:gdLst>
                    <a:gd name="connsiteX0" fmla="*/ 17064 w 17064"/>
                    <a:gd name="connsiteY0" fmla="*/ 0 h 49200"/>
                    <a:gd name="connsiteX1" fmla="*/ 9342 w 17064"/>
                    <a:gd name="connsiteY1" fmla="*/ 17064 h 49200"/>
                    <a:gd name="connsiteX2" fmla="*/ 7224 w 17064"/>
                    <a:gd name="connsiteY2" fmla="*/ 34378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2207"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0" name="Freeform 8607">
                  <a:extLst>
                    <a:ext uri="{FF2B5EF4-FFF2-40B4-BE49-F238E27FC236}">
                      <a16:creationId xmlns:a16="http://schemas.microsoft.com/office/drawing/2014/main" id="{7AF7463A-D159-5415-7D02-565E7F37065C}"/>
                    </a:ext>
                  </a:extLst>
                </p:cNvPr>
                <p:cNvSpPr/>
                <p:nvPr/>
              </p:nvSpPr>
              <p:spPr>
                <a:xfrm>
                  <a:off x="2909293" y="1425138"/>
                  <a:ext cx="15694" cy="49698"/>
                </a:xfrm>
                <a:custGeom>
                  <a:avLst/>
                  <a:gdLst>
                    <a:gd name="connsiteX0" fmla="*/ 0 w 15694"/>
                    <a:gd name="connsiteY0" fmla="*/ 49699 h 49698"/>
                    <a:gd name="connsiteX1" fmla="*/ 3986 w 15694"/>
                    <a:gd name="connsiteY1" fmla="*/ 31264 h 49698"/>
                    <a:gd name="connsiteX2" fmla="*/ 12580 w 15694"/>
                    <a:gd name="connsiteY2" fmla="*/ 16193 h 49698"/>
                    <a:gd name="connsiteX3" fmla="*/ 15694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0" y="49699"/>
                      </a:moveTo>
                      <a:cubicBezTo>
                        <a:pt x="124" y="41229"/>
                        <a:pt x="2242" y="35250"/>
                        <a:pt x="3986" y="31264"/>
                      </a:cubicBezTo>
                      <a:cubicBezTo>
                        <a:pt x="6851" y="24912"/>
                        <a:pt x="9840" y="22670"/>
                        <a:pt x="12580" y="16193"/>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1" name="Freeform 8608">
                  <a:extLst>
                    <a:ext uri="{FF2B5EF4-FFF2-40B4-BE49-F238E27FC236}">
                      <a16:creationId xmlns:a16="http://schemas.microsoft.com/office/drawing/2014/main" id="{C2DE7C58-AA68-3017-28BE-7C95EAB7C410}"/>
                    </a:ext>
                  </a:extLst>
                </p:cNvPr>
                <p:cNvSpPr/>
                <p:nvPr/>
              </p:nvSpPr>
              <p:spPr>
                <a:xfrm>
                  <a:off x="2909329" y="1408595"/>
                  <a:ext cx="26210" cy="26658"/>
                </a:xfrm>
                <a:custGeom>
                  <a:avLst/>
                  <a:gdLst>
                    <a:gd name="connsiteX0" fmla="*/ 25499 w 26210"/>
                    <a:gd name="connsiteY0" fmla="*/ 17664 h 26658"/>
                    <a:gd name="connsiteX1" fmla="*/ 8932 w 26210"/>
                    <a:gd name="connsiteY1" fmla="*/ 25885 h 26658"/>
                    <a:gd name="connsiteX2" fmla="*/ 712 w 26210"/>
                    <a:gd name="connsiteY2" fmla="*/ 8945 h 26658"/>
                    <a:gd name="connsiteX3" fmla="*/ 17278 w 26210"/>
                    <a:gd name="connsiteY3" fmla="*/ 724 h 26658"/>
                    <a:gd name="connsiteX4" fmla="*/ 25499 w 26210"/>
                    <a:gd name="connsiteY4" fmla="*/ 17664 h 26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658">
                      <a:moveTo>
                        <a:pt x="25499" y="17664"/>
                      </a:moveTo>
                      <a:cubicBezTo>
                        <a:pt x="23257" y="24639"/>
                        <a:pt x="15783" y="28376"/>
                        <a:pt x="8932" y="25885"/>
                      </a:cubicBezTo>
                      <a:cubicBezTo>
                        <a:pt x="2082" y="23518"/>
                        <a:pt x="-1655" y="15920"/>
                        <a:pt x="712" y="8945"/>
                      </a:cubicBezTo>
                      <a:cubicBezTo>
                        <a:pt x="3078" y="1970"/>
                        <a:pt x="10427" y="-1642"/>
                        <a:pt x="17278" y="724"/>
                      </a:cubicBezTo>
                      <a:cubicBezTo>
                        <a:pt x="24128" y="3215"/>
                        <a:pt x="27865" y="10813"/>
                        <a:pt x="25499"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7" name="Graphic 2987">
                <a:extLst>
                  <a:ext uri="{FF2B5EF4-FFF2-40B4-BE49-F238E27FC236}">
                    <a16:creationId xmlns:a16="http://schemas.microsoft.com/office/drawing/2014/main" id="{384449BB-5E86-86D7-6F37-A64E53247246}"/>
                  </a:ext>
                </a:extLst>
              </p:cNvPr>
              <p:cNvGrpSpPr/>
              <p:nvPr/>
            </p:nvGrpSpPr>
            <p:grpSpPr>
              <a:xfrm>
                <a:off x="2842319" y="1399004"/>
                <a:ext cx="65444" cy="142697"/>
                <a:chOff x="2842319" y="1399004"/>
                <a:chExt cx="65444" cy="142697"/>
              </a:xfrm>
              <a:grpFill/>
            </p:grpSpPr>
            <p:sp>
              <p:nvSpPr>
                <p:cNvPr id="5670" name="Freeform 8610">
                  <a:extLst>
                    <a:ext uri="{FF2B5EF4-FFF2-40B4-BE49-F238E27FC236}">
                      <a16:creationId xmlns:a16="http://schemas.microsoft.com/office/drawing/2014/main" id="{4028D628-A9D7-D85D-8367-5798EBAE117C}"/>
                    </a:ext>
                  </a:extLst>
                </p:cNvPr>
                <p:cNvSpPr/>
                <p:nvPr/>
              </p:nvSpPr>
              <p:spPr>
                <a:xfrm>
                  <a:off x="2861463" y="1473716"/>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982" y="42350"/>
                        <a:pt x="6975" y="36371"/>
                        <a:pt x="7847" y="32136"/>
                      </a:cubicBezTo>
                      <a:cubicBezTo>
                        <a:pt x="9342" y="25285"/>
                        <a:pt x="8221" y="21673"/>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1" name="Freeform 8611">
                  <a:extLst>
                    <a:ext uri="{FF2B5EF4-FFF2-40B4-BE49-F238E27FC236}">
                      <a16:creationId xmlns:a16="http://schemas.microsoft.com/office/drawing/2014/main" id="{B38BE1D4-080E-F4E7-A31A-051DC926A701}"/>
                    </a:ext>
                  </a:extLst>
                </p:cNvPr>
                <p:cNvSpPr/>
                <p:nvPr/>
              </p:nvSpPr>
              <p:spPr>
                <a:xfrm>
                  <a:off x="2853118" y="1475709"/>
                  <a:ext cx="15943" cy="49698"/>
                </a:xfrm>
                <a:custGeom>
                  <a:avLst/>
                  <a:gdLst>
                    <a:gd name="connsiteX0" fmla="*/ 15943 w 15943"/>
                    <a:gd name="connsiteY0" fmla="*/ 0 h 49698"/>
                    <a:gd name="connsiteX1" fmla="*/ 11833 w 15943"/>
                    <a:gd name="connsiteY1" fmla="*/ 18435 h 49698"/>
                    <a:gd name="connsiteX2" fmla="*/ 3114 w 15943"/>
                    <a:gd name="connsiteY2" fmla="*/ 33506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5694" y="8470"/>
                        <a:pt x="13701" y="14449"/>
                        <a:pt x="11833" y="18435"/>
                      </a:cubicBezTo>
                      <a:cubicBezTo>
                        <a:pt x="8844" y="24787"/>
                        <a:pt x="5854" y="26904"/>
                        <a:pt x="3114" y="33506"/>
                      </a:cubicBezTo>
                      <a:cubicBezTo>
                        <a:pt x="498"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2" name="Freeform 8612">
                  <a:extLst>
                    <a:ext uri="{FF2B5EF4-FFF2-40B4-BE49-F238E27FC236}">
                      <a16:creationId xmlns:a16="http://schemas.microsoft.com/office/drawing/2014/main" id="{42B30BD2-E3E1-DD66-8BB7-6AF5B467BFB0}"/>
                    </a:ext>
                  </a:extLst>
                </p:cNvPr>
                <p:cNvSpPr/>
                <p:nvPr/>
              </p:nvSpPr>
              <p:spPr>
                <a:xfrm>
                  <a:off x="2842319" y="1515092"/>
                  <a:ext cx="26769" cy="26609"/>
                </a:xfrm>
                <a:custGeom>
                  <a:avLst/>
                  <a:gdLst>
                    <a:gd name="connsiteX0" fmla="*/ 710 w 26769"/>
                    <a:gd name="connsiteY0" fmla="*/ 8945 h 26609"/>
                    <a:gd name="connsiteX1" fmla="*/ 17650 w 26769"/>
                    <a:gd name="connsiteY1" fmla="*/ 724 h 26609"/>
                    <a:gd name="connsiteX2" fmla="*/ 26119 w 26769"/>
                    <a:gd name="connsiteY2" fmla="*/ 17664 h 26609"/>
                    <a:gd name="connsiteX3" fmla="*/ 9179 w 26769"/>
                    <a:gd name="connsiteY3" fmla="*/ 25885 h 26609"/>
                    <a:gd name="connsiteX4" fmla="*/ 710 w 26769"/>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09">
                      <a:moveTo>
                        <a:pt x="710" y="8945"/>
                      </a:moveTo>
                      <a:cubicBezTo>
                        <a:pt x="3076" y="1970"/>
                        <a:pt x="10674" y="-1642"/>
                        <a:pt x="17650" y="724"/>
                      </a:cubicBezTo>
                      <a:cubicBezTo>
                        <a:pt x="24625" y="3091"/>
                        <a:pt x="28361" y="10689"/>
                        <a:pt x="26119" y="17664"/>
                      </a:cubicBezTo>
                      <a:cubicBezTo>
                        <a:pt x="23877" y="24639"/>
                        <a:pt x="16279" y="28252"/>
                        <a:pt x="9179" y="25885"/>
                      </a:cubicBezTo>
                      <a:cubicBezTo>
                        <a:pt x="2080" y="23518"/>
                        <a:pt x="-1657" y="15796"/>
                        <a:pt x="71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3" name="Freeform 8613">
                  <a:extLst>
                    <a:ext uri="{FF2B5EF4-FFF2-40B4-BE49-F238E27FC236}">
                      <a16:creationId xmlns:a16="http://schemas.microsoft.com/office/drawing/2014/main" id="{EED597EB-366D-BC5C-6763-FB39C8E145BA}"/>
                    </a:ext>
                  </a:extLst>
                </p:cNvPr>
                <p:cNvSpPr/>
                <p:nvPr/>
              </p:nvSpPr>
              <p:spPr>
                <a:xfrm>
                  <a:off x="2871677" y="1417914"/>
                  <a:ext cx="17313" cy="49200"/>
                </a:xfrm>
                <a:custGeom>
                  <a:avLst/>
                  <a:gdLst>
                    <a:gd name="connsiteX0" fmla="*/ 17314 w 17313"/>
                    <a:gd name="connsiteY0" fmla="*/ 0 h 49200"/>
                    <a:gd name="connsiteX1" fmla="*/ 9466 w 17313"/>
                    <a:gd name="connsiteY1" fmla="*/ 17064 h 49200"/>
                    <a:gd name="connsiteX2" fmla="*/ 7224 w 17313"/>
                    <a:gd name="connsiteY2" fmla="*/ 34378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2456" y="6851"/>
                        <a:pt x="10463" y="12829"/>
                        <a:pt x="9466" y="17064"/>
                      </a:cubicBezTo>
                      <a:cubicBezTo>
                        <a:pt x="7972"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4" name="Freeform 8614">
                  <a:extLst>
                    <a:ext uri="{FF2B5EF4-FFF2-40B4-BE49-F238E27FC236}">
                      <a16:creationId xmlns:a16="http://schemas.microsoft.com/office/drawing/2014/main" id="{8606027A-FB02-7ACC-D183-9A1F0E70D945}"/>
                    </a:ext>
                  </a:extLst>
                </p:cNvPr>
                <p:cNvSpPr/>
                <p:nvPr/>
              </p:nvSpPr>
              <p:spPr>
                <a:xfrm>
                  <a:off x="2881268" y="1415423"/>
                  <a:ext cx="15943" cy="49698"/>
                </a:xfrm>
                <a:custGeom>
                  <a:avLst/>
                  <a:gdLst>
                    <a:gd name="connsiteX0" fmla="*/ 0 w 15943"/>
                    <a:gd name="connsiteY0" fmla="*/ 49699 h 49698"/>
                    <a:gd name="connsiteX1" fmla="*/ 4110 w 15943"/>
                    <a:gd name="connsiteY1" fmla="*/ 31264 h 49698"/>
                    <a:gd name="connsiteX2" fmla="*/ 12705 w 15943"/>
                    <a:gd name="connsiteY2" fmla="*/ 16192 h 49698"/>
                    <a:gd name="connsiteX3" fmla="*/ 15943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9"/>
                      </a:moveTo>
                      <a:cubicBezTo>
                        <a:pt x="249" y="41229"/>
                        <a:pt x="2242" y="35250"/>
                        <a:pt x="4110" y="31264"/>
                      </a:cubicBezTo>
                      <a:cubicBezTo>
                        <a:pt x="7100" y="24912"/>
                        <a:pt x="10089" y="22794"/>
                        <a:pt x="12705" y="16192"/>
                      </a:cubicBezTo>
                      <a:cubicBezTo>
                        <a:pt x="15321" y="9840"/>
                        <a:pt x="15819" y="3986"/>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5" name="Freeform 8615">
                  <a:extLst>
                    <a:ext uri="{FF2B5EF4-FFF2-40B4-BE49-F238E27FC236}">
                      <a16:creationId xmlns:a16="http://schemas.microsoft.com/office/drawing/2014/main" id="{DA93C296-B6D9-8CD6-60BA-07CE59BA60CF}"/>
                    </a:ext>
                  </a:extLst>
                </p:cNvPr>
                <p:cNvSpPr/>
                <p:nvPr/>
              </p:nvSpPr>
              <p:spPr>
                <a:xfrm>
                  <a:off x="2881428" y="1399004"/>
                  <a:ext cx="26335" cy="26609"/>
                </a:xfrm>
                <a:custGeom>
                  <a:avLst/>
                  <a:gdLst>
                    <a:gd name="connsiteX0" fmla="*/ 25623 w 26335"/>
                    <a:gd name="connsiteY0" fmla="*/ 17664 h 26609"/>
                    <a:gd name="connsiteX1" fmla="*/ 8933 w 26335"/>
                    <a:gd name="connsiteY1" fmla="*/ 25885 h 26609"/>
                    <a:gd name="connsiteX2" fmla="*/ 712 w 26335"/>
                    <a:gd name="connsiteY2" fmla="*/ 8945 h 26609"/>
                    <a:gd name="connsiteX3" fmla="*/ 17402 w 26335"/>
                    <a:gd name="connsiteY3" fmla="*/ 724 h 26609"/>
                    <a:gd name="connsiteX4" fmla="*/ 25623 w 26335"/>
                    <a:gd name="connsiteY4" fmla="*/ 17664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609">
                      <a:moveTo>
                        <a:pt x="25623" y="17664"/>
                      </a:moveTo>
                      <a:cubicBezTo>
                        <a:pt x="23257" y="24639"/>
                        <a:pt x="15908" y="28252"/>
                        <a:pt x="8933" y="25885"/>
                      </a:cubicBezTo>
                      <a:cubicBezTo>
                        <a:pt x="2082" y="23518"/>
                        <a:pt x="-1655" y="15920"/>
                        <a:pt x="712" y="8945"/>
                      </a:cubicBezTo>
                      <a:cubicBezTo>
                        <a:pt x="3078" y="1970"/>
                        <a:pt x="10552" y="-1642"/>
                        <a:pt x="17402" y="724"/>
                      </a:cubicBezTo>
                      <a:cubicBezTo>
                        <a:pt x="24253" y="3091"/>
                        <a:pt x="27990" y="10689"/>
                        <a:pt x="25623"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8" name="Graphic 2987">
                <a:extLst>
                  <a:ext uri="{FF2B5EF4-FFF2-40B4-BE49-F238E27FC236}">
                    <a16:creationId xmlns:a16="http://schemas.microsoft.com/office/drawing/2014/main" id="{75859072-BCB8-2986-6CC7-9E0239A21EEC}"/>
                  </a:ext>
                </a:extLst>
              </p:cNvPr>
              <p:cNvGrpSpPr/>
              <p:nvPr/>
            </p:nvGrpSpPr>
            <p:grpSpPr>
              <a:xfrm>
                <a:off x="2814043" y="1389538"/>
                <a:ext cx="66081" cy="142386"/>
                <a:chOff x="2814043" y="1389538"/>
                <a:chExt cx="66081" cy="142386"/>
              </a:xfrm>
              <a:grpFill/>
            </p:grpSpPr>
            <p:sp>
              <p:nvSpPr>
                <p:cNvPr id="5664" name="Freeform 8617">
                  <a:extLst>
                    <a:ext uri="{FF2B5EF4-FFF2-40B4-BE49-F238E27FC236}">
                      <a16:creationId xmlns:a16="http://schemas.microsoft.com/office/drawing/2014/main" id="{A18817F9-7AB3-0E5C-8CC6-CFAC28F01588}"/>
                    </a:ext>
                  </a:extLst>
                </p:cNvPr>
                <p:cNvSpPr/>
                <p:nvPr/>
              </p:nvSpPr>
              <p:spPr>
                <a:xfrm>
                  <a:off x="2833189" y="1463876"/>
                  <a:ext cx="17562" cy="49200"/>
                </a:xfrm>
                <a:custGeom>
                  <a:avLst/>
                  <a:gdLst>
                    <a:gd name="connsiteX0" fmla="*/ 0 w 17562"/>
                    <a:gd name="connsiteY0" fmla="*/ 49200 h 49200"/>
                    <a:gd name="connsiteX1" fmla="*/ 7972 w 17562"/>
                    <a:gd name="connsiteY1" fmla="*/ 32136 h 49200"/>
                    <a:gd name="connsiteX2" fmla="*/ 10214 w 17562"/>
                    <a:gd name="connsiteY2" fmla="*/ 14822 h 49200"/>
                    <a:gd name="connsiteX3" fmla="*/ 17562 w 17562"/>
                    <a:gd name="connsiteY3" fmla="*/ 0 h 49200"/>
                  </a:gdLst>
                  <a:ahLst/>
                  <a:cxnLst>
                    <a:cxn ang="0">
                      <a:pos x="connsiteX0" y="connsiteY0"/>
                    </a:cxn>
                    <a:cxn ang="0">
                      <a:pos x="connsiteX1" y="connsiteY1"/>
                    </a:cxn>
                    <a:cxn ang="0">
                      <a:pos x="connsiteX2" y="connsiteY2"/>
                    </a:cxn>
                    <a:cxn ang="0">
                      <a:pos x="connsiteX3" y="connsiteY3"/>
                    </a:cxn>
                  </a:cxnLst>
                  <a:rect l="l" t="t" r="r" b="b"/>
                  <a:pathLst>
                    <a:path w="17562" h="49200">
                      <a:moveTo>
                        <a:pt x="0" y="49200"/>
                      </a:moveTo>
                      <a:cubicBezTo>
                        <a:pt x="4982" y="42350"/>
                        <a:pt x="6975" y="36371"/>
                        <a:pt x="7972" y="32136"/>
                      </a:cubicBezTo>
                      <a:cubicBezTo>
                        <a:pt x="9466" y="25285"/>
                        <a:pt x="8470" y="21673"/>
                        <a:pt x="10214" y="14822"/>
                      </a:cubicBezTo>
                      <a:cubicBezTo>
                        <a:pt x="11957" y="8096"/>
                        <a:pt x="15196" y="3239"/>
                        <a:pt x="175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5" name="Freeform 8618">
                  <a:extLst>
                    <a:ext uri="{FF2B5EF4-FFF2-40B4-BE49-F238E27FC236}">
                      <a16:creationId xmlns:a16="http://schemas.microsoft.com/office/drawing/2014/main" id="{DBEB9EA7-11FA-4764-668C-A9342B5851B4}"/>
                    </a:ext>
                  </a:extLst>
                </p:cNvPr>
                <p:cNvSpPr/>
                <p:nvPr/>
              </p:nvSpPr>
              <p:spPr>
                <a:xfrm>
                  <a:off x="2824843" y="1465869"/>
                  <a:ext cx="16192" cy="49573"/>
                </a:xfrm>
                <a:custGeom>
                  <a:avLst/>
                  <a:gdLst>
                    <a:gd name="connsiteX0" fmla="*/ 16193 w 16192"/>
                    <a:gd name="connsiteY0" fmla="*/ 0 h 49573"/>
                    <a:gd name="connsiteX1" fmla="*/ 11958 w 16192"/>
                    <a:gd name="connsiteY1" fmla="*/ 18310 h 49573"/>
                    <a:gd name="connsiteX2" fmla="*/ 3239 w 16192"/>
                    <a:gd name="connsiteY2" fmla="*/ 33381 h 49573"/>
                    <a:gd name="connsiteX3" fmla="*/ 0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16193" y="0"/>
                      </a:moveTo>
                      <a:cubicBezTo>
                        <a:pt x="15944" y="8470"/>
                        <a:pt x="13826" y="14449"/>
                        <a:pt x="11958" y="18310"/>
                      </a:cubicBezTo>
                      <a:cubicBezTo>
                        <a:pt x="8968" y="24662"/>
                        <a:pt x="5979" y="26780"/>
                        <a:pt x="3239" y="33381"/>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6" name="Freeform 8619">
                  <a:extLst>
                    <a:ext uri="{FF2B5EF4-FFF2-40B4-BE49-F238E27FC236}">
                      <a16:creationId xmlns:a16="http://schemas.microsoft.com/office/drawing/2014/main" id="{79FE34F1-88E6-DBE8-8617-07F7FAA6C474}"/>
                    </a:ext>
                  </a:extLst>
                </p:cNvPr>
                <p:cNvSpPr/>
                <p:nvPr/>
              </p:nvSpPr>
              <p:spPr>
                <a:xfrm>
                  <a:off x="2814043" y="1505313"/>
                  <a:ext cx="26706" cy="26611"/>
                </a:xfrm>
                <a:custGeom>
                  <a:avLst/>
                  <a:gdLst>
                    <a:gd name="connsiteX0" fmla="*/ 711 w 26706"/>
                    <a:gd name="connsiteY0" fmla="*/ 8884 h 26611"/>
                    <a:gd name="connsiteX1" fmla="*/ 17651 w 26706"/>
                    <a:gd name="connsiteY1" fmla="*/ 788 h 26611"/>
                    <a:gd name="connsiteX2" fmla="*/ 25996 w 26706"/>
                    <a:gd name="connsiteY2" fmla="*/ 17728 h 26611"/>
                    <a:gd name="connsiteX3" fmla="*/ 9056 w 26706"/>
                    <a:gd name="connsiteY3" fmla="*/ 25824 h 26611"/>
                    <a:gd name="connsiteX4" fmla="*/ 711 w 26706"/>
                    <a:gd name="connsiteY4" fmla="*/ 888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8884"/>
                      </a:moveTo>
                      <a:cubicBezTo>
                        <a:pt x="3077" y="1909"/>
                        <a:pt x="10675" y="-1703"/>
                        <a:pt x="17651" y="788"/>
                      </a:cubicBezTo>
                      <a:cubicBezTo>
                        <a:pt x="24626" y="3154"/>
                        <a:pt x="28363" y="10752"/>
                        <a:pt x="25996" y="17728"/>
                      </a:cubicBezTo>
                      <a:cubicBezTo>
                        <a:pt x="23629" y="24703"/>
                        <a:pt x="16031" y="28315"/>
                        <a:pt x="9056" y="25824"/>
                      </a:cubicBezTo>
                      <a:cubicBezTo>
                        <a:pt x="2081" y="23333"/>
                        <a:pt x="-1656" y="15735"/>
                        <a:pt x="71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7" name="Freeform 8620">
                  <a:extLst>
                    <a:ext uri="{FF2B5EF4-FFF2-40B4-BE49-F238E27FC236}">
                      <a16:creationId xmlns:a16="http://schemas.microsoft.com/office/drawing/2014/main" id="{442079C6-2F2A-129A-C602-4622A61274F9}"/>
                    </a:ext>
                  </a:extLst>
                </p:cNvPr>
                <p:cNvSpPr/>
                <p:nvPr/>
              </p:nvSpPr>
              <p:spPr>
                <a:xfrm>
                  <a:off x="2843527" y="1408199"/>
                  <a:ext cx="17687" cy="49200"/>
                </a:xfrm>
                <a:custGeom>
                  <a:avLst/>
                  <a:gdLst>
                    <a:gd name="connsiteX0" fmla="*/ 17687 w 17687"/>
                    <a:gd name="connsiteY0" fmla="*/ 0 h 49200"/>
                    <a:gd name="connsiteX1" fmla="*/ 9716 w 17687"/>
                    <a:gd name="connsiteY1" fmla="*/ 17064 h 49200"/>
                    <a:gd name="connsiteX2" fmla="*/ 7349 w 17687"/>
                    <a:gd name="connsiteY2" fmla="*/ 34378 h 49200"/>
                    <a:gd name="connsiteX3" fmla="*/ 0 w 17687"/>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687" h="49200">
                      <a:moveTo>
                        <a:pt x="17687" y="0"/>
                      </a:moveTo>
                      <a:cubicBezTo>
                        <a:pt x="12705" y="6851"/>
                        <a:pt x="10712" y="12829"/>
                        <a:pt x="9716" y="17064"/>
                      </a:cubicBezTo>
                      <a:cubicBezTo>
                        <a:pt x="8221" y="23915"/>
                        <a:pt x="9217" y="27527"/>
                        <a:pt x="7349" y="34378"/>
                      </a:cubicBezTo>
                      <a:cubicBezTo>
                        <a:pt x="5605" y="41104"/>
                        <a:pt x="2367" y="45962"/>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8" name="Freeform 8621">
                  <a:extLst>
                    <a:ext uri="{FF2B5EF4-FFF2-40B4-BE49-F238E27FC236}">
                      <a16:creationId xmlns:a16="http://schemas.microsoft.com/office/drawing/2014/main" id="{B7565A62-1885-F7F3-B208-1AEE43C342CF}"/>
                    </a:ext>
                  </a:extLst>
                </p:cNvPr>
                <p:cNvSpPr/>
                <p:nvPr/>
              </p:nvSpPr>
              <p:spPr>
                <a:xfrm>
                  <a:off x="2853367" y="1405832"/>
                  <a:ext cx="16067" cy="49573"/>
                </a:xfrm>
                <a:custGeom>
                  <a:avLst/>
                  <a:gdLst>
                    <a:gd name="connsiteX0" fmla="*/ 0 w 16067"/>
                    <a:gd name="connsiteY0" fmla="*/ 49574 h 49573"/>
                    <a:gd name="connsiteX1" fmla="*/ 4110 w 16067"/>
                    <a:gd name="connsiteY1" fmla="*/ 31264 h 49573"/>
                    <a:gd name="connsiteX2" fmla="*/ 12829 w 16067"/>
                    <a:gd name="connsiteY2" fmla="*/ 16192 h 49573"/>
                    <a:gd name="connsiteX3" fmla="*/ 16068 w 16067"/>
                    <a:gd name="connsiteY3" fmla="*/ 0 h 49573"/>
                  </a:gdLst>
                  <a:ahLst/>
                  <a:cxnLst>
                    <a:cxn ang="0">
                      <a:pos x="connsiteX0" y="connsiteY0"/>
                    </a:cxn>
                    <a:cxn ang="0">
                      <a:pos x="connsiteX1" y="connsiteY1"/>
                    </a:cxn>
                    <a:cxn ang="0">
                      <a:pos x="connsiteX2" y="connsiteY2"/>
                    </a:cxn>
                    <a:cxn ang="0">
                      <a:pos x="connsiteX3" y="connsiteY3"/>
                    </a:cxn>
                  </a:cxnLst>
                  <a:rect l="l" t="t" r="r" b="b"/>
                  <a:pathLst>
                    <a:path w="16067" h="49573">
                      <a:moveTo>
                        <a:pt x="0" y="49574"/>
                      </a:moveTo>
                      <a:cubicBezTo>
                        <a:pt x="249" y="41104"/>
                        <a:pt x="2367" y="35125"/>
                        <a:pt x="4110" y="31264"/>
                      </a:cubicBezTo>
                      <a:cubicBezTo>
                        <a:pt x="7100" y="24912"/>
                        <a:pt x="10089" y="22794"/>
                        <a:pt x="12829" y="16192"/>
                      </a:cubicBezTo>
                      <a:cubicBezTo>
                        <a:pt x="15570" y="9840"/>
                        <a:pt x="16068" y="3986"/>
                        <a:pt x="160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9" name="Freeform 8622">
                  <a:extLst>
                    <a:ext uri="{FF2B5EF4-FFF2-40B4-BE49-F238E27FC236}">
                      <a16:creationId xmlns:a16="http://schemas.microsoft.com/office/drawing/2014/main" id="{737244AC-1B07-51BE-B99D-D3A62CB82A1B}"/>
                    </a:ext>
                  </a:extLst>
                </p:cNvPr>
                <p:cNvSpPr/>
                <p:nvPr/>
              </p:nvSpPr>
              <p:spPr>
                <a:xfrm>
                  <a:off x="2853887" y="1389538"/>
                  <a:ext cx="26237" cy="26484"/>
                </a:xfrm>
                <a:custGeom>
                  <a:avLst/>
                  <a:gdLst>
                    <a:gd name="connsiteX0" fmla="*/ 25512 w 26237"/>
                    <a:gd name="connsiteY0" fmla="*/ 17540 h 26484"/>
                    <a:gd name="connsiteX1" fmla="*/ 8822 w 26237"/>
                    <a:gd name="connsiteY1" fmla="*/ 25760 h 26484"/>
                    <a:gd name="connsiteX2" fmla="*/ 725 w 26237"/>
                    <a:gd name="connsiteY2" fmla="*/ 8945 h 26484"/>
                    <a:gd name="connsiteX3" fmla="*/ 17416 w 26237"/>
                    <a:gd name="connsiteY3" fmla="*/ 724 h 26484"/>
                    <a:gd name="connsiteX4" fmla="*/ 25512 w 26237"/>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84">
                      <a:moveTo>
                        <a:pt x="25512" y="17540"/>
                      </a:moveTo>
                      <a:cubicBezTo>
                        <a:pt x="23146" y="24515"/>
                        <a:pt x="15672" y="28127"/>
                        <a:pt x="8822" y="25760"/>
                      </a:cubicBezTo>
                      <a:cubicBezTo>
                        <a:pt x="1971" y="23394"/>
                        <a:pt x="-1641" y="15796"/>
                        <a:pt x="725" y="8945"/>
                      </a:cubicBezTo>
                      <a:cubicBezTo>
                        <a:pt x="3092" y="1970"/>
                        <a:pt x="10566" y="-1642"/>
                        <a:pt x="17416" y="724"/>
                      </a:cubicBezTo>
                      <a:cubicBezTo>
                        <a:pt x="24267" y="3091"/>
                        <a:pt x="27879" y="10564"/>
                        <a:pt x="25512"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9" name="Graphic 2987">
                <a:extLst>
                  <a:ext uri="{FF2B5EF4-FFF2-40B4-BE49-F238E27FC236}">
                    <a16:creationId xmlns:a16="http://schemas.microsoft.com/office/drawing/2014/main" id="{AEBBE580-6D0E-5728-CCD8-680D02AD15F3}"/>
                  </a:ext>
                </a:extLst>
              </p:cNvPr>
              <p:cNvGrpSpPr/>
              <p:nvPr/>
            </p:nvGrpSpPr>
            <p:grpSpPr>
              <a:xfrm>
                <a:off x="2785756" y="1379835"/>
                <a:ext cx="66592" cy="142249"/>
                <a:chOff x="2785756" y="1379835"/>
                <a:chExt cx="66592" cy="142249"/>
              </a:xfrm>
              <a:grpFill/>
            </p:grpSpPr>
            <p:sp>
              <p:nvSpPr>
                <p:cNvPr id="5658" name="Freeform 8624">
                  <a:extLst>
                    <a:ext uri="{FF2B5EF4-FFF2-40B4-BE49-F238E27FC236}">
                      <a16:creationId xmlns:a16="http://schemas.microsoft.com/office/drawing/2014/main" id="{A9610C36-6E7F-217E-C344-4A8A744F4E0C}"/>
                    </a:ext>
                  </a:extLst>
                </p:cNvPr>
                <p:cNvSpPr/>
                <p:nvPr/>
              </p:nvSpPr>
              <p:spPr>
                <a:xfrm>
                  <a:off x="2804914" y="1454160"/>
                  <a:ext cx="17687" cy="49075"/>
                </a:xfrm>
                <a:custGeom>
                  <a:avLst/>
                  <a:gdLst>
                    <a:gd name="connsiteX0" fmla="*/ 0 w 17687"/>
                    <a:gd name="connsiteY0" fmla="*/ 49076 h 49075"/>
                    <a:gd name="connsiteX1" fmla="*/ 7972 w 17687"/>
                    <a:gd name="connsiteY1" fmla="*/ 32011 h 49075"/>
                    <a:gd name="connsiteX2" fmla="*/ 10338 w 17687"/>
                    <a:gd name="connsiteY2" fmla="*/ 14698 h 49075"/>
                    <a:gd name="connsiteX3" fmla="*/ 17687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2" y="42350"/>
                        <a:pt x="7100" y="36246"/>
                        <a:pt x="7972" y="32011"/>
                      </a:cubicBezTo>
                      <a:cubicBezTo>
                        <a:pt x="9466" y="25161"/>
                        <a:pt x="8470" y="21548"/>
                        <a:pt x="10338" y="14698"/>
                      </a:cubicBezTo>
                      <a:cubicBezTo>
                        <a:pt x="12082" y="7972"/>
                        <a:pt x="15321" y="3114"/>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9" name="Freeform 8625">
                  <a:extLst>
                    <a:ext uri="{FF2B5EF4-FFF2-40B4-BE49-F238E27FC236}">
                      <a16:creationId xmlns:a16="http://schemas.microsoft.com/office/drawing/2014/main" id="{8FEF4EDD-1F65-733D-3F79-41F51C276816}"/>
                    </a:ext>
                  </a:extLst>
                </p:cNvPr>
                <p:cNvSpPr/>
                <p:nvPr/>
              </p:nvSpPr>
              <p:spPr>
                <a:xfrm>
                  <a:off x="2796569" y="1456153"/>
                  <a:ext cx="16441" cy="49449"/>
                </a:xfrm>
                <a:custGeom>
                  <a:avLst/>
                  <a:gdLst>
                    <a:gd name="connsiteX0" fmla="*/ 16442 w 16441"/>
                    <a:gd name="connsiteY0" fmla="*/ 0 h 49449"/>
                    <a:gd name="connsiteX1" fmla="*/ 12207 w 16441"/>
                    <a:gd name="connsiteY1" fmla="*/ 18310 h 49449"/>
                    <a:gd name="connsiteX2" fmla="*/ 3363 w 16441"/>
                    <a:gd name="connsiteY2" fmla="*/ 33257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6193" y="8470"/>
                        <a:pt x="14075" y="14449"/>
                        <a:pt x="12207" y="18310"/>
                      </a:cubicBezTo>
                      <a:cubicBezTo>
                        <a:pt x="9217" y="24662"/>
                        <a:pt x="6103" y="26780"/>
                        <a:pt x="3363" y="33257"/>
                      </a:cubicBezTo>
                      <a:cubicBezTo>
                        <a:pt x="623" y="39609"/>
                        <a:pt x="124"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0" name="Freeform 8626">
                  <a:extLst>
                    <a:ext uri="{FF2B5EF4-FFF2-40B4-BE49-F238E27FC236}">
                      <a16:creationId xmlns:a16="http://schemas.microsoft.com/office/drawing/2014/main" id="{6018963B-D99B-C3CB-C1BF-CB467207736A}"/>
                    </a:ext>
                  </a:extLst>
                </p:cNvPr>
                <p:cNvSpPr/>
                <p:nvPr/>
              </p:nvSpPr>
              <p:spPr>
                <a:xfrm>
                  <a:off x="2785756" y="1495486"/>
                  <a:ext cx="26719" cy="26598"/>
                </a:xfrm>
                <a:custGeom>
                  <a:avLst/>
                  <a:gdLst>
                    <a:gd name="connsiteX0" fmla="*/ 723 w 26719"/>
                    <a:gd name="connsiteY0" fmla="*/ 8871 h 26598"/>
                    <a:gd name="connsiteX1" fmla="*/ 17663 w 26719"/>
                    <a:gd name="connsiteY1" fmla="*/ 774 h 26598"/>
                    <a:gd name="connsiteX2" fmla="*/ 26008 w 26719"/>
                    <a:gd name="connsiteY2" fmla="*/ 17714 h 26598"/>
                    <a:gd name="connsiteX3" fmla="*/ 9069 w 26719"/>
                    <a:gd name="connsiteY3" fmla="*/ 25810 h 26598"/>
                    <a:gd name="connsiteX4" fmla="*/ 723 w 26719"/>
                    <a:gd name="connsiteY4" fmla="*/ 8871 h 2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98">
                      <a:moveTo>
                        <a:pt x="723" y="8871"/>
                      </a:moveTo>
                      <a:cubicBezTo>
                        <a:pt x="3090" y="2020"/>
                        <a:pt x="10688" y="-1717"/>
                        <a:pt x="17663" y="774"/>
                      </a:cubicBezTo>
                      <a:cubicBezTo>
                        <a:pt x="24638" y="3266"/>
                        <a:pt x="28375" y="10739"/>
                        <a:pt x="26008" y="17714"/>
                      </a:cubicBezTo>
                      <a:cubicBezTo>
                        <a:pt x="23642" y="24689"/>
                        <a:pt x="16044" y="28302"/>
                        <a:pt x="9069" y="25810"/>
                      </a:cubicBezTo>
                      <a:cubicBezTo>
                        <a:pt x="1969" y="23319"/>
                        <a:pt x="-1643" y="15721"/>
                        <a:pt x="72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1" name="Freeform 8627">
                  <a:extLst>
                    <a:ext uri="{FF2B5EF4-FFF2-40B4-BE49-F238E27FC236}">
                      <a16:creationId xmlns:a16="http://schemas.microsoft.com/office/drawing/2014/main" id="{6FE105BF-4100-AAEE-F4F5-69CF32D9C498}"/>
                    </a:ext>
                  </a:extLst>
                </p:cNvPr>
                <p:cNvSpPr/>
                <p:nvPr/>
              </p:nvSpPr>
              <p:spPr>
                <a:xfrm>
                  <a:off x="2815750" y="1398608"/>
                  <a:ext cx="17687" cy="49075"/>
                </a:xfrm>
                <a:custGeom>
                  <a:avLst/>
                  <a:gdLst>
                    <a:gd name="connsiteX0" fmla="*/ 17687 w 17687"/>
                    <a:gd name="connsiteY0" fmla="*/ 0 h 49075"/>
                    <a:gd name="connsiteX1" fmla="*/ 9715 w 17687"/>
                    <a:gd name="connsiteY1" fmla="*/ 17064 h 49075"/>
                    <a:gd name="connsiteX2" fmla="*/ 7349 w 17687"/>
                    <a:gd name="connsiteY2" fmla="*/ 34378 h 49075"/>
                    <a:gd name="connsiteX3" fmla="*/ 0 w 17687"/>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7" h="49075">
                      <a:moveTo>
                        <a:pt x="17687" y="0"/>
                      </a:moveTo>
                      <a:cubicBezTo>
                        <a:pt x="12705" y="6851"/>
                        <a:pt x="10712" y="12829"/>
                        <a:pt x="9715" y="17064"/>
                      </a:cubicBezTo>
                      <a:cubicBezTo>
                        <a:pt x="8221" y="23915"/>
                        <a:pt x="9217" y="27403"/>
                        <a:pt x="7349" y="34378"/>
                      </a:cubicBezTo>
                      <a:cubicBezTo>
                        <a:pt x="5605" y="41104"/>
                        <a:pt x="2367" y="45962"/>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2" name="Freeform 8628">
                  <a:extLst>
                    <a:ext uri="{FF2B5EF4-FFF2-40B4-BE49-F238E27FC236}">
                      <a16:creationId xmlns:a16="http://schemas.microsoft.com/office/drawing/2014/main" id="{D115CC17-B574-221C-784D-9A9DE1D0558E}"/>
                    </a:ext>
                  </a:extLst>
                </p:cNvPr>
                <p:cNvSpPr/>
                <p:nvPr/>
              </p:nvSpPr>
              <p:spPr>
                <a:xfrm>
                  <a:off x="2825341" y="1396116"/>
                  <a:ext cx="16441" cy="49573"/>
                </a:xfrm>
                <a:custGeom>
                  <a:avLst/>
                  <a:gdLst>
                    <a:gd name="connsiteX0" fmla="*/ 0 w 16441"/>
                    <a:gd name="connsiteY0" fmla="*/ 49574 h 49573"/>
                    <a:gd name="connsiteX1" fmla="*/ 4235 w 16441"/>
                    <a:gd name="connsiteY1" fmla="*/ 31264 h 49573"/>
                    <a:gd name="connsiteX2" fmla="*/ 13079 w 16441"/>
                    <a:gd name="connsiteY2" fmla="*/ 16193 h 49573"/>
                    <a:gd name="connsiteX3" fmla="*/ 16442 w 16441"/>
                    <a:gd name="connsiteY3" fmla="*/ 0 h 49573"/>
                  </a:gdLst>
                  <a:ahLst/>
                  <a:cxnLst>
                    <a:cxn ang="0">
                      <a:pos x="connsiteX0" y="connsiteY0"/>
                    </a:cxn>
                    <a:cxn ang="0">
                      <a:pos x="connsiteX1" y="connsiteY1"/>
                    </a:cxn>
                    <a:cxn ang="0">
                      <a:pos x="connsiteX2" y="connsiteY2"/>
                    </a:cxn>
                    <a:cxn ang="0">
                      <a:pos x="connsiteX3" y="connsiteY3"/>
                    </a:cxn>
                  </a:cxnLst>
                  <a:rect l="l" t="t" r="r" b="b"/>
                  <a:pathLst>
                    <a:path w="16441" h="49573">
                      <a:moveTo>
                        <a:pt x="0" y="49574"/>
                      </a:moveTo>
                      <a:cubicBezTo>
                        <a:pt x="249" y="41104"/>
                        <a:pt x="2367" y="35125"/>
                        <a:pt x="4235" y="31264"/>
                      </a:cubicBezTo>
                      <a:cubicBezTo>
                        <a:pt x="7224" y="24912"/>
                        <a:pt x="10214" y="22794"/>
                        <a:pt x="13079" y="16193"/>
                      </a:cubicBezTo>
                      <a:cubicBezTo>
                        <a:pt x="15819" y="9840"/>
                        <a:pt x="16317" y="3986"/>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3" name="Freeform 8629">
                  <a:extLst>
                    <a:ext uri="{FF2B5EF4-FFF2-40B4-BE49-F238E27FC236}">
                      <a16:creationId xmlns:a16="http://schemas.microsoft.com/office/drawing/2014/main" id="{56216FA9-1F2B-69FC-C085-C4A6FB80E35E}"/>
                    </a:ext>
                  </a:extLst>
                </p:cNvPr>
                <p:cNvSpPr/>
                <p:nvPr/>
              </p:nvSpPr>
              <p:spPr>
                <a:xfrm>
                  <a:off x="2825973" y="1379835"/>
                  <a:ext cx="26375" cy="26472"/>
                </a:xfrm>
                <a:custGeom>
                  <a:avLst/>
                  <a:gdLst>
                    <a:gd name="connsiteX0" fmla="*/ 25650 w 26375"/>
                    <a:gd name="connsiteY0" fmla="*/ 17527 h 26472"/>
                    <a:gd name="connsiteX1" fmla="*/ 8835 w 26375"/>
                    <a:gd name="connsiteY1" fmla="*/ 25748 h 26472"/>
                    <a:gd name="connsiteX2" fmla="*/ 738 w 26375"/>
                    <a:gd name="connsiteY2" fmla="*/ 8933 h 26472"/>
                    <a:gd name="connsiteX3" fmla="*/ 17554 w 26375"/>
                    <a:gd name="connsiteY3" fmla="*/ 712 h 26472"/>
                    <a:gd name="connsiteX4" fmla="*/ 25650 w 26375"/>
                    <a:gd name="connsiteY4" fmla="*/ 17527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472">
                      <a:moveTo>
                        <a:pt x="25650" y="17527"/>
                      </a:moveTo>
                      <a:cubicBezTo>
                        <a:pt x="23283" y="24502"/>
                        <a:pt x="15810" y="28114"/>
                        <a:pt x="8835" y="25748"/>
                      </a:cubicBezTo>
                      <a:cubicBezTo>
                        <a:pt x="1859" y="23381"/>
                        <a:pt x="-1628" y="15783"/>
                        <a:pt x="738" y="8933"/>
                      </a:cubicBezTo>
                      <a:cubicBezTo>
                        <a:pt x="3105" y="2082"/>
                        <a:pt x="10703" y="-1655"/>
                        <a:pt x="17554" y="712"/>
                      </a:cubicBezTo>
                      <a:cubicBezTo>
                        <a:pt x="24404" y="3078"/>
                        <a:pt x="28017" y="10676"/>
                        <a:pt x="25650"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0" name="Graphic 2987">
                <a:extLst>
                  <a:ext uri="{FF2B5EF4-FFF2-40B4-BE49-F238E27FC236}">
                    <a16:creationId xmlns:a16="http://schemas.microsoft.com/office/drawing/2014/main" id="{EE976CED-19AD-3C10-4B62-C53D9ECA9D88}"/>
                  </a:ext>
                </a:extLst>
              </p:cNvPr>
              <p:cNvGrpSpPr/>
              <p:nvPr/>
            </p:nvGrpSpPr>
            <p:grpSpPr>
              <a:xfrm>
                <a:off x="2757432" y="1370244"/>
                <a:ext cx="67203" cy="141987"/>
                <a:chOff x="2757432" y="1370244"/>
                <a:chExt cx="67203" cy="141987"/>
              </a:xfrm>
              <a:grpFill/>
            </p:grpSpPr>
            <p:sp>
              <p:nvSpPr>
                <p:cNvPr id="5652" name="Freeform 8631">
                  <a:extLst>
                    <a:ext uri="{FF2B5EF4-FFF2-40B4-BE49-F238E27FC236}">
                      <a16:creationId xmlns:a16="http://schemas.microsoft.com/office/drawing/2014/main" id="{827BFA42-B14F-E390-8E7E-477D31ECC22B}"/>
                    </a:ext>
                  </a:extLst>
                </p:cNvPr>
                <p:cNvSpPr/>
                <p:nvPr/>
              </p:nvSpPr>
              <p:spPr>
                <a:xfrm>
                  <a:off x="2776639" y="1444569"/>
                  <a:ext cx="17936" cy="48826"/>
                </a:xfrm>
                <a:custGeom>
                  <a:avLst/>
                  <a:gdLst>
                    <a:gd name="connsiteX0" fmla="*/ 0 w 17936"/>
                    <a:gd name="connsiteY0" fmla="*/ 48827 h 48826"/>
                    <a:gd name="connsiteX1" fmla="*/ 8096 w 17936"/>
                    <a:gd name="connsiteY1" fmla="*/ 31887 h 48826"/>
                    <a:gd name="connsiteX2" fmla="*/ 10463 w 17936"/>
                    <a:gd name="connsiteY2" fmla="*/ 14698 h 48826"/>
                    <a:gd name="connsiteX3" fmla="*/ 17936 w 17936"/>
                    <a:gd name="connsiteY3" fmla="*/ 0 h 48826"/>
                  </a:gdLst>
                  <a:ahLst/>
                  <a:cxnLst>
                    <a:cxn ang="0">
                      <a:pos x="connsiteX0" y="connsiteY0"/>
                    </a:cxn>
                    <a:cxn ang="0">
                      <a:pos x="connsiteX1" y="connsiteY1"/>
                    </a:cxn>
                    <a:cxn ang="0">
                      <a:pos x="connsiteX2" y="connsiteY2"/>
                    </a:cxn>
                    <a:cxn ang="0">
                      <a:pos x="connsiteX3" y="connsiteY3"/>
                    </a:cxn>
                  </a:cxnLst>
                  <a:rect l="l" t="t" r="r" b="b"/>
                  <a:pathLst>
                    <a:path w="17936" h="48826">
                      <a:moveTo>
                        <a:pt x="0" y="48827"/>
                      </a:moveTo>
                      <a:cubicBezTo>
                        <a:pt x="4982" y="42100"/>
                        <a:pt x="7100" y="36122"/>
                        <a:pt x="8096" y="31887"/>
                      </a:cubicBezTo>
                      <a:cubicBezTo>
                        <a:pt x="9715" y="25036"/>
                        <a:pt x="8595" y="21548"/>
                        <a:pt x="10463" y="14698"/>
                      </a:cubicBezTo>
                      <a:cubicBezTo>
                        <a:pt x="12331" y="8096"/>
                        <a:pt x="15445" y="3114"/>
                        <a:pt x="179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3" name="Freeform 8632">
                  <a:extLst>
                    <a:ext uri="{FF2B5EF4-FFF2-40B4-BE49-F238E27FC236}">
                      <a16:creationId xmlns:a16="http://schemas.microsoft.com/office/drawing/2014/main" id="{9EDEA5D4-9138-BDCB-62A5-5646C8B1175D}"/>
                    </a:ext>
                  </a:extLst>
                </p:cNvPr>
                <p:cNvSpPr/>
                <p:nvPr/>
              </p:nvSpPr>
              <p:spPr>
                <a:xfrm>
                  <a:off x="2768294" y="1446438"/>
                  <a:ext cx="16690" cy="49449"/>
                </a:xfrm>
                <a:custGeom>
                  <a:avLst/>
                  <a:gdLst>
                    <a:gd name="connsiteX0" fmla="*/ 16691 w 16690"/>
                    <a:gd name="connsiteY0" fmla="*/ 0 h 49449"/>
                    <a:gd name="connsiteX1" fmla="*/ 12331 w 16690"/>
                    <a:gd name="connsiteY1" fmla="*/ 18310 h 49449"/>
                    <a:gd name="connsiteX2" fmla="*/ 3363 w 16690"/>
                    <a:gd name="connsiteY2" fmla="*/ 33257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6317" y="8345"/>
                        <a:pt x="14200" y="14324"/>
                        <a:pt x="12331" y="18310"/>
                      </a:cubicBezTo>
                      <a:cubicBezTo>
                        <a:pt x="9342" y="24662"/>
                        <a:pt x="6228" y="26780"/>
                        <a:pt x="3363" y="33257"/>
                      </a:cubicBezTo>
                      <a:cubicBezTo>
                        <a:pt x="623" y="39609"/>
                        <a:pt x="0"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4" name="Freeform 8633">
                  <a:extLst>
                    <a:ext uri="{FF2B5EF4-FFF2-40B4-BE49-F238E27FC236}">
                      <a16:creationId xmlns:a16="http://schemas.microsoft.com/office/drawing/2014/main" id="{2093485A-3CC5-0FFE-533B-DF6AC19A858F}"/>
                    </a:ext>
                  </a:extLst>
                </p:cNvPr>
                <p:cNvSpPr/>
                <p:nvPr/>
              </p:nvSpPr>
              <p:spPr>
                <a:xfrm>
                  <a:off x="2757432" y="1485646"/>
                  <a:ext cx="26831" cy="26584"/>
                </a:xfrm>
                <a:custGeom>
                  <a:avLst/>
                  <a:gdLst>
                    <a:gd name="connsiteX0" fmla="*/ 773 w 26831"/>
                    <a:gd name="connsiteY0" fmla="*/ 8871 h 26584"/>
                    <a:gd name="connsiteX1" fmla="*/ 17838 w 26831"/>
                    <a:gd name="connsiteY1" fmla="*/ 774 h 26584"/>
                    <a:gd name="connsiteX2" fmla="*/ 26058 w 26831"/>
                    <a:gd name="connsiteY2" fmla="*/ 17714 h 26584"/>
                    <a:gd name="connsiteX3" fmla="*/ 8994 w 26831"/>
                    <a:gd name="connsiteY3" fmla="*/ 25810 h 26584"/>
                    <a:gd name="connsiteX4" fmla="*/ 773 w 26831"/>
                    <a:gd name="connsiteY4" fmla="*/ 8871 h 2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584">
                      <a:moveTo>
                        <a:pt x="773" y="8871"/>
                      </a:moveTo>
                      <a:cubicBezTo>
                        <a:pt x="3264" y="2020"/>
                        <a:pt x="10862" y="-1717"/>
                        <a:pt x="17838" y="774"/>
                      </a:cubicBezTo>
                      <a:cubicBezTo>
                        <a:pt x="24813" y="3141"/>
                        <a:pt x="28549" y="10739"/>
                        <a:pt x="26058" y="17714"/>
                      </a:cubicBezTo>
                      <a:cubicBezTo>
                        <a:pt x="23692" y="24565"/>
                        <a:pt x="15969" y="28302"/>
                        <a:pt x="8994" y="25810"/>
                      </a:cubicBezTo>
                      <a:cubicBezTo>
                        <a:pt x="2019" y="23319"/>
                        <a:pt x="-1718" y="15721"/>
                        <a:pt x="77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5" name="Freeform 8634">
                  <a:extLst>
                    <a:ext uri="{FF2B5EF4-FFF2-40B4-BE49-F238E27FC236}">
                      <a16:creationId xmlns:a16="http://schemas.microsoft.com/office/drawing/2014/main" id="{34F4A11C-49F0-955F-A542-46612F3E48B9}"/>
                    </a:ext>
                  </a:extLst>
                </p:cNvPr>
                <p:cNvSpPr/>
                <p:nvPr/>
              </p:nvSpPr>
              <p:spPr>
                <a:xfrm>
                  <a:off x="2787600" y="1388892"/>
                  <a:ext cx="18060" cy="48826"/>
                </a:xfrm>
                <a:custGeom>
                  <a:avLst/>
                  <a:gdLst>
                    <a:gd name="connsiteX0" fmla="*/ 18061 w 18060"/>
                    <a:gd name="connsiteY0" fmla="*/ 0 h 48826"/>
                    <a:gd name="connsiteX1" fmla="*/ 9965 w 18060"/>
                    <a:gd name="connsiteY1" fmla="*/ 16940 h 48826"/>
                    <a:gd name="connsiteX2" fmla="*/ 7473 w 18060"/>
                    <a:gd name="connsiteY2" fmla="*/ 34129 h 48826"/>
                    <a:gd name="connsiteX3" fmla="*/ 0 w 1806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060" h="48826">
                      <a:moveTo>
                        <a:pt x="18061" y="0"/>
                      </a:moveTo>
                      <a:cubicBezTo>
                        <a:pt x="13079" y="6726"/>
                        <a:pt x="10961" y="12705"/>
                        <a:pt x="9965" y="16940"/>
                      </a:cubicBezTo>
                      <a:cubicBezTo>
                        <a:pt x="8345" y="23791"/>
                        <a:pt x="9342" y="27278"/>
                        <a:pt x="7473" y="34129"/>
                      </a:cubicBezTo>
                      <a:cubicBezTo>
                        <a:pt x="5605" y="40730"/>
                        <a:pt x="2367"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6" name="Freeform 8635">
                  <a:extLst>
                    <a:ext uri="{FF2B5EF4-FFF2-40B4-BE49-F238E27FC236}">
                      <a16:creationId xmlns:a16="http://schemas.microsoft.com/office/drawing/2014/main" id="{8BD4A6F9-14E1-9B13-2637-92E995966AB4}"/>
                    </a:ext>
                  </a:extLst>
                </p:cNvPr>
                <p:cNvSpPr/>
                <p:nvPr/>
              </p:nvSpPr>
              <p:spPr>
                <a:xfrm>
                  <a:off x="2797316" y="1386401"/>
                  <a:ext cx="16566" cy="49449"/>
                </a:xfrm>
                <a:custGeom>
                  <a:avLst/>
                  <a:gdLst>
                    <a:gd name="connsiteX0" fmla="*/ 0 w 16566"/>
                    <a:gd name="connsiteY0" fmla="*/ 49449 h 49449"/>
                    <a:gd name="connsiteX1" fmla="*/ 4359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1104"/>
                        <a:pt x="2491" y="35125"/>
                        <a:pt x="4359" y="31139"/>
                      </a:cubicBezTo>
                      <a:cubicBezTo>
                        <a:pt x="7349" y="24787"/>
                        <a:pt x="10463" y="22669"/>
                        <a:pt x="13203" y="16192"/>
                      </a:cubicBezTo>
                      <a:cubicBezTo>
                        <a:pt x="15943"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7" name="Freeform 8636">
                  <a:extLst>
                    <a:ext uri="{FF2B5EF4-FFF2-40B4-BE49-F238E27FC236}">
                      <a16:creationId xmlns:a16="http://schemas.microsoft.com/office/drawing/2014/main" id="{F38DF01D-F4D2-C5A7-88FB-34112E2D0E88}"/>
                    </a:ext>
                  </a:extLst>
                </p:cNvPr>
                <p:cNvSpPr/>
                <p:nvPr/>
              </p:nvSpPr>
              <p:spPr>
                <a:xfrm>
                  <a:off x="2798271" y="1370244"/>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209" y="24378"/>
                        <a:pt x="15611" y="28114"/>
                        <a:pt x="8761" y="25748"/>
                      </a:cubicBezTo>
                      <a:cubicBezTo>
                        <a:pt x="1910" y="23381"/>
                        <a:pt x="-1702" y="15783"/>
                        <a:pt x="789" y="8933"/>
                      </a:cubicBezTo>
                      <a:cubicBezTo>
                        <a:pt x="3280" y="2082"/>
                        <a:pt x="10754" y="-1655"/>
                        <a:pt x="17604" y="712"/>
                      </a:cubicBezTo>
                      <a:cubicBezTo>
                        <a:pt x="24455" y="3078"/>
                        <a:pt x="28067" y="10552"/>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1" name="Graphic 2987">
                <a:extLst>
                  <a:ext uri="{FF2B5EF4-FFF2-40B4-BE49-F238E27FC236}">
                    <a16:creationId xmlns:a16="http://schemas.microsoft.com/office/drawing/2014/main" id="{73DC056C-68E7-F109-DBCE-0457138CBDEA}"/>
                  </a:ext>
                </a:extLst>
              </p:cNvPr>
              <p:cNvGrpSpPr/>
              <p:nvPr/>
            </p:nvGrpSpPr>
            <p:grpSpPr>
              <a:xfrm>
                <a:off x="2729157" y="1360529"/>
                <a:ext cx="67702" cy="141826"/>
                <a:chOff x="2729157" y="1360529"/>
                <a:chExt cx="67702" cy="141826"/>
              </a:xfrm>
              <a:grpFill/>
            </p:grpSpPr>
            <p:sp>
              <p:nvSpPr>
                <p:cNvPr id="5646" name="Freeform 8638">
                  <a:extLst>
                    <a:ext uri="{FF2B5EF4-FFF2-40B4-BE49-F238E27FC236}">
                      <a16:creationId xmlns:a16="http://schemas.microsoft.com/office/drawing/2014/main" id="{C534DDCB-2431-5B74-9F66-1692CB65DB68}"/>
                    </a:ext>
                  </a:extLst>
                </p:cNvPr>
                <p:cNvSpPr/>
                <p:nvPr/>
              </p:nvSpPr>
              <p:spPr>
                <a:xfrm>
                  <a:off x="2748365" y="1434854"/>
                  <a:ext cx="18185" cy="48826"/>
                </a:xfrm>
                <a:custGeom>
                  <a:avLst/>
                  <a:gdLst>
                    <a:gd name="connsiteX0" fmla="*/ 0 w 18185"/>
                    <a:gd name="connsiteY0" fmla="*/ 48827 h 48826"/>
                    <a:gd name="connsiteX1" fmla="*/ 8096 w 18185"/>
                    <a:gd name="connsiteY1" fmla="*/ 31887 h 48826"/>
                    <a:gd name="connsiteX2" fmla="*/ 10587 w 18185"/>
                    <a:gd name="connsiteY2" fmla="*/ 14698 h 48826"/>
                    <a:gd name="connsiteX3" fmla="*/ 18186 w 18185"/>
                    <a:gd name="connsiteY3" fmla="*/ 0 h 48826"/>
                  </a:gdLst>
                  <a:ahLst/>
                  <a:cxnLst>
                    <a:cxn ang="0">
                      <a:pos x="connsiteX0" y="connsiteY0"/>
                    </a:cxn>
                    <a:cxn ang="0">
                      <a:pos x="connsiteX1" y="connsiteY1"/>
                    </a:cxn>
                    <a:cxn ang="0">
                      <a:pos x="connsiteX2" y="connsiteY2"/>
                    </a:cxn>
                    <a:cxn ang="0">
                      <a:pos x="connsiteX3" y="connsiteY3"/>
                    </a:cxn>
                  </a:cxnLst>
                  <a:rect l="l" t="t" r="r" b="b"/>
                  <a:pathLst>
                    <a:path w="18185" h="48826">
                      <a:moveTo>
                        <a:pt x="0" y="48827"/>
                      </a:moveTo>
                      <a:cubicBezTo>
                        <a:pt x="5107" y="42101"/>
                        <a:pt x="7224" y="36122"/>
                        <a:pt x="8096" y="31887"/>
                      </a:cubicBezTo>
                      <a:cubicBezTo>
                        <a:pt x="9715" y="25036"/>
                        <a:pt x="8719" y="21548"/>
                        <a:pt x="10587" y="14698"/>
                      </a:cubicBezTo>
                      <a:cubicBezTo>
                        <a:pt x="12456" y="8096"/>
                        <a:pt x="15694" y="3114"/>
                        <a:pt x="181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7" name="Freeform 8639">
                  <a:extLst>
                    <a:ext uri="{FF2B5EF4-FFF2-40B4-BE49-F238E27FC236}">
                      <a16:creationId xmlns:a16="http://schemas.microsoft.com/office/drawing/2014/main" id="{CD715A38-8FE9-A583-0133-8D7C1D6AE765}"/>
                    </a:ext>
                  </a:extLst>
                </p:cNvPr>
                <p:cNvSpPr/>
                <p:nvPr/>
              </p:nvSpPr>
              <p:spPr>
                <a:xfrm>
                  <a:off x="2740019" y="1436722"/>
                  <a:ext cx="16815" cy="49324"/>
                </a:xfrm>
                <a:custGeom>
                  <a:avLst/>
                  <a:gdLst>
                    <a:gd name="connsiteX0" fmla="*/ 16815 w 16815"/>
                    <a:gd name="connsiteY0" fmla="*/ 0 h 49324"/>
                    <a:gd name="connsiteX1" fmla="*/ 12456 w 16815"/>
                    <a:gd name="connsiteY1" fmla="*/ 18310 h 49324"/>
                    <a:gd name="connsiteX2" fmla="*/ 3488 w 16815"/>
                    <a:gd name="connsiteY2" fmla="*/ 33257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6442" y="8345"/>
                        <a:pt x="14324" y="14324"/>
                        <a:pt x="12456" y="18310"/>
                      </a:cubicBezTo>
                      <a:cubicBezTo>
                        <a:pt x="9342" y="24662"/>
                        <a:pt x="6353" y="26780"/>
                        <a:pt x="3488" y="33257"/>
                      </a:cubicBezTo>
                      <a:cubicBezTo>
                        <a:pt x="747" y="39609"/>
                        <a:pt x="125" y="45464"/>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8" name="Freeform 8640">
                  <a:extLst>
                    <a:ext uri="{FF2B5EF4-FFF2-40B4-BE49-F238E27FC236}">
                      <a16:creationId xmlns:a16="http://schemas.microsoft.com/office/drawing/2014/main" id="{4D61065F-4531-CB67-4D7F-F09FC3431BA1}"/>
                    </a:ext>
                  </a:extLst>
                </p:cNvPr>
                <p:cNvSpPr/>
                <p:nvPr/>
              </p:nvSpPr>
              <p:spPr>
                <a:xfrm>
                  <a:off x="2729157" y="1475855"/>
                  <a:ext cx="26782" cy="26499"/>
                </a:xfrm>
                <a:custGeom>
                  <a:avLst/>
                  <a:gdLst>
                    <a:gd name="connsiteX0" fmla="*/ 773 w 26782"/>
                    <a:gd name="connsiteY0" fmla="*/ 8822 h 26499"/>
                    <a:gd name="connsiteX1" fmla="*/ 17837 w 26782"/>
                    <a:gd name="connsiteY1" fmla="*/ 725 h 26499"/>
                    <a:gd name="connsiteX2" fmla="*/ 26058 w 26782"/>
                    <a:gd name="connsiteY2" fmla="*/ 17665 h 26499"/>
                    <a:gd name="connsiteX3" fmla="*/ 8994 w 26782"/>
                    <a:gd name="connsiteY3" fmla="*/ 25762 h 26499"/>
                    <a:gd name="connsiteX4" fmla="*/ 773 w 26782"/>
                    <a:gd name="connsiteY4" fmla="*/ 8822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499">
                      <a:moveTo>
                        <a:pt x="773" y="8822"/>
                      </a:moveTo>
                      <a:cubicBezTo>
                        <a:pt x="3264" y="1971"/>
                        <a:pt x="10862" y="-1641"/>
                        <a:pt x="17837" y="725"/>
                      </a:cubicBezTo>
                      <a:cubicBezTo>
                        <a:pt x="24813" y="3092"/>
                        <a:pt x="28425" y="10690"/>
                        <a:pt x="26058" y="17665"/>
                      </a:cubicBezTo>
                      <a:cubicBezTo>
                        <a:pt x="23692" y="24640"/>
                        <a:pt x="15969" y="28128"/>
                        <a:pt x="8994" y="25762"/>
                      </a:cubicBezTo>
                      <a:cubicBezTo>
                        <a:pt x="2019" y="23395"/>
                        <a:pt x="-1718" y="15672"/>
                        <a:pt x="773"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9" name="Freeform 8641">
                  <a:extLst>
                    <a:ext uri="{FF2B5EF4-FFF2-40B4-BE49-F238E27FC236}">
                      <a16:creationId xmlns:a16="http://schemas.microsoft.com/office/drawing/2014/main" id="{E4348203-FCDE-8312-A33C-56FA7FE965E3}"/>
                    </a:ext>
                  </a:extLst>
                </p:cNvPr>
                <p:cNvSpPr/>
                <p:nvPr/>
              </p:nvSpPr>
              <p:spPr>
                <a:xfrm>
                  <a:off x="2759699" y="1379301"/>
                  <a:ext cx="18185" cy="48826"/>
                </a:xfrm>
                <a:custGeom>
                  <a:avLst/>
                  <a:gdLst>
                    <a:gd name="connsiteX0" fmla="*/ 18186 w 18185"/>
                    <a:gd name="connsiteY0" fmla="*/ 0 h 48826"/>
                    <a:gd name="connsiteX1" fmla="*/ 10089 w 18185"/>
                    <a:gd name="connsiteY1" fmla="*/ 16940 h 48826"/>
                    <a:gd name="connsiteX2" fmla="*/ 7598 w 18185"/>
                    <a:gd name="connsiteY2" fmla="*/ 34129 h 48826"/>
                    <a:gd name="connsiteX3" fmla="*/ 0 w 1818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185" h="48826">
                      <a:moveTo>
                        <a:pt x="18186" y="0"/>
                      </a:moveTo>
                      <a:cubicBezTo>
                        <a:pt x="13203" y="6726"/>
                        <a:pt x="11086" y="12705"/>
                        <a:pt x="10089" y="16940"/>
                      </a:cubicBezTo>
                      <a:cubicBezTo>
                        <a:pt x="8470" y="23791"/>
                        <a:pt x="9467"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0" name="Freeform 8642">
                  <a:extLst>
                    <a:ext uri="{FF2B5EF4-FFF2-40B4-BE49-F238E27FC236}">
                      <a16:creationId xmlns:a16="http://schemas.microsoft.com/office/drawing/2014/main" id="{3D118ED4-496B-A1AB-9BDA-F6B46290E092}"/>
                    </a:ext>
                  </a:extLst>
                </p:cNvPr>
                <p:cNvSpPr/>
                <p:nvPr/>
              </p:nvSpPr>
              <p:spPr>
                <a:xfrm>
                  <a:off x="2769415" y="1376810"/>
                  <a:ext cx="16815" cy="49324"/>
                </a:xfrm>
                <a:custGeom>
                  <a:avLst/>
                  <a:gdLst>
                    <a:gd name="connsiteX0" fmla="*/ 0 w 16815"/>
                    <a:gd name="connsiteY0" fmla="*/ 49325 h 49324"/>
                    <a:gd name="connsiteX1" fmla="*/ 4360 w 16815"/>
                    <a:gd name="connsiteY1" fmla="*/ 31015 h 49324"/>
                    <a:gd name="connsiteX2" fmla="*/ 13328 w 16815"/>
                    <a:gd name="connsiteY2" fmla="*/ 16068 h 49324"/>
                    <a:gd name="connsiteX3" fmla="*/ 16815 w 16815"/>
                    <a:gd name="connsiteY3" fmla="*/ 0 h 49324"/>
                  </a:gdLst>
                  <a:ahLst/>
                  <a:cxnLst>
                    <a:cxn ang="0">
                      <a:pos x="connsiteX0" y="connsiteY0"/>
                    </a:cxn>
                    <a:cxn ang="0">
                      <a:pos x="connsiteX1" y="connsiteY1"/>
                    </a:cxn>
                    <a:cxn ang="0">
                      <a:pos x="connsiteX2" y="connsiteY2"/>
                    </a:cxn>
                    <a:cxn ang="0">
                      <a:pos x="connsiteX3" y="connsiteY3"/>
                    </a:cxn>
                  </a:cxnLst>
                  <a:rect l="l" t="t" r="r" b="b"/>
                  <a:pathLst>
                    <a:path w="16815" h="49324">
                      <a:moveTo>
                        <a:pt x="0" y="49325"/>
                      </a:moveTo>
                      <a:cubicBezTo>
                        <a:pt x="374" y="40979"/>
                        <a:pt x="2491" y="35001"/>
                        <a:pt x="4360" y="31015"/>
                      </a:cubicBezTo>
                      <a:cubicBezTo>
                        <a:pt x="7474" y="24662"/>
                        <a:pt x="10463" y="22545"/>
                        <a:pt x="13328" y="16068"/>
                      </a:cubicBezTo>
                      <a:cubicBezTo>
                        <a:pt x="16068" y="9715"/>
                        <a:pt x="16691" y="3861"/>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1" name="Freeform 8643">
                  <a:extLst>
                    <a:ext uri="{FF2B5EF4-FFF2-40B4-BE49-F238E27FC236}">
                      <a16:creationId xmlns:a16="http://schemas.microsoft.com/office/drawing/2014/main" id="{3D170937-F2F7-B852-FED4-2993083E8A56}"/>
                    </a:ext>
                  </a:extLst>
                </p:cNvPr>
                <p:cNvSpPr/>
                <p:nvPr/>
              </p:nvSpPr>
              <p:spPr>
                <a:xfrm>
                  <a:off x="2770494" y="1360529"/>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085" y="24378"/>
                        <a:pt x="15611" y="28114"/>
                        <a:pt x="8761" y="25748"/>
                      </a:cubicBezTo>
                      <a:cubicBezTo>
                        <a:pt x="1910" y="23381"/>
                        <a:pt x="-1702" y="15783"/>
                        <a:pt x="789" y="8933"/>
                      </a:cubicBezTo>
                      <a:cubicBezTo>
                        <a:pt x="3280" y="2082"/>
                        <a:pt x="10878" y="-1655"/>
                        <a:pt x="17604" y="712"/>
                      </a:cubicBezTo>
                      <a:cubicBezTo>
                        <a:pt x="24455" y="3203"/>
                        <a:pt x="28067" y="10676"/>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2" name="Graphic 2987">
                <a:extLst>
                  <a:ext uri="{FF2B5EF4-FFF2-40B4-BE49-F238E27FC236}">
                    <a16:creationId xmlns:a16="http://schemas.microsoft.com/office/drawing/2014/main" id="{003CFA7A-3DDD-988E-2367-8954868D4788}"/>
                  </a:ext>
                </a:extLst>
              </p:cNvPr>
              <p:cNvGrpSpPr/>
              <p:nvPr/>
            </p:nvGrpSpPr>
            <p:grpSpPr>
              <a:xfrm>
                <a:off x="2700868" y="1350862"/>
                <a:ext cx="68340" cy="141515"/>
                <a:chOff x="2700868" y="1350862"/>
                <a:chExt cx="68340" cy="141515"/>
              </a:xfrm>
              <a:grpFill/>
            </p:grpSpPr>
            <p:sp>
              <p:nvSpPr>
                <p:cNvPr id="5640" name="Freeform 8645">
                  <a:extLst>
                    <a:ext uri="{FF2B5EF4-FFF2-40B4-BE49-F238E27FC236}">
                      <a16:creationId xmlns:a16="http://schemas.microsoft.com/office/drawing/2014/main" id="{E1DD3679-97B2-6C06-8845-D6AABD1333FB}"/>
                    </a:ext>
                  </a:extLst>
                </p:cNvPr>
                <p:cNvSpPr/>
                <p:nvPr/>
              </p:nvSpPr>
              <p:spPr>
                <a:xfrm>
                  <a:off x="2720090" y="1425014"/>
                  <a:ext cx="18434" cy="48826"/>
                </a:xfrm>
                <a:custGeom>
                  <a:avLst/>
                  <a:gdLst>
                    <a:gd name="connsiteX0" fmla="*/ 0 w 18434"/>
                    <a:gd name="connsiteY0" fmla="*/ 48827 h 48826"/>
                    <a:gd name="connsiteX1" fmla="*/ 8221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7"/>
                      </a:moveTo>
                      <a:cubicBezTo>
                        <a:pt x="5107" y="42100"/>
                        <a:pt x="7224" y="36122"/>
                        <a:pt x="8221" y="31887"/>
                      </a:cubicBezTo>
                      <a:cubicBezTo>
                        <a:pt x="9840" y="25036"/>
                        <a:pt x="8843" y="21548"/>
                        <a:pt x="10836" y="14698"/>
                      </a:cubicBezTo>
                      <a:cubicBezTo>
                        <a:pt x="12705"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1" name="Freeform 8646">
                  <a:extLst>
                    <a:ext uri="{FF2B5EF4-FFF2-40B4-BE49-F238E27FC236}">
                      <a16:creationId xmlns:a16="http://schemas.microsoft.com/office/drawing/2014/main" id="{01CF895D-21BC-5539-E64F-2F4C5D0A538C}"/>
                    </a:ext>
                  </a:extLst>
                </p:cNvPr>
                <p:cNvSpPr/>
                <p:nvPr/>
              </p:nvSpPr>
              <p:spPr>
                <a:xfrm>
                  <a:off x="2711745" y="1427007"/>
                  <a:ext cx="17064" cy="49200"/>
                </a:xfrm>
                <a:custGeom>
                  <a:avLst/>
                  <a:gdLst>
                    <a:gd name="connsiteX0" fmla="*/ 17064 w 17064"/>
                    <a:gd name="connsiteY0" fmla="*/ 0 h 49200"/>
                    <a:gd name="connsiteX1" fmla="*/ 12580 w 17064"/>
                    <a:gd name="connsiteY1" fmla="*/ 18185 h 49200"/>
                    <a:gd name="connsiteX2" fmla="*/ 3488 w 17064"/>
                    <a:gd name="connsiteY2" fmla="*/ 33132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6691" y="8345"/>
                        <a:pt x="14449" y="14324"/>
                        <a:pt x="12580" y="18185"/>
                      </a:cubicBezTo>
                      <a:cubicBezTo>
                        <a:pt x="9466" y="24413"/>
                        <a:pt x="6352" y="26655"/>
                        <a:pt x="3488" y="33132"/>
                      </a:cubicBezTo>
                      <a:cubicBezTo>
                        <a:pt x="623" y="39485"/>
                        <a:pt x="0"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2" name="Freeform 8647">
                  <a:extLst>
                    <a:ext uri="{FF2B5EF4-FFF2-40B4-BE49-F238E27FC236}">
                      <a16:creationId xmlns:a16="http://schemas.microsoft.com/office/drawing/2014/main" id="{A42B7D6C-D2B2-D49C-B475-911D070409FC}"/>
                    </a:ext>
                  </a:extLst>
                </p:cNvPr>
                <p:cNvSpPr/>
                <p:nvPr/>
              </p:nvSpPr>
              <p:spPr>
                <a:xfrm>
                  <a:off x="2700868" y="1466015"/>
                  <a:ext cx="26860" cy="26362"/>
                </a:xfrm>
                <a:custGeom>
                  <a:avLst/>
                  <a:gdLst>
                    <a:gd name="connsiteX0" fmla="*/ 788 w 26860"/>
                    <a:gd name="connsiteY0" fmla="*/ 8822 h 26362"/>
                    <a:gd name="connsiteX1" fmla="*/ 17977 w 26860"/>
                    <a:gd name="connsiteY1" fmla="*/ 725 h 26362"/>
                    <a:gd name="connsiteX2" fmla="*/ 26073 w 26860"/>
                    <a:gd name="connsiteY2" fmla="*/ 17541 h 26362"/>
                    <a:gd name="connsiteX3" fmla="*/ 8884 w 26860"/>
                    <a:gd name="connsiteY3" fmla="*/ 25637 h 26362"/>
                    <a:gd name="connsiteX4" fmla="*/ 788 w 26860"/>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362">
                      <a:moveTo>
                        <a:pt x="788" y="8822"/>
                      </a:moveTo>
                      <a:cubicBezTo>
                        <a:pt x="3279" y="1971"/>
                        <a:pt x="11001" y="-1641"/>
                        <a:pt x="17977" y="725"/>
                      </a:cubicBezTo>
                      <a:cubicBezTo>
                        <a:pt x="24952" y="3092"/>
                        <a:pt x="28564" y="10690"/>
                        <a:pt x="26073" y="17541"/>
                      </a:cubicBezTo>
                      <a:cubicBezTo>
                        <a:pt x="23582" y="24391"/>
                        <a:pt x="15859" y="28004"/>
                        <a:pt x="8884" y="25637"/>
                      </a:cubicBezTo>
                      <a:cubicBezTo>
                        <a:pt x="1909" y="23270"/>
                        <a:pt x="-1703" y="15672"/>
                        <a:pt x="788"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3" name="Freeform 8648">
                  <a:extLst>
                    <a:ext uri="{FF2B5EF4-FFF2-40B4-BE49-F238E27FC236}">
                      <a16:creationId xmlns:a16="http://schemas.microsoft.com/office/drawing/2014/main" id="{A0DEB447-A071-6BE7-B8B8-7FFEAB8EA000}"/>
                    </a:ext>
                  </a:extLst>
                </p:cNvPr>
                <p:cNvSpPr/>
                <p:nvPr/>
              </p:nvSpPr>
              <p:spPr>
                <a:xfrm>
                  <a:off x="2731674" y="1369586"/>
                  <a:ext cx="18434" cy="48826"/>
                </a:xfrm>
                <a:custGeom>
                  <a:avLst/>
                  <a:gdLst>
                    <a:gd name="connsiteX0" fmla="*/ 18434 w 18434"/>
                    <a:gd name="connsiteY0" fmla="*/ 0 h 48826"/>
                    <a:gd name="connsiteX1" fmla="*/ 10214 w 18434"/>
                    <a:gd name="connsiteY1" fmla="*/ 16940 h 48826"/>
                    <a:gd name="connsiteX2" fmla="*/ 7598 w 18434"/>
                    <a:gd name="connsiteY2" fmla="*/ 34129 h 48826"/>
                    <a:gd name="connsiteX3" fmla="*/ 0 w 18434"/>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4" h="48826">
                      <a:moveTo>
                        <a:pt x="18434" y="0"/>
                      </a:moveTo>
                      <a:cubicBezTo>
                        <a:pt x="13328" y="6726"/>
                        <a:pt x="11210" y="12705"/>
                        <a:pt x="10214" y="16940"/>
                      </a:cubicBezTo>
                      <a:cubicBezTo>
                        <a:pt x="8595" y="23791"/>
                        <a:pt x="9591"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4" name="Freeform 8649">
                  <a:extLst>
                    <a:ext uri="{FF2B5EF4-FFF2-40B4-BE49-F238E27FC236}">
                      <a16:creationId xmlns:a16="http://schemas.microsoft.com/office/drawing/2014/main" id="{183900D7-3C46-4BCA-BF88-662F1829ED5F}"/>
                    </a:ext>
                  </a:extLst>
                </p:cNvPr>
                <p:cNvSpPr/>
                <p:nvPr/>
              </p:nvSpPr>
              <p:spPr>
                <a:xfrm>
                  <a:off x="2741389" y="1367219"/>
                  <a:ext cx="16939" cy="49200"/>
                </a:xfrm>
                <a:custGeom>
                  <a:avLst/>
                  <a:gdLst>
                    <a:gd name="connsiteX0" fmla="*/ 0 w 16939"/>
                    <a:gd name="connsiteY0" fmla="*/ 49200 h 49200"/>
                    <a:gd name="connsiteX1" fmla="*/ 4484 w 16939"/>
                    <a:gd name="connsiteY1" fmla="*/ 31015 h 49200"/>
                    <a:gd name="connsiteX2" fmla="*/ 13452 w 16939"/>
                    <a:gd name="connsiteY2" fmla="*/ 16068 h 49200"/>
                    <a:gd name="connsiteX3" fmla="*/ 16940 w 16939"/>
                    <a:gd name="connsiteY3" fmla="*/ 0 h 49200"/>
                  </a:gdLst>
                  <a:ahLst/>
                  <a:cxnLst>
                    <a:cxn ang="0">
                      <a:pos x="connsiteX0" y="connsiteY0"/>
                    </a:cxn>
                    <a:cxn ang="0">
                      <a:pos x="connsiteX1" y="connsiteY1"/>
                    </a:cxn>
                    <a:cxn ang="0">
                      <a:pos x="connsiteX2" y="connsiteY2"/>
                    </a:cxn>
                    <a:cxn ang="0">
                      <a:pos x="connsiteX3" y="connsiteY3"/>
                    </a:cxn>
                  </a:cxnLst>
                  <a:rect l="l" t="t" r="r" b="b"/>
                  <a:pathLst>
                    <a:path w="16939" h="49200">
                      <a:moveTo>
                        <a:pt x="0" y="49200"/>
                      </a:moveTo>
                      <a:cubicBezTo>
                        <a:pt x="374" y="40855"/>
                        <a:pt x="2616" y="34876"/>
                        <a:pt x="4484" y="31015"/>
                      </a:cubicBezTo>
                      <a:cubicBezTo>
                        <a:pt x="7598" y="24787"/>
                        <a:pt x="10587" y="22545"/>
                        <a:pt x="13452" y="16068"/>
                      </a:cubicBezTo>
                      <a:cubicBezTo>
                        <a:pt x="16193" y="9715"/>
                        <a:pt x="16940" y="3861"/>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5" name="Freeform 8650">
                  <a:extLst>
                    <a:ext uri="{FF2B5EF4-FFF2-40B4-BE49-F238E27FC236}">
                      <a16:creationId xmlns:a16="http://schemas.microsoft.com/office/drawing/2014/main" id="{647CCEDA-24FA-6D77-E1C6-CAC97073C6EA}"/>
                    </a:ext>
                  </a:extLst>
                </p:cNvPr>
                <p:cNvSpPr/>
                <p:nvPr/>
              </p:nvSpPr>
              <p:spPr>
                <a:xfrm>
                  <a:off x="2742778" y="1350862"/>
                  <a:ext cx="26431" cy="26473"/>
                </a:xfrm>
                <a:custGeom>
                  <a:avLst/>
                  <a:gdLst>
                    <a:gd name="connsiteX0" fmla="*/ 25641 w 26431"/>
                    <a:gd name="connsiteY0" fmla="*/ 17603 h 26473"/>
                    <a:gd name="connsiteX1" fmla="*/ 8701 w 26431"/>
                    <a:gd name="connsiteY1" fmla="*/ 25699 h 26473"/>
                    <a:gd name="connsiteX2" fmla="*/ 854 w 26431"/>
                    <a:gd name="connsiteY2" fmla="*/ 8884 h 26473"/>
                    <a:gd name="connsiteX3" fmla="*/ 17794 w 26431"/>
                    <a:gd name="connsiteY3" fmla="*/ 788 h 26473"/>
                    <a:gd name="connsiteX4" fmla="*/ 25641 w 26431"/>
                    <a:gd name="connsiteY4" fmla="*/ 17603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473">
                      <a:moveTo>
                        <a:pt x="25641" y="17603"/>
                      </a:moveTo>
                      <a:cubicBezTo>
                        <a:pt x="23150" y="24454"/>
                        <a:pt x="15552" y="28190"/>
                        <a:pt x="8701" y="25699"/>
                      </a:cubicBezTo>
                      <a:cubicBezTo>
                        <a:pt x="1850" y="23333"/>
                        <a:pt x="-1762" y="15859"/>
                        <a:pt x="854" y="8884"/>
                      </a:cubicBezTo>
                      <a:cubicBezTo>
                        <a:pt x="3470" y="1909"/>
                        <a:pt x="10943" y="-1704"/>
                        <a:pt x="17794" y="788"/>
                      </a:cubicBezTo>
                      <a:cubicBezTo>
                        <a:pt x="24520" y="3279"/>
                        <a:pt x="28132" y="10752"/>
                        <a:pt x="25641" y="176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3" name="Graphic 2987">
                <a:extLst>
                  <a:ext uri="{FF2B5EF4-FFF2-40B4-BE49-F238E27FC236}">
                    <a16:creationId xmlns:a16="http://schemas.microsoft.com/office/drawing/2014/main" id="{EAA4EFE5-641D-5E62-B6EE-0358B967B5E4}"/>
                  </a:ext>
                </a:extLst>
              </p:cNvPr>
              <p:cNvGrpSpPr/>
              <p:nvPr/>
            </p:nvGrpSpPr>
            <p:grpSpPr>
              <a:xfrm>
                <a:off x="2672703" y="1341189"/>
                <a:ext cx="68743" cy="141462"/>
                <a:chOff x="2672703" y="1341189"/>
                <a:chExt cx="68743" cy="141462"/>
              </a:xfrm>
              <a:grpFill/>
            </p:grpSpPr>
            <p:sp>
              <p:nvSpPr>
                <p:cNvPr id="5634" name="Freeform 8652">
                  <a:extLst>
                    <a:ext uri="{FF2B5EF4-FFF2-40B4-BE49-F238E27FC236}">
                      <a16:creationId xmlns:a16="http://schemas.microsoft.com/office/drawing/2014/main" id="{EF21D31F-0267-D521-1C99-A1D436920B75}"/>
                    </a:ext>
                  </a:extLst>
                </p:cNvPr>
                <p:cNvSpPr/>
                <p:nvPr/>
              </p:nvSpPr>
              <p:spPr>
                <a:xfrm>
                  <a:off x="2691940" y="1415174"/>
                  <a:ext cx="18683" cy="48826"/>
                </a:xfrm>
                <a:custGeom>
                  <a:avLst/>
                  <a:gdLst>
                    <a:gd name="connsiteX0" fmla="*/ 0 w 18683"/>
                    <a:gd name="connsiteY0" fmla="*/ 48827 h 48826"/>
                    <a:gd name="connsiteX1" fmla="*/ 8345 w 18683"/>
                    <a:gd name="connsiteY1" fmla="*/ 31887 h 48826"/>
                    <a:gd name="connsiteX2" fmla="*/ 10961 w 18683"/>
                    <a:gd name="connsiteY2" fmla="*/ 14698 h 48826"/>
                    <a:gd name="connsiteX3" fmla="*/ 18684 w 18683"/>
                    <a:gd name="connsiteY3" fmla="*/ 0 h 48826"/>
                  </a:gdLst>
                  <a:ahLst/>
                  <a:cxnLst>
                    <a:cxn ang="0">
                      <a:pos x="connsiteX0" y="connsiteY0"/>
                    </a:cxn>
                    <a:cxn ang="0">
                      <a:pos x="connsiteX1" y="connsiteY1"/>
                    </a:cxn>
                    <a:cxn ang="0">
                      <a:pos x="connsiteX2" y="connsiteY2"/>
                    </a:cxn>
                    <a:cxn ang="0">
                      <a:pos x="connsiteX3" y="connsiteY3"/>
                    </a:cxn>
                  </a:cxnLst>
                  <a:rect l="l" t="t" r="r" b="b"/>
                  <a:pathLst>
                    <a:path w="18683" h="48826">
                      <a:moveTo>
                        <a:pt x="0" y="48827"/>
                      </a:moveTo>
                      <a:cubicBezTo>
                        <a:pt x="5107" y="42101"/>
                        <a:pt x="7349" y="36122"/>
                        <a:pt x="8345" y="31887"/>
                      </a:cubicBezTo>
                      <a:cubicBezTo>
                        <a:pt x="9965" y="25036"/>
                        <a:pt x="8968" y="21548"/>
                        <a:pt x="10961" y="14698"/>
                      </a:cubicBezTo>
                      <a:cubicBezTo>
                        <a:pt x="12829" y="8096"/>
                        <a:pt x="16193" y="3114"/>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5" name="Freeform 8653">
                  <a:extLst>
                    <a:ext uri="{FF2B5EF4-FFF2-40B4-BE49-F238E27FC236}">
                      <a16:creationId xmlns:a16="http://schemas.microsoft.com/office/drawing/2014/main" id="{D572A5E1-1EEF-E7E8-BDF2-6B64386DAFBC}"/>
                    </a:ext>
                  </a:extLst>
                </p:cNvPr>
                <p:cNvSpPr/>
                <p:nvPr/>
              </p:nvSpPr>
              <p:spPr>
                <a:xfrm>
                  <a:off x="2683595" y="1417042"/>
                  <a:ext cx="17313" cy="49324"/>
                </a:xfrm>
                <a:custGeom>
                  <a:avLst/>
                  <a:gdLst>
                    <a:gd name="connsiteX0" fmla="*/ 17314 w 17313"/>
                    <a:gd name="connsiteY0" fmla="*/ 0 h 49324"/>
                    <a:gd name="connsiteX1" fmla="*/ 12705 w 17313"/>
                    <a:gd name="connsiteY1" fmla="*/ 18310 h 49324"/>
                    <a:gd name="connsiteX2" fmla="*/ 3612 w 17313"/>
                    <a:gd name="connsiteY2" fmla="*/ 33132 h 49324"/>
                    <a:gd name="connsiteX3" fmla="*/ 0 w 17313"/>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313" h="49324">
                      <a:moveTo>
                        <a:pt x="17314" y="0"/>
                      </a:moveTo>
                      <a:cubicBezTo>
                        <a:pt x="16815" y="8470"/>
                        <a:pt x="14698" y="14449"/>
                        <a:pt x="12705" y="18310"/>
                      </a:cubicBezTo>
                      <a:cubicBezTo>
                        <a:pt x="9591" y="24538"/>
                        <a:pt x="6477" y="26655"/>
                        <a:pt x="3612" y="33132"/>
                      </a:cubicBezTo>
                      <a:cubicBezTo>
                        <a:pt x="747" y="39360"/>
                        <a:pt x="125" y="45339"/>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6" name="Freeform 8654">
                  <a:extLst>
                    <a:ext uri="{FF2B5EF4-FFF2-40B4-BE49-F238E27FC236}">
                      <a16:creationId xmlns:a16="http://schemas.microsoft.com/office/drawing/2014/main" id="{E33469FD-25BB-635F-F3D6-BB25ACC82DF7}"/>
                    </a:ext>
                  </a:extLst>
                </p:cNvPr>
                <p:cNvSpPr/>
                <p:nvPr/>
              </p:nvSpPr>
              <p:spPr>
                <a:xfrm>
                  <a:off x="2672703" y="1456014"/>
                  <a:ext cx="26750" cy="26636"/>
                </a:xfrm>
                <a:custGeom>
                  <a:avLst/>
                  <a:gdLst>
                    <a:gd name="connsiteX0" fmla="*/ 803 w 26750"/>
                    <a:gd name="connsiteY0" fmla="*/ 8484 h 26636"/>
                    <a:gd name="connsiteX1" fmla="*/ 17867 w 26750"/>
                    <a:gd name="connsiteY1" fmla="*/ 886 h 26636"/>
                    <a:gd name="connsiteX2" fmla="*/ 25963 w 26750"/>
                    <a:gd name="connsiteY2" fmla="*/ 17826 h 26636"/>
                    <a:gd name="connsiteX3" fmla="*/ 8774 w 26750"/>
                    <a:gd name="connsiteY3" fmla="*/ 25798 h 26636"/>
                    <a:gd name="connsiteX4" fmla="*/ 803 w 26750"/>
                    <a:gd name="connsiteY4" fmla="*/ 8484 h 26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636">
                      <a:moveTo>
                        <a:pt x="803" y="8484"/>
                      </a:moveTo>
                      <a:cubicBezTo>
                        <a:pt x="3294" y="1634"/>
                        <a:pt x="11016" y="-1729"/>
                        <a:pt x="17867" y="886"/>
                      </a:cubicBezTo>
                      <a:cubicBezTo>
                        <a:pt x="24842" y="3377"/>
                        <a:pt x="28454" y="10851"/>
                        <a:pt x="25963" y="17826"/>
                      </a:cubicBezTo>
                      <a:cubicBezTo>
                        <a:pt x="23472" y="24677"/>
                        <a:pt x="15749" y="28414"/>
                        <a:pt x="8774" y="25798"/>
                      </a:cubicBezTo>
                      <a:cubicBezTo>
                        <a:pt x="1799" y="23058"/>
                        <a:pt x="-1689" y="15335"/>
                        <a:pt x="803"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7" name="Freeform 8655">
                  <a:extLst>
                    <a:ext uri="{FF2B5EF4-FFF2-40B4-BE49-F238E27FC236}">
                      <a16:creationId xmlns:a16="http://schemas.microsoft.com/office/drawing/2014/main" id="{C258E2EC-9EE2-2F84-FF8D-9BB3E72F51FF}"/>
                    </a:ext>
                  </a:extLst>
                </p:cNvPr>
                <p:cNvSpPr/>
                <p:nvPr/>
              </p:nvSpPr>
              <p:spPr>
                <a:xfrm>
                  <a:off x="2703648" y="1359870"/>
                  <a:ext cx="18808" cy="48702"/>
                </a:xfrm>
                <a:custGeom>
                  <a:avLst/>
                  <a:gdLst>
                    <a:gd name="connsiteX0" fmla="*/ 18808 w 18808"/>
                    <a:gd name="connsiteY0" fmla="*/ 0 h 48702"/>
                    <a:gd name="connsiteX1" fmla="*/ 10463 w 18808"/>
                    <a:gd name="connsiteY1" fmla="*/ 16815 h 48702"/>
                    <a:gd name="connsiteX2" fmla="*/ 7723 w 18808"/>
                    <a:gd name="connsiteY2" fmla="*/ 34129 h 48702"/>
                    <a:gd name="connsiteX3" fmla="*/ 0 w 18808"/>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0"/>
                      </a:moveTo>
                      <a:cubicBezTo>
                        <a:pt x="13701" y="6602"/>
                        <a:pt x="11584" y="12580"/>
                        <a:pt x="10463" y="16815"/>
                      </a:cubicBezTo>
                      <a:cubicBezTo>
                        <a:pt x="8719" y="23666"/>
                        <a:pt x="9715" y="27278"/>
                        <a:pt x="7723" y="34129"/>
                      </a:cubicBezTo>
                      <a:cubicBezTo>
                        <a:pt x="5854" y="40730"/>
                        <a:pt x="2491" y="45588"/>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8" name="Freeform 8656">
                  <a:extLst>
                    <a:ext uri="{FF2B5EF4-FFF2-40B4-BE49-F238E27FC236}">
                      <a16:creationId xmlns:a16="http://schemas.microsoft.com/office/drawing/2014/main" id="{AE9D60BF-A425-2351-FD22-68176A8530B5}"/>
                    </a:ext>
                  </a:extLst>
                </p:cNvPr>
                <p:cNvSpPr/>
                <p:nvPr/>
              </p:nvSpPr>
              <p:spPr>
                <a:xfrm>
                  <a:off x="2713364" y="1357504"/>
                  <a:ext cx="17313" cy="49200"/>
                </a:xfrm>
                <a:custGeom>
                  <a:avLst/>
                  <a:gdLst>
                    <a:gd name="connsiteX0" fmla="*/ 0 w 17313"/>
                    <a:gd name="connsiteY0" fmla="*/ 49200 h 49200"/>
                    <a:gd name="connsiteX1" fmla="*/ 4609 w 17313"/>
                    <a:gd name="connsiteY1" fmla="*/ 31015 h 49200"/>
                    <a:gd name="connsiteX2" fmla="*/ 13701 w 17313"/>
                    <a:gd name="connsiteY2" fmla="*/ 16068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374" y="40855"/>
                        <a:pt x="2616" y="34876"/>
                        <a:pt x="4609" y="31015"/>
                      </a:cubicBezTo>
                      <a:cubicBezTo>
                        <a:pt x="7723" y="24787"/>
                        <a:pt x="10837" y="22545"/>
                        <a:pt x="13701" y="16068"/>
                      </a:cubicBezTo>
                      <a:cubicBezTo>
                        <a:pt x="16566" y="9716"/>
                        <a:pt x="17189" y="3861"/>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9" name="Freeform 8657">
                  <a:extLst>
                    <a:ext uri="{FF2B5EF4-FFF2-40B4-BE49-F238E27FC236}">
                      <a16:creationId xmlns:a16="http://schemas.microsoft.com/office/drawing/2014/main" id="{B9DBDD22-B5B5-A3AD-D6D0-5AFB1DEA3238}"/>
                    </a:ext>
                  </a:extLst>
                </p:cNvPr>
                <p:cNvSpPr/>
                <p:nvPr/>
              </p:nvSpPr>
              <p:spPr>
                <a:xfrm>
                  <a:off x="2715174" y="1341189"/>
                  <a:ext cx="26271" cy="26555"/>
                </a:xfrm>
                <a:custGeom>
                  <a:avLst/>
                  <a:gdLst>
                    <a:gd name="connsiteX0" fmla="*/ 25468 w 26271"/>
                    <a:gd name="connsiteY0" fmla="*/ 17685 h 26555"/>
                    <a:gd name="connsiteX1" fmla="*/ 8528 w 26271"/>
                    <a:gd name="connsiteY1" fmla="*/ 25781 h 26555"/>
                    <a:gd name="connsiteX2" fmla="*/ 805 w 26271"/>
                    <a:gd name="connsiteY2" fmla="*/ 8592 h 26555"/>
                    <a:gd name="connsiteX3" fmla="*/ 17620 w 26271"/>
                    <a:gd name="connsiteY3" fmla="*/ 870 h 26555"/>
                    <a:gd name="connsiteX4" fmla="*/ 25468 w 26271"/>
                    <a:gd name="connsiteY4" fmla="*/ 17685 h 2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0" h="26555">
                      <a:moveTo>
                        <a:pt x="25468" y="17685"/>
                      </a:moveTo>
                      <a:cubicBezTo>
                        <a:pt x="22976" y="24536"/>
                        <a:pt x="15378" y="28273"/>
                        <a:pt x="8528" y="25781"/>
                      </a:cubicBezTo>
                      <a:cubicBezTo>
                        <a:pt x="1802" y="23166"/>
                        <a:pt x="-1686" y="15443"/>
                        <a:pt x="805" y="8592"/>
                      </a:cubicBezTo>
                      <a:cubicBezTo>
                        <a:pt x="3296" y="1742"/>
                        <a:pt x="10894" y="-1746"/>
                        <a:pt x="17620" y="870"/>
                      </a:cubicBezTo>
                      <a:cubicBezTo>
                        <a:pt x="24471" y="3361"/>
                        <a:pt x="27959" y="10710"/>
                        <a:pt x="25468" y="176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4" name="Graphic 2987">
                <a:extLst>
                  <a:ext uri="{FF2B5EF4-FFF2-40B4-BE49-F238E27FC236}">
                    <a16:creationId xmlns:a16="http://schemas.microsoft.com/office/drawing/2014/main" id="{50309A67-1D96-8198-4DA7-58C596556E33}"/>
                  </a:ext>
                </a:extLst>
              </p:cNvPr>
              <p:cNvGrpSpPr/>
              <p:nvPr/>
            </p:nvGrpSpPr>
            <p:grpSpPr>
              <a:xfrm>
                <a:off x="2644736" y="1330601"/>
                <a:ext cx="69199" cy="141260"/>
                <a:chOff x="2644736" y="1330601"/>
                <a:chExt cx="69199" cy="141260"/>
              </a:xfrm>
              <a:grpFill/>
            </p:grpSpPr>
            <p:sp>
              <p:nvSpPr>
                <p:cNvPr id="5628" name="Freeform 8659">
                  <a:extLst>
                    <a:ext uri="{FF2B5EF4-FFF2-40B4-BE49-F238E27FC236}">
                      <a16:creationId xmlns:a16="http://schemas.microsoft.com/office/drawing/2014/main" id="{06D9E911-7265-BD86-9650-AC6AB3BF23AD}"/>
                    </a:ext>
                  </a:extLst>
                </p:cNvPr>
                <p:cNvSpPr/>
                <p:nvPr/>
              </p:nvSpPr>
              <p:spPr>
                <a:xfrm>
                  <a:off x="2663914" y="1404711"/>
                  <a:ext cx="18808" cy="48577"/>
                </a:xfrm>
                <a:custGeom>
                  <a:avLst/>
                  <a:gdLst>
                    <a:gd name="connsiteX0" fmla="*/ 0 w 18808"/>
                    <a:gd name="connsiteY0" fmla="*/ 48577 h 48577"/>
                    <a:gd name="connsiteX1" fmla="*/ 8345 w 18808"/>
                    <a:gd name="connsiteY1" fmla="*/ 31762 h 48577"/>
                    <a:gd name="connsiteX2" fmla="*/ 11086 w 18808"/>
                    <a:gd name="connsiteY2" fmla="*/ 1457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5107" y="41976"/>
                        <a:pt x="7349" y="35997"/>
                        <a:pt x="8345" y="31762"/>
                      </a:cubicBezTo>
                      <a:cubicBezTo>
                        <a:pt x="10089" y="24912"/>
                        <a:pt x="9093" y="21299"/>
                        <a:pt x="11086" y="14573"/>
                      </a:cubicBezTo>
                      <a:cubicBezTo>
                        <a:pt x="13079" y="7972"/>
                        <a:pt x="16317" y="3114"/>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9" name="Freeform 8660">
                  <a:extLst>
                    <a:ext uri="{FF2B5EF4-FFF2-40B4-BE49-F238E27FC236}">
                      <a16:creationId xmlns:a16="http://schemas.microsoft.com/office/drawing/2014/main" id="{0AED4A86-7F91-45CB-441C-435CCAAF0112}"/>
                    </a:ext>
                  </a:extLst>
                </p:cNvPr>
                <p:cNvSpPr/>
                <p:nvPr/>
              </p:nvSpPr>
              <p:spPr>
                <a:xfrm>
                  <a:off x="2655445" y="1406330"/>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947" y="14324"/>
                        <a:pt x="12954" y="18185"/>
                      </a:cubicBezTo>
                      <a:cubicBezTo>
                        <a:pt x="9840" y="24413"/>
                        <a:pt x="6726" y="26531"/>
                        <a:pt x="3737" y="32883"/>
                      </a:cubicBezTo>
                      <a:cubicBezTo>
                        <a:pt x="872" y="39111"/>
                        <a:pt x="124" y="45090"/>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0" name="Freeform 8661">
                  <a:extLst>
                    <a:ext uri="{FF2B5EF4-FFF2-40B4-BE49-F238E27FC236}">
                      <a16:creationId xmlns:a16="http://schemas.microsoft.com/office/drawing/2014/main" id="{EB4920FA-6E45-978E-069A-84E6FC2A9627}"/>
                    </a:ext>
                  </a:extLst>
                </p:cNvPr>
                <p:cNvSpPr/>
                <p:nvPr/>
              </p:nvSpPr>
              <p:spPr>
                <a:xfrm>
                  <a:off x="2644736" y="1445178"/>
                  <a:ext cx="26758" cy="26684"/>
                </a:xfrm>
                <a:custGeom>
                  <a:avLst/>
                  <a:gdLst>
                    <a:gd name="connsiteX0" fmla="*/ 868 w 26758"/>
                    <a:gd name="connsiteY0" fmla="*/ 8484 h 26684"/>
                    <a:gd name="connsiteX1" fmla="*/ 18057 w 26758"/>
                    <a:gd name="connsiteY1" fmla="*/ 886 h 26684"/>
                    <a:gd name="connsiteX2" fmla="*/ 25905 w 26758"/>
                    <a:gd name="connsiteY2" fmla="*/ 18200 h 26684"/>
                    <a:gd name="connsiteX3" fmla="*/ 8716 w 26758"/>
                    <a:gd name="connsiteY3" fmla="*/ 25798 h 26684"/>
                    <a:gd name="connsiteX4" fmla="*/ 868 w 26758"/>
                    <a:gd name="connsiteY4" fmla="*/ 8484 h 2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8" h="26684">
                      <a:moveTo>
                        <a:pt x="868" y="8484"/>
                      </a:moveTo>
                      <a:cubicBezTo>
                        <a:pt x="3484" y="1634"/>
                        <a:pt x="11082" y="-1729"/>
                        <a:pt x="18057" y="886"/>
                      </a:cubicBezTo>
                      <a:cubicBezTo>
                        <a:pt x="24908" y="3502"/>
                        <a:pt x="28520" y="11349"/>
                        <a:pt x="25905" y="18200"/>
                      </a:cubicBezTo>
                      <a:cubicBezTo>
                        <a:pt x="23414" y="25051"/>
                        <a:pt x="15691" y="28414"/>
                        <a:pt x="8716" y="25798"/>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1" name="Freeform 8662">
                  <a:extLst>
                    <a:ext uri="{FF2B5EF4-FFF2-40B4-BE49-F238E27FC236}">
                      <a16:creationId xmlns:a16="http://schemas.microsoft.com/office/drawing/2014/main" id="{D4947D72-EFC3-4C0C-90A2-2E5DB11AD887}"/>
                    </a:ext>
                  </a:extLst>
                </p:cNvPr>
                <p:cNvSpPr/>
                <p:nvPr/>
              </p:nvSpPr>
              <p:spPr>
                <a:xfrm>
                  <a:off x="2676121" y="1349158"/>
                  <a:ext cx="18932" cy="48577"/>
                </a:xfrm>
                <a:custGeom>
                  <a:avLst/>
                  <a:gdLst>
                    <a:gd name="connsiteX0" fmla="*/ 18933 w 18932"/>
                    <a:gd name="connsiteY0" fmla="*/ 0 h 48577"/>
                    <a:gd name="connsiteX1" fmla="*/ 10587 w 18932"/>
                    <a:gd name="connsiteY1" fmla="*/ 16815 h 48577"/>
                    <a:gd name="connsiteX2" fmla="*/ 7723 w 18932"/>
                    <a:gd name="connsiteY2" fmla="*/ 34004 h 48577"/>
                    <a:gd name="connsiteX3" fmla="*/ 0 w 18932"/>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2" h="48577">
                      <a:moveTo>
                        <a:pt x="18933" y="0"/>
                      </a:moveTo>
                      <a:cubicBezTo>
                        <a:pt x="13826" y="6602"/>
                        <a:pt x="11584" y="12580"/>
                        <a:pt x="10587" y="16815"/>
                      </a:cubicBezTo>
                      <a:cubicBezTo>
                        <a:pt x="8843" y="23666"/>
                        <a:pt x="9840" y="27278"/>
                        <a:pt x="7723" y="34004"/>
                      </a:cubicBezTo>
                      <a:cubicBezTo>
                        <a:pt x="5730" y="40606"/>
                        <a:pt x="2491" y="45464"/>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2" name="Freeform 8663">
                  <a:extLst>
                    <a:ext uri="{FF2B5EF4-FFF2-40B4-BE49-F238E27FC236}">
                      <a16:creationId xmlns:a16="http://schemas.microsoft.com/office/drawing/2014/main" id="{D6FB88CC-D3CD-7FA0-8CF2-9AC885EA8B87}"/>
                    </a:ext>
                  </a:extLst>
                </p:cNvPr>
                <p:cNvSpPr/>
                <p:nvPr/>
              </p:nvSpPr>
              <p:spPr>
                <a:xfrm>
                  <a:off x="2685712" y="1347041"/>
                  <a:ext cx="17562" cy="49075"/>
                </a:xfrm>
                <a:custGeom>
                  <a:avLst/>
                  <a:gdLst>
                    <a:gd name="connsiteX0" fmla="*/ 0 w 17562"/>
                    <a:gd name="connsiteY0" fmla="*/ 49076 h 49075"/>
                    <a:gd name="connsiteX1" fmla="*/ 4733 w 17562"/>
                    <a:gd name="connsiteY1" fmla="*/ 30890 h 49075"/>
                    <a:gd name="connsiteX2" fmla="*/ 13826 w 17562"/>
                    <a:gd name="connsiteY2" fmla="*/ 16068 h 49075"/>
                    <a:gd name="connsiteX3" fmla="*/ 17563 w 17562"/>
                    <a:gd name="connsiteY3" fmla="*/ 0 h 49075"/>
                  </a:gdLst>
                  <a:ahLst/>
                  <a:cxnLst>
                    <a:cxn ang="0">
                      <a:pos x="connsiteX0" y="connsiteY0"/>
                    </a:cxn>
                    <a:cxn ang="0">
                      <a:pos x="connsiteX1" y="connsiteY1"/>
                    </a:cxn>
                    <a:cxn ang="0">
                      <a:pos x="connsiteX2" y="connsiteY2"/>
                    </a:cxn>
                    <a:cxn ang="0">
                      <a:pos x="connsiteX3" y="connsiteY3"/>
                    </a:cxn>
                  </a:cxnLst>
                  <a:rect l="l" t="t" r="r" b="b"/>
                  <a:pathLst>
                    <a:path w="17562" h="49075">
                      <a:moveTo>
                        <a:pt x="0" y="49076"/>
                      </a:moveTo>
                      <a:cubicBezTo>
                        <a:pt x="498" y="40606"/>
                        <a:pt x="2740" y="34752"/>
                        <a:pt x="4733" y="30890"/>
                      </a:cubicBezTo>
                      <a:cubicBezTo>
                        <a:pt x="7847" y="24662"/>
                        <a:pt x="10961" y="22545"/>
                        <a:pt x="13826" y="16068"/>
                      </a:cubicBezTo>
                      <a:cubicBezTo>
                        <a:pt x="16691" y="9840"/>
                        <a:pt x="17438" y="3861"/>
                        <a:pt x="175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3" name="Freeform 8664">
                  <a:extLst>
                    <a:ext uri="{FF2B5EF4-FFF2-40B4-BE49-F238E27FC236}">
                      <a16:creationId xmlns:a16="http://schemas.microsoft.com/office/drawing/2014/main" id="{79289D5B-7E67-8F98-C55A-AB21E55DF992}"/>
                    </a:ext>
                  </a:extLst>
                </p:cNvPr>
                <p:cNvSpPr/>
                <p:nvPr/>
              </p:nvSpPr>
              <p:spPr>
                <a:xfrm>
                  <a:off x="2687830" y="1330601"/>
                  <a:ext cx="26105" cy="26651"/>
                </a:xfrm>
                <a:custGeom>
                  <a:avLst/>
                  <a:gdLst>
                    <a:gd name="connsiteX0" fmla="*/ 25285 w 26105"/>
                    <a:gd name="connsiteY0" fmla="*/ 18059 h 26651"/>
                    <a:gd name="connsiteX1" fmla="*/ 8469 w 26105"/>
                    <a:gd name="connsiteY1" fmla="*/ 25781 h 26651"/>
                    <a:gd name="connsiteX2" fmla="*/ 871 w 26105"/>
                    <a:gd name="connsiteY2" fmla="*/ 8592 h 26651"/>
                    <a:gd name="connsiteX3" fmla="*/ 17687 w 26105"/>
                    <a:gd name="connsiteY3" fmla="*/ 870 h 26651"/>
                    <a:gd name="connsiteX4" fmla="*/ 25285 w 26105"/>
                    <a:gd name="connsiteY4" fmla="*/ 18059 h 2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5" h="26651">
                      <a:moveTo>
                        <a:pt x="25285" y="18059"/>
                      </a:moveTo>
                      <a:cubicBezTo>
                        <a:pt x="22793" y="24910"/>
                        <a:pt x="15195" y="28397"/>
                        <a:pt x="8469" y="25781"/>
                      </a:cubicBezTo>
                      <a:cubicBezTo>
                        <a:pt x="1743" y="23166"/>
                        <a:pt x="-1744" y="15443"/>
                        <a:pt x="871" y="8592"/>
                      </a:cubicBezTo>
                      <a:cubicBezTo>
                        <a:pt x="3487" y="1742"/>
                        <a:pt x="10961" y="-1746"/>
                        <a:pt x="17687" y="870"/>
                      </a:cubicBezTo>
                      <a:cubicBezTo>
                        <a:pt x="24413" y="3486"/>
                        <a:pt x="27776" y="11084"/>
                        <a:pt x="25285" y="180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5" name="Graphic 2987">
                <a:extLst>
                  <a:ext uri="{FF2B5EF4-FFF2-40B4-BE49-F238E27FC236}">
                    <a16:creationId xmlns:a16="http://schemas.microsoft.com/office/drawing/2014/main" id="{5176E483-A1F0-E77C-7E18-563A7F787129}"/>
                  </a:ext>
                </a:extLst>
              </p:cNvPr>
              <p:cNvGrpSpPr/>
              <p:nvPr/>
            </p:nvGrpSpPr>
            <p:grpSpPr>
              <a:xfrm>
                <a:off x="2616711" y="1319873"/>
                <a:ext cx="69946" cy="141028"/>
                <a:chOff x="2616711" y="1319873"/>
                <a:chExt cx="69946" cy="141028"/>
              </a:xfrm>
              <a:grpFill/>
            </p:grpSpPr>
            <p:sp>
              <p:nvSpPr>
                <p:cNvPr id="5622" name="Freeform 8666">
                  <a:extLst>
                    <a:ext uri="{FF2B5EF4-FFF2-40B4-BE49-F238E27FC236}">
                      <a16:creationId xmlns:a16="http://schemas.microsoft.com/office/drawing/2014/main" id="{E54151EB-C558-4A30-37D6-F9E3A4D0E72C}"/>
                    </a:ext>
                  </a:extLst>
                </p:cNvPr>
                <p:cNvSpPr/>
                <p:nvPr/>
              </p:nvSpPr>
              <p:spPr>
                <a:xfrm>
                  <a:off x="2636014" y="1393874"/>
                  <a:ext cx="19181" cy="48577"/>
                </a:xfrm>
                <a:custGeom>
                  <a:avLst/>
                  <a:gdLst>
                    <a:gd name="connsiteX0" fmla="*/ 0 w 19181"/>
                    <a:gd name="connsiteY0" fmla="*/ 48578 h 48577"/>
                    <a:gd name="connsiteX1" fmla="*/ 8470 w 19181"/>
                    <a:gd name="connsiteY1" fmla="*/ 31762 h 48577"/>
                    <a:gd name="connsiteX2" fmla="*/ 11335 w 19181"/>
                    <a:gd name="connsiteY2" fmla="*/ 14573 h 48577"/>
                    <a:gd name="connsiteX3" fmla="*/ 19182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0" y="48578"/>
                      </a:moveTo>
                      <a:cubicBezTo>
                        <a:pt x="5231" y="41976"/>
                        <a:pt x="7349" y="35997"/>
                        <a:pt x="8470" y="31762"/>
                      </a:cubicBezTo>
                      <a:cubicBezTo>
                        <a:pt x="10214" y="24912"/>
                        <a:pt x="9217" y="21299"/>
                        <a:pt x="11335" y="14573"/>
                      </a:cubicBezTo>
                      <a:cubicBezTo>
                        <a:pt x="13328" y="7972"/>
                        <a:pt x="16691" y="3114"/>
                        <a:pt x="191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3" name="Freeform 8667">
                  <a:extLst>
                    <a:ext uri="{FF2B5EF4-FFF2-40B4-BE49-F238E27FC236}">
                      <a16:creationId xmlns:a16="http://schemas.microsoft.com/office/drawing/2014/main" id="{57049D17-F825-CDA8-F7A2-2C9B25D345C9}"/>
                    </a:ext>
                  </a:extLst>
                </p:cNvPr>
                <p:cNvSpPr/>
                <p:nvPr/>
              </p:nvSpPr>
              <p:spPr>
                <a:xfrm>
                  <a:off x="2627793" y="1395494"/>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822" y="14324"/>
                        <a:pt x="12954" y="18185"/>
                      </a:cubicBezTo>
                      <a:cubicBezTo>
                        <a:pt x="9715" y="24413"/>
                        <a:pt x="6726" y="26531"/>
                        <a:pt x="3737"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4" name="Freeform 8668">
                  <a:extLst>
                    <a:ext uri="{FF2B5EF4-FFF2-40B4-BE49-F238E27FC236}">
                      <a16:creationId xmlns:a16="http://schemas.microsoft.com/office/drawing/2014/main" id="{A6464C60-BD8C-E794-8934-7358F4A5ABF7}"/>
                    </a:ext>
                  </a:extLst>
                </p:cNvPr>
                <p:cNvSpPr/>
                <p:nvPr/>
              </p:nvSpPr>
              <p:spPr>
                <a:xfrm>
                  <a:off x="2616711" y="1434341"/>
                  <a:ext cx="26708" cy="26559"/>
                </a:xfrm>
                <a:custGeom>
                  <a:avLst/>
                  <a:gdLst>
                    <a:gd name="connsiteX0" fmla="*/ 868 w 26708"/>
                    <a:gd name="connsiteY0" fmla="*/ 8484 h 26559"/>
                    <a:gd name="connsiteX1" fmla="*/ 18057 w 26708"/>
                    <a:gd name="connsiteY1" fmla="*/ 886 h 26559"/>
                    <a:gd name="connsiteX2" fmla="*/ 25905 w 26708"/>
                    <a:gd name="connsiteY2" fmla="*/ 18075 h 26559"/>
                    <a:gd name="connsiteX3" fmla="*/ 8716 w 26708"/>
                    <a:gd name="connsiteY3" fmla="*/ 25673 h 26559"/>
                    <a:gd name="connsiteX4" fmla="*/ 868 w 26708"/>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559">
                      <a:moveTo>
                        <a:pt x="868" y="8484"/>
                      </a:moveTo>
                      <a:cubicBezTo>
                        <a:pt x="3484" y="1634"/>
                        <a:pt x="11207" y="-1729"/>
                        <a:pt x="18057" y="886"/>
                      </a:cubicBezTo>
                      <a:cubicBezTo>
                        <a:pt x="24908" y="3502"/>
                        <a:pt x="28396" y="11225"/>
                        <a:pt x="25905" y="18075"/>
                      </a:cubicBezTo>
                      <a:cubicBezTo>
                        <a:pt x="23414" y="24926"/>
                        <a:pt x="15566" y="28289"/>
                        <a:pt x="8716" y="25673"/>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5" name="Freeform 8669">
                  <a:extLst>
                    <a:ext uri="{FF2B5EF4-FFF2-40B4-BE49-F238E27FC236}">
                      <a16:creationId xmlns:a16="http://schemas.microsoft.com/office/drawing/2014/main" id="{3A219D3F-C75B-E946-9138-3F085D032CA0}"/>
                    </a:ext>
                  </a:extLst>
                </p:cNvPr>
                <p:cNvSpPr/>
                <p:nvPr/>
              </p:nvSpPr>
              <p:spPr>
                <a:xfrm>
                  <a:off x="2648469" y="1338571"/>
                  <a:ext cx="19181" cy="48577"/>
                </a:xfrm>
                <a:custGeom>
                  <a:avLst/>
                  <a:gdLst>
                    <a:gd name="connsiteX0" fmla="*/ 19182 w 19181"/>
                    <a:gd name="connsiteY0" fmla="*/ 0 h 48577"/>
                    <a:gd name="connsiteX1" fmla="*/ 10712 w 19181"/>
                    <a:gd name="connsiteY1" fmla="*/ 16815 h 48577"/>
                    <a:gd name="connsiteX2" fmla="*/ 7847 w 19181"/>
                    <a:gd name="connsiteY2" fmla="*/ 34004 h 48577"/>
                    <a:gd name="connsiteX3" fmla="*/ 0 w 19181"/>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0"/>
                      </a:moveTo>
                      <a:cubicBezTo>
                        <a:pt x="14075" y="6602"/>
                        <a:pt x="11833" y="12580"/>
                        <a:pt x="10712" y="16815"/>
                      </a:cubicBezTo>
                      <a:cubicBezTo>
                        <a:pt x="8968" y="23541"/>
                        <a:pt x="9840" y="27154"/>
                        <a:pt x="7847" y="34004"/>
                      </a:cubicBezTo>
                      <a:cubicBezTo>
                        <a:pt x="5854" y="40606"/>
                        <a:pt x="2491" y="45464"/>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6" name="Freeform 8670">
                  <a:extLst>
                    <a:ext uri="{FF2B5EF4-FFF2-40B4-BE49-F238E27FC236}">
                      <a16:creationId xmlns:a16="http://schemas.microsoft.com/office/drawing/2014/main" id="{8C7EB813-5ABE-4397-4818-A86B2B8D5AEA}"/>
                    </a:ext>
                  </a:extLst>
                </p:cNvPr>
                <p:cNvSpPr/>
                <p:nvPr/>
              </p:nvSpPr>
              <p:spPr>
                <a:xfrm>
                  <a:off x="2658185" y="1336453"/>
                  <a:ext cx="17687" cy="48951"/>
                </a:xfrm>
                <a:custGeom>
                  <a:avLst/>
                  <a:gdLst>
                    <a:gd name="connsiteX0" fmla="*/ 0 w 17687"/>
                    <a:gd name="connsiteY0" fmla="*/ 48951 h 48951"/>
                    <a:gd name="connsiteX1" fmla="*/ 4733 w 17687"/>
                    <a:gd name="connsiteY1" fmla="*/ 30766 h 48951"/>
                    <a:gd name="connsiteX2" fmla="*/ 13950 w 17687"/>
                    <a:gd name="connsiteY2" fmla="*/ 16068 h 48951"/>
                    <a:gd name="connsiteX3" fmla="*/ 17687 w 17687"/>
                    <a:gd name="connsiteY3" fmla="*/ 0 h 48951"/>
                  </a:gdLst>
                  <a:ahLst/>
                  <a:cxnLst>
                    <a:cxn ang="0">
                      <a:pos x="connsiteX0" y="connsiteY0"/>
                    </a:cxn>
                    <a:cxn ang="0">
                      <a:pos x="connsiteX1" y="connsiteY1"/>
                    </a:cxn>
                    <a:cxn ang="0">
                      <a:pos x="connsiteX2" y="connsiteY2"/>
                    </a:cxn>
                    <a:cxn ang="0">
                      <a:pos x="connsiteX3" y="connsiteY3"/>
                    </a:cxn>
                  </a:cxnLst>
                  <a:rect l="l" t="t" r="r" b="b"/>
                  <a:pathLst>
                    <a:path w="17687" h="48951">
                      <a:moveTo>
                        <a:pt x="0" y="48951"/>
                      </a:moveTo>
                      <a:cubicBezTo>
                        <a:pt x="498" y="40481"/>
                        <a:pt x="2865" y="34627"/>
                        <a:pt x="4733" y="30766"/>
                      </a:cubicBezTo>
                      <a:cubicBezTo>
                        <a:pt x="7972" y="24538"/>
                        <a:pt x="10961" y="22420"/>
                        <a:pt x="13950" y="16068"/>
                      </a:cubicBezTo>
                      <a:cubicBezTo>
                        <a:pt x="16815" y="9840"/>
                        <a:pt x="17563"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7" name="Freeform 8671">
                  <a:extLst>
                    <a:ext uri="{FF2B5EF4-FFF2-40B4-BE49-F238E27FC236}">
                      <a16:creationId xmlns:a16="http://schemas.microsoft.com/office/drawing/2014/main" id="{B1DD6F57-C7A9-7082-1B6E-5B1E6210DAE1}"/>
                    </a:ext>
                  </a:extLst>
                </p:cNvPr>
                <p:cNvSpPr/>
                <p:nvPr/>
              </p:nvSpPr>
              <p:spPr>
                <a:xfrm>
                  <a:off x="2660428" y="1319873"/>
                  <a:ext cx="26230" cy="26559"/>
                </a:xfrm>
                <a:custGeom>
                  <a:avLst/>
                  <a:gdLst>
                    <a:gd name="connsiteX0" fmla="*/ 25409 w 26230"/>
                    <a:gd name="connsiteY0" fmla="*/ 18075 h 26559"/>
                    <a:gd name="connsiteX1" fmla="*/ 8469 w 26230"/>
                    <a:gd name="connsiteY1" fmla="*/ 25673 h 26559"/>
                    <a:gd name="connsiteX2" fmla="*/ 871 w 26230"/>
                    <a:gd name="connsiteY2" fmla="*/ 8484 h 26559"/>
                    <a:gd name="connsiteX3" fmla="*/ 17811 w 26230"/>
                    <a:gd name="connsiteY3" fmla="*/ 886 h 26559"/>
                    <a:gd name="connsiteX4" fmla="*/ 25409 w 26230"/>
                    <a:gd name="connsiteY4" fmla="*/ 18075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0" h="26559">
                      <a:moveTo>
                        <a:pt x="25409" y="18075"/>
                      </a:moveTo>
                      <a:cubicBezTo>
                        <a:pt x="22793" y="24926"/>
                        <a:pt x="15195" y="28289"/>
                        <a:pt x="8469" y="25673"/>
                      </a:cubicBezTo>
                      <a:cubicBezTo>
                        <a:pt x="1743" y="23058"/>
                        <a:pt x="-1744" y="15335"/>
                        <a:pt x="871" y="8484"/>
                      </a:cubicBezTo>
                      <a:cubicBezTo>
                        <a:pt x="3487" y="1634"/>
                        <a:pt x="11085" y="-1729"/>
                        <a:pt x="17811" y="886"/>
                      </a:cubicBezTo>
                      <a:cubicBezTo>
                        <a:pt x="24537" y="3627"/>
                        <a:pt x="27900" y="11225"/>
                        <a:pt x="25409" y="180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6" name="Graphic 2987">
                <a:extLst>
                  <a:ext uri="{FF2B5EF4-FFF2-40B4-BE49-F238E27FC236}">
                    <a16:creationId xmlns:a16="http://schemas.microsoft.com/office/drawing/2014/main" id="{8CCD1668-EFE3-7452-9BF5-FB262FA15B7E}"/>
                  </a:ext>
                </a:extLst>
              </p:cNvPr>
              <p:cNvGrpSpPr/>
              <p:nvPr/>
            </p:nvGrpSpPr>
            <p:grpSpPr>
              <a:xfrm>
                <a:off x="2588793" y="1309410"/>
                <a:ext cx="70528" cy="140722"/>
                <a:chOff x="2588793" y="1309410"/>
                <a:chExt cx="70528" cy="140722"/>
              </a:xfrm>
              <a:grpFill/>
            </p:grpSpPr>
            <p:sp>
              <p:nvSpPr>
                <p:cNvPr id="5616" name="Freeform 8673">
                  <a:extLst>
                    <a:ext uri="{FF2B5EF4-FFF2-40B4-BE49-F238E27FC236}">
                      <a16:creationId xmlns:a16="http://schemas.microsoft.com/office/drawing/2014/main" id="{9CAE83C2-1593-B6FF-0B24-F1044029AAE4}"/>
                    </a:ext>
                  </a:extLst>
                </p:cNvPr>
                <p:cNvSpPr/>
                <p:nvPr/>
              </p:nvSpPr>
              <p:spPr>
                <a:xfrm>
                  <a:off x="2608113" y="1383287"/>
                  <a:ext cx="19430" cy="48328"/>
                </a:xfrm>
                <a:custGeom>
                  <a:avLst/>
                  <a:gdLst>
                    <a:gd name="connsiteX0" fmla="*/ 0 w 19430"/>
                    <a:gd name="connsiteY0" fmla="*/ 48328 h 48328"/>
                    <a:gd name="connsiteX1" fmla="*/ 8595 w 19430"/>
                    <a:gd name="connsiteY1" fmla="*/ 31638 h 48328"/>
                    <a:gd name="connsiteX2" fmla="*/ 11584 w 19430"/>
                    <a:gd name="connsiteY2" fmla="*/ 14449 h 48328"/>
                    <a:gd name="connsiteX3" fmla="*/ 19431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0" y="48328"/>
                      </a:moveTo>
                      <a:cubicBezTo>
                        <a:pt x="5231" y="41727"/>
                        <a:pt x="7474" y="35748"/>
                        <a:pt x="8595" y="31638"/>
                      </a:cubicBezTo>
                      <a:cubicBezTo>
                        <a:pt x="10338" y="24912"/>
                        <a:pt x="9466" y="21299"/>
                        <a:pt x="11584" y="14449"/>
                      </a:cubicBezTo>
                      <a:cubicBezTo>
                        <a:pt x="13577" y="7847"/>
                        <a:pt x="16940" y="2989"/>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7" name="Freeform 8674">
                  <a:extLst>
                    <a:ext uri="{FF2B5EF4-FFF2-40B4-BE49-F238E27FC236}">
                      <a16:creationId xmlns:a16="http://schemas.microsoft.com/office/drawing/2014/main" id="{EB85C536-E208-E670-D8BF-05F1FA8AD43A}"/>
                    </a:ext>
                  </a:extLst>
                </p:cNvPr>
                <p:cNvSpPr/>
                <p:nvPr/>
              </p:nvSpPr>
              <p:spPr>
                <a:xfrm>
                  <a:off x="2599767" y="1384782"/>
                  <a:ext cx="18060" cy="48951"/>
                </a:xfrm>
                <a:custGeom>
                  <a:avLst/>
                  <a:gdLst>
                    <a:gd name="connsiteX0" fmla="*/ 18061 w 18060"/>
                    <a:gd name="connsiteY0" fmla="*/ 0 h 48951"/>
                    <a:gd name="connsiteX1" fmla="*/ 13203 w 18060"/>
                    <a:gd name="connsiteY1" fmla="*/ 18185 h 48951"/>
                    <a:gd name="connsiteX2" fmla="*/ 3861 w 18060"/>
                    <a:gd name="connsiteY2" fmla="*/ 32883 h 48951"/>
                    <a:gd name="connsiteX3" fmla="*/ 0 w 1806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0" h="48951">
                      <a:moveTo>
                        <a:pt x="18061" y="0"/>
                      </a:moveTo>
                      <a:cubicBezTo>
                        <a:pt x="17438" y="8345"/>
                        <a:pt x="15196" y="14324"/>
                        <a:pt x="13203" y="18185"/>
                      </a:cubicBezTo>
                      <a:cubicBezTo>
                        <a:pt x="9965" y="24413"/>
                        <a:pt x="6851" y="26406"/>
                        <a:pt x="3861"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8" name="Freeform 8675">
                  <a:extLst>
                    <a:ext uri="{FF2B5EF4-FFF2-40B4-BE49-F238E27FC236}">
                      <a16:creationId xmlns:a16="http://schemas.microsoft.com/office/drawing/2014/main" id="{43B282CC-D10C-E041-5AB8-8CF4786DE8E4}"/>
                    </a:ext>
                  </a:extLst>
                </p:cNvPr>
                <p:cNvSpPr/>
                <p:nvPr/>
              </p:nvSpPr>
              <p:spPr>
                <a:xfrm>
                  <a:off x="2588793" y="1423561"/>
                  <a:ext cx="26790" cy="26571"/>
                </a:xfrm>
                <a:custGeom>
                  <a:avLst/>
                  <a:gdLst>
                    <a:gd name="connsiteX0" fmla="*/ 885 w 26790"/>
                    <a:gd name="connsiteY0" fmla="*/ 8428 h 26571"/>
                    <a:gd name="connsiteX1" fmla="*/ 18198 w 26790"/>
                    <a:gd name="connsiteY1" fmla="*/ 955 h 26571"/>
                    <a:gd name="connsiteX2" fmla="*/ 25921 w 26790"/>
                    <a:gd name="connsiteY2" fmla="*/ 18144 h 26571"/>
                    <a:gd name="connsiteX3" fmla="*/ 8607 w 26790"/>
                    <a:gd name="connsiteY3" fmla="*/ 25617 h 26571"/>
                    <a:gd name="connsiteX4" fmla="*/ 885 w 26790"/>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570">
                      <a:moveTo>
                        <a:pt x="885" y="8428"/>
                      </a:moveTo>
                      <a:cubicBezTo>
                        <a:pt x="3500" y="1577"/>
                        <a:pt x="11223" y="-1786"/>
                        <a:pt x="18198" y="955"/>
                      </a:cubicBezTo>
                      <a:cubicBezTo>
                        <a:pt x="25049" y="3570"/>
                        <a:pt x="28537" y="11293"/>
                        <a:pt x="25921" y="18144"/>
                      </a:cubicBezTo>
                      <a:cubicBezTo>
                        <a:pt x="23305" y="24994"/>
                        <a:pt x="15583" y="28357"/>
                        <a:pt x="8607" y="25617"/>
                      </a:cubicBezTo>
                      <a:cubicBezTo>
                        <a:pt x="1632" y="23001"/>
                        <a:pt x="-1731" y="15279"/>
                        <a:pt x="885"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9" name="Freeform 8676">
                  <a:extLst>
                    <a:ext uri="{FF2B5EF4-FFF2-40B4-BE49-F238E27FC236}">
                      <a16:creationId xmlns:a16="http://schemas.microsoft.com/office/drawing/2014/main" id="{59BC0425-0D98-B871-FF34-3B20D78A413A}"/>
                    </a:ext>
                  </a:extLst>
                </p:cNvPr>
                <p:cNvSpPr/>
                <p:nvPr/>
              </p:nvSpPr>
              <p:spPr>
                <a:xfrm>
                  <a:off x="2620818" y="1327983"/>
                  <a:ext cx="19430" cy="48328"/>
                </a:xfrm>
                <a:custGeom>
                  <a:avLst/>
                  <a:gdLst>
                    <a:gd name="connsiteX0" fmla="*/ 19431 w 19430"/>
                    <a:gd name="connsiteY0" fmla="*/ 0 h 48328"/>
                    <a:gd name="connsiteX1" fmla="*/ 10836 w 19430"/>
                    <a:gd name="connsiteY1" fmla="*/ 16691 h 48328"/>
                    <a:gd name="connsiteX2" fmla="*/ 7847 w 19430"/>
                    <a:gd name="connsiteY2" fmla="*/ 33880 h 48328"/>
                    <a:gd name="connsiteX3" fmla="*/ 0 w 1943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0"/>
                      </a:moveTo>
                      <a:cubicBezTo>
                        <a:pt x="14200" y="6602"/>
                        <a:pt x="11957" y="12580"/>
                        <a:pt x="10836" y="16691"/>
                      </a:cubicBezTo>
                      <a:cubicBezTo>
                        <a:pt x="9093" y="23417"/>
                        <a:pt x="9965" y="27029"/>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0" name="Freeform 8677">
                  <a:extLst>
                    <a:ext uri="{FF2B5EF4-FFF2-40B4-BE49-F238E27FC236}">
                      <a16:creationId xmlns:a16="http://schemas.microsoft.com/office/drawing/2014/main" id="{ADBDDD4C-864C-ACF0-2894-01AB256C2439}"/>
                    </a:ext>
                  </a:extLst>
                </p:cNvPr>
                <p:cNvSpPr/>
                <p:nvPr/>
              </p:nvSpPr>
              <p:spPr>
                <a:xfrm>
                  <a:off x="2630533" y="1325741"/>
                  <a:ext cx="18060" cy="48951"/>
                </a:xfrm>
                <a:custGeom>
                  <a:avLst/>
                  <a:gdLst>
                    <a:gd name="connsiteX0" fmla="*/ 0 w 18060"/>
                    <a:gd name="connsiteY0" fmla="*/ 48951 h 48951"/>
                    <a:gd name="connsiteX1" fmla="*/ 4858 w 18060"/>
                    <a:gd name="connsiteY1" fmla="*/ 30766 h 48951"/>
                    <a:gd name="connsiteX2" fmla="*/ 14200 w 18060"/>
                    <a:gd name="connsiteY2" fmla="*/ 16068 h 48951"/>
                    <a:gd name="connsiteX3" fmla="*/ 18061 w 18060"/>
                    <a:gd name="connsiteY3" fmla="*/ 0 h 48951"/>
                  </a:gdLst>
                  <a:ahLst/>
                  <a:cxnLst>
                    <a:cxn ang="0">
                      <a:pos x="connsiteX0" y="connsiteY0"/>
                    </a:cxn>
                    <a:cxn ang="0">
                      <a:pos x="connsiteX1" y="connsiteY1"/>
                    </a:cxn>
                    <a:cxn ang="0">
                      <a:pos x="connsiteX2" y="connsiteY2"/>
                    </a:cxn>
                    <a:cxn ang="0">
                      <a:pos x="connsiteX3" y="connsiteY3"/>
                    </a:cxn>
                  </a:cxnLst>
                  <a:rect l="l" t="t" r="r" b="b"/>
                  <a:pathLst>
                    <a:path w="18060" h="48951">
                      <a:moveTo>
                        <a:pt x="0" y="48951"/>
                      </a:moveTo>
                      <a:cubicBezTo>
                        <a:pt x="623" y="40606"/>
                        <a:pt x="2865" y="34627"/>
                        <a:pt x="4858" y="30766"/>
                      </a:cubicBezTo>
                      <a:cubicBezTo>
                        <a:pt x="8096" y="24538"/>
                        <a:pt x="11210" y="22420"/>
                        <a:pt x="14200" y="16068"/>
                      </a:cubicBezTo>
                      <a:cubicBezTo>
                        <a:pt x="17064" y="9840"/>
                        <a:pt x="17936"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1" name="Freeform 8678">
                  <a:extLst>
                    <a:ext uri="{FF2B5EF4-FFF2-40B4-BE49-F238E27FC236}">
                      <a16:creationId xmlns:a16="http://schemas.microsoft.com/office/drawing/2014/main" id="{907FF8D2-D847-9661-32B4-EC35B1233716}"/>
                    </a:ext>
                  </a:extLst>
                </p:cNvPr>
                <p:cNvSpPr/>
                <p:nvPr/>
              </p:nvSpPr>
              <p:spPr>
                <a:xfrm>
                  <a:off x="2632993" y="1309410"/>
                  <a:ext cx="26328" cy="26435"/>
                </a:xfrm>
                <a:custGeom>
                  <a:avLst/>
                  <a:gdLst>
                    <a:gd name="connsiteX0" fmla="*/ 25441 w 26328"/>
                    <a:gd name="connsiteY0" fmla="*/ 17951 h 26435"/>
                    <a:gd name="connsiteX1" fmla="*/ 8377 w 26328"/>
                    <a:gd name="connsiteY1" fmla="*/ 25549 h 26435"/>
                    <a:gd name="connsiteX2" fmla="*/ 903 w 26328"/>
                    <a:gd name="connsiteY2" fmla="*/ 8484 h 26435"/>
                    <a:gd name="connsiteX3" fmla="*/ 17968 w 26328"/>
                    <a:gd name="connsiteY3" fmla="*/ 886 h 26435"/>
                    <a:gd name="connsiteX4" fmla="*/ 25441 w 26328"/>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435">
                      <a:moveTo>
                        <a:pt x="25441" y="17951"/>
                      </a:moveTo>
                      <a:cubicBezTo>
                        <a:pt x="22825" y="24801"/>
                        <a:pt x="15227" y="28164"/>
                        <a:pt x="8377" y="25549"/>
                      </a:cubicBezTo>
                      <a:cubicBezTo>
                        <a:pt x="1526" y="22933"/>
                        <a:pt x="-1712" y="15210"/>
                        <a:pt x="903" y="8484"/>
                      </a:cubicBezTo>
                      <a:cubicBezTo>
                        <a:pt x="3519" y="1634"/>
                        <a:pt x="11117" y="-1729"/>
                        <a:pt x="17968" y="886"/>
                      </a:cubicBezTo>
                      <a:cubicBezTo>
                        <a:pt x="24694" y="3502"/>
                        <a:pt x="28057" y="11100"/>
                        <a:pt x="25441"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7" name="Graphic 2987">
                <a:extLst>
                  <a:ext uri="{FF2B5EF4-FFF2-40B4-BE49-F238E27FC236}">
                    <a16:creationId xmlns:a16="http://schemas.microsoft.com/office/drawing/2014/main" id="{8D1D97D2-19BB-966E-3DEE-595667CCBD30}"/>
                  </a:ext>
                </a:extLst>
              </p:cNvPr>
              <p:cNvGrpSpPr/>
              <p:nvPr/>
            </p:nvGrpSpPr>
            <p:grpSpPr>
              <a:xfrm>
                <a:off x="2560841" y="1298822"/>
                <a:ext cx="71146" cy="140473"/>
                <a:chOff x="2560841" y="1298822"/>
                <a:chExt cx="71146" cy="140473"/>
              </a:xfrm>
              <a:grpFill/>
            </p:grpSpPr>
            <p:sp>
              <p:nvSpPr>
                <p:cNvPr id="5610" name="Freeform 8680">
                  <a:extLst>
                    <a:ext uri="{FF2B5EF4-FFF2-40B4-BE49-F238E27FC236}">
                      <a16:creationId xmlns:a16="http://schemas.microsoft.com/office/drawing/2014/main" id="{3B2A13A8-C12A-AE54-4683-D8CECE5F847B}"/>
                    </a:ext>
                  </a:extLst>
                </p:cNvPr>
                <p:cNvSpPr/>
                <p:nvPr/>
              </p:nvSpPr>
              <p:spPr>
                <a:xfrm>
                  <a:off x="2580212" y="1372450"/>
                  <a:ext cx="19680" cy="48328"/>
                </a:xfrm>
                <a:custGeom>
                  <a:avLst/>
                  <a:gdLst>
                    <a:gd name="connsiteX0" fmla="*/ 0 w 19680"/>
                    <a:gd name="connsiteY0" fmla="*/ 48328 h 48328"/>
                    <a:gd name="connsiteX1" fmla="*/ 8719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2" y="41727"/>
                        <a:pt x="7598" y="35873"/>
                        <a:pt x="8719" y="31638"/>
                      </a:cubicBezTo>
                      <a:cubicBezTo>
                        <a:pt x="10463" y="24912"/>
                        <a:pt x="9591" y="21299"/>
                        <a:pt x="11708" y="14449"/>
                      </a:cubicBezTo>
                      <a:cubicBezTo>
                        <a:pt x="13701" y="7847"/>
                        <a:pt x="17189" y="2989"/>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1" name="Freeform 8681">
                  <a:extLst>
                    <a:ext uri="{FF2B5EF4-FFF2-40B4-BE49-F238E27FC236}">
                      <a16:creationId xmlns:a16="http://schemas.microsoft.com/office/drawing/2014/main" id="{3FA4EB53-3628-AD89-0555-DF8F60733AD4}"/>
                    </a:ext>
                  </a:extLst>
                </p:cNvPr>
                <p:cNvSpPr/>
                <p:nvPr/>
              </p:nvSpPr>
              <p:spPr>
                <a:xfrm>
                  <a:off x="2571742" y="1374070"/>
                  <a:ext cx="18434" cy="48951"/>
                </a:xfrm>
                <a:custGeom>
                  <a:avLst/>
                  <a:gdLst>
                    <a:gd name="connsiteX0" fmla="*/ 18434 w 18434"/>
                    <a:gd name="connsiteY0" fmla="*/ 0 h 48951"/>
                    <a:gd name="connsiteX1" fmla="*/ 13452 w 18434"/>
                    <a:gd name="connsiteY1" fmla="*/ 18185 h 48951"/>
                    <a:gd name="connsiteX2" fmla="*/ 3986 w 18434"/>
                    <a:gd name="connsiteY2" fmla="*/ 32883 h 48951"/>
                    <a:gd name="connsiteX3" fmla="*/ 0 w 18434"/>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434" h="48951">
                      <a:moveTo>
                        <a:pt x="18434" y="0"/>
                      </a:moveTo>
                      <a:cubicBezTo>
                        <a:pt x="17812" y="8345"/>
                        <a:pt x="15445" y="14324"/>
                        <a:pt x="13452" y="18185"/>
                      </a:cubicBezTo>
                      <a:cubicBezTo>
                        <a:pt x="10214" y="24413"/>
                        <a:pt x="7100" y="26406"/>
                        <a:pt x="3986"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2" name="Freeform 8682">
                  <a:extLst>
                    <a:ext uri="{FF2B5EF4-FFF2-40B4-BE49-F238E27FC236}">
                      <a16:creationId xmlns:a16="http://schemas.microsoft.com/office/drawing/2014/main" id="{FC317C4E-ADD2-614D-1434-7724ED726BBC}"/>
                    </a:ext>
                  </a:extLst>
                </p:cNvPr>
                <p:cNvSpPr/>
                <p:nvPr/>
              </p:nvSpPr>
              <p:spPr>
                <a:xfrm>
                  <a:off x="2560841" y="1412724"/>
                  <a:ext cx="26841" cy="26571"/>
                </a:xfrm>
                <a:custGeom>
                  <a:avLst/>
                  <a:gdLst>
                    <a:gd name="connsiteX0" fmla="*/ 936 w 26841"/>
                    <a:gd name="connsiteY0" fmla="*/ 8428 h 26571"/>
                    <a:gd name="connsiteX1" fmla="*/ 18249 w 26841"/>
                    <a:gd name="connsiteY1" fmla="*/ 955 h 26571"/>
                    <a:gd name="connsiteX2" fmla="*/ 25972 w 26841"/>
                    <a:gd name="connsiteY2" fmla="*/ 18144 h 26571"/>
                    <a:gd name="connsiteX3" fmla="*/ 8658 w 26841"/>
                    <a:gd name="connsiteY3" fmla="*/ 25617 h 26571"/>
                    <a:gd name="connsiteX4" fmla="*/ 936 w 26841"/>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70">
                      <a:moveTo>
                        <a:pt x="936" y="8428"/>
                      </a:moveTo>
                      <a:cubicBezTo>
                        <a:pt x="3676" y="1577"/>
                        <a:pt x="11399" y="-1786"/>
                        <a:pt x="18249" y="955"/>
                      </a:cubicBezTo>
                      <a:cubicBezTo>
                        <a:pt x="25100" y="3570"/>
                        <a:pt x="28588" y="11293"/>
                        <a:pt x="25972" y="18144"/>
                      </a:cubicBezTo>
                      <a:cubicBezTo>
                        <a:pt x="23356" y="24994"/>
                        <a:pt x="15509" y="28357"/>
                        <a:pt x="8658" y="25617"/>
                      </a:cubicBezTo>
                      <a:cubicBezTo>
                        <a:pt x="1683" y="23001"/>
                        <a:pt x="-1804" y="15279"/>
                        <a:pt x="936"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3" name="Freeform 8683">
                  <a:extLst>
                    <a:ext uri="{FF2B5EF4-FFF2-40B4-BE49-F238E27FC236}">
                      <a16:creationId xmlns:a16="http://schemas.microsoft.com/office/drawing/2014/main" id="{AD0827E7-78B3-6902-ED68-0386382CBD4C}"/>
                    </a:ext>
                  </a:extLst>
                </p:cNvPr>
                <p:cNvSpPr/>
                <p:nvPr/>
              </p:nvSpPr>
              <p:spPr>
                <a:xfrm>
                  <a:off x="2593041" y="1317271"/>
                  <a:ext cx="19804" cy="48328"/>
                </a:xfrm>
                <a:custGeom>
                  <a:avLst/>
                  <a:gdLst>
                    <a:gd name="connsiteX0" fmla="*/ 19805 w 19804"/>
                    <a:gd name="connsiteY0" fmla="*/ 0 h 48328"/>
                    <a:gd name="connsiteX1" fmla="*/ 11086 w 19804"/>
                    <a:gd name="connsiteY1" fmla="*/ 16691 h 48328"/>
                    <a:gd name="connsiteX2" fmla="*/ 7972 w 19804"/>
                    <a:gd name="connsiteY2" fmla="*/ 33880 h 48328"/>
                    <a:gd name="connsiteX3" fmla="*/ 0 w 1980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4" h="48328">
                      <a:moveTo>
                        <a:pt x="19805" y="0"/>
                      </a:moveTo>
                      <a:cubicBezTo>
                        <a:pt x="14573" y="6602"/>
                        <a:pt x="12331" y="12456"/>
                        <a:pt x="11086"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4" name="Freeform 8684">
                  <a:extLst>
                    <a:ext uri="{FF2B5EF4-FFF2-40B4-BE49-F238E27FC236}">
                      <a16:creationId xmlns:a16="http://schemas.microsoft.com/office/drawing/2014/main" id="{F8D780BE-0147-40BC-12FD-CA025F74936C}"/>
                    </a:ext>
                  </a:extLst>
                </p:cNvPr>
                <p:cNvSpPr/>
                <p:nvPr/>
              </p:nvSpPr>
              <p:spPr>
                <a:xfrm>
                  <a:off x="2602881" y="1315029"/>
                  <a:ext cx="18309" cy="48951"/>
                </a:xfrm>
                <a:custGeom>
                  <a:avLst/>
                  <a:gdLst>
                    <a:gd name="connsiteX0" fmla="*/ 0 w 18309"/>
                    <a:gd name="connsiteY0" fmla="*/ 48951 h 48951"/>
                    <a:gd name="connsiteX1" fmla="*/ 4982 w 18309"/>
                    <a:gd name="connsiteY1" fmla="*/ 30766 h 48951"/>
                    <a:gd name="connsiteX2" fmla="*/ 14324 w 18309"/>
                    <a:gd name="connsiteY2" fmla="*/ 16068 h 48951"/>
                    <a:gd name="connsiteX3" fmla="*/ 18310 w 18309"/>
                    <a:gd name="connsiteY3" fmla="*/ 0 h 48951"/>
                  </a:gdLst>
                  <a:ahLst/>
                  <a:cxnLst>
                    <a:cxn ang="0">
                      <a:pos x="connsiteX0" y="connsiteY0"/>
                    </a:cxn>
                    <a:cxn ang="0">
                      <a:pos x="connsiteX1" y="connsiteY1"/>
                    </a:cxn>
                    <a:cxn ang="0">
                      <a:pos x="connsiteX2" y="connsiteY2"/>
                    </a:cxn>
                    <a:cxn ang="0">
                      <a:pos x="connsiteX3" y="connsiteY3"/>
                    </a:cxn>
                  </a:cxnLst>
                  <a:rect l="l" t="t" r="r" b="b"/>
                  <a:pathLst>
                    <a:path w="18309" h="48951">
                      <a:moveTo>
                        <a:pt x="0" y="48951"/>
                      </a:moveTo>
                      <a:cubicBezTo>
                        <a:pt x="623" y="40606"/>
                        <a:pt x="2989" y="34627"/>
                        <a:pt x="4982" y="30766"/>
                      </a:cubicBezTo>
                      <a:cubicBezTo>
                        <a:pt x="8221" y="24538"/>
                        <a:pt x="11335" y="22545"/>
                        <a:pt x="14324" y="16068"/>
                      </a:cubicBezTo>
                      <a:cubicBezTo>
                        <a:pt x="17314" y="9840"/>
                        <a:pt x="18061" y="3986"/>
                        <a:pt x="183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5" name="Freeform 8685">
                  <a:extLst>
                    <a:ext uri="{FF2B5EF4-FFF2-40B4-BE49-F238E27FC236}">
                      <a16:creationId xmlns:a16="http://schemas.microsoft.com/office/drawing/2014/main" id="{1D3FCC9F-8965-FCBB-78EE-71C2690B2DF1}"/>
                    </a:ext>
                  </a:extLst>
                </p:cNvPr>
                <p:cNvSpPr/>
                <p:nvPr/>
              </p:nvSpPr>
              <p:spPr>
                <a:xfrm>
                  <a:off x="2605662" y="1298822"/>
                  <a:ext cx="26325" cy="26435"/>
                </a:xfrm>
                <a:custGeom>
                  <a:avLst/>
                  <a:gdLst>
                    <a:gd name="connsiteX0" fmla="*/ 25370 w 26325"/>
                    <a:gd name="connsiteY0" fmla="*/ 17951 h 26435"/>
                    <a:gd name="connsiteX1" fmla="*/ 8305 w 26325"/>
                    <a:gd name="connsiteY1" fmla="*/ 25549 h 26435"/>
                    <a:gd name="connsiteX2" fmla="*/ 956 w 26325"/>
                    <a:gd name="connsiteY2" fmla="*/ 8484 h 26435"/>
                    <a:gd name="connsiteX3" fmla="*/ 18021 w 26325"/>
                    <a:gd name="connsiteY3" fmla="*/ 886 h 26435"/>
                    <a:gd name="connsiteX4" fmla="*/ 25370 w 26325"/>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5" h="26435">
                      <a:moveTo>
                        <a:pt x="25370" y="17951"/>
                      </a:moveTo>
                      <a:cubicBezTo>
                        <a:pt x="22754" y="24801"/>
                        <a:pt x="15031" y="28164"/>
                        <a:pt x="8305" y="25549"/>
                      </a:cubicBezTo>
                      <a:cubicBezTo>
                        <a:pt x="1579" y="22933"/>
                        <a:pt x="-1784" y="15210"/>
                        <a:pt x="956" y="8484"/>
                      </a:cubicBezTo>
                      <a:cubicBezTo>
                        <a:pt x="3697" y="1634"/>
                        <a:pt x="11295" y="-1729"/>
                        <a:pt x="18021" y="886"/>
                      </a:cubicBezTo>
                      <a:cubicBezTo>
                        <a:pt x="24747" y="3502"/>
                        <a:pt x="28110" y="11100"/>
                        <a:pt x="25370"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8" name="Graphic 2987">
                <a:extLst>
                  <a:ext uri="{FF2B5EF4-FFF2-40B4-BE49-F238E27FC236}">
                    <a16:creationId xmlns:a16="http://schemas.microsoft.com/office/drawing/2014/main" id="{92AAF3D7-400F-C647-1D17-A9F13347E91D}"/>
                  </a:ext>
                </a:extLst>
              </p:cNvPr>
              <p:cNvGrpSpPr/>
              <p:nvPr/>
            </p:nvGrpSpPr>
            <p:grpSpPr>
              <a:xfrm>
                <a:off x="2532814" y="1288235"/>
                <a:ext cx="71843" cy="140224"/>
                <a:chOff x="2532814" y="1288235"/>
                <a:chExt cx="71843" cy="140224"/>
              </a:xfrm>
              <a:grpFill/>
            </p:grpSpPr>
            <p:sp>
              <p:nvSpPr>
                <p:cNvPr id="5604" name="Freeform 8687">
                  <a:extLst>
                    <a:ext uri="{FF2B5EF4-FFF2-40B4-BE49-F238E27FC236}">
                      <a16:creationId xmlns:a16="http://schemas.microsoft.com/office/drawing/2014/main" id="{57233328-69F4-D3A2-D40A-AF6E139E532E}"/>
                    </a:ext>
                  </a:extLst>
                </p:cNvPr>
                <p:cNvSpPr/>
                <p:nvPr/>
              </p:nvSpPr>
              <p:spPr>
                <a:xfrm>
                  <a:off x="2552311" y="1361739"/>
                  <a:ext cx="19929" cy="48203"/>
                </a:xfrm>
                <a:custGeom>
                  <a:avLst/>
                  <a:gdLst>
                    <a:gd name="connsiteX0" fmla="*/ 0 w 19929"/>
                    <a:gd name="connsiteY0" fmla="*/ 48204 h 48203"/>
                    <a:gd name="connsiteX1" fmla="*/ 8719 w 19929"/>
                    <a:gd name="connsiteY1" fmla="*/ 31513 h 48203"/>
                    <a:gd name="connsiteX2" fmla="*/ 11833 w 19929"/>
                    <a:gd name="connsiteY2" fmla="*/ 14449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5356" y="41602"/>
                        <a:pt x="7598" y="35748"/>
                        <a:pt x="8719" y="31513"/>
                      </a:cubicBezTo>
                      <a:cubicBezTo>
                        <a:pt x="10587" y="24787"/>
                        <a:pt x="9715" y="21175"/>
                        <a:pt x="11833" y="14449"/>
                      </a:cubicBezTo>
                      <a:cubicBezTo>
                        <a:pt x="13950" y="7847"/>
                        <a:pt x="17314" y="2989"/>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5" name="Freeform 8688">
                  <a:extLst>
                    <a:ext uri="{FF2B5EF4-FFF2-40B4-BE49-F238E27FC236}">
                      <a16:creationId xmlns:a16="http://schemas.microsoft.com/office/drawing/2014/main" id="{08909324-CD35-5AED-949F-D172F278F1EB}"/>
                    </a:ext>
                  </a:extLst>
                </p:cNvPr>
                <p:cNvSpPr/>
                <p:nvPr/>
              </p:nvSpPr>
              <p:spPr>
                <a:xfrm>
                  <a:off x="2543841" y="1363358"/>
                  <a:ext cx="18559" cy="48577"/>
                </a:xfrm>
                <a:custGeom>
                  <a:avLst/>
                  <a:gdLst>
                    <a:gd name="connsiteX0" fmla="*/ 18559 w 18559"/>
                    <a:gd name="connsiteY0" fmla="*/ 0 h 48577"/>
                    <a:gd name="connsiteX1" fmla="*/ 13452 w 18559"/>
                    <a:gd name="connsiteY1" fmla="*/ 18061 h 48577"/>
                    <a:gd name="connsiteX2" fmla="*/ 3986 w 18559"/>
                    <a:gd name="connsiteY2" fmla="*/ 32634 h 48577"/>
                    <a:gd name="connsiteX3" fmla="*/ 0 w 18559"/>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559" h="48577">
                      <a:moveTo>
                        <a:pt x="18559" y="0"/>
                      </a:moveTo>
                      <a:cubicBezTo>
                        <a:pt x="17936" y="8345"/>
                        <a:pt x="15570" y="14200"/>
                        <a:pt x="13452" y="18061"/>
                      </a:cubicBezTo>
                      <a:cubicBezTo>
                        <a:pt x="10089" y="24289"/>
                        <a:pt x="6975" y="26282"/>
                        <a:pt x="3986" y="32634"/>
                      </a:cubicBezTo>
                      <a:cubicBezTo>
                        <a:pt x="996" y="38862"/>
                        <a:pt x="125"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6" name="Freeform 8689">
                  <a:extLst>
                    <a:ext uri="{FF2B5EF4-FFF2-40B4-BE49-F238E27FC236}">
                      <a16:creationId xmlns:a16="http://schemas.microsoft.com/office/drawing/2014/main" id="{A15D26BD-67F6-CBF5-DA70-F3E31F173E72}"/>
                    </a:ext>
                  </a:extLst>
                </p:cNvPr>
                <p:cNvSpPr/>
                <p:nvPr/>
              </p:nvSpPr>
              <p:spPr>
                <a:xfrm>
                  <a:off x="2532814" y="1401939"/>
                  <a:ext cx="26910" cy="26520"/>
                </a:xfrm>
                <a:custGeom>
                  <a:avLst/>
                  <a:gdLst>
                    <a:gd name="connsiteX0" fmla="*/ 937 w 26910"/>
                    <a:gd name="connsiteY0" fmla="*/ 8377 h 26520"/>
                    <a:gd name="connsiteX1" fmla="*/ 18376 w 26910"/>
                    <a:gd name="connsiteY1" fmla="*/ 903 h 26520"/>
                    <a:gd name="connsiteX2" fmla="*/ 25973 w 26910"/>
                    <a:gd name="connsiteY2" fmla="*/ 18092 h 26520"/>
                    <a:gd name="connsiteX3" fmla="*/ 8535 w 26910"/>
                    <a:gd name="connsiteY3" fmla="*/ 25566 h 26520"/>
                    <a:gd name="connsiteX4" fmla="*/ 937 w 26910"/>
                    <a:gd name="connsiteY4" fmla="*/ 8377 h 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520">
                      <a:moveTo>
                        <a:pt x="937" y="8377"/>
                      </a:moveTo>
                      <a:cubicBezTo>
                        <a:pt x="3678" y="1526"/>
                        <a:pt x="11400" y="-1712"/>
                        <a:pt x="18376" y="903"/>
                      </a:cubicBezTo>
                      <a:cubicBezTo>
                        <a:pt x="25226" y="3519"/>
                        <a:pt x="28714" y="11242"/>
                        <a:pt x="25973" y="18092"/>
                      </a:cubicBezTo>
                      <a:cubicBezTo>
                        <a:pt x="23233" y="24943"/>
                        <a:pt x="15511" y="28306"/>
                        <a:pt x="8535" y="25566"/>
                      </a:cubicBezTo>
                      <a:cubicBezTo>
                        <a:pt x="1685" y="22825"/>
                        <a:pt x="-1803" y="15227"/>
                        <a:pt x="93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7" name="Freeform 8690">
                  <a:extLst>
                    <a:ext uri="{FF2B5EF4-FFF2-40B4-BE49-F238E27FC236}">
                      <a16:creationId xmlns:a16="http://schemas.microsoft.com/office/drawing/2014/main" id="{8F5BD5C2-5E13-870A-C18D-7C111FAEB2B6}"/>
                    </a:ext>
                  </a:extLst>
                </p:cNvPr>
                <p:cNvSpPr/>
                <p:nvPr/>
              </p:nvSpPr>
              <p:spPr>
                <a:xfrm>
                  <a:off x="2565514" y="1306684"/>
                  <a:ext cx="19929" cy="48203"/>
                </a:xfrm>
                <a:custGeom>
                  <a:avLst/>
                  <a:gdLst>
                    <a:gd name="connsiteX0" fmla="*/ 19929 w 19929"/>
                    <a:gd name="connsiteY0" fmla="*/ 0 h 48203"/>
                    <a:gd name="connsiteX1" fmla="*/ 11210 w 19929"/>
                    <a:gd name="connsiteY1" fmla="*/ 16691 h 48203"/>
                    <a:gd name="connsiteX2" fmla="*/ 8096 w 19929"/>
                    <a:gd name="connsiteY2" fmla="*/ 33755 h 48203"/>
                    <a:gd name="connsiteX3" fmla="*/ 0 w 19929"/>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9" h="48203">
                      <a:moveTo>
                        <a:pt x="19929" y="0"/>
                      </a:moveTo>
                      <a:cubicBezTo>
                        <a:pt x="14698" y="6602"/>
                        <a:pt x="12331" y="12456"/>
                        <a:pt x="11210" y="16691"/>
                      </a:cubicBezTo>
                      <a:cubicBezTo>
                        <a:pt x="9342" y="23417"/>
                        <a:pt x="10214" y="27029"/>
                        <a:pt x="8096" y="33755"/>
                      </a:cubicBezTo>
                      <a:cubicBezTo>
                        <a:pt x="5979" y="40357"/>
                        <a:pt x="2616" y="45214"/>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8" name="Freeform 8691">
                  <a:extLst>
                    <a:ext uri="{FF2B5EF4-FFF2-40B4-BE49-F238E27FC236}">
                      <a16:creationId xmlns:a16="http://schemas.microsoft.com/office/drawing/2014/main" id="{76E455E8-F2C1-82BD-AB69-DEF9F2684CA5}"/>
                    </a:ext>
                  </a:extLst>
                </p:cNvPr>
                <p:cNvSpPr/>
                <p:nvPr/>
              </p:nvSpPr>
              <p:spPr>
                <a:xfrm>
                  <a:off x="2575229" y="1304567"/>
                  <a:ext cx="18559" cy="48702"/>
                </a:xfrm>
                <a:custGeom>
                  <a:avLst/>
                  <a:gdLst>
                    <a:gd name="connsiteX0" fmla="*/ 0 w 18559"/>
                    <a:gd name="connsiteY0" fmla="*/ 48702 h 48702"/>
                    <a:gd name="connsiteX1" fmla="*/ 5107 w 18559"/>
                    <a:gd name="connsiteY1" fmla="*/ 30641 h 48702"/>
                    <a:gd name="connsiteX2" fmla="*/ 14573 w 18559"/>
                    <a:gd name="connsiteY2" fmla="*/ 15943 h 48702"/>
                    <a:gd name="connsiteX3" fmla="*/ 18559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623" y="40357"/>
                        <a:pt x="2989" y="34502"/>
                        <a:pt x="5107" y="30641"/>
                      </a:cubicBezTo>
                      <a:cubicBezTo>
                        <a:pt x="8345" y="24413"/>
                        <a:pt x="11459" y="22420"/>
                        <a:pt x="14573" y="15943"/>
                      </a:cubicBezTo>
                      <a:cubicBezTo>
                        <a:pt x="17563" y="9715"/>
                        <a:pt x="18434" y="3861"/>
                        <a:pt x="18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9" name="Freeform 8692">
                  <a:extLst>
                    <a:ext uri="{FF2B5EF4-FFF2-40B4-BE49-F238E27FC236}">
                      <a16:creationId xmlns:a16="http://schemas.microsoft.com/office/drawing/2014/main" id="{94B4455D-BD5C-2C49-9AD1-6796E83FC540}"/>
                    </a:ext>
                  </a:extLst>
                </p:cNvPr>
                <p:cNvSpPr/>
                <p:nvPr/>
              </p:nvSpPr>
              <p:spPr>
                <a:xfrm>
                  <a:off x="2578259" y="1288235"/>
                  <a:ext cx="26399" cy="26435"/>
                </a:xfrm>
                <a:custGeom>
                  <a:avLst/>
                  <a:gdLst>
                    <a:gd name="connsiteX0" fmla="*/ 25494 w 26399"/>
                    <a:gd name="connsiteY0" fmla="*/ 17951 h 26435"/>
                    <a:gd name="connsiteX1" fmla="*/ 8305 w 26399"/>
                    <a:gd name="connsiteY1" fmla="*/ 25549 h 26435"/>
                    <a:gd name="connsiteX2" fmla="*/ 956 w 26399"/>
                    <a:gd name="connsiteY2" fmla="*/ 8484 h 26435"/>
                    <a:gd name="connsiteX3" fmla="*/ 18145 w 26399"/>
                    <a:gd name="connsiteY3" fmla="*/ 886 h 26435"/>
                    <a:gd name="connsiteX4" fmla="*/ 25494 w 26399"/>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9" h="26435">
                      <a:moveTo>
                        <a:pt x="25494" y="17951"/>
                      </a:moveTo>
                      <a:cubicBezTo>
                        <a:pt x="22754" y="24801"/>
                        <a:pt x="15156" y="28164"/>
                        <a:pt x="8305" y="25549"/>
                      </a:cubicBezTo>
                      <a:cubicBezTo>
                        <a:pt x="1579" y="22933"/>
                        <a:pt x="-1784" y="15335"/>
                        <a:pt x="956" y="8484"/>
                      </a:cubicBezTo>
                      <a:cubicBezTo>
                        <a:pt x="3696" y="1634"/>
                        <a:pt x="11295" y="-1729"/>
                        <a:pt x="18145" y="886"/>
                      </a:cubicBezTo>
                      <a:cubicBezTo>
                        <a:pt x="24871" y="3502"/>
                        <a:pt x="28110" y="11100"/>
                        <a:pt x="25494"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9" name="Graphic 2987">
                <a:extLst>
                  <a:ext uri="{FF2B5EF4-FFF2-40B4-BE49-F238E27FC236}">
                    <a16:creationId xmlns:a16="http://schemas.microsoft.com/office/drawing/2014/main" id="{01DF8710-68B5-1799-3762-C84C46C09A37}"/>
                  </a:ext>
                </a:extLst>
              </p:cNvPr>
              <p:cNvGrpSpPr/>
              <p:nvPr/>
            </p:nvGrpSpPr>
            <p:grpSpPr>
              <a:xfrm>
                <a:off x="2504898" y="1277663"/>
                <a:ext cx="72427" cy="139909"/>
                <a:chOff x="2504898" y="1277663"/>
                <a:chExt cx="72427" cy="139909"/>
              </a:xfrm>
              <a:grpFill/>
            </p:grpSpPr>
            <p:sp>
              <p:nvSpPr>
                <p:cNvPr id="5598" name="Freeform 8694">
                  <a:extLst>
                    <a:ext uri="{FF2B5EF4-FFF2-40B4-BE49-F238E27FC236}">
                      <a16:creationId xmlns:a16="http://schemas.microsoft.com/office/drawing/2014/main" id="{A535D771-04C9-1A26-4B60-86FB4D0F6787}"/>
                    </a:ext>
                  </a:extLst>
                </p:cNvPr>
                <p:cNvSpPr/>
                <p:nvPr/>
              </p:nvSpPr>
              <p:spPr>
                <a:xfrm>
                  <a:off x="2524410" y="1351027"/>
                  <a:ext cx="20053" cy="48079"/>
                </a:xfrm>
                <a:custGeom>
                  <a:avLst/>
                  <a:gdLst>
                    <a:gd name="connsiteX0" fmla="*/ 0 w 20053"/>
                    <a:gd name="connsiteY0" fmla="*/ 48079 h 48079"/>
                    <a:gd name="connsiteX1" fmla="*/ 8844 w 20053"/>
                    <a:gd name="connsiteY1" fmla="*/ 31513 h 48079"/>
                    <a:gd name="connsiteX2" fmla="*/ 11958 w 20053"/>
                    <a:gd name="connsiteY2" fmla="*/ 1444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5356" y="41478"/>
                        <a:pt x="7723" y="35623"/>
                        <a:pt x="8844" y="31513"/>
                      </a:cubicBezTo>
                      <a:cubicBezTo>
                        <a:pt x="10712" y="24787"/>
                        <a:pt x="9840" y="21175"/>
                        <a:pt x="11958" y="14449"/>
                      </a:cubicBezTo>
                      <a:cubicBezTo>
                        <a:pt x="14075" y="7847"/>
                        <a:pt x="17563"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9" name="Freeform 8695">
                  <a:extLst>
                    <a:ext uri="{FF2B5EF4-FFF2-40B4-BE49-F238E27FC236}">
                      <a16:creationId xmlns:a16="http://schemas.microsoft.com/office/drawing/2014/main" id="{36672680-39FC-5862-B465-15A4B72C0A92}"/>
                    </a:ext>
                  </a:extLst>
                </p:cNvPr>
                <p:cNvSpPr/>
                <p:nvPr/>
              </p:nvSpPr>
              <p:spPr>
                <a:xfrm>
                  <a:off x="2515940" y="1352521"/>
                  <a:ext cx="18808" cy="48577"/>
                </a:xfrm>
                <a:custGeom>
                  <a:avLst/>
                  <a:gdLst>
                    <a:gd name="connsiteX0" fmla="*/ 18808 w 18808"/>
                    <a:gd name="connsiteY0" fmla="*/ 0 h 48577"/>
                    <a:gd name="connsiteX1" fmla="*/ 13701 w 18808"/>
                    <a:gd name="connsiteY1" fmla="*/ 18061 h 48577"/>
                    <a:gd name="connsiteX2" fmla="*/ 4110 w 18808"/>
                    <a:gd name="connsiteY2" fmla="*/ 3263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8061" y="8345"/>
                        <a:pt x="15694" y="14200"/>
                        <a:pt x="13701" y="18061"/>
                      </a:cubicBezTo>
                      <a:cubicBezTo>
                        <a:pt x="10338" y="24289"/>
                        <a:pt x="7224" y="26282"/>
                        <a:pt x="4110" y="32634"/>
                      </a:cubicBezTo>
                      <a:cubicBezTo>
                        <a:pt x="1121" y="38862"/>
                        <a:pt x="249"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0" name="Freeform 8696">
                  <a:extLst>
                    <a:ext uri="{FF2B5EF4-FFF2-40B4-BE49-F238E27FC236}">
                      <a16:creationId xmlns:a16="http://schemas.microsoft.com/office/drawing/2014/main" id="{2B700A2A-1327-9986-82F2-CA69A957307D}"/>
                    </a:ext>
                  </a:extLst>
                </p:cNvPr>
                <p:cNvSpPr/>
                <p:nvPr/>
              </p:nvSpPr>
              <p:spPr>
                <a:xfrm>
                  <a:off x="2504898" y="1391118"/>
                  <a:ext cx="26875" cy="26453"/>
                </a:xfrm>
                <a:custGeom>
                  <a:avLst/>
                  <a:gdLst>
                    <a:gd name="connsiteX0" fmla="*/ 953 w 26875"/>
                    <a:gd name="connsiteY0" fmla="*/ 8361 h 26453"/>
                    <a:gd name="connsiteX1" fmla="*/ 18391 w 26875"/>
                    <a:gd name="connsiteY1" fmla="*/ 888 h 26453"/>
                    <a:gd name="connsiteX2" fmla="*/ 25989 w 26875"/>
                    <a:gd name="connsiteY2" fmla="*/ 18077 h 26453"/>
                    <a:gd name="connsiteX3" fmla="*/ 8551 w 26875"/>
                    <a:gd name="connsiteY3" fmla="*/ 25550 h 26453"/>
                    <a:gd name="connsiteX4" fmla="*/ 953 w 26875"/>
                    <a:gd name="connsiteY4" fmla="*/ 8361 h 26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4" h="26452">
                      <a:moveTo>
                        <a:pt x="953" y="8361"/>
                      </a:moveTo>
                      <a:cubicBezTo>
                        <a:pt x="3693" y="1635"/>
                        <a:pt x="11540" y="-1728"/>
                        <a:pt x="18391" y="888"/>
                      </a:cubicBezTo>
                      <a:cubicBezTo>
                        <a:pt x="25242" y="3504"/>
                        <a:pt x="28605" y="11226"/>
                        <a:pt x="25989" y="18077"/>
                      </a:cubicBezTo>
                      <a:cubicBezTo>
                        <a:pt x="23249" y="24927"/>
                        <a:pt x="15402" y="28166"/>
                        <a:pt x="8551" y="25550"/>
                      </a:cubicBezTo>
                      <a:cubicBezTo>
                        <a:pt x="1576" y="22810"/>
                        <a:pt x="-1787" y="15087"/>
                        <a:pt x="953"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1" name="Freeform 8697">
                  <a:extLst>
                    <a:ext uri="{FF2B5EF4-FFF2-40B4-BE49-F238E27FC236}">
                      <a16:creationId xmlns:a16="http://schemas.microsoft.com/office/drawing/2014/main" id="{84821102-D3DD-351F-3C0D-A9DF9633F3C6}"/>
                    </a:ext>
                  </a:extLst>
                </p:cNvPr>
                <p:cNvSpPr/>
                <p:nvPr/>
              </p:nvSpPr>
              <p:spPr>
                <a:xfrm>
                  <a:off x="2537987" y="1296097"/>
                  <a:ext cx="20178" cy="48079"/>
                </a:xfrm>
                <a:custGeom>
                  <a:avLst/>
                  <a:gdLst>
                    <a:gd name="connsiteX0" fmla="*/ 20178 w 20178"/>
                    <a:gd name="connsiteY0" fmla="*/ 0 h 48079"/>
                    <a:gd name="connsiteX1" fmla="*/ 11335 w 20178"/>
                    <a:gd name="connsiteY1" fmla="*/ 16566 h 48079"/>
                    <a:gd name="connsiteX2" fmla="*/ 8096 w 20178"/>
                    <a:gd name="connsiteY2" fmla="*/ 33631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4822" y="6602"/>
                        <a:pt x="12456" y="12456"/>
                        <a:pt x="11335" y="16566"/>
                      </a:cubicBezTo>
                      <a:cubicBezTo>
                        <a:pt x="9467" y="23292"/>
                        <a:pt x="10338" y="26904"/>
                        <a:pt x="8096" y="33631"/>
                      </a:cubicBezTo>
                      <a:cubicBezTo>
                        <a:pt x="5979" y="40232"/>
                        <a:pt x="2491" y="44965"/>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2" name="Freeform 8698">
                  <a:extLst>
                    <a:ext uri="{FF2B5EF4-FFF2-40B4-BE49-F238E27FC236}">
                      <a16:creationId xmlns:a16="http://schemas.microsoft.com/office/drawing/2014/main" id="{AB867BD7-31E8-03CB-58F7-E75B9D58EC87}"/>
                    </a:ext>
                  </a:extLst>
                </p:cNvPr>
                <p:cNvSpPr/>
                <p:nvPr/>
              </p:nvSpPr>
              <p:spPr>
                <a:xfrm>
                  <a:off x="2547702" y="1293979"/>
                  <a:ext cx="18808" cy="48577"/>
                </a:xfrm>
                <a:custGeom>
                  <a:avLst/>
                  <a:gdLst>
                    <a:gd name="connsiteX0" fmla="*/ 0 w 18808"/>
                    <a:gd name="connsiteY0" fmla="*/ 48577 h 48577"/>
                    <a:gd name="connsiteX1" fmla="*/ 5107 w 18808"/>
                    <a:gd name="connsiteY1" fmla="*/ 30517 h 48577"/>
                    <a:gd name="connsiteX2" fmla="*/ 14698 w 18808"/>
                    <a:gd name="connsiteY2" fmla="*/ 1594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748" y="40232"/>
                        <a:pt x="3114" y="34378"/>
                        <a:pt x="5107" y="30517"/>
                      </a:cubicBezTo>
                      <a:cubicBezTo>
                        <a:pt x="8470" y="24289"/>
                        <a:pt x="11584" y="22296"/>
                        <a:pt x="14698" y="15943"/>
                      </a:cubicBezTo>
                      <a:cubicBezTo>
                        <a:pt x="17687" y="9716"/>
                        <a:pt x="18559" y="3861"/>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3" name="Freeform 8699">
                  <a:extLst>
                    <a:ext uri="{FF2B5EF4-FFF2-40B4-BE49-F238E27FC236}">
                      <a16:creationId xmlns:a16="http://schemas.microsoft.com/office/drawing/2014/main" id="{F45460D4-7B0D-DA28-C30A-72B058204E41}"/>
                    </a:ext>
                  </a:extLst>
                </p:cNvPr>
                <p:cNvSpPr/>
                <p:nvPr/>
              </p:nvSpPr>
              <p:spPr>
                <a:xfrm>
                  <a:off x="2550911" y="1277663"/>
                  <a:ext cx="26413" cy="26420"/>
                </a:xfrm>
                <a:custGeom>
                  <a:avLst/>
                  <a:gdLst>
                    <a:gd name="connsiteX0" fmla="*/ 25440 w 26413"/>
                    <a:gd name="connsiteY0" fmla="*/ 17936 h 26420"/>
                    <a:gd name="connsiteX1" fmla="*/ 8251 w 26413"/>
                    <a:gd name="connsiteY1" fmla="*/ 25534 h 26420"/>
                    <a:gd name="connsiteX2" fmla="*/ 1026 w 26413"/>
                    <a:gd name="connsiteY2" fmla="*/ 8469 h 26420"/>
                    <a:gd name="connsiteX3" fmla="*/ 18215 w 26413"/>
                    <a:gd name="connsiteY3" fmla="*/ 871 h 26420"/>
                    <a:gd name="connsiteX4" fmla="*/ 25440 w 26413"/>
                    <a:gd name="connsiteY4" fmla="*/ 17936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3" h="26420">
                      <a:moveTo>
                        <a:pt x="25440" y="17936"/>
                      </a:moveTo>
                      <a:cubicBezTo>
                        <a:pt x="22699" y="24786"/>
                        <a:pt x="14977" y="28149"/>
                        <a:pt x="8251" y="25534"/>
                      </a:cubicBezTo>
                      <a:cubicBezTo>
                        <a:pt x="1525" y="22918"/>
                        <a:pt x="-1839" y="15320"/>
                        <a:pt x="1026" y="8469"/>
                      </a:cubicBezTo>
                      <a:cubicBezTo>
                        <a:pt x="3767" y="1743"/>
                        <a:pt x="11489" y="-1744"/>
                        <a:pt x="18215" y="871"/>
                      </a:cubicBezTo>
                      <a:cubicBezTo>
                        <a:pt x="24941" y="3487"/>
                        <a:pt x="28180" y="11085"/>
                        <a:pt x="25440" y="179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0" name="Graphic 2987">
                <a:extLst>
                  <a:ext uri="{FF2B5EF4-FFF2-40B4-BE49-F238E27FC236}">
                    <a16:creationId xmlns:a16="http://schemas.microsoft.com/office/drawing/2014/main" id="{BC989D84-6559-FE13-0938-2B6075522C7D}"/>
                  </a:ext>
                </a:extLst>
              </p:cNvPr>
              <p:cNvGrpSpPr/>
              <p:nvPr/>
            </p:nvGrpSpPr>
            <p:grpSpPr>
              <a:xfrm>
                <a:off x="2477033" y="1266812"/>
                <a:ext cx="72956" cy="139907"/>
                <a:chOff x="2477033" y="1266812"/>
                <a:chExt cx="72956" cy="139907"/>
              </a:xfrm>
              <a:grpFill/>
            </p:grpSpPr>
            <p:sp>
              <p:nvSpPr>
                <p:cNvPr id="5592" name="Freeform 8701">
                  <a:extLst>
                    <a:ext uri="{FF2B5EF4-FFF2-40B4-BE49-F238E27FC236}">
                      <a16:creationId xmlns:a16="http://schemas.microsoft.com/office/drawing/2014/main" id="{6DD4AAB2-13A5-47D9-DDDF-56700209D3F0}"/>
                    </a:ext>
                  </a:extLst>
                </p:cNvPr>
                <p:cNvSpPr/>
                <p:nvPr/>
              </p:nvSpPr>
              <p:spPr>
                <a:xfrm>
                  <a:off x="2496509" y="1340315"/>
                  <a:ext cx="20427" cy="47954"/>
                </a:xfrm>
                <a:custGeom>
                  <a:avLst/>
                  <a:gdLst>
                    <a:gd name="connsiteX0" fmla="*/ 0 w 20427"/>
                    <a:gd name="connsiteY0" fmla="*/ 47955 h 47954"/>
                    <a:gd name="connsiteX1" fmla="*/ 8968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478"/>
                        <a:pt x="7723" y="35499"/>
                        <a:pt x="8968" y="31389"/>
                      </a:cubicBezTo>
                      <a:cubicBezTo>
                        <a:pt x="10837" y="24662"/>
                        <a:pt x="9965" y="21050"/>
                        <a:pt x="12207" y="14324"/>
                      </a:cubicBezTo>
                      <a:cubicBezTo>
                        <a:pt x="14324" y="7723"/>
                        <a:pt x="17812" y="2989"/>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3" name="Freeform 8702">
                  <a:extLst>
                    <a:ext uri="{FF2B5EF4-FFF2-40B4-BE49-F238E27FC236}">
                      <a16:creationId xmlns:a16="http://schemas.microsoft.com/office/drawing/2014/main" id="{B34F39C3-1A80-AEC7-9F0D-4358545A244A}"/>
                    </a:ext>
                  </a:extLst>
                </p:cNvPr>
                <p:cNvSpPr/>
                <p:nvPr/>
              </p:nvSpPr>
              <p:spPr>
                <a:xfrm>
                  <a:off x="2488039" y="1341809"/>
                  <a:ext cx="19057" cy="48452"/>
                </a:xfrm>
                <a:custGeom>
                  <a:avLst/>
                  <a:gdLst>
                    <a:gd name="connsiteX0" fmla="*/ 19057 w 19057"/>
                    <a:gd name="connsiteY0" fmla="*/ 0 h 48452"/>
                    <a:gd name="connsiteX1" fmla="*/ 13826 w 19057"/>
                    <a:gd name="connsiteY1" fmla="*/ 18061 h 48452"/>
                    <a:gd name="connsiteX2" fmla="*/ 4235 w 19057"/>
                    <a:gd name="connsiteY2" fmla="*/ 32510 h 48452"/>
                    <a:gd name="connsiteX3" fmla="*/ 0 w 19057"/>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057" h="48452">
                      <a:moveTo>
                        <a:pt x="19057" y="0"/>
                      </a:moveTo>
                      <a:cubicBezTo>
                        <a:pt x="18310" y="8470"/>
                        <a:pt x="15819" y="14200"/>
                        <a:pt x="13826" y="18061"/>
                      </a:cubicBezTo>
                      <a:cubicBezTo>
                        <a:pt x="10463" y="24164"/>
                        <a:pt x="7349" y="26157"/>
                        <a:pt x="4235" y="32510"/>
                      </a:cubicBezTo>
                      <a:cubicBezTo>
                        <a:pt x="1121" y="38737"/>
                        <a:pt x="249" y="44592"/>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4" name="Freeform 8703">
                  <a:extLst>
                    <a:ext uri="{FF2B5EF4-FFF2-40B4-BE49-F238E27FC236}">
                      <a16:creationId xmlns:a16="http://schemas.microsoft.com/office/drawing/2014/main" id="{537F3944-7181-B705-147E-190FBCBE267A}"/>
                    </a:ext>
                  </a:extLst>
                </p:cNvPr>
                <p:cNvSpPr/>
                <p:nvPr/>
              </p:nvSpPr>
              <p:spPr>
                <a:xfrm>
                  <a:off x="2477033" y="1380211"/>
                  <a:ext cx="26907" cy="26508"/>
                </a:xfrm>
                <a:custGeom>
                  <a:avLst/>
                  <a:gdLst>
                    <a:gd name="connsiteX0" fmla="*/ 1041 w 26907"/>
                    <a:gd name="connsiteY0" fmla="*/ 8058 h 26508"/>
                    <a:gd name="connsiteX1" fmla="*/ 18480 w 26907"/>
                    <a:gd name="connsiteY1" fmla="*/ 1083 h 26508"/>
                    <a:gd name="connsiteX2" fmla="*/ 25953 w 26907"/>
                    <a:gd name="connsiteY2" fmla="*/ 18147 h 26508"/>
                    <a:gd name="connsiteX3" fmla="*/ 8390 w 26907"/>
                    <a:gd name="connsiteY3" fmla="*/ 25621 h 26508"/>
                    <a:gd name="connsiteX4" fmla="*/ 1041 w 26907"/>
                    <a:gd name="connsiteY4" fmla="*/ 8058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7" h="26508">
                      <a:moveTo>
                        <a:pt x="1041" y="8058"/>
                      </a:moveTo>
                      <a:cubicBezTo>
                        <a:pt x="3906" y="1207"/>
                        <a:pt x="11629" y="-1782"/>
                        <a:pt x="18480" y="1083"/>
                      </a:cubicBezTo>
                      <a:cubicBezTo>
                        <a:pt x="25330" y="3698"/>
                        <a:pt x="28693" y="11421"/>
                        <a:pt x="25953" y="18147"/>
                      </a:cubicBezTo>
                      <a:cubicBezTo>
                        <a:pt x="23213" y="24873"/>
                        <a:pt x="15366" y="28236"/>
                        <a:pt x="8390" y="25621"/>
                      </a:cubicBezTo>
                      <a:cubicBezTo>
                        <a:pt x="1415" y="22756"/>
                        <a:pt x="-1823" y="14784"/>
                        <a:pt x="1041"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5" name="Freeform 8704">
                  <a:extLst>
                    <a:ext uri="{FF2B5EF4-FFF2-40B4-BE49-F238E27FC236}">
                      <a16:creationId xmlns:a16="http://schemas.microsoft.com/office/drawing/2014/main" id="{18F6CEE2-8E26-CB44-0A4E-738FD7CBB0C8}"/>
                    </a:ext>
                  </a:extLst>
                </p:cNvPr>
                <p:cNvSpPr/>
                <p:nvPr/>
              </p:nvSpPr>
              <p:spPr>
                <a:xfrm>
                  <a:off x="2510335" y="1285385"/>
                  <a:ext cx="20427" cy="48079"/>
                </a:xfrm>
                <a:custGeom>
                  <a:avLst/>
                  <a:gdLst>
                    <a:gd name="connsiteX0" fmla="*/ 20427 w 20427"/>
                    <a:gd name="connsiteY0" fmla="*/ 0 h 48079"/>
                    <a:gd name="connsiteX1" fmla="*/ 11584 w 20427"/>
                    <a:gd name="connsiteY1" fmla="*/ 16566 h 48079"/>
                    <a:gd name="connsiteX2" fmla="*/ 8221 w 20427"/>
                    <a:gd name="connsiteY2" fmla="*/ 33755 h 48079"/>
                    <a:gd name="connsiteX3" fmla="*/ 0 w 20427"/>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427" h="48079">
                      <a:moveTo>
                        <a:pt x="20427" y="0"/>
                      </a:moveTo>
                      <a:cubicBezTo>
                        <a:pt x="15072" y="6477"/>
                        <a:pt x="12705" y="12331"/>
                        <a:pt x="11584" y="16566"/>
                      </a:cubicBezTo>
                      <a:cubicBezTo>
                        <a:pt x="9591" y="23292"/>
                        <a:pt x="10463" y="27029"/>
                        <a:pt x="8221" y="33755"/>
                      </a:cubicBezTo>
                      <a:cubicBezTo>
                        <a:pt x="6103" y="40357"/>
                        <a:pt x="2616" y="45090"/>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6" name="Freeform 8705">
                  <a:extLst>
                    <a:ext uri="{FF2B5EF4-FFF2-40B4-BE49-F238E27FC236}">
                      <a16:creationId xmlns:a16="http://schemas.microsoft.com/office/drawing/2014/main" id="{2B6DC559-229E-61BC-B7AA-4540D9A4B788}"/>
                    </a:ext>
                  </a:extLst>
                </p:cNvPr>
                <p:cNvSpPr/>
                <p:nvPr/>
              </p:nvSpPr>
              <p:spPr>
                <a:xfrm>
                  <a:off x="2520051" y="1283267"/>
                  <a:ext cx="19057" cy="48577"/>
                </a:xfrm>
                <a:custGeom>
                  <a:avLst/>
                  <a:gdLst>
                    <a:gd name="connsiteX0" fmla="*/ 0 w 19057"/>
                    <a:gd name="connsiteY0" fmla="*/ 48577 h 48577"/>
                    <a:gd name="connsiteX1" fmla="*/ 5231 w 19057"/>
                    <a:gd name="connsiteY1" fmla="*/ 30517 h 48577"/>
                    <a:gd name="connsiteX2" fmla="*/ 14822 w 19057"/>
                    <a:gd name="connsiteY2" fmla="*/ 15943 h 48577"/>
                    <a:gd name="connsiteX3" fmla="*/ 19057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4" y="24413"/>
                        <a:pt x="11708" y="22296"/>
                        <a:pt x="14822" y="15943"/>
                      </a:cubicBezTo>
                      <a:cubicBezTo>
                        <a:pt x="17936" y="9715"/>
                        <a:pt x="18808" y="3986"/>
                        <a:pt x="190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7" name="Freeform 8706">
                  <a:extLst>
                    <a:ext uri="{FF2B5EF4-FFF2-40B4-BE49-F238E27FC236}">
                      <a16:creationId xmlns:a16="http://schemas.microsoft.com/office/drawing/2014/main" id="{716B3278-D0EE-FF5A-D159-B97F02F221B5}"/>
                    </a:ext>
                  </a:extLst>
                </p:cNvPr>
                <p:cNvSpPr/>
                <p:nvPr/>
              </p:nvSpPr>
              <p:spPr>
                <a:xfrm>
                  <a:off x="2523542" y="1266812"/>
                  <a:ext cx="26447" cy="26435"/>
                </a:xfrm>
                <a:custGeom>
                  <a:avLst/>
                  <a:gdLst>
                    <a:gd name="connsiteX0" fmla="*/ 25406 w 26447"/>
                    <a:gd name="connsiteY0" fmla="*/ 18074 h 26435"/>
                    <a:gd name="connsiteX1" fmla="*/ 8093 w 26447"/>
                    <a:gd name="connsiteY1" fmla="*/ 25548 h 26435"/>
                    <a:gd name="connsiteX2" fmla="*/ 993 w 26447"/>
                    <a:gd name="connsiteY2" fmla="*/ 8110 h 26435"/>
                    <a:gd name="connsiteX3" fmla="*/ 18057 w 26447"/>
                    <a:gd name="connsiteY3" fmla="*/ 1010 h 26435"/>
                    <a:gd name="connsiteX4" fmla="*/ 25406 w 26447"/>
                    <a:gd name="connsiteY4" fmla="*/ 1807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35">
                      <a:moveTo>
                        <a:pt x="25406" y="18074"/>
                      </a:moveTo>
                      <a:cubicBezTo>
                        <a:pt x="22666" y="24801"/>
                        <a:pt x="14943" y="28164"/>
                        <a:pt x="8093" y="25548"/>
                      </a:cubicBezTo>
                      <a:cubicBezTo>
                        <a:pt x="1367" y="22808"/>
                        <a:pt x="-1747" y="14836"/>
                        <a:pt x="993" y="8110"/>
                      </a:cubicBezTo>
                      <a:cubicBezTo>
                        <a:pt x="3858" y="1259"/>
                        <a:pt x="11331" y="-1730"/>
                        <a:pt x="18057" y="1010"/>
                      </a:cubicBezTo>
                      <a:cubicBezTo>
                        <a:pt x="25033" y="3750"/>
                        <a:pt x="28271" y="11348"/>
                        <a:pt x="25406" y="18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1" name="Graphic 2987">
                <a:extLst>
                  <a:ext uri="{FF2B5EF4-FFF2-40B4-BE49-F238E27FC236}">
                    <a16:creationId xmlns:a16="http://schemas.microsoft.com/office/drawing/2014/main" id="{D8C1F631-69CB-03DC-91C8-82AFC37E81C4}"/>
                  </a:ext>
                </a:extLst>
              </p:cNvPr>
              <p:cNvGrpSpPr/>
              <p:nvPr/>
            </p:nvGrpSpPr>
            <p:grpSpPr>
              <a:xfrm>
                <a:off x="2449432" y="1255298"/>
                <a:ext cx="73481" cy="139714"/>
                <a:chOff x="2449432" y="1255298"/>
                <a:chExt cx="73481" cy="139714"/>
              </a:xfrm>
              <a:grpFill/>
            </p:grpSpPr>
            <p:sp>
              <p:nvSpPr>
                <p:cNvPr id="5586" name="Freeform 8708">
                  <a:extLst>
                    <a:ext uri="{FF2B5EF4-FFF2-40B4-BE49-F238E27FC236}">
                      <a16:creationId xmlns:a16="http://schemas.microsoft.com/office/drawing/2014/main" id="{8F7FC436-785D-90AA-B9C5-B39FDDCF9877}"/>
                    </a:ext>
                  </a:extLst>
                </p:cNvPr>
                <p:cNvSpPr/>
                <p:nvPr/>
              </p:nvSpPr>
              <p:spPr>
                <a:xfrm>
                  <a:off x="2468857" y="1328731"/>
                  <a:ext cx="20551" cy="47830"/>
                </a:xfrm>
                <a:custGeom>
                  <a:avLst/>
                  <a:gdLst>
                    <a:gd name="connsiteX0" fmla="*/ 0 w 20551"/>
                    <a:gd name="connsiteY0" fmla="*/ 47830 h 47830"/>
                    <a:gd name="connsiteX1" fmla="*/ 8968 w 20551"/>
                    <a:gd name="connsiteY1" fmla="*/ 31389 h 47830"/>
                    <a:gd name="connsiteX2" fmla="*/ 12331 w 20551"/>
                    <a:gd name="connsiteY2" fmla="*/ 14200 h 47830"/>
                    <a:gd name="connsiteX3" fmla="*/ 20552 w 20551"/>
                    <a:gd name="connsiteY3" fmla="*/ 0 h 47830"/>
                  </a:gdLst>
                  <a:ahLst/>
                  <a:cxnLst>
                    <a:cxn ang="0">
                      <a:pos x="connsiteX0" y="connsiteY0"/>
                    </a:cxn>
                    <a:cxn ang="0">
                      <a:pos x="connsiteX1" y="connsiteY1"/>
                    </a:cxn>
                    <a:cxn ang="0">
                      <a:pos x="connsiteX2" y="connsiteY2"/>
                    </a:cxn>
                    <a:cxn ang="0">
                      <a:pos x="connsiteX3" y="connsiteY3"/>
                    </a:cxn>
                  </a:cxnLst>
                  <a:rect l="l" t="t" r="r" b="b"/>
                  <a:pathLst>
                    <a:path w="20551" h="47830">
                      <a:moveTo>
                        <a:pt x="0" y="47830"/>
                      </a:moveTo>
                      <a:cubicBezTo>
                        <a:pt x="5356" y="41353"/>
                        <a:pt x="7847" y="35499"/>
                        <a:pt x="8968" y="31389"/>
                      </a:cubicBezTo>
                      <a:cubicBezTo>
                        <a:pt x="10961" y="24662"/>
                        <a:pt x="10089" y="20926"/>
                        <a:pt x="12331" y="14200"/>
                      </a:cubicBezTo>
                      <a:cubicBezTo>
                        <a:pt x="14573" y="7598"/>
                        <a:pt x="18061" y="2865"/>
                        <a:pt x="205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7" name="Freeform 8709">
                  <a:extLst>
                    <a:ext uri="{FF2B5EF4-FFF2-40B4-BE49-F238E27FC236}">
                      <a16:creationId xmlns:a16="http://schemas.microsoft.com/office/drawing/2014/main" id="{68F85FE0-9F31-365C-00AF-E2F783220B93}"/>
                    </a:ext>
                  </a:extLst>
                </p:cNvPr>
                <p:cNvSpPr/>
                <p:nvPr/>
              </p:nvSpPr>
              <p:spPr>
                <a:xfrm>
                  <a:off x="2460387" y="1329976"/>
                  <a:ext cx="19430" cy="48452"/>
                </a:xfrm>
                <a:custGeom>
                  <a:avLst/>
                  <a:gdLst>
                    <a:gd name="connsiteX0" fmla="*/ 19431 w 19430"/>
                    <a:gd name="connsiteY0" fmla="*/ 0 h 48452"/>
                    <a:gd name="connsiteX1" fmla="*/ 14075 w 19430"/>
                    <a:gd name="connsiteY1" fmla="*/ 18061 h 48452"/>
                    <a:gd name="connsiteX2" fmla="*/ 4360 w 19430"/>
                    <a:gd name="connsiteY2" fmla="*/ 32510 h 48452"/>
                    <a:gd name="connsiteX3" fmla="*/ 0 w 19430"/>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430" h="48452">
                      <a:moveTo>
                        <a:pt x="19431" y="0"/>
                      </a:moveTo>
                      <a:cubicBezTo>
                        <a:pt x="18559" y="8470"/>
                        <a:pt x="16193" y="14200"/>
                        <a:pt x="14075" y="18061"/>
                      </a:cubicBezTo>
                      <a:cubicBezTo>
                        <a:pt x="10712" y="24164"/>
                        <a:pt x="7598" y="26157"/>
                        <a:pt x="4360" y="32510"/>
                      </a:cubicBezTo>
                      <a:cubicBezTo>
                        <a:pt x="1246" y="38613"/>
                        <a:pt x="374"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8" name="Freeform 8710">
                  <a:extLst>
                    <a:ext uri="{FF2B5EF4-FFF2-40B4-BE49-F238E27FC236}">
                      <a16:creationId xmlns:a16="http://schemas.microsoft.com/office/drawing/2014/main" id="{F90DB8ED-3245-17B8-128E-A23698E01288}"/>
                    </a:ext>
                  </a:extLst>
                </p:cNvPr>
                <p:cNvSpPr/>
                <p:nvPr/>
              </p:nvSpPr>
              <p:spPr>
                <a:xfrm>
                  <a:off x="2449432" y="1368323"/>
                  <a:ext cx="26627" cy="26688"/>
                </a:xfrm>
                <a:custGeom>
                  <a:avLst/>
                  <a:gdLst>
                    <a:gd name="connsiteX0" fmla="*/ 991 w 26627"/>
                    <a:gd name="connsiteY0" fmla="*/ 7988 h 26688"/>
                    <a:gd name="connsiteX1" fmla="*/ 18429 w 26627"/>
                    <a:gd name="connsiteY1" fmla="*/ 1138 h 26688"/>
                    <a:gd name="connsiteX2" fmla="*/ 25654 w 26627"/>
                    <a:gd name="connsiteY2" fmla="*/ 18700 h 26688"/>
                    <a:gd name="connsiteX3" fmla="*/ 8215 w 26627"/>
                    <a:gd name="connsiteY3" fmla="*/ 25551 h 26688"/>
                    <a:gd name="connsiteX4" fmla="*/ 991 w 26627"/>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88">
                      <a:moveTo>
                        <a:pt x="991" y="7988"/>
                      </a:moveTo>
                      <a:cubicBezTo>
                        <a:pt x="3856" y="1262"/>
                        <a:pt x="11579" y="-1852"/>
                        <a:pt x="18429" y="1138"/>
                      </a:cubicBezTo>
                      <a:cubicBezTo>
                        <a:pt x="25155" y="4127"/>
                        <a:pt x="28394" y="11974"/>
                        <a:pt x="25654" y="18700"/>
                      </a:cubicBezTo>
                      <a:cubicBezTo>
                        <a:pt x="22913" y="25427"/>
                        <a:pt x="15066" y="28540"/>
                        <a:pt x="8215" y="25551"/>
                      </a:cubicBezTo>
                      <a:cubicBezTo>
                        <a:pt x="1365" y="22562"/>
                        <a:pt x="-1749" y="14715"/>
                        <a:pt x="99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9" name="Freeform 8711">
                  <a:extLst>
                    <a:ext uri="{FF2B5EF4-FFF2-40B4-BE49-F238E27FC236}">
                      <a16:creationId xmlns:a16="http://schemas.microsoft.com/office/drawing/2014/main" id="{EFE36A44-1760-610E-2B21-9944FD371AF0}"/>
                    </a:ext>
                  </a:extLst>
                </p:cNvPr>
                <p:cNvSpPr/>
                <p:nvPr/>
              </p:nvSpPr>
              <p:spPr>
                <a:xfrm>
                  <a:off x="2483181" y="1273676"/>
                  <a:ext cx="20676" cy="47705"/>
                </a:xfrm>
                <a:custGeom>
                  <a:avLst/>
                  <a:gdLst>
                    <a:gd name="connsiteX0" fmla="*/ 20677 w 20676"/>
                    <a:gd name="connsiteY0" fmla="*/ 0 h 47705"/>
                    <a:gd name="connsiteX1" fmla="*/ 11708 w 20676"/>
                    <a:gd name="connsiteY1" fmla="*/ 16442 h 47705"/>
                    <a:gd name="connsiteX2" fmla="*/ 8221 w 20676"/>
                    <a:gd name="connsiteY2" fmla="*/ 33506 h 47705"/>
                    <a:gd name="connsiteX3" fmla="*/ 0 w 20676"/>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676" h="47705">
                      <a:moveTo>
                        <a:pt x="20677" y="0"/>
                      </a:moveTo>
                      <a:cubicBezTo>
                        <a:pt x="15321" y="6477"/>
                        <a:pt x="12954" y="12331"/>
                        <a:pt x="11708" y="16442"/>
                      </a:cubicBezTo>
                      <a:cubicBezTo>
                        <a:pt x="9715" y="23168"/>
                        <a:pt x="10463" y="26780"/>
                        <a:pt x="8221" y="33506"/>
                      </a:cubicBezTo>
                      <a:cubicBezTo>
                        <a:pt x="5979" y="40108"/>
                        <a:pt x="2491" y="44841"/>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0" name="Freeform 8712">
                  <a:extLst>
                    <a:ext uri="{FF2B5EF4-FFF2-40B4-BE49-F238E27FC236}">
                      <a16:creationId xmlns:a16="http://schemas.microsoft.com/office/drawing/2014/main" id="{A9EECA2F-DB4C-747F-F256-D11E39D664E3}"/>
                    </a:ext>
                  </a:extLst>
                </p:cNvPr>
                <p:cNvSpPr/>
                <p:nvPr/>
              </p:nvSpPr>
              <p:spPr>
                <a:xfrm>
                  <a:off x="2492772" y="1271808"/>
                  <a:ext cx="19430" cy="48452"/>
                </a:xfrm>
                <a:custGeom>
                  <a:avLst/>
                  <a:gdLst>
                    <a:gd name="connsiteX0" fmla="*/ 0 w 19430"/>
                    <a:gd name="connsiteY0" fmla="*/ 48453 h 48452"/>
                    <a:gd name="connsiteX1" fmla="*/ 5356 w 19430"/>
                    <a:gd name="connsiteY1" fmla="*/ 30392 h 48452"/>
                    <a:gd name="connsiteX2" fmla="*/ 15071 w 19430"/>
                    <a:gd name="connsiteY2" fmla="*/ 15943 h 48452"/>
                    <a:gd name="connsiteX3" fmla="*/ 19431 w 19430"/>
                    <a:gd name="connsiteY3" fmla="*/ 0 h 48452"/>
                  </a:gdLst>
                  <a:ahLst/>
                  <a:cxnLst>
                    <a:cxn ang="0">
                      <a:pos x="connsiteX0" y="connsiteY0"/>
                    </a:cxn>
                    <a:cxn ang="0">
                      <a:pos x="connsiteX1" y="connsiteY1"/>
                    </a:cxn>
                    <a:cxn ang="0">
                      <a:pos x="connsiteX2" y="connsiteY2"/>
                    </a:cxn>
                    <a:cxn ang="0">
                      <a:pos x="connsiteX3" y="connsiteY3"/>
                    </a:cxn>
                  </a:cxnLst>
                  <a:rect l="l" t="t" r="r" b="b"/>
                  <a:pathLst>
                    <a:path w="19430" h="48452">
                      <a:moveTo>
                        <a:pt x="0" y="48453"/>
                      </a:moveTo>
                      <a:cubicBezTo>
                        <a:pt x="872" y="39983"/>
                        <a:pt x="3238" y="34253"/>
                        <a:pt x="5356" y="30392"/>
                      </a:cubicBezTo>
                      <a:cubicBezTo>
                        <a:pt x="8719" y="24289"/>
                        <a:pt x="11833" y="22296"/>
                        <a:pt x="15071" y="15943"/>
                      </a:cubicBezTo>
                      <a:cubicBezTo>
                        <a:pt x="18185" y="9715"/>
                        <a:pt x="19057" y="3986"/>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1" name="Freeform 8713">
                  <a:extLst>
                    <a:ext uri="{FF2B5EF4-FFF2-40B4-BE49-F238E27FC236}">
                      <a16:creationId xmlns:a16="http://schemas.microsoft.com/office/drawing/2014/main" id="{67497B49-893E-8ECA-06F0-A5F8D72E68C2}"/>
                    </a:ext>
                  </a:extLst>
                </p:cNvPr>
                <p:cNvSpPr/>
                <p:nvPr/>
              </p:nvSpPr>
              <p:spPr>
                <a:xfrm>
                  <a:off x="2496867" y="1255298"/>
                  <a:ext cx="26046" cy="26595"/>
                </a:xfrm>
                <a:custGeom>
                  <a:avLst/>
                  <a:gdLst>
                    <a:gd name="connsiteX0" fmla="*/ 25052 w 26046"/>
                    <a:gd name="connsiteY0" fmla="*/ 18503 h 26595"/>
                    <a:gd name="connsiteX1" fmla="*/ 7987 w 26046"/>
                    <a:gd name="connsiteY1" fmla="*/ 25478 h 26595"/>
                    <a:gd name="connsiteX2" fmla="*/ 1012 w 26046"/>
                    <a:gd name="connsiteY2" fmla="*/ 8040 h 26595"/>
                    <a:gd name="connsiteX3" fmla="*/ 18076 w 26046"/>
                    <a:gd name="connsiteY3" fmla="*/ 1065 h 26595"/>
                    <a:gd name="connsiteX4" fmla="*/ 25052 w 26046"/>
                    <a:gd name="connsiteY4" fmla="*/ 18503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5" h="26595">
                      <a:moveTo>
                        <a:pt x="25052" y="18503"/>
                      </a:moveTo>
                      <a:cubicBezTo>
                        <a:pt x="22311" y="25229"/>
                        <a:pt x="14589" y="28467"/>
                        <a:pt x="7987" y="25478"/>
                      </a:cubicBezTo>
                      <a:cubicBezTo>
                        <a:pt x="1261" y="22613"/>
                        <a:pt x="-1728" y="14766"/>
                        <a:pt x="1012" y="8040"/>
                      </a:cubicBezTo>
                      <a:cubicBezTo>
                        <a:pt x="3877" y="1314"/>
                        <a:pt x="11475" y="-1800"/>
                        <a:pt x="18076" y="1065"/>
                      </a:cubicBezTo>
                      <a:cubicBezTo>
                        <a:pt x="24678" y="3929"/>
                        <a:pt x="27792" y="11777"/>
                        <a:pt x="25052"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2" name="Graphic 2987">
                <a:extLst>
                  <a:ext uri="{FF2B5EF4-FFF2-40B4-BE49-F238E27FC236}">
                    <a16:creationId xmlns:a16="http://schemas.microsoft.com/office/drawing/2014/main" id="{1A53A601-2D78-3BAC-BB6F-109371F5C552}"/>
                  </a:ext>
                </a:extLst>
              </p:cNvPr>
              <p:cNvGrpSpPr/>
              <p:nvPr/>
            </p:nvGrpSpPr>
            <p:grpSpPr>
              <a:xfrm>
                <a:off x="2421850" y="1243714"/>
                <a:ext cx="74230" cy="139340"/>
                <a:chOff x="2421850" y="1243714"/>
                <a:chExt cx="74230" cy="139340"/>
              </a:xfrm>
              <a:grpFill/>
            </p:grpSpPr>
            <p:sp>
              <p:nvSpPr>
                <p:cNvPr id="5580" name="Freeform 8715">
                  <a:extLst>
                    <a:ext uri="{FF2B5EF4-FFF2-40B4-BE49-F238E27FC236}">
                      <a16:creationId xmlns:a16="http://schemas.microsoft.com/office/drawing/2014/main" id="{B2599941-5CF0-50DB-4437-12410DD319C1}"/>
                    </a:ext>
                  </a:extLst>
                </p:cNvPr>
                <p:cNvSpPr/>
                <p:nvPr/>
              </p:nvSpPr>
              <p:spPr>
                <a:xfrm>
                  <a:off x="2441454" y="1316898"/>
                  <a:ext cx="20925" cy="47705"/>
                </a:xfrm>
                <a:custGeom>
                  <a:avLst/>
                  <a:gdLst>
                    <a:gd name="connsiteX0" fmla="*/ 0 w 20925"/>
                    <a:gd name="connsiteY0" fmla="*/ 47706 h 47705"/>
                    <a:gd name="connsiteX1" fmla="*/ 9093 w 20925"/>
                    <a:gd name="connsiteY1" fmla="*/ 31264 h 47705"/>
                    <a:gd name="connsiteX2" fmla="*/ 12580 w 20925"/>
                    <a:gd name="connsiteY2" fmla="*/ 14200 h 47705"/>
                    <a:gd name="connsiteX3" fmla="*/ 20926 w 20925"/>
                    <a:gd name="connsiteY3" fmla="*/ 0 h 47705"/>
                  </a:gdLst>
                  <a:ahLst/>
                  <a:cxnLst>
                    <a:cxn ang="0">
                      <a:pos x="connsiteX0" y="connsiteY0"/>
                    </a:cxn>
                    <a:cxn ang="0">
                      <a:pos x="connsiteX1" y="connsiteY1"/>
                    </a:cxn>
                    <a:cxn ang="0">
                      <a:pos x="connsiteX2" y="connsiteY2"/>
                    </a:cxn>
                    <a:cxn ang="0">
                      <a:pos x="connsiteX3" y="connsiteY3"/>
                    </a:cxn>
                  </a:cxnLst>
                  <a:rect l="l" t="t" r="r" b="b"/>
                  <a:pathLst>
                    <a:path w="20925" h="47705">
                      <a:moveTo>
                        <a:pt x="0" y="47706"/>
                      </a:moveTo>
                      <a:cubicBezTo>
                        <a:pt x="5481" y="41353"/>
                        <a:pt x="7847" y="35499"/>
                        <a:pt x="9093" y="31264"/>
                      </a:cubicBezTo>
                      <a:cubicBezTo>
                        <a:pt x="11086" y="24538"/>
                        <a:pt x="10338" y="20926"/>
                        <a:pt x="12580" y="14200"/>
                      </a:cubicBezTo>
                      <a:cubicBezTo>
                        <a:pt x="14822" y="7598"/>
                        <a:pt x="18310" y="2989"/>
                        <a:pt x="20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1" name="Freeform 8716">
                  <a:extLst>
                    <a:ext uri="{FF2B5EF4-FFF2-40B4-BE49-F238E27FC236}">
                      <a16:creationId xmlns:a16="http://schemas.microsoft.com/office/drawing/2014/main" id="{1B79F6D6-A2DE-B142-AD2F-2DDA78963B40}"/>
                    </a:ext>
                  </a:extLst>
                </p:cNvPr>
                <p:cNvSpPr/>
                <p:nvPr/>
              </p:nvSpPr>
              <p:spPr>
                <a:xfrm>
                  <a:off x="2432985" y="1318143"/>
                  <a:ext cx="19680" cy="48328"/>
                </a:xfrm>
                <a:custGeom>
                  <a:avLst/>
                  <a:gdLst>
                    <a:gd name="connsiteX0" fmla="*/ 19680 w 19680"/>
                    <a:gd name="connsiteY0" fmla="*/ 0 h 48328"/>
                    <a:gd name="connsiteX1" fmla="*/ 14200 w 19680"/>
                    <a:gd name="connsiteY1" fmla="*/ 18061 h 48328"/>
                    <a:gd name="connsiteX2" fmla="*/ 4359 w 19680"/>
                    <a:gd name="connsiteY2" fmla="*/ 32385 h 48328"/>
                    <a:gd name="connsiteX3" fmla="*/ 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19680" y="0"/>
                      </a:moveTo>
                      <a:cubicBezTo>
                        <a:pt x="18808" y="8345"/>
                        <a:pt x="16317" y="14200"/>
                        <a:pt x="14200" y="18061"/>
                      </a:cubicBezTo>
                      <a:cubicBezTo>
                        <a:pt x="10712" y="24164"/>
                        <a:pt x="7598" y="26157"/>
                        <a:pt x="4359" y="32385"/>
                      </a:cubicBezTo>
                      <a:cubicBezTo>
                        <a:pt x="1245" y="38488"/>
                        <a:pt x="249"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2" name="Freeform 8717">
                  <a:extLst>
                    <a:ext uri="{FF2B5EF4-FFF2-40B4-BE49-F238E27FC236}">
                      <a16:creationId xmlns:a16="http://schemas.microsoft.com/office/drawing/2014/main" id="{FD8CAA35-63D2-E2AC-6A04-F30F76E8C354}"/>
                    </a:ext>
                  </a:extLst>
                </p:cNvPr>
                <p:cNvSpPr/>
                <p:nvPr/>
              </p:nvSpPr>
              <p:spPr>
                <a:xfrm>
                  <a:off x="2421850" y="1356366"/>
                  <a:ext cx="26628" cy="26688"/>
                </a:xfrm>
                <a:custGeom>
                  <a:avLst/>
                  <a:gdLst>
                    <a:gd name="connsiteX0" fmla="*/ 1045 w 26628"/>
                    <a:gd name="connsiteY0" fmla="*/ 7988 h 26688"/>
                    <a:gd name="connsiteX1" fmla="*/ 18483 w 26628"/>
                    <a:gd name="connsiteY1" fmla="*/ 1138 h 26688"/>
                    <a:gd name="connsiteX2" fmla="*/ 25583 w 26628"/>
                    <a:gd name="connsiteY2" fmla="*/ 18700 h 26688"/>
                    <a:gd name="connsiteX3" fmla="*/ 8145 w 26628"/>
                    <a:gd name="connsiteY3" fmla="*/ 25551 h 26688"/>
                    <a:gd name="connsiteX4" fmla="*/ 1045 w 26628"/>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88">
                      <a:moveTo>
                        <a:pt x="1045" y="7988"/>
                      </a:moveTo>
                      <a:cubicBezTo>
                        <a:pt x="3910" y="1262"/>
                        <a:pt x="11757" y="-1852"/>
                        <a:pt x="18483" y="1138"/>
                      </a:cubicBezTo>
                      <a:cubicBezTo>
                        <a:pt x="25209" y="4127"/>
                        <a:pt x="28448" y="11974"/>
                        <a:pt x="25583" y="18700"/>
                      </a:cubicBezTo>
                      <a:cubicBezTo>
                        <a:pt x="22718" y="25427"/>
                        <a:pt x="14871" y="28540"/>
                        <a:pt x="8145" y="25551"/>
                      </a:cubicBezTo>
                      <a:cubicBezTo>
                        <a:pt x="1419" y="22562"/>
                        <a:pt x="-1820" y="14715"/>
                        <a:pt x="1045"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3" name="Freeform 8718">
                  <a:extLst>
                    <a:ext uri="{FF2B5EF4-FFF2-40B4-BE49-F238E27FC236}">
                      <a16:creationId xmlns:a16="http://schemas.microsoft.com/office/drawing/2014/main" id="{36B968CE-C7E0-C1FA-12CA-6ACC16294DD0}"/>
                    </a:ext>
                  </a:extLst>
                </p:cNvPr>
                <p:cNvSpPr/>
                <p:nvPr/>
              </p:nvSpPr>
              <p:spPr>
                <a:xfrm>
                  <a:off x="2456028" y="1262092"/>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570" y="6477"/>
                        <a:pt x="13079" y="12207"/>
                        <a:pt x="11833" y="16442"/>
                      </a:cubicBezTo>
                      <a:cubicBezTo>
                        <a:pt x="9840" y="23168"/>
                        <a:pt x="10587" y="26780"/>
                        <a:pt x="8346" y="33506"/>
                      </a:cubicBezTo>
                      <a:cubicBezTo>
                        <a:pt x="6103"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4" name="Freeform 8719">
                  <a:extLst>
                    <a:ext uri="{FF2B5EF4-FFF2-40B4-BE49-F238E27FC236}">
                      <a16:creationId xmlns:a16="http://schemas.microsoft.com/office/drawing/2014/main" id="{74C2E997-4560-4458-9545-6BA6AF32C9A0}"/>
                    </a:ext>
                  </a:extLst>
                </p:cNvPr>
                <p:cNvSpPr/>
                <p:nvPr/>
              </p:nvSpPr>
              <p:spPr>
                <a:xfrm>
                  <a:off x="2465619" y="1260224"/>
                  <a:ext cx="19555" cy="48328"/>
                </a:xfrm>
                <a:custGeom>
                  <a:avLst/>
                  <a:gdLst>
                    <a:gd name="connsiteX0" fmla="*/ 0 w 19555"/>
                    <a:gd name="connsiteY0" fmla="*/ 48328 h 48328"/>
                    <a:gd name="connsiteX1" fmla="*/ 5481 w 19555"/>
                    <a:gd name="connsiteY1" fmla="*/ 30268 h 48328"/>
                    <a:gd name="connsiteX2" fmla="*/ 15196 w 19555"/>
                    <a:gd name="connsiteY2" fmla="*/ 15943 h 48328"/>
                    <a:gd name="connsiteX3" fmla="*/ 19556 w 19555"/>
                    <a:gd name="connsiteY3" fmla="*/ 0 h 48328"/>
                  </a:gdLst>
                  <a:ahLst/>
                  <a:cxnLst>
                    <a:cxn ang="0">
                      <a:pos x="connsiteX0" y="connsiteY0"/>
                    </a:cxn>
                    <a:cxn ang="0">
                      <a:pos x="connsiteX1" y="connsiteY1"/>
                    </a:cxn>
                    <a:cxn ang="0">
                      <a:pos x="connsiteX2" y="connsiteY2"/>
                    </a:cxn>
                    <a:cxn ang="0">
                      <a:pos x="connsiteX3" y="connsiteY3"/>
                    </a:cxn>
                  </a:cxnLst>
                  <a:rect l="l" t="t" r="r" b="b"/>
                  <a:pathLst>
                    <a:path w="19555" h="48328">
                      <a:moveTo>
                        <a:pt x="0" y="48328"/>
                      </a:moveTo>
                      <a:cubicBezTo>
                        <a:pt x="872" y="39983"/>
                        <a:pt x="3363" y="34129"/>
                        <a:pt x="5481" y="30268"/>
                      </a:cubicBezTo>
                      <a:cubicBezTo>
                        <a:pt x="8844" y="24164"/>
                        <a:pt x="12082" y="22171"/>
                        <a:pt x="15196" y="15943"/>
                      </a:cubicBezTo>
                      <a:cubicBezTo>
                        <a:pt x="18310" y="9840"/>
                        <a:pt x="19306" y="3986"/>
                        <a:pt x="195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5" name="Freeform 8720">
                  <a:extLst>
                    <a:ext uri="{FF2B5EF4-FFF2-40B4-BE49-F238E27FC236}">
                      <a16:creationId xmlns:a16="http://schemas.microsoft.com/office/drawing/2014/main" id="{E4D5D814-C2C2-9351-E53D-4DBA8B6FA213}"/>
                    </a:ext>
                  </a:extLst>
                </p:cNvPr>
                <p:cNvSpPr/>
                <p:nvPr/>
              </p:nvSpPr>
              <p:spPr>
                <a:xfrm>
                  <a:off x="2469890" y="1243714"/>
                  <a:ext cx="26190" cy="26542"/>
                </a:xfrm>
                <a:custGeom>
                  <a:avLst/>
                  <a:gdLst>
                    <a:gd name="connsiteX0" fmla="*/ 25124 w 26190"/>
                    <a:gd name="connsiteY0" fmla="*/ 18503 h 26542"/>
                    <a:gd name="connsiteX1" fmla="*/ 7935 w 26190"/>
                    <a:gd name="connsiteY1" fmla="*/ 25478 h 26542"/>
                    <a:gd name="connsiteX2" fmla="*/ 1085 w 26190"/>
                    <a:gd name="connsiteY2" fmla="*/ 8040 h 26542"/>
                    <a:gd name="connsiteX3" fmla="*/ 18274 w 26190"/>
                    <a:gd name="connsiteY3" fmla="*/ 1065 h 26542"/>
                    <a:gd name="connsiteX4" fmla="*/ 25124 w 26190"/>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0" h="26542">
                      <a:moveTo>
                        <a:pt x="25124" y="18503"/>
                      </a:moveTo>
                      <a:cubicBezTo>
                        <a:pt x="22260" y="25229"/>
                        <a:pt x="14537" y="28343"/>
                        <a:pt x="7935" y="25478"/>
                      </a:cubicBezTo>
                      <a:cubicBezTo>
                        <a:pt x="1209" y="22613"/>
                        <a:pt x="-1780" y="14766"/>
                        <a:pt x="1085" y="8040"/>
                      </a:cubicBezTo>
                      <a:cubicBezTo>
                        <a:pt x="3950" y="1314"/>
                        <a:pt x="11672" y="-1800"/>
                        <a:pt x="18274" y="1065"/>
                      </a:cubicBezTo>
                      <a:cubicBezTo>
                        <a:pt x="24875" y="3929"/>
                        <a:pt x="27989" y="11777"/>
                        <a:pt x="25124"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3" name="Graphic 2987">
                <a:extLst>
                  <a:ext uri="{FF2B5EF4-FFF2-40B4-BE49-F238E27FC236}">
                    <a16:creationId xmlns:a16="http://schemas.microsoft.com/office/drawing/2014/main" id="{2F760F60-A7F0-0BBD-9D71-D2F1D13612EA}"/>
                  </a:ext>
                </a:extLst>
              </p:cNvPr>
              <p:cNvGrpSpPr/>
              <p:nvPr/>
            </p:nvGrpSpPr>
            <p:grpSpPr>
              <a:xfrm>
                <a:off x="2394306" y="1232006"/>
                <a:ext cx="74889" cy="139091"/>
                <a:chOff x="2394306" y="1232006"/>
                <a:chExt cx="74889" cy="139091"/>
              </a:xfrm>
              <a:grpFill/>
            </p:grpSpPr>
            <p:sp>
              <p:nvSpPr>
                <p:cNvPr id="5574" name="Freeform 8722">
                  <a:extLst>
                    <a:ext uri="{FF2B5EF4-FFF2-40B4-BE49-F238E27FC236}">
                      <a16:creationId xmlns:a16="http://schemas.microsoft.com/office/drawing/2014/main" id="{536AA3DA-3ADA-91F0-B3F3-F65545A00000}"/>
                    </a:ext>
                  </a:extLst>
                </p:cNvPr>
                <p:cNvSpPr/>
                <p:nvPr/>
              </p:nvSpPr>
              <p:spPr>
                <a:xfrm>
                  <a:off x="2413927" y="1305065"/>
                  <a:ext cx="21299" cy="47705"/>
                </a:xfrm>
                <a:custGeom>
                  <a:avLst/>
                  <a:gdLst>
                    <a:gd name="connsiteX0" fmla="*/ 0 w 21299"/>
                    <a:gd name="connsiteY0" fmla="*/ 47706 h 47705"/>
                    <a:gd name="connsiteX1" fmla="*/ 9217 w 21299"/>
                    <a:gd name="connsiteY1" fmla="*/ 31264 h 47705"/>
                    <a:gd name="connsiteX2" fmla="*/ 12829 w 21299"/>
                    <a:gd name="connsiteY2" fmla="*/ 14200 h 47705"/>
                    <a:gd name="connsiteX3" fmla="*/ 21299 w 21299"/>
                    <a:gd name="connsiteY3" fmla="*/ 0 h 47705"/>
                  </a:gdLst>
                  <a:ahLst/>
                  <a:cxnLst>
                    <a:cxn ang="0">
                      <a:pos x="connsiteX0" y="connsiteY0"/>
                    </a:cxn>
                    <a:cxn ang="0">
                      <a:pos x="connsiteX1" y="connsiteY1"/>
                    </a:cxn>
                    <a:cxn ang="0">
                      <a:pos x="connsiteX2" y="connsiteY2"/>
                    </a:cxn>
                    <a:cxn ang="0">
                      <a:pos x="connsiteX3" y="connsiteY3"/>
                    </a:cxn>
                  </a:cxnLst>
                  <a:rect l="l" t="t" r="r" b="b"/>
                  <a:pathLst>
                    <a:path w="21299" h="47705">
                      <a:moveTo>
                        <a:pt x="0" y="47706"/>
                      </a:moveTo>
                      <a:cubicBezTo>
                        <a:pt x="5481" y="41353"/>
                        <a:pt x="7972" y="35499"/>
                        <a:pt x="9217" y="31264"/>
                      </a:cubicBezTo>
                      <a:cubicBezTo>
                        <a:pt x="11210" y="24538"/>
                        <a:pt x="10463" y="20926"/>
                        <a:pt x="12829" y="14200"/>
                      </a:cubicBezTo>
                      <a:cubicBezTo>
                        <a:pt x="15071" y="7723"/>
                        <a:pt x="18684" y="2989"/>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5" name="Freeform 8723">
                  <a:extLst>
                    <a:ext uri="{FF2B5EF4-FFF2-40B4-BE49-F238E27FC236}">
                      <a16:creationId xmlns:a16="http://schemas.microsoft.com/office/drawing/2014/main" id="{A1CFDE58-D511-0216-9FBE-1168AFB89737}"/>
                    </a:ext>
                  </a:extLst>
                </p:cNvPr>
                <p:cNvSpPr/>
                <p:nvPr/>
              </p:nvSpPr>
              <p:spPr>
                <a:xfrm>
                  <a:off x="2405333" y="1306310"/>
                  <a:ext cx="20053" cy="48203"/>
                </a:xfrm>
                <a:custGeom>
                  <a:avLst/>
                  <a:gdLst>
                    <a:gd name="connsiteX0" fmla="*/ 20054 w 20053"/>
                    <a:gd name="connsiteY0" fmla="*/ 0 h 48203"/>
                    <a:gd name="connsiteX1" fmla="*/ 14449 w 20053"/>
                    <a:gd name="connsiteY1" fmla="*/ 17936 h 48203"/>
                    <a:gd name="connsiteX2" fmla="*/ 4484 w 20053"/>
                    <a:gd name="connsiteY2" fmla="*/ 32260 h 48203"/>
                    <a:gd name="connsiteX3" fmla="*/ 0 w 20053"/>
                    <a:gd name="connsiteY3" fmla="*/ 48204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0"/>
                      </a:moveTo>
                      <a:cubicBezTo>
                        <a:pt x="19182" y="8345"/>
                        <a:pt x="16691" y="14200"/>
                        <a:pt x="14449" y="17936"/>
                      </a:cubicBezTo>
                      <a:cubicBezTo>
                        <a:pt x="10961" y="24040"/>
                        <a:pt x="7847" y="25908"/>
                        <a:pt x="4484" y="32260"/>
                      </a:cubicBezTo>
                      <a:cubicBezTo>
                        <a:pt x="1246" y="38364"/>
                        <a:pt x="374" y="44218"/>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6" name="Freeform 8724">
                  <a:extLst>
                    <a:ext uri="{FF2B5EF4-FFF2-40B4-BE49-F238E27FC236}">
                      <a16:creationId xmlns:a16="http://schemas.microsoft.com/office/drawing/2014/main" id="{F9F1B7DE-A7D4-6A7F-035F-56482C9579B6}"/>
                    </a:ext>
                  </a:extLst>
                </p:cNvPr>
                <p:cNvSpPr/>
                <p:nvPr/>
              </p:nvSpPr>
              <p:spPr>
                <a:xfrm>
                  <a:off x="2394306" y="1344461"/>
                  <a:ext cx="26770" cy="26635"/>
                </a:xfrm>
                <a:custGeom>
                  <a:avLst/>
                  <a:gdLst>
                    <a:gd name="connsiteX0" fmla="*/ 1063 w 26770"/>
                    <a:gd name="connsiteY0" fmla="*/ 7935 h 26635"/>
                    <a:gd name="connsiteX1" fmla="*/ 18625 w 26770"/>
                    <a:gd name="connsiteY1" fmla="*/ 1085 h 26635"/>
                    <a:gd name="connsiteX2" fmla="*/ 25725 w 26770"/>
                    <a:gd name="connsiteY2" fmla="*/ 18647 h 26635"/>
                    <a:gd name="connsiteX3" fmla="*/ 8163 w 26770"/>
                    <a:gd name="connsiteY3" fmla="*/ 25498 h 26635"/>
                    <a:gd name="connsiteX4" fmla="*/ 1063 w 26770"/>
                    <a:gd name="connsiteY4" fmla="*/ 7935 h 2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0" h="26635">
                      <a:moveTo>
                        <a:pt x="1063" y="7935"/>
                      </a:moveTo>
                      <a:cubicBezTo>
                        <a:pt x="3927" y="1209"/>
                        <a:pt x="11899" y="-1780"/>
                        <a:pt x="18625" y="1085"/>
                      </a:cubicBezTo>
                      <a:cubicBezTo>
                        <a:pt x="25351" y="4074"/>
                        <a:pt x="28590" y="11921"/>
                        <a:pt x="25725" y="18647"/>
                      </a:cubicBezTo>
                      <a:cubicBezTo>
                        <a:pt x="22860" y="25373"/>
                        <a:pt x="15013" y="28487"/>
                        <a:pt x="8163" y="25498"/>
                      </a:cubicBezTo>
                      <a:cubicBezTo>
                        <a:pt x="1312" y="22509"/>
                        <a:pt x="-1802" y="14662"/>
                        <a:pt x="1063"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7" name="Freeform 8725">
                  <a:extLst>
                    <a:ext uri="{FF2B5EF4-FFF2-40B4-BE49-F238E27FC236}">
                      <a16:creationId xmlns:a16="http://schemas.microsoft.com/office/drawing/2014/main" id="{6628F1A2-1201-80FF-044B-7D2D49C0F31D}"/>
                    </a:ext>
                  </a:extLst>
                </p:cNvPr>
                <p:cNvSpPr/>
                <p:nvPr/>
              </p:nvSpPr>
              <p:spPr>
                <a:xfrm>
                  <a:off x="2428625" y="1250384"/>
                  <a:ext cx="21299" cy="47705"/>
                </a:xfrm>
                <a:custGeom>
                  <a:avLst/>
                  <a:gdLst>
                    <a:gd name="connsiteX0" fmla="*/ 21299 w 21299"/>
                    <a:gd name="connsiteY0" fmla="*/ 0 h 47705"/>
                    <a:gd name="connsiteX1" fmla="*/ 12082 w 21299"/>
                    <a:gd name="connsiteY1" fmla="*/ 16442 h 47705"/>
                    <a:gd name="connsiteX2" fmla="*/ 8470 w 21299"/>
                    <a:gd name="connsiteY2" fmla="*/ 33506 h 47705"/>
                    <a:gd name="connsiteX3" fmla="*/ 0 w 21299"/>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299" h="47705">
                      <a:moveTo>
                        <a:pt x="21299" y="0"/>
                      </a:moveTo>
                      <a:cubicBezTo>
                        <a:pt x="15819" y="6352"/>
                        <a:pt x="13328" y="12207"/>
                        <a:pt x="12082" y="16442"/>
                      </a:cubicBezTo>
                      <a:cubicBezTo>
                        <a:pt x="10089" y="23168"/>
                        <a:pt x="10837" y="26780"/>
                        <a:pt x="8470" y="33506"/>
                      </a:cubicBezTo>
                      <a:cubicBezTo>
                        <a:pt x="6228"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8" name="Freeform 8726">
                  <a:extLst>
                    <a:ext uri="{FF2B5EF4-FFF2-40B4-BE49-F238E27FC236}">
                      <a16:creationId xmlns:a16="http://schemas.microsoft.com/office/drawing/2014/main" id="{465B81F6-DE49-B430-EDD7-78642ECF14F1}"/>
                    </a:ext>
                  </a:extLst>
                </p:cNvPr>
                <p:cNvSpPr/>
                <p:nvPr/>
              </p:nvSpPr>
              <p:spPr>
                <a:xfrm>
                  <a:off x="2438465" y="1248516"/>
                  <a:ext cx="19929" cy="48203"/>
                </a:xfrm>
                <a:custGeom>
                  <a:avLst/>
                  <a:gdLst>
                    <a:gd name="connsiteX0" fmla="*/ 0 w 19929"/>
                    <a:gd name="connsiteY0" fmla="*/ 48204 h 48203"/>
                    <a:gd name="connsiteX1" fmla="*/ 5605 w 19929"/>
                    <a:gd name="connsiteY1" fmla="*/ 30268 h 48203"/>
                    <a:gd name="connsiteX2" fmla="*/ 15445 w 19929"/>
                    <a:gd name="connsiteY2" fmla="*/ 15943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872" y="39858"/>
                        <a:pt x="3363" y="34004"/>
                        <a:pt x="5605" y="30268"/>
                      </a:cubicBezTo>
                      <a:cubicBezTo>
                        <a:pt x="9093" y="24164"/>
                        <a:pt x="12207" y="22171"/>
                        <a:pt x="15445" y="15943"/>
                      </a:cubicBezTo>
                      <a:cubicBezTo>
                        <a:pt x="18559" y="9840"/>
                        <a:pt x="19555" y="3986"/>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9" name="Freeform 8727">
                  <a:extLst>
                    <a:ext uri="{FF2B5EF4-FFF2-40B4-BE49-F238E27FC236}">
                      <a16:creationId xmlns:a16="http://schemas.microsoft.com/office/drawing/2014/main" id="{C137A4CD-33CC-8E0E-54E8-470DD238C44C}"/>
                    </a:ext>
                  </a:extLst>
                </p:cNvPr>
                <p:cNvSpPr/>
                <p:nvPr/>
              </p:nvSpPr>
              <p:spPr>
                <a:xfrm>
                  <a:off x="2442861" y="1232006"/>
                  <a:ext cx="26333" cy="26542"/>
                </a:xfrm>
                <a:custGeom>
                  <a:avLst/>
                  <a:gdLst>
                    <a:gd name="connsiteX0" fmla="*/ 25249 w 26333"/>
                    <a:gd name="connsiteY0" fmla="*/ 18503 h 26542"/>
                    <a:gd name="connsiteX1" fmla="*/ 7935 w 26333"/>
                    <a:gd name="connsiteY1" fmla="*/ 25478 h 26542"/>
                    <a:gd name="connsiteX2" fmla="*/ 1085 w 26333"/>
                    <a:gd name="connsiteY2" fmla="*/ 8040 h 26542"/>
                    <a:gd name="connsiteX3" fmla="*/ 18398 w 26333"/>
                    <a:gd name="connsiteY3" fmla="*/ 1065 h 26542"/>
                    <a:gd name="connsiteX4" fmla="*/ 25249 w 2633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542">
                      <a:moveTo>
                        <a:pt x="25249" y="18503"/>
                      </a:moveTo>
                      <a:cubicBezTo>
                        <a:pt x="22384" y="25229"/>
                        <a:pt x="14662" y="28343"/>
                        <a:pt x="7935" y="25478"/>
                      </a:cubicBezTo>
                      <a:cubicBezTo>
                        <a:pt x="1209" y="22613"/>
                        <a:pt x="-1780" y="14766"/>
                        <a:pt x="1085" y="8040"/>
                      </a:cubicBezTo>
                      <a:cubicBezTo>
                        <a:pt x="3950" y="1314"/>
                        <a:pt x="11672" y="-1800"/>
                        <a:pt x="18398" y="1065"/>
                      </a:cubicBezTo>
                      <a:cubicBezTo>
                        <a:pt x="25124" y="4054"/>
                        <a:pt x="28114" y="11777"/>
                        <a:pt x="2524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4" name="Graphic 2987">
                <a:extLst>
                  <a:ext uri="{FF2B5EF4-FFF2-40B4-BE49-F238E27FC236}">
                    <a16:creationId xmlns:a16="http://schemas.microsoft.com/office/drawing/2014/main" id="{E7418D38-48AC-5B9B-CFAD-904A8882BB7A}"/>
                  </a:ext>
                </a:extLst>
              </p:cNvPr>
              <p:cNvGrpSpPr/>
              <p:nvPr/>
            </p:nvGrpSpPr>
            <p:grpSpPr>
              <a:xfrm>
                <a:off x="2366705" y="1220564"/>
                <a:ext cx="75640" cy="138522"/>
                <a:chOff x="2366705" y="1220564"/>
                <a:chExt cx="75640" cy="138522"/>
              </a:xfrm>
              <a:grpFill/>
            </p:grpSpPr>
            <p:sp>
              <p:nvSpPr>
                <p:cNvPr id="5568" name="Freeform 8729">
                  <a:extLst>
                    <a:ext uri="{FF2B5EF4-FFF2-40B4-BE49-F238E27FC236}">
                      <a16:creationId xmlns:a16="http://schemas.microsoft.com/office/drawing/2014/main" id="{1973FDCB-FAAF-6FD7-9813-8DFA9650653C}"/>
                    </a:ext>
                  </a:extLst>
                </p:cNvPr>
                <p:cNvSpPr/>
                <p:nvPr/>
              </p:nvSpPr>
              <p:spPr>
                <a:xfrm>
                  <a:off x="2386400" y="1293356"/>
                  <a:ext cx="21423" cy="47456"/>
                </a:xfrm>
                <a:custGeom>
                  <a:avLst/>
                  <a:gdLst>
                    <a:gd name="connsiteX0" fmla="*/ 0 w 21423"/>
                    <a:gd name="connsiteY0" fmla="*/ 47456 h 47456"/>
                    <a:gd name="connsiteX1" fmla="*/ 9342 w 21423"/>
                    <a:gd name="connsiteY1" fmla="*/ 31139 h 47456"/>
                    <a:gd name="connsiteX2" fmla="*/ 12954 w 21423"/>
                    <a:gd name="connsiteY2" fmla="*/ 14075 h 47456"/>
                    <a:gd name="connsiteX3" fmla="*/ 21424 w 21423"/>
                    <a:gd name="connsiteY3" fmla="*/ 0 h 47456"/>
                  </a:gdLst>
                  <a:ahLst/>
                  <a:cxnLst>
                    <a:cxn ang="0">
                      <a:pos x="connsiteX0" y="connsiteY0"/>
                    </a:cxn>
                    <a:cxn ang="0">
                      <a:pos x="connsiteX1" y="connsiteY1"/>
                    </a:cxn>
                    <a:cxn ang="0">
                      <a:pos x="connsiteX2" y="connsiteY2"/>
                    </a:cxn>
                    <a:cxn ang="0">
                      <a:pos x="connsiteX3" y="connsiteY3"/>
                    </a:cxn>
                  </a:cxnLst>
                  <a:rect l="l" t="t" r="r" b="b"/>
                  <a:pathLst>
                    <a:path w="21423" h="47456">
                      <a:moveTo>
                        <a:pt x="0" y="47456"/>
                      </a:moveTo>
                      <a:cubicBezTo>
                        <a:pt x="5481" y="41104"/>
                        <a:pt x="7972" y="35250"/>
                        <a:pt x="9342" y="31139"/>
                      </a:cubicBezTo>
                      <a:cubicBezTo>
                        <a:pt x="11459" y="24413"/>
                        <a:pt x="10587" y="20801"/>
                        <a:pt x="12954" y="14075"/>
                      </a:cubicBezTo>
                      <a:cubicBezTo>
                        <a:pt x="15196" y="7598"/>
                        <a:pt x="18808" y="2865"/>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9" name="Freeform 8730">
                  <a:extLst>
                    <a:ext uri="{FF2B5EF4-FFF2-40B4-BE49-F238E27FC236}">
                      <a16:creationId xmlns:a16="http://schemas.microsoft.com/office/drawing/2014/main" id="{CDAC17D7-D962-A273-4049-9D35011BD29C}"/>
                    </a:ext>
                  </a:extLst>
                </p:cNvPr>
                <p:cNvSpPr/>
                <p:nvPr/>
              </p:nvSpPr>
              <p:spPr>
                <a:xfrm>
                  <a:off x="2377805" y="1294602"/>
                  <a:ext cx="20302" cy="48079"/>
                </a:xfrm>
                <a:custGeom>
                  <a:avLst/>
                  <a:gdLst>
                    <a:gd name="connsiteX0" fmla="*/ 20303 w 20302"/>
                    <a:gd name="connsiteY0" fmla="*/ 0 h 48079"/>
                    <a:gd name="connsiteX1" fmla="*/ 14573 w 20302"/>
                    <a:gd name="connsiteY1" fmla="*/ 17936 h 48079"/>
                    <a:gd name="connsiteX2" fmla="*/ 4609 w 20302"/>
                    <a:gd name="connsiteY2" fmla="*/ 32260 h 48079"/>
                    <a:gd name="connsiteX3" fmla="*/ 0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20303" y="0"/>
                      </a:moveTo>
                      <a:cubicBezTo>
                        <a:pt x="19306" y="8345"/>
                        <a:pt x="16815" y="14200"/>
                        <a:pt x="14573" y="17936"/>
                      </a:cubicBezTo>
                      <a:cubicBezTo>
                        <a:pt x="11086" y="24040"/>
                        <a:pt x="7847" y="25908"/>
                        <a:pt x="4609" y="32260"/>
                      </a:cubicBezTo>
                      <a:cubicBezTo>
                        <a:pt x="1370" y="38364"/>
                        <a:pt x="374"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0" name="Freeform 8731">
                  <a:extLst>
                    <a:ext uri="{FF2B5EF4-FFF2-40B4-BE49-F238E27FC236}">
                      <a16:creationId xmlns:a16="http://schemas.microsoft.com/office/drawing/2014/main" id="{D51507AB-2FE0-2386-9FB2-245A81430458}"/>
                    </a:ext>
                  </a:extLst>
                </p:cNvPr>
                <p:cNvSpPr/>
                <p:nvPr/>
              </p:nvSpPr>
              <p:spPr>
                <a:xfrm>
                  <a:off x="2366705" y="1332628"/>
                  <a:ext cx="26915" cy="26458"/>
                </a:xfrm>
                <a:custGeom>
                  <a:avLst/>
                  <a:gdLst>
                    <a:gd name="connsiteX0" fmla="*/ 1136 w 26915"/>
                    <a:gd name="connsiteY0" fmla="*/ 7935 h 26458"/>
                    <a:gd name="connsiteX1" fmla="*/ 18823 w 26915"/>
                    <a:gd name="connsiteY1" fmla="*/ 1085 h 26458"/>
                    <a:gd name="connsiteX2" fmla="*/ 25798 w 26915"/>
                    <a:gd name="connsiteY2" fmla="*/ 18523 h 26458"/>
                    <a:gd name="connsiteX3" fmla="*/ 8111 w 26915"/>
                    <a:gd name="connsiteY3" fmla="*/ 25373 h 26458"/>
                    <a:gd name="connsiteX4" fmla="*/ 1136 w 26915"/>
                    <a:gd name="connsiteY4" fmla="*/ 7935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5" h="26458">
                      <a:moveTo>
                        <a:pt x="1136" y="7935"/>
                      </a:moveTo>
                      <a:cubicBezTo>
                        <a:pt x="4125" y="1209"/>
                        <a:pt x="11972" y="-1780"/>
                        <a:pt x="18823" y="1085"/>
                      </a:cubicBezTo>
                      <a:cubicBezTo>
                        <a:pt x="25549" y="4074"/>
                        <a:pt x="28788" y="11797"/>
                        <a:pt x="25798" y="18523"/>
                      </a:cubicBezTo>
                      <a:cubicBezTo>
                        <a:pt x="22809" y="25249"/>
                        <a:pt x="14962" y="28238"/>
                        <a:pt x="8111" y="25373"/>
                      </a:cubicBezTo>
                      <a:cubicBezTo>
                        <a:pt x="1260" y="22509"/>
                        <a:pt x="-1854" y="14537"/>
                        <a:pt x="1136"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1" name="Freeform 8732">
                  <a:extLst>
                    <a:ext uri="{FF2B5EF4-FFF2-40B4-BE49-F238E27FC236}">
                      <a16:creationId xmlns:a16="http://schemas.microsoft.com/office/drawing/2014/main" id="{F9C132B0-2341-6040-E5F5-533C425F8A8A}"/>
                    </a:ext>
                  </a:extLst>
                </p:cNvPr>
                <p:cNvSpPr/>
                <p:nvPr/>
              </p:nvSpPr>
              <p:spPr>
                <a:xfrm>
                  <a:off x="2401347" y="1238676"/>
                  <a:ext cx="21673" cy="47331"/>
                </a:xfrm>
                <a:custGeom>
                  <a:avLst/>
                  <a:gdLst>
                    <a:gd name="connsiteX0" fmla="*/ 21673 w 21673"/>
                    <a:gd name="connsiteY0" fmla="*/ 0 h 47331"/>
                    <a:gd name="connsiteX1" fmla="*/ 12331 w 21673"/>
                    <a:gd name="connsiteY1" fmla="*/ 16317 h 47331"/>
                    <a:gd name="connsiteX2" fmla="*/ 8595 w 21673"/>
                    <a:gd name="connsiteY2" fmla="*/ 33257 h 47331"/>
                    <a:gd name="connsiteX3" fmla="*/ 0 w 21673"/>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673" h="47331">
                      <a:moveTo>
                        <a:pt x="21673" y="0"/>
                      </a:moveTo>
                      <a:cubicBezTo>
                        <a:pt x="16193" y="6352"/>
                        <a:pt x="13701" y="12207"/>
                        <a:pt x="12331" y="16317"/>
                      </a:cubicBezTo>
                      <a:cubicBezTo>
                        <a:pt x="10214" y="23043"/>
                        <a:pt x="10961" y="26655"/>
                        <a:pt x="8595" y="33257"/>
                      </a:cubicBezTo>
                      <a:cubicBezTo>
                        <a:pt x="6228" y="39734"/>
                        <a:pt x="2740"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2" name="Freeform 8733">
                  <a:extLst>
                    <a:ext uri="{FF2B5EF4-FFF2-40B4-BE49-F238E27FC236}">
                      <a16:creationId xmlns:a16="http://schemas.microsoft.com/office/drawing/2014/main" id="{40DDB30D-7E34-EF82-B166-FF191BBF6BF0}"/>
                    </a:ext>
                  </a:extLst>
                </p:cNvPr>
                <p:cNvSpPr/>
                <p:nvPr/>
              </p:nvSpPr>
              <p:spPr>
                <a:xfrm>
                  <a:off x="2411312" y="1236932"/>
                  <a:ext cx="20302" cy="48079"/>
                </a:xfrm>
                <a:custGeom>
                  <a:avLst/>
                  <a:gdLst>
                    <a:gd name="connsiteX0" fmla="*/ 0 w 20302"/>
                    <a:gd name="connsiteY0" fmla="*/ 48079 h 48079"/>
                    <a:gd name="connsiteX1" fmla="*/ 5730 w 20302"/>
                    <a:gd name="connsiteY1" fmla="*/ 30143 h 48079"/>
                    <a:gd name="connsiteX2" fmla="*/ 15694 w 20302"/>
                    <a:gd name="connsiteY2" fmla="*/ 15819 h 48079"/>
                    <a:gd name="connsiteX3" fmla="*/ 20303 w 20302"/>
                    <a:gd name="connsiteY3" fmla="*/ 0 h 48079"/>
                  </a:gdLst>
                  <a:ahLst/>
                  <a:cxnLst>
                    <a:cxn ang="0">
                      <a:pos x="connsiteX0" y="connsiteY0"/>
                    </a:cxn>
                    <a:cxn ang="0">
                      <a:pos x="connsiteX1" y="connsiteY1"/>
                    </a:cxn>
                    <a:cxn ang="0">
                      <a:pos x="connsiteX2" y="connsiteY2"/>
                    </a:cxn>
                    <a:cxn ang="0">
                      <a:pos x="connsiteX3" y="connsiteY3"/>
                    </a:cxn>
                  </a:cxnLst>
                  <a:rect l="l" t="t" r="r" b="b"/>
                  <a:pathLst>
                    <a:path w="20302" h="48079">
                      <a:moveTo>
                        <a:pt x="0" y="48079"/>
                      </a:moveTo>
                      <a:cubicBezTo>
                        <a:pt x="996" y="39734"/>
                        <a:pt x="3488" y="33880"/>
                        <a:pt x="5730" y="30143"/>
                      </a:cubicBezTo>
                      <a:cubicBezTo>
                        <a:pt x="9217" y="24040"/>
                        <a:pt x="12331" y="22171"/>
                        <a:pt x="15694" y="15819"/>
                      </a:cubicBezTo>
                      <a:cubicBezTo>
                        <a:pt x="18933" y="9716"/>
                        <a:pt x="19929" y="3861"/>
                        <a:pt x="203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3" name="Freeform 8734">
                  <a:extLst>
                    <a:ext uri="{FF2B5EF4-FFF2-40B4-BE49-F238E27FC236}">
                      <a16:creationId xmlns:a16="http://schemas.microsoft.com/office/drawing/2014/main" id="{EB977275-E8AB-B944-4EBF-D0A346DE9810}"/>
                    </a:ext>
                  </a:extLst>
                </p:cNvPr>
                <p:cNvSpPr/>
                <p:nvPr/>
              </p:nvSpPr>
              <p:spPr>
                <a:xfrm>
                  <a:off x="2416007" y="1220564"/>
                  <a:ext cx="26338" cy="26400"/>
                </a:xfrm>
                <a:custGeom>
                  <a:avLst/>
                  <a:gdLst>
                    <a:gd name="connsiteX0" fmla="*/ 25198 w 26338"/>
                    <a:gd name="connsiteY0" fmla="*/ 18361 h 26400"/>
                    <a:gd name="connsiteX1" fmla="*/ 7885 w 26338"/>
                    <a:gd name="connsiteY1" fmla="*/ 25336 h 26400"/>
                    <a:gd name="connsiteX2" fmla="*/ 1159 w 26338"/>
                    <a:gd name="connsiteY2" fmla="*/ 8022 h 26400"/>
                    <a:gd name="connsiteX3" fmla="*/ 18472 w 26338"/>
                    <a:gd name="connsiteY3" fmla="*/ 1047 h 26400"/>
                    <a:gd name="connsiteX4" fmla="*/ 25198 w 26338"/>
                    <a:gd name="connsiteY4" fmla="*/ 18361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00">
                      <a:moveTo>
                        <a:pt x="25198" y="18361"/>
                      </a:moveTo>
                      <a:cubicBezTo>
                        <a:pt x="22333" y="25087"/>
                        <a:pt x="14486" y="28201"/>
                        <a:pt x="7885" y="25336"/>
                      </a:cubicBezTo>
                      <a:cubicBezTo>
                        <a:pt x="1159" y="22471"/>
                        <a:pt x="-1831" y="14624"/>
                        <a:pt x="1159" y="8022"/>
                      </a:cubicBezTo>
                      <a:cubicBezTo>
                        <a:pt x="4148" y="1421"/>
                        <a:pt x="11871" y="-1818"/>
                        <a:pt x="18472" y="1047"/>
                      </a:cubicBezTo>
                      <a:cubicBezTo>
                        <a:pt x="25074" y="3787"/>
                        <a:pt x="28188" y="11634"/>
                        <a:pt x="25198" y="1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5" name="Graphic 2987">
                <a:extLst>
                  <a:ext uri="{FF2B5EF4-FFF2-40B4-BE49-F238E27FC236}">
                    <a16:creationId xmlns:a16="http://schemas.microsoft.com/office/drawing/2014/main" id="{8C9A161A-393C-6DE0-A056-AB1221990A41}"/>
                  </a:ext>
                </a:extLst>
              </p:cNvPr>
              <p:cNvGrpSpPr/>
              <p:nvPr/>
            </p:nvGrpSpPr>
            <p:grpSpPr>
              <a:xfrm>
                <a:off x="2339178" y="1208818"/>
                <a:ext cx="76284" cy="138385"/>
                <a:chOff x="2339178" y="1208818"/>
                <a:chExt cx="76284" cy="138385"/>
              </a:xfrm>
              <a:grpFill/>
            </p:grpSpPr>
            <p:sp>
              <p:nvSpPr>
                <p:cNvPr id="5562" name="Freeform 8736">
                  <a:extLst>
                    <a:ext uri="{FF2B5EF4-FFF2-40B4-BE49-F238E27FC236}">
                      <a16:creationId xmlns:a16="http://schemas.microsoft.com/office/drawing/2014/main" id="{138CB4D6-E872-B4AF-AA9C-4C5A3F1438BA}"/>
                    </a:ext>
                  </a:extLst>
                </p:cNvPr>
                <p:cNvSpPr/>
                <p:nvPr/>
              </p:nvSpPr>
              <p:spPr>
                <a:xfrm>
                  <a:off x="2358873" y="1281523"/>
                  <a:ext cx="21797" cy="47331"/>
                </a:xfrm>
                <a:custGeom>
                  <a:avLst/>
                  <a:gdLst>
                    <a:gd name="connsiteX0" fmla="*/ 0 w 21797"/>
                    <a:gd name="connsiteY0" fmla="*/ 47332 h 47331"/>
                    <a:gd name="connsiteX1" fmla="*/ 9466 w 21797"/>
                    <a:gd name="connsiteY1" fmla="*/ 31015 h 47331"/>
                    <a:gd name="connsiteX2" fmla="*/ 13203 w 21797"/>
                    <a:gd name="connsiteY2" fmla="*/ 14075 h 47331"/>
                    <a:gd name="connsiteX3" fmla="*/ 21798 w 21797"/>
                    <a:gd name="connsiteY3" fmla="*/ 0 h 47331"/>
                  </a:gdLst>
                  <a:ahLst/>
                  <a:cxnLst>
                    <a:cxn ang="0">
                      <a:pos x="connsiteX0" y="connsiteY0"/>
                    </a:cxn>
                    <a:cxn ang="0">
                      <a:pos x="connsiteX1" y="connsiteY1"/>
                    </a:cxn>
                    <a:cxn ang="0">
                      <a:pos x="connsiteX2" y="connsiteY2"/>
                    </a:cxn>
                    <a:cxn ang="0">
                      <a:pos x="connsiteX3" y="connsiteY3"/>
                    </a:cxn>
                  </a:cxnLst>
                  <a:rect l="l" t="t" r="r" b="b"/>
                  <a:pathLst>
                    <a:path w="21797" h="47331">
                      <a:moveTo>
                        <a:pt x="0" y="47332"/>
                      </a:moveTo>
                      <a:cubicBezTo>
                        <a:pt x="5605" y="40979"/>
                        <a:pt x="8096" y="35125"/>
                        <a:pt x="9466" y="31015"/>
                      </a:cubicBezTo>
                      <a:cubicBezTo>
                        <a:pt x="11584" y="24289"/>
                        <a:pt x="10836" y="20677"/>
                        <a:pt x="13203" y="14075"/>
                      </a:cubicBezTo>
                      <a:cubicBezTo>
                        <a:pt x="15570" y="7598"/>
                        <a:pt x="19182" y="2865"/>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3" name="Freeform 8737">
                  <a:extLst>
                    <a:ext uri="{FF2B5EF4-FFF2-40B4-BE49-F238E27FC236}">
                      <a16:creationId xmlns:a16="http://schemas.microsoft.com/office/drawing/2014/main" id="{79F248E8-128B-F239-8614-25956C61C653}"/>
                    </a:ext>
                  </a:extLst>
                </p:cNvPr>
                <p:cNvSpPr/>
                <p:nvPr/>
              </p:nvSpPr>
              <p:spPr>
                <a:xfrm>
                  <a:off x="2350403" y="1282769"/>
                  <a:ext cx="20427" cy="47954"/>
                </a:xfrm>
                <a:custGeom>
                  <a:avLst/>
                  <a:gdLst>
                    <a:gd name="connsiteX0" fmla="*/ 20427 w 20427"/>
                    <a:gd name="connsiteY0" fmla="*/ 0 h 47954"/>
                    <a:gd name="connsiteX1" fmla="*/ 14698 w 20427"/>
                    <a:gd name="connsiteY1" fmla="*/ 17936 h 47954"/>
                    <a:gd name="connsiteX2" fmla="*/ 4609 w 20427"/>
                    <a:gd name="connsiteY2" fmla="*/ 32136 h 47954"/>
                    <a:gd name="connsiteX3" fmla="*/ 0 w 20427"/>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7" h="47954">
                      <a:moveTo>
                        <a:pt x="20427" y="0"/>
                      </a:moveTo>
                      <a:cubicBezTo>
                        <a:pt x="19431" y="8345"/>
                        <a:pt x="16815" y="14075"/>
                        <a:pt x="14698" y="17936"/>
                      </a:cubicBezTo>
                      <a:cubicBezTo>
                        <a:pt x="11210" y="24040"/>
                        <a:pt x="7972" y="25908"/>
                        <a:pt x="4609" y="32136"/>
                      </a:cubicBezTo>
                      <a:cubicBezTo>
                        <a:pt x="1370" y="38239"/>
                        <a:pt x="374" y="43969"/>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4" name="Freeform 8738">
                  <a:extLst>
                    <a:ext uri="{FF2B5EF4-FFF2-40B4-BE49-F238E27FC236}">
                      <a16:creationId xmlns:a16="http://schemas.microsoft.com/office/drawing/2014/main" id="{12007F0E-2CFB-7E2D-7C2B-2DFE6FC03378}"/>
                    </a:ext>
                  </a:extLst>
                </p:cNvPr>
                <p:cNvSpPr/>
                <p:nvPr/>
              </p:nvSpPr>
              <p:spPr>
                <a:xfrm>
                  <a:off x="2339178" y="1320721"/>
                  <a:ext cx="26862" cy="26481"/>
                </a:xfrm>
                <a:custGeom>
                  <a:avLst/>
                  <a:gdLst>
                    <a:gd name="connsiteX0" fmla="*/ 1136 w 26862"/>
                    <a:gd name="connsiteY0" fmla="*/ 7885 h 26481"/>
                    <a:gd name="connsiteX1" fmla="*/ 18823 w 26862"/>
                    <a:gd name="connsiteY1" fmla="*/ 1159 h 26481"/>
                    <a:gd name="connsiteX2" fmla="*/ 25798 w 26862"/>
                    <a:gd name="connsiteY2" fmla="*/ 18597 h 26481"/>
                    <a:gd name="connsiteX3" fmla="*/ 8111 w 26862"/>
                    <a:gd name="connsiteY3" fmla="*/ 25323 h 26481"/>
                    <a:gd name="connsiteX4" fmla="*/ 1136 w 26862"/>
                    <a:gd name="connsiteY4" fmla="*/ 7885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81">
                      <a:moveTo>
                        <a:pt x="1136" y="7885"/>
                      </a:moveTo>
                      <a:cubicBezTo>
                        <a:pt x="4125" y="1159"/>
                        <a:pt x="12097" y="-1831"/>
                        <a:pt x="18823" y="1159"/>
                      </a:cubicBezTo>
                      <a:cubicBezTo>
                        <a:pt x="25549" y="4148"/>
                        <a:pt x="28663" y="11871"/>
                        <a:pt x="25798" y="18597"/>
                      </a:cubicBezTo>
                      <a:cubicBezTo>
                        <a:pt x="22933" y="25323"/>
                        <a:pt x="14962" y="28312"/>
                        <a:pt x="8111" y="25323"/>
                      </a:cubicBezTo>
                      <a:cubicBezTo>
                        <a:pt x="1260" y="22334"/>
                        <a:pt x="-1854" y="14486"/>
                        <a:pt x="1136"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5" name="Freeform 8739">
                  <a:extLst>
                    <a:ext uri="{FF2B5EF4-FFF2-40B4-BE49-F238E27FC236}">
                      <a16:creationId xmlns:a16="http://schemas.microsoft.com/office/drawing/2014/main" id="{121FEECB-55D2-54F7-96FA-A50B86A2840D}"/>
                    </a:ext>
                  </a:extLst>
                </p:cNvPr>
                <p:cNvSpPr/>
                <p:nvPr/>
              </p:nvSpPr>
              <p:spPr>
                <a:xfrm>
                  <a:off x="2374193" y="1227092"/>
                  <a:ext cx="21922" cy="47331"/>
                </a:xfrm>
                <a:custGeom>
                  <a:avLst/>
                  <a:gdLst>
                    <a:gd name="connsiteX0" fmla="*/ 21922 w 21922"/>
                    <a:gd name="connsiteY0" fmla="*/ 0 h 47331"/>
                    <a:gd name="connsiteX1" fmla="*/ 12456 w 21922"/>
                    <a:gd name="connsiteY1" fmla="*/ 16317 h 47331"/>
                    <a:gd name="connsiteX2" fmla="*/ 8595 w 21922"/>
                    <a:gd name="connsiteY2" fmla="*/ 33257 h 47331"/>
                    <a:gd name="connsiteX3" fmla="*/ 0 w 21922"/>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0"/>
                      </a:moveTo>
                      <a:cubicBezTo>
                        <a:pt x="16442" y="6352"/>
                        <a:pt x="13826" y="12207"/>
                        <a:pt x="12456" y="16317"/>
                      </a:cubicBezTo>
                      <a:cubicBezTo>
                        <a:pt x="10338" y="23043"/>
                        <a:pt x="11086" y="26655"/>
                        <a:pt x="8595" y="33257"/>
                      </a:cubicBezTo>
                      <a:cubicBezTo>
                        <a:pt x="6228" y="39734"/>
                        <a:pt x="2616"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6" name="Freeform 8740">
                  <a:extLst>
                    <a:ext uri="{FF2B5EF4-FFF2-40B4-BE49-F238E27FC236}">
                      <a16:creationId xmlns:a16="http://schemas.microsoft.com/office/drawing/2014/main" id="{89AD784D-28C5-4889-B40B-2079D0897418}"/>
                    </a:ext>
                  </a:extLst>
                </p:cNvPr>
                <p:cNvSpPr/>
                <p:nvPr/>
              </p:nvSpPr>
              <p:spPr>
                <a:xfrm>
                  <a:off x="2384033" y="1225099"/>
                  <a:ext cx="20427" cy="48079"/>
                </a:xfrm>
                <a:custGeom>
                  <a:avLst/>
                  <a:gdLst>
                    <a:gd name="connsiteX0" fmla="*/ 0 w 20427"/>
                    <a:gd name="connsiteY0" fmla="*/ 48079 h 48079"/>
                    <a:gd name="connsiteX1" fmla="*/ 5730 w 20427"/>
                    <a:gd name="connsiteY1" fmla="*/ 30143 h 48079"/>
                    <a:gd name="connsiteX2" fmla="*/ 15819 w 20427"/>
                    <a:gd name="connsiteY2" fmla="*/ 15819 h 48079"/>
                    <a:gd name="connsiteX3" fmla="*/ 20427 w 20427"/>
                    <a:gd name="connsiteY3" fmla="*/ 0 h 48079"/>
                  </a:gdLst>
                  <a:ahLst/>
                  <a:cxnLst>
                    <a:cxn ang="0">
                      <a:pos x="connsiteX0" y="connsiteY0"/>
                    </a:cxn>
                    <a:cxn ang="0">
                      <a:pos x="connsiteX1" y="connsiteY1"/>
                    </a:cxn>
                    <a:cxn ang="0">
                      <a:pos x="connsiteX2" y="connsiteY2"/>
                    </a:cxn>
                    <a:cxn ang="0">
                      <a:pos x="connsiteX3" y="connsiteY3"/>
                    </a:cxn>
                  </a:cxnLst>
                  <a:rect l="l" t="t" r="r" b="b"/>
                  <a:pathLst>
                    <a:path w="20427" h="48079">
                      <a:moveTo>
                        <a:pt x="0" y="48079"/>
                      </a:moveTo>
                      <a:cubicBezTo>
                        <a:pt x="996" y="39734"/>
                        <a:pt x="3612" y="34004"/>
                        <a:pt x="5730" y="30143"/>
                      </a:cubicBezTo>
                      <a:cubicBezTo>
                        <a:pt x="9217" y="24040"/>
                        <a:pt x="12456" y="22171"/>
                        <a:pt x="15819" y="15819"/>
                      </a:cubicBezTo>
                      <a:cubicBezTo>
                        <a:pt x="19057" y="9715"/>
                        <a:pt x="20054" y="3861"/>
                        <a:pt x="20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7" name="Freeform 8741">
                  <a:extLst>
                    <a:ext uri="{FF2B5EF4-FFF2-40B4-BE49-F238E27FC236}">
                      <a16:creationId xmlns:a16="http://schemas.microsoft.com/office/drawing/2014/main" id="{88926360-34D1-C66B-6A53-28D746B9DEB0}"/>
                    </a:ext>
                  </a:extLst>
                </p:cNvPr>
                <p:cNvSpPr/>
                <p:nvPr/>
              </p:nvSpPr>
              <p:spPr>
                <a:xfrm>
                  <a:off x="2389081" y="1208818"/>
                  <a:ext cx="26381" cy="26386"/>
                </a:xfrm>
                <a:custGeom>
                  <a:avLst/>
                  <a:gdLst>
                    <a:gd name="connsiteX0" fmla="*/ 25220 w 26381"/>
                    <a:gd name="connsiteY0" fmla="*/ 18398 h 26386"/>
                    <a:gd name="connsiteX1" fmla="*/ 7782 w 26381"/>
                    <a:gd name="connsiteY1" fmla="*/ 25249 h 26386"/>
                    <a:gd name="connsiteX2" fmla="*/ 1180 w 26381"/>
                    <a:gd name="connsiteY2" fmla="*/ 7935 h 26386"/>
                    <a:gd name="connsiteX3" fmla="*/ 18619 w 26381"/>
                    <a:gd name="connsiteY3" fmla="*/ 1085 h 26386"/>
                    <a:gd name="connsiteX4" fmla="*/ 25220 w 26381"/>
                    <a:gd name="connsiteY4" fmla="*/ 18398 h 2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386">
                      <a:moveTo>
                        <a:pt x="25220" y="18398"/>
                      </a:moveTo>
                      <a:cubicBezTo>
                        <a:pt x="22231" y="25124"/>
                        <a:pt x="14508" y="28238"/>
                        <a:pt x="7782" y="25249"/>
                      </a:cubicBezTo>
                      <a:cubicBezTo>
                        <a:pt x="1056" y="22384"/>
                        <a:pt x="-1809" y="14662"/>
                        <a:pt x="1180" y="7935"/>
                      </a:cubicBezTo>
                      <a:cubicBezTo>
                        <a:pt x="4170" y="1209"/>
                        <a:pt x="12017" y="-1780"/>
                        <a:pt x="18619" y="1085"/>
                      </a:cubicBezTo>
                      <a:cubicBezTo>
                        <a:pt x="25220" y="3950"/>
                        <a:pt x="28210" y="11672"/>
                        <a:pt x="25220" y="183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6" name="Graphic 2987">
                <a:extLst>
                  <a:ext uri="{FF2B5EF4-FFF2-40B4-BE49-F238E27FC236}">
                    <a16:creationId xmlns:a16="http://schemas.microsoft.com/office/drawing/2014/main" id="{A7000FFE-F775-93A9-C30C-190EE40BDE6D}"/>
                  </a:ext>
                </a:extLst>
              </p:cNvPr>
              <p:cNvGrpSpPr/>
              <p:nvPr/>
            </p:nvGrpSpPr>
            <p:grpSpPr>
              <a:xfrm>
                <a:off x="2311576" y="1197252"/>
                <a:ext cx="77000" cy="137993"/>
                <a:chOff x="2311576" y="1197252"/>
                <a:chExt cx="77000" cy="137993"/>
              </a:xfrm>
              <a:grpFill/>
            </p:grpSpPr>
            <p:sp>
              <p:nvSpPr>
                <p:cNvPr id="5556" name="Freeform 8743">
                  <a:extLst>
                    <a:ext uri="{FF2B5EF4-FFF2-40B4-BE49-F238E27FC236}">
                      <a16:creationId xmlns:a16="http://schemas.microsoft.com/office/drawing/2014/main" id="{E3B30336-22F2-CDBE-2200-1901A06072AE}"/>
                    </a:ext>
                  </a:extLst>
                </p:cNvPr>
                <p:cNvSpPr/>
                <p:nvPr/>
              </p:nvSpPr>
              <p:spPr>
                <a:xfrm>
                  <a:off x="2331346" y="1269690"/>
                  <a:ext cx="22046" cy="47331"/>
                </a:xfrm>
                <a:custGeom>
                  <a:avLst/>
                  <a:gdLst>
                    <a:gd name="connsiteX0" fmla="*/ 0 w 22046"/>
                    <a:gd name="connsiteY0" fmla="*/ 47332 h 47331"/>
                    <a:gd name="connsiteX1" fmla="*/ 9466 w 22046"/>
                    <a:gd name="connsiteY1" fmla="*/ 31015 h 47331"/>
                    <a:gd name="connsiteX2" fmla="*/ 13328 w 22046"/>
                    <a:gd name="connsiteY2" fmla="*/ 14075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5605" y="40979"/>
                        <a:pt x="8221" y="35250"/>
                        <a:pt x="9466" y="31015"/>
                      </a:cubicBezTo>
                      <a:cubicBezTo>
                        <a:pt x="11584" y="24413"/>
                        <a:pt x="10836" y="20677"/>
                        <a:pt x="13328" y="14075"/>
                      </a:cubicBezTo>
                      <a:cubicBezTo>
                        <a:pt x="15694" y="7598"/>
                        <a:pt x="19306" y="2989"/>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7" name="Freeform 8744">
                  <a:extLst>
                    <a:ext uri="{FF2B5EF4-FFF2-40B4-BE49-F238E27FC236}">
                      <a16:creationId xmlns:a16="http://schemas.microsoft.com/office/drawing/2014/main" id="{22351DBE-B35C-FFE5-756A-0A0BB6F4F92D}"/>
                    </a:ext>
                  </a:extLst>
                </p:cNvPr>
                <p:cNvSpPr/>
                <p:nvPr/>
              </p:nvSpPr>
              <p:spPr>
                <a:xfrm>
                  <a:off x="2322751" y="1270936"/>
                  <a:ext cx="20801" cy="47830"/>
                </a:xfrm>
                <a:custGeom>
                  <a:avLst/>
                  <a:gdLst>
                    <a:gd name="connsiteX0" fmla="*/ 20801 w 20801"/>
                    <a:gd name="connsiteY0" fmla="*/ 0 h 47830"/>
                    <a:gd name="connsiteX1" fmla="*/ 14947 w 20801"/>
                    <a:gd name="connsiteY1" fmla="*/ 17812 h 47830"/>
                    <a:gd name="connsiteX2" fmla="*/ 4733 w 20801"/>
                    <a:gd name="connsiteY2" fmla="*/ 32011 h 47830"/>
                    <a:gd name="connsiteX3" fmla="*/ 0 w 20801"/>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1" y="0"/>
                      </a:moveTo>
                      <a:cubicBezTo>
                        <a:pt x="19805" y="8345"/>
                        <a:pt x="17189" y="14075"/>
                        <a:pt x="14947" y="17812"/>
                      </a:cubicBezTo>
                      <a:cubicBezTo>
                        <a:pt x="11335" y="23791"/>
                        <a:pt x="8096" y="25783"/>
                        <a:pt x="4733" y="32011"/>
                      </a:cubicBezTo>
                      <a:cubicBezTo>
                        <a:pt x="1495" y="38115"/>
                        <a:pt x="374" y="43844"/>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8" name="Freeform 8745">
                  <a:extLst>
                    <a:ext uri="{FF2B5EF4-FFF2-40B4-BE49-F238E27FC236}">
                      <a16:creationId xmlns:a16="http://schemas.microsoft.com/office/drawing/2014/main" id="{4BB8F660-0E8B-24FA-47AD-A5F84FEAE981}"/>
                    </a:ext>
                  </a:extLst>
                </p:cNvPr>
                <p:cNvSpPr/>
                <p:nvPr/>
              </p:nvSpPr>
              <p:spPr>
                <a:xfrm>
                  <a:off x="2311576" y="1308783"/>
                  <a:ext cx="27010" cy="26462"/>
                </a:xfrm>
                <a:custGeom>
                  <a:avLst/>
                  <a:gdLst>
                    <a:gd name="connsiteX0" fmla="*/ 1210 w 27010"/>
                    <a:gd name="connsiteY0" fmla="*/ 7866 h 26462"/>
                    <a:gd name="connsiteX1" fmla="*/ 19022 w 27010"/>
                    <a:gd name="connsiteY1" fmla="*/ 1140 h 26462"/>
                    <a:gd name="connsiteX2" fmla="*/ 25872 w 27010"/>
                    <a:gd name="connsiteY2" fmla="*/ 18578 h 26462"/>
                    <a:gd name="connsiteX3" fmla="*/ 8061 w 27010"/>
                    <a:gd name="connsiteY3" fmla="*/ 25304 h 26462"/>
                    <a:gd name="connsiteX4" fmla="*/ 1210 w 27010"/>
                    <a:gd name="connsiteY4" fmla="*/ 7866 h 26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0" h="26462">
                      <a:moveTo>
                        <a:pt x="1210" y="7866"/>
                      </a:moveTo>
                      <a:cubicBezTo>
                        <a:pt x="4199" y="1265"/>
                        <a:pt x="12171" y="-1849"/>
                        <a:pt x="19022" y="1140"/>
                      </a:cubicBezTo>
                      <a:cubicBezTo>
                        <a:pt x="25748" y="4129"/>
                        <a:pt x="28862" y="11852"/>
                        <a:pt x="25872" y="18578"/>
                      </a:cubicBezTo>
                      <a:cubicBezTo>
                        <a:pt x="22883" y="25304"/>
                        <a:pt x="14911" y="28294"/>
                        <a:pt x="8061" y="25304"/>
                      </a:cubicBezTo>
                      <a:cubicBezTo>
                        <a:pt x="1210" y="22315"/>
                        <a:pt x="-1904" y="14468"/>
                        <a:pt x="1210" y="78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9" name="Freeform 8746">
                  <a:extLst>
                    <a:ext uri="{FF2B5EF4-FFF2-40B4-BE49-F238E27FC236}">
                      <a16:creationId xmlns:a16="http://schemas.microsoft.com/office/drawing/2014/main" id="{BC424350-D16B-F021-A9D3-56D346B79C25}"/>
                    </a:ext>
                  </a:extLst>
                </p:cNvPr>
                <p:cNvSpPr/>
                <p:nvPr/>
              </p:nvSpPr>
              <p:spPr>
                <a:xfrm>
                  <a:off x="2347164" y="1215383"/>
                  <a:ext cx="22046" cy="47331"/>
                </a:xfrm>
                <a:custGeom>
                  <a:avLst/>
                  <a:gdLst>
                    <a:gd name="connsiteX0" fmla="*/ 22047 w 22046"/>
                    <a:gd name="connsiteY0" fmla="*/ 0 h 47331"/>
                    <a:gd name="connsiteX1" fmla="*/ 12580 w 22046"/>
                    <a:gd name="connsiteY1" fmla="*/ 16317 h 47331"/>
                    <a:gd name="connsiteX2" fmla="*/ 8719 w 22046"/>
                    <a:gd name="connsiteY2" fmla="*/ 33257 h 47331"/>
                    <a:gd name="connsiteX3" fmla="*/ 0 w 22046"/>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2046" h="47331">
                      <a:moveTo>
                        <a:pt x="22047" y="0"/>
                      </a:moveTo>
                      <a:cubicBezTo>
                        <a:pt x="16442" y="6352"/>
                        <a:pt x="13826" y="12082"/>
                        <a:pt x="12580" y="16317"/>
                      </a:cubicBezTo>
                      <a:cubicBezTo>
                        <a:pt x="10463" y="22919"/>
                        <a:pt x="11086" y="26531"/>
                        <a:pt x="8719" y="33257"/>
                      </a:cubicBezTo>
                      <a:cubicBezTo>
                        <a:pt x="6352" y="39734"/>
                        <a:pt x="2740" y="44343"/>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0" name="Freeform 8747">
                  <a:extLst>
                    <a:ext uri="{FF2B5EF4-FFF2-40B4-BE49-F238E27FC236}">
                      <a16:creationId xmlns:a16="http://schemas.microsoft.com/office/drawing/2014/main" id="{AAA727F8-C05E-C17C-B988-2E2B2FE10913}"/>
                    </a:ext>
                  </a:extLst>
                </p:cNvPr>
                <p:cNvSpPr/>
                <p:nvPr/>
              </p:nvSpPr>
              <p:spPr>
                <a:xfrm>
                  <a:off x="2356880" y="1213639"/>
                  <a:ext cx="20676" cy="47830"/>
                </a:xfrm>
                <a:custGeom>
                  <a:avLst/>
                  <a:gdLst>
                    <a:gd name="connsiteX0" fmla="*/ 0 w 20676"/>
                    <a:gd name="connsiteY0" fmla="*/ 47830 h 47830"/>
                    <a:gd name="connsiteX1" fmla="*/ 5854 w 20676"/>
                    <a:gd name="connsiteY1" fmla="*/ 30018 h 47830"/>
                    <a:gd name="connsiteX2" fmla="*/ 15943 w 20676"/>
                    <a:gd name="connsiteY2" fmla="*/ 15819 h 47830"/>
                    <a:gd name="connsiteX3" fmla="*/ 20677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0" y="47830"/>
                      </a:moveTo>
                      <a:cubicBezTo>
                        <a:pt x="996" y="39485"/>
                        <a:pt x="3612" y="33755"/>
                        <a:pt x="5854" y="30018"/>
                      </a:cubicBezTo>
                      <a:cubicBezTo>
                        <a:pt x="9466" y="24040"/>
                        <a:pt x="12580" y="22047"/>
                        <a:pt x="15943" y="15819"/>
                      </a:cubicBezTo>
                      <a:cubicBezTo>
                        <a:pt x="19182" y="9715"/>
                        <a:pt x="20303" y="3986"/>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1" name="Freeform 8748">
                  <a:extLst>
                    <a:ext uri="{FF2B5EF4-FFF2-40B4-BE49-F238E27FC236}">
                      <a16:creationId xmlns:a16="http://schemas.microsoft.com/office/drawing/2014/main" id="{0260B1DE-5BB7-95E4-478C-0B7B81A32E97}"/>
                    </a:ext>
                  </a:extLst>
                </p:cNvPr>
                <p:cNvSpPr/>
                <p:nvPr/>
              </p:nvSpPr>
              <p:spPr>
                <a:xfrm>
                  <a:off x="2362176" y="1197252"/>
                  <a:ext cx="26400" cy="26315"/>
                </a:xfrm>
                <a:custGeom>
                  <a:avLst/>
                  <a:gdLst>
                    <a:gd name="connsiteX0" fmla="*/ 25220 w 26400"/>
                    <a:gd name="connsiteY0" fmla="*/ 18380 h 26315"/>
                    <a:gd name="connsiteX1" fmla="*/ 7782 w 26400"/>
                    <a:gd name="connsiteY1" fmla="*/ 25231 h 26315"/>
                    <a:gd name="connsiteX2" fmla="*/ 1180 w 26400"/>
                    <a:gd name="connsiteY2" fmla="*/ 7917 h 26315"/>
                    <a:gd name="connsiteX3" fmla="*/ 18618 w 26400"/>
                    <a:gd name="connsiteY3" fmla="*/ 1067 h 26315"/>
                    <a:gd name="connsiteX4" fmla="*/ 25220 w 26400"/>
                    <a:gd name="connsiteY4" fmla="*/ 18380 h 26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0" h="26315">
                      <a:moveTo>
                        <a:pt x="25220" y="18380"/>
                      </a:moveTo>
                      <a:cubicBezTo>
                        <a:pt x="22231" y="25106"/>
                        <a:pt x="14384" y="28096"/>
                        <a:pt x="7782" y="25231"/>
                      </a:cubicBezTo>
                      <a:cubicBezTo>
                        <a:pt x="1056" y="22366"/>
                        <a:pt x="-1809" y="14643"/>
                        <a:pt x="1180" y="7917"/>
                      </a:cubicBezTo>
                      <a:cubicBezTo>
                        <a:pt x="4170" y="1316"/>
                        <a:pt x="12017" y="-1798"/>
                        <a:pt x="18618" y="1067"/>
                      </a:cubicBezTo>
                      <a:cubicBezTo>
                        <a:pt x="25344" y="3931"/>
                        <a:pt x="28209" y="11654"/>
                        <a:pt x="25220" y="183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7" name="Graphic 2987">
                <a:extLst>
                  <a:ext uri="{FF2B5EF4-FFF2-40B4-BE49-F238E27FC236}">
                    <a16:creationId xmlns:a16="http://schemas.microsoft.com/office/drawing/2014/main" id="{11EFA4B0-5280-3D94-18DA-CDF9FACF523B}"/>
                  </a:ext>
                </a:extLst>
              </p:cNvPr>
              <p:cNvGrpSpPr/>
              <p:nvPr/>
            </p:nvGrpSpPr>
            <p:grpSpPr>
              <a:xfrm>
                <a:off x="2284274" y="1185206"/>
                <a:ext cx="77505" cy="137888"/>
                <a:chOff x="2284274" y="1185206"/>
                <a:chExt cx="77505" cy="137888"/>
              </a:xfrm>
              <a:grpFill/>
            </p:grpSpPr>
            <p:sp>
              <p:nvSpPr>
                <p:cNvPr id="5550" name="Freeform 8750">
                  <a:extLst>
                    <a:ext uri="{FF2B5EF4-FFF2-40B4-BE49-F238E27FC236}">
                      <a16:creationId xmlns:a16="http://schemas.microsoft.com/office/drawing/2014/main" id="{AFD48F5E-33B3-3028-B72D-3829A1CBB192}"/>
                    </a:ext>
                  </a:extLst>
                </p:cNvPr>
                <p:cNvSpPr/>
                <p:nvPr/>
              </p:nvSpPr>
              <p:spPr>
                <a:xfrm>
                  <a:off x="2303818" y="1257857"/>
                  <a:ext cx="22420" cy="47207"/>
                </a:xfrm>
                <a:custGeom>
                  <a:avLst/>
                  <a:gdLst>
                    <a:gd name="connsiteX0" fmla="*/ 0 w 22420"/>
                    <a:gd name="connsiteY0" fmla="*/ 47207 h 47207"/>
                    <a:gd name="connsiteX1" fmla="*/ 9591 w 22420"/>
                    <a:gd name="connsiteY1" fmla="*/ 31015 h 47207"/>
                    <a:gd name="connsiteX2" fmla="*/ 13577 w 22420"/>
                    <a:gd name="connsiteY2" fmla="*/ 14075 h 47207"/>
                    <a:gd name="connsiteX3" fmla="*/ 22420 w 22420"/>
                    <a:gd name="connsiteY3" fmla="*/ 0 h 47207"/>
                  </a:gdLst>
                  <a:ahLst/>
                  <a:cxnLst>
                    <a:cxn ang="0">
                      <a:pos x="connsiteX0" y="connsiteY0"/>
                    </a:cxn>
                    <a:cxn ang="0">
                      <a:pos x="connsiteX1" y="connsiteY1"/>
                    </a:cxn>
                    <a:cxn ang="0">
                      <a:pos x="connsiteX2" y="connsiteY2"/>
                    </a:cxn>
                    <a:cxn ang="0">
                      <a:pos x="connsiteX3" y="connsiteY3"/>
                    </a:cxn>
                  </a:cxnLst>
                  <a:rect l="l" t="t" r="r" b="b"/>
                  <a:pathLst>
                    <a:path w="22420" h="47207">
                      <a:moveTo>
                        <a:pt x="0" y="47207"/>
                      </a:moveTo>
                      <a:cubicBezTo>
                        <a:pt x="5605" y="40855"/>
                        <a:pt x="8221" y="35125"/>
                        <a:pt x="9591" y="31015"/>
                      </a:cubicBezTo>
                      <a:cubicBezTo>
                        <a:pt x="11708" y="24413"/>
                        <a:pt x="11086" y="20801"/>
                        <a:pt x="13577" y="14075"/>
                      </a:cubicBezTo>
                      <a:cubicBezTo>
                        <a:pt x="15943" y="7598"/>
                        <a:pt x="19680" y="2989"/>
                        <a:pt x="224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1" name="Freeform 8751">
                  <a:extLst>
                    <a:ext uri="{FF2B5EF4-FFF2-40B4-BE49-F238E27FC236}">
                      <a16:creationId xmlns:a16="http://schemas.microsoft.com/office/drawing/2014/main" id="{16EC9000-D5A0-B2FC-0837-17EDE9F69528}"/>
                    </a:ext>
                  </a:extLst>
                </p:cNvPr>
                <p:cNvSpPr/>
                <p:nvPr/>
              </p:nvSpPr>
              <p:spPr>
                <a:xfrm>
                  <a:off x="2295348" y="1258854"/>
                  <a:ext cx="21050" cy="47705"/>
                </a:xfrm>
                <a:custGeom>
                  <a:avLst/>
                  <a:gdLst>
                    <a:gd name="connsiteX0" fmla="*/ 21050 w 21050"/>
                    <a:gd name="connsiteY0" fmla="*/ 0 h 47705"/>
                    <a:gd name="connsiteX1" fmla="*/ 15072 w 21050"/>
                    <a:gd name="connsiteY1" fmla="*/ 17812 h 47705"/>
                    <a:gd name="connsiteX2" fmla="*/ 4858 w 21050"/>
                    <a:gd name="connsiteY2" fmla="*/ 31887 h 47705"/>
                    <a:gd name="connsiteX3" fmla="*/ 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0"/>
                      </a:moveTo>
                      <a:cubicBezTo>
                        <a:pt x="19929" y="8345"/>
                        <a:pt x="17314" y="14200"/>
                        <a:pt x="15072" y="17812"/>
                      </a:cubicBezTo>
                      <a:cubicBezTo>
                        <a:pt x="11459" y="23791"/>
                        <a:pt x="8221" y="25659"/>
                        <a:pt x="4858" y="31887"/>
                      </a:cubicBezTo>
                      <a:cubicBezTo>
                        <a:pt x="1495" y="37990"/>
                        <a:pt x="374" y="43720"/>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2" name="Freeform 8752">
                  <a:extLst>
                    <a:ext uri="{FF2B5EF4-FFF2-40B4-BE49-F238E27FC236}">
                      <a16:creationId xmlns:a16="http://schemas.microsoft.com/office/drawing/2014/main" id="{D8832C7F-5171-204B-B57F-84A66734C157}"/>
                    </a:ext>
                  </a:extLst>
                </p:cNvPr>
                <p:cNvSpPr/>
                <p:nvPr/>
              </p:nvSpPr>
              <p:spPr>
                <a:xfrm>
                  <a:off x="2284274" y="1296504"/>
                  <a:ext cx="26859" cy="26590"/>
                </a:xfrm>
                <a:custGeom>
                  <a:avLst/>
                  <a:gdLst>
                    <a:gd name="connsiteX0" fmla="*/ 1234 w 26859"/>
                    <a:gd name="connsiteY0" fmla="*/ 7565 h 26590"/>
                    <a:gd name="connsiteX1" fmla="*/ 18921 w 26859"/>
                    <a:gd name="connsiteY1" fmla="*/ 1337 h 26590"/>
                    <a:gd name="connsiteX2" fmla="*/ 25647 w 26859"/>
                    <a:gd name="connsiteY2" fmla="*/ 18775 h 26590"/>
                    <a:gd name="connsiteX3" fmla="*/ 7836 w 26859"/>
                    <a:gd name="connsiteY3" fmla="*/ 25376 h 26590"/>
                    <a:gd name="connsiteX4" fmla="*/ 1234 w 2685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590">
                      <a:moveTo>
                        <a:pt x="1234" y="7565"/>
                      </a:moveTo>
                      <a:cubicBezTo>
                        <a:pt x="4348" y="963"/>
                        <a:pt x="12195" y="-1902"/>
                        <a:pt x="18921" y="1337"/>
                      </a:cubicBezTo>
                      <a:cubicBezTo>
                        <a:pt x="25647" y="4451"/>
                        <a:pt x="28761" y="12049"/>
                        <a:pt x="25647" y="18775"/>
                      </a:cubicBezTo>
                      <a:cubicBezTo>
                        <a:pt x="22658" y="25376"/>
                        <a:pt x="14562" y="28490"/>
                        <a:pt x="7836" y="25376"/>
                      </a:cubicBezTo>
                      <a:cubicBezTo>
                        <a:pt x="1109" y="22262"/>
                        <a:pt x="-1880" y="14291"/>
                        <a:pt x="1234"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3" name="Freeform 8753">
                  <a:extLst>
                    <a:ext uri="{FF2B5EF4-FFF2-40B4-BE49-F238E27FC236}">
                      <a16:creationId xmlns:a16="http://schemas.microsoft.com/office/drawing/2014/main" id="{1A190B4F-65AB-5D60-037B-FF891ACA1E2E}"/>
                    </a:ext>
                  </a:extLst>
                </p:cNvPr>
                <p:cNvSpPr/>
                <p:nvPr/>
              </p:nvSpPr>
              <p:spPr>
                <a:xfrm>
                  <a:off x="2320011" y="1203550"/>
                  <a:ext cx="22420" cy="47207"/>
                </a:xfrm>
                <a:custGeom>
                  <a:avLst/>
                  <a:gdLst>
                    <a:gd name="connsiteX0" fmla="*/ 22420 w 22420"/>
                    <a:gd name="connsiteY0" fmla="*/ 0 h 47207"/>
                    <a:gd name="connsiteX1" fmla="*/ 12829 w 22420"/>
                    <a:gd name="connsiteY1" fmla="*/ 16192 h 47207"/>
                    <a:gd name="connsiteX2" fmla="*/ 8719 w 22420"/>
                    <a:gd name="connsiteY2" fmla="*/ 33257 h 47207"/>
                    <a:gd name="connsiteX3" fmla="*/ 0 w 2242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420" h="47207">
                      <a:moveTo>
                        <a:pt x="22420" y="0"/>
                      </a:moveTo>
                      <a:cubicBezTo>
                        <a:pt x="16815" y="6228"/>
                        <a:pt x="14200" y="11958"/>
                        <a:pt x="12829" y="16192"/>
                      </a:cubicBezTo>
                      <a:cubicBezTo>
                        <a:pt x="10587" y="22794"/>
                        <a:pt x="11210" y="26531"/>
                        <a:pt x="8719" y="33257"/>
                      </a:cubicBezTo>
                      <a:cubicBezTo>
                        <a:pt x="6228" y="39734"/>
                        <a:pt x="2616" y="44343"/>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4" name="Freeform 8754">
                  <a:extLst>
                    <a:ext uri="{FF2B5EF4-FFF2-40B4-BE49-F238E27FC236}">
                      <a16:creationId xmlns:a16="http://schemas.microsoft.com/office/drawing/2014/main" id="{B1D70C7A-EABD-9405-6C42-CBCB48F31D64}"/>
                    </a:ext>
                  </a:extLst>
                </p:cNvPr>
                <p:cNvSpPr/>
                <p:nvPr/>
              </p:nvSpPr>
              <p:spPr>
                <a:xfrm>
                  <a:off x="2329726" y="1201931"/>
                  <a:ext cx="21050" cy="47705"/>
                </a:xfrm>
                <a:custGeom>
                  <a:avLst/>
                  <a:gdLst>
                    <a:gd name="connsiteX0" fmla="*/ 0 w 21050"/>
                    <a:gd name="connsiteY0" fmla="*/ 47706 h 47705"/>
                    <a:gd name="connsiteX1" fmla="*/ 5979 w 21050"/>
                    <a:gd name="connsiteY1" fmla="*/ 29894 h 47705"/>
                    <a:gd name="connsiteX2" fmla="*/ 16193 w 21050"/>
                    <a:gd name="connsiteY2" fmla="*/ 15694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1121" y="39360"/>
                        <a:pt x="3737" y="33631"/>
                        <a:pt x="5979" y="29894"/>
                      </a:cubicBezTo>
                      <a:cubicBezTo>
                        <a:pt x="9591" y="23915"/>
                        <a:pt x="12830" y="21922"/>
                        <a:pt x="16193" y="15694"/>
                      </a:cubicBezTo>
                      <a:cubicBezTo>
                        <a:pt x="19556" y="9591"/>
                        <a:pt x="20552" y="3861"/>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5" name="Freeform 8755">
                  <a:extLst>
                    <a:ext uri="{FF2B5EF4-FFF2-40B4-BE49-F238E27FC236}">
                      <a16:creationId xmlns:a16="http://schemas.microsoft.com/office/drawing/2014/main" id="{1C314A5F-A3D5-80DC-968F-07D466D89AE3}"/>
                    </a:ext>
                  </a:extLst>
                </p:cNvPr>
                <p:cNvSpPr/>
                <p:nvPr/>
              </p:nvSpPr>
              <p:spPr>
                <a:xfrm>
                  <a:off x="2335564" y="1185206"/>
                  <a:ext cx="26215" cy="26637"/>
                </a:xfrm>
                <a:custGeom>
                  <a:avLst/>
                  <a:gdLst>
                    <a:gd name="connsiteX0" fmla="*/ 25052 w 26215"/>
                    <a:gd name="connsiteY0" fmla="*/ 18718 h 26637"/>
                    <a:gd name="connsiteX1" fmla="*/ 7490 w 26215"/>
                    <a:gd name="connsiteY1" fmla="*/ 25444 h 26637"/>
                    <a:gd name="connsiteX2" fmla="*/ 1262 w 26215"/>
                    <a:gd name="connsiteY2" fmla="*/ 7632 h 26637"/>
                    <a:gd name="connsiteX3" fmla="*/ 18575 w 26215"/>
                    <a:gd name="connsiteY3" fmla="*/ 1280 h 26637"/>
                    <a:gd name="connsiteX4" fmla="*/ 25052 w 26215"/>
                    <a:gd name="connsiteY4" fmla="*/ 18718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5" h="26637">
                      <a:moveTo>
                        <a:pt x="25052" y="18718"/>
                      </a:moveTo>
                      <a:cubicBezTo>
                        <a:pt x="22063" y="25319"/>
                        <a:pt x="14091" y="28558"/>
                        <a:pt x="7490" y="25444"/>
                      </a:cubicBezTo>
                      <a:cubicBezTo>
                        <a:pt x="1013" y="22330"/>
                        <a:pt x="-1852" y="14358"/>
                        <a:pt x="1262" y="7632"/>
                      </a:cubicBezTo>
                      <a:cubicBezTo>
                        <a:pt x="4376" y="906"/>
                        <a:pt x="12098" y="-1834"/>
                        <a:pt x="18575" y="1280"/>
                      </a:cubicBezTo>
                      <a:cubicBezTo>
                        <a:pt x="25052" y="4394"/>
                        <a:pt x="28042" y="12116"/>
                        <a:pt x="25052" y="187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8" name="Graphic 2987">
                <a:extLst>
                  <a:ext uri="{FF2B5EF4-FFF2-40B4-BE49-F238E27FC236}">
                    <a16:creationId xmlns:a16="http://schemas.microsoft.com/office/drawing/2014/main" id="{693EF97A-3922-A9C5-9C5B-ECDC1A007E70}"/>
                  </a:ext>
                </a:extLst>
              </p:cNvPr>
              <p:cNvGrpSpPr/>
              <p:nvPr/>
            </p:nvGrpSpPr>
            <p:grpSpPr>
              <a:xfrm>
                <a:off x="2257118" y="1172646"/>
                <a:ext cx="78175" cy="137516"/>
                <a:chOff x="2257118" y="1172646"/>
                <a:chExt cx="78175" cy="137516"/>
              </a:xfrm>
              <a:grpFill/>
            </p:grpSpPr>
            <p:sp>
              <p:nvSpPr>
                <p:cNvPr id="5544" name="Freeform 8757">
                  <a:extLst>
                    <a:ext uri="{FF2B5EF4-FFF2-40B4-BE49-F238E27FC236}">
                      <a16:creationId xmlns:a16="http://schemas.microsoft.com/office/drawing/2014/main" id="{057F5113-D040-6EB1-BBA9-04B780AC6A3A}"/>
                    </a:ext>
                  </a:extLst>
                </p:cNvPr>
                <p:cNvSpPr/>
                <p:nvPr/>
              </p:nvSpPr>
              <p:spPr>
                <a:xfrm>
                  <a:off x="2276789" y="1245153"/>
                  <a:ext cx="22669" cy="46958"/>
                </a:xfrm>
                <a:custGeom>
                  <a:avLst/>
                  <a:gdLst>
                    <a:gd name="connsiteX0" fmla="*/ 0 w 22669"/>
                    <a:gd name="connsiteY0" fmla="*/ 46958 h 46958"/>
                    <a:gd name="connsiteX1" fmla="*/ 9716 w 22669"/>
                    <a:gd name="connsiteY1" fmla="*/ 30890 h 46958"/>
                    <a:gd name="connsiteX2" fmla="*/ 13826 w 22669"/>
                    <a:gd name="connsiteY2" fmla="*/ 1395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5605" y="40730"/>
                        <a:pt x="8346" y="35001"/>
                        <a:pt x="9716" y="30890"/>
                      </a:cubicBezTo>
                      <a:cubicBezTo>
                        <a:pt x="11958" y="24289"/>
                        <a:pt x="11335" y="20552"/>
                        <a:pt x="13826" y="13950"/>
                      </a:cubicBezTo>
                      <a:cubicBezTo>
                        <a:pt x="16317" y="7473"/>
                        <a:pt x="19929" y="2865"/>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5" name="Freeform 8758">
                  <a:extLst>
                    <a:ext uri="{FF2B5EF4-FFF2-40B4-BE49-F238E27FC236}">
                      <a16:creationId xmlns:a16="http://schemas.microsoft.com/office/drawing/2014/main" id="{DE20283A-9243-DD60-C77D-E828B35ABA29}"/>
                    </a:ext>
                  </a:extLst>
                </p:cNvPr>
                <p:cNvSpPr/>
                <p:nvPr/>
              </p:nvSpPr>
              <p:spPr>
                <a:xfrm>
                  <a:off x="2268319" y="1246024"/>
                  <a:ext cx="21423" cy="47581"/>
                </a:xfrm>
                <a:custGeom>
                  <a:avLst/>
                  <a:gdLst>
                    <a:gd name="connsiteX0" fmla="*/ 21424 w 21423"/>
                    <a:gd name="connsiteY0" fmla="*/ 0 h 47581"/>
                    <a:gd name="connsiteX1" fmla="*/ 15321 w 21423"/>
                    <a:gd name="connsiteY1" fmla="*/ 17812 h 47581"/>
                    <a:gd name="connsiteX2" fmla="*/ 4982 w 21423"/>
                    <a:gd name="connsiteY2" fmla="*/ 31762 h 47581"/>
                    <a:gd name="connsiteX3" fmla="*/ 0 w 21423"/>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0"/>
                      </a:moveTo>
                      <a:cubicBezTo>
                        <a:pt x="20303" y="8345"/>
                        <a:pt x="17563" y="14075"/>
                        <a:pt x="15321" y="17812"/>
                      </a:cubicBezTo>
                      <a:cubicBezTo>
                        <a:pt x="11708" y="23791"/>
                        <a:pt x="8470" y="25534"/>
                        <a:pt x="4982" y="31762"/>
                      </a:cubicBezTo>
                      <a:cubicBezTo>
                        <a:pt x="1619" y="37741"/>
                        <a:pt x="498" y="43595"/>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6" name="Freeform 8759">
                  <a:extLst>
                    <a:ext uri="{FF2B5EF4-FFF2-40B4-BE49-F238E27FC236}">
                      <a16:creationId xmlns:a16="http://schemas.microsoft.com/office/drawing/2014/main" id="{86A2C024-3E75-6ADF-05B3-95F9CB375610}"/>
                    </a:ext>
                  </a:extLst>
                </p:cNvPr>
                <p:cNvSpPr/>
                <p:nvPr/>
              </p:nvSpPr>
              <p:spPr>
                <a:xfrm>
                  <a:off x="2257118" y="1283525"/>
                  <a:ext cx="26657" cy="26637"/>
                </a:xfrm>
                <a:custGeom>
                  <a:avLst/>
                  <a:gdLst>
                    <a:gd name="connsiteX0" fmla="*/ 1237 w 26657"/>
                    <a:gd name="connsiteY0" fmla="*/ 7464 h 26637"/>
                    <a:gd name="connsiteX1" fmla="*/ 18924 w 26657"/>
                    <a:gd name="connsiteY1" fmla="*/ 1361 h 26637"/>
                    <a:gd name="connsiteX2" fmla="*/ 25401 w 26657"/>
                    <a:gd name="connsiteY2" fmla="*/ 19173 h 26637"/>
                    <a:gd name="connsiteX3" fmla="*/ 7714 w 26657"/>
                    <a:gd name="connsiteY3" fmla="*/ 25276 h 26637"/>
                    <a:gd name="connsiteX4" fmla="*/ 1237 w 266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637">
                      <a:moveTo>
                        <a:pt x="1237" y="7464"/>
                      </a:moveTo>
                      <a:cubicBezTo>
                        <a:pt x="4350" y="863"/>
                        <a:pt x="12322" y="-1877"/>
                        <a:pt x="18924" y="1361"/>
                      </a:cubicBezTo>
                      <a:cubicBezTo>
                        <a:pt x="25650" y="4600"/>
                        <a:pt x="28515" y="12571"/>
                        <a:pt x="25401" y="19173"/>
                      </a:cubicBezTo>
                      <a:cubicBezTo>
                        <a:pt x="22287" y="25774"/>
                        <a:pt x="14440" y="28515"/>
                        <a:pt x="7714" y="25276"/>
                      </a:cubicBezTo>
                      <a:cubicBezTo>
                        <a:pt x="1112" y="22162"/>
                        <a:pt x="-1877" y="14066"/>
                        <a:pt x="123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7" name="Freeform 8760">
                  <a:extLst>
                    <a:ext uri="{FF2B5EF4-FFF2-40B4-BE49-F238E27FC236}">
                      <a16:creationId xmlns:a16="http://schemas.microsoft.com/office/drawing/2014/main" id="{B8A4559C-8B99-6508-F05A-9D655736E089}"/>
                    </a:ext>
                  </a:extLst>
                </p:cNvPr>
                <p:cNvSpPr/>
                <p:nvPr/>
              </p:nvSpPr>
              <p:spPr>
                <a:xfrm>
                  <a:off x="2293231" y="1190845"/>
                  <a:ext cx="22794" cy="46833"/>
                </a:xfrm>
                <a:custGeom>
                  <a:avLst/>
                  <a:gdLst>
                    <a:gd name="connsiteX0" fmla="*/ 22794 w 22794"/>
                    <a:gd name="connsiteY0" fmla="*/ 0 h 46833"/>
                    <a:gd name="connsiteX1" fmla="*/ 13079 w 22794"/>
                    <a:gd name="connsiteY1" fmla="*/ 16068 h 46833"/>
                    <a:gd name="connsiteX2" fmla="*/ 8844 w 22794"/>
                    <a:gd name="connsiteY2" fmla="*/ 33008 h 46833"/>
                    <a:gd name="connsiteX3" fmla="*/ 0 w 22794"/>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0"/>
                      </a:moveTo>
                      <a:cubicBezTo>
                        <a:pt x="17189" y="6228"/>
                        <a:pt x="14449" y="11958"/>
                        <a:pt x="13079" y="16068"/>
                      </a:cubicBezTo>
                      <a:cubicBezTo>
                        <a:pt x="10836" y="22669"/>
                        <a:pt x="11459" y="26406"/>
                        <a:pt x="8844" y="33008"/>
                      </a:cubicBezTo>
                      <a:cubicBezTo>
                        <a:pt x="6352" y="39485"/>
                        <a:pt x="2740" y="44093"/>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8" name="Freeform 8761">
                  <a:extLst>
                    <a:ext uri="{FF2B5EF4-FFF2-40B4-BE49-F238E27FC236}">
                      <a16:creationId xmlns:a16="http://schemas.microsoft.com/office/drawing/2014/main" id="{3131D579-4A93-3474-BB1F-5606B6F81050}"/>
                    </a:ext>
                  </a:extLst>
                </p:cNvPr>
                <p:cNvSpPr/>
                <p:nvPr/>
              </p:nvSpPr>
              <p:spPr>
                <a:xfrm>
                  <a:off x="2303071" y="1189226"/>
                  <a:ext cx="21299" cy="47581"/>
                </a:xfrm>
                <a:custGeom>
                  <a:avLst/>
                  <a:gdLst>
                    <a:gd name="connsiteX0" fmla="*/ 0 w 21299"/>
                    <a:gd name="connsiteY0" fmla="*/ 47581 h 47581"/>
                    <a:gd name="connsiteX1" fmla="*/ 6103 w 21299"/>
                    <a:gd name="connsiteY1" fmla="*/ 29769 h 47581"/>
                    <a:gd name="connsiteX2" fmla="*/ 16317 w 21299"/>
                    <a:gd name="connsiteY2" fmla="*/ 15819 h 47581"/>
                    <a:gd name="connsiteX3" fmla="*/ 21299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0" y="47581"/>
                      </a:moveTo>
                      <a:cubicBezTo>
                        <a:pt x="1121" y="39236"/>
                        <a:pt x="3861" y="33506"/>
                        <a:pt x="6103" y="29769"/>
                      </a:cubicBezTo>
                      <a:cubicBezTo>
                        <a:pt x="9715" y="23791"/>
                        <a:pt x="12954" y="21922"/>
                        <a:pt x="16317" y="15819"/>
                      </a:cubicBezTo>
                      <a:cubicBezTo>
                        <a:pt x="19680" y="9840"/>
                        <a:pt x="20801" y="3986"/>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9" name="Freeform 8762">
                  <a:extLst>
                    <a:ext uri="{FF2B5EF4-FFF2-40B4-BE49-F238E27FC236}">
                      <a16:creationId xmlns:a16="http://schemas.microsoft.com/office/drawing/2014/main" id="{A6C83392-031B-FCE2-8FA2-7F0F183ACC56}"/>
                    </a:ext>
                  </a:extLst>
                </p:cNvPr>
                <p:cNvSpPr/>
                <p:nvPr/>
              </p:nvSpPr>
              <p:spPr>
                <a:xfrm>
                  <a:off x="2309158" y="1172646"/>
                  <a:ext cx="26135" cy="26558"/>
                </a:xfrm>
                <a:custGeom>
                  <a:avLst/>
                  <a:gdLst>
                    <a:gd name="connsiteX0" fmla="*/ 24928 w 26135"/>
                    <a:gd name="connsiteY0" fmla="*/ 18946 h 26558"/>
                    <a:gd name="connsiteX1" fmla="*/ 7490 w 26135"/>
                    <a:gd name="connsiteY1" fmla="*/ 25299 h 26558"/>
                    <a:gd name="connsiteX2" fmla="*/ 1262 w 26135"/>
                    <a:gd name="connsiteY2" fmla="*/ 7612 h 26558"/>
                    <a:gd name="connsiteX3" fmla="*/ 18700 w 26135"/>
                    <a:gd name="connsiteY3" fmla="*/ 1259 h 26558"/>
                    <a:gd name="connsiteX4" fmla="*/ 24928 w 26135"/>
                    <a:gd name="connsiteY4" fmla="*/ 18946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558">
                      <a:moveTo>
                        <a:pt x="24928" y="18946"/>
                      </a:moveTo>
                      <a:cubicBezTo>
                        <a:pt x="21814" y="25548"/>
                        <a:pt x="14091" y="28413"/>
                        <a:pt x="7490" y="25299"/>
                      </a:cubicBezTo>
                      <a:cubicBezTo>
                        <a:pt x="1013" y="22185"/>
                        <a:pt x="-1852" y="14213"/>
                        <a:pt x="1262" y="7612"/>
                      </a:cubicBezTo>
                      <a:cubicBezTo>
                        <a:pt x="4376" y="1010"/>
                        <a:pt x="12223" y="-1855"/>
                        <a:pt x="18700" y="1259"/>
                      </a:cubicBezTo>
                      <a:cubicBezTo>
                        <a:pt x="25177" y="4373"/>
                        <a:pt x="27917" y="12345"/>
                        <a:pt x="24928"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9" name="Graphic 2987">
                <a:extLst>
                  <a:ext uri="{FF2B5EF4-FFF2-40B4-BE49-F238E27FC236}">
                    <a16:creationId xmlns:a16="http://schemas.microsoft.com/office/drawing/2014/main" id="{B60A28E1-1D65-60FD-3AD7-02B07011E691}"/>
                  </a:ext>
                </a:extLst>
              </p:cNvPr>
              <p:cNvGrpSpPr/>
              <p:nvPr/>
            </p:nvGrpSpPr>
            <p:grpSpPr>
              <a:xfrm>
                <a:off x="2230069" y="1159864"/>
                <a:ext cx="78895" cy="137220"/>
                <a:chOff x="2230069" y="1159864"/>
                <a:chExt cx="78895" cy="137220"/>
              </a:xfrm>
              <a:grpFill/>
            </p:grpSpPr>
            <p:sp>
              <p:nvSpPr>
                <p:cNvPr id="5538" name="Freeform 8764">
                  <a:extLst>
                    <a:ext uri="{FF2B5EF4-FFF2-40B4-BE49-F238E27FC236}">
                      <a16:creationId xmlns:a16="http://schemas.microsoft.com/office/drawing/2014/main" id="{8014D718-7AFA-4ADC-94EE-FEF146768203}"/>
                    </a:ext>
                  </a:extLst>
                </p:cNvPr>
                <p:cNvSpPr/>
                <p:nvPr/>
              </p:nvSpPr>
              <p:spPr>
                <a:xfrm>
                  <a:off x="2249760" y="1232199"/>
                  <a:ext cx="23043" cy="46833"/>
                </a:xfrm>
                <a:custGeom>
                  <a:avLst/>
                  <a:gdLst>
                    <a:gd name="connsiteX0" fmla="*/ 0 w 23043"/>
                    <a:gd name="connsiteY0" fmla="*/ 46834 h 46833"/>
                    <a:gd name="connsiteX1" fmla="*/ 9840 w 23043"/>
                    <a:gd name="connsiteY1" fmla="*/ 30766 h 46833"/>
                    <a:gd name="connsiteX2" fmla="*/ 14075 w 23043"/>
                    <a:gd name="connsiteY2" fmla="*/ 13826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5730" y="40606"/>
                        <a:pt x="8345" y="34876"/>
                        <a:pt x="9840" y="30766"/>
                      </a:cubicBezTo>
                      <a:cubicBezTo>
                        <a:pt x="12082" y="24164"/>
                        <a:pt x="11459" y="20427"/>
                        <a:pt x="14075" y="13826"/>
                      </a:cubicBezTo>
                      <a:cubicBezTo>
                        <a:pt x="16566" y="7349"/>
                        <a:pt x="20303" y="2865"/>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9" name="Freeform 8765">
                  <a:extLst>
                    <a:ext uri="{FF2B5EF4-FFF2-40B4-BE49-F238E27FC236}">
                      <a16:creationId xmlns:a16="http://schemas.microsoft.com/office/drawing/2014/main" id="{D7741D95-C491-54CD-C62E-1DF8FDEFAFFE}"/>
                    </a:ext>
                  </a:extLst>
                </p:cNvPr>
                <p:cNvSpPr/>
                <p:nvPr/>
              </p:nvSpPr>
              <p:spPr>
                <a:xfrm>
                  <a:off x="2241166" y="1233070"/>
                  <a:ext cx="21797" cy="47456"/>
                </a:xfrm>
                <a:custGeom>
                  <a:avLst/>
                  <a:gdLst>
                    <a:gd name="connsiteX0" fmla="*/ 21798 w 21797"/>
                    <a:gd name="connsiteY0" fmla="*/ 0 h 47456"/>
                    <a:gd name="connsiteX1" fmla="*/ 15570 w 21797"/>
                    <a:gd name="connsiteY1" fmla="*/ 17812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5"/>
                        <a:pt x="17812" y="14075"/>
                        <a:pt x="15570" y="17812"/>
                      </a:cubicBezTo>
                      <a:cubicBezTo>
                        <a:pt x="11833" y="23791"/>
                        <a:pt x="8595" y="25534"/>
                        <a:pt x="5107" y="31762"/>
                      </a:cubicBezTo>
                      <a:cubicBezTo>
                        <a:pt x="1744"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0" name="Freeform 8766">
                  <a:extLst>
                    <a:ext uri="{FF2B5EF4-FFF2-40B4-BE49-F238E27FC236}">
                      <a16:creationId xmlns:a16="http://schemas.microsoft.com/office/drawing/2014/main" id="{1E3803CB-780F-07BB-3F52-3B88C22F7CB8}"/>
                    </a:ext>
                  </a:extLst>
                </p:cNvPr>
                <p:cNvSpPr/>
                <p:nvPr/>
              </p:nvSpPr>
              <p:spPr>
                <a:xfrm>
                  <a:off x="2230069" y="1270447"/>
                  <a:ext cx="26801" cy="26637"/>
                </a:xfrm>
                <a:custGeom>
                  <a:avLst/>
                  <a:gdLst>
                    <a:gd name="connsiteX0" fmla="*/ 1257 w 26801"/>
                    <a:gd name="connsiteY0" fmla="*/ 7464 h 26637"/>
                    <a:gd name="connsiteX1" fmla="*/ 19068 w 26801"/>
                    <a:gd name="connsiteY1" fmla="*/ 1361 h 26637"/>
                    <a:gd name="connsiteX2" fmla="*/ 25545 w 26801"/>
                    <a:gd name="connsiteY2" fmla="*/ 19173 h 26637"/>
                    <a:gd name="connsiteX3" fmla="*/ 7734 w 26801"/>
                    <a:gd name="connsiteY3" fmla="*/ 25276 h 26637"/>
                    <a:gd name="connsiteX4" fmla="*/ 1257 w 26801"/>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1" h="26637">
                      <a:moveTo>
                        <a:pt x="1257" y="7464"/>
                      </a:moveTo>
                      <a:cubicBezTo>
                        <a:pt x="4371" y="863"/>
                        <a:pt x="12342" y="-1877"/>
                        <a:pt x="19068" y="1361"/>
                      </a:cubicBezTo>
                      <a:cubicBezTo>
                        <a:pt x="25795" y="4600"/>
                        <a:pt x="28659" y="12571"/>
                        <a:pt x="25545" y="19173"/>
                      </a:cubicBezTo>
                      <a:cubicBezTo>
                        <a:pt x="22431" y="25774"/>
                        <a:pt x="14460" y="28515"/>
                        <a:pt x="7734" y="25276"/>
                      </a:cubicBezTo>
                      <a:cubicBezTo>
                        <a:pt x="1007" y="22038"/>
                        <a:pt x="-1857" y="14066"/>
                        <a:pt x="125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1" name="Freeform 8767">
                  <a:extLst>
                    <a:ext uri="{FF2B5EF4-FFF2-40B4-BE49-F238E27FC236}">
                      <a16:creationId xmlns:a16="http://schemas.microsoft.com/office/drawing/2014/main" id="{178BD202-31A8-59DE-C66A-9E3C8962D193}"/>
                    </a:ext>
                  </a:extLst>
                </p:cNvPr>
                <p:cNvSpPr/>
                <p:nvPr/>
              </p:nvSpPr>
              <p:spPr>
                <a:xfrm>
                  <a:off x="2266576" y="1178016"/>
                  <a:ext cx="23043" cy="46833"/>
                </a:xfrm>
                <a:custGeom>
                  <a:avLst/>
                  <a:gdLst>
                    <a:gd name="connsiteX0" fmla="*/ 23043 w 23043"/>
                    <a:gd name="connsiteY0" fmla="*/ 0 h 46833"/>
                    <a:gd name="connsiteX1" fmla="*/ 13203 w 23043"/>
                    <a:gd name="connsiteY1" fmla="*/ 16068 h 46833"/>
                    <a:gd name="connsiteX2" fmla="*/ 8968 w 23043"/>
                    <a:gd name="connsiteY2" fmla="*/ 33008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17438" y="6228"/>
                        <a:pt x="14698" y="11958"/>
                        <a:pt x="13203" y="16068"/>
                      </a:cubicBezTo>
                      <a:cubicBezTo>
                        <a:pt x="10961" y="22670"/>
                        <a:pt x="11459" y="26406"/>
                        <a:pt x="8968" y="33008"/>
                      </a:cubicBezTo>
                      <a:cubicBezTo>
                        <a:pt x="6477" y="39485"/>
                        <a:pt x="2740" y="43969"/>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2" name="Freeform 8768">
                  <a:extLst>
                    <a:ext uri="{FF2B5EF4-FFF2-40B4-BE49-F238E27FC236}">
                      <a16:creationId xmlns:a16="http://schemas.microsoft.com/office/drawing/2014/main" id="{C25D2CC4-D4DC-CF65-C273-424EC63B15C2}"/>
                    </a:ext>
                  </a:extLst>
                </p:cNvPr>
                <p:cNvSpPr/>
                <p:nvPr/>
              </p:nvSpPr>
              <p:spPr>
                <a:xfrm>
                  <a:off x="2276416" y="1176521"/>
                  <a:ext cx="21673" cy="47456"/>
                </a:xfrm>
                <a:custGeom>
                  <a:avLst/>
                  <a:gdLst>
                    <a:gd name="connsiteX0" fmla="*/ 0 w 21673"/>
                    <a:gd name="connsiteY0" fmla="*/ 47456 h 47456"/>
                    <a:gd name="connsiteX1" fmla="*/ 6228 w 21673"/>
                    <a:gd name="connsiteY1" fmla="*/ 29645 h 47456"/>
                    <a:gd name="connsiteX2" fmla="*/ 16566 w 21673"/>
                    <a:gd name="connsiteY2" fmla="*/ 15694 h 47456"/>
                    <a:gd name="connsiteX3" fmla="*/ 21673 w 21673"/>
                    <a:gd name="connsiteY3" fmla="*/ 0 h 47456"/>
                  </a:gdLst>
                  <a:ahLst/>
                  <a:cxnLst>
                    <a:cxn ang="0">
                      <a:pos x="connsiteX0" y="connsiteY0"/>
                    </a:cxn>
                    <a:cxn ang="0">
                      <a:pos x="connsiteX1" y="connsiteY1"/>
                    </a:cxn>
                    <a:cxn ang="0">
                      <a:pos x="connsiteX2" y="connsiteY2"/>
                    </a:cxn>
                    <a:cxn ang="0">
                      <a:pos x="connsiteX3" y="connsiteY3"/>
                    </a:cxn>
                  </a:cxnLst>
                  <a:rect l="l" t="t" r="r" b="b"/>
                  <a:pathLst>
                    <a:path w="21673" h="47456">
                      <a:moveTo>
                        <a:pt x="0" y="47456"/>
                      </a:moveTo>
                      <a:cubicBezTo>
                        <a:pt x="1246" y="39111"/>
                        <a:pt x="3986" y="33381"/>
                        <a:pt x="6228" y="29645"/>
                      </a:cubicBezTo>
                      <a:cubicBezTo>
                        <a:pt x="9965" y="23666"/>
                        <a:pt x="13079" y="21922"/>
                        <a:pt x="16566" y="15694"/>
                      </a:cubicBezTo>
                      <a:cubicBezTo>
                        <a:pt x="19929" y="9715"/>
                        <a:pt x="21175" y="3861"/>
                        <a:pt x="216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3" name="Freeform 8769">
                  <a:extLst>
                    <a:ext uri="{FF2B5EF4-FFF2-40B4-BE49-F238E27FC236}">
                      <a16:creationId xmlns:a16="http://schemas.microsoft.com/office/drawing/2014/main" id="{DC07DFDB-809F-CA98-D6C7-50ACEFC3D69D}"/>
                    </a:ext>
                  </a:extLst>
                </p:cNvPr>
                <p:cNvSpPr/>
                <p:nvPr/>
              </p:nvSpPr>
              <p:spPr>
                <a:xfrm>
                  <a:off x="2282853" y="1159864"/>
                  <a:ext cx="26111" cy="26588"/>
                </a:xfrm>
                <a:custGeom>
                  <a:avLst/>
                  <a:gdLst>
                    <a:gd name="connsiteX0" fmla="*/ 24827 w 26111"/>
                    <a:gd name="connsiteY0" fmla="*/ 19024 h 26588"/>
                    <a:gd name="connsiteX1" fmla="*/ 7388 w 26111"/>
                    <a:gd name="connsiteY1" fmla="*/ 25252 h 26588"/>
                    <a:gd name="connsiteX2" fmla="*/ 1285 w 26111"/>
                    <a:gd name="connsiteY2" fmla="*/ 7565 h 26588"/>
                    <a:gd name="connsiteX3" fmla="*/ 18723 w 26111"/>
                    <a:gd name="connsiteY3" fmla="*/ 1337 h 26588"/>
                    <a:gd name="connsiteX4" fmla="*/ 24827 w 26111"/>
                    <a:gd name="connsiteY4" fmla="*/ 19024 h 26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1" h="26588">
                      <a:moveTo>
                        <a:pt x="24827" y="19024"/>
                      </a:moveTo>
                      <a:cubicBezTo>
                        <a:pt x="21713" y="25626"/>
                        <a:pt x="13866" y="28490"/>
                        <a:pt x="7388" y="25252"/>
                      </a:cubicBezTo>
                      <a:cubicBezTo>
                        <a:pt x="912" y="22138"/>
                        <a:pt x="-1829" y="14166"/>
                        <a:pt x="1285" y="7565"/>
                      </a:cubicBezTo>
                      <a:cubicBezTo>
                        <a:pt x="4399" y="963"/>
                        <a:pt x="12246" y="-1902"/>
                        <a:pt x="18723" y="1337"/>
                      </a:cubicBezTo>
                      <a:cubicBezTo>
                        <a:pt x="25200" y="4451"/>
                        <a:pt x="27941" y="12422"/>
                        <a:pt x="24827" y="19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0" name="Graphic 2987">
                <a:extLst>
                  <a:ext uri="{FF2B5EF4-FFF2-40B4-BE49-F238E27FC236}">
                    <a16:creationId xmlns:a16="http://schemas.microsoft.com/office/drawing/2014/main" id="{FBB0649D-191F-3E9C-B851-F94890953E2B}"/>
                  </a:ext>
                </a:extLst>
              </p:cNvPr>
              <p:cNvGrpSpPr/>
              <p:nvPr/>
            </p:nvGrpSpPr>
            <p:grpSpPr>
              <a:xfrm>
                <a:off x="2202963" y="1147213"/>
                <a:ext cx="79744" cy="136792"/>
                <a:chOff x="2202963" y="1147213"/>
                <a:chExt cx="79744" cy="136792"/>
              </a:xfrm>
              <a:grpFill/>
            </p:grpSpPr>
            <p:sp>
              <p:nvSpPr>
                <p:cNvPr id="5532" name="Freeform 8771">
                  <a:extLst>
                    <a:ext uri="{FF2B5EF4-FFF2-40B4-BE49-F238E27FC236}">
                      <a16:creationId xmlns:a16="http://schemas.microsoft.com/office/drawing/2014/main" id="{2DB63B3D-86EB-7EB8-F29B-5CE274289994}"/>
                    </a:ext>
                  </a:extLst>
                </p:cNvPr>
                <p:cNvSpPr/>
                <p:nvPr/>
              </p:nvSpPr>
              <p:spPr>
                <a:xfrm>
                  <a:off x="2222731" y="1219245"/>
                  <a:ext cx="23416" cy="46709"/>
                </a:xfrm>
                <a:custGeom>
                  <a:avLst/>
                  <a:gdLst>
                    <a:gd name="connsiteX0" fmla="*/ 0 w 23416"/>
                    <a:gd name="connsiteY0" fmla="*/ 46709 h 46709"/>
                    <a:gd name="connsiteX1" fmla="*/ 9965 w 23416"/>
                    <a:gd name="connsiteY1" fmla="*/ 30766 h 46709"/>
                    <a:gd name="connsiteX2" fmla="*/ 14324 w 23416"/>
                    <a:gd name="connsiteY2" fmla="*/ 13826 h 46709"/>
                    <a:gd name="connsiteX3" fmla="*/ 23417 w 23416"/>
                    <a:gd name="connsiteY3" fmla="*/ 0 h 46709"/>
                  </a:gdLst>
                  <a:ahLst/>
                  <a:cxnLst>
                    <a:cxn ang="0">
                      <a:pos x="connsiteX0" y="connsiteY0"/>
                    </a:cxn>
                    <a:cxn ang="0">
                      <a:pos x="connsiteX1" y="connsiteY1"/>
                    </a:cxn>
                    <a:cxn ang="0">
                      <a:pos x="connsiteX2" y="connsiteY2"/>
                    </a:cxn>
                    <a:cxn ang="0">
                      <a:pos x="connsiteX3" y="connsiteY3"/>
                    </a:cxn>
                  </a:cxnLst>
                  <a:rect l="l" t="t" r="r" b="b"/>
                  <a:pathLst>
                    <a:path w="23416" h="46709">
                      <a:moveTo>
                        <a:pt x="0" y="46709"/>
                      </a:moveTo>
                      <a:cubicBezTo>
                        <a:pt x="5730" y="40606"/>
                        <a:pt x="8470" y="34876"/>
                        <a:pt x="9965" y="30766"/>
                      </a:cubicBezTo>
                      <a:cubicBezTo>
                        <a:pt x="12331" y="24164"/>
                        <a:pt x="11708" y="20427"/>
                        <a:pt x="14324" y="13826"/>
                      </a:cubicBezTo>
                      <a:cubicBezTo>
                        <a:pt x="16815" y="7349"/>
                        <a:pt x="20677" y="2865"/>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3" name="Freeform 8772">
                  <a:extLst>
                    <a:ext uri="{FF2B5EF4-FFF2-40B4-BE49-F238E27FC236}">
                      <a16:creationId xmlns:a16="http://schemas.microsoft.com/office/drawing/2014/main" id="{D8D9595D-3134-C988-ED6F-BB6AF6C63B53}"/>
                    </a:ext>
                  </a:extLst>
                </p:cNvPr>
                <p:cNvSpPr/>
                <p:nvPr/>
              </p:nvSpPr>
              <p:spPr>
                <a:xfrm>
                  <a:off x="2214137" y="1220116"/>
                  <a:ext cx="22046" cy="47207"/>
                </a:xfrm>
                <a:custGeom>
                  <a:avLst/>
                  <a:gdLst>
                    <a:gd name="connsiteX0" fmla="*/ 22047 w 22046"/>
                    <a:gd name="connsiteY0" fmla="*/ 0 h 47207"/>
                    <a:gd name="connsiteX1" fmla="*/ 15694 w 22046"/>
                    <a:gd name="connsiteY1" fmla="*/ 17687 h 47207"/>
                    <a:gd name="connsiteX2" fmla="*/ 5107 w 22046"/>
                    <a:gd name="connsiteY2" fmla="*/ 31513 h 47207"/>
                    <a:gd name="connsiteX3" fmla="*/ 0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22047" y="0"/>
                      </a:moveTo>
                      <a:cubicBezTo>
                        <a:pt x="20801" y="8345"/>
                        <a:pt x="18061" y="14075"/>
                        <a:pt x="15694" y="17687"/>
                      </a:cubicBezTo>
                      <a:cubicBezTo>
                        <a:pt x="11958" y="23666"/>
                        <a:pt x="8719" y="25410"/>
                        <a:pt x="5107" y="31513"/>
                      </a:cubicBezTo>
                      <a:cubicBezTo>
                        <a:pt x="1619" y="37492"/>
                        <a:pt x="374"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4" name="Freeform 8773">
                  <a:extLst>
                    <a:ext uri="{FF2B5EF4-FFF2-40B4-BE49-F238E27FC236}">
                      <a16:creationId xmlns:a16="http://schemas.microsoft.com/office/drawing/2014/main" id="{0E9425BC-7A1A-A135-C4A8-39AE9D13FCFD}"/>
                    </a:ext>
                  </a:extLst>
                </p:cNvPr>
                <p:cNvSpPr/>
                <p:nvPr/>
              </p:nvSpPr>
              <p:spPr>
                <a:xfrm>
                  <a:off x="2202963" y="1257368"/>
                  <a:ext cx="26757" cy="26637"/>
                </a:xfrm>
                <a:custGeom>
                  <a:avLst/>
                  <a:gdLst>
                    <a:gd name="connsiteX0" fmla="*/ 1334 w 26757"/>
                    <a:gd name="connsiteY0" fmla="*/ 7464 h 26637"/>
                    <a:gd name="connsiteX1" fmla="*/ 19146 w 26757"/>
                    <a:gd name="connsiteY1" fmla="*/ 1361 h 26637"/>
                    <a:gd name="connsiteX2" fmla="*/ 25498 w 26757"/>
                    <a:gd name="connsiteY2" fmla="*/ 19173 h 26637"/>
                    <a:gd name="connsiteX3" fmla="*/ 7686 w 26757"/>
                    <a:gd name="connsiteY3" fmla="*/ 25276 h 26637"/>
                    <a:gd name="connsiteX4" fmla="*/ 1334 w 267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637">
                      <a:moveTo>
                        <a:pt x="1334" y="7464"/>
                      </a:moveTo>
                      <a:cubicBezTo>
                        <a:pt x="4572" y="863"/>
                        <a:pt x="12544" y="-1877"/>
                        <a:pt x="19146" y="1361"/>
                      </a:cubicBezTo>
                      <a:cubicBezTo>
                        <a:pt x="25747" y="4600"/>
                        <a:pt x="28612" y="12571"/>
                        <a:pt x="25498" y="19173"/>
                      </a:cubicBezTo>
                      <a:cubicBezTo>
                        <a:pt x="22384" y="25774"/>
                        <a:pt x="14288" y="28515"/>
                        <a:pt x="7686" y="25276"/>
                      </a:cubicBezTo>
                      <a:cubicBezTo>
                        <a:pt x="960" y="22038"/>
                        <a:pt x="-1904" y="14066"/>
                        <a:pt x="1334"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5" name="Freeform 8774">
                  <a:extLst>
                    <a:ext uri="{FF2B5EF4-FFF2-40B4-BE49-F238E27FC236}">
                      <a16:creationId xmlns:a16="http://schemas.microsoft.com/office/drawing/2014/main" id="{DEAA17D4-6CC2-A44B-9B04-AC95BC91B79C}"/>
                    </a:ext>
                  </a:extLst>
                </p:cNvPr>
                <p:cNvSpPr/>
                <p:nvPr/>
              </p:nvSpPr>
              <p:spPr>
                <a:xfrm>
                  <a:off x="2239920" y="1165311"/>
                  <a:ext cx="23416" cy="46584"/>
                </a:xfrm>
                <a:custGeom>
                  <a:avLst/>
                  <a:gdLst>
                    <a:gd name="connsiteX0" fmla="*/ 23417 w 23416"/>
                    <a:gd name="connsiteY0" fmla="*/ 0 h 46584"/>
                    <a:gd name="connsiteX1" fmla="*/ 13452 w 23416"/>
                    <a:gd name="connsiteY1" fmla="*/ 15943 h 46584"/>
                    <a:gd name="connsiteX2" fmla="*/ 9093 w 23416"/>
                    <a:gd name="connsiteY2" fmla="*/ 32759 h 46584"/>
                    <a:gd name="connsiteX3" fmla="*/ 0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228"/>
                        <a:pt x="14947" y="11833"/>
                        <a:pt x="13452" y="15943"/>
                      </a:cubicBezTo>
                      <a:cubicBezTo>
                        <a:pt x="11086" y="22545"/>
                        <a:pt x="11708" y="26157"/>
                        <a:pt x="9093" y="32759"/>
                      </a:cubicBezTo>
                      <a:cubicBezTo>
                        <a:pt x="6477" y="39236"/>
                        <a:pt x="2740" y="43720"/>
                        <a:pt x="0"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6" name="Freeform 8775">
                  <a:extLst>
                    <a:ext uri="{FF2B5EF4-FFF2-40B4-BE49-F238E27FC236}">
                      <a16:creationId xmlns:a16="http://schemas.microsoft.com/office/drawing/2014/main" id="{C3C72CFF-BBC2-2210-9D57-72DC193C8CCA}"/>
                    </a:ext>
                  </a:extLst>
                </p:cNvPr>
                <p:cNvSpPr/>
                <p:nvPr/>
              </p:nvSpPr>
              <p:spPr>
                <a:xfrm>
                  <a:off x="2249760" y="1163692"/>
                  <a:ext cx="22046" cy="47331"/>
                </a:xfrm>
                <a:custGeom>
                  <a:avLst/>
                  <a:gdLst>
                    <a:gd name="connsiteX0" fmla="*/ 0 w 22046"/>
                    <a:gd name="connsiteY0" fmla="*/ 47332 h 47331"/>
                    <a:gd name="connsiteX1" fmla="*/ 6353 w 22046"/>
                    <a:gd name="connsiteY1" fmla="*/ 29645 h 47331"/>
                    <a:gd name="connsiteX2" fmla="*/ 16815 w 22046"/>
                    <a:gd name="connsiteY2" fmla="*/ 15694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1246" y="38987"/>
                        <a:pt x="3986" y="33257"/>
                        <a:pt x="6353" y="29645"/>
                      </a:cubicBezTo>
                      <a:cubicBezTo>
                        <a:pt x="10089" y="23666"/>
                        <a:pt x="13328" y="21922"/>
                        <a:pt x="16815" y="15694"/>
                      </a:cubicBezTo>
                      <a:cubicBezTo>
                        <a:pt x="20303" y="9716"/>
                        <a:pt x="21424" y="3986"/>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7" name="Freeform 8776">
                  <a:extLst>
                    <a:ext uri="{FF2B5EF4-FFF2-40B4-BE49-F238E27FC236}">
                      <a16:creationId xmlns:a16="http://schemas.microsoft.com/office/drawing/2014/main" id="{AB7ED7FA-712F-9C97-46D1-674861D1C9D8}"/>
                    </a:ext>
                  </a:extLst>
                </p:cNvPr>
                <p:cNvSpPr/>
                <p:nvPr/>
              </p:nvSpPr>
              <p:spPr>
                <a:xfrm>
                  <a:off x="2256470" y="1147213"/>
                  <a:ext cx="26236" cy="26480"/>
                </a:xfrm>
                <a:custGeom>
                  <a:avLst/>
                  <a:gdLst>
                    <a:gd name="connsiteX0" fmla="*/ 24928 w 26236"/>
                    <a:gd name="connsiteY0" fmla="*/ 18970 h 26480"/>
                    <a:gd name="connsiteX1" fmla="*/ 7365 w 26236"/>
                    <a:gd name="connsiteY1" fmla="*/ 25198 h 26480"/>
                    <a:gd name="connsiteX2" fmla="*/ 1386 w 26236"/>
                    <a:gd name="connsiteY2" fmla="*/ 7510 h 26480"/>
                    <a:gd name="connsiteX3" fmla="*/ 18949 w 26236"/>
                    <a:gd name="connsiteY3" fmla="*/ 1283 h 26480"/>
                    <a:gd name="connsiteX4" fmla="*/ 24928 w 26236"/>
                    <a:gd name="connsiteY4" fmla="*/ 18970 h 26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480">
                      <a:moveTo>
                        <a:pt x="24928" y="18970"/>
                      </a:moveTo>
                      <a:cubicBezTo>
                        <a:pt x="21814" y="25571"/>
                        <a:pt x="13966" y="28312"/>
                        <a:pt x="7365" y="25198"/>
                      </a:cubicBezTo>
                      <a:cubicBezTo>
                        <a:pt x="763" y="22084"/>
                        <a:pt x="-1853" y="14112"/>
                        <a:pt x="1386" y="7510"/>
                      </a:cubicBezTo>
                      <a:cubicBezTo>
                        <a:pt x="4625" y="909"/>
                        <a:pt x="12472" y="-1831"/>
                        <a:pt x="18949" y="1283"/>
                      </a:cubicBezTo>
                      <a:cubicBezTo>
                        <a:pt x="25426" y="4397"/>
                        <a:pt x="28041" y="12368"/>
                        <a:pt x="24928" y="189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1" name="Graphic 2987">
                <a:extLst>
                  <a:ext uri="{FF2B5EF4-FFF2-40B4-BE49-F238E27FC236}">
                    <a16:creationId xmlns:a16="http://schemas.microsoft.com/office/drawing/2014/main" id="{0610871A-AF3C-B94A-4CA7-10A7AB213CBF}"/>
                  </a:ext>
                </a:extLst>
              </p:cNvPr>
              <p:cNvGrpSpPr/>
              <p:nvPr/>
            </p:nvGrpSpPr>
            <p:grpSpPr>
              <a:xfrm>
                <a:off x="2175785" y="1134508"/>
                <a:ext cx="80570" cy="136498"/>
                <a:chOff x="2175785" y="1134508"/>
                <a:chExt cx="80570" cy="136498"/>
              </a:xfrm>
              <a:grpFill/>
            </p:grpSpPr>
            <p:sp>
              <p:nvSpPr>
                <p:cNvPr id="5526" name="Freeform 8778">
                  <a:extLst>
                    <a:ext uri="{FF2B5EF4-FFF2-40B4-BE49-F238E27FC236}">
                      <a16:creationId xmlns:a16="http://schemas.microsoft.com/office/drawing/2014/main" id="{AA4A7A11-5110-336F-BEDE-D05249E7CE0F}"/>
                    </a:ext>
                  </a:extLst>
                </p:cNvPr>
                <p:cNvSpPr/>
                <p:nvPr/>
              </p:nvSpPr>
              <p:spPr>
                <a:xfrm>
                  <a:off x="2195702" y="1206415"/>
                  <a:ext cx="23416" cy="46460"/>
                </a:xfrm>
                <a:custGeom>
                  <a:avLst/>
                  <a:gdLst>
                    <a:gd name="connsiteX0" fmla="*/ 0 w 23416"/>
                    <a:gd name="connsiteY0" fmla="*/ 46460 h 46460"/>
                    <a:gd name="connsiteX1" fmla="*/ 9965 w 23416"/>
                    <a:gd name="connsiteY1" fmla="*/ 30517 h 46460"/>
                    <a:gd name="connsiteX2" fmla="*/ 14324 w 23416"/>
                    <a:gd name="connsiteY2" fmla="*/ 13701 h 46460"/>
                    <a:gd name="connsiteX3" fmla="*/ 23417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0" y="46460"/>
                      </a:moveTo>
                      <a:cubicBezTo>
                        <a:pt x="5854" y="40357"/>
                        <a:pt x="8595" y="34627"/>
                        <a:pt x="9965" y="30517"/>
                      </a:cubicBezTo>
                      <a:cubicBezTo>
                        <a:pt x="12331" y="23915"/>
                        <a:pt x="11708" y="20303"/>
                        <a:pt x="14324" y="13701"/>
                      </a:cubicBezTo>
                      <a:cubicBezTo>
                        <a:pt x="16940" y="7349"/>
                        <a:pt x="20677" y="2740"/>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7" name="Freeform 8779">
                  <a:extLst>
                    <a:ext uri="{FF2B5EF4-FFF2-40B4-BE49-F238E27FC236}">
                      <a16:creationId xmlns:a16="http://schemas.microsoft.com/office/drawing/2014/main" id="{CF2D9527-9FA5-5032-80F5-D26B9A0B3090}"/>
                    </a:ext>
                  </a:extLst>
                </p:cNvPr>
                <p:cNvSpPr/>
                <p:nvPr/>
              </p:nvSpPr>
              <p:spPr>
                <a:xfrm>
                  <a:off x="2187232" y="1207162"/>
                  <a:ext cx="22295" cy="47207"/>
                </a:xfrm>
                <a:custGeom>
                  <a:avLst/>
                  <a:gdLst>
                    <a:gd name="connsiteX0" fmla="*/ 22296 w 22295"/>
                    <a:gd name="connsiteY0" fmla="*/ 0 h 47207"/>
                    <a:gd name="connsiteX1" fmla="*/ 15819 w 22295"/>
                    <a:gd name="connsiteY1" fmla="*/ 17687 h 47207"/>
                    <a:gd name="connsiteX2" fmla="*/ 5231 w 22295"/>
                    <a:gd name="connsiteY2" fmla="*/ 31513 h 47207"/>
                    <a:gd name="connsiteX3" fmla="*/ 0 w 22295"/>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0"/>
                      </a:moveTo>
                      <a:cubicBezTo>
                        <a:pt x="20926" y="8345"/>
                        <a:pt x="18185" y="13950"/>
                        <a:pt x="15819" y="17687"/>
                      </a:cubicBezTo>
                      <a:cubicBezTo>
                        <a:pt x="12082" y="23541"/>
                        <a:pt x="8719" y="25410"/>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8" name="Freeform 8780">
                  <a:extLst>
                    <a:ext uri="{FF2B5EF4-FFF2-40B4-BE49-F238E27FC236}">
                      <a16:creationId xmlns:a16="http://schemas.microsoft.com/office/drawing/2014/main" id="{46539C13-3FC4-A014-6503-F3E2971D572A}"/>
                    </a:ext>
                  </a:extLst>
                </p:cNvPr>
                <p:cNvSpPr/>
                <p:nvPr/>
              </p:nvSpPr>
              <p:spPr>
                <a:xfrm>
                  <a:off x="2175785" y="1244389"/>
                  <a:ext cx="26880" cy="26617"/>
                </a:xfrm>
                <a:custGeom>
                  <a:avLst/>
                  <a:gdLst>
                    <a:gd name="connsiteX0" fmla="*/ 1358 w 26880"/>
                    <a:gd name="connsiteY0" fmla="*/ 7365 h 26617"/>
                    <a:gd name="connsiteX1" fmla="*/ 19294 w 26880"/>
                    <a:gd name="connsiteY1" fmla="*/ 1386 h 26617"/>
                    <a:gd name="connsiteX2" fmla="*/ 25522 w 26880"/>
                    <a:gd name="connsiteY2" fmla="*/ 19198 h 26617"/>
                    <a:gd name="connsiteX3" fmla="*/ 7586 w 26880"/>
                    <a:gd name="connsiteY3" fmla="*/ 25177 h 26617"/>
                    <a:gd name="connsiteX4" fmla="*/ 1358 w 26880"/>
                    <a:gd name="connsiteY4" fmla="*/ 7365 h 26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617">
                      <a:moveTo>
                        <a:pt x="1358" y="7365"/>
                      </a:moveTo>
                      <a:cubicBezTo>
                        <a:pt x="4597" y="763"/>
                        <a:pt x="12693" y="-1852"/>
                        <a:pt x="19294" y="1386"/>
                      </a:cubicBezTo>
                      <a:cubicBezTo>
                        <a:pt x="26021" y="4625"/>
                        <a:pt x="28761" y="12596"/>
                        <a:pt x="25522" y="19198"/>
                      </a:cubicBezTo>
                      <a:cubicBezTo>
                        <a:pt x="22284" y="25799"/>
                        <a:pt x="14312" y="28540"/>
                        <a:pt x="7586" y="25177"/>
                      </a:cubicBezTo>
                      <a:cubicBezTo>
                        <a:pt x="860" y="21814"/>
                        <a:pt x="-1880" y="13842"/>
                        <a:pt x="1358" y="7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9" name="Freeform 8781">
                  <a:extLst>
                    <a:ext uri="{FF2B5EF4-FFF2-40B4-BE49-F238E27FC236}">
                      <a16:creationId xmlns:a16="http://schemas.microsoft.com/office/drawing/2014/main" id="{9ADCD524-538E-B45D-86B0-58A5025ABBAC}"/>
                    </a:ext>
                  </a:extLst>
                </p:cNvPr>
                <p:cNvSpPr/>
                <p:nvPr/>
              </p:nvSpPr>
              <p:spPr>
                <a:xfrm>
                  <a:off x="2213265" y="1152482"/>
                  <a:ext cx="23665" cy="46460"/>
                </a:xfrm>
                <a:custGeom>
                  <a:avLst/>
                  <a:gdLst>
                    <a:gd name="connsiteX0" fmla="*/ 23666 w 23665"/>
                    <a:gd name="connsiteY0" fmla="*/ 0 h 46460"/>
                    <a:gd name="connsiteX1" fmla="*/ 13701 w 23665"/>
                    <a:gd name="connsiteY1" fmla="*/ 15943 h 46460"/>
                    <a:gd name="connsiteX2" fmla="*/ 9217 w 23665"/>
                    <a:gd name="connsiteY2" fmla="*/ 32759 h 46460"/>
                    <a:gd name="connsiteX3" fmla="*/ 0 w 23665"/>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665" h="46460">
                      <a:moveTo>
                        <a:pt x="23666" y="0"/>
                      </a:moveTo>
                      <a:cubicBezTo>
                        <a:pt x="17936" y="6103"/>
                        <a:pt x="15071" y="11833"/>
                        <a:pt x="13701" y="15943"/>
                      </a:cubicBezTo>
                      <a:cubicBezTo>
                        <a:pt x="11335" y="22545"/>
                        <a:pt x="11833" y="26157"/>
                        <a:pt x="9217" y="32759"/>
                      </a:cubicBezTo>
                      <a:cubicBezTo>
                        <a:pt x="6602" y="39111"/>
                        <a:pt x="2865" y="43720"/>
                        <a:pt x="0"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0" name="Freeform 8782">
                  <a:extLst>
                    <a:ext uri="{FF2B5EF4-FFF2-40B4-BE49-F238E27FC236}">
                      <a16:creationId xmlns:a16="http://schemas.microsoft.com/office/drawing/2014/main" id="{25B67F34-EC48-6E60-E019-A83A68E0C4CC}"/>
                    </a:ext>
                  </a:extLst>
                </p:cNvPr>
                <p:cNvSpPr/>
                <p:nvPr/>
              </p:nvSpPr>
              <p:spPr>
                <a:xfrm>
                  <a:off x="2223105" y="1151111"/>
                  <a:ext cx="22295" cy="47082"/>
                </a:xfrm>
                <a:custGeom>
                  <a:avLst/>
                  <a:gdLst>
                    <a:gd name="connsiteX0" fmla="*/ 0 w 22295"/>
                    <a:gd name="connsiteY0" fmla="*/ 47083 h 47082"/>
                    <a:gd name="connsiteX1" fmla="*/ 6477 w 22295"/>
                    <a:gd name="connsiteY1" fmla="*/ 29396 h 47082"/>
                    <a:gd name="connsiteX2" fmla="*/ 17065 w 22295"/>
                    <a:gd name="connsiteY2" fmla="*/ 1557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1246" y="38737"/>
                        <a:pt x="4110" y="33132"/>
                        <a:pt x="6477" y="29396"/>
                      </a:cubicBezTo>
                      <a:cubicBezTo>
                        <a:pt x="10214" y="23541"/>
                        <a:pt x="13452" y="21673"/>
                        <a:pt x="17065" y="15570"/>
                      </a:cubicBezTo>
                      <a:cubicBezTo>
                        <a:pt x="20552" y="9591"/>
                        <a:pt x="21798" y="3861"/>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1" name="Freeform 8783">
                  <a:extLst>
                    <a:ext uri="{FF2B5EF4-FFF2-40B4-BE49-F238E27FC236}">
                      <a16:creationId xmlns:a16="http://schemas.microsoft.com/office/drawing/2014/main" id="{FCC827C7-81D4-9EEF-DB8F-A2493E280E1D}"/>
                    </a:ext>
                  </a:extLst>
                </p:cNvPr>
                <p:cNvSpPr/>
                <p:nvPr/>
              </p:nvSpPr>
              <p:spPr>
                <a:xfrm>
                  <a:off x="2230086" y="1134508"/>
                  <a:ext cx="26269" cy="26355"/>
                </a:xfrm>
                <a:custGeom>
                  <a:avLst/>
                  <a:gdLst>
                    <a:gd name="connsiteX0" fmla="*/ 24905 w 26269"/>
                    <a:gd name="connsiteY0" fmla="*/ 18845 h 26355"/>
                    <a:gd name="connsiteX1" fmla="*/ 7343 w 26269"/>
                    <a:gd name="connsiteY1" fmla="*/ 25073 h 26355"/>
                    <a:gd name="connsiteX2" fmla="*/ 1364 w 26269"/>
                    <a:gd name="connsiteY2" fmla="*/ 7510 h 26355"/>
                    <a:gd name="connsiteX3" fmla="*/ 18927 w 26269"/>
                    <a:gd name="connsiteY3" fmla="*/ 1283 h 26355"/>
                    <a:gd name="connsiteX4" fmla="*/ 24905 w 26269"/>
                    <a:gd name="connsiteY4" fmla="*/ 18845 h 26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9" h="26355">
                      <a:moveTo>
                        <a:pt x="24905" y="18845"/>
                      </a:moveTo>
                      <a:cubicBezTo>
                        <a:pt x="21667" y="25447"/>
                        <a:pt x="13820" y="28187"/>
                        <a:pt x="7343" y="25073"/>
                      </a:cubicBezTo>
                      <a:cubicBezTo>
                        <a:pt x="866" y="21959"/>
                        <a:pt x="-1875" y="13987"/>
                        <a:pt x="1364" y="7510"/>
                      </a:cubicBezTo>
                      <a:cubicBezTo>
                        <a:pt x="4603" y="909"/>
                        <a:pt x="12450" y="-1831"/>
                        <a:pt x="18927" y="1283"/>
                      </a:cubicBezTo>
                      <a:cubicBezTo>
                        <a:pt x="25404" y="4397"/>
                        <a:pt x="28144" y="12368"/>
                        <a:pt x="24905" y="188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2" name="Graphic 2987">
                <a:extLst>
                  <a:ext uri="{FF2B5EF4-FFF2-40B4-BE49-F238E27FC236}">
                    <a16:creationId xmlns:a16="http://schemas.microsoft.com/office/drawing/2014/main" id="{87430AAF-7208-B7F5-DBFD-553F7B177076}"/>
                  </a:ext>
                </a:extLst>
              </p:cNvPr>
              <p:cNvGrpSpPr/>
              <p:nvPr/>
            </p:nvGrpSpPr>
            <p:grpSpPr>
              <a:xfrm>
                <a:off x="2148756" y="1121746"/>
                <a:ext cx="81343" cy="136002"/>
                <a:chOff x="2148756" y="1121746"/>
                <a:chExt cx="81343" cy="136002"/>
              </a:xfrm>
              <a:grpFill/>
            </p:grpSpPr>
            <p:sp>
              <p:nvSpPr>
                <p:cNvPr id="5520" name="Freeform 8785">
                  <a:extLst>
                    <a:ext uri="{FF2B5EF4-FFF2-40B4-BE49-F238E27FC236}">
                      <a16:creationId xmlns:a16="http://schemas.microsoft.com/office/drawing/2014/main" id="{71FF032E-5B26-B80F-D806-2942438753DD}"/>
                    </a:ext>
                  </a:extLst>
                </p:cNvPr>
                <p:cNvSpPr/>
                <p:nvPr/>
              </p:nvSpPr>
              <p:spPr>
                <a:xfrm>
                  <a:off x="2168673" y="1193461"/>
                  <a:ext cx="23790" cy="46335"/>
                </a:xfrm>
                <a:custGeom>
                  <a:avLst/>
                  <a:gdLst>
                    <a:gd name="connsiteX0" fmla="*/ 0 w 23790"/>
                    <a:gd name="connsiteY0" fmla="*/ 46335 h 46335"/>
                    <a:gd name="connsiteX1" fmla="*/ 10089 w 23790"/>
                    <a:gd name="connsiteY1" fmla="*/ 30517 h 46335"/>
                    <a:gd name="connsiteX2" fmla="*/ 14573 w 23790"/>
                    <a:gd name="connsiteY2" fmla="*/ 13701 h 46335"/>
                    <a:gd name="connsiteX3" fmla="*/ 23791 w 23790"/>
                    <a:gd name="connsiteY3" fmla="*/ 0 h 46335"/>
                  </a:gdLst>
                  <a:ahLst/>
                  <a:cxnLst>
                    <a:cxn ang="0">
                      <a:pos x="connsiteX0" y="connsiteY0"/>
                    </a:cxn>
                    <a:cxn ang="0">
                      <a:pos x="connsiteX1" y="connsiteY1"/>
                    </a:cxn>
                    <a:cxn ang="0">
                      <a:pos x="connsiteX2" y="connsiteY2"/>
                    </a:cxn>
                    <a:cxn ang="0">
                      <a:pos x="connsiteX3" y="connsiteY3"/>
                    </a:cxn>
                  </a:cxnLst>
                  <a:rect l="l" t="t" r="r" b="b"/>
                  <a:pathLst>
                    <a:path w="23790" h="46335">
                      <a:moveTo>
                        <a:pt x="0" y="46335"/>
                      </a:moveTo>
                      <a:cubicBezTo>
                        <a:pt x="5854" y="40232"/>
                        <a:pt x="8595" y="34502"/>
                        <a:pt x="10089" y="30517"/>
                      </a:cubicBezTo>
                      <a:cubicBezTo>
                        <a:pt x="12456" y="23915"/>
                        <a:pt x="11958" y="20303"/>
                        <a:pt x="14573" y="13701"/>
                      </a:cubicBezTo>
                      <a:cubicBezTo>
                        <a:pt x="17189" y="7349"/>
                        <a:pt x="21050" y="2865"/>
                        <a:pt x="237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1" name="Freeform 8786">
                  <a:extLst>
                    <a:ext uri="{FF2B5EF4-FFF2-40B4-BE49-F238E27FC236}">
                      <a16:creationId xmlns:a16="http://schemas.microsoft.com/office/drawing/2014/main" id="{6540D79D-108D-26C1-664A-DE69D0A61D8E}"/>
                    </a:ext>
                  </a:extLst>
                </p:cNvPr>
                <p:cNvSpPr/>
                <p:nvPr/>
              </p:nvSpPr>
              <p:spPr>
                <a:xfrm>
                  <a:off x="2160079" y="1194208"/>
                  <a:ext cx="22669" cy="46958"/>
                </a:xfrm>
                <a:custGeom>
                  <a:avLst/>
                  <a:gdLst>
                    <a:gd name="connsiteX0" fmla="*/ 22670 w 22669"/>
                    <a:gd name="connsiteY0" fmla="*/ 0 h 46958"/>
                    <a:gd name="connsiteX1" fmla="*/ 16068 w 22669"/>
                    <a:gd name="connsiteY1" fmla="*/ 17563 h 46958"/>
                    <a:gd name="connsiteX2" fmla="*/ 5356 w 22669"/>
                    <a:gd name="connsiteY2" fmla="*/ 31389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21299" y="8221"/>
                        <a:pt x="18434" y="13950"/>
                        <a:pt x="16068" y="17563"/>
                      </a:cubicBezTo>
                      <a:cubicBezTo>
                        <a:pt x="12207" y="23417"/>
                        <a:pt x="8968"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2" name="Freeform 8787">
                  <a:extLst>
                    <a:ext uri="{FF2B5EF4-FFF2-40B4-BE49-F238E27FC236}">
                      <a16:creationId xmlns:a16="http://schemas.microsoft.com/office/drawing/2014/main" id="{C5FD60A9-A6DA-88B9-3E08-C35DAC4B030B}"/>
                    </a:ext>
                  </a:extLst>
                </p:cNvPr>
                <p:cNvSpPr/>
                <p:nvPr/>
              </p:nvSpPr>
              <p:spPr>
                <a:xfrm>
                  <a:off x="2148756" y="1231333"/>
                  <a:ext cx="27005" cy="26415"/>
                </a:xfrm>
                <a:custGeom>
                  <a:avLst/>
                  <a:gdLst>
                    <a:gd name="connsiteX0" fmla="*/ 1358 w 27005"/>
                    <a:gd name="connsiteY0" fmla="*/ 7343 h 26415"/>
                    <a:gd name="connsiteX1" fmla="*/ 19419 w 27005"/>
                    <a:gd name="connsiteY1" fmla="*/ 1364 h 26415"/>
                    <a:gd name="connsiteX2" fmla="*/ 25647 w 27005"/>
                    <a:gd name="connsiteY2" fmla="*/ 19051 h 26415"/>
                    <a:gd name="connsiteX3" fmla="*/ 7586 w 27005"/>
                    <a:gd name="connsiteY3" fmla="*/ 25030 h 26415"/>
                    <a:gd name="connsiteX4" fmla="*/ 1358 w 27005"/>
                    <a:gd name="connsiteY4" fmla="*/ 7343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5" h="26415">
                      <a:moveTo>
                        <a:pt x="1358" y="7343"/>
                      </a:moveTo>
                      <a:cubicBezTo>
                        <a:pt x="4597" y="866"/>
                        <a:pt x="12693" y="-1875"/>
                        <a:pt x="19419" y="1364"/>
                      </a:cubicBezTo>
                      <a:cubicBezTo>
                        <a:pt x="26145" y="4602"/>
                        <a:pt x="28885" y="12574"/>
                        <a:pt x="25647" y="19051"/>
                      </a:cubicBezTo>
                      <a:cubicBezTo>
                        <a:pt x="22408" y="25653"/>
                        <a:pt x="14312" y="28268"/>
                        <a:pt x="7586" y="25030"/>
                      </a:cubicBezTo>
                      <a:cubicBezTo>
                        <a:pt x="860" y="21791"/>
                        <a:pt x="-1880" y="13820"/>
                        <a:pt x="135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3" name="Freeform 8788">
                  <a:extLst>
                    <a:ext uri="{FF2B5EF4-FFF2-40B4-BE49-F238E27FC236}">
                      <a16:creationId xmlns:a16="http://schemas.microsoft.com/office/drawing/2014/main" id="{EE715999-175E-A9B3-ACED-54B5A33DD8DC}"/>
                    </a:ext>
                  </a:extLst>
                </p:cNvPr>
                <p:cNvSpPr/>
                <p:nvPr/>
              </p:nvSpPr>
              <p:spPr>
                <a:xfrm>
                  <a:off x="2186610" y="1139777"/>
                  <a:ext cx="23915" cy="46335"/>
                </a:xfrm>
                <a:custGeom>
                  <a:avLst/>
                  <a:gdLst>
                    <a:gd name="connsiteX0" fmla="*/ 23915 w 23915"/>
                    <a:gd name="connsiteY0" fmla="*/ 0 h 46335"/>
                    <a:gd name="connsiteX1" fmla="*/ 13826 w 23915"/>
                    <a:gd name="connsiteY1" fmla="*/ 15819 h 46335"/>
                    <a:gd name="connsiteX2" fmla="*/ 9217 w 23915"/>
                    <a:gd name="connsiteY2" fmla="*/ 32634 h 46335"/>
                    <a:gd name="connsiteX3" fmla="*/ 0 w 2391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915" h="46335">
                      <a:moveTo>
                        <a:pt x="23915" y="0"/>
                      </a:moveTo>
                      <a:cubicBezTo>
                        <a:pt x="18061" y="6103"/>
                        <a:pt x="15321" y="11833"/>
                        <a:pt x="13826" y="15819"/>
                      </a:cubicBezTo>
                      <a:cubicBezTo>
                        <a:pt x="11459" y="22420"/>
                        <a:pt x="11957" y="26033"/>
                        <a:pt x="9217" y="32634"/>
                      </a:cubicBezTo>
                      <a:cubicBezTo>
                        <a:pt x="6602" y="38987"/>
                        <a:pt x="2740"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4" name="Freeform 8789">
                  <a:extLst>
                    <a:ext uri="{FF2B5EF4-FFF2-40B4-BE49-F238E27FC236}">
                      <a16:creationId xmlns:a16="http://schemas.microsoft.com/office/drawing/2014/main" id="{F286F914-F0DD-0A2E-D8E9-0C06FC6A8ABD}"/>
                    </a:ext>
                  </a:extLst>
                </p:cNvPr>
                <p:cNvSpPr/>
                <p:nvPr/>
              </p:nvSpPr>
              <p:spPr>
                <a:xfrm>
                  <a:off x="2196450" y="1138282"/>
                  <a:ext cx="22669" cy="46958"/>
                </a:xfrm>
                <a:custGeom>
                  <a:avLst/>
                  <a:gdLst>
                    <a:gd name="connsiteX0" fmla="*/ 0 w 22669"/>
                    <a:gd name="connsiteY0" fmla="*/ 46958 h 46958"/>
                    <a:gd name="connsiteX1" fmla="*/ 6602 w 22669"/>
                    <a:gd name="connsiteY1" fmla="*/ 29396 h 46958"/>
                    <a:gd name="connsiteX2" fmla="*/ 17314 w 22669"/>
                    <a:gd name="connsiteY2" fmla="*/ 1557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1370" y="38737"/>
                        <a:pt x="4235" y="33008"/>
                        <a:pt x="6602" y="29396"/>
                      </a:cubicBezTo>
                      <a:cubicBezTo>
                        <a:pt x="10463" y="23541"/>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5" name="Freeform 8790">
                  <a:extLst>
                    <a:ext uri="{FF2B5EF4-FFF2-40B4-BE49-F238E27FC236}">
                      <a16:creationId xmlns:a16="http://schemas.microsoft.com/office/drawing/2014/main" id="{314AF0E5-DDC4-C31C-B8B2-C8B7484FBFE7}"/>
                    </a:ext>
                  </a:extLst>
                </p:cNvPr>
                <p:cNvSpPr/>
                <p:nvPr/>
              </p:nvSpPr>
              <p:spPr>
                <a:xfrm>
                  <a:off x="2203779" y="1121746"/>
                  <a:ext cx="26319" cy="26366"/>
                </a:xfrm>
                <a:custGeom>
                  <a:avLst/>
                  <a:gdLst>
                    <a:gd name="connsiteX0" fmla="*/ 24930 w 26319"/>
                    <a:gd name="connsiteY0" fmla="*/ 18902 h 26366"/>
                    <a:gd name="connsiteX1" fmla="*/ 7243 w 26319"/>
                    <a:gd name="connsiteY1" fmla="*/ 25006 h 26366"/>
                    <a:gd name="connsiteX2" fmla="*/ 1389 w 26319"/>
                    <a:gd name="connsiteY2" fmla="*/ 7443 h 26366"/>
                    <a:gd name="connsiteX3" fmla="*/ 19076 w 26319"/>
                    <a:gd name="connsiteY3" fmla="*/ 1340 h 26366"/>
                    <a:gd name="connsiteX4" fmla="*/ 24930 w 26319"/>
                    <a:gd name="connsiteY4" fmla="*/ 18902 h 2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366">
                      <a:moveTo>
                        <a:pt x="24930" y="18902"/>
                      </a:moveTo>
                      <a:cubicBezTo>
                        <a:pt x="21692" y="25504"/>
                        <a:pt x="13720" y="28244"/>
                        <a:pt x="7243" y="25006"/>
                      </a:cubicBezTo>
                      <a:cubicBezTo>
                        <a:pt x="766" y="21892"/>
                        <a:pt x="-1849" y="14044"/>
                        <a:pt x="1389" y="7443"/>
                      </a:cubicBezTo>
                      <a:cubicBezTo>
                        <a:pt x="4628" y="966"/>
                        <a:pt x="12599" y="-1899"/>
                        <a:pt x="19076" y="1340"/>
                      </a:cubicBezTo>
                      <a:cubicBezTo>
                        <a:pt x="25553" y="4454"/>
                        <a:pt x="28169" y="12301"/>
                        <a:pt x="24930" y="18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3" name="Graphic 2987">
                <a:extLst>
                  <a:ext uri="{FF2B5EF4-FFF2-40B4-BE49-F238E27FC236}">
                    <a16:creationId xmlns:a16="http://schemas.microsoft.com/office/drawing/2014/main" id="{3529C7F5-C40B-4A05-67F3-4CC0F88C8712}"/>
                  </a:ext>
                </a:extLst>
              </p:cNvPr>
              <p:cNvGrpSpPr/>
              <p:nvPr/>
            </p:nvGrpSpPr>
            <p:grpSpPr>
              <a:xfrm>
                <a:off x="2121647" y="1109074"/>
                <a:ext cx="82173" cy="135449"/>
                <a:chOff x="2121647" y="1109074"/>
                <a:chExt cx="82173" cy="135449"/>
              </a:xfrm>
              <a:grpFill/>
            </p:grpSpPr>
            <p:sp>
              <p:nvSpPr>
                <p:cNvPr id="5514" name="Freeform 8792">
                  <a:extLst>
                    <a:ext uri="{FF2B5EF4-FFF2-40B4-BE49-F238E27FC236}">
                      <a16:creationId xmlns:a16="http://schemas.microsoft.com/office/drawing/2014/main" id="{26A13520-F221-1FE0-F7EA-34ADB2087371}"/>
                    </a:ext>
                  </a:extLst>
                </p:cNvPr>
                <p:cNvSpPr/>
                <p:nvPr/>
              </p:nvSpPr>
              <p:spPr>
                <a:xfrm>
                  <a:off x="2141769" y="1180507"/>
                  <a:ext cx="24164" cy="46210"/>
                </a:xfrm>
                <a:custGeom>
                  <a:avLst/>
                  <a:gdLst>
                    <a:gd name="connsiteX0" fmla="*/ 0 w 24164"/>
                    <a:gd name="connsiteY0" fmla="*/ 46211 h 46210"/>
                    <a:gd name="connsiteX1" fmla="*/ 10214 w 24164"/>
                    <a:gd name="connsiteY1" fmla="*/ 30392 h 46210"/>
                    <a:gd name="connsiteX2" fmla="*/ 14822 w 24164"/>
                    <a:gd name="connsiteY2" fmla="*/ 13701 h 46210"/>
                    <a:gd name="connsiteX3" fmla="*/ 24164 w 24164"/>
                    <a:gd name="connsiteY3" fmla="*/ 0 h 46210"/>
                  </a:gdLst>
                  <a:ahLst/>
                  <a:cxnLst>
                    <a:cxn ang="0">
                      <a:pos x="connsiteX0" y="connsiteY0"/>
                    </a:cxn>
                    <a:cxn ang="0">
                      <a:pos x="connsiteX1" y="connsiteY1"/>
                    </a:cxn>
                    <a:cxn ang="0">
                      <a:pos x="connsiteX2" y="connsiteY2"/>
                    </a:cxn>
                    <a:cxn ang="0">
                      <a:pos x="connsiteX3" y="connsiteY3"/>
                    </a:cxn>
                  </a:cxnLst>
                  <a:rect l="l" t="t" r="r" b="b"/>
                  <a:pathLst>
                    <a:path w="24164" h="46210">
                      <a:moveTo>
                        <a:pt x="0" y="46211"/>
                      </a:moveTo>
                      <a:cubicBezTo>
                        <a:pt x="5854" y="40108"/>
                        <a:pt x="8719" y="34502"/>
                        <a:pt x="10214" y="30392"/>
                      </a:cubicBezTo>
                      <a:cubicBezTo>
                        <a:pt x="12705" y="23791"/>
                        <a:pt x="12082" y="20178"/>
                        <a:pt x="14822" y="13701"/>
                      </a:cubicBezTo>
                      <a:cubicBezTo>
                        <a:pt x="17438" y="7349"/>
                        <a:pt x="21299" y="2865"/>
                        <a:pt x="24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5" name="Freeform 8793">
                  <a:extLst>
                    <a:ext uri="{FF2B5EF4-FFF2-40B4-BE49-F238E27FC236}">
                      <a16:creationId xmlns:a16="http://schemas.microsoft.com/office/drawing/2014/main" id="{C5E12B27-0379-52E8-3663-D4FCC4E2DF90}"/>
                    </a:ext>
                  </a:extLst>
                </p:cNvPr>
                <p:cNvSpPr/>
                <p:nvPr/>
              </p:nvSpPr>
              <p:spPr>
                <a:xfrm>
                  <a:off x="2132925" y="1181254"/>
                  <a:ext cx="23043" cy="46833"/>
                </a:xfrm>
                <a:custGeom>
                  <a:avLst/>
                  <a:gdLst>
                    <a:gd name="connsiteX0" fmla="*/ 23043 w 23043"/>
                    <a:gd name="connsiteY0" fmla="*/ 0 h 46833"/>
                    <a:gd name="connsiteX1" fmla="*/ 16317 w 23043"/>
                    <a:gd name="connsiteY1" fmla="*/ 17563 h 46833"/>
                    <a:gd name="connsiteX2" fmla="*/ 5480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21673" y="8221"/>
                        <a:pt x="18808" y="13950"/>
                        <a:pt x="16317" y="17563"/>
                      </a:cubicBezTo>
                      <a:cubicBezTo>
                        <a:pt x="12456" y="23417"/>
                        <a:pt x="9093" y="25161"/>
                        <a:pt x="5480" y="31264"/>
                      </a:cubicBezTo>
                      <a:cubicBezTo>
                        <a:pt x="1868" y="37243"/>
                        <a:pt x="623"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6" name="Freeform 8794">
                  <a:extLst>
                    <a:ext uri="{FF2B5EF4-FFF2-40B4-BE49-F238E27FC236}">
                      <a16:creationId xmlns:a16="http://schemas.microsoft.com/office/drawing/2014/main" id="{42F0FEB4-0C5C-EAA1-C064-C6EB0AF6E619}"/>
                    </a:ext>
                  </a:extLst>
                </p:cNvPr>
                <p:cNvSpPr/>
                <p:nvPr/>
              </p:nvSpPr>
              <p:spPr>
                <a:xfrm>
                  <a:off x="2121647" y="1218130"/>
                  <a:ext cx="26984" cy="26393"/>
                </a:xfrm>
                <a:custGeom>
                  <a:avLst/>
                  <a:gdLst>
                    <a:gd name="connsiteX0" fmla="*/ 1438 w 26984"/>
                    <a:gd name="connsiteY0" fmla="*/ 7343 h 26393"/>
                    <a:gd name="connsiteX1" fmla="*/ 19498 w 26984"/>
                    <a:gd name="connsiteY1" fmla="*/ 1364 h 26393"/>
                    <a:gd name="connsiteX2" fmla="*/ 25602 w 26984"/>
                    <a:gd name="connsiteY2" fmla="*/ 19051 h 26393"/>
                    <a:gd name="connsiteX3" fmla="*/ 7541 w 26984"/>
                    <a:gd name="connsiteY3" fmla="*/ 25030 h 26393"/>
                    <a:gd name="connsiteX4" fmla="*/ 1438 w 26984"/>
                    <a:gd name="connsiteY4" fmla="*/ 7343 h 26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 h="26393">
                      <a:moveTo>
                        <a:pt x="1438" y="7343"/>
                      </a:moveTo>
                      <a:cubicBezTo>
                        <a:pt x="4801" y="866"/>
                        <a:pt x="12897" y="-1875"/>
                        <a:pt x="19498" y="1364"/>
                      </a:cubicBezTo>
                      <a:cubicBezTo>
                        <a:pt x="26225" y="4602"/>
                        <a:pt x="28840" y="12450"/>
                        <a:pt x="25602" y="19051"/>
                      </a:cubicBezTo>
                      <a:cubicBezTo>
                        <a:pt x="22363" y="25528"/>
                        <a:pt x="14143" y="28268"/>
                        <a:pt x="7541" y="25030"/>
                      </a:cubicBezTo>
                      <a:cubicBezTo>
                        <a:pt x="815" y="21791"/>
                        <a:pt x="-1925" y="13944"/>
                        <a:pt x="143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7" name="Freeform 8795">
                  <a:extLst>
                    <a:ext uri="{FF2B5EF4-FFF2-40B4-BE49-F238E27FC236}">
                      <a16:creationId xmlns:a16="http://schemas.microsoft.com/office/drawing/2014/main" id="{22126AEF-A4F3-01A2-C86B-1292DB6F1976}"/>
                    </a:ext>
                  </a:extLst>
                </p:cNvPr>
                <p:cNvSpPr/>
                <p:nvPr/>
              </p:nvSpPr>
              <p:spPr>
                <a:xfrm>
                  <a:off x="2159830" y="1126947"/>
                  <a:ext cx="24288" cy="46210"/>
                </a:xfrm>
                <a:custGeom>
                  <a:avLst/>
                  <a:gdLst>
                    <a:gd name="connsiteX0" fmla="*/ 24289 w 24288"/>
                    <a:gd name="connsiteY0" fmla="*/ 0 h 46210"/>
                    <a:gd name="connsiteX1" fmla="*/ 14075 w 24288"/>
                    <a:gd name="connsiteY1" fmla="*/ 15819 h 46210"/>
                    <a:gd name="connsiteX2" fmla="*/ 9342 w 24288"/>
                    <a:gd name="connsiteY2" fmla="*/ 32510 h 46210"/>
                    <a:gd name="connsiteX3" fmla="*/ 0 w 24288"/>
                    <a:gd name="connsiteY3" fmla="*/ 46211 h 46210"/>
                  </a:gdLst>
                  <a:ahLst/>
                  <a:cxnLst>
                    <a:cxn ang="0">
                      <a:pos x="connsiteX0" y="connsiteY0"/>
                    </a:cxn>
                    <a:cxn ang="0">
                      <a:pos x="connsiteX1" y="connsiteY1"/>
                    </a:cxn>
                    <a:cxn ang="0">
                      <a:pos x="connsiteX2" y="connsiteY2"/>
                    </a:cxn>
                    <a:cxn ang="0">
                      <a:pos x="connsiteX3" y="connsiteY3"/>
                    </a:cxn>
                  </a:cxnLst>
                  <a:rect l="l" t="t" r="r" b="b"/>
                  <a:pathLst>
                    <a:path w="24288" h="46210">
                      <a:moveTo>
                        <a:pt x="24289" y="0"/>
                      </a:moveTo>
                      <a:cubicBezTo>
                        <a:pt x="18435" y="6103"/>
                        <a:pt x="15570" y="11708"/>
                        <a:pt x="14075" y="15819"/>
                      </a:cubicBezTo>
                      <a:cubicBezTo>
                        <a:pt x="11584" y="22296"/>
                        <a:pt x="12082" y="26033"/>
                        <a:pt x="9342" y="32510"/>
                      </a:cubicBezTo>
                      <a:cubicBezTo>
                        <a:pt x="6602" y="38862"/>
                        <a:pt x="2865" y="43346"/>
                        <a:pt x="0" y="4621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8" name="Freeform 8796">
                  <a:extLst>
                    <a:ext uri="{FF2B5EF4-FFF2-40B4-BE49-F238E27FC236}">
                      <a16:creationId xmlns:a16="http://schemas.microsoft.com/office/drawing/2014/main" id="{2B587EAF-B491-D37C-A0E7-6A70C639DFA9}"/>
                    </a:ext>
                  </a:extLst>
                </p:cNvPr>
                <p:cNvSpPr/>
                <p:nvPr/>
              </p:nvSpPr>
              <p:spPr>
                <a:xfrm>
                  <a:off x="2169794" y="1125453"/>
                  <a:ext cx="23043" cy="46833"/>
                </a:xfrm>
                <a:custGeom>
                  <a:avLst/>
                  <a:gdLst>
                    <a:gd name="connsiteX0" fmla="*/ 0 w 23043"/>
                    <a:gd name="connsiteY0" fmla="*/ 46834 h 46833"/>
                    <a:gd name="connsiteX1" fmla="*/ 6726 w 23043"/>
                    <a:gd name="connsiteY1" fmla="*/ 29271 h 46833"/>
                    <a:gd name="connsiteX2" fmla="*/ 17563 w 23043"/>
                    <a:gd name="connsiteY2" fmla="*/ 15570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1370" y="38613"/>
                        <a:pt x="4235" y="32883"/>
                        <a:pt x="6726" y="29271"/>
                      </a:cubicBezTo>
                      <a:cubicBezTo>
                        <a:pt x="10587" y="23417"/>
                        <a:pt x="13826" y="21673"/>
                        <a:pt x="17563" y="15570"/>
                      </a:cubicBezTo>
                      <a:cubicBezTo>
                        <a:pt x="21050" y="9591"/>
                        <a:pt x="22420" y="3861"/>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9" name="Freeform 8797">
                  <a:extLst>
                    <a:ext uri="{FF2B5EF4-FFF2-40B4-BE49-F238E27FC236}">
                      <a16:creationId xmlns:a16="http://schemas.microsoft.com/office/drawing/2014/main" id="{1F0038B2-40F1-A33D-FE53-C562EDF10CC2}"/>
                    </a:ext>
                  </a:extLst>
                </p:cNvPr>
                <p:cNvSpPr/>
                <p:nvPr/>
              </p:nvSpPr>
              <p:spPr>
                <a:xfrm>
                  <a:off x="2177417" y="1109074"/>
                  <a:ext cx="26403" cy="26257"/>
                </a:xfrm>
                <a:custGeom>
                  <a:avLst/>
                  <a:gdLst>
                    <a:gd name="connsiteX0" fmla="*/ 25011 w 26403"/>
                    <a:gd name="connsiteY0" fmla="*/ 18869 h 26257"/>
                    <a:gd name="connsiteX1" fmla="*/ 7199 w 26403"/>
                    <a:gd name="connsiteY1" fmla="*/ 24973 h 26257"/>
                    <a:gd name="connsiteX2" fmla="*/ 1470 w 26403"/>
                    <a:gd name="connsiteY2" fmla="*/ 7410 h 26257"/>
                    <a:gd name="connsiteX3" fmla="*/ 19282 w 26403"/>
                    <a:gd name="connsiteY3" fmla="*/ 1307 h 26257"/>
                    <a:gd name="connsiteX4" fmla="*/ 25011 w 26403"/>
                    <a:gd name="connsiteY4" fmla="*/ 18869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2" h="26257">
                      <a:moveTo>
                        <a:pt x="25011" y="18869"/>
                      </a:moveTo>
                      <a:cubicBezTo>
                        <a:pt x="21773" y="25346"/>
                        <a:pt x="13801" y="28087"/>
                        <a:pt x="7199" y="24973"/>
                      </a:cubicBezTo>
                      <a:cubicBezTo>
                        <a:pt x="722" y="21859"/>
                        <a:pt x="-1893" y="14012"/>
                        <a:pt x="1470" y="7410"/>
                      </a:cubicBezTo>
                      <a:cubicBezTo>
                        <a:pt x="4833" y="808"/>
                        <a:pt x="12805" y="-1807"/>
                        <a:pt x="19282" y="1307"/>
                      </a:cubicBezTo>
                      <a:cubicBezTo>
                        <a:pt x="25634" y="4421"/>
                        <a:pt x="28250" y="12268"/>
                        <a:pt x="25011" y="188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48" name="TextBox 5606">
              <a:extLst>
                <a:ext uri="{FF2B5EF4-FFF2-40B4-BE49-F238E27FC236}">
                  <a16:creationId xmlns:a16="http://schemas.microsoft.com/office/drawing/2014/main" id="{63E942E3-4A2A-CF42-B058-7FC3C3610ACC}"/>
                </a:ext>
              </a:extLst>
            </p:cNvPr>
            <p:cNvSpPr txBox="1"/>
            <p:nvPr/>
          </p:nvSpPr>
          <p:spPr>
            <a:xfrm>
              <a:off x="6591913" y="1318362"/>
              <a:ext cx="1170513"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Célula bacteriana</a:t>
              </a:r>
            </a:p>
          </p:txBody>
        </p:sp>
        <p:sp>
          <p:nvSpPr>
            <p:cNvPr id="7152" name="TextBox 5611">
              <a:extLst>
                <a:ext uri="{FF2B5EF4-FFF2-40B4-BE49-F238E27FC236}">
                  <a16:creationId xmlns:a16="http://schemas.microsoft.com/office/drawing/2014/main" id="{F8FAE608-5FB8-FB7D-BF07-BC6DC9475AB4}"/>
                </a:ext>
              </a:extLst>
            </p:cNvPr>
            <p:cNvSpPr txBox="1"/>
            <p:nvPr/>
          </p:nvSpPr>
          <p:spPr>
            <a:xfrm>
              <a:off x="9258563" y="1759097"/>
              <a:ext cx="316112" cy="243272"/>
            </a:xfrm>
            <a:prstGeom prst="rect">
              <a:avLst/>
            </a:prstGeom>
            <a:noFill/>
          </p:spPr>
          <p:txBody>
            <a:bodyPr wrap="none" rtlCol="0">
              <a:spAutoFit/>
            </a:bodyPr>
            <a:lstStyle/>
            <a:p>
              <a:pPr defTabSz="914377" fontAlgn="base">
                <a:spcBef>
                  <a:spcPct val="0"/>
                </a:spcBef>
                <a:spcAft>
                  <a:spcPct val="0"/>
                </a:spcAft>
                <a:defRPr/>
              </a:pPr>
              <a:r>
                <a:rPr lang="en-US" sz="981">
                  <a:solidFill>
                    <a:srgbClr val="FFFFFF"/>
                  </a:solidFill>
                  <a:ea typeface="ヒラギノ角ゴ Pro W3" panose="020B0300000000000000" pitchFamily="34" charset="-128"/>
                  <a:cs typeface="Arial"/>
                  <a:sym typeface="Arial"/>
                </a:rPr>
                <a:t>C3</a:t>
              </a:r>
            </a:p>
          </p:txBody>
        </p:sp>
        <p:sp>
          <p:nvSpPr>
            <p:cNvPr id="7157" name="Freeform 5764">
              <a:extLst>
                <a:ext uri="{FF2B5EF4-FFF2-40B4-BE49-F238E27FC236}">
                  <a16:creationId xmlns:a16="http://schemas.microsoft.com/office/drawing/2014/main" id="{A7D316C1-E4F7-598E-056A-02D305AD5FCB}"/>
                </a:ext>
              </a:extLst>
            </p:cNvPr>
            <p:cNvSpPr/>
            <p:nvPr/>
          </p:nvSpPr>
          <p:spPr>
            <a:xfrm>
              <a:off x="1118813" y="1933022"/>
              <a:ext cx="1782177" cy="474385"/>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bg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8" name="TextBox 5618">
              <a:extLst>
                <a:ext uri="{FF2B5EF4-FFF2-40B4-BE49-F238E27FC236}">
                  <a16:creationId xmlns:a16="http://schemas.microsoft.com/office/drawing/2014/main" id="{2F2B331E-865E-8F85-0DC9-87D4D95B34CB}"/>
                </a:ext>
              </a:extLst>
            </p:cNvPr>
            <p:cNvSpPr txBox="1"/>
            <p:nvPr/>
          </p:nvSpPr>
          <p:spPr>
            <a:xfrm>
              <a:off x="1263871" y="2008387"/>
              <a:ext cx="156805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t>
              </a:r>
              <a:r>
                <a:rPr lang="en-US" sz="1400" b="1" dirty="0" err="1">
                  <a:solidFill>
                    <a:srgbClr val="FFFFFF"/>
                  </a:solidFill>
                  <a:latin typeface="+mj-lt"/>
                  <a:ea typeface="ヒラギノ角ゴ Pro W3" panose="020B0300000000000000" pitchFamily="34" charset="-128"/>
                  <a:cs typeface="Arial"/>
                  <a:sym typeface="Arial"/>
                </a:rPr>
                <a:t>clássico</a:t>
              </a:r>
              <a:endParaRPr lang="en-US" sz="1400" b="1" dirty="0">
                <a:solidFill>
                  <a:srgbClr val="FFFFFF"/>
                </a:solidFill>
                <a:latin typeface="+mj-lt"/>
                <a:ea typeface="ヒラギノ角ゴ Pro W3" panose="020B0300000000000000" pitchFamily="34" charset="-128"/>
                <a:cs typeface="Arial"/>
                <a:sym typeface="Arial"/>
              </a:endParaRPr>
            </a:p>
          </p:txBody>
        </p:sp>
        <p:sp>
          <p:nvSpPr>
            <p:cNvPr id="7160" name="Freeform 5771">
              <a:extLst>
                <a:ext uri="{FF2B5EF4-FFF2-40B4-BE49-F238E27FC236}">
                  <a16:creationId xmlns:a16="http://schemas.microsoft.com/office/drawing/2014/main" id="{8DBED6C9-29DD-3FC5-C895-6CA9D0C0F614}"/>
                </a:ext>
              </a:extLst>
            </p:cNvPr>
            <p:cNvSpPr/>
            <p:nvPr/>
          </p:nvSpPr>
          <p:spPr>
            <a:xfrm>
              <a:off x="9833495" y="1933022"/>
              <a:ext cx="1780032" cy="461620"/>
            </a:xfrm>
            <a:custGeom>
              <a:avLst/>
              <a:gdLst>
                <a:gd name="connsiteX0" fmla="*/ 0 w 1783167"/>
                <a:gd name="connsiteY0" fmla="*/ 0 h 323227"/>
                <a:gd name="connsiteX1" fmla="*/ 1783167 w 1783167"/>
                <a:gd name="connsiteY1" fmla="*/ 0 h 323227"/>
                <a:gd name="connsiteX2" fmla="*/ 1783167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7" y="0"/>
                  </a:lnTo>
                  <a:lnTo>
                    <a:pt x="1783167" y="323227"/>
                  </a:lnTo>
                  <a:lnTo>
                    <a:pt x="0" y="323227"/>
                  </a:lnTo>
                  <a:close/>
                </a:path>
              </a:pathLst>
            </a:custGeom>
            <a:solidFill>
              <a:schemeClr val="tx2"/>
            </a:solidFill>
            <a:ln w="12452" cap="flat">
              <a:noFill/>
              <a:prstDash val="solid"/>
              <a:miter/>
            </a:ln>
          </p:spPr>
          <p:txBody>
            <a:bodyPr rtlCol="0" anchor="ctr"/>
            <a:lstStyle/>
            <a:p>
              <a:pPr defTabSz="914377" fontAlgn="base">
                <a:spcBef>
                  <a:spcPct val="0"/>
                </a:spcBef>
                <a:spcAft>
                  <a:spcPct val="0"/>
                </a:spcAft>
                <a:defRPr/>
              </a:pPr>
              <a:endParaRPr lang="en-US">
                <a:solidFill>
                  <a:srgbClr val="37302C"/>
                </a:solidFill>
                <a:ea typeface="ヒラギノ角ゴ Pro W3" panose="020B0300000000000000" pitchFamily="34" charset="-128"/>
                <a:cs typeface="Arial"/>
              </a:endParaRPr>
            </a:p>
          </p:txBody>
        </p:sp>
        <p:sp>
          <p:nvSpPr>
            <p:cNvPr id="7161" name="TextBox 5621">
              <a:extLst>
                <a:ext uri="{FF2B5EF4-FFF2-40B4-BE49-F238E27FC236}">
                  <a16:creationId xmlns:a16="http://schemas.microsoft.com/office/drawing/2014/main" id="{9A499B8A-BF26-3A9F-4D02-D1DA7A6A3C97}"/>
                </a:ext>
              </a:extLst>
            </p:cNvPr>
            <p:cNvSpPr txBox="1"/>
            <p:nvPr/>
          </p:nvSpPr>
          <p:spPr>
            <a:xfrm>
              <a:off x="9812877" y="2019643"/>
              <a:ext cx="182126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lternativo</a:t>
              </a:r>
            </a:p>
          </p:txBody>
        </p:sp>
        <p:sp>
          <p:nvSpPr>
            <p:cNvPr id="7162" name="TextBox 5623">
              <a:extLst>
                <a:ext uri="{FF2B5EF4-FFF2-40B4-BE49-F238E27FC236}">
                  <a16:creationId xmlns:a16="http://schemas.microsoft.com/office/drawing/2014/main" id="{56E3A775-7D80-2793-0E62-CF496E6E40D5}"/>
                </a:ext>
              </a:extLst>
            </p:cNvPr>
            <p:cNvSpPr txBox="1"/>
            <p:nvPr/>
          </p:nvSpPr>
          <p:spPr>
            <a:xfrm>
              <a:off x="5234224" y="1933022"/>
              <a:ext cx="1785632" cy="480131"/>
            </a:xfrm>
            <a:prstGeom prst="rect">
              <a:avLst/>
            </a:prstGeom>
            <a:solidFill>
              <a:schemeClr val="accent1"/>
            </a:solidFill>
          </p:spPr>
          <p:txBody>
            <a:bodyPr wrap="square" rtlCol="0" anchor="ctr" anchorCtr="1">
              <a:spAutoFit/>
            </a:bodyPr>
            <a:lstStyle/>
            <a:p>
              <a:pPr algn="ctr" defTabSz="914377" fontAlgn="base">
                <a:lnSpc>
                  <a:spcPct val="90000"/>
                </a:lnSpc>
                <a:spcBef>
                  <a:spcPct val="0"/>
                </a:spcBef>
                <a:spcAft>
                  <a:spcPct val="0"/>
                </a:spcAft>
                <a:defRPr/>
              </a:pPr>
              <a:r>
                <a:rPr lang="en-US" sz="1400" b="1">
                  <a:solidFill>
                    <a:srgbClr val="FFFFFF"/>
                  </a:solidFill>
                  <a:latin typeface="+mj-lt"/>
                  <a:ea typeface="ヒラギノ角ゴ Pro W3" panose="020B0300000000000000" pitchFamily="34" charset="-128"/>
                  <a:cs typeface="Arial"/>
                  <a:sym typeface="Arial"/>
                </a:rPr>
                <a:t>Ligação à manose</a:t>
              </a:r>
              <a:br>
                <a:rPr lang="en-US" sz="1400" b="1">
                  <a:solidFill>
                    <a:srgbClr val="FFFFFF"/>
                  </a:solidFill>
                  <a:latin typeface="+mj-lt"/>
                  <a:ea typeface="ヒラギノ角ゴ Pro W3" panose="020B0300000000000000" pitchFamily="34" charset="-128"/>
                  <a:cs typeface="Arial"/>
                  <a:sym typeface="Arial"/>
                </a:rPr>
              </a:br>
              <a:r>
                <a:rPr lang="en-US" sz="1400" b="1">
                  <a:solidFill>
                    <a:srgbClr val="FFFFFF"/>
                  </a:solidFill>
                  <a:latin typeface="+mj-lt"/>
                  <a:ea typeface="ヒラギノ角ゴ Pro W3" panose="020B0300000000000000" pitchFamily="34" charset="-128"/>
                  <a:cs typeface="Arial"/>
                  <a:sym typeface="Arial"/>
                </a:rPr>
                <a:t>via da lectina</a:t>
              </a:r>
            </a:p>
          </p:txBody>
        </p:sp>
        <p:sp>
          <p:nvSpPr>
            <p:cNvPr id="7163" name="TextBox 5624">
              <a:extLst>
                <a:ext uri="{FF2B5EF4-FFF2-40B4-BE49-F238E27FC236}">
                  <a16:creationId xmlns:a16="http://schemas.microsoft.com/office/drawing/2014/main" id="{433C7456-8DA8-CB88-8C8B-CC5496C7A090}"/>
                </a:ext>
              </a:extLst>
            </p:cNvPr>
            <p:cNvSpPr txBox="1"/>
            <p:nvPr/>
          </p:nvSpPr>
          <p:spPr>
            <a:xfrm>
              <a:off x="2311589" y="1442503"/>
              <a:ext cx="805029"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Anticorpos</a:t>
              </a:r>
            </a:p>
          </p:txBody>
        </p:sp>
        <p:sp>
          <p:nvSpPr>
            <p:cNvPr id="7166" name="TextBox 5627">
              <a:extLst>
                <a:ext uri="{FF2B5EF4-FFF2-40B4-BE49-F238E27FC236}">
                  <a16:creationId xmlns:a16="http://schemas.microsoft.com/office/drawing/2014/main" id="{A6FD3D59-C97B-7757-49D6-DA563B7667AE}"/>
                </a:ext>
              </a:extLst>
            </p:cNvPr>
            <p:cNvSpPr txBox="1"/>
            <p:nvPr/>
          </p:nvSpPr>
          <p:spPr>
            <a:xfrm>
              <a:off x="4211355" y="1149647"/>
              <a:ext cx="1523803"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Superfície</a:t>
              </a:r>
              <a:endParaRPr lang="en-US" sz="1067" b="1" dirty="0">
                <a:solidFill>
                  <a:srgbClr val="000000"/>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hidratos</a:t>
              </a:r>
              <a:r>
                <a:rPr lang="en-US" sz="1067" b="1" dirty="0">
                  <a:solidFill>
                    <a:srgbClr val="000000"/>
                  </a:solidFill>
                  <a:ea typeface="ヒラギノ角ゴ Pro W3" panose="020B0300000000000000" pitchFamily="34" charset="-128"/>
                  <a:cs typeface="Arial"/>
                  <a:sym typeface="Arial"/>
                </a:rPr>
                <a:t> de </a:t>
              </a:r>
              <a:r>
                <a:rPr lang="en-US" sz="1067" b="1" dirty="0" err="1">
                  <a:solidFill>
                    <a:srgbClr val="000000"/>
                  </a:solidFill>
                  <a:ea typeface="ヒラギノ角ゴ Pro W3" panose="020B0300000000000000" pitchFamily="34" charset="-128"/>
                  <a:cs typeface="Arial"/>
                  <a:sym typeface="Arial"/>
                </a:rPr>
                <a:t>carbono</a:t>
              </a:r>
              <a:endParaRPr lang="en-US" sz="1067" b="1" dirty="0">
                <a:solidFill>
                  <a:srgbClr val="000000"/>
                </a:solidFill>
                <a:ea typeface="ヒラギノ角ゴ Pro W3" panose="020B0300000000000000" pitchFamily="34" charset="-128"/>
                <a:cs typeface="Arial"/>
                <a:sym typeface="Arial"/>
              </a:endParaRPr>
            </a:p>
          </p:txBody>
        </p:sp>
        <p:sp>
          <p:nvSpPr>
            <p:cNvPr id="7167" name="TextBox 5628">
              <a:extLst>
                <a:ext uri="{FF2B5EF4-FFF2-40B4-BE49-F238E27FC236}">
                  <a16:creationId xmlns:a16="http://schemas.microsoft.com/office/drawing/2014/main" id="{C9D33FA2-332F-8635-36B3-64B8B54D2323}"/>
                </a:ext>
              </a:extLst>
            </p:cNvPr>
            <p:cNvSpPr txBox="1"/>
            <p:nvPr/>
          </p:nvSpPr>
          <p:spPr>
            <a:xfrm>
              <a:off x="9633555" y="1318362"/>
              <a:ext cx="2146583" cy="584968"/>
            </a:xfrm>
            <a:prstGeom prst="rect">
              <a:avLst/>
            </a:prstGeom>
            <a:noFill/>
          </p:spPr>
          <p:txBody>
            <a:bodyPr wrap="square" rtlCol="0">
              <a:spAutoFit/>
            </a:bodyPr>
            <a:lstStyle/>
            <a:p>
              <a:pPr algn="ct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Falta de </a:t>
              </a:r>
              <a:r>
                <a:rPr lang="en-US" sz="1067" b="1" dirty="0" err="1">
                  <a:solidFill>
                    <a:srgbClr val="000000"/>
                  </a:solidFill>
                  <a:ea typeface="ヒラギノ角ゴ Pro W3" panose="020B0300000000000000" pitchFamily="34" charset="-128"/>
                  <a:cs typeface="Arial"/>
                  <a:sym typeface="Arial"/>
                </a:rPr>
                <a:t>moléculas</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inibidoras</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complemento</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na</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superfície</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patógeno</a:t>
              </a:r>
              <a:endParaRPr lang="en-US" sz="1067" b="1" dirty="0">
                <a:solidFill>
                  <a:srgbClr val="000000"/>
                </a:solidFill>
                <a:ea typeface="ヒラギノ角ゴ Pro W3" panose="020B0300000000000000" pitchFamily="34" charset="-128"/>
                <a:cs typeface="Arial"/>
                <a:sym typeface="Arial"/>
              </a:endParaRPr>
            </a:p>
          </p:txBody>
        </p:sp>
        <p:cxnSp>
          <p:nvCxnSpPr>
            <p:cNvPr id="7178" name="Straight Arrow Connector 160">
              <a:extLst>
                <a:ext uri="{FF2B5EF4-FFF2-40B4-BE49-F238E27FC236}">
                  <a16:creationId xmlns:a16="http://schemas.microsoft.com/office/drawing/2014/main" id="{62B29287-FF32-A720-CC9E-4CE5F9AC73D2}"/>
                </a:ext>
              </a:extLst>
            </p:cNvPr>
            <p:cNvCxnSpPr/>
            <p:nvPr/>
          </p:nvCxnSpPr>
          <p:spPr>
            <a:xfrm>
              <a:off x="1814436" y="2232125"/>
              <a:ext cx="3407808" cy="523753"/>
            </a:xfrm>
            <a:prstGeom prst="bentConnector3">
              <a:avLst>
                <a:gd name="adj1" fmla="val 4603"/>
              </a:avLst>
            </a:prstGeom>
            <a:noFill/>
            <a:ln w="38100" cap="flat" cmpd="sng" algn="ctr">
              <a:solidFill>
                <a:schemeClr val="bg2"/>
              </a:solidFill>
              <a:prstDash val="solid"/>
              <a:miter lim="800000"/>
              <a:headEnd type="none" w="med" len="med"/>
              <a:tailEnd type="arrow" w="med" len="med"/>
            </a:ln>
            <a:effectLst/>
          </p:spPr>
        </p:cxnSp>
        <p:cxnSp>
          <p:nvCxnSpPr>
            <p:cNvPr id="7179" name="Straight Arrow Connector 5642">
              <a:extLst>
                <a:ext uri="{FF2B5EF4-FFF2-40B4-BE49-F238E27FC236}">
                  <a16:creationId xmlns:a16="http://schemas.microsoft.com/office/drawing/2014/main" id="{913A345F-5540-1461-ABBB-6244DF314039}"/>
                </a:ext>
              </a:extLst>
            </p:cNvPr>
            <p:cNvCxnSpPr/>
            <p:nvPr/>
          </p:nvCxnSpPr>
          <p:spPr>
            <a:xfrm flipH="1">
              <a:off x="6127040" y="2259501"/>
              <a:ext cx="0" cy="290047"/>
            </a:xfrm>
            <a:prstGeom prst="straightConnector1">
              <a:avLst/>
            </a:prstGeom>
            <a:noFill/>
            <a:ln w="38100" cap="flat" cmpd="sng" algn="ctr">
              <a:solidFill>
                <a:schemeClr val="accent1"/>
              </a:solidFill>
              <a:prstDash val="solid"/>
              <a:miter lim="800000"/>
              <a:tailEnd type="triangle" w="med" len="med"/>
            </a:ln>
            <a:effectLst/>
          </p:spPr>
        </p:cxnSp>
        <p:pic>
          <p:nvPicPr>
            <p:cNvPr id="7198" name="Picture 5665">
              <a:extLst>
                <a:ext uri="{FF2B5EF4-FFF2-40B4-BE49-F238E27FC236}">
                  <a16:creationId xmlns:a16="http://schemas.microsoft.com/office/drawing/2014/main" id="{F1A210CB-A654-B176-A855-F73F31CE52EC}"/>
                </a:ext>
              </a:extLst>
            </p:cNvPr>
            <p:cNvPicPr>
              <a:picLocks noChangeAspect="1"/>
            </p:cNvPicPr>
            <p:nvPr/>
          </p:nvPicPr>
          <p:blipFill>
            <a:blip r:embed="rId3"/>
            <a:stretch>
              <a:fillRect/>
            </a:stretch>
          </p:blipFill>
          <p:spPr>
            <a:xfrm>
              <a:off x="3179740" y="1251054"/>
              <a:ext cx="678177" cy="1136092"/>
            </a:xfrm>
            <a:prstGeom prst="rect">
              <a:avLst/>
            </a:prstGeom>
          </p:spPr>
        </p:pic>
        <p:cxnSp>
          <p:nvCxnSpPr>
            <p:cNvPr id="7199" name="Straight Connector 5666">
              <a:extLst>
                <a:ext uri="{FF2B5EF4-FFF2-40B4-BE49-F238E27FC236}">
                  <a16:creationId xmlns:a16="http://schemas.microsoft.com/office/drawing/2014/main" id="{26398992-0972-2D2E-AFAE-CD3DF3E083C8}"/>
                </a:ext>
              </a:extLst>
            </p:cNvPr>
            <p:cNvCxnSpPr>
              <a:endCxn id="7198" idx="1"/>
            </p:cNvCxnSpPr>
            <p:nvPr/>
          </p:nvCxnSpPr>
          <p:spPr>
            <a:xfrm>
              <a:off x="2900990" y="1660060"/>
              <a:ext cx="278749" cy="159041"/>
            </a:xfrm>
            <a:prstGeom prst="line">
              <a:avLst/>
            </a:prstGeom>
            <a:noFill/>
            <a:ln w="6350" cap="flat" cmpd="sng" algn="ctr">
              <a:solidFill>
                <a:srgbClr val="001E60"/>
              </a:solidFill>
              <a:prstDash val="solid"/>
              <a:miter lim="800000"/>
            </a:ln>
            <a:effectLst/>
          </p:spPr>
        </p:cxnSp>
        <p:pic>
          <p:nvPicPr>
            <p:cNvPr id="7200" name="Picture 5667">
              <a:extLst>
                <a:ext uri="{FF2B5EF4-FFF2-40B4-BE49-F238E27FC236}">
                  <a16:creationId xmlns:a16="http://schemas.microsoft.com/office/drawing/2014/main" id="{2ECFFF4A-7759-C1F0-4AB7-DEBD4AC18347}"/>
                </a:ext>
              </a:extLst>
            </p:cNvPr>
            <p:cNvPicPr>
              <a:picLocks noChangeAspect="1"/>
            </p:cNvPicPr>
            <p:nvPr/>
          </p:nvPicPr>
          <p:blipFill>
            <a:blip r:embed="rId4"/>
            <a:stretch>
              <a:fillRect/>
            </a:stretch>
          </p:blipFill>
          <p:spPr>
            <a:xfrm>
              <a:off x="4645452" y="1571118"/>
              <a:ext cx="522113" cy="904593"/>
            </a:xfrm>
            <a:prstGeom prst="rect">
              <a:avLst/>
            </a:prstGeom>
          </p:spPr>
        </p:pic>
        <p:sp>
          <p:nvSpPr>
            <p:cNvPr id="7201" name="TextBox 8964">
              <a:extLst>
                <a:ext uri="{FF2B5EF4-FFF2-40B4-BE49-F238E27FC236}">
                  <a16:creationId xmlns:a16="http://schemas.microsoft.com/office/drawing/2014/main" id="{AD599E8D-B7E9-F199-34A5-914F6934F4A0}"/>
                </a:ext>
              </a:extLst>
            </p:cNvPr>
            <p:cNvSpPr txBox="1"/>
            <p:nvPr/>
          </p:nvSpPr>
          <p:spPr>
            <a:xfrm>
              <a:off x="8216513" y="2453602"/>
              <a:ext cx="1627240"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fontAlgn="base">
                <a:spcBef>
                  <a:spcPct val="0"/>
                </a:spcBef>
                <a:spcAft>
                  <a:spcPct val="0"/>
                </a:spcAft>
                <a:defRPr/>
              </a:pPr>
              <a:r>
                <a:rPr lang="en-US" sz="1400" b="1" dirty="0" err="1">
                  <a:solidFill>
                    <a:srgbClr val="000000"/>
                  </a:solidFill>
                  <a:cs typeface="Arial"/>
                  <a:sym typeface="Arial"/>
                </a:rPr>
                <a:t>Verificação</a:t>
              </a:r>
              <a:r>
                <a:rPr lang="en-US" sz="1400" b="1" dirty="0">
                  <a:solidFill>
                    <a:srgbClr val="000000"/>
                  </a:solidFill>
                  <a:cs typeface="Arial"/>
                  <a:sym typeface="Arial"/>
                </a:rPr>
                <a:t> de </a:t>
              </a:r>
              <a:r>
                <a:rPr lang="en-US" sz="1400" b="1" dirty="0" err="1">
                  <a:solidFill>
                    <a:srgbClr val="000000"/>
                  </a:solidFill>
                  <a:cs typeface="Arial"/>
                  <a:sym typeface="Arial"/>
                </a:rPr>
                <a:t>nível</a:t>
              </a:r>
              <a:endParaRPr lang="en-US" sz="1400" b="1" dirty="0">
                <a:solidFill>
                  <a:srgbClr val="000000"/>
                </a:solidFill>
                <a:cs typeface="Arial"/>
                <a:sym typeface="Arial"/>
              </a:endParaRPr>
            </a:p>
          </p:txBody>
        </p:sp>
      </p:grpSp>
      <p:grpSp>
        <p:nvGrpSpPr>
          <p:cNvPr id="13" name="Agrupar 12">
            <a:extLst>
              <a:ext uri="{FF2B5EF4-FFF2-40B4-BE49-F238E27FC236}">
                <a16:creationId xmlns:a16="http://schemas.microsoft.com/office/drawing/2014/main" id="{40855D7D-F5C9-30FE-44C4-4D2E746C3649}"/>
              </a:ext>
            </a:extLst>
          </p:cNvPr>
          <p:cNvGrpSpPr/>
          <p:nvPr/>
        </p:nvGrpSpPr>
        <p:grpSpPr>
          <a:xfrm>
            <a:off x="258143" y="4388463"/>
            <a:ext cx="11127616" cy="1796705"/>
            <a:chOff x="258143" y="4388463"/>
            <a:chExt cx="11127616" cy="1796705"/>
          </a:xfrm>
        </p:grpSpPr>
        <p:sp>
          <p:nvSpPr>
            <p:cNvPr id="3" name="Freeform 8876">
              <a:extLst>
                <a:ext uri="{FF2B5EF4-FFF2-40B4-BE49-F238E27FC236}">
                  <a16:creationId xmlns:a16="http://schemas.microsoft.com/office/drawing/2014/main" id="{754E8C96-588D-93E7-686B-D5619EE15191}"/>
                </a:ext>
              </a:extLst>
            </p:cNvPr>
            <p:cNvSpPr/>
            <p:nvPr/>
          </p:nvSpPr>
          <p:spPr>
            <a:xfrm>
              <a:off x="6624769" y="4929284"/>
              <a:ext cx="461313" cy="373027"/>
            </a:xfrm>
            <a:custGeom>
              <a:avLst/>
              <a:gdLst>
                <a:gd name="connsiteX0" fmla="*/ 398187 w 461313"/>
                <a:gd name="connsiteY0" fmla="*/ 22670 h 373026"/>
                <a:gd name="connsiteX1" fmla="*/ 415999 w 461313"/>
                <a:gd name="connsiteY1" fmla="*/ 0 h 373026"/>
                <a:gd name="connsiteX2" fmla="*/ 432316 w 461313"/>
                <a:gd name="connsiteY2" fmla="*/ 15071 h 373026"/>
                <a:gd name="connsiteX3" fmla="*/ 437298 w 461313"/>
                <a:gd name="connsiteY3" fmla="*/ 142743 h 373026"/>
                <a:gd name="connsiteX4" fmla="*/ 251084 w 461313"/>
                <a:gd name="connsiteY4" fmla="*/ 344028 h 373026"/>
                <a:gd name="connsiteX5" fmla="*/ 123413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1"/>
                  </a:lnTo>
                  <a:cubicBezTo>
                    <a:pt x="468936" y="48951"/>
                    <a:pt x="471178" y="106123"/>
                    <a:pt x="437298" y="142743"/>
                  </a:cubicBezTo>
                  <a:lnTo>
                    <a:pt x="251084" y="344028"/>
                  </a:lnTo>
                  <a:cubicBezTo>
                    <a:pt x="217205" y="380648"/>
                    <a:pt x="160033" y="382891"/>
                    <a:pt x="123413" y="349011"/>
                  </a:cubicBezTo>
                  <a:lnTo>
                    <a:pt x="28998" y="261696"/>
                  </a:lnTo>
                  <a:cubicBezTo>
                    <a:pt x="-7622" y="227816"/>
                    <a:pt x="-9864" y="170644"/>
                    <a:pt x="24016" y="134024"/>
                  </a:cubicBezTo>
                  <a:lnTo>
                    <a:pt x="122914" y="27029"/>
                  </a:lnTo>
                  <a:cubicBezTo>
                    <a:pt x="124907" y="29022"/>
                    <a:pt x="126776" y="31139"/>
                    <a:pt x="128893" y="33132"/>
                  </a:cubicBezTo>
                  <a:cubicBezTo>
                    <a:pt x="206119" y="104753"/>
                    <a:pt x="326691" y="100020"/>
                    <a:pt x="398187" y="22670"/>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 name="Freeform 8942">
              <a:extLst>
                <a:ext uri="{FF2B5EF4-FFF2-40B4-BE49-F238E27FC236}">
                  <a16:creationId xmlns:a16="http://schemas.microsoft.com/office/drawing/2014/main" id="{4E4A9DBC-F45C-FE71-496F-B5243AF36F97}"/>
                </a:ext>
              </a:extLst>
            </p:cNvPr>
            <p:cNvSpPr/>
            <p:nvPr/>
          </p:nvSpPr>
          <p:spPr>
            <a:xfrm>
              <a:off x="6045322" y="4795029"/>
              <a:ext cx="291589" cy="428727"/>
            </a:xfrm>
            <a:custGeom>
              <a:avLst/>
              <a:gdLst>
                <a:gd name="connsiteX0" fmla="*/ 205147 w 291589"/>
                <a:gd name="connsiteY0" fmla="*/ 428728 h 428727"/>
                <a:gd name="connsiteX1" fmla="*/ 86443 w 291589"/>
                <a:gd name="connsiteY1" fmla="*/ 428728 h 428727"/>
                <a:gd name="connsiteX2" fmla="*/ 0 w 291589"/>
                <a:gd name="connsiteY2" fmla="*/ 342285 h 428727"/>
                <a:gd name="connsiteX3" fmla="*/ 0 w 291589"/>
                <a:gd name="connsiteY3" fmla="*/ 86443 h 428727"/>
                <a:gd name="connsiteX4" fmla="*/ 86443 w 291589"/>
                <a:gd name="connsiteY4" fmla="*/ 0 h 428727"/>
                <a:gd name="connsiteX5" fmla="*/ 205147 w 291589"/>
                <a:gd name="connsiteY5" fmla="*/ 0 h 428727"/>
                <a:gd name="connsiteX6" fmla="*/ 291589 w 291589"/>
                <a:gd name="connsiteY6" fmla="*/ 86443 h 428727"/>
                <a:gd name="connsiteX7" fmla="*/ 291589 w 291589"/>
                <a:gd name="connsiteY7" fmla="*/ 342285 h 428727"/>
                <a:gd name="connsiteX8" fmla="*/ 205147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7" y="428728"/>
                  </a:moveTo>
                  <a:lnTo>
                    <a:pt x="86443" y="428728"/>
                  </a:lnTo>
                  <a:cubicBezTo>
                    <a:pt x="38737" y="428728"/>
                    <a:pt x="0" y="389990"/>
                    <a:pt x="0" y="342285"/>
                  </a:cubicBezTo>
                  <a:lnTo>
                    <a:pt x="0" y="86443"/>
                  </a:lnTo>
                  <a:cubicBezTo>
                    <a:pt x="0" y="38738"/>
                    <a:pt x="38737" y="0"/>
                    <a:pt x="86443" y="0"/>
                  </a:cubicBezTo>
                  <a:lnTo>
                    <a:pt x="205147" y="0"/>
                  </a:lnTo>
                  <a:cubicBezTo>
                    <a:pt x="252852" y="0"/>
                    <a:pt x="291589" y="38738"/>
                    <a:pt x="291589" y="86443"/>
                  </a:cubicBezTo>
                  <a:lnTo>
                    <a:pt x="291589" y="342285"/>
                  </a:lnTo>
                  <a:cubicBezTo>
                    <a:pt x="291589" y="390115"/>
                    <a:pt x="252852" y="428728"/>
                    <a:pt x="205147" y="428728"/>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 name="Freeform 8952">
              <a:extLst>
                <a:ext uri="{FF2B5EF4-FFF2-40B4-BE49-F238E27FC236}">
                  <a16:creationId xmlns:a16="http://schemas.microsoft.com/office/drawing/2014/main" id="{F443EEDD-3FB8-BA49-DCBD-7A5C2BCD10C6}"/>
                </a:ext>
              </a:extLst>
            </p:cNvPr>
            <p:cNvSpPr/>
            <p:nvPr/>
          </p:nvSpPr>
          <p:spPr>
            <a:xfrm>
              <a:off x="7936415" y="4994214"/>
              <a:ext cx="457155" cy="312031"/>
            </a:xfrm>
            <a:custGeom>
              <a:avLst/>
              <a:gdLst>
                <a:gd name="connsiteX0" fmla="*/ 428119 w 457154"/>
                <a:gd name="connsiteY0" fmla="*/ 195929 h 312030"/>
                <a:gd name="connsiteX1" fmla="*/ 456767 w 457154"/>
                <a:gd name="connsiteY1" fmla="*/ 193064 h 312030"/>
                <a:gd name="connsiteX2" fmla="*/ 457141 w 457154"/>
                <a:gd name="connsiteY2" fmla="*/ 215236 h 312030"/>
                <a:gd name="connsiteX3" fmla="*/ 368331 w 457154"/>
                <a:gd name="connsiteY3" fmla="*/ 307159 h 312030"/>
                <a:gd name="connsiteX4" fmla="*/ 94180 w 457154"/>
                <a:gd name="connsiteY4" fmla="*/ 312017 h 312030"/>
                <a:gd name="connsiteX5" fmla="*/ 2256 w 457154"/>
                <a:gd name="connsiteY5" fmla="*/ 223208 h 312030"/>
                <a:gd name="connsiteX6" fmla="*/ 14 w 457154"/>
                <a:gd name="connsiteY6" fmla="*/ 94539 h 312030"/>
                <a:gd name="connsiteX7" fmla="*/ 88824 w 457154"/>
                <a:gd name="connsiteY7" fmla="*/ 2616 h 312030"/>
                <a:gd name="connsiteX8" fmla="*/ 234432 w 457154"/>
                <a:gd name="connsiteY8" fmla="*/ 0 h 312030"/>
                <a:gd name="connsiteX9" fmla="*/ 234182 w 457154"/>
                <a:gd name="connsiteY9" fmla="*/ 8595 h 312030"/>
                <a:gd name="connsiteX10" fmla="*/ 428119 w 457154"/>
                <a:gd name="connsiteY10" fmla="*/ 195929 h 3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54" h="312030">
                  <a:moveTo>
                    <a:pt x="428119" y="195929"/>
                  </a:moveTo>
                  <a:cubicBezTo>
                    <a:pt x="437959" y="195805"/>
                    <a:pt x="447425" y="194559"/>
                    <a:pt x="456767" y="193064"/>
                  </a:cubicBezTo>
                  <a:lnTo>
                    <a:pt x="457141" y="215236"/>
                  </a:lnTo>
                  <a:cubicBezTo>
                    <a:pt x="458013" y="265183"/>
                    <a:pt x="418279" y="306287"/>
                    <a:pt x="368331" y="307159"/>
                  </a:cubicBezTo>
                  <a:lnTo>
                    <a:pt x="94180" y="312017"/>
                  </a:lnTo>
                  <a:cubicBezTo>
                    <a:pt x="44232" y="312889"/>
                    <a:pt x="3128" y="273155"/>
                    <a:pt x="2256" y="223208"/>
                  </a:cubicBezTo>
                  <a:lnTo>
                    <a:pt x="14" y="94539"/>
                  </a:lnTo>
                  <a:cubicBezTo>
                    <a:pt x="-858" y="44591"/>
                    <a:pt x="38876" y="3488"/>
                    <a:pt x="88824" y="2616"/>
                  </a:cubicBezTo>
                  <a:lnTo>
                    <a:pt x="234432" y="0"/>
                  </a:lnTo>
                  <a:cubicBezTo>
                    <a:pt x="234307" y="2865"/>
                    <a:pt x="234058" y="5605"/>
                    <a:pt x="234182" y="8595"/>
                  </a:cubicBezTo>
                  <a:cubicBezTo>
                    <a:pt x="236051" y="113970"/>
                    <a:pt x="322867" y="197798"/>
                    <a:pt x="428119" y="195929"/>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kern="0">
                <a:solidFill>
                  <a:srgbClr val="37302C"/>
                </a:solidFill>
                <a:ea typeface="ヒラギノ角ゴ Pro W3" panose="020B0300000000000000" pitchFamily="34" charset="-128"/>
                <a:cs typeface="Arial"/>
              </a:endParaRPr>
            </a:p>
          </p:txBody>
        </p:sp>
        <p:sp>
          <p:nvSpPr>
            <p:cNvPr id="6" name="Freeform 8976">
              <a:extLst>
                <a:ext uri="{FF2B5EF4-FFF2-40B4-BE49-F238E27FC236}">
                  <a16:creationId xmlns:a16="http://schemas.microsoft.com/office/drawing/2014/main" id="{C9507B84-E75A-20DE-152D-A223EBF7FC2B}"/>
                </a:ext>
              </a:extLst>
            </p:cNvPr>
            <p:cNvSpPr/>
            <p:nvPr/>
          </p:nvSpPr>
          <p:spPr>
            <a:xfrm>
              <a:off x="5565273" y="5071179"/>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8 w 178681"/>
                <a:gd name="connsiteY4" fmla="*/ 291839 h 291838"/>
                <a:gd name="connsiteX5" fmla="*/ 163021 w 178681"/>
                <a:gd name="connsiteY5" fmla="*/ 185716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1" y="227940"/>
                    <a:pt x="83180" y="287354"/>
                  </a:cubicBezTo>
                  <a:cubicBezTo>
                    <a:pt x="85546" y="288974"/>
                    <a:pt x="88038" y="290344"/>
                    <a:pt x="90528" y="291839"/>
                  </a:cubicBezTo>
                  <a:lnTo>
                    <a:pt x="163021" y="185716"/>
                  </a:lnTo>
                  <a:cubicBezTo>
                    <a:pt x="191047" y="144362"/>
                    <a:pt x="180459" y="88187"/>
                    <a:pt x="139231" y="60037"/>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 name="Freeform 3647">
              <a:extLst>
                <a:ext uri="{FF2B5EF4-FFF2-40B4-BE49-F238E27FC236}">
                  <a16:creationId xmlns:a16="http://schemas.microsoft.com/office/drawing/2014/main" id="{9BEF5C03-5C4C-6CC8-C472-DAAD295E70FC}"/>
                </a:ext>
              </a:extLst>
            </p:cNvPr>
            <p:cNvSpPr/>
            <p:nvPr/>
          </p:nvSpPr>
          <p:spPr>
            <a:xfrm>
              <a:off x="5865725" y="4908619"/>
              <a:ext cx="155078" cy="281376"/>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8" name="Freeform 3648">
              <a:extLst>
                <a:ext uri="{FF2B5EF4-FFF2-40B4-BE49-F238E27FC236}">
                  <a16:creationId xmlns:a16="http://schemas.microsoft.com/office/drawing/2014/main" id="{1386B394-48EB-2DAA-D316-F7AC45986223}"/>
                </a:ext>
              </a:extLst>
            </p:cNvPr>
            <p:cNvSpPr/>
            <p:nvPr/>
          </p:nvSpPr>
          <p:spPr>
            <a:xfrm>
              <a:off x="5790243" y="5087734"/>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9" name="Freeform 3650">
              <a:extLst>
                <a:ext uri="{FF2B5EF4-FFF2-40B4-BE49-F238E27FC236}">
                  <a16:creationId xmlns:a16="http://schemas.microsoft.com/office/drawing/2014/main" id="{0B908AE1-2666-135D-5191-55086CE30C5F}"/>
                </a:ext>
              </a:extLst>
            </p:cNvPr>
            <p:cNvSpPr/>
            <p:nvPr/>
          </p:nvSpPr>
          <p:spPr>
            <a:xfrm flipH="1">
              <a:off x="6364285" y="4908619"/>
              <a:ext cx="155078" cy="281376"/>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0" name="Freeform 3654">
              <a:extLst>
                <a:ext uri="{FF2B5EF4-FFF2-40B4-BE49-F238E27FC236}">
                  <a16:creationId xmlns:a16="http://schemas.microsoft.com/office/drawing/2014/main" id="{53CB8673-87CA-03DC-C758-AD15B64719DE}"/>
                </a:ext>
              </a:extLst>
            </p:cNvPr>
            <p:cNvSpPr/>
            <p:nvPr/>
          </p:nvSpPr>
          <p:spPr>
            <a:xfrm flipH="1">
              <a:off x="6456462" y="5087734"/>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1" name="Freeform 3678">
              <a:extLst>
                <a:ext uri="{FF2B5EF4-FFF2-40B4-BE49-F238E27FC236}">
                  <a16:creationId xmlns:a16="http://schemas.microsoft.com/office/drawing/2014/main" id="{0102BFDF-8CB6-4B3C-35AC-5F079D894141}"/>
                </a:ext>
              </a:extLst>
            </p:cNvPr>
            <p:cNvSpPr/>
            <p:nvPr/>
          </p:nvSpPr>
          <p:spPr>
            <a:xfrm rot="19436672">
              <a:off x="6208010" y="4388463"/>
              <a:ext cx="155078" cy="281377"/>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2" name="Freeform 3679">
              <a:extLst>
                <a:ext uri="{FF2B5EF4-FFF2-40B4-BE49-F238E27FC236}">
                  <a16:creationId xmlns:a16="http://schemas.microsoft.com/office/drawing/2014/main" id="{BA50F4B5-EA23-9A75-B374-189A429FC1DA}"/>
                </a:ext>
              </a:extLst>
            </p:cNvPr>
            <p:cNvSpPr/>
            <p:nvPr/>
          </p:nvSpPr>
          <p:spPr>
            <a:xfrm rot="19436672">
              <a:off x="6208581" y="4597387"/>
              <a:ext cx="138382"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nvGrpSpPr>
            <p:cNvPr id="3646" name="Graphic 2987">
              <a:extLst>
                <a:ext uri="{FF2B5EF4-FFF2-40B4-BE49-F238E27FC236}">
                  <a16:creationId xmlns:a16="http://schemas.microsoft.com/office/drawing/2014/main" id="{2A47ADEF-B9C4-E944-1D42-676E1904427E}"/>
                </a:ext>
              </a:extLst>
            </p:cNvPr>
            <p:cNvGrpSpPr/>
            <p:nvPr/>
          </p:nvGrpSpPr>
          <p:grpSpPr>
            <a:xfrm>
              <a:off x="4731171" y="5548747"/>
              <a:ext cx="6654588" cy="634790"/>
              <a:chOff x="4731171" y="5548745"/>
              <a:chExt cx="6654588" cy="705895"/>
            </a:xfrm>
            <a:solidFill>
              <a:srgbClr val="B52455"/>
            </a:solidFill>
          </p:grpSpPr>
          <p:grpSp>
            <p:nvGrpSpPr>
              <p:cNvPr id="3647" name="Graphic 2987">
                <a:extLst>
                  <a:ext uri="{FF2B5EF4-FFF2-40B4-BE49-F238E27FC236}">
                    <a16:creationId xmlns:a16="http://schemas.microsoft.com/office/drawing/2014/main" id="{5DCFD32F-F111-DB7B-4C43-AE1A094B2087}"/>
                  </a:ext>
                </a:extLst>
              </p:cNvPr>
              <p:cNvGrpSpPr/>
              <p:nvPr/>
            </p:nvGrpSpPr>
            <p:grpSpPr>
              <a:xfrm>
                <a:off x="4731171" y="6112092"/>
                <a:ext cx="65258" cy="142548"/>
                <a:chOff x="4731171" y="6112092"/>
                <a:chExt cx="65258" cy="142548"/>
              </a:xfrm>
              <a:grpFill/>
            </p:grpSpPr>
            <p:sp>
              <p:nvSpPr>
                <p:cNvPr id="5237" name="Freeform 4167">
                  <a:extLst>
                    <a:ext uri="{FF2B5EF4-FFF2-40B4-BE49-F238E27FC236}">
                      <a16:creationId xmlns:a16="http://schemas.microsoft.com/office/drawing/2014/main" id="{93665F92-0422-D8AD-9638-6A5430A556AE}"/>
                    </a:ext>
                  </a:extLst>
                </p:cNvPr>
                <p:cNvSpPr/>
                <p:nvPr/>
              </p:nvSpPr>
              <p:spPr>
                <a:xfrm>
                  <a:off x="4743156" y="6133169"/>
                  <a:ext cx="15943" cy="49574"/>
                </a:xfrm>
                <a:custGeom>
                  <a:avLst/>
                  <a:gdLst>
                    <a:gd name="connsiteX0" fmla="*/ 0 w 15943"/>
                    <a:gd name="connsiteY0" fmla="*/ 0 h 49574"/>
                    <a:gd name="connsiteX1" fmla="*/ 4111 w 15943"/>
                    <a:gd name="connsiteY1" fmla="*/ 18310 h 49574"/>
                    <a:gd name="connsiteX2" fmla="*/ 12829 w 15943"/>
                    <a:gd name="connsiteY2" fmla="*/ 33381 h 49574"/>
                    <a:gd name="connsiteX3" fmla="*/ 15943 w 15943"/>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3" h="49574">
                      <a:moveTo>
                        <a:pt x="0" y="0"/>
                      </a:moveTo>
                      <a:cubicBezTo>
                        <a:pt x="125" y="8345"/>
                        <a:pt x="2242" y="14449"/>
                        <a:pt x="4111" y="18310"/>
                      </a:cubicBezTo>
                      <a:cubicBezTo>
                        <a:pt x="7100" y="24663"/>
                        <a:pt x="10089" y="26905"/>
                        <a:pt x="12829" y="33381"/>
                      </a:cubicBezTo>
                      <a:cubicBezTo>
                        <a:pt x="15445" y="39734"/>
                        <a:pt x="15943" y="45588"/>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8" name="Freeform 4168">
                  <a:extLst>
                    <a:ext uri="{FF2B5EF4-FFF2-40B4-BE49-F238E27FC236}">
                      <a16:creationId xmlns:a16="http://schemas.microsoft.com/office/drawing/2014/main" id="{99A37518-5575-DFF9-637E-BD399D94A498}"/>
                    </a:ext>
                  </a:extLst>
                </p:cNvPr>
                <p:cNvSpPr/>
                <p:nvPr/>
              </p:nvSpPr>
              <p:spPr>
                <a:xfrm>
                  <a:off x="4748263" y="6126319"/>
                  <a:ext cx="17189" cy="49200"/>
                </a:xfrm>
                <a:custGeom>
                  <a:avLst/>
                  <a:gdLst>
                    <a:gd name="connsiteX0" fmla="*/ 17189 w 17189"/>
                    <a:gd name="connsiteY0" fmla="*/ 49200 h 49200"/>
                    <a:gd name="connsiteX1" fmla="*/ 9342 w 17189"/>
                    <a:gd name="connsiteY1" fmla="*/ 32136 h 49200"/>
                    <a:gd name="connsiteX2" fmla="*/ 7225 w 17189"/>
                    <a:gd name="connsiteY2" fmla="*/ 14822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2331" y="42350"/>
                        <a:pt x="10339" y="36371"/>
                        <a:pt x="9342" y="32136"/>
                      </a:cubicBezTo>
                      <a:cubicBezTo>
                        <a:pt x="7847" y="25285"/>
                        <a:pt x="8968" y="21798"/>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9" name="Freeform 4169">
                  <a:extLst>
                    <a:ext uri="{FF2B5EF4-FFF2-40B4-BE49-F238E27FC236}">
                      <a16:creationId xmlns:a16="http://schemas.microsoft.com/office/drawing/2014/main" id="{B3E5B322-3255-E8C2-FA34-F8810B701167}"/>
                    </a:ext>
                  </a:extLst>
                </p:cNvPr>
                <p:cNvSpPr/>
                <p:nvPr/>
              </p:nvSpPr>
              <p:spPr>
                <a:xfrm>
                  <a:off x="4731171" y="6112092"/>
                  <a:ext cx="26632" cy="26460"/>
                </a:xfrm>
                <a:custGeom>
                  <a:avLst/>
                  <a:gdLst>
                    <a:gd name="connsiteX0" fmla="*/ 25935 w 26632"/>
                    <a:gd name="connsiteY0" fmla="*/ 9120 h 26460"/>
                    <a:gd name="connsiteX1" fmla="*/ 17465 w 26632"/>
                    <a:gd name="connsiteY1" fmla="*/ 25811 h 26460"/>
                    <a:gd name="connsiteX2" fmla="*/ 650 w 26632"/>
                    <a:gd name="connsiteY2" fmla="*/ 17341 h 26460"/>
                    <a:gd name="connsiteX3" fmla="*/ 9120 w 26632"/>
                    <a:gd name="connsiteY3" fmla="*/ 650 h 26460"/>
                    <a:gd name="connsiteX4" fmla="*/ 25935 w 26632"/>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60">
                      <a:moveTo>
                        <a:pt x="25935" y="9120"/>
                      </a:moveTo>
                      <a:cubicBezTo>
                        <a:pt x="28301" y="16095"/>
                        <a:pt x="24440" y="23569"/>
                        <a:pt x="17465" y="25811"/>
                      </a:cubicBezTo>
                      <a:cubicBezTo>
                        <a:pt x="10490" y="28053"/>
                        <a:pt x="2892" y="24316"/>
                        <a:pt x="650" y="17341"/>
                      </a:cubicBezTo>
                      <a:cubicBezTo>
                        <a:pt x="-1592" y="10365"/>
                        <a:pt x="2145" y="2892"/>
                        <a:pt x="9120" y="650"/>
                      </a:cubicBezTo>
                      <a:cubicBezTo>
                        <a:pt x="16095" y="-1592"/>
                        <a:pt x="23569" y="2145"/>
                        <a:pt x="25935"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0" name="Freeform 4170">
                  <a:extLst>
                    <a:ext uri="{FF2B5EF4-FFF2-40B4-BE49-F238E27FC236}">
                      <a16:creationId xmlns:a16="http://schemas.microsoft.com/office/drawing/2014/main" id="{79F0D3C6-151C-3915-6A60-A87CDC07E791}"/>
                    </a:ext>
                  </a:extLst>
                </p:cNvPr>
                <p:cNvSpPr/>
                <p:nvPr/>
              </p:nvSpPr>
              <p:spPr>
                <a:xfrm>
                  <a:off x="4768566" y="6183865"/>
                  <a:ext cx="15818" cy="49698"/>
                </a:xfrm>
                <a:custGeom>
                  <a:avLst/>
                  <a:gdLst>
                    <a:gd name="connsiteX0" fmla="*/ 15819 w 15818"/>
                    <a:gd name="connsiteY0" fmla="*/ 49698 h 49698"/>
                    <a:gd name="connsiteX1" fmla="*/ 11708 w 15818"/>
                    <a:gd name="connsiteY1" fmla="*/ 31388 h 49698"/>
                    <a:gd name="connsiteX2" fmla="*/ 3114 w 15818"/>
                    <a:gd name="connsiteY2" fmla="*/ 16192 h 49698"/>
                    <a:gd name="connsiteX3" fmla="*/ 0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5570" y="41353"/>
                        <a:pt x="13577" y="35250"/>
                        <a:pt x="11708" y="31388"/>
                      </a:cubicBezTo>
                      <a:cubicBezTo>
                        <a:pt x="8719" y="25036"/>
                        <a:pt x="5730"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1" name="Freeform 4171">
                  <a:extLst>
                    <a:ext uri="{FF2B5EF4-FFF2-40B4-BE49-F238E27FC236}">
                      <a16:creationId xmlns:a16="http://schemas.microsoft.com/office/drawing/2014/main" id="{45D75B14-003A-B6CF-5757-EFDBD58CAE72}"/>
                    </a:ext>
                  </a:extLst>
                </p:cNvPr>
                <p:cNvSpPr/>
                <p:nvPr/>
              </p:nvSpPr>
              <p:spPr>
                <a:xfrm>
                  <a:off x="4762089" y="6191338"/>
                  <a:ext cx="17313" cy="49200"/>
                </a:xfrm>
                <a:custGeom>
                  <a:avLst/>
                  <a:gdLst>
                    <a:gd name="connsiteX0" fmla="*/ 0 w 17313"/>
                    <a:gd name="connsiteY0" fmla="*/ 0 h 49200"/>
                    <a:gd name="connsiteX1" fmla="*/ 7847 w 17313"/>
                    <a:gd name="connsiteY1" fmla="*/ 17065 h 49200"/>
                    <a:gd name="connsiteX2" fmla="*/ 10089 w 17313"/>
                    <a:gd name="connsiteY2" fmla="*/ 34378 h 49200"/>
                    <a:gd name="connsiteX3" fmla="*/ 17313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851" y="12830"/>
                        <a:pt x="7847" y="17065"/>
                      </a:cubicBezTo>
                      <a:cubicBezTo>
                        <a:pt x="9342" y="23915"/>
                        <a:pt x="8221" y="27403"/>
                        <a:pt x="10089" y="34378"/>
                      </a:cubicBezTo>
                      <a:cubicBezTo>
                        <a:pt x="11833" y="41104"/>
                        <a:pt x="14947" y="46086"/>
                        <a:pt x="17313"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2" name="Freeform 4172">
                  <a:extLst>
                    <a:ext uri="{FF2B5EF4-FFF2-40B4-BE49-F238E27FC236}">
                      <a16:creationId xmlns:a16="http://schemas.microsoft.com/office/drawing/2014/main" id="{E9B25164-C217-35BA-46D0-C2C99C5602A2}"/>
                    </a:ext>
                  </a:extLst>
                </p:cNvPr>
                <p:cNvSpPr/>
                <p:nvPr/>
              </p:nvSpPr>
              <p:spPr>
                <a:xfrm>
                  <a:off x="4769972" y="6228180"/>
                  <a:ext cx="26457" cy="26460"/>
                </a:xfrm>
                <a:custGeom>
                  <a:avLst/>
                  <a:gdLst>
                    <a:gd name="connsiteX0" fmla="*/ 711 w 26457"/>
                    <a:gd name="connsiteY0" fmla="*/ 17341 h 26460"/>
                    <a:gd name="connsiteX1" fmla="*/ 9056 w 26457"/>
                    <a:gd name="connsiteY1" fmla="*/ 650 h 26460"/>
                    <a:gd name="connsiteX2" fmla="*/ 25747 w 26457"/>
                    <a:gd name="connsiteY2" fmla="*/ 9120 h 26460"/>
                    <a:gd name="connsiteX3" fmla="*/ 17401 w 26457"/>
                    <a:gd name="connsiteY3" fmla="*/ 25811 h 26460"/>
                    <a:gd name="connsiteX4" fmla="*/ 711 w 2645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60">
                      <a:moveTo>
                        <a:pt x="711" y="17341"/>
                      </a:moveTo>
                      <a:cubicBezTo>
                        <a:pt x="-1656" y="10365"/>
                        <a:pt x="2081" y="2892"/>
                        <a:pt x="9056" y="650"/>
                      </a:cubicBezTo>
                      <a:cubicBezTo>
                        <a:pt x="16031" y="-1592"/>
                        <a:pt x="23505" y="2145"/>
                        <a:pt x="25747" y="9120"/>
                      </a:cubicBezTo>
                      <a:cubicBezTo>
                        <a:pt x="28113" y="16095"/>
                        <a:pt x="24377" y="23568"/>
                        <a:pt x="17401" y="25811"/>
                      </a:cubicBezTo>
                      <a:cubicBezTo>
                        <a:pt x="10551" y="28053"/>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8" name="Graphic 2987">
                <a:extLst>
                  <a:ext uri="{FF2B5EF4-FFF2-40B4-BE49-F238E27FC236}">
                    <a16:creationId xmlns:a16="http://schemas.microsoft.com/office/drawing/2014/main" id="{2EE6A528-702C-D857-EEC9-2AA1AA335AD1}"/>
                  </a:ext>
                </a:extLst>
              </p:cNvPr>
              <p:cNvGrpSpPr/>
              <p:nvPr/>
            </p:nvGrpSpPr>
            <p:grpSpPr>
              <a:xfrm>
                <a:off x="4759398" y="6102762"/>
                <a:ext cx="64872" cy="142786"/>
                <a:chOff x="4759398" y="6102762"/>
                <a:chExt cx="64872" cy="142786"/>
              </a:xfrm>
              <a:grpFill/>
            </p:grpSpPr>
            <p:sp>
              <p:nvSpPr>
                <p:cNvPr id="5231" name="Freeform 4174">
                  <a:extLst>
                    <a:ext uri="{FF2B5EF4-FFF2-40B4-BE49-F238E27FC236}">
                      <a16:creationId xmlns:a16="http://schemas.microsoft.com/office/drawing/2014/main" id="{29BDE299-C263-F71D-949D-2C23ABF8CC22}"/>
                    </a:ext>
                  </a:extLst>
                </p:cNvPr>
                <p:cNvSpPr/>
                <p:nvPr/>
              </p:nvSpPr>
              <p:spPr>
                <a:xfrm>
                  <a:off x="4771431" y="6123952"/>
                  <a:ext cx="15694" cy="49698"/>
                </a:xfrm>
                <a:custGeom>
                  <a:avLst/>
                  <a:gdLst>
                    <a:gd name="connsiteX0" fmla="*/ 0 w 15694"/>
                    <a:gd name="connsiteY0" fmla="*/ 0 h 49698"/>
                    <a:gd name="connsiteX1" fmla="*/ 3986 w 15694"/>
                    <a:gd name="connsiteY1" fmla="*/ 18310 h 49698"/>
                    <a:gd name="connsiteX2" fmla="*/ 12580 w 15694"/>
                    <a:gd name="connsiteY2" fmla="*/ 33506 h 49698"/>
                    <a:gd name="connsiteX3" fmla="*/ 15694 w 15694"/>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694" h="49698">
                      <a:moveTo>
                        <a:pt x="0" y="0"/>
                      </a:moveTo>
                      <a:cubicBezTo>
                        <a:pt x="124" y="8470"/>
                        <a:pt x="2117" y="14448"/>
                        <a:pt x="3986" y="18310"/>
                      </a:cubicBezTo>
                      <a:cubicBezTo>
                        <a:pt x="6975" y="24662"/>
                        <a:pt x="9840" y="26904"/>
                        <a:pt x="12580" y="33506"/>
                      </a:cubicBezTo>
                      <a:cubicBezTo>
                        <a:pt x="15196" y="39858"/>
                        <a:pt x="15694" y="45712"/>
                        <a:pt x="15694"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2" name="Freeform 4175">
                  <a:extLst>
                    <a:ext uri="{FF2B5EF4-FFF2-40B4-BE49-F238E27FC236}">
                      <a16:creationId xmlns:a16="http://schemas.microsoft.com/office/drawing/2014/main" id="{C2A13A94-5177-80B5-AA0A-4294E5896F02}"/>
                    </a:ext>
                  </a:extLst>
                </p:cNvPr>
                <p:cNvSpPr/>
                <p:nvPr/>
              </p:nvSpPr>
              <p:spPr>
                <a:xfrm>
                  <a:off x="4776537" y="6116977"/>
                  <a:ext cx="17064" cy="49324"/>
                </a:xfrm>
                <a:custGeom>
                  <a:avLst/>
                  <a:gdLst>
                    <a:gd name="connsiteX0" fmla="*/ 17064 w 17064"/>
                    <a:gd name="connsiteY0" fmla="*/ 49325 h 49324"/>
                    <a:gd name="connsiteX1" fmla="*/ 9342 w 17064"/>
                    <a:gd name="connsiteY1" fmla="*/ 32136 h 49324"/>
                    <a:gd name="connsiteX2" fmla="*/ 7224 w 17064"/>
                    <a:gd name="connsiteY2" fmla="*/ 14822 h 49324"/>
                    <a:gd name="connsiteX3" fmla="*/ 0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17064" y="49325"/>
                      </a:moveTo>
                      <a:cubicBezTo>
                        <a:pt x="12206" y="42474"/>
                        <a:pt x="10213" y="36495"/>
                        <a:pt x="9342" y="32136"/>
                      </a:cubicBezTo>
                      <a:cubicBezTo>
                        <a:pt x="7847" y="25285"/>
                        <a:pt x="8968" y="21673"/>
                        <a:pt x="7224"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3" name="Freeform 4176">
                  <a:extLst>
                    <a:ext uri="{FF2B5EF4-FFF2-40B4-BE49-F238E27FC236}">
                      <a16:creationId xmlns:a16="http://schemas.microsoft.com/office/drawing/2014/main" id="{7BD2E93F-FEF4-578E-9155-CC0396E3FE32}"/>
                    </a:ext>
                  </a:extLst>
                </p:cNvPr>
                <p:cNvSpPr/>
                <p:nvPr/>
              </p:nvSpPr>
              <p:spPr>
                <a:xfrm>
                  <a:off x="4759398" y="6102762"/>
                  <a:ext cx="26632" cy="26449"/>
                </a:xfrm>
                <a:custGeom>
                  <a:avLst/>
                  <a:gdLst>
                    <a:gd name="connsiteX0" fmla="*/ 25983 w 26632"/>
                    <a:gd name="connsiteY0" fmla="*/ 9109 h 26449"/>
                    <a:gd name="connsiteX1" fmla="*/ 17513 w 26632"/>
                    <a:gd name="connsiteY1" fmla="*/ 25799 h 26449"/>
                    <a:gd name="connsiteX2" fmla="*/ 698 w 26632"/>
                    <a:gd name="connsiteY2" fmla="*/ 17330 h 26449"/>
                    <a:gd name="connsiteX3" fmla="*/ 9167 w 26632"/>
                    <a:gd name="connsiteY3" fmla="*/ 638 h 26449"/>
                    <a:gd name="connsiteX4" fmla="*/ 25983 w 26632"/>
                    <a:gd name="connsiteY4" fmla="*/ 9109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49">
                      <a:moveTo>
                        <a:pt x="25983" y="9109"/>
                      </a:moveTo>
                      <a:cubicBezTo>
                        <a:pt x="28225" y="16084"/>
                        <a:pt x="24488" y="23557"/>
                        <a:pt x="17513" y="25799"/>
                      </a:cubicBezTo>
                      <a:cubicBezTo>
                        <a:pt x="10538" y="28041"/>
                        <a:pt x="2939" y="24305"/>
                        <a:pt x="698" y="17330"/>
                      </a:cubicBezTo>
                      <a:cubicBezTo>
                        <a:pt x="-1669" y="10354"/>
                        <a:pt x="2192" y="2881"/>
                        <a:pt x="9167" y="638"/>
                      </a:cubicBezTo>
                      <a:cubicBezTo>
                        <a:pt x="16143" y="-1603"/>
                        <a:pt x="23741" y="2258"/>
                        <a:pt x="25983" y="91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4" name="Freeform 4177">
                  <a:extLst>
                    <a:ext uri="{FF2B5EF4-FFF2-40B4-BE49-F238E27FC236}">
                      <a16:creationId xmlns:a16="http://schemas.microsoft.com/office/drawing/2014/main" id="{23C399F6-1012-EB06-39F6-207F3D7B46BE}"/>
                    </a:ext>
                  </a:extLst>
                </p:cNvPr>
                <p:cNvSpPr/>
                <p:nvPr/>
              </p:nvSpPr>
              <p:spPr>
                <a:xfrm>
                  <a:off x="4796591" y="6174772"/>
                  <a:ext cx="15694" cy="49698"/>
                </a:xfrm>
                <a:custGeom>
                  <a:avLst/>
                  <a:gdLst>
                    <a:gd name="connsiteX0" fmla="*/ 15694 w 15694"/>
                    <a:gd name="connsiteY0" fmla="*/ 49698 h 49698"/>
                    <a:gd name="connsiteX1" fmla="*/ 11708 w 15694"/>
                    <a:gd name="connsiteY1" fmla="*/ 31388 h 49698"/>
                    <a:gd name="connsiteX2" fmla="*/ 3114 w 15694"/>
                    <a:gd name="connsiteY2" fmla="*/ 16192 h 49698"/>
                    <a:gd name="connsiteX3" fmla="*/ 0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49698"/>
                      </a:moveTo>
                      <a:cubicBezTo>
                        <a:pt x="15570" y="41353"/>
                        <a:pt x="13452" y="35250"/>
                        <a:pt x="11708" y="31388"/>
                      </a:cubicBezTo>
                      <a:cubicBezTo>
                        <a:pt x="8843" y="25036"/>
                        <a:pt x="5854"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5" name="Freeform 4178">
                  <a:extLst>
                    <a:ext uri="{FF2B5EF4-FFF2-40B4-BE49-F238E27FC236}">
                      <a16:creationId xmlns:a16="http://schemas.microsoft.com/office/drawing/2014/main" id="{66921738-2EB2-3ECB-6C8A-054880E7EE92}"/>
                    </a:ext>
                  </a:extLst>
                </p:cNvPr>
                <p:cNvSpPr/>
                <p:nvPr/>
              </p:nvSpPr>
              <p:spPr>
                <a:xfrm>
                  <a:off x="4790238" y="6182121"/>
                  <a:ext cx="17064" cy="49324"/>
                </a:xfrm>
                <a:custGeom>
                  <a:avLst/>
                  <a:gdLst>
                    <a:gd name="connsiteX0" fmla="*/ 0 w 17064"/>
                    <a:gd name="connsiteY0" fmla="*/ 0 h 49324"/>
                    <a:gd name="connsiteX1" fmla="*/ 7723 w 17064"/>
                    <a:gd name="connsiteY1" fmla="*/ 17189 h 49324"/>
                    <a:gd name="connsiteX2" fmla="*/ 9840 w 17064"/>
                    <a:gd name="connsiteY2" fmla="*/ 34503 h 49324"/>
                    <a:gd name="connsiteX3" fmla="*/ 17065 w 17064"/>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064" h="49324">
                      <a:moveTo>
                        <a:pt x="0" y="0"/>
                      </a:moveTo>
                      <a:cubicBezTo>
                        <a:pt x="4858" y="6851"/>
                        <a:pt x="6851" y="12829"/>
                        <a:pt x="7723" y="17189"/>
                      </a:cubicBezTo>
                      <a:cubicBezTo>
                        <a:pt x="9218" y="24040"/>
                        <a:pt x="8097" y="27527"/>
                        <a:pt x="9840" y="34503"/>
                      </a:cubicBezTo>
                      <a:cubicBezTo>
                        <a:pt x="11584" y="41229"/>
                        <a:pt x="14698" y="46211"/>
                        <a:pt x="17065"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6" name="Freeform 4179">
                  <a:extLst>
                    <a:ext uri="{FF2B5EF4-FFF2-40B4-BE49-F238E27FC236}">
                      <a16:creationId xmlns:a16="http://schemas.microsoft.com/office/drawing/2014/main" id="{CF6B5E84-D0B5-2E76-35C8-A4DD88266E77}"/>
                    </a:ext>
                  </a:extLst>
                </p:cNvPr>
                <p:cNvSpPr/>
                <p:nvPr/>
              </p:nvSpPr>
              <p:spPr>
                <a:xfrm>
                  <a:off x="4797873" y="6219087"/>
                  <a:ext cx="26397" cy="26460"/>
                </a:xfrm>
                <a:custGeom>
                  <a:avLst/>
                  <a:gdLst>
                    <a:gd name="connsiteX0" fmla="*/ 711 w 26397"/>
                    <a:gd name="connsiteY0" fmla="*/ 17341 h 26460"/>
                    <a:gd name="connsiteX1" fmla="*/ 9056 w 26397"/>
                    <a:gd name="connsiteY1" fmla="*/ 650 h 26460"/>
                    <a:gd name="connsiteX2" fmla="*/ 25747 w 26397"/>
                    <a:gd name="connsiteY2" fmla="*/ 9120 h 26460"/>
                    <a:gd name="connsiteX3" fmla="*/ 17401 w 26397"/>
                    <a:gd name="connsiteY3" fmla="*/ 25811 h 26460"/>
                    <a:gd name="connsiteX4" fmla="*/ 711 w 2639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460">
                      <a:moveTo>
                        <a:pt x="711" y="17341"/>
                      </a:moveTo>
                      <a:cubicBezTo>
                        <a:pt x="-1656" y="10366"/>
                        <a:pt x="2081" y="2892"/>
                        <a:pt x="9056" y="650"/>
                      </a:cubicBezTo>
                      <a:cubicBezTo>
                        <a:pt x="16031" y="-1592"/>
                        <a:pt x="23380" y="2145"/>
                        <a:pt x="25747" y="9120"/>
                      </a:cubicBezTo>
                      <a:cubicBezTo>
                        <a:pt x="27989" y="16095"/>
                        <a:pt x="24252" y="23569"/>
                        <a:pt x="17401" y="25811"/>
                      </a:cubicBezTo>
                      <a:cubicBezTo>
                        <a:pt x="10551" y="28052"/>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9" name="Graphic 2987">
                <a:extLst>
                  <a:ext uri="{FF2B5EF4-FFF2-40B4-BE49-F238E27FC236}">
                    <a16:creationId xmlns:a16="http://schemas.microsoft.com/office/drawing/2014/main" id="{9CB8523A-9674-EFEF-1088-9D2F0EC69772}"/>
                  </a:ext>
                </a:extLst>
              </p:cNvPr>
              <p:cNvGrpSpPr/>
              <p:nvPr/>
            </p:nvGrpSpPr>
            <p:grpSpPr>
              <a:xfrm>
                <a:off x="4787597" y="6093533"/>
                <a:ext cx="64575" cy="142844"/>
                <a:chOff x="4787597" y="6093533"/>
                <a:chExt cx="64575" cy="142844"/>
              </a:xfrm>
              <a:grpFill/>
            </p:grpSpPr>
            <p:sp>
              <p:nvSpPr>
                <p:cNvPr id="5225" name="Freeform 4181">
                  <a:extLst>
                    <a:ext uri="{FF2B5EF4-FFF2-40B4-BE49-F238E27FC236}">
                      <a16:creationId xmlns:a16="http://schemas.microsoft.com/office/drawing/2014/main" id="{A79F95BA-283D-B60A-6F47-3FB1B726C2A6}"/>
                    </a:ext>
                  </a:extLst>
                </p:cNvPr>
                <p:cNvSpPr/>
                <p:nvPr/>
              </p:nvSpPr>
              <p:spPr>
                <a:xfrm>
                  <a:off x="4799705" y="6114611"/>
                  <a:ext cx="15587" cy="49823"/>
                </a:xfrm>
                <a:custGeom>
                  <a:avLst/>
                  <a:gdLst>
                    <a:gd name="connsiteX0" fmla="*/ 0 w 15587"/>
                    <a:gd name="connsiteY0" fmla="*/ 0 h 49823"/>
                    <a:gd name="connsiteX1" fmla="*/ 3986 w 15587"/>
                    <a:gd name="connsiteY1" fmla="*/ 18434 h 49823"/>
                    <a:gd name="connsiteX2" fmla="*/ 12580 w 15587"/>
                    <a:gd name="connsiteY2" fmla="*/ 33630 h 49823"/>
                    <a:gd name="connsiteX3" fmla="*/ 15570 w 15587"/>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87" h="49823">
                      <a:moveTo>
                        <a:pt x="0" y="0"/>
                      </a:moveTo>
                      <a:cubicBezTo>
                        <a:pt x="125" y="8470"/>
                        <a:pt x="2118" y="14448"/>
                        <a:pt x="3986" y="18434"/>
                      </a:cubicBezTo>
                      <a:cubicBezTo>
                        <a:pt x="6851" y="24787"/>
                        <a:pt x="9840" y="27029"/>
                        <a:pt x="12580" y="33630"/>
                      </a:cubicBezTo>
                      <a:cubicBezTo>
                        <a:pt x="15196" y="39983"/>
                        <a:pt x="15694" y="45962"/>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6" name="Freeform 4182">
                  <a:extLst>
                    <a:ext uri="{FF2B5EF4-FFF2-40B4-BE49-F238E27FC236}">
                      <a16:creationId xmlns:a16="http://schemas.microsoft.com/office/drawing/2014/main" id="{C6FB57CD-AD08-3201-6C20-5DD200889CC2}"/>
                    </a:ext>
                  </a:extLst>
                </p:cNvPr>
                <p:cNvSpPr/>
                <p:nvPr/>
              </p:nvSpPr>
              <p:spPr>
                <a:xfrm>
                  <a:off x="4804937" y="6107760"/>
                  <a:ext cx="16814" cy="49324"/>
                </a:xfrm>
                <a:custGeom>
                  <a:avLst/>
                  <a:gdLst>
                    <a:gd name="connsiteX0" fmla="*/ 16815 w 16814"/>
                    <a:gd name="connsiteY0" fmla="*/ 49325 h 49324"/>
                    <a:gd name="connsiteX1" fmla="*/ 9092 w 16814"/>
                    <a:gd name="connsiteY1" fmla="*/ 32136 h 49324"/>
                    <a:gd name="connsiteX2" fmla="*/ 7099 w 16814"/>
                    <a:gd name="connsiteY2" fmla="*/ 14822 h 49324"/>
                    <a:gd name="connsiteX3" fmla="*/ 0 w 16814"/>
                    <a:gd name="connsiteY3" fmla="*/ 0 h 49324"/>
                  </a:gdLst>
                  <a:ahLst/>
                  <a:cxnLst>
                    <a:cxn ang="0">
                      <a:pos x="connsiteX0" y="connsiteY0"/>
                    </a:cxn>
                    <a:cxn ang="0">
                      <a:pos x="connsiteX1" y="connsiteY1"/>
                    </a:cxn>
                    <a:cxn ang="0">
                      <a:pos x="connsiteX2" y="connsiteY2"/>
                    </a:cxn>
                    <a:cxn ang="0">
                      <a:pos x="connsiteX3" y="connsiteY3"/>
                    </a:cxn>
                  </a:cxnLst>
                  <a:rect l="l" t="t" r="r" b="b"/>
                  <a:pathLst>
                    <a:path w="16814" h="49324">
                      <a:moveTo>
                        <a:pt x="16815" y="49325"/>
                      </a:moveTo>
                      <a:cubicBezTo>
                        <a:pt x="11957" y="42474"/>
                        <a:pt x="9964" y="36371"/>
                        <a:pt x="9092" y="32136"/>
                      </a:cubicBezTo>
                      <a:cubicBezTo>
                        <a:pt x="7723" y="25285"/>
                        <a:pt x="8719" y="21673"/>
                        <a:pt x="7099"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7" name="Freeform 4183">
                  <a:extLst>
                    <a:ext uri="{FF2B5EF4-FFF2-40B4-BE49-F238E27FC236}">
                      <a16:creationId xmlns:a16="http://schemas.microsoft.com/office/drawing/2014/main" id="{975163F4-31D5-D130-F661-CF7880C65369}"/>
                    </a:ext>
                  </a:extLst>
                </p:cNvPr>
                <p:cNvSpPr/>
                <p:nvPr/>
              </p:nvSpPr>
              <p:spPr>
                <a:xfrm>
                  <a:off x="4787597" y="6093533"/>
                  <a:ext cx="26696" cy="26460"/>
                </a:xfrm>
                <a:custGeom>
                  <a:avLst/>
                  <a:gdLst>
                    <a:gd name="connsiteX0" fmla="*/ 26059 w 26696"/>
                    <a:gd name="connsiteY0" fmla="*/ 9120 h 26460"/>
                    <a:gd name="connsiteX1" fmla="*/ 17464 w 26696"/>
                    <a:gd name="connsiteY1" fmla="*/ 25810 h 26460"/>
                    <a:gd name="connsiteX2" fmla="*/ 649 w 26696"/>
                    <a:gd name="connsiteY2" fmla="*/ 17341 h 26460"/>
                    <a:gd name="connsiteX3" fmla="*/ 9243 w 26696"/>
                    <a:gd name="connsiteY3" fmla="*/ 650 h 26460"/>
                    <a:gd name="connsiteX4" fmla="*/ 26059 w 26696"/>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6" h="26460">
                      <a:moveTo>
                        <a:pt x="26059" y="9120"/>
                      </a:moveTo>
                      <a:cubicBezTo>
                        <a:pt x="28301" y="16095"/>
                        <a:pt x="24439" y="23568"/>
                        <a:pt x="17464" y="25810"/>
                      </a:cubicBezTo>
                      <a:cubicBezTo>
                        <a:pt x="10489" y="28053"/>
                        <a:pt x="3015" y="24316"/>
                        <a:pt x="649" y="17341"/>
                      </a:cubicBezTo>
                      <a:cubicBezTo>
                        <a:pt x="-1593" y="10365"/>
                        <a:pt x="2144" y="2892"/>
                        <a:pt x="9243" y="650"/>
                      </a:cubicBezTo>
                      <a:cubicBezTo>
                        <a:pt x="16343" y="-1592"/>
                        <a:pt x="23817" y="2145"/>
                        <a:pt x="26059"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8" name="Freeform 4184">
                  <a:extLst>
                    <a:ext uri="{FF2B5EF4-FFF2-40B4-BE49-F238E27FC236}">
                      <a16:creationId xmlns:a16="http://schemas.microsoft.com/office/drawing/2014/main" id="{5D4F5A3C-5806-F929-884B-11BD95AE57E9}"/>
                    </a:ext>
                  </a:extLst>
                </p:cNvPr>
                <p:cNvSpPr/>
                <p:nvPr/>
              </p:nvSpPr>
              <p:spPr>
                <a:xfrm>
                  <a:off x="4824724" y="6165430"/>
                  <a:ext cx="15587" cy="49823"/>
                </a:xfrm>
                <a:custGeom>
                  <a:avLst/>
                  <a:gdLst>
                    <a:gd name="connsiteX0" fmla="*/ 15587 w 15587"/>
                    <a:gd name="connsiteY0" fmla="*/ 49823 h 49823"/>
                    <a:gd name="connsiteX1" fmla="*/ 11601 w 15587"/>
                    <a:gd name="connsiteY1" fmla="*/ 31388 h 49823"/>
                    <a:gd name="connsiteX2" fmla="*/ 3007 w 15587"/>
                    <a:gd name="connsiteY2" fmla="*/ 16192 h 49823"/>
                    <a:gd name="connsiteX3" fmla="*/ 17 w 15587"/>
                    <a:gd name="connsiteY3" fmla="*/ 0 h 49823"/>
                  </a:gdLst>
                  <a:ahLst/>
                  <a:cxnLst>
                    <a:cxn ang="0">
                      <a:pos x="connsiteX0" y="connsiteY0"/>
                    </a:cxn>
                    <a:cxn ang="0">
                      <a:pos x="connsiteX1" y="connsiteY1"/>
                    </a:cxn>
                    <a:cxn ang="0">
                      <a:pos x="connsiteX2" y="connsiteY2"/>
                    </a:cxn>
                    <a:cxn ang="0">
                      <a:pos x="connsiteX3" y="connsiteY3"/>
                    </a:cxn>
                  </a:cxnLst>
                  <a:rect l="l" t="t" r="r" b="b"/>
                  <a:pathLst>
                    <a:path w="15587" h="49823">
                      <a:moveTo>
                        <a:pt x="15587" y="49823"/>
                      </a:moveTo>
                      <a:cubicBezTo>
                        <a:pt x="15462" y="41353"/>
                        <a:pt x="13469" y="35374"/>
                        <a:pt x="11601" y="31388"/>
                      </a:cubicBezTo>
                      <a:cubicBezTo>
                        <a:pt x="8736" y="25036"/>
                        <a:pt x="5747" y="22794"/>
                        <a:pt x="3007" y="16192"/>
                      </a:cubicBezTo>
                      <a:cubicBezTo>
                        <a:pt x="391" y="9840"/>
                        <a:pt x="-107" y="3861"/>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9" name="Freeform 4185">
                  <a:extLst>
                    <a:ext uri="{FF2B5EF4-FFF2-40B4-BE49-F238E27FC236}">
                      <a16:creationId xmlns:a16="http://schemas.microsoft.com/office/drawing/2014/main" id="{E81F61D3-AFE8-6CC3-1E72-82A3DF84038A}"/>
                    </a:ext>
                  </a:extLst>
                </p:cNvPr>
                <p:cNvSpPr/>
                <p:nvPr/>
              </p:nvSpPr>
              <p:spPr>
                <a:xfrm>
                  <a:off x="4818389" y="6172903"/>
                  <a:ext cx="16940" cy="49324"/>
                </a:xfrm>
                <a:custGeom>
                  <a:avLst/>
                  <a:gdLst>
                    <a:gd name="connsiteX0" fmla="*/ 0 w 16940"/>
                    <a:gd name="connsiteY0" fmla="*/ 0 h 49324"/>
                    <a:gd name="connsiteX1" fmla="*/ 7723 w 16940"/>
                    <a:gd name="connsiteY1" fmla="*/ 17189 h 49324"/>
                    <a:gd name="connsiteX2" fmla="*/ 9840 w 16940"/>
                    <a:gd name="connsiteY2" fmla="*/ 34502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4858" y="6851"/>
                        <a:pt x="6851" y="12954"/>
                        <a:pt x="7723" y="17189"/>
                      </a:cubicBezTo>
                      <a:cubicBezTo>
                        <a:pt x="9093" y="24040"/>
                        <a:pt x="8096" y="27652"/>
                        <a:pt x="9840" y="34502"/>
                      </a:cubicBezTo>
                      <a:cubicBezTo>
                        <a:pt x="11459" y="41229"/>
                        <a:pt x="14573" y="46211"/>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0" name="Freeform 4186">
                  <a:extLst>
                    <a:ext uri="{FF2B5EF4-FFF2-40B4-BE49-F238E27FC236}">
                      <a16:creationId xmlns:a16="http://schemas.microsoft.com/office/drawing/2014/main" id="{9F79A173-A0F5-40D8-B6F7-EE9CA9609844}"/>
                    </a:ext>
                  </a:extLst>
                </p:cNvPr>
                <p:cNvSpPr/>
                <p:nvPr/>
              </p:nvSpPr>
              <p:spPr>
                <a:xfrm>
                  <a:off x="4825959" y="6209870"/>
                  <a:ext cx="26213" cy="26508"/>
                </a:xfrm>
                <a:custGeom>
                  <a:avLst/>
                  <a:gdLst>
                    <a:gd name="connsiteX0" fmla="*/ 651 w 26213"/>
                    <a:gd name="connsiteY0" fmla="*/ 17341 h 26508"/>
                    <a:gd name="connsiteX1" fmla="*/ 8996 w 26213"/>
                    <a:gd name="connsiteY1" fmla="*/ 650 h 26508"/>
                    <a:gd name="connsiteX2" fmla="*/ 25562 w 26213"/>
                    <a:gd name="connsiteY2" fmla="*/ 9120 h 26508"/>
                    <a:gd name="connsiteX3" fmla="*/ 17217 w 26213"/>
                    <a:gd name="connsiteY3" fmla="*/ 25811 h 26508"/>
                    <a:gd name="connsiteX4" fmla="*/ 651 w 26213"/>
                    <a:gd name="connsiteY4" fmla="*/ 17341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08">
                      <a:moveTo>
                        <a:pt x="651" y="17341"/>
                      </a:moveTo>
                      <a:cubicBezTo>
                        <a:pt x="-1591" y="10365"/>
                        <a:pt x="2145" y="2892"/>
                        <a:pt x="8996" y="650"/>
                      </a:cubicBezTo>
                      <a:cubicBezTo>
                        <a:pt x="15972" y="-1592"/>
                        <a:pt x="23320" y="2145"/>
                        <a:pt x="25562" y="9120"/>
                      </a:cubicBezTo>
                      <a:cubicBezTo>
                        <a:pt x="27804" y="16095"/>
                        <a:pt x="24068" y="23568"/>
                        <a:pt x="17217" y="25811"/>
                      </a:cubicBezTo>
                      <a:cubicBezTo>
                        <a:pt x="10366" y="28177"/>
                        <a:pt x="2893" y="24316"/>
                        <a:pt x="65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0" name="Graphic 2987">
                <a:extLst>
                  <a:ext uri="{FF2B5EF4-FFF2-40B4-BE49-F238E27FC236}">
                    <a16:creationId xmlns:a16="http://schemas.microsoft.com/office/drawing/2014/main" id="{FBA39D38-3567-B2B0-58EB-212DEE483946}"/>
                  </a:ext>
                </a:extLst>
              </p:cNvPr>
              <p:cNvGrpSpPr/>
              <p:nvPr/>
            </p:nvGrpSpPr>
            <p:grpSpPr>
              <a:xfrm>
                <a:off x="4816007" y="6084203"/>
                <a:ext cx="64189" cy="143035"/>
                <a:chOff x="4816007" y="6084203"/>
                <a:chExt cx="64189" cy="143035"/>
              </a:xfrm>
              <a:grpFill/>
            </p:grpSpPr>
            <p:sp>
              <p:nvSpPr>
                <p:cNvPr id="5219" name="Freeform 4188">
                  <a:extLst>
                    <a:ext uri="{FF2B5EF4-FFF2-40B4-BE49-F238E27FC236}">
                      <a16:creationId xmlns:a16="http://schemas.microsoft.com/office/drawing/2014/main" id="{A257B3AB-086F-F708-7878-D49C63458DEF}"/>
                    </a:ext>
                  </a:extLst>
                </p:cNvPr>
                <p:cNvSpPr/>
                <p:nvPr/>
              </p:nvSpPr>
              <p:spPr>
                <a:xfrm>
                  <a:off x="4827979" y="6105393"/>
                  <a:ext cx="15320" cy="49823"/>
                </a:xfrm>
                <a:custGeom>
                  <a:avLst/>
                  <a:gdLst>
                    <a:gd name="connsiteX0" fmla="*/ 0 w 15320"/>
                    <a:gd name="connsiteY0" fmla="*/ 0 h 49823"/>
                    <a:gd name="connsiteX1" fmla="*/ 3862 w 15320"/>
                    <a:gd name="connsiteY1" fmla="*/ 18435 h 49823"/>
                    <a:gd name="connsiteX2" fmla="*/ 12331 w 15320"/>
                    <a:gd name="connsiteY2" fmla="*/ 33631 h 49823"/>
                    <a:gd name="connsiteX3" fmla="*/ 15321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5" y="8470"/>
                        <a:pt x="2118" y="14449"/>
                        <a:pt x="3862" y="18435"/>
                      </a:cubicBezTo>
                      <a:cubicBezTo>
                        <a:pt x="6726" y="24787"/>
                        <a:pt x="9716" y="27029"/>
                        <a:pt x="12331" y="33631"/>
                      </a:cubicBezTo>
                      <a:cubicBezTo>
                        <a:pt x="14947" y="39983"/>
                        <a:pt x="15321" y="45962"/>
                        <a:pt x="1532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0" name="Freeform 4189">
                  <a:extLst>
                    <a:ext uri="{FF2B5EF4-FFF2-40B4-BE49-F238E27FC236}">
                      <a16:creationId xmlns:a16="http://schemas.microsoft.com/office/drawing/2014/main" id="{3E8594E6-39C7-8933-9F01-E426263400CE}"/>
                    </a:ext>
                  </a:extLst>
                </p:cNvPr>
                <p:cNvSpPr/>
                <p:nvPr/>
              </p:nvSpPr>
              <p:spPr>
                <a:xfrm>
                  <a:off x="4833211" y="6098418"/>
                  <a:ext cx="16690" cy="49449"/>
                </a:xfrm>
                <a:custGeom>
                  <a:avLst/>
                  <a:gdLst>
                    <a:gd name="connsiteX0" fmla="*/ 16691 w 16690"/>
                    <a:gd name="connsiteY0" fmla="*/ 49449 h 49449"/>
                    <a:gd name="connsiteX1" fmla="*/ 9093 w 16690"/>
                    <a:gd name="connsiteY1" fmla="*/ 32260 h 49449"/>
                    <a:gd name="connsiteX2" fmla="*/ 7100 w 16690"/>
                    <a:gd name="connsiteY2" fmla="*/ 14947 h 49449"/>
                    <a:gd name="connsiteX3" fmla="*/ 0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49449"/>
                      </a:moveTo>
                      <a:cubicBezTo>
                        <a:pt x="11833" y="42599"/>
                        <a:pt x="9964" y="36495"/>
                        <a:pt x="9093" y="32260"/>
                      </a:cubicBezTo>
                      <a:cubicBezTo>
                        <a:pt x="7723" y="25410"/>
                        <a:pt x="8843" y="21798"/>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1" name="Freeform 4190">
                  <a:extLst>
                    <a:ext uri="{FF2B5EF4-FFF2-40B4-BE49-F238E27FC236}">
                      <a16:creationId xmlns:a16="http://schemas.microsoft.com/office/drawing/2014/main" id="{7BEFD9BB-2EF7-7300-0A44-ADBB983E09FC}"/>
                    </a:ext>
                  </a:extLst>
                </p:cNvPr>
                <p:cNvSpPr/>
                <p:nvPr/>
              </p:nvSpPr>
              <p:spPr>
                <a:xfrm>
                  <a:off x="4816007" y="6084203"/>
                  <a:ext cx="26560" cy="26573"/>
                </a:xfrm>
                <a:custGeom>
                  <a:avLst/>
                  <a:gdLst>
                    <a:gd name="connsiteX0" fmla="*/ 25923 w 26560"/>
                    <a:gd name="connsiteY0" fmla="*/ 9108 h 26573"/>
                    <a:gd name="connsiteX1" fmla="*/ 17328 w 26560"/>
                    <a:gd name="connsiteY1" fmla="*/ 25924 h 26573"/>
                    <a:gd name="connsiteX2" fmla="*/ 638 w 26560"/>
                    <a:gd name="connsiteY2" fmla="*/ 17454 h 26573"/>
                    <a:gd name="connsiteX3" fmla="*/ 9232 w 26560"/>
                    <a:gd name="connsiteY3" fmla="*/ 638 h 26573"/>
                    <a:gd name="connsiteX4" fmla="*/ 25923 w 26560"/>
                    <a:gd name="connsiteY4" fmla="*/ 9108 h 26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0" h="26573">
                      <a:moveTo>
                        <a:pt x="25923" y="9108"/>
                      </a:moveTo>
                      <a:cubicBezTo>
                        <a:pt x="28165" y="16083"/>
                        <a:pt x="24304" y="23557"/>
                        <a:pt x="17328" y="25924"/>
                      </a:cubicBezTo>
                      <a:cubicBezTo>
                        <a:pt x="10353" y="28166"/>
                        <a:pt x="2880" y="24429"/>
                        <a:pt x="638" y="17454"/>
                      </a:cubicBezTo>
                      <a:cubicBezTo>
                        <a:pt x="-1605" y="10479"/>
                        <a:pt x="2257" y="3005"/>
                        <a:pt x="9232" y="638"/>
                      </a:cubicBezTo>
                      <a:cubicBezTo>
                        <a:pt x="16207" y="-1603"/>
                        <a:pt x="23805" y="2258"/>
                        <a:pt x="25923" y="91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2" name="Freeform 4191">
                  <a:extLst>
                    <a:ext uri="{FF2B5EF4-FFF2-40B4-BE49-F238E27FC236}">
                      <a16:creationId xmlns:a16="http://schemas.microsoft.com/office/drawing/2014/main" id="{9D0F6EF1-BC8F-EFC1-55C7-2DCBC93CA9B3}"/>
                    </a:ext>
                  </a:extLst>
                </p:cNvPr>
                <p:cNvSpPr/>
                <p:nvPr/>
              </p:nvSpPr>
              <p:spPr>
                <a:xfrm>
                  <a:off x="4852891" y="6156337"/>
                  <a:ext cx="15320" cy="49823"/>
                </a:xfrm>
                <a:custGeom>
                  <a:avLst/>
                  <a:gdLst>
                    <a:gd name="connsiteX0" fmla="*/ 15321 w 15320"/>
                    <a:gd name="connsiteY0" fmla="*/ 49823 h 49823"/>
                    <a:gd name="connsiteX1" fmla="*/ 11459 w 15320"/>
                    <a:gd name="connsiteY1" fmla="*/ 31389 h 49823"/>
                    <a:gd name="connsiteX2" fmla="*/ 2990 w 15320"/>
                    <a:gd name="connsiteY2" fmla="*/ 16193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5196" y="41353"/>
                        <a:pt x="13203" y="35375"/>
                        <a:pt x="11459" y="31389"/>
                      </a:cubicBezTo>
                      <a:cubicBezTo>
                        <a:pt x="8595" y="25036"/>
                        <a:pt x="5605" y="22794"/>
                        <a:pt x="2990" y="16193"/>
                      </a:cubicBezTo>
                      <a:cubicBezTo>
                        <a:pt x="374"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3" name="Freeform 4192">
                  <a:extLst>
                    <a:ext uri="{FF2B5EF4-FFF2-40B4-BE49-F238E27FC236}">
                      <a16:creationId xmlns:a16="http://schemas.microsoft.com/office/drawing/2014/main" id="{305402B7-4FC7-025C-30DE-37385ADC9B9A}"/>
                    </a:ext>
                  </a:extLst>
                </p:cNvPr>
                <p:cNvSpPr/>
                <p:nvPr/>
              </p:nvSpPr>
              <p:spPr>
                <a:xfrm>
                  <a:off x="4846414" y="6163686"/>
                  <a:ext cx="16690" cy="49449"/>
                </a:xfrm>
                <a:custGeom>
                  <a:avLst/>
                  <a:gdLst>
                    <a:gd name="connsiteX0" fmla="*/ 0 w 16690"/>
                    <a:gd name="connsiteY0" fmla="*/ 0 h 49449"/>
                    <a:gd name="connsiteX1" fmla="*/ 7598 w 16690"/>
                    <a:gd name="connsiteY1" fmla="*/ 17189 h 49449"/>
                    <a:gd name="connsiteX2" fmla="*/ 9591 w 16690"/>
                    <a:gd name="connsiteY2" fmla="*/ 34502 h 49449"/>
                    <a:gd name="connsiteX3" fmla="*/ 16691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0" y="0"/>
                      </a:moveTo>
                      <a:cubicBezTo>
                        <a:pt x="4858" y="6851"/>
                        <a:pt x="6726" y="12954"/>
                        <a:pt x="7598" y="17189"/>
                      </a:cubicBezTo>
                      <a:cubicBezTo>
                        <a:pt x="8968" y="24040"/>
                        <a:pt x="7972" y="27651"/>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4" name="Freeform 4193">
                  <a:extLst>
                    <a:ext uri="{FF2B5EF4-FFF2-40B4-BE49-F238E27FC236}">
                      <a16:creationId xmlns:a16="http://schemas.microsoft.com/office/drawing/2014/main" id="{57EDD008-922F-B143-2601-AA29D7F5D17A}"/>
                    </a:ext>
                  </a:extLst>
                </p:cNvPr>
                <p:cNvSpPr/>
                <p:nvPr/>
              </p:nvSpPr>
              <p:spPr>
                <a:xfrm>
                  <a:off x="4853860" y="6200777"/>
                  <a:ext cx="26335" cy="26460"/>
                </a:xfrm>
                <a:custGeom>
                  <a:avLst/>
                  <a:gdLst>
                    <a:gd name="connsiteX0" fmla="*/ 650 w 26335"/>
                    <a:gd name="connsiteY0" fmla="*/ 17341 h 26460"/>
                    <a:gd name="connsiteX1" fmla="*/ 9120 w 26335"/>
                    <a:gd name="connsiteY1" fmla="*/ 650 h 26460"/>
                    <a:gd name="connsiteX2" fmla="*/ 25686 w 26335"/>
                    <a:gd name="connsiteY2" fmla="*/ 9120 h 26460"/>
                    <a:gd name="connsiteX3" fmla="*/ 17216 w 26335"/>
                    <a:gd name="connsiteY3" fmla="*/ 25811 h 26460"/>
                    <a:gd name="connsiteX4" fmla="*/ 650 w 26335"/>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460">
                      <a:moveTo>
                        <a:pt x="650" y="17341"/>
                      </a:moveTo>
                      <a:cubicBezTo>
                        <a:pt x="-1592" y="10366"/>
                        <a:pt x="2145" y="2892"/>
                        <a:pt x="9120" y="650"/>
                      </a:cubicBezTo>
                      <a:cubicBezTo>
                        <a:pt x="16095" y="-1592"/>
                        <a:pt x="23444" y="2145"/>
                        <a:pt x="25686" y="9120"/>
                      </a:cubicBezTo>
                      <a:cubicBezTo>
                        <a:pt x="27928" y="16095"/>
                        <a:pt x="24191" y="23569"/>
                        <a:pt x="17216" y="25811"/>
                      </a:cubicBezTo>
                      <a:cubicBezTo>
                        <a:pt x="10241" y="28052"/>
                        <a:pt x="2892" y="24316"/>
                        <a:pt x="650"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1" name="Graphic 2987">
                <a:extLst>
                  <a:ext uri="{FF2B5EF4-FFF2-40B4-BE49-F238E27FC236}">
                    <a16:creationId xmlns:a16="http://schemas.microsoft.com/office/drawing/2014/main" id="{9395A1DE-3221-70C2-C2A3-547C94DBCE1A}"/>
                  </a:ext>
                </a:extLst>
              </p:cNvPr>
              <p:cNvGrpSpPr/>
              <p:nvPr/>
            </p:nvGrpSpPr>
            <p:grpSpPr>
              <a:xfrm>
                <a:off x="4844282" y="6074920"/>
                <a:ext cx="63803" cy="143212"/>
                <a:chOff x="4844282" y="6074920"/>
                <a:chExt cx="63803" cy="143212"/>
              </a:xfrm>
              <a:grpFill/>
            </p:grpSpPr>
            <p:sp>
              <p:nvSpPr>
                <p:cNvPr id="5213" name="Freeform 4195">
                  <a:extLst>
                    <a:ext uri="{FF2B5EF4-FFF2-40B4-BE49-F238E27FC236}">
                      <a16:creationId xmlns:a16="http://schemas.microsoft.com/office/drawing/2014/main" id="{9F91234E-019A-D5ED-1755-AA67917881BA}"/>
                    </a:ext>
                  </a:extLst>
                </p:cNvPr>
                <p:cNvSpPr/>
                <p:nvPr/>
              </p:nvSpPr>
              <p:spPr>
                <a:xfrm>
                  <a:off x="4856379" y="6096176"/>
                  <a:ext cx="15320" cy="49947"/>
                </a:xfrm>
                <a:custGeom>
                  <a:avLst/>
                  <a:gdLst>
                    <a:gd name="connsiteX0" fmla="*/ 0 w 15320"/>
                    <a:gd name="connsiteY0" fmla="*/ 0 h 49947"/>
                    <a:gd name="connsiteX1" fmla="*/ 3861 w 15320"/>
                    <a:gd name="connsiteY1" fmla="*/ 18435 h 49947"/>
                    <a:gd name="connsiteX2" fmla="*/ 12331 w 15320"/>
                    <a:gd name="connsiteY2" fmla="*/ 33631 h 49947"/>
                    <a:gd name="connsiteX3" fmla="*/ 1532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0" y="0"/>
                      </a:moveTo>
                      <a:cubicBezTo>
                        <a:pt x="124" y="8470"/>
                        <a:pt x="1993" y="14449"/>
                        <a:pt x="3861" y="18435"/>
                      </a:cubicBezTo>
                      <a:cubicBezTo>
                        <a:pt x="6726" y="24787"/>
                        <a:pt x="9715" y="27029"/>
                        <a:pt x="12331" y="33631"/>
                      </a:cubicBezTo>
                      <a:cubicBezTo>
                        <a:pt x="14947" y="39983"/>
                        <a:pt x="15320" y="45962"/>
                        <a:pt x="1532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4" name="Freeform 4196">
                  <a:extLst>
                    <a:ext uri="{FF2B5EF4-FFF2-40B4-BE49-F238E27FC236}">
                      <a16:creationId xmlns:a16="http://schemas.microsoft.com/office/drawing/2014/main" id="{A191FD79-EACE-9A8C-22A0-E8DBCE0D8D4B}"/>
                    </a:ext>
                  </a:extLst>
                </p:cNvPr>
                <p:cNvSpPr/>
                <p:nvPr/>
              </p:nvSpPr>
              <p:spPr>
                <a:xfrm>
                  <a:off x="4861485" y="6089201"/>
                  <a:ext cx="16566" cy="49449"/>
                </a:xfrm>
                <a:custGeom>
                  <a:avLst/>
                  <a:gdLst>
                    <a:gd name="connsiteX0" fmla="*/ 16566 w 16566"/>
                    <a:gd name="connsiteY0" fmla="*/ 49449 h 49449"/>
                    <a:gd name="connsiteX1" fmla="*/ 8968 w 16566"/>
                    <a:gd name="connsiteY1" fmla="*/ 32260 h 49449"/>
                    <a:gd name="connsiteX2" fmla="*/ 7100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0" y="36495"/>
                        <a:pt x="8968" y="32260"/>
                      </a:cubicBezTo>
                      <a:cubicBezTo>
                        <a:pt x="7598" y="25410"/>
                        <a:pt x="8719"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5" name="Freeform 4197">
                  <a:extLst>
                    <a:ext uri="{FF2B5EF4-FFF2-40B4-BE49-F238E27FC236}">
                      <a16:creationId xmlns:a16="http://schemas.microsoft.com/office/drawing/2014/main" id="{5B546008-56E4-B475-3254-E27766551C9D}"/>
                    </a:ext>
                  </a:extLst>
                </p:cNvPr>
                <p:cNvSpPr/>
                <p:nvPr/>
              </p:nvSpPr>
              <p:spPr>
                <a:xfrm>
                  <a:off x="4844282" y="6074920"/>
                  <a:ext cx="26684" cy="26514"/>
                </a:xfrm>
                <a:custGeom>
                  <a:avLst/>
                  <a:gdLst>
                    <a:gd name="connsiteX0" fmla="*/ 26047 w 26684"/>
                    <a:gd name="connsiteY0" fmla="*/ 9299 h 26514"/>
                    <a:gd name="connsiteX1" fmla="*/ 17328 w 26684"/>
                    <a:gd name="connsiteY1" fmla="*/ 25865 h 26514"/>
                    <a:gd name="connsiteX2" fmla="*/ 638 w 26684"/>
                    <a:gd name="connsiteY2" fmla="*/ 17395 h 26514"/>
                    <a:gd name="connsiteX3" fmla="*/ 9232 w 26684"/>
                    <a:gd name="connsiteY3" fmla="*/ 579 h 26514"/>
                    <a:gd name="connsiteX4" fmla="*/ 26047 w 26684"/>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 h="26513">
                      <a:moveTo>
                        <a:pt x="26047" y="9299"/>
                      </a:moveTo>
                      <a:cubicBezTo>
                        <a:pt x="28289" y="16274"/>
                        <a:pt x="24428" y="23623"/>
                        <a:pt x="17328" y="25865"/>
                      </a:cubicBezTo>
                      <a:cubicBezTo>
                        <a:pt x="10353" y="28107"/>
                        <a:pt x="2880" y="24370"/>
                        <a:pt x="638" y="17395"/>
                      </a:cubicBezTo>
                      <a:cubicBezTo>
                        <a:pt x="-1604" y="10420"/>
                        <a:pt x="2257" y="2946"/>
                        <a:pt x="9232" y="579"/>
                      </a:cubicBezTo>
                      <a:cubicBezTo>
                        <a:pt x="16332" y="-1538"/>
                        <a:pt x="23805" y="2323"/>
                        <a:pt x="26047"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6" name="Freeform 4198">
                  <a:extLst>
                    <a:ext uri="{FF2B5EF4-FFF2-40B4-BE49-F238E27FC236}">
                      <a16:creationId xmlns:a16="http://schemas.microsoft.com/office/drawing/2014/main" id="{FE4BD0E5-8F3D-E405-87A3-8F3A54D34357}"/>
                    </a:ext>
                  </a:extLst>
                </p:cNvPr>
                <p:cNvSpPr/>
                <p:nvPr/>
              </p:nvSpPr>
              <p:spPr>
                <a:xfrm>
                  <a:off x="4881020" y="6146995"/>
                  <a:ext cx="15216" cy="49947"/>
                </a:xfrm>
                <a:custGeom>
                  <a:avLst/>
                  <a:gdLst>
                    <a:gd name="connsiteX0" fmla="*/ 15217 w 15216"/>
                    <a:gd name="connsiteY0" fmla="*/ 49948 h 49947"/>
                    <a:gd name="connsiteX1" fmla="*/ 11356 w 15216"/>
                    <a:gd name="connsiteY1" fmla="*/ 31513 h 49947"/>
                    <a:gd name="connsiteX2" fmla="*/ 2886 w 15216"/>
                    <a:gd name="connsiteY2" fmla="*/ 16193 h 49947"/>
                    <a:gd name="connsiteX3" fmla="*/ 21 w 15216"/>
                    <a:gd name="connsiteY3" fmla="*/ 0 h 49947"/>
                  </a:gdLst>
                  <a:ahLst/>
                  <a:cxnLst>
                    <a:cxn ang="0">
                      <a:pos x="connsiteX0" y="connsiteY0"/>
                    </a:cxn>
                    <a:cxn ang="0">
                      <a:pos x="connsiteX1" y="connsiteY1"/>
                    </a:cxn>
                    <a:cxn ang="0">
                      <a:pos x="connsiteX2" y="connsiteY2"/>
                    </a:cxn>
                    <a:cxn ang="0">
                      <a:pos x="connsiteX3" y="connsiteY3"/>
                    </a:cxn>
                  </a:cxnLst>
                  <a:rect l="l" t="t" r="r" b="b"/>
                  <a:pathLst>
                    <a:path w="15216" h="49947">
                      <a:moveTo>
                        <a:pt x="15217" y="49948"/>
                      </a:moveTo>
                      <a:cubicBezTo>
                        <a:pt x="15092" y="41603"/>
                        <a:pt x="13224" y="35499"/>
                        <a:pt x="11356" y="31513"/>
                      </a:cubicBezTo>
                      <a:cubicBezTo>
                        <a:pt x="8491" y="25161"/>
                        <a:pt x="5501" y="22794"/>
                        <a:pt x="2886" y="16193"/>
                      </a:cubicBezTo>
                      <a:cubicBezTo>
                        <a:pt x="270" y="9715"/>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7" name="Freeform 4199">
                  <a:extLst>
                    <a:ext uri="{FF2B5EF4-FFF2-40B4-BE49-F238E27FC236}">
                      <a16:creationId xmlns:a16="http://schemas.microsoft.com/office/drawing/2014/main" id="{A40B3676-F9EF-CB9C-14CA-E583B41D0C95}"/>
                    </a:ext>
                  </a:extLst>
                </p:cNvPr>
                <p:cNvSpPr/>
                <p:nvPr/>
              </p:nvSpPr>
              <p:spPr>
                <a:xfrm>
                  <a:off x="4874564" y="6154469"/>
                  <a:ext cx="16566" cy="49449"/>
                </a:xfrm>
                <a:custGeom>
                  <a:avLst/>
                  <a:gdLst>
                    <a:gd name="connsiteX0" fmla="*/ 0 w 16566"/>
                    <a:gd name="connsiteY0" fmla="*/ 0 h 49449"/>
                    <a:gd name="connsiteX1" fmla="*/ 7598 w 16566"/>
                    <a:gd name="connsiteY1" fmla="*/ 17189 h 49449"/>
                    <a:gd name="connsiteX2" fmla="*/ 9591 w 16566"/>
                    <a:gd name="connsiteY2" fmla="*/ 34503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4858" y="6851"/>
                        <a:pt x="6726" y="12954"/>
                        <a:pt x="7598" y="17189"/>
                      </a:cubicBezTo>
                      <a:cubicBezTo>
                        <a:pt x="8968" y="24040"/>
                        <a:pt x="7847" y="27652"/>
                        <a:pt x="9591" y="34503"/>
                      </a:cubicBezTo>
                      <a:cubicBezTo>
                        <a:pt x="11210" y="41229"/>
                        <a:pt x="14324" y="46211"/>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8" name="Freeform 4200">
                  <a:extLst>
                    <a:ext uri="{FF2B5EF4-FFF2-40B4-BE49-F238E27FC236}">
                      <a16:creationId xmlns:a16="http://schemas.microsoft.com/office/drawing/2014/main" id="{A6485A3E-2251-4586-A0D6-8712D1BB47CD}"/>
                    </a:ext>
                  </a:extLst>
                </p:cNvPr>
                <p:cNvSpPr/>
                <p:nvPr/>
              </p:nvSpPr>
              <p:spPr>
                <a:xfrm>
                  <a:off x="4881761" y="6191584"/>
                  <a:ext cx="26324" cy="26548"/>
                </a:xfrm>
                <a:custGeom>
                  <a:avLst/>
                  <a:gdLst>
                    <a:gd name="connsiteX0" fmla="*/ 650 w 26324"/>
                    <a:gd name="connsiteY0" fmla="*/ 17316 h 26548"/>
                    <a:gd name="connsiteX1" fmla="*/ 9120 w 26324"/>
                    <a:gd name="connsiteY1" fmla="*/ 626 h 26548"/>
                    <a:gd name="connsiteX2" fmla="*/ 25686 w 26324"/>
                    <a:gd name="connsiteY2" fmla="*/ 9345 h 26548"/>
                    <a:gd name="connsiteX3" fmla="*/ 17216 w 26324"/>
                    <a:gd name="connsiteY3" fmla="*/ 25911 h 26548"/>
                    <a:gd name="connsiteX4" fmla="*/ 650 w 26324"/>
                    <a:gd name="connsiteY4" fmla="*/ 17316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548">
                      <a:moveTo>
                        <a:pt x="650" y="17316"/>
                      </a:moveTo>
                      <a:cubicBezTo>
                        <a:pt x="-1592" y="10341"/>
                        <a:pt x="2145" y="2868"/>
                        <a:pt x="9120" y="626"/>
                      </a:cubicBezTo>
                      <a:cubicBezTo>
                        <a:pt x="16095" y="-1616"/>
                        <a:pt x="23444" y="2370"/>
                        <a:pt x="25686" y="9345"/>
                      </a:cubicBezTo>
                      <a:cubicBezTo>
                        <a:pt x="27928" y="16320"/>
                        <a:pt x="24067" y="23669"/>
                        <a:pt x="17216" y="25911"/>
                      </a:cubicBezTo>
                      <a:cubicBezTo>
                        <a:pt x="10366" y="28153"/>
                        <a:pt x="2892" y="24292"/>
                        <a:pt x="650"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2" name="Graphic 2987">
                <a:extLst>
                  <a:ext uri="{FF2B5EF4-FFF2-40B4-BE49-F238E27FC236}">
                    <a16:creationId xmlns:a16="http://schemas.microsoft.com/office/drawing/2014/main" id="{6E361511-CB32-CEE8-5D55-BA24D27D8B2E}"/>
                  </a:ext>
                </a:extLst>
              </p:cNvPr>
              <p:cNvGrpSpPr/>
              <p:nvPr/>
            </p:nvGrpSpPr>
            <p:grpSpPr>
              <a:xfrm>
                <a:off x="4872693" y="6066076"/>
                <a:ext cx="63542" cy="143200"/>
                <a:chOff x="4872693" y="6066076"/>
                <a:chExt cx="63542" cy="143200"/>
              </a:xfrm>
              <a:grpFill/>
            </p:grpSpPr>
            <p:sp>
              <p:nvSpPr>
                <p:cNvPr id="5207" name="Freeform 4202">
                  <a:extLst>
                    <a:ext uri="{FF2B5EF4-FFF2-40B4-BE49-F238E27FC236}">
                      <a16:creationId xmlns:a16="http://schemas.microsoft.com/office/drawing/2014/main" id="{8EEE4563-F9E4-AADB-3686-D0917D61E5E6}"/>
                    </a:ext>
                  </a:extLst>
                </p:cNvPr>
                <p:cNvSpPr/>
                <p:nvPr/>
              </p:nvSpPr>
              <p:spPr>
                <a:xfrm>
                  <a:off x="4884653" y="6087208"/>
                  <a:ext cx="15088" cy="49947"/>
                </a:xfrm>
                <a:custGeom>
                  <a:avLst/>
                  <a:gdLst>
                    <a:gd name="connsiteX0" fmla="*/ 0 w 15088"/>
                    <a:gd name="connsiteY0" fmla="*/ 0 h 49947"/>
                    <a:gd name="connsiteX1" fmla="*/ 3737 w 15088"/>
                    <a:gd name="connsiteY1" fmla="*/ 18435 h 49947"/>
                    <a:gd name="connsiteX2" fmla="*/ 12207 w 15088"/>
                    <a:gd name="connsiteY2" fmla="*/ 33755 h 49947"/>
                    <a:gd name="connsiteX3" fmla="*/ 15071 w 15088"/>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88" h="49947">
                      <a:moveTo>
                        <a:pt x="0" y="0"/>
                      </a:moveTo>
                      <a:cubicBezTo>
                        <a:pt x="0" y="8470"/>
                        <a:pt x="1993" y="14449"/>
                        <a:pt x="3737" y="18435"/>
                      </a:cubicBezTo>
                      <a:cubicBezTo>
                        <a:pt x="6602" y="24787"/>
                        <a:pt x="9591" y="27153"/>
                        <a:pt x="12207" y="33755"/>
                      </a:cubicBezTo>
                      <a:cubicBezTo>
                        <a:pt x="14698" y="40232"/>
                        <a:pt x="15196" y="46086"/>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8" name="Freeform 4203">
                  <a:extLst>
                    <a:ext uri="{FF2B5EF4-FFF2-40B4-BE49-F238E27FC236}">
                      <a16:creationId xmlns:a16="http://schemas.microsoft.com/office/drawing/2014/main" id="{FF87DCD5-FFFB-B085-4BEC-B026E6B98BB3}"/>
                    </a:ext>
                  </a:extLst>
                </p:cNvPr>
                <p:cNvSpPr/>
                <p:nvPr/>
              </p:nvSpPr>
              <p:spPr>
                <a:xfrm>
                  <a:off x="4890009" y="6080357"/>
                  <a:ext cx="16317" cy="49449"/>
                </a:xfrm>
                <a:custGeom>
                  <a:avLst/>
                  <a:gdLst>
                    <a:gd name="connsiteX0" fmla="*/ 16317 w 16317"/>
                    <a:gd name="connsiteY0" fmla="*/ 49449 h 49449"/>
                    <a:gd name="connsiteX1" fmla="*/ 8843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591" y="36495"/>
                        <a:pt x="8843" y="32260"/>
                      </a:cubicBezTo>
                      <a:cubicBezTo>
                        <a:pt x="7474" y="25409"/>
                        <a:pt x="8595" y="21798"/>
                        <a:pt x="6975" y="14947"/>
                      </a:cubicBezTo>
                      <a:cubicBezTo>
                        <a:pt x="5356" y="8220"/>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9" name="Freeform 4204">
                  <a:extLst>
                    <a:ext uri="{FF2B5EF4-FFF2-40B4-BE49-F238E27FC236}">
                      <a16:creationId xmlns:a16="http://schemas.microsoft.com/office/drawing/2014/main" id="{1C83F497-F6CD-3DD0-59C6-D35E63A3E442}"/>
                    </a:ext>
                  </a:extLst>
                </p:cNvPr>
                <p:cNvSpPr/>
                <p:nvPr/>
              </p:nvSpPr>
              <p:spPr>
                <a:xfrm>
                  <a:off x="4872693" y="6066076"/>
                  <a:ext cx="26661" cy="26490"/>
                </a:xfrm>
                <a:custGeom>
                  <a:avLst/>
                  <a:gdLst>
                    <a:gd name="connsiteX0" fmla="*/ 26036 w 26661"/>
                    <a:gd name="connsiteY0" fmla="*/ 9298 h 26490"/>
                    <a:gd name="connsiteX1" fmla="*/ 17316 w 26661"/>
                    <a:gd name="connsiteY1" fmla="*/ 25865 h 26490"/>
                    <a:gd name="connsiteX2" fmla="*/ 626 w 26661"/>
                    <a:gd name="connsiteY2" fmla="*/ 17146 h 26490"/>
                    <a:gd name="connsiteX3" fmla="*/ 9345 w 26661"/>
                    <a:gd name="connsiteY3" fmla="*/ 580 h 26490"/>
                    <a:gd name="connsiteX4" fmla="*/ 26036 w 26661"/>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0">
                      <a:moveTo>
                        <a:pt x="26036" y="9298"/>
                      </a:moveTo>
                      <a:cubicBezTo>
                        <a:pt x="28277" y="16274"/>
                        <a:pt x="24292" y="23747"/>
                        <a:pt x="17316" y="25865"/>
                      </a:cubicBezTo>
                      <a:cubicBezTo>
                        <a:pt x="10341" y="28107"/>
                        <a:pt x="2868" y="24121"/>
                        <a:pt x="626" y="17146"/>
                      </a:cubicBezTo>
                      <a:cubicBezTo>
                        <a:pt x="-1616" y="10170"/>
                        <a:pt x="2370" y="2697"/>
                        <a:pt x="9345" y="580"/>
                      </a:cubicBezTo>
                      <a:cubicBezTo>
                        <a:pt x="16444" y="-1538"/>
                        <a:pt x="23918" y="2323"/>
                        <a:pt x="26036"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0" name="Freeform 4205">
                  <a:extLst>
                    <a:ext uri="{FF2B5EF4-FFF2-40B4-BE49-F238E27FC236}">
                      <a16:creationId xmlns:a16="http://schemas.microsoft.com/office/drawing/2014/main" id="{D6E0178C-B6A3-3263-3C3B-2048660A700A}"/>
                    </a:ext>
                  </a:extLst>
                </p:cNvPr>
                <p:cNvSpPr/>
                <p:nvPr/>
              </p:nvSpPr>
              <p:spPr>
                <a:xfrm>
                  <a:off x="4909298" y="6138276"/>
                  <a:ext cx="14964" cy="49947"/>
                </a:xfrm>
                <a:custGeom>
                  <a:avLst/>
                  <a:gdLst>
                    <a:gd name="connsiteX0" fmla="*/ 14964 w 14964"/>
                    <a:gd name="connsiteY0" fmla="*/ 49947 h 49947"/>
                    <a:gd name="connsiteX1" fmla="*/ 11228 w 14964"/>
                    <a:gd name="connsiteY1" fmla="*/ 31513 h 49947"/>
                    <a:gd name="connsiteX2" fmla="*/ 2882 w 14964"/>
                    <a:gd name="connsiteY2" fmla="*/ 16192 h 49947"/>
                    <a:gd name="connsiteX3" fmla="*/ 18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14964" y="49947"/>
                      </a:moveTo>
                      <a:cubicBezTo>
                        <a:pt x="14840" y="41602"/>
                        <a:pt x="12971" y="35499"/>
                        <a:pt x="11228" y="31513"/>
                      </a:cubicBezTo>
                      <a:cubicBezTo>
                        <a:pt x="8363" y="25161"/>
                        <a:pt x="5498" y="22794"/>
                        <a:pt x="2882" y="16192"/>
                      </a:cubicBezTo>
                      <a:cubicBezTo>
                        <a:pt x="391" y="9715"/>
                        <a:pt x="-107" y="3861"/>
                        <a:pt x="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1" name="Freeform 4206">
                  <a:extLst>
                    <a:ext uri="{FF2B5EF4-FFF2-40B4-BE49-F238E27FC236}">
                      <a16:creationId xmlns:a16="http://schemas.microsoft.com/office/drawing/2014/main" id="{91A56EFE-4BA1-ABDB-766C-03A1FA20482A}"/>
                    </a:ext>
                  </a:extLst>
                </p:cNvPr>
                <p:cNvSpPr/>
                <p:nvPr/>
              </p:nvSpPr>
              <p:spPr>
                <a:xfrm>
                  <a:off x="4902714" y="6145625"/>
                  <a:ext cx="16317" cy="49449"/>
                </a:xfrm>
                <a:custGeom>
                  <a:avLst/>
                  <a:gdLst>
                    <a:gd name="connsiteX0" fmla="*/ 0 w 16317"/>
                    <a:gd name="connsiteY0" fmla="*/ 0 h 49449"/>
                    <a:gd name="connsiteX1" fmla="*/ 7474 w 16317"/>
                    <a:gd name="connsiteY1" fmla="*/ 17189 h 49449"/>
                    <a:gd name="connsiteX2" fmla="*/ 9342 w 16317"/>
                    <a:gd name="connsiteY2" fmla="*/ 34502 h 49449"/>
                    <a:gd name="connsiteX3" fmla="*/ 16317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0" y="0"/>
                      </a:moveTo>
                      <a:cubicBezTo>
                        <a:pt x="4733" y="6975"/>
                        <a:pt x="6726" y="12954"/>
                        <a:pt x="7474" y="17189"/>
                      </a:cubicBezTo>
                      <a:cubicBezTo>
                        <a:pt x="8844" y="24040"/>
                        <a:pt x="7723" y="27527"/>
                        <a:pt x="9342" y="34502"/>
                      </a:cubicBezTo>
                      <a:cubicBezTo>
                        <a:pt x="10961" y="41229"/>
                        <a:pt x="14075" y="46211"/>
                        <a:pt x="16317"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2" name="Freeform 4207">
                  <a:extLst>
                    <a:ext uri="{FF2B5EF4-FFF2-40B4-BE49-F238E27FC236}">
                      <a16:creationId xmlns:a16="http://schemas.microsoft.com/office/drawing/2014/main" id="{11296435-D790-DEC7-6B1F-22E1357B95A0}"/>
                    </a:ext>
                  </a:extLst>
                </p:cNvPr>
                <p:cNvSpPr/>
                <p:nvPr/>
              </p:nvSpPr>
              <p:spPr>
                <a:xfrm>
                  <a:off x="4909799" y="6182787"/>
                  <a:ext cx="26435" cy="26490"/>
                </a:xfrm>
                <a:custGeom>
                  <a:avLst/>
                  <a:gdLst>
                    <a:gd name="connsiteX0" fmla="*/ 638 w 26435"/>
                    <a:gd name="connsiteY0" fmla="*/ 17146 h 26490"/>
                    <a:gd name="connsiteX1" fmla="*/ 9232 w 26435"/>
                    <a:gd name="connsiteY1" fmla="*/ 580 h 26490"/>
                    <a:gd name="connsiteX2" fmla="*/ 25798 w 26435"/>
                    <a:gd name="connsiteY2" fmla="*/ 9299 h 26490"/>
                    <a:gd name="connsiteX3" fmla="*/ 17204 w 26435"/>
                    <a:gd name="connsiteY3" fmla="*/ 25865 h 26490"/>
                    <a:gd name="connsiteX4" fmla="*/ 638 w 26435"/>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90">
                      <a:moveTo>
                        <a:pt x="638" y="17146"/>
                      </a:moveTo>
                      <a:cubicBezTo>
                        <a:pt x="-1605" y="10170"/>
                        <a:pt x="2257" y="2821"/>
                        <a:pt x="9232" y="580"/>
                      </a:cubicBezTo>
                      <a:cubicBezTo>
                        <a:pt x="16207" y="-1538"/>
                        <a:pt x="23556" y="2323"/>
                        <a:pt x="25798" y="9299"/>
                      </a:cubicBezTo>
                      <a:cubicBezTo>
                        <a:pt x="28040" y="16274"/>
                        <a:pt x="24179" y="23747"/>
                        <a:pt x="17204" y="25865"/>
                      </a:cubicBezTo>
                      <a:cubicBezTo>
                        <a:pt x="10229" y="28107"/>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3" name="Graphic 2987">
                <a:extLst>
                  <a:ext uri="{FF2B5EF4-FFF2-40B4-BE49-F238E27FC236}">
                    <a16:creationId xmlns:a16="http://schemas.microsoft.com/office/drawing/2014/main" id="{33C54083-2235-21CF-DC3A-ACF44283BA5C}"/>
                  </a:ext>
                </a:extLst>
              </p:cNvPr>
              <p:cNvGrpSpPr/>
              <p:nvPr/>
            </p:nvGrpSpPr>
            <p:grpSpPr>
              <a:xfrm>
                <a:off x="4901217" y="6057233"/>
                <a:ext cx="62997" cy="143279"/>
                <a:chOff x="4901217" y="6057233"/>
                <a:chExt cx="62997" cy="143279"/>
              </a:xfrm>
              <a:grpFill/>
            </p:grpSpPr>
            <p:sp>
              <p:nvSpPr>
                <p:cNvPr id="5201" name="Freeform 4209">
                  <a:extLst>
                    <a:ext uri="{FF2B5EF4-FFF2-40B4-BE49-F238E27FC236}">
                      <a16:creationId xmlns:a16="http://schemas.microsoft.com/office/drawing/2014/main" id="{1E0C9AF5-961C-FCFC-F608-1F7F731F2406}"/>
                    </a:ext>
                  </a:extLst>
                </p:cNvPr>
                <p:cNvSpPr/>
                <p:nvPr/>
              </p:nvSpPr>
              <p:spPr>
                <a:xfrm>
                  <a:off x="4913177" y="6078364"/>
                  <a:ext cx="14946" cy="50072"/>
                </a:xfrm>
                <a:custGeom>
                  <a:avLst/>
                  <a:gdLst>
                    <a:gd name="connsiteX0" fmla="*/ 0 w 14946"/>
                    <a:gd name="connsiteY0" fmla="*/ 0 h 50072"/>
                    <a:gd name="connsiteX1" fmla="*/ 3737 w 14946"/>
                    <a:gd name="connsiteY1" fmla="*/ 18434 h 50072"/>
                    <a:gd name="connsiteX2" fmla="*/ 12082 w 14946"/>
                    <a:gd name="connsiteY2" fmla="*/ 33755 h 50072"/>
                    <a:gd name="connsiteX3" fmla="*/ 14947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0" y="0"/>
                      </a:moveTo>
                      <a:cubicBezTo>
                        <a:pt x="0" y="8470"/>
                        <a:pt x="1993" y="14449"/>
                        <a:pt x="3737" y="18434"/>
                      </a:cubicBezTo>
                      <a:cubicBezTo>
                        <a:pt x="6602" y="24787"/>
                        <a:pt x="9466" y="27153"/>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2" name="Freeform 4210">
                  <a:extLst>
                    <a:ext uri="{FF2B5EF4-FFF2-40B4-BE49-F238E27FC236}">
                      <a16:creationId xmlns:a16="http://schemas.microsoft.com/office/drawing/2014/main" id="{48F86A02-EAEE-88E2-ED06-FDAC52965C21}"/>
                    </a:ext>
                  </a:extLst>
                </p:cNvPr>
                <p:cNvSpPr/>
                <p:nvPr/>
              </p:nvSpPr>
              <p:spPr>
                <a:xfrm>
                  <a:off x="4918284" y="6071389"/>
                  <a:ext cx="16317" cy="49573"/>
                </a:xfrm>
                <a:custGeom>
                  <a:avLst/>
                  <a:gdLst>
                    <a:gd name="connsiteX0" fmla="*/ 16317 w 16317"/>
                    <a:gd name="connsiteY0" fmla="*/ 49574 h 49573"/>
                    <a:gd name="connsiteX1" fmla="*/ 8844 w 16317"/>
                    <a:gd name="connsiteY1" fmla="*/ 32260 h 49573"/>
                    <a:gd name="connsiteX2" fmla="*/ 6976 w 16317"/>
                    <a:gd name="connsiteY2" fmla="*/ 14947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1584" y="42599"/>
                        <a:pt x="9716" y="36620"/>
                        <a:pt x="8844" y="32260"/>
                      </a:cubicBezTo>
                      <a:cubicBezTo>
                        <a:pt x="7474" y="25409"/>
                        <a:pt x="8595" y="21798"/>
                        <a:pt x="6976" y="14947"/>
                      </a:cubicBezTo>
                      <a:cubicBezTo>
                        <a:pt x="5356"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3" name="Freeform 4211">
                  <a:extLst>
                    <a:ext uri="{FF2B5EF4-FFF2-40B4-BE49-F238E27FC236}">
                      <a16:creationId xmlns:a16="http://schemas.microsoft.com/office/drawing/2014/main" id="{FECE935F-DD7F-5763-71E5-AEA90C36604B}"/>
                    </a:ext>
                  </a:extLst>
                </p:cNvPr>
                <p:cNvSpPr/>
                <p:nvPr/>
              </p:nvSpPr>
              <p:spPr>
                <a:xfrm>
                  <a:off x="4901217" y="6057233"/>
                  <a:ext cx="26614" cy="26490"/>
                </a:xfrm>
                <a:custGeom>
                  <a:avLst/>
                  <a:gdLst>
                    <a:gd name="connsiteX0" fmla="*/ 26035 w 26614"/>
                    <a:gd name="connsiteY0" fmla="*/ 9298 h 26490"/>
                    <a:gd name="connsiteX1" fmla="*/ 17317 w 26614"/>
                    <a:gd name="connsiteY1" fmla="*/ 25865 h 26490"/>
                    <a:gd name="connsiteX2" fmla="*/ 626 w 26614"/>
                    <a:gd name="connsiteY2" fmla="*/ 17146 h 26490"/>
                    <a:gd name="connsiteX3" fmla="*/ 9345 w 26614"/>
                    <a:gd name="connsiteY3" fmla="*/ 580 h 26490"/>
                    <a:gd name="connsiteX4" fmla="*/ 26035 w 2661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3" h="26490">
                      <a:moveTo>
                        <a:pt x="26035" y="9298"/>
                      </a:moveTo>
                      <a:cubicBezTo>
                        <a:pt x="28153" y="16274"/>
                        <a:pt x="24292" y="23747"/>
                        <a:pt x="17317" y="25865"/>
                      </a:cubicBezTo>
                      <a:cubicBezTo>
                        <a:pt x="10341" y="28107"/>
                        <a:pt x="2868" y="24121"/>
                        <a:pt x="626" y="17146"/>
                      </a:cubicBezTo>
                      <a:cubicBezTo>
                        <a:pt x="-1616" y="10170"/>
                        <a:pt x="2369" y="2697"/>
                        <a:pt x="9345" y="580"/>
                      </a:cubicBezTo>
                      <a:cubicBezTo>
                        <a:pt x="16320" y="-1538"/>
                        <a:pt x="23793" y="2323"/>
                        <a:pt x="2603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4" name="Freeform 4212">
                  <a:extLst>
                    <a:ext uri="{FF2B5EF4-FFF2-40B4-BE49-F238E27FC236}">
                      <a16:creationId xmlns:a16="http://schemas.microsoft.com/office/drawing/2014/main" id="{401880F6-3285-3422-5D1E-A5867B136948}"/>
                    </a:ext>
                  </a:extLst>
                </p:cNvPr>
                <p:cNvSpPr/>
                <p:nvPr/>
              </p:nvSpPr>
              <p:spPr>
                <a:xfrm>
                  <a:off x="4937466" y="6129433"/>
                  <a:ext cx="14947" cy="50072"/>
                </a:xfrm>
                <a:custGeom>
                  <a:avLst/>
                  <a:gdLst>
                    <a:gd name="connsiteX0" fmla="*/ 14947 w 14947"/>
                    <a:gd name="connsiteY0" fmla="*/ 50072 h 50072"/>
                    <a:gd name="connsiteX1" fmla="*/ 11210 w 14947"/>
                    <a:gd name="connsiteY1" fmla="*/ 31637 h 50072"/>
                    <a:gd name="connsiteX2" fmla="*/ 2865 w 14947"/>
                    <a:gd name="connsiteY2" fmla="*/ 16317 h 50072"/>
                    <a:gd name="connsiteX3" fmla="*/ 0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14947" y="50072"/>
                      </a:moveTo>
                      <a:cubicBezTo>
                        <a:pt x="14947" y="41602"/>
                        <a:pt x="12954" y="35623"/>
                        <a:pt x="11210" y="31637"/>
                      </a:cubicBezTo>
                      <a:cubicBezTo>
                        <a:pt x="8346" y="25285"/>
                        <a:pt x="5481" y="22919"/>
                        <a:pt x="2865" y="16317"/>
                      </a:cubicBezTo>
                      <a:cubicBezTo>
                        <a:pt x="374"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5" name="Freeform 4213">
                  <a:extLst>
                    <a:ext uri="{FF2B5EF4-FFF2-40B4-BE49-F238E27FC236}">
                      <a16:creationId xmlns:a16="http://schemas.microsoft.com/office/drawing/2014/main" id="{351DE6B4-8EA1-7B82-9C3F-2AFD7E0A2279}"/>
                    </a:ext>
                  </a:extLst>
                </p:cNvPr>
                <p:cNvSpPr/>
                <p:nvPr/>
              </p:nvSpPr>
              <p:spPr>
                <a:xfrm>
                  <a:off x="4930989" y="6136782"/>
                  <a:ext cx="16317" cy="49573"/>
                </a:xfrm>
                <a:custGeom>
                  <a:avLst/>
                  <a:gdLst>
                    <a:gd name="connsiteX0" fmla="*/ 0 w 16317"/>
                    <a:gd name="connsiteY0" fmla="*/ 0 h 49573"/>
                    <a:gd name="connsiteX1" fmla="*/ 7474 w 16317"/>
                    <a:gd name="connsiteY1" fmla="*/ 17313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2" y="12954"/>
                        <a:pt x="7474" y="17313"/>
                      </a:cubicBezTo>
                      <a:cubicBezTo>
                        <a:pt x="8843" y="24164"/>
                        <a:pt x="7723" y="27776"/>
                        <a:pt x="9342" y="34627"/>
                      </a:cubicBezTo>
                      <a:cubicBezTo>
                        <a:pt x="10961" y="41353"/>
                        <a:pt x="13950" y="46460"/>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6" name="Freeform 4214">
                  <a:extLst>
                    <a:ext uri="{FF2B5EF4-FFF2-40B4-BE49-F238E27FC236}">
                      <a16:creationId xmlns:a16="http://schemas.microsoft.com/office/drawing/2014/main" id="{DA73BD7F-FB96-F01A-02F9-DF31DA241E0C}"/>
                    </a:ext>
                  </a:extLst>
                </p:cNvPr>
                <p:cNvSpPr/>
                <p:nvPr/>
              </p:nvSpPr>
              <p:spPr>
                <a:xfrm>
                  <a:off x="4937825" y="6174068"/>
                  <a:ext cx="26389" cy="26444"/>
                </a:xfrm>
                <a:custGeom>
                  <a:avLst/>
                  <a:gdLst>
                    <a:gd name="connsiteX0" fmla="*/ 638 w 26389"/>
                    <a:gd name="connsiteY0" fmla="*/ 17146 h 26444"/>
                    <a:gd name="connsiteX1" fmla="*/ 9232 w 26389"/>
                    <a:gd name="connsiteY1" fmla="*/ 579 h 26444"/>
                    <a:gd name="connsiteX2" fmla="*/ 25798 w 26389"/>
                    <a:gd name="connsiteY2" fmla="*/ 9299 h 26444"/>
                    <a:gd name="connsiteX3" fmla="*/ 17204 w 26389"/>
                    <a:gd name="connsiteY3" fmla="*/ 25865 h 26444"/>
                    <a:gd name="connsiteX4" fmla="*/ 638 w 26389"/>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44">
                      <a:moveTo>
                        <a:pt x="638" y="17146"/>
                      </a:moveTo>
                      <a:cubicBezTo>
                        <a:pt x="-1605" y="10171"/>
                        <a:pt x="2257" y="2697"/>
                        <a:pt x="9232" y="579"/>
                      </a:cubicBezTo>
                      <a:cubicBezTo>
                        <a:pt x="16207" y="-1538"/>
                        <a:pt x="23556" y="2323"/>
                        <a:pt x="25798" y="9299"/>
                      </a:cubicBezTo>
                      <a:cubicBezTo>
                        <a:pt x="27916" y="16274"/>
                        <a:pt x="24179" y="23747"/>
                        <a:pt x="17204" y="25865"/>
                      </a:cubicBezTo>
                      <a:cubicBezTo>
                        <a:pt x="10229" y="27982"/>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4" name="Graphic 2987">
                <a:extLst>
                  <a:ext uri="{FF2B5EF4-FFF2-40B4-BE49-F238E27FC236}">
                    <a16:creationId xmlns:a16="http://schemas.microsoft.com/office/drawing/2014/main" id="{B4B53335-44CD-9DD0-8731-89A1EACC9C0D}"/>
                  </a:ext>
                </a:extLst>
              </p:cNvPr>
              <p:cNvGrpSpPr/>
              <p:nvPr/>
            </p:nvGrpSpPr>
            <p:grpSpPr>
              <a:xfrm>
                <a:off x="4929538" y="6048389"/>
                <a:ext cx="62690" cy="143403"/>
                <a:chOff x="4929538" y="6048389"/>
                <a:chExt cx="62690" cy="143403"/>
              </a:xfrm>
              <a:grpFill/>
            </p:grpSpPr>
            <p:sp>
              <p:nvSpPr>
                <p:cNvPr id="5195" name="Freeform 4216">
                  <a:extLst>
                    <a:ext uri="{FF2B5EF4-FFF2-40B4-BE49-F238E27FC236}">
                      <a16:creationId xmlns:a16="http://schemas.microsoft.com/office/drawing/2014/main" id="{B66D3D36-41BD-5404-A969-D30DDD2EA266}"/>
                    </a:ext>
                  </a:extLst>
                </p:cNvPr>
                <p:cNvSpPr/>
                <p:nvPr/>
              </p:nvSpPr>
              <p:spPr>
                <a:xfrm>
                  <a:off x="4941576" y="6069520"/>
                  <a:ext cx="14718" cy="50072"/>
                </a:xfrm>
                <a:custGeom>
                  <a:avLst/>
                  <a:gdLst>
                    <a:gd name="connsiteX0" fmla="*/ 0 w 14718"/>
                    <a:gd name="connsiteY0" fmla="*/ 0 h 50072"/>
                    <a:gd name="connsiteX1" fmla="*/ 3612 w 14718"/>
                    <a:gd name="connsiteY1" fmla="*/ 18435 h 50072"/>
                    <a:gd name="connsiteX2" fmla="*/ 11957 w 14718"/>
                    <a:gd name="connsiteY2" fmla="*/ 33755 h 50072"/>
                    <a:gd name="connsiteX3" fmla="*/ 14698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0" y="0"/>
                      </a:moveTo>
                      <a:cubicBezTo>
                        <a:pt x="0" y="8470"/>
                        <a:pt x="1868" y="14449"/>
                        <a:pt x="3612" y="18435"/>
                      </a:cubicBezTo>
                      <a:cubicBezTo>
                        <a:pt x="6477" y="24787"/>
                        <a:pt x="9342" y="27154"/>
                        <a:pt x="11957" y="33755"/>
                      </a:cubicBezTo>
                      <a:cubicBezTo>
                        <a:pt x="14449" y="40232"/>
                        <a:pt x="14822" y="46086"/>
                        <a:pt x="1469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6" name="Freeform 4217">
                  <a:extLst>
                    <a:ext uri="{FF2B5EF4-FFF2-40B4-BE49-F238E27FC236}">
                      <a16:creationId xmlns:a16="http://schemas.microsoft.com/office/drawing/2014/main" id="{395692DF-2A13-5441-6A11-5C140A690CD8}"/>
                    </a:ext>
                  </a:extLst>
                </p:cNvPr>
                <p:cNvSpPr/>
                <p:nvPr/>
              </p:nvSpPr>
              <p:spPr>
                <a:xfrm>
                  <a:off x="4946932" y="6062670"/>
                  <a:ext cx="15943" cy="49574"/>
                </a:xfrm>
                <a:custGeom>
                  <a:avLst/>
                  <a:gdLst>
                    <a:gd name="connsiteX0" fmla="*/ 15943 w 15943"/>
                    <a:gd name="connsiteY0" fmla="*/ 49574 h 49574"/>
                    <a:gd name="connsiteX1" fmla="*/ 8595 w 15943"/>
                    <a:gd name="connsiteY1" fmla="*/ 32260 h 49574"/>
                    <a:gd name="connsiteX2" fmla="*/ 6851 w 15943"/>
                    <a:gd name="connsiteY2" fmla="*/ 14947 h 49574"/>
                    <a:gd name="connsiteX3" fmla="*/ 0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15943" y="49574"/>
                      </a:moveTo>
                      <a:cubicBezTo>
                        <a:pt x="11210" y="42599"/>
                        <a:pt x="9342" y="36620"/>
                        <a:pt x="8595" y="32260"/>
                      </a:cubicBezTo>
                      <a:cubicBezTo>
                        <a:pt x="7224"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7" name="Freeform 4218">
                  <a:extLst>
                    <a:ext uri="{FF2B5EF4-FFF2-40B4-BE49-F238E27FC236}">
                      <a16:creationId xmlns:a16="http://schemas.microsoft.com/office/drawing/2014/main" id="{D2DBCCE3-F8F1-59E4-FD43-413C45241CAE}"/>
                    </a:ext>
                  </a:extLst>
                </p:cNvPr>
                <p:cNvSpPr/>
                <p:nvPr/>
              </p:nvSpPr>
              <p:spPr>
                <a:xfrm>
                  <a:off x="4929538" y="6048389"/>
                  <a:ext cx="26691" cy="26490"/>
                </a:xfrm>
                <a:custGeom>
                  <a:avLst/>
                  <a:gdLst>
                    <a:gd name="connsiteX0" fmla="*/ 26113 w 26691"/>
                    <a:gd name="connsiteY0" fmla="*/ 9299 h 26490"/>
                    <a:gd name="connsiteX1" fmla="*/ 17269 w 26691"/>
                    <a:gd name="connsiteY1" fmla="*/ 25865 h 26490"/>
                    <a:gd name="connsiteX2" fmla="*/ 579 w 26691"/>
                    <a:gd name="connsiteY2" fmla="*/ 17146 h 26490"/>
                    <a:gd name="connsiteX3" fmla="*/ 9422 w 26691"/>
                    <a:gd name="connsiteY3" fmla="*/ 579 h 26490"/>
                    <a:gd name="connsiteX4" fmla="*/ 26113 w 26691"/>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1" h="26490">
                      <a:moveTo>
                        <a:pt x="26113" y="9299"/>
                      </a:moveTo>
                      <a:cubicBezTo>
                        <a:pt x="28230" y="16274"/>
                        <a:pt x="24369" y="23747"/>
                        <a:pt x="17269" y="25865"/>
                      </a:cubicBezTo>
                      <a:cubicBezTo>
                        <a:pt x="10294" y="28107"/>
                        <a:pt x="2821" y="24121"/>
                        <a:pt x="579" y="17146"/>
                      </a:cubicBezTo>
                      <a:cubicBezTo>
                        <a:pt x="-1539" y="10171"/>
                        <a:pt x="2323" y="2697"/>
                        <a:pt x="9422" y="579"/>
                      </a:cubicBezTo>
                      <a:cubicBezTo>
                        <a:pt x="16522" y="-1538"/>
                        <a:pt x="23995" y="2323"/>
                        <a:pt x="26113"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8" name="Freeform 4219">
                  <a:extLst>
                    <a:ext uri="{FF2B5EF4-FFF2-40B4-BE49-F238E27FC236}">
                      <a16:creationId xmlns:a16="http://schemas.microsoft.com/office/drawing/2014/main" id="{AEBA2F43-4576-8E81-6931-85E27113419F}"/>
                    </a:ext>
                  </a:extLst>
                </p:cNvPr>
                <p:cNvSpPr/>
                <p:nvPr/>
              </p:nvSpPr>
              <p:spPr>
                <a:xfrm>
                  <a:off x="4965720" y="6120714"/>
                  <a:ext cx="14718" cy="50072"/>
                </a:xfrm>
                <a:custGeom>
                  <a:avLst/>
                  <a:gdLst>
                    <a:gd name="connsiteX0" fmla="*/ 14719 w 14718"/>
                    <a:gd name="connsiteY0" fmla="*/ 50072 h 50072"/>
                    <a:gd name="connsiteX1" fmla="*/ 11106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3"/>
                        <a:pt x="11106" y="31638"/>
                      </a:cubicBezTo>
                      <a:cubicBezTo>
                        <a:pt x="8366" y="25161"/>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9" name="Freeform 4220">
                  <a:extLst>
                    <a:ext uri="{FF2B5EF4-FFF2-40B4-BE49-F238E27FC236}">
                      <a16:creationId xmlns:a16="http://schemas.microsoft.com/office/drawing/2014/main" id="{A86B5141-89CB-F29A-CAAE-1D372885FD9E}"/>
                    </a:ext>
                  </a:extLst>
                </p:cNvPr>
                <p:cNvSpPr/>
                <p:nvPr/>
              </p:nvSpPr>
              <p:spPr>
                <a:xfrm>
                  <a:off x="4959139" y="6128063"/>
                  <a:ext cx="16192" cy="49574"/>
                </a:xfrm>
                <a:custGeom>
                  <a:avLst/>
                  <a:gdLst>
                    <a:gd name="connsiteX0" fmla="*/ 0 w 16192"/>
                    <a:gd name="connsiteY0" fmla="*/ 0 h 49574"/>
                    <a:gd name="connsiteX1" fmla="*/ 7473 w 16192"/>
                    <a:gd name="connsiteY1" fmla="*/ 17314 h 49574"/>
                    <a:gd name="connsiteX2" fmla="*/ 9342 w 16192"/>
                    <a:gd name="connsiteY2" fmla="*/ 34627 h 49574"/>
                    <a:gd name="connsiteX3" fmla="*/ 16192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0" y="0"/>
                      </a:moveTo>
                      <a:cubicBezTo>
                        <a:pt x="4733" y="6975"/>
                        <a:pt x="6602" y="12954"/>
                        <a:pt x="7473" y="17314"/>
                      </a:cubicBezTo>
                      <a:cubicBezTo>
                        <a:pt x="8843" y="24164"/>
                        <a:pt x="7723" y="27776"/>
                        <a:pt x="9342" y="34627"/>
                      </a:cubicBezTo>
                      <a:cubicBezTo>
                        <a:pt x="10961" y="41353"/>
                        <a:pt x="13950" y="46460"/>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0" name="Freeform 4221">
                  <a:extLst>
                    <a:ext uri="{FF2B5EF4-FFF2-40B4-BE49-F238E27FC236}">
                      <a16:creationId xmlns:a16="http://schemas.microsoft.com/office/drawing/2014/main" id="{803C21AD-9003-60DC-61F2-EFEC345FF1BF}"/>
                    </a:ext>
                  </a:extLst>
                </p:cNvPr>
                <p:cNvSpPr/>
                <p:nvPr/>
              </p:nvSpPr>
              <p:spPr>
                <a:xfrm>
                  <a:off x="4966032" y="6165349"/>
                  <a:ext cx="26196" cy="26444"/>
                </a:xfrm>
                <a:custGeom>
                  <a:avLst/>
                  <a:gdLst>
                    <a:gd name="connsiteX0" fmla="*/ 580 w 26196"/>
                    <a:gd name="connsiteY0" fmla="*/ 17146 h 26444"/>
                    <a:gd name="connsiteX1" fmla="*/ 9175 w 26196"/>
                    <a:gd name="connsiteY1" fmla="*/ 580 h 26444"/>
                    <a:gd name="connsiteX2" fmla="*/ 25616 w 26196"/>
                    <a:gd name="connsiteY2" fmla="*/ 9298 h 26444"/>
                    <a:gd name="connsiteX3" fmla="*/ 17022 w 26196"/>
                    <a:gd name="connsiteY3" fmla="*/ 25865 h 26444"/>
                    <a:gd name="connsiteX4" fmla="*/ 580 w 26196"/>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44">
                      <a:moveTo>
                        <a:pt x="580" y="17146"/>
                      </a:moveTo>
                      <a:cubicBezTo>
                        <a:pt x="-1537" y="10170"/>
                        <a:pt x="2324" y="2697"/>
                        <a:pt x="9175" y="580"/>
                      </a:cubicBezTo>
                      <a:cubicBezTo>
                        <a:pt x="16150" y="-1538"/>
                        <a:pt x="23499" y="2323"/>
                        <a:pt x="25616" y="9298"/>
                      </a:cubicBezTo>
                      <a:cubicBezTo>
                        <a:pt x="27734" y="16274"/>
                        <a:pt x="23872" y="23747"/>
                        <a:pt x="17022" y="25865"/>
                      </a:cubicBezTo>
                      <a:cubicBezTo>
                        <a:pt x="10171" y="27982"/>
                        <a:pt x="2698" y="24121"/>
                        <a:pt x="580"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5" name="Graphic 2987">
                <a:extLst>
                  <a:ext uri="{FF2B5EF4-FFF2-40B4-BE49-F238E27FC236}">
                    <a16:creationId xmlns:a16="http://schemas.microsoft.com/office/drawing/2014/main" id="{DDA26848-7A76-EE04-06AE-45F5DC2D15F5}"/>
                  </a:ext>
                </a:extLst>
              </p:cNvPr>
              <p:cNvGrpSpPr/>
              <p:nvPr/>
            </p:nvGrpSpPr>
            <p:grpSpPr>
              <a:xfrm>
                <a:off x="4958072" y="6039499"/>
                <a:ext cx="62305" cy="143620"/>
                <a:chOff x="4958072" y="6039499"/>
                <a:chExt cx="62305" cy="143620"/>
              </a:xfrm>
              <a:grpFill/>
            </p:grpSpPr>
            <p:sp>
              <p:nvSpPr>
                <p:cNvPr id="5189" name="Freeform 4223">
                  <a:extLst>
                    <a:ext uri="{FF2B5EF4-FFF2-40B4-BE49-F238E27FC236}">
                      <a16:creationId xmlns:a16="http://schemas.microsoft.com/office/drawing/2014/main" id="{972FFC02-74D0-1E5C-76AB-B18D682750BC}"/>
                    </a:ext>
                  </a:extLst>
                </p:cNvPr>
                <p:cNvSpPr/>
                <p:nvPr/>
              </p:nvSpPr>
              <p:spPr>
                <a:xfrm>
                  <a:off x="4969975" y="6060677"/>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2" y="24912"/>
                        <a:pt x="9342" y="27153"/>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0" name="Freeform 4224">
                  <a:extLst>
                    <a:ext uri="{FF2B5EF4-FFF2-40B4-BE49-F238E27FC236}">
                      <a16:creationId xmlns:a16="http://schemas.microsoft.com/office/drawing/2014/main" id="{CE4BF374-FC2F-3B26-F5F4-41A67F02D442}"/>
                    </a:ext>
                  </a:extLst>
                </p:cNvPr>
                <p:cNvSpPr/>
                <p:nvPr/>
              </p:nvSpPr>
              <p:spPr>
                <a:xfrm>
                  <a:off x="4975207" y="6053826"/>
                  <a:ext cx="15943" cy="49573"/>
                </a:xfrm>
                <a:custGeom>
                  <a:avLst/>
                  <a:gdLst>
                    <a:gd name="connsiteX0" fmla="*/ 15943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49574"/>
                      </a:moveTo>
                      <a:cubicBezTo>
                        <a:pt x="11210" y="42599"/>
                        <a:pt x="9342" y="36495"/>
                        <a:pt x="8595" y="32260"/>
                      </a:cubicBezTo>
                      <a:cubicBezTo>
                        <a:pt x="7349" y="25409"/>
                        <a:pt x="8470" y="21798"/>
                        <a:pt x="6851" y="14947"/>
                      </a:cubicBezTo>
                      <a:cubicBezTo>
                        <a:pt x="5356"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1" name="Freeform 4225">
                  <a:extLst>
                    <a:ext uri="{FF2B5EF4-FFF2-40B4-BE49-F238E27FC236}">
                      <a16:creationId xmlns:a16="http://schemas.microsoft.com/office/drawing/2014/main" id="{93DA31F7-4F55-BE5E-03DB-3A622B92ACBB}"/>
                    </a:ext>
                  </a:extLst>
                </p:cNvPr>
                <p:cNvSpPr/>
                <p:nvPr/>
              </p:nvSpPr>
              <p:spPr>
                <a:xfrm>
                  <a:off x="4958072" y="6039499"/>
                  <a:ext cx="26546" cy="26661"/>
                </a:xfrm>
                <a:custGeom>
                  <a:avLst/>
                  <a:gdLst>
                    <a:gd name="connsiteX0" fmla="*/ 25978 w 26546"/>
                    <a:gd name="connsiteY0" fmla="*/ 9345 h 26661"/>
                    <a:gd name="connsiteX1" fmla="*/ 17134 w 26546"/>
                    <a:gd name="connsiteY1" fmla="*/ 26036 h 26661"/>
                    <a:gd name="connsiteX2" fmla="*/ 568 w 26546"/>
                    <a:gd name="connsiteY2" fmla="*/ 17316 h 26661"/>
                    <a:gd name="connsiteX3" fmla="*/ 9412 w 26546"/>
                    <a:gd name="connsiteY3" fmla="*/ 626 h 26661"/>
                    <a:gd name="connsiteX4" fmla="*/ 25978 w 26546"/>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661">
                      <a:moveTo>
                        <a:pt x="25978" y="9345"/>
                      </a:moveTo>
                      <a:cubicBezTo>
                        <a:pt x="28096" y="16320"/>
                        <a:pt x="24110" y="23793"/>
                        <a:pt x="17134" y="26036"/>
                      </a:cubicBezTo>
                      <a:cubicBezTo>
                        <a:pt x="10159" y="28278"/>
                        <a:pt x="2686" y="24292"/>
                        <a:pt x="568" y="17316"/>
                      </a:cubicBezTo>
                      <a:cubicBezTo>
                        <a:pt x="-1549" y="10341"/>
                        <a:pt x="2437" y="2868"/>
                        <a:pt x="9412" y="626"/>
                      </a:cubicBezTo>
                      <a:cubicBezTo>
                        <a:pt x="16512" y="-1616"/>
                        <a:pt x="23861" y="2369"/>
                        <a:pt x="2597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2" name="Freeform 4226">
                  <a:extLst>
                    <a:ext uri="{FF2B5EF4-FFF2-40B4-BE49-F238E27FC236}">
                      <a16:creationId xmlns:a16="http://schemas.microsoft.com/office/drawing/2014/main" id="{E92D9345-F2ED-1AB8-6607-136A36A461EC}"/>
                    </a:ext>
                  </a:extLst>
                </p:cNvPr>
                <p:cNvSpPr/>
                <p:nvPr/>
              </p:nvSpPr>
              <p:spPr>
                <a:xfrm>
                  <a:off x="4993994" y="6111870"/>
                  <a:ext cx="14593" cy="50072"/>
                </a:xfrm>
                <a:custGeom>
                  <a:avLst/>
                  <a:gdLst>
                    <a:gd name="connsiteX0" fmla="*/ 14594 w 14593"/>
                    <a:gd name="connsiteY0" fmla="*/ 50072 h 50072"/>
                    <a:gd name="connsiteX1" fmla="*/ 10982 w 14593"/>
                    <a:gd name="connsiteY1" fmla="*/ 31637 h 50072"/>
                    <a:gd name="connsiteX2" fmla="*/ 2761 w 14593"/>
                    <a:gd name="connsiteY2" fmla="*/ 16317 h 50072"/>
                    <a:gd name="connsiteX3" fmla="*/ 21 w 14593"/>
                    <a:gd name="connsiteY3" fmla="*/ 0 h 50072"/>
                  </a:gdLst>
                  <a:ahLst/>
                  <a:cxnLst>
                    <a:cxn ang="0">
                      <a:pos x="connsiteX0" y="connsiteY0"/>
                    </a:cxn>
                    <a:cxn ang="0">
                      <a:pos x="connsiteX1" y="connsiteY1"/>
                    </a:cxn>
                    <a:cxn ang="0">
                      <a:pos x="connsiteX2" y="connsiteY2"/>
                    </a:cxn>
                    <a:cxn ang="0">
                      <a:pos x="connsiteX3" y="connsiteY3"/>
                    </a:cxn>
                  </a:cxnLst>
                  <a:rect l="l" t="t" r="r" b="b"/>
                  <a:pathLst>
                    <a:path w="14593" h="50072">
                      <a:moveTo>
                        <a:pt x="14594" y="50072"/>
                      </a:moveTo>
                      <a:cubicBezTo>
                        <a:pt x="14594" y="41602"/>
                        <a:pt x="12726" y="35623"/>
                        <a:pt x="10982" y="31637"/>
                      </a:cubicBezTo>
                      <a:cubicBezTo>
                        <a:pt x="8242" y="25161"/>
                        <a:pt x="5252"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3" name="Freeform 4227">
                  <a:extLst>
                    <a:ext uri="{FF2B5EF4-FFF2-40B4-BE49-F238E27FC236}">
                      <a16:creationId xmlns:a16="http://schemas.microsoft.com/office/drawing/2014/main" id="{DC86BA1C-84A6-9905-C1DC-C11B927EF9A2}"/>
                    </a:ext>
                  </a:extLst>
                </p:cNvPr>
                <p:cNvSpPr/>
                <p:nvPr/>
              </p:nvSpPr>
              <p:spPr>
                <a:xfrm>
                  <a:off x="4987413" y="6119219"/>
                  <a:ext cx="15943" cy="49573"/>
                </a:xfrm>
                <a:custGeom>
                  <a:avLst/>
                  <a:gdLst>
                    <a:gd name="connsiteX0" fmla="*/ 0 w 15943"/>
                    <a:gd name="connsiteY0" fmla="*/ 0 h 49573"/>
                    <a:gd name="connsiteX1" fmla="*/ 7349 w 15943"/>
                    <a:gd name="connsiteY1" fmla="*/ 17313 h 49573"/>
                    <a:gd name="connsiteX2" fmla="*/ 9093 w 15943"/>
                    <a:gd name="connsiteY2" fmla="*/ 34627 h 49573"/>
                    <a:gd name="connsiteX3" fmla="*/ 15943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3078"/>
                        <a:pt x="7349" y="17313"/>
                      </a:cubicBezTo>
                      <a:cubicBezTo>
                        <a:pt x="8595" y="24164"/>
                        <a:pt x="7474" y="27776"/>
                        <a:pt x="9093" y="34627"/>
                      </a:cubicBezTo>
                      <a:cubicBezTo>
                        <a:pt x="10587" y="41353"/>
                        <a:pt x="13701" y="46460"/>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4" name="Freeform 4228">
                  <a:extLst>
                    <a:ext uri="{FF2B5EF4-FFF2-40B4-BE49-F238E27FC236}">
                      <a16:creationId xmlns:a16="http://schemas.microsoft.com/office/drawing/2014/main" id="{4C00D691-EF75-15CC-EF6F-63B2C6B221A3}"/>
                    </a:ext>
                  </a:extLst>
                </p:cNvPr>
                <p:cNvSpPr/>
                <p:nvPr/>
              </p:nvSpPr>
              <p:spPr>
                <a:xfrm>
                  <a:off x="4994058" y="6156630"/>
                  <a:ext cx="26319" cy="26490"/>
                </a:xfrm>
                <a:custGeom>
                  <a:avLst/>
                  <a:gdLst>
                    <a:gd name="connsiteX0" fmla="*/ 579 w 26319"/>
                    <a:gd name="connsiteY0" fmla="*/ 17146 h 26490"/>
                    <a:gd name="connsiteX1" fmla="*/ 9299 w 26319"/>
                    <a:gd name="connsiteY1" fmla="*/ 579 h 26490"/>
                    <a:gd name="connsiteX2" fmla="*/ 25740 w 26319"/>
                    <a:gd name="connsiteY2" fmla="*/ 9299 h 26490"/>
                    <a:gd name="connsiteX3" fmla="*/ 17021 w 26319"/>
                    <a:gd name="connsiteY3" fmla="*/ 25865 h 26490"/>
                    <a:gd name="connsiteX4" fmla="*/ 579 w 26319"/>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90">
                      <a:moveTo>
                        <a:pt x="579" y="17146"/>
                      </a:moveTo>
                      <a:cubicBezTo>
                        <a:pt x="-1538" y="10171"/>
                        <a:pt x="2323" y="2697"/>
                        <a:pt x="9299" y="579"/>
                      </a:cubicBezTo>
                      <a:cubicBezTo>
                        <a:pt x="16274" y="-1538"/>
                        <a:pt x="23623" y="2323"/>
                        <a:pt x="25740" y="9299"/>
                      </a:cubicBezTo>
                      <a:cubicBezTo>
                        <a:pt x="27858" y="16274"/>
                        <a:pt x="23996" y="23747"/>
                        <a:pt x="17021" y="25865"/>
                      </a:cubicBezTo>
                      <a:cubicBezTo>
                        <a:pt x="10046" y="28107"/>
                        <a:pt x="2697" y="24121"/>
                        <a:pt x="57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6" name="Graphic 2987">
                <a:extLst>
                  <a:ext uri="{FF2B5EF4-FFF2-40B4-BE49-F238E27FC236}">
                    <a16:creationId xmlns:a16="http://schemas.microsoft.com/office/drawing/2014/main" id="{4D913B7A-7168-68F5-B91B-1EBB96A60020}"/>
                  </a:ext>
                </a:extLst>
              </p:cNvPr>
              <p:cNvGrpSpPr/>
              <p:nvPr/>
            </p:nvGrpSpPr>
            <p:grpSpPr>
              <a:xfrm>
                <a:off x="4986472" y="6030768"/>
                <a:ext cx="61921" cy="143724"/>
                <a:chOff x="4986472" y="6030768"/>
                <a:chExt cx="61921" cy="143724"/>
              </a:xfrm>
              <a:grpFill/>
            </p:grpSpPr>
            <p:sp>
              <p:nvSpPr>
                <p:cNvPr id="5183" name="Freeform 4230">
                  <a:extLst>
                    <a:ext uri="{FF2B5EF4-FFF2-40B4-BE49-F238E27FC236}">
                      <a16:creationId xmlns:a16="http://schemas.microsoft.com/office/drawing/2014/main" id="{D72DADC9-9879-1F54-669B-3FE0CB061B27}"/>
                    </a:ext>
                  </a:extLst>
                </p:cNvPr>
                <p:cNvSpPr/>
                <p:nvPr/>
              </p:nvSpPr>
              <p:spPr>
                <a:xfrm>
                  <a:off x="4998375" y="6051833"/>
                  <a:ext cx="14349" cy="50072"/>
                </a:xfrm>
                <a:custGeom>
                  <a:avLst/>
                  <a:gdLst>
                    <a:gd name="connsiteX0" fmla="*/ 0 w 14349"/>
                    <a:gd name="connsiteY0" fmla="*/ 0 h 50072"/>
                    <a:gd name="connsiteX1" fmla="*/ 3488 w 14349"/>
                    <a:gd name="connsiteY1" fmla="*/ 18435 h 50072"/>
                    <a:gd name="connsiteX2" fmla="*/ 11708 w 14349"/>
                    <a:gd name="connsiteY2" fmla="*/ 33755 h 50072"/>
                    <a:gd name="connsiteX3" fmla="*/ 14324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0" y="0"/>
                      </a:moveTo>
                      <a:cubicBezTo>
                        <a:pt x="0" y="8345"/>
                        <a:pt x="1744" y="14449"/>
                        <a:pt x="3488" y="18435"/>
                      </a:cubicBezTo>
                      <a:cubicBezTo>
                        <a:pt x="6228" y="24912"/>
                        <a:pt x="9217" y="27153"/>
                        <a:pt x="11708" y="33755"/>
                      </a:cubicBezTo>
                      <a:cubicBezTo>
                        <a:pt x="14199" y="40232"/>
                        <a:pt x="14449" y="46086"/>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4" name="Freeform 4231">
                  <a:extLst>
                    <a:ext uri="{FF2B5EF4-FFF2-40B4-BE49-F238E27FC236}">
                      <a16:creationId xmlns:a16="http://schemas.microsoft.com/office/drawing/2014/main" id="{A36EF2B3-DD99-D5CE-ABB1-2A367240332A}"/>
                    </a:ext>
                  </a:extLst>
                </p:cNvPr>
                <p:cNvSpPr/>
                <p:nvPr/>
              </p:nvSpPr>
              <p:spPr>
                <a:xfrm>
                  <a:off x="5003606" y="6045107"/>
                  <a:ext cx="15819" cy="49698"/>
                </a:xfrm>
                <a:custGeom>
                  <a:avLst/>
                  <a:gdLst>
                    <a:gd name="connsiteX0" fmla="*/ 15819 w 15819"/>
                    <a:gd name="connsiteY0" fmla="*/ 49698 h 49698"/>
                    <a:gd name="connsiteX1" fmla="*/ 8470 w 15819"/>
                    <a:gd name="connsiteY1" fmla="*/ 32385 h 49698"/>
                    <a:gd name="connsiteX2" fmla="*/ 6851 w 15819"/>
                    <a:gd name="connsiteY2" fmla="*/ 15071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1086" y="42723"/>
                        <a:pt x="9342" y="36620"/>
                        <a:pt x="8470" y="32385"/>
                      </a:cubicBezTo>
                      <a:cubicBezTo>
                        <a:pt x="7225" y="25535"/>
                        <a:pt x="8346" y="22047"/>
                        <a:pt x="6851" y="15071"/>
                      </a:cubicBezTo>
                      <a:cubicBezTo>
                        <a:pt x="5356"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5" name="Freeform 4232">
                  <a:extLst>
                    <a:ext uri="{FF2B5EF4-FFF2-40B4-BE49-F238E27FC236}">
                      <a16:creationId xmlns:a16="http://schemas.microsoft.com/office/drawing/2014/main" id="{F22C5BC9-46A4-ABED-2C0A-B7B3185FF526}"/>
                    </a:ext>
                  </a:extLst>
                </p:cNvPr>
                <p:cNvSpPr/>
                <p:nvPr/>
              </p:nvSpPr>
              <p:spPr>
                <a:xfrm>
                  <a:off x="4986472" y="6030768"/>
                  <a:ext cx="26669" cy="26491"/>
                </a:xfrm>
                <a:custGeom>
                  <a:avLst/>
                  <a:gdLst>
                    <a:gd name="connsiteX0" fmla="*/ 26102 w 26669"/>
                    <a:gd name="connsiteY0" fmla="*/ 9481 h 26491"/>
                    <a:gd name="connsiteX1" fmla="*/ 17134 w 26669"/>
                    <a:gd name="connsiteY1" fmla="*/ 25923 h 26491"/>
                    <a:gd name="connsiteX2" fmla="*/ 568 w 26669"/>
                    <a:gd name="connsiteY2" fmla="*/ 17079 h 26491"/>
                    <a:gd name="connsiteX3" fmla="*/ 9536 w 26669"/>
                    <a:gd name="connsiteY3" fmla="*/ 513 h 26491"/>
                    <a:gd name="connsiteX4" fmla="*/ 26102 w 26669"/>
                    <a:gd name="connsiteY4" fmla="*/ 9481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491">
                      <a:moveTo>
                        <a:pt x="26102" y="9481"/>
                      </a:moveTo>
                      <a:cubicBezTo>
                        <a:pt x="28220" y="16456"/>
                        <a:pt x="24234" y="23805"/>
                        <a:pt x="17134" y="25923"/>
                      </a:cubicBezTo>
                      <a:cubicBezTo>
                        <a:pt x="10034" y="28040"/>
                        <a:pt x="2685" y="24054"/>
                        <a:pt x="568" y="17079"/>
                      </a:cubicBezTo>
                      <a:cubicBezTo>
                        <a:pt x="-1550" y="10104"/>
                        <a:pt x="2436" y="2630"/>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6" name="Freeform 4233">
                  <a:extLst>
                    <a:ext uri="{FF2B5EF4-FFF2-40B4-BE49-F238E27FC236}">
                      <a16:creationId xmlns:a16="http://schemas.microsoft.com/office/drawing/2014/main" id="{C4BCC9E2-70BA-19E9-97FC-AA9E520C82C5}"/>
                    </a:ext>
                  </a:extLst>
                </p:cNvPr>
                <p:cNvSpPr/>
                <p:nvPr/>
              </p:nvSpPr>
              <p:spPr>
                <a:xfrm>
                  <a:off x="5022389" y="6103276"/>
                  <a:ext cx="14349" cy="50196"/>
                </a:xfrm>
                <a:custGeom>
                  <a:avLst/>
                  <a:gdLst>
                    <a:gd name="connsiteX0" fmla="*/ 14350 w 14349"/>
                    <a:gd name="connsiteY0" fmla="*/ 50197 h 50196"/>
                    <a:gd name="connsiteX1" fmla="*/ 10862 w 14349"/>
                    <a:gd name="connsiteY1" fmla="*/ 31762 h 50196"/>
                    <a:gd name="connsiteX2" fmla="*/ 2641 w 14349"/>
                    <a:gd name="connsiteY2" fmla="*/ 16317 h 50196"/>
                    <a:gd name="connsiteX3" fmla="*/ 26 w 14349"/>
                    <a:gd name="connsiteY3" fmla="*/ 0 h 50196"/>
                  </a:gdLst>
                  <a:ahLst/>
                  <a:cxnLst>
                    <a:cxn ang="0">
                      <a:pos x="connsiteX0" y="connsiteY0"/>
                    </a:cxn>
                    <a:cxn ang="0">
                      <a:pos x="connsiteX1" y="connsiteY1"/>
                    </a:cxn>
                    <a:cxn ang="0">
                      <a:pos x="connsiteX2" y="connsiteY2"/>
                    </a:cxn>
                    <a:cxn ang="0">
                      <a:pos x="connsiteX3" y="connsiteY3"/>
                    </a:cxn>
                  </a:cxnLst>
                  <a:rect l="l" t="t" r="r" b="b"/>
                  <a:pathLst>
                    <a:path w="14349" h="50196">
                      <a:moveTo>
                        <a:pt x="14350" y="50197"/>
                      </a:moveTo>
                      <a:cubicBezTo>
                        <a:pt x="14350" y="41851"/>
                        <a:pt x="12481" y="35748"/>
                        <a:pt x="10862" y="31762"/>
                      </a:cubicBezTo>
                      <a:cubicBezTo>
                        <a:pt x="8122" y="25285"/>
                        <a:pt x="5132" y="23043"/>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7" name="Freeform 4234">
                  <a:extLst>
                    <a:ext uri="{FF2B5EF4-FFF2-40B4-BE49-F238E27FC236}">
                      <a16:creationId xmlns:a16="http://schemas.microsoft.com/office/drawing/2014/main" id="{0FA6C534-FA32-7DF8-9593-04865F8DDC19}"/>
                    </a:ext>
                  </a:extLst>
                </p:cNvPr>
                <p:cNvSpPr/>
                <p:nvPr/>
              </p:nvSpPr>
              <p:spPr>
                <a:xfrm>
                  <a:off x="5015688" y="6110500"/>
                  <a:ext cx="15943" cy="49698"/>
                </a:xfrm>
                <a:custGeom>
                  <a:avLst/>
                  <a:gdLst>
                    <a:gd name="connsiteX0" fmla="*/ 0 w 15943"/>
                    <a:gd name="connsiteY0" fmla="*/ 0 h 49698"/>
                    <a:gd name="connsiteX1" fmla="*/ 7349 w 15943"/>
                    <a:gd name="connsiteY1" fmla="*/ 17314 h 49698"/>
                    <a:gd name="connsiteX2" fmla="*/ 9093 w 15943"/>
                    <a:gd name="connsiteY2" fmla="*/ 34627 h 49698"/>
                    <a:gd name="connsiteX3" fmla="*/ 15943 w 15943"/>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943" h="49698">
                      <a:moveTo>
                        <a:pt x="0" y="0"/>
                      </a:moveTo>
                      <a:cubicBezTo>
                        <a:pt x="4733" y="6975"/>
                        <a:pt x="6477" y="13079"/>
                        <a:pt x="7349" y="17314"/>
                      </a:cubicBezTo>
                      <a:cubicBezTo>
                        <a:pt x="8595" y="24164"/>
                        <a:pt x="7474" y="27652"/>
                        <a:pt x="9093" y="34627"/>
                      </a:cubicBezTo>
                      <a:cubicBezTo>
                        <a:pt x="10587" y="41353"/>
                        <a:pt x="13577" y="46460"/>
                        <a:pt x="15943"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8" name="Freeform 4235">
                  <a:extLst>
                    <a:ext uri="{FF2B5EF4-FFF2-40B4-BE49-F238E27FC236}">
                      <a16:creationId xmlns:a16="http://schemas.microsoft.com/office/drawing/2014/main" id="{7448FDDE-0789-1454-3063-8B83BC33FC00}"/>
                    </a:ext>
                  </a:extLst>
                </p:cNvPr>
                <p:cNvSpPr/>
                <p:nvPr/>
              </p:nvSpPr>
              <p:spPr>
                <a:xfrm>
                  <a:off x="5022084" y="6148057"/>
                  <a:ext cx="26309" cy="26436"/>
                </a:xfrm>
                <a:custGeom>
                  <a:avLst/>
                  <a:gdLst>
                    <a:gd name="connsiteX0" fmla="*/ 579 w 26309"/>
                    <a:gd name="connsiteY0" fmla="*/ 16999 h 26436"/>
                    <a:gd name="connsiteX1" fmla="*/ 9299 w 26309"/>
                    <a:gd name="connsiteY1" fmla="*/ 558 h 26436"/>
                    <a:gd name="connsiteX2" fmla="*/ 25740 w 26309"/>
                    <a:gd name="connsiteY2" fmla="*/ 9526 h 26436"/>
                    <a:gd name="connsiteX3" fmla="*/ 17021 w 26309"/>
                    <a:gd name="connsiteY3" fmla="*/ 25968 h 26436"/>
                    <a:gd name="connsiteX4" fmla="*/ 579 w 26309"/>
                    <a:gd name="connsiteY4" fmla="*/ 16999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36">
                      <a:moveTo>
                        <a:pt x="579" y="16999"/>
                      </a:moveTo>
                      <a:cubicBezTo>
                        <a:pt x="-1538" y="10024"/>
                        <a:pt x="2323" y="2551"/>
                        <a:pt x="9299" y="558"/>
                      </a:cubicBezTo>
                      <a:cubicBezTo>
                        <a:pt x="16274" y="-1560"/>
                        <a:pt x="23623" y="2551"/>
                        <a:pt x="25740" y="9526"/>
                      </a:cubicBezTo>
                      <a:cubicBezTo>
                        <a:pt x="27858" y="16501"/>
                        <a:pt x="23872" y="23850"/>
                        <a:pt x="17021" y="25968"/>
                      </a:cubicBezTo>
                      <a:cubicBezTo>
                        <a:pt x="10046" y="27836"/>
                        <a:pt x="2697" y="23975"/>
                        <a:pt x="579"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7" name="Graphic 2987">
                <a:extLst>
                  <a:ext uri="{FF2B5EF4-FFF2-40B4-BE49-F238E27FC236}">
                    <a16:creationId xmlns:a16="http://schemas.microsoft.com/office/drawing/2014/main" id="{D376966E-8B45-F397-5E63-54350C7087EF}"/>
                  </a:ext>
                </a:extLst>
              </p:cNvPr>
              <p:cNvGrpSpPr/>
              <p:nvPr/>
            </p:nvGrpSpPr>
            <p:grpSpPr>
              <a:xfrm>
                <a:off x="5015120" y="6022298"/>
                <a:ext cx="61546" cy="143823"/>
                <a:chOff x="5015120" y="6022298"/>
                <a:chExt cx="61546" cy="143823"/>
              </a:xfrm>
              <a:grpFill/>
            </p:grpSpPr>
            <p:sp>
              <p:nvSpPr>
                <p:cNvPr id="5177" name="Freeform 4237">
                  <a:extLst>
                    <a:ext uri="{FF2B5EF4-FFF2-40B4-BE49-F238E27FC236}">
                      <a16:creationId xmlns:a16="http://schemas.microsoft.com/office/drawing/2014/main" id="{72E7597D-C425-7040-4BC1-76920AE5DE24}"/>
                    </a:ext>
                  </a:extLst>
                </p:cNvPr>
                <p:cNvSpPr/>
                <p:nvPr/>
              </p:nvSpPr>
              <p:spPr>
                <a:xfrm>
                  <a:off x="5026892" y="6043488"/>
                  <a:ext cx="14355" cy="50196"/>
                </a:xfrm>
                <a:custGeom>
                  <a:avLst/>
                  <a:gdLst>
                    <a:gd name="connsiteX0" fmla="*/ 6 w 14355"/>
                    <a:gd name="connsiteY0" fmla="*/ 0 h 50196"/>
                    <a:gd name="connsiteX1" fmla="*/ 3493 w 14355"/>
                    <a:gd name="connsiteY1" fmla="*/ 18435 h 50196"/>
                    <a:gd name="connsiteX2" fmla="*/ 11714 w 14355"/>
                    <a:gd name="connsiteY2" fmla="*/ 33880 h 50196"/>
                    <a:gd name="connsiteX3" fmla="*/ 14330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6" y="0"/>
                      </a:moveTo>
                      <a:cubicBezTo>
                        <a:pt x="-118" y="8470"/>
                        <a:pt x="1750" y="14449"/>
                        <a:pt x="3493" y="18435"/>
                      </a:cubicBezTo>
                      <a:cubicBezTo>
                        <a:pt x="6234" y="24912"/>
                        <a:pt x="9223" y="27154"/>
                        <a:pt x="11714" y="33880"/>
                      </a:cubicBezTo>
                      <a:cubicBezTo>
                        <a:pt x="14206" y="40357"/>
                        <a:pt x="14455" y="46211"/>
                        <a:pt x="1433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8" name="Freeform 4238">
                  <a:extLst>
                    <a:ext uri="{FF2B5EF4-FFF2-40B4-BE49-F238E27FC236}">
                      <a16:creationId xmlns:a16="http://schemas.microsoft.com/office/drawing/2014/main" id="{914D57FE-27B9-8F51-40C4-E1DD519227C2}"/>
                    </a:ext>
                  </a:extLst>
                </p:cNvPr>
                <p:cNvSpPr/>
                <p:nvPr/>
              </p:nvSpPr>
              <p:spPr>
                <a:xfrm>
                  <a:off x="5032254" y="6036637"/>
                  <a:ext cx="15569" cy="49698"/>
                </a:xfrm>
                <a:custGeom>
                  <a:avLst/>
                  <a:gdLst>
                    <a:gd name="connsiteX0" fmla="*/ 15570 w 15569"/>
                    <a:gd name="connsiteY0" fmla="*/ 49698 h 49698"/>
                    <a:gd name="connsiteX1" fmla="*/ 8345 w 15569"/>
                    <a:gd name="connsiteY1" fmla="*/ 32385 h 49698"/>
                    <a:gd name="connsiteX2" fmla="*/ 6726 w 15569"/>
                    <a:gd name="connsiteY2" fmla="*/ 15071 h 49698"/>
                    <a:gd name="connsiteX3" fmla="*/ 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15570" y="49698"/>
                      </a:moveTo>
                      <a:cubicBezTo>
                        <a:pt x="10836" y="42723"/>
                        <a:pt x="9092" y="36620"/>
                        <a:pt x="8345" y="32385"/>
                      </a:cubicBezTo>
                      <a:cubicBezTo>
                        <a:pt x="7099" y="25534"/>
                        <a:pt x="8221" y="21922"/>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9" name="Freeform 4239">
                  <a:extLst>
                    <a:ext uri="{FF2B5EF4-FFF2-40B4-BE49-F238E27FC236}">
                      <a16:creationId xmlns:a16="http://schemas.microsoft.com/office/drawing/2014/main" id="{F8FEADFF-5DCE-9951-748E-0FDB25E4322B}"/>
                    </a:ext>
                  </a:extLst>
                </p:cNvPr>
                <p:cNvSpPr/>
                <p:nvPr/>
              </p:nvSpPr>
              <p:spPr>
                <a:xfrm>
                  <a:off x="5015120" y="6022298"/>
                  <a:ext cx="26659" cy="26490"/>
                </a:xfrm>
                <a:custGeom>
                  <a:avLst/>
                  <a:gdLst>
                    <a:gd name="connsiteX0" fmla="*/ 26102 w 26659"/>
                    <a:gd name="connsiteY0" fmla="*/ 9481 h 26490"/>
                    <a:gd name="connsiteX1" fmla="*/ 17134 w 26659"/>
                    <a:gd name="connsiteY1" fmla="*/ 25923 h 26490"/>
                    <a:gd name="connsiteX2" fmla="*/ 568 w 26659"/>
                    <a:gd name="connsiteY2" fmla="*/ 16955 h 26490"/>
                    <a:gd name="connsiteX3" fmla="*/ 9536 w 26659"/>
                    <a:gd name="connsiteY3" fmla="*/ 513 h 26490"/>
                    <a:gd name="connsiteX4" fmla="*/ 26102 w 26659"/>
                    <a:gd name="connsiteY4" fmla="*/ 9481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90">
                      <a:moveTo>
                        <a:pt x="26102" y="9481"/>
                      </a:moveTo>
                      <a:cubicBezTo>
                        <a:pt x="28219" y="16456"/>
                        <a:pt x="24109" y="23930"/>
                        <a:pt x="17134" y="25923"/>
                      </a:cubicBezTo>
                      <a:cubicBezTo>
                        <a:pt x="10034" y="28040"/>
                        <a:pt x="2685" y="24054"/>
                        <a:pt x="568" y="16955"/>
                      </a:cubicBezTo>
                      <a:cubicBezTo>
                        <a:pt x="-1550" y="9855"/>
                        <a:pt x="2436" y="2506"/>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0" name="Freeform 4240">
                  <a:extLst>
                    <a:ext uri="{FF2B5EF4-FFF2-40B4-BE49-F238E27FC236}">
                      <a16:creationId xmlns:a16="http://schemas.microsoft.com/office/drawing/2014/main" id="{BEBCAA52-0B9B-5B9C-C891-BA5CDE51D98F}"/>
                    </a:ext>
                  </a:extLst>
                </p:cNvPr>
                <p:cNvSpPr/>
                <p:nvPr/>
              </p:nvSpPr>
              <p:spPr>
                <a:xfrm>
                  <a:off x="5050663" y="6094930"/>
                  <a:ext cx="14225" cy="50196"/>
                </a:xfrm>
                <a:custGeom>
                  <a:avLst/>
                  <a:gdLst>
                    <a:gd name="connsiteX0" fmla="*/ 14225 w 14225"/>
                    <a:gd name="connsiteY0" fmla="*/ 50197 h 50196"/>
                    <a:gd name="connsiteX1" fmla="*/ 10738 w 14225"/>
                    <a:gd name="connsiteY1" fmla="*/ 31762 h 50196"/>
                    <a:gd name="connsiteX2" fmla="*/ 2641 w 14225"/>
                    <a:gd name="connsiteY2" fmla="*/ 16317 h 50196"/>
                    <a:gd name="connsiteX3" fmla="*/ 25 w 14225"/>
                    <a:gd name="connsiteY3" fmla="*/ 0 h 50196"/>
                  </a:gdLst>
                  <a:ahLst/>
                  <a:cxnLst>
                    <a:cxn ang="0">
                      <a:pos x="connsiteX0" y="connsiteY0"/>
                    </a:cxn>
                    <a:cxn ang="0">
                      <a:pos x="connsiteX1" y="connsiteY1"/>
                    </a:cxn>
                    <a:cxn ang="0">
                      <a:pos x="connsiteX2" y="connsiteY2"/>
                    </a:cxn>
                    <a:cxn ang="0">
                      <a:pos x="connsiteX3" y="connsiteY3"/>
                    </a:cxn>
                  </a:cxnLst>
                  <a:rect l="l" t="t" r="r" b="b"/>
                  <a:pathLst>
                    <a:path w="14225" h="50196">
                      <a:moveTo>
                        <a:pt x="14225" y="50197"/>
                      </a:moveTo>
                      <a:cubicBezTo>
                        <a:pt x="14225" y="41852"/>
                        <a:pt x="12481" y="35748"/>
                        <a:pt x="10738" y="31762"/>
                      </a:cubicBezTo>
                      <a:cubicBezTo>
                        <a:pt x="7997" y="25285"/>
                        <a:pt x="5132" y="23043"/>
                        <a:pt x="2641" y="16317"/>
                      </a:cubicBezTo>
                      <a:cubicBezTo>
                        <a:pt x="150" y="9840"/>
                        <a:pt x="-99" y="3986"/>
                        <a:pt x="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1" name="Freeform 4241">
                  <a:extLst>
                    <a:ext uri="{FF2B5EF4-FFF2-40B4-BE49-F238E27FC236}">
                      <a16:creationId xmlns:a16="http://schemas.microsoft.com/office/drawing/2014/main" id="{0A3D12FD-143C-B4B3-3DBE-693BA3F69919}"/>
                    </a:ext>
                  </a:extLst>
                </p:cNvPr>
                <p:cNvSpPr/>
                <p:nvPr/>
              </p:nvSpPr>
              <p:spPr>
                <a:xfrm>
                  <a:off x="5043963" y="6102155"/>
                  <a:ext cx="15569" cy="49698"/>
                </a:xfrm>
                <a:custGeom>
                  <a:avLst/>
                  <a:gdLst>
                    <a:gd name="connsiteX0" fmla="*/ 0 w 15569"/>
                    <a:gd name="connsiteY0" fmla="*/ 0 h 49698"/>
                    <a:gd name="connsiteX1" fmla="*/ 7224 w 15569"/>
                    <a:gd name="connsiteY1" fmla="*/ 17313 h 49698"/>
                    <a:gd name="connsiteX2" fmla="*/ 8843 w 15569"/>
                    <a:gd name="connsiteY2" fmla="*/ 34627 h 49698"/>
                    <a:gd name="connsiteX3" fmla="*/ 15570 w 1556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733" y="6975"/>
                        <a:pt x="6477" y="13078"/>
                        <a:pt x="7224" y="17313"/>
                      </a:cubicBezTo>
                      <a:cubicBezTo>
                        <a:pt x="8470" y="24164"/>
                        <a:pt x="7349" y="27776"/>
                        <a:pt x="8843" y="34627"/>
                      </a:cubicBezTo>
                      <a:cubicBezTo>
                        <a:pt x="10338" y="41353"/>
                        <a:pt x="13327" y="46460"/>
                        <a:pt x="1557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2" name="Freeform 4242">
                  <a:extLst>
                    <a:ext uri="{FF2B5EF4-FFF2-40B4-BE49-F238E27FC236}">
                      <a16:creationId xmlns:a16="http://schemas.microsoft.com/office/drawing/2014/main" id="{6DE9B657-927F-8A83-3F5A-F270564FE51A}"/>
                    </a:ext>
                  </a:extLst>
                </p:cNvPr>
                <p:cNvSpPr/>
                <p:nvPr/>
              </p:nvSpPr>
              <p:spPr>
                <a:xfrm>
                  <a:off x="5050245" y="6139587"/>
                  <a:ext cx="26422" cy="26535"/>
                </a:xfrm>
                <a:custGeom>
                  <a:avLst/>
                  <a:gdLst>
                    <a:gd name="connsiteX0" fmla="*/ 568 w 26422"/>
                    <a:gd name="connsiteY0" fmla="*/ 16999 h 26535"/>
                    <a:gd name="connsiteX1" fmla="*/ 9412 w 26422"/>
                    <a:gd name="connsiteY1" fmla="*/ 558 h 26535"/>
                    <a:gd name="connsiteX2" fmla="*/ 25854 w 26422"/>
                    <a:gd name="connsiteY2" fmla="*/ 9526 h 26535"/>
                    <a:gd name="connsiteX3" fmla="*/ 17010 w 26422"/>
                    <a:gd name="connsiteY3" fmla="*/ 25968 h 26535"/>
                    <a:gd name="connsiteX4" fmla="*/ 568 w 26422"/>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35">
                      <a:moveTo>
                        <a:pt x="568" y="16999"/>
                      </a:moveTo>
                      <a:cubicBezTo>
                        <a:pt x="-1549" y="10024"/>
                        <a:pt x="2437" y="2675"/>
                        <a:pt x="9412" y="558"/>
                      </a:cubicBezTo>
                      <a:cubicBezTo>
                        <a:pt x="16387" y="-1560"/>
                        <a:pt x="23736" y="2551"/>
                        <a:pt x="25854" y="9526"/>
                      </a:cubicBezTo>
                      <a:cubicBezTo>
                        <a:pt x="27971" y="16501"/>
                        <a:pt x="23985" y="23850"/>
                        <a:pt x="17010" y="25968"/>
                      </a:cubicBezTo>
                      <a:cubicBezTo>
                        <a:pt x="10035"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8" name="Graphic 2987">
                <a:extLst>
                  <a:ext uri="{FF2B5EF4-FFF2-40B4-BE49-F238E27FC236}">
                    <a16:creationId xmlns:a16="http://schemas.microsoft.com/office/drawing/2014/main" id="{F263CB1E-2A84-AFF5-C233-EA1831417AB0}"/>
                  </a:ext>
                </a:extLst>
              </p:cNvPr>
              <p:cNvGrpSpPr/>
              <p:nvPr/>
            </p:nvGrpSpPr>
            <p:grpSpPr>
              <a:xfrm>
                <a:off x="5043654" y="6013943"/>
                <a:ext cx="61163" cy="143833"/>
                <a:chOff x="5043654" y="6013943"/>
                <a:chExt cx="61163" cy="143833"/>
              </a:xfrm>
              <a:grpFill/>
            </p:grpSpPr>
            <p:sp>
              <p:nvSpPr>
                <p:cNvPr id="5171" name="Freeform 4244">
                  <a:extLst>
                    <a:ext uri="{FF2B5EF4-FFF2-40B4-BE49-F238E27FC236}">
                      <a16:creationId xmlns:a16="http://schemas.microsoft.com/office/drawing/2014/main" id="{1846C5A7-FC83-8051-69D7-624493B616C0}"/>
                    </a:ext>
                  </a:extLst>
                </p:cNvPr>
                <p:cNvSpPr/>
                <p:nvPr/>
              </p:nvSpPr>
              <p:spPr>
                <a:xfrm>
                  <a:off x="5055416" y="6035018"/>
                  <a:ext cx="14102" cy="50196"/>
                </a:xfrm>
                <a:custGeom>
                  <a:avLst/>
                  <a:gdLst>
                    <a:gd name="connsiteX0" fmla="*/ 6 w 14102"/>
                    <a:gd name="connsiteY0" fmla="*/ 0 h 50196"/>
                    <a:gd name="connsiteX1" fmla="*/ 3369 w 14102"/>
                    <a:gd name="connsiteY1" fmla="*/ 18435 h 50196"/>
                    <a:gd name="connsiteX2" fmla="*/ 11465 w 14102"/>
                    <a:gd name="connsiteY2" fmla="*/ 33880 h 50196"/>
                    <a:gd name="connsiteX3" fmla="*/ 1408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6" y="0"/>
                      </a:moveTo>
                      <a:cubicBezTo>
                        <a:pt x="-119" y="8470"/>
                        <a:pt x="1750" y="14449"/>
                        <a:pt x="3369" y="18435"/>
                      </a:cubicBezTo>
                      <a:cubicBezTo>
                        <a:pt x="6109" y="24912"/>
                        <a:pt x="8974" y="27153"/>
                        <a:pt x="11465" y="33880"/>
                      </a:cubicBezTo>
                      <a:cubicBezTo>
                        <a:pt x="13832" y="40357"/>
                        <a:pt x="14206" y="46211"/>
                        <a:pt x="1408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2" name="Freeform 4245">
                  <a:extLst>
                    <a:ext uri="{FF2B5EF4-FFF2-40B4-BE49-F238E27FC236}">
                      <a16:creationId xmlns:a16="http://schemas.microsoft.com/office/drawing/2014/main" id="{CB0ACD6A-CA0C-3280-608D-7326B6B992DC}"/>
                    </a:ext>
                  </a:extLst>
                </p:cNvPr>
                <p:cNvSpPr/>
                <p:nvPr/>
              </p:nvSpPr>
              <p:spPr>
                <a:xfrm>
                  <a:off x="5060778" y="6028292"/>
                  <a:ext cx="15445" cy="49698"/>
                </a:xfrm>
                <a:custGeom>
                  <a:avLst/>
                  <a:gdLst>
                    <a:gd name="connsiteX0" fmla="*/ 15445 w 15445"/>
                    <a:gd name="connsiteY0" fmla="*/ 49699 h 49698"/>
                    <a:gd name="connsiteX1" fmla="*/ 8221 w 15445"/>
                    <a:gd name="connsiteY1" fmla="*/ 32385 h 49698"/>
                    <a:gd name="connsiteX2" fmla="*/ 6726 w 15445"/>
                    <a:gd name="connsiteY2" fmla="*/ 15072 h 49698"/>
                    <a:gd name="connsiteX3" fmla="*/ 0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49699"/>
                      </a:moveTo>
                      <a:cubicBezTo>
                        <a:pt x="10837" y="42724"/>
                        <a:pt x="8968" y="36620"/>
                        <a:pt x="8221" y="32385"/>
                      </a:cubicBezTo>
                      <a:cubicBezTo>
                        <a:pt x="6975" y="25535"/>
                        <a:pt x="8221" y="21922"/>
                        <a:pt x="6726" y="15072"/>
                      </a:cubicBezTo>
                      <a:cubicBezTo>
                        <a:pt x="5232"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3" name="Freeform 4246">
                  <a:extLst>
                    <a:ext uri="{FF2B5EF4-FFF2-40B4-BE49-F238E27FC236}">
                      <a16:creationId xmlns:a16="http://schemas.microsoft.com/office/drawing/2014/main" id="{C38EA046-D4C0-15B9-5ACE-1E914DE213DF}"/>
                    </a:ext>
                  </a:extLst>
                </p:cNvPr>
                <p:cNvSpPr/>
                <p:nvPr/>
              </p:nvSpPr>
              <p:spPr>
                <a:xfrm>
                  <a:off x="5043654" y="6013943"/>
                  <a:ext cx="26649" cy="26499"/>
                </a:xfrm>
                <a:custGeom>
                  <a:avLst/>
                  <a:gdLst>
                    <a:gd name="connsiteX0" fmla="*/ 26092 w 26649"/>
                    <a:gd name="connsiteY0" fmla="*/ 9491 h 26499"/>
                    <a:gd name="connsiteX1" fmla="*/ 17124 w 26649"/>
                    <a:gd name="connsiteY1" fmla="*/ 25932 h 26499"/>
                    <a:gd name="connsiteX2" fmla="*/ 558 w 26649"/>
                    <a:gd name="connsiteY2" fmla="*/ 16964 h 26499"/>
                    <a:gd name="connsiteX3" fmla="*/ 9526 w 26649"/>
                    <a:gd name="connsiteY3" fmla="*/ 523 h 26499"/>
                    <a:gd name="connsiteX4" fmla="*/ 26092 w 26649"/>
                    <a:gd name="connsiteY4" fmla="*/ 9491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499">
                      <a:moveTo>
                        <a:pt x="26092" y="9491"/>
                      </a:moveTo>
                      <a:cubicBezTo>
                        <a:pt x="28210" y="16466"/>
                        <a:pt x="24099" y="23939"/>
                        <a:pt x="17124" y="25932"/>
                      </a:cubicBezTo>
                      <a:cubicBezTo>
                        <a:pt x="10024" y="28050"/>
                        <a:pt x="2675" y="24064"/>
                        <a:pt x="558" y="16964"/>
                      </a:cubicBezTo>
                      <a:cubicBezTo>
                        <a:pt x="-1560" y="9989"/>
                        <a:pt x="2551" y="2516"/>
                        <a:pt x="9526" y="523"/>
                      </a:cubicBezTo>
                      <a:cubicBezTo>
                        <a:pt x="16501" y="-1470"/>
                        <a:pt x="23975" y="2391"/>
                        <a:pt x="26092" y="94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4" name="Freeform 4247">
                  <a:extLst>
                    <a:ext uri="{FF2B5EF4-FFF2-40B4-BE49-F238E27FC236}">
                      <a16:creationId xmlns:a16="http://schemas.microsoft.com/office/drawing/2014/main" id="{6D0E7261-6C49-F643-539F-848CDF8B71C2}"/>
                    </a:ext>
                  </a:extLst>
                </p:cNvPr>
                <p:cNvSpPr/>
                <p:nvPr/>
              </p:nvSpPr>
              <p:spPr>
                <a:xfrm>
                  <a:off x="5079067" y="6086585"/>
                  <a:ext cx="14101" cy="50196"/>
                </a:xfrm>
                <a:custGeom>
                  <a:avLst/>
                  <a:gdLst>
                    <a:gd name="connsiteX0" fmla="*/ 14096 w 14101"/>
                    <a:gd name="connsiteY0" fmla="*/ 50197 h 50196"/>
                    <a:gd name="connsiteX1" fmla="*/ 10733 w 14101"/>
                    <a:gd name="connsiteY1" fmla="*/ 31762 h 50196"/>
                    <a:gd name="connsiteX2" fmla="*/ 2637 w 14101"/>
                    <a:gd name="connsiteY2" fmla="*/ 16317 h 50196"/>
                    <a:gd name="connsiteX3" fmla="*/ 21 w 14101"/>
                    <a:gd name="connsiteY3" fmla="*/ 0 h 50196"/>
                  </a:gdLst>
                  <a:ahLst/>
                  <a:cxnLst>
                    <a:cxn ang="0">
                      <a:pos x="connsiteX0" y="connsiteY0"/>
                    </a:cxn>
                    <a:cxn ang="0">
                      <a:pos x="connsiteX1" y="connsiteY1"/>
                    </a:cxn>
                    <a:cxn ang="0">
                      <a:pos x="connsiteX2" y="connsiteY2"/>
                    </a:cxn>
                    <a:cxn ang="0">
                      <a:pos x="connsiteX3" y="connsiteY3"/>
                    </a:cxn>
                  </a:cxnLst>
                  <a:rect l="l" t="t" r="r" b="b"/>
                  <a:pathLst>
                    <a:path w="14101" h="50196">
                      <a:moveTo>
                        <a:pt x="14096" y="50197"/>
                      </a:moveTo>
                      <a:cubicBezTo>
                        <a:pt x="14221" y="41727"/>
                        <a:pt x="12352" y="35748"/>
                        <a:pt x="10733" y="31762"/>
                      </a:cubicBezTo>
                      <a:cubicBezTo>
                        <a:pt x="7993" y="25285"/>
                        <a:pt x="5128" y="23043"/>
                        <a:pt x="2637" y="16317"/>
                      </a:cubicBezTo>
                      <a:cubicBezTo>
                        <a:pt x="270" y="9840"/>
                        <a:pt x="-103"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5" name="Freeform 4248">
                  <a:extLst>
                    <a:ext uri="{FF2B5EF4-FFF2-40B4-BE49-F238E27FC236}">
                      <a16:creationId xmlns:a16="http://schemas.microsoft.com/office/drawing/2014/main" id="{5345BBF4-B02A-7F6E-8B91-6DAA787D4B0C}"/>
                    </a:ext>
                  </a:extLst>
                </p:cNvPr>
                <p:cNvSpPr/>
                <p:nvPr/>
              </p:nvSpPr>
              <p:spPr>
                <a:xfrm>
                  <a:off x="5072362" y="6093685"/>
                  <a:ext cx="15569" cy="49698"/>
                </a:xfrm>
                <a:custGeom>
                  <a:avLst/>
                  <a:gdLst>
                    <a:gd name="connsiteX0" fmla="*/ 0 w 15569"/>
                    <a:gd name="connsiteY0" fmla="*/ 0 h 49698"/>
                    <a:gd name="connsiteX1" fmla="*/ 7224 w 15569"/>
                    <a:gd name="connsiteY1" fmla="*/ 17314 h 49698"/>
                    <a:gd name="connsiteX2" fmla="*/ 8843 w 15569"/>
                    <a:gd name="connsiteY2" fmla="*/ 34627 h 49698"/>
                    <a:gd name="connsiteX3" fmla="*/ 15570 w 15569"/>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609" y="6975"/>
                        <a:pt x="6477" y="13079"/>
                        <a:pt x="7224" y="17314"/>
                      </a:cubicBezTo>
                      <a:cubicBezTo>
                        <a:pt x="8470" y="24164"/>
                        <a:pt x="7224" y="27776"/>
                        <a:pt x="8843" y="34627"/>
                      </a:cubicBezTo>
                      <a:cubicBezTo>
                        <a:pt x="10338" y="41353"/>
                        <a:pt x="13327" y="46460"/>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6" name="Freeform 4249">
                  <a:extLst>
                    <a:ext uri="{FF2B5EF4-FFF2-40B4-BE49-F238E27FC236}">
                      <a16:creationId xmlns:a16="http://schemas.microsoft.com/office/drawing/2014/main" id="{C086164F-DD0D-EB47-958E-4DE6E605772B}"/>
                    </a:ext>
                  </a:extLst>
                </p:cNvPr>
                <p:cNvSpPr/>
                <p:nvPr/>
              </p:nvSpPr>
              <p:spPr>
                <a:xfrm>
                  <a:off x="5078519" y="6131241"/>
                  <a:ext cx="26297" cy="26535"/>
                </a:xfrm>
                <a:custGeom>
                  <a:avLst/>
                  <a:gdLst>
                    <a:gd name="connsiteX0" fmla="*/ 568 w 26297"/>
                    <a:gd name="connsiteY0" fmla="*/ 16999 h 26535"/>
                    <a:gd name="connsiteX1" fmla="*/ 9412 w 26297"/>
                    <a:gd name="connsiteY1" fmla="*/ 558 h 26535"/>
                    <a:gd name="connsiteX2" fmla="*/ 25729 w 26297"/>
                    <a:gd name="connsiteY2" fmla="*/ 9526 h 26535"/>
                    <a:gd name="connsiteX3" fmla="*/ 16885 w 26297"/>
                    <a:gd name="connsiteY3" fmla="*/ 25968 h 26535"/>
                    <a:gd name="connsiteX4" fmla="*/ 568 w 26297"/>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35">
                      <a:moveTo>
                        <a:pt x="568" y="16999"/>
                      </a:moveTo>
                      <a:cubicBezTo>
                        <a:pt x="-1549" y="10024"/>
                        <a:pt x="2437" y="2675"/>
                        <a:pt x="9412" y="558"/>
                      </a:cubicBezTo>
                      <a:cubicBezTo>
                        <a:pt x="16387" y="-1560"/>
                        <a:pt x="23736" y="2551"/>
                        <a:pt x="25729" y="9526"/>
                      </a:cubicBezTo>
                      <a:cubicBezTo>
                        <a:pt x="27846" y="16501"/>
                        <a:pt x="23861" y="23850"/>
                        <a:pt x="16885" y="25968"/>
                      </a:cubicBezTo>
                      <a:cubicBezTo>
                        <a:pt x="9910"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9" name="Graphic 2987">
                <a:extLst>
                  <a:ext uri="{FF2B5EF4-FFF2-40B4-BE49-F238E27FC236}">
                    <a16:creationId xmlns:a16="http://schemas.microsoft.com/office/drawing/2014/main" id="{7360C860-606A-059C-97FB-2A18AF2A46C9}"/>
                  </a:ext>
                </a:extLst>
              </p:cNvPr>
              <p:cNvGrpSpPr/>
              <p:nvPr/>
            </p:nvGrpSpPr>
            <p:grpSpPr>
              <a:xfrm>
                <a:off x="5072178" y="6005428"/>
                <a:ext cx="60733" cy="144002"/>
                <a:chOff x="5072178" y="6005428"/>
                <a:chExt cx="60733" cy="144002"/>
              </a:xfrm>
              <a:grpFill/>
            </p:grpSpPr>
            <p:sp>
              <p:nvSpPr>
                <p:cNvPr id="5165" name="Freeform 4251">
                  <a:extLst>
                    <a:ext uri="{FF2B5EF4-FFF2-40B4-BE49-F238E27FC236}">
                      <a16:creationId xmlns:a16="http://schemas.microsoft.com/office/drawing/2014/main" id="{776EAF93-5001-BAD5-7B5F-A6E085A73F70}"/>
                    </a:ext>
                  </a:extLst>
                </p:cNvPr>
                <p:cNvSpPr/>
                <p:nvPr/>
              </p:nvSpPr>
              <p:spPr>
                <a:xfrm>
                  <a:off x="5083939" y="602654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6" y="14449"/>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6" name="Freeform 4252">
                  <a:extLst>
                    <a:ext uri="{FF2B5EF4-FFF2-40B4-BE49-F238E27FC236}">
                      <a16:creationId xmlns:a16="http://schemas.microsoft.com/office/drawing/2014/main" id="{D2016077-B085-8C7F-F79E-4D073398CF1D}"/>
                    </a:ext>
                  </a:extLst>
                </p:cNvPr>
                <p:cNvSpPr/>
                <p:nvPr/>
              </p:nvSpPr>
              <p:spPr>
                <a:xfrm>
                  <a:off x="5089302" y="6019697"/>
                  <a:ext cx="15320" cy="49823"/>
                </a:xfrm>
                <a:custGeom>
                  <a:avLst/>
                  <a:gdLst>
                    <a:gd name="connsiteX0" fmla="*/ 15321 w 15320"/>
                    <a:gd name="connsiteY0" fmla="*/ 49823 h 49823"/>
                    <a:gd name="connsiteX1" fmla="*/ 8221 w 15320"/>
                    <a:gd name="connsiteY1" fmla="*/ 32385 h 49823"/>
                    <a:gd name="connsiteX2" fmla="*/ 6726 w 15320"/>
                    <a:gd name="connsiteY2" fmla="*/ 1507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0712" y="42848"/>
                        <a:pt x="8968" y="36745"/>
                        <a:pt x="8221" y="32385"/>
                      </a:cubicBezTo>
                      <a:cubicBezTo>
                        <a:pt x="6975" y="25535"/>
                        <a:pt x="8221" y="21922"/>
                        <a:pt x="6726" y="15072"/>
                      </a:cubicBezTo>
                      <a:cubicBezTo>
                        <a:pt x="5232"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7" name="Freeform 4253">
                  <a:extLst>
                    <a:ext uri="{FF2B5EF4-FFF2-40B4-BE49-F238E27FC236}">
                      <a16:creationId xmlns:a16="http://schemas.microsoft.com/office/drawing/2014/main" id="{2D204A91-CF14-EAA2-F022-FBE84B38E834}"/>
                    </a:ext>
                  </a:extLst>
                </p:cNvPr>
                <p:cNvSpPr/>
                <p:nvPr/>
              </p:nvSpPr>
              <p:spPr>
                <a:xfrm>
                  <a:off x="5072178" y="6005428"/>
                  <a:ext cx="26603" cy="26544"/>
                </a:xfrm>
                <a:custGeom>
                  <a:avLst/>
                  <a:gdLst>
                    <a:gd name="connsiteX0" fmla="*/ 26091 w 26603"/>
                    <a:gd name="connsiteY0" fmla="*/ 9536 h 26544"/>
                    <a:gd name="connsiteX1" fmla="*/ 16998 w 26603"/>
                    <a:gd name="connsiteY1" fmla="*/ 25977 h 26544"/>
                    <a:gd name="connsiteX2" fmla="*/ 557 w 26603"/>
                    <a:gd name="connsiteY2" fmla="*/ 17009 h 26544"/>
                    <a:gd name="connsiteX3" fmla="*/ 9650 w 26603"/>
                    <a:gd name="connsiteY3" fmla="*/ 568 h 26544"/>
                    <a:gd name="connsiteX4" fmla="*/ 26091 w 26603"/>
                    <a:gd name="connsiteY4" fmla="*/ 953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4">
                      <a:moveTo>
                        <a:pt x="26091" y="9536"/>
                      </a:moveTo>
                      <a:cubicBezTo>
                        <a:pt x="28084" y="16511"/>
                        <a:pt x="24098" y="23984"/>
                        <a:pt x="16998" y="25977"/>
                      </a:cubicBezTo>
                      <a:cubicBezTo>
                        <a:pt x="9899" y="28095"/>
                        <a:pt x="2550" y="24109"/>
                        <a:pt x="557" y="17009"/>
                      </a:cubicBezTo>
                      <a:cubicBezTo>
                        <a:pt x="-1561" y="10034"/>
                        <a:pt x="2550" y="2561"/>
                        <a:pt x="9650" y="568"/>
                      </a:cubicBezTo>
                      <a:cubicBezTo>
                        <a:pt x="16625" y="-1550"/>
                        <a:pt x="24098" y="2436"/>
                        <a:pt x="26091" y="95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8" name="Freeform 4254">
                  <a:extLst>
                    <a:ext uri="{FF2B5EF4-FFF2-40B4-BE49-F238E27FC236}">
                      <a16:creationId xmlns:a16="http://schemas.microsoft.com/office/drawing/2014/main" id="{0EB52D91-2E10-7211-3326-5D0326E2F02B}"/>
                    </a:ext>
                  </a:extLst>
                </p:cNvPr>
                <p:cNvSpPr/>
                <p:nvPr/>
              </p:nvSpPr>
              <p:spPr>
                <a:xfrm>
                  <a:off x="5107337" y="6078115"/>
                  <a:ext cx="13982" cy="50321"/>
                </a:xfrm>
                <a:custGeom>
                  <a:avLst/>
                  <a:gdLst>
                    <a:gd name="connsiteX0" fmla="*/ 13976 w 13982"/>
                    <a:gd name="connsiteY0" fmla="*/ 50321 h 50321"/>
                    <a:gd name="connsiteX1" fmla="*/ 10613 w 13982"/>
                    <a:gd name="connsiteY1" fmla="*/ 31762 h 50321"/>
                    <a:gd name="connsiteX2" fmla="*/ 2517 w 13982"/>
                    <a:gd name="connsiteY2" fmla="*/ 16317 h 50321"/>
                    <a:gd name="connsiteX3" fmla="*/ 2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13976" y="50321"/>
                      </a:moveTo>
                      <a:cubicBezTo>
                        <a:pt x="14101" y="41852"/>
                        <a:pt x="12232" y="35873"/>
                        <a:pt x="10613" y="31762"/>
                      </a:cubicBezTo>
                      <a:cubicBezTo>
                        <a:pt x="7873" y="25285"/>
                        <a:pt x="5008" y="23043"/>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9" name="Freeform 4255">
                  <a:extLst>
                    <a:ext uri="{FF2B5EF4-FFF2-40B4-BE49-F238E27FC236}">
                      <a16:creationId xmlns:a16="http://schemas.microsoft.com/office/drawing/2014/main" id="{94F82F25-B68D-3A4B-4F03-F3F0503FA99D}"/>
                    </a:ext>
                  </a:extLst>
                </p:cNvPr>
                <p:cNvSpPr/>
                <p:nvPr/>
              </p:nvSpPr>
              <p:spPr>
                <a:xfrm>
                  <a:off x="5100761" y="6085339"/>
                  <a:ext cx="15196" cy="49823"/>
                </a:xfrm>
                <a:custGeom>
                  <a:avLst/>
                  <a:gdLst>
                    <a:gd name="connsiteX0" fmla="*/ 0 w 15196"/>
                    <a:gd name="connsiteY0" fmla="*/ 0 h 49823"/>
                    <a:gd name="connsiteX1" fmla="*/ 7099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2" y="13078"/>
                        <a:pt x="7099" y="17438"/>
                      </a:cubicBezTo>
                      <a:cubicBezTo>
                        <a:pt x="8345" y="24289"/>
                        <a:pt x="7099" y="27901"/>
                        <a:pt x="8595" y="34752"/>
                      </a:cubicBezTo>
                      <a:cubicBezTo>
                        <a:pt x="10089" y="41478"/>
                        <a:pt x="12954" y="46584"/>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0" name="Freeform 4256">
                  <a:extLst>
                    <a:ext uri="{FF2B5EF4-FFF2-40B4-BE49-F238E27FC236}">
                      <a16:creationId xmlns:a16="http://schemas.microsoft.com/office/drawing/2014/main" id="{A6C95681-A5AC-0862-4E59-AE5E66F932A7}"/>
                    </a:ext>
                  </a:extLst>
                </p:cNvPr>
                <p:cNvSpPr/>
                <p:nvPr/>
              </p:nvSpPr>
              <p:spPr>
                <a:xfrm>
                  <a:off x="5106669" y="6122941"/>
                  <a:ext cx="26242" cy="26490"/>
                </a:xfrm>
                <a:custGeom>
                  <a:avLst/>
                  <a:gdLst>
                    <a:gd name="connsiteX0" fmla="*/ 568 w 26242"/>
                    <a:gd name="connsiteY0" fmla="*/ 16955 h 26490"/>
                    <a:gd name="connsiteX1" fmla="*/ 9412 w 26242"/>
                    <a:gd name="connsiteY1" fmla="*/ 513 h 26490"/>
                    <a:gd name="connsiteX2" fmla="*/ 25729 w 26242"/>
                    <a:gd name="connsiteY2" fmla="*/ 9481 h 26490"/>
                    <a:gd name="connsiteX3" fmla="*/ 16886 w 26242"/>
                    <a:gd name="connsiteY3" fmla="*/ 25923 h 26490"/>
                    <a:gd name="connsiteX4" fmla="*/ 568 w 26242"/>
                    <a:gd name="connsiteY4" fmla="*/ 16955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90">
                      <a:moveTo>
                        <a:pt x="568" y="16955"/>
                      </a:moveTo>
                      <a:cubicBezTo>
                        <a:pt x="-1549" y="9980"/>
                        <a:pt x="2437" y="2506"/>
                        <a:pt x="9412" y="513"/>
                      </a:cubicBezTo>
                      <a:cubicBezTo>
                        <a:pt x="16387" y="-1480"/>
                        <a:pt x="23736" y="2506"/>
                        <a:pt x="25729" y="9481"/>
                      </a:cubicBezTo>
                      <a:cubicBezTo>
                        <a:pt x="27722" y="16456"/>
                        <a:pt x="23736" y="23930"/>
                        <a:pt x="16886" y="25923"/>
                      </a:cubicBezTo>
                      <a:cubicBezTo>
                        <a:pt x="9910" y="28040"/>
                        <a:pt x="2686" y="24054"/>
                        <a:pt x="568" y="1695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0" name="Graphic 2987">
                <a:extLst>
                  <a:ext uri="{FF2B5EF4-FFF2-40B4-BE49-F238E27FC236}">
                    <a16:creationId xmlns:a16="http://schemas.microsoft.com/office/drawing/2014/main" id="{E6305764-4058-D752-F94A-56EAE842A2EA}"/>
                  </a:ext>
                </a:extLst>
              </p:cNvPr>
              <p:cNvGrpSpPr/>
              <p:nvPr/>
            </p:nvGrpSpPr>
            <p:grpSpPr>
              <a:xfrm>
                <a:off x="5100747" y="5996898"/>
                <a:ext cx="60439" cy="144256"/>
                <a:chOff x="5100747" y="5996898"/>
                <a:chExt cx="60439" cy="144256"/>
              </a:xfrm>
              <a:grpFill/>
            </p:grpSpPr>
            <p:sp>
              <p:nvSpPr>
                <p:cNvPr id="5159" name="Freeform 4258">
                  <a:extLst>
                    <a:ext uri="{FF2B5EF4-FFF2-40B4-BE49-F238E27FC236}">
                      <a16:creationId xmlns:a16="http://schemas.microsoft.com/office/drawing/2014/main" id="{0575560C-187A-8FAF-12D5-DF5000E1194F}"/>
                    </a:ext>
                  </a:extLst>
                </p:cNvPr>
                <p:cNvSpPr/>
                <p:nvPr/>
              </p:nvSpPr>
              <p:spPr>
                <a:xfrm>
                  <a:off x="5112463" y="601807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5" y="14573"/>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0" name="Freeform 4259">
                  <a:extLst>
                    <a:ext uri="{FF2B5EF4-FFF2-40B4-BE49-F238E27FC236}">
                      <a16:creationId xmlns:a16="http://schemas.microsoft.com/office/drawing/2014/main" id="{B830B105-42D6-82FD-F61B-C5B536DA23C1}"/>
                    </a:ext>
                  </a:extLst>
                </p:cNvPr>
                <p:cNvSpPr/>
                <p:nvPr/>
              </p:nvSpPr>
              <p:spPr>
                <a:xfrm>
                  <a:off x="5117825" y="6011227"/>
                  <a:ext cx="15196" cy="49947"/>
                </a:xfrm>
                <a:custGeom>
                  <a:avLst/>
                  <a:gdLst>
                    <a:gd name="connsiteX0" fmla="*/ 15196 w 15196"/>
                    <a:gd name="connsiteY0" fmla="*/ 49948 h 49947"/>
                    <a:gd name="connsiteX1" fmla="*/ 8096 w 15196"/>
                    <a:gd name="connsiteY1" fmla="*/ 32510 h 49947"/>
                    <a:gd name="connsiteX2" fmla="*/ 6602 w 15196"/>
                    <a:gd name="connsiteY2" fmla="*/ 15071 h 49947"/>
                    <a:gd name="connsiteX3" fmla="*/ 0 w 15196"/>
                    <a:gd name="connsiteY3" fmla="*/ 0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49948"/>
                      </a:moveTo>
                      <a:cubicBezTo>
                        <a:pt x="10587" y="42973"/>
                        <a:pt x="8843" y="36869"/>
                        <a:pt x="8096" y="32510"/>
                      </a:cubicBezTo>
                      <a:cubicBezTo>
                        <a:pt x="6851" y="25659"/>
                        <a:pt x="8096" y="22047"/>
                        <a:pt x="6602" y="15071"/>
                      </a:cubicBezTo>
                      <a:cubicBezTo>
                        <a:pt x="5107"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1" name="Freeform 4260">
                  <a:extLst>
                    <a:ext uri="{FF2B5EF4-FFF2-40B4-BE49-F238E27FC236}">
                      <a16:creationId xmlns:a16="http://schemas.microsoft.com/office/drawing/2014/main" id="{07E2FCB7-E8DD-90EB-7C3C-8451A49099D5}"/>
                    </a:ext>
                  </a:extLst>
                </p:cNvPr>
                <p:cNvSpPr/>
                <p:nvPr/>
              </p:nvSpPr>
              <p:spPr>
                <a:xfrm>
                  <a:off x="5100747" y="5996898"/>
                  <a:ext cx="26549" cy="26605"/>
                </a:xfrm>
                <a:custGeom>
                  <a:avLst/>
                  <a:gdLst>
                    <a:gd name="connsiteX0" fmla="*/ 26047 w 26549"/>
                    <a:gd name="connsiteY0" fmla="*/ 9596 h 26605"/>
                    <a:gd name="connsiteX1" fmla="*/ 16954 w 26549"/>
                    <a:gd name="connsiteY1" fmla="*/ 26037 h 26605"/>
                    <a:gd name="connsiteX2" fmla="*/ 512 w 26549"/>
                    <a:gd name="connsiteY2" fmla="*/ 17069 h 26605"/>
                    <a:gd name="connsiteX3" fmla="*/ 9605 w 26549"/>
                    <a:gd name="connsiteY3" fmla="*/ 503 h 26605"/>
                    <a:gd name="connsiteX4" fmla="*/ 26047 w 26549"/>
                    <a:gd name="connsiteY4" fmla="*/ 9596 h 2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605">
                      <a:moveTo>
                        <a:pt x="26047" y="9596"/>
                      </a:moveTo>
                      <a:cubicBezTo>
                        <a:pt x="28040" y="16571"/>
                        <a:pt x="23929" y="23920"/>
                        <a:pt x="16954" y="26037"/>
                      </a:cubicBezTo>
                      <a:cubicBezTo>
                        <a:pt x="9854" y="28155"/>
                        <a:pt x="2505" y="24169"/>
                        <a:pt x="512" y="17069"/>
                      </a:cubicBezTo>
                      <a:cubicBezTo>
                        <a:pt x="-1480" y="10094"/>
                        <a:pt x="2505" y="2620"/>
                        <a:pt x="9605" y="503"/>
                      </a:cubicBezTo>
                      <a:cubicBezTo>
                        <a:pt x="16705" y="-1490"/>
                        <a:pt x="24054" y="2620"/>
                        <a:pt x="26047"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2" name="Freeform 4261">
                  <a:extLst>
                    <a:ext uri="{FF2B5EF4-FFF2-40B4-BE49-F238E27FC236}">
                      <a16:creationId xmlns:a16="http://schemas.microsoft.com/office/drawing/2014/main" id="{336AE7D6-477C-1E1B-4796-360B95689405}"/>
                    </a:ext>
                  </a:extLst>
                </p:cNvPr>
                <p:cNvSpPr/>
                <p:nvPr/>
              </p:nvSpPr>
              <p:spPr>
                <a:xfrm>
                  <a:off x="5135736" y="6069770"/>
                  <a:ext cx="13857" cy="50321"/>
                </a:xfrm>
                <a:custGeom>
                  <a:avLst/>
                  <a:gdLst>
                    <a:gd name="connsiteX0" fmla="*/ 13852 w 13857"/>
                    <a:gd name="connsiteY0" fmla="*/ 50321 h 50321"/>
                    <a:gd name="connsiteX1" fmla="*/ 10489 w 13857"/>
                    <a:gd name="connsiteY1" fmla="*/ 31762 h 50321"/>
                    <a:gd name="connsiteX2" fmla="*/ 2517 w 13857"/>
                    <a:gd name="connsiteY2" fmla="*/ 16317 h 50321"/>
                    <a:gd name="connsiteX3" fmla="*/ 26 w 13857"/>
                    <a:gd name="connsiteY3" fmla="*/ 0 h 50321"/>
                  </a:gdLst>
                  <a:ahLst/>
                  <a:cxnLst>
                    <a:cxn ang="0">
                      <a:pos x="connsiteX0" y="connsiteY0"/>
                    </a:cxn>
                    <a:cxn ang="0">
                      <a:pos x="connsiteX1" y="connsiteY1"/>
                    </a:cxn>
                    <a:cxn ang="0">
                      <a:pos x="connsiteX2" y="connsiteY2"/>
                    </a:cxn>
                    <a:cxn ang="0">
                      <a:pos x="connsiteX3" y="connsiteY3"/>
                    </a:cxn>
                  </a:cxnLst>
                  <a:rect l="l" t="t" r="r" b="b"/>
                  <a:pathLst>
                    <a:path w="13857" h="50321">
                      <a:moveTo>
                        <a:pt x="13852" y="50321"/>
                      </a:moveTo>
                      <a:cubicBezTo>
                        <a:pt x="13976" y="41851"/>
                        <a:pt x="12232" y="35748"/>
                        <a:pt x="10489" y="31762"/>
                      </a:cubicBezTo>
                      <a:cubicBezTo>
                        <a:pt x="7873" y="25285"/>
                        <a:pt x="4883" y="22919"/>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3" name="Freeform 4262">
                  <a:extLst>
                    <a:ext uri="{FF2B5EF4-FFF2-40B4-BE49-F238E27FC236}">
                      <a16:creationId xmlns:a16="http://schemas.microsoft.com/office/drawing/2014/main" id="{4831FF4D-AC7D-C3E1-C4EB-203C93CCEB94}"/>
                    </a:ext>
                  </a:extLst>
                </p:cNvPr>
                <p:cNvSpPr/>
                <p:nvPr/>
              </p:nvSpPr>
              <p:spPr>
                <a:xfrm>
                  <a:off x="5129036" y="6076994"/>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3" y="13079"/>
                        <a:pt x="7100" y="17438"/>
                      </a:cubicBezTo>
                      <a:cubicBezTo>
                        <a:pt x="8346" y="24289"/>
                        <a:pt x="7100" y="27901"/>
                        <a:pt x="8595" y="34752"/>
                      </a:cubicBezTo>
                      <a:cubicBezTo>
                        <a:pt x="10089"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4" name="Freeform 4263">
                  <a:extLst>
                    <a:ext uri="{FF2B5EF4-FFF2-40B4-BE49-F238E27FC236}">
                      <a16:creationId xmlns:a16="http://schemas.microsoft.com/office/drawing/2014/main" id="{21293609-6ED4-F356-A1B9-57D712F902C7}"/>
                    </a:ext>
                  </a:extLst>
                </p:cNvPr>
                <p:cNvSpPr/>
                <p:nvPr/>
              </p:nvSpPr>
              <p:spPr>
                <a:xfrm>
                  <a:off x="5134875" y="6114552"/>
                  <a:ext cx="26311" cy="26603"/>
                </a:xfrm>
                <a:custGeom>
                  <a:avLst/>
                  <a:gdLst>
                    <a:gd name="connsiteX0" fmla="*/ 513 w 26311"/>
                    <a:gd name="connsiteY0" fmla="*/ 16999 h 26603"/>
                    <a:gd name="connsiteX1" fmla="*/ 9481 w 26311"/>
                    <a:gd name="connsiteY1" fmla="*/ 557 h 26603"/>
                    <a:gd name="connsiteX2" fmla="*/ 25798 w 26311"/>
                    <a:gd name="connsiteY2" fmla="*/ 9650 h 26603"/>
                    <a:gd name="connsiteX3" fmla="*/ 16830 w 26311"/>
                    <a:gd name="connsiteY3" fmla="*/ 26091 h 26603"/>
                    <a:gd name="connsiteX4" fmla="*/ 513 w 26311"/>
                    <a:gd name="connsiteY4" fmla="*/ 16999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603">
                      <a:moveTo>
                        <a:pt x="513" y="16999"/>
                      </a:moveTo>
                      <a:cubicBezTo>
                        <a:pt x="-1480" y="10023"/>
                        <a:pt x="2506" y="2550"/>
                        <a:pt x="9481" y="557"/>
                      </a:cubicBezTo>
                      <a:cubicBezTo>
                        <a:pt x="16456" y="-1560"/>
                        <a:pt x="23805" y="2550"/>
                        <a:pt x="25798" y="9650"/>
                      </a:cubicBezTo>
                      <a:cubicBezTo>
                        <a:pt x="27791" y="16625"/>
                        <a:pt x="23805" y="23974"/>
                        <a:pt x="16830" y="26091"/>
                      </a:cubicBezTo>
                      <a:cubicBezTo>
                        <a:pt x="9855" y="28084"/>
                        <a:pt x="2630" y="24099"/>
                        <a:pt x="513"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1" name="Graphic 2987">
                <a:extLst>
                  <a:ext uri="{FF2B5EF4-FFF2-40B4-BE49-F238E27FC236}">
                    <a16:creationId xmlns:a16="http://schemas.microsoft.com/office/drawing/2014/main" id="{B63D5F56-AFA0-691D-166B-6F4D294FD88F}"/>
                  </a:ext>
                </a:extLst>
              </p:cNvPr>
              <p:cNvGrpSpPr/>
              <p:nvPr/>
            </p:nvGrpSpPr>
            <p:grpSpPr>
              <a:xfrm>
                <a:off x="5129280" y="5988873"/>
                <a:ext cx="60180" cy="144176"/>
                <a:chOff x="5129280" y="5988873"/>
                <a:chExt cx="60180" cy="144176"/>
              </a:xfrm>
              <a:grpFill/>
            </p:grpSpPr>
            <p:sp>
              <p:nvSpPr>
                <p:cNvPr id="5153" name="Freeform 4265">
                  <a:extLst>
                    <a:ext uri="{FF2B5EF4-FFF2-40B4-BE49-F238E27FC236}">
                      <a16:creationId xmlns:a16="http://schemas.microsoft.com/office/drawing/2014/main" id="{83D8C2C8-490C-AE50-1DEF-9C223D4455A6}"/>
                    </a:ext>
                  </a:extLst>
                </p:cNvPr>
                <p:cNvSpPr/>
                <p:nvPr/>
              </p:nvSpPr>
              <p:spPr>
                <a:xfrm>
                  <a:off x="5141111" y="6009857"/>
                  <a:ext cx="13659" cy="50321"/>
                </a:xfrm>
                <a:custGeom>
                  <a:avLst/>
                  <a:gdLst>
                    <a:gd name="connsiteX0" fmla="*/ 6 w 13659"/>
                    <a:gd name="connsiteY0" fmla="*/ 0 h 50321"/>
                    <a:gd name="connsiteX1" fmla="*/ 3245 w 13659"/>
                    <a:gd name="connsiteY1" fmla="*/ 18559 h 50321"/>
                    <a:gd name="connsiteX2" fmla="*/ 11216 w 13659"/>
                    <a:gd name="connsiteY2" fmla="*/ 34004 h 50321"/>
                    <a:gd name="connsiteX3" fmla="*/ 13583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6" y="0"/>
                      </a:moveTo>
                      <a:cubicBezTo>
                        <a:pt x="-118" y="8345"/>
                        <a:pt x="1626" y="14449"/>
                        <a:pt x="3245" y="18559"/>
                      </a:cubicBezTo>
                      <a:cubicBezTo>
                        <a:pt x="5861" y="25036"/>
                        <a:pt x="8850" y="27402"/>
                        <a:pt x="11216"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4" name="Freeform 4266">
                  <a:extLst>
                    <a:ext uri="{FF2B5EF4-FFF2-40B4-BE49-F238E27FC236}">
                      <a16:creationId xmlns:a16="http://schemas.microsoft.com/office/drawing/2014/main" id="{2FC1DEC3-FB2B-F0EE-B0A2-7E99FE119BE5}"/>
                    </a:ext>
                  </a:extLst>
                </p:cNvPr>
                <p:cNvSpPr/>
                <p:nvPr/>
              </p:nvSpPr>
              <p:spPr>
                <a:xfrm>
                  <a:off x="5146474" y="6003131"/>
                  <a:ext cx="15071" cy="49947"/>
                </a:xfrm>
                <a:custGeom>
                  <a:avLst/>
                  <a:gdLst>
                    <a:gd name="connsiteX0" fmla="*/ 15072 w 15071"/>
                    <a:gd name="connsiteY0" fmla="*/ 49948 h 49947"/>
                    <a:gd name="connsiteX1" fmla="*/ 7972 w 15071"/>
                    <a:gd name="connsiteY1" fmla="*/ 32509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09"/>
                      </a:cubicBezTo>
                      <a:cubicBezTo>
                        <a:pt x="6851" y="25659"/>
                        <a:pt x="7972" y="22047"/>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5" name="Freeform 4267">
                  <a:extLst>
                    <a:ext uri="{FF2B5EF4-FFF2-40B4-BE49-F238E27FC236}">
                      <a16:creationId xmlns:a16="http://schemas.microsoft.com/office/drawing/2014/main" id="{9CC086E6-129F-3004-A613-392376A23D2F}"/>
                    </a:ext>
                  </a:extLst>
                </p:cNvPr>
                <p:cNvSpPr/>
                <p:nvPr/>
              </p:nvSpPr>
              <p:spPr>
                <a:xfrm>
                  <a:off x="5129280" y="5988873"/>
                  <a:ext cx="26663" cy="26469"/>
                </a:xfrm>
                <a:custGeom>
                  <a:avLst/>
                  <a:gdLst>
                    <a:gd name="connsiteX0" fmla="*/ 26161 w 26663"/>
                    <a:gd name="connsiteY0" fmla="*/ 9650 h 26469"/>
                    <a:gd name="connsiteX1" fmla="*/ 16944 w 26663"/>
                    <a:gd name="connsiteY1" fmla="*/ 25967 h 26469"/>
                    <a:gd name="connsiteX2" fmla="*/ 503 w 26663"/>
                    <a:gd name="connsiteY2" fmla="*/ 16874 h 26469"/>
                    <a:gd name="connsiteX3" fmla="*/ 9720 w 26663"/>
                    <a:gd name="connsiteY3" fmla="*/ 557 h 26469"/>
                    <a:gd name="connsiteX4" fmla="*/ 26161 w 26663"/>
                    <a:gd name="connsiteY4" fmla="*/ 965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69">
                      <a:moveTo>
                        <a:pt x="26161" y="9650"/>
                      </a:moveTo>
                      <a:cubicBezTo>
                        <a:pt x="28154" y="16750"/>
                        <a:pt x="24044" y="23974"/>
                        <a:pt x="16944" y="25967"/>
                      </a:cubicBezTo>
                      <a:cubicBezTo>
                        <a:pt x="9844" y="27960"/>
                        <a:pt x="2496" y="23849"/>
                        <a:pt x="503" y="16874"/>
                      </a:cubicBezTo>
                      <a:cubicBezTo>
                        <a:pt x="-1490" y="9899"/>
                        <a:pt x="2620" y="2550"/>
                        <a:pt x="9720" y="557"/>
                      </a:cubicBezTo>
                      <a:cubicBezTo>
                        <a:pt x="16820" y="-1560"/>
                        <a:pt x="24168" y="2550"/>
                        <a:pt x="26161" y="96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6" name="Freeform 4268">
                  <a:extLst>
                    <a:ext uri="{FF2B5EF4-FFF2-40B4-BE49-F238E27FC236}">
                      <a16:creationId xmlns:a16="http://schemas.microsoft.com/office/drawing/2014/main" id="{905B3E30-05C2-2322-83E9-F900B1E7E273}"/>
                    </a:ext>
                  </a:extLst>
                </p:cNvPr>
                <p:cNvSpPr/>
                <p:nvPr/>
              </p:nvSpPr>
              <p:spPr>
                <a:xfrm>
                  <a:off x="5164208" y="6061673"/>
                  <a:ext cx="13660" cy="50321"/>
                </a:xfrm>
                <a:custGeom>
                  <a:avLst/>
                  <a:gdLst>
                    <a:gd name="connsiteX0" fmla="*/ 13654 w 13660"/>
                    <a:gd name="connsiteY0" fmla="*/ 50321 h 50321"/>
                    <a:gd name="connsiteX1" fmla="*/ 10415 w 13660"/>
                    <a:gd name="connsiteY1" fmla="*/ 31762 h 50321"/>
                    <a:gd name="connsiteX2" fmla="*/ 2444 w 13660"/>
                    <a:gd name="connsiteY2" fmla="*/ 16317 h 50321"/>
                    <a:gd name="connsiteX3" fmla="*/ 77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13654" y="50321"/>
                      </a:moveTo>
                      <a:cubicBezTo>
                        <a:pt x="13778" y="41976"/>
                        <a:pt x="12035" y="35872"/>
                        <a:pt x="10415" y="31762"/>
                      </a:cubicBezTo>
                      <a:cubicBezTo>
                        <a:pt x="7800" y="25285"/>
                        <a:pt x="4935" y="22919"/>
                        <a:pt x="2444"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7" name="Freeform 4269">
                  <a:extLst>
                    <a:ext uri="{FF2B5EF4-FFF2-40B4-BE49-F238E27FC236}">
                      <a16:creationId xmlns:a16="http://schemas.microsoft.com/office/drawing/2014/main" id="{E08C18E6-FAC4-220F-1E72-1DCBA7125B0B}"/>
                    </a:ext>
                  </a:extLst>
                </p:cNvPr>
                <p:cNvSpPr/>
                <p:nvPr/>
              </p:nvSpPr>
              <p:spPr>
                <a:xfrm>
                  <a:off x="5157435" y="6068773"/>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1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7100" y="27776"/>
                        <a:pt x="8470" y="34752"/>
                      </a:cubicBezTo>
                      <a:cubicBezTo>
                        <a:pt x="9840" y="41478"/>
                        <a:pt x="12829" y="46585"/>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8" name="Freeform 4270">
                  <a:extLst>
                    <a:ext uri="{FF2B5EF4-FFF2-40B4-BE49-F238E27FC236}">
                      <a16:creationId xmlns:a16="http://schemas.microsoft.com/office/drawing/2014/main" id="{3E4C95BB-796B-8E68-25D3-AEF6CF39341F}"/>
                    </a:ext>
                  </a:extLst>
                </p:cNvPr>
                <p:cNvSpPr/>
                <p:nvPr/>
              </p:nvSpPr>
              <p:spPr>
                <a:xfrm>
                  <a:off x="5163150" y="6106510"/>
                  <a:ext cx="26311" cy="26539"/>
                </a:xfrm>
                <a:custGeom>
                  <a:avLst/>
                  <a:gdLst>
                    <a:gd name="connsiteX0" fmla="*/ 513 w 26311"/>
                    <a:gd name="connsiteY0" fmla="*/ 16820 h 26539"/>
                    <a:gd name="connsiteX1" fmla="*/ 9481 w 26311"/>
                    <a:gd name="connsiteY1" fmla="*/ 503 h 26539"/>
                    <a:gd name="connsiteX2" fmla="*/ 25798 w 26311"/>
                    <a:gd name="connsiteY2" fmla="*/ 9720 h 26539"/>
                    <a:gd name="connsiteX3" fmla="*/ 16830 w 26311"/>
                    <a:gd name="connsiteY3" fmla="*/ 26037 h 26539"/>
                    <a:gd name="connsiteX4" fmla="*/ 513 w 2631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513" y="16820"/>
                      </a:moveTo>
                      <a:cubicBezTo>
                        <a:pt x="-1480" y="9844"/>
                        <a:pt x="2506" y="2496"/>
                        <a:pt x="9481" y="503"/>
                      </a:cubicBezTo>
                      <a:cubicBezTo>
                        <a:pt x="16456" y="-1490"/>
                        <a:pt x="23805" y="2620"/>
                        <a:pt x="25798" y="9720"/>
                      </a:cubicBezTo>
                      <a:cubicBezTo>
                        <a:pt x="27791" y="16820"/>
                        <a:pt x="23805" y="24044"/>
                        <a:pt x="16830" y="26037"/>
                      </a:cubicBezTo>
                      <a:cubicBezTo>
                        <a:pt x="9855" y="28030"/>
                        <a:pt x="2506" y="23919"/>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2" name="Graphic 2987">
                <a:extLst>
                  <a:ext uri="{FF2B5EF4-FFF2-40B4-BE49-F238E27FC236}">
                    <a16:creationId xmlns:a16="http://schemas.microsoft.com/office/drawing/2014/main" id="{63357723-0BD8-7C8C-3584-2FE523EB922C}"/>
                  </a:ext>
                </a:extLst>
              </p:cNvPr>
              <p:cNvGrpSpPr/>
              <p:nvPr/>
            </p:nvGrpSpPr>
            <p:grpSpPr>
              <a:xfrm>
                <a:off x="5158053" y="5980758"/>
                <a:ext cx="59796" cy="144319"/>
                <a:chOff x="5158053" y="5980758"/>
                <a:chExt cx="59796" cy="144319"/>
              </a:xfrm>
              <a:grpFill/>
            </p:grpSpPr>
            <p:sp>
              <p:nvSpPr>
                <p:cNvPr id="5147" name="Freeform 4272">
                  <a:extLst>
                    <a:ext uri="{FF2B5EF4-FFF2-40B4-BE49-F238E27FC236}">
                      <a16:creationId xmlns:a16="http://schemas.microsoft.com/office/drawing/2014/main" id="{06C2A979-2813-8D92-48A9-2502F03BB553}"/>
                    </a:ext>
                  </a:extLst>
                </p:cNvPr>
                <p:cNvSpPr/>
                <p:nvPr/>
              </p:nvSpPr>
              <p:spPr>
                <a:xfrm>
                  <a:off x="5169742" y="6001886"/>
                  <a:ext cx="13677" cy="50446"/>
                </a:xfrm>
                <a:custGeom>
                  <a:avLst/>
                  <a:gdLst>
                    <a:gd name="connsiteX0" fmla="*/ 24 w 13677"/>
                    <a:gd name="connsiteY0" fmla="*/ 0 h 50446"/>
                    <a:gd name="connsiteX1" fmla="*/ 3262 w 13677"/>
                    <a:gd name="connsiteY1" fmla="*/ 18559 h 50446"/>
                    <a:gd name="connsiteX2" fmla="*/ 11234 w 13677"/>
                    <a:gd name="connsiteY2" fmla="*/ 34129 h 50446"/>
                    <a:gd name="connsiteX3" fmla="*/ 13601 w 1367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676" h="50446">
                      <a:moveTo>
                        <a:pt x="24" y="0"/>
                      </a:moveTo>
                      <a:cubicBezTo>
                        <a:pt x="-225" y="8470"/>
                        <a:pt x="1519" y="14449"/>
                        <a:pt x="3262" y="18559"/>
                      </a:cubicBezTo>
                      <a:cubicBezTo>
                        <a:pt x="5878" y="25036"/>
                        <a:pt x="8743" y="27403"/>
                        <a:pt x="11234" y="34129"/>
                      </a:cubicBezTo>
                      <a:cubicBezTo>
                        <a:pt x="13601" y="40606"/>
                        <a:pt x="13850" y="46460"/>
                        <a:pt x="13601"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8" name="Freeform 4273">
                  <a:extLst>
                    <a:ext uri="{FF2B5EF4-FFF2-40B4-BE49-F238E27FC236}">
                      <a16:creationId xmlns:a16="http://schemas.microsoft.com/office/drawing/2014/main" id="{8F745C7A-DA18-AB9F-FC2F-33C2C4275174}"/>
                    </a:ext>
                  </a:extLst>
                </p:cNvPr>
                <p:cNvSpPr/>
                <p:nvPr/>
              </p:nvSpPr>
              <p:spPr>
                <a:xfrm>
                  <a:off x="5175246" y="5995159"/>
                  <a:ext cx="14822" cy="49947"/>
                </a:xfrm>
                <a:custGeom>
                  <a:avLst/>
                  <a:gdLst>
                    <a:gd name="connsiteX0" fmla="*/ 14822 w 14822"/>
                    <a:gd name="connsiteY0" fmla="*/ 49948 h 49947"/>
                    <a:gd name="connsiteX1" fmla="*/ 7847 w 14822"/>
                    <a:gd name="connsiteY1" fmla="*/ 32510 h 49947"/>
                    <a:gd name="connsiteX2" fmla="*/ 6477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2" y="22047"/>
                        <a:pt x="6477" y="15196"/>
                      </a:cubicBezTo>
                      <a:cubicBezTo>
                        <a:pt x="5107"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9" name="Freeform 4274">
                  <a:extLst>
                    <a:ext uri="{FF2B5EF4-FFF2-40B4-BE49-F238E27FC236}">
                      <a16:creationId xmlns:a16="http://schemas.microsoft.com/office/drawing/2014/main" id="{B190B4B3-64A8-868D-BE94-2F197C68D87E}"/>
                    </a:ext>
                  </a:extLst>
                </p:cNvPr>
                <p:cNvSpPr/>
                <p:nvPr/>
              </p:nvSpPr>
              <p:spPr>
                <a:xfrm>
                  <a:off x="5158053" y="5980758"/>
                  <a:ext cx="26663" cy="26487"/>
                </a:xfrm>
                <a:custGeom>
                  <a:avLst/>
                  <a:gdLst>
                    <a:gd name="connsiteX0" fmla="*/ 26161 w 26663"/>
                    <a:gd name="connsiteY0" fmla="*/ 9668 h 26487"/>
                    <a:gd name="connsiteX1" fmla="*/ 16944 w 26663"/>
                    <a:gd name="connsiteY1" fmla="*/ 25985 h 26487"/>
                    <a:gd name="connsiteX2" fmla="*/ 503 w 26663"/>
                    <a:gd name="connsiteY2" fmla="*/ 16768 h 26487"/>
                    <a:gd name="connsiteX3" fmla="*/ 9720 w 26663"/>
                    <a:gd name="connsiteY3" fmla="*/ 451 h 26487"/>
                    <a:gd name="connsiteX4" fmla="*/ 26161 w 26663"/>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87">
                      <a:moveTo>
                        <a:pt x="26161" y="9668"/>
                      </a:moveTo>
                      <a:cubicBezTo>
                        <a:pt x="28154" y="16768"/>
                        <a:pt x="24044" y="23992"/>
                        <a:pt x="16944" y="25985"/>
                      </a:cubicBezTo>
                      <a:cubicBezTo>
                        <a:pt x="9844" y="27978"/>
                        <a:pt x="2496" y="23867"/>
                        <a:pt x="503" y="16768"/>
                      </a:cubicBezTo>
                      <a:cubicBezTo>
                        <a:pt x="-1490" y="9668"/>
                        <a:pt x="2620" y="2443"/>
                        <a:pt x="9720" y="451"/>
                      </a:cubicBezTo>
                      <a:cubicBezTo>
                        <a:pt x="16820" y="-1418"/>
                        <a:pt x="24168" y="2693"/>
                        <a:pt x="26161"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0" name="Freeform 4275">
                  <a:extLst>
                    <a:ext uri="{FF2B5EF4-FFF2-40B4-BE49-F238E27FC236}">
                      <a16:creationId xmlns:a16="http://schemas.microsoft.com/office/drawing/2014/main" id="{EEF53A94-99F1-BE5F-B209-09BF9FB8EACA}"/>
                    </a:ext>
                  </a:extLst>
                </p:cNvPr>
                <p:cNvSpPr/>
                <p:nvPr/>
              </p:nvSpPr>
              <p:spPr>
                <a:xfrm>
                  <a:off x="5192608" y="6053577"/>
                  <a:ext cx="13660" cy="50446"/>
                </a:xfrm>
                <a:custGeom>
                  <a:avLst/>
                  <a:gdLst>
                    <a:gd name="connsiteX0" fmla="*/ 13654 w 13660"/>
                    <a:gd name="connsiteY0" fmla="*/ 50446 h 50446"/>
                    <a:gd name="connsiteX1" fmla="*/ 10415 w 13660"/>
                    <a:gd name="connsiteY1" fmla="*/ 31887 h 50446"/>
                    <a:gd name="connsiteX2" fmla="*/ 2443 w 13660"/>
                    <a:gd name="connsiteY2" fmla="*/ 16317 h 50446"/>
                    <a:gd name="connsiteX3" fmla="*/ 77 w 13660"/>
                    <a:gd name="connsiteY3" fmla="*/ 0 h 50446"/>
                  </a:gdLst>
                  <a:ahLst/>
                  <a:cxnLst>
                    <a:cxn ang="0">
                      <a:pos x="connsiteX0" y="connsiteY0"/>
                    </a:cxn>
                    <a:cxn ang="0">
                      <a:pos x="connsiteX1" y="connsiteY1"/>
                    </a:cxn>
                    <a:cxn ang="0">
                      <a:pos x="connsiteX2" y="connsiteY2"/>
                    </a:cxn>
                    <a:cxn ang="0">
                      <a:pos x="connsiteX3" y="connsiteY3"/>
                    </a:cxn>
                  </a:cxnLst>
                  <a:rect l="l" t="t" r="r" b="b"/>
                  <a:pathLst>
                    <a:path w="13660" h="50446">
                      <a:moveTo>
                        <a:pt x="13654" y="50446"/>
                      </a:moveTo>
                      <a:cubicBezTo>
                        <a:pt x="13778" y="42101"/>
                        <a:pt x="12159" y="35997"/>
                        <a:pt x="10415" y="31887"/>
                      </a:cubicBezTo>
                      <a:cubicBezTo>
                        <a:pt x="7800" y="25410"/>
                        <a:pt x="4935" y="23043"/>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1" name="Freeform 4276">
                  <a:extLst>
                    <a:ext uri="{FF2B5EF4-FFF2-40B4-BE49-F238E27FC236}">
                      <a16:creationId xmlns:a16="http://schemas.microsoft.com/office/drawing/2014/main" id="{333166D8-83F9-15A7-9E8D-A8D761360254}"/>
                    </a:ext>
                  </a:extLst>
                </p:cNvPr>
                <p:cNvSpPr/>
                <p:nvPr/>
              </p:nvSpPr>
              <p:spPr>
                <a:xfrm>
                  <a:off x="5185958" y="6060801"/>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2" name="Freeform 4277">
                  <a:extLst>
                    <a:ext uri="{FF2B5EF4-FFF2-40B4-BE49-F238E27FC236}">
                      <a16:creationId xmlns:a16="http://schemas.microsoft.com/office/drawing/2014/main" id="{76805C5A-C7F6-3FDC-7695-7F932B06ED0F}"/>
                    </a:ext>
                  </a:extLst>
                </p:cNvPr>
                <p:cNvSpPr/>
                <p:nvPr/>
              </p:nvSpPr>
              <p:spPr>
                <a:xfrm>
                  <a:off x="5191425" y="6098538"/>
                  <a:ext cx="26425" cy="26539"/>
                </a:xfrm>
                <a:custGeom>
                  <a:avLst/>
                  <a:gdLst>
                    <a:gd name="connsiteX0" fmla="*/ 512 w 26425"/>
                    <a:gd name="connsiteY0" fmla="*/ 16820 h 26539"/>
                    <a:gd name="connsiteX1" fmla="*/ 9605 w 26425"/>
                    <a:gd name="connsiteY1" fmla="*/ 503 h 26539"/>
                    <a:gd name="connsiteX2" fmla="*/ 25922 w 26425"/>
                    <a:gd name="connsiteY2" fmla="*/ 9720 h 26539"/>
                    <a:gd name="connsiteX3" fmla="*/ 16830 w 26425"/>
                    <a:gd name="connsiteY3" fmla="*/ 26037 h 26539"/>
                    <a:gd name="connsiteX4" fmla="*/ 512 w 2642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538">
                      <a:moveTo>
                        <a:pt x="512" y="16820"/>
                      </a:moveTo>
                      <a:cubicBezTo>
                        <a:pt x="-1480" y="9720"/>
                        <a:pt x="2505" y="2495"/>
                        <a:pt x="9605" y="503"/>
                      </a:cubicBezTo>
                      <a:cubicBezTo>
                        <a:pt x="16580" y="-1490"/>
                        <a:pt x="23929" y="2620"/>
                        <a:pt x="25922" y="9720"/>
                      </a:cubicBezTo>
                      <a:cubicBezTo>
                        <a:pt x="27915" y="16820"/>
                        <a:pt x="23805" y="24044"/>
                        <a:pt x="16830" y="26037"/>
                      </a:cubicBezTo>
                      <a:cubicBezTo>
                        <a:pt x="9854" y="28030"/>
                        <a:pt x="2505" y="23919"/>
                        <a:pt x="51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3" name="Graphic 2987">
                <a:extLst>
                  <a:ext uri="{FF2B5EF4-FFF2-40B4-BE49-F238E27FC236}">
                    <a16:creationId xmlns:a16="http://schemas.microsoft.com/office/drawing/2014/main" id="{D4B87F1C-B129-B3FB-F3E3-BBC0CAD93998}"/>
                  </a:ext>
                </a:extLst>
              </p:cNvPr>
              <p:cNvGrpSpPr/>
              <p:nvPr/>
            </p:nvGrpSpPr>
            <p:grpSpPr>
              <a:xfrm>
                <a:off x="5186702" y="5972735"/>
                <a:ext cx="59423" cy="144443"/>
                <a:chOff x="5186702" y="5972735"/>
                <a:chExt cx="59423" cy="144443"/>
              </a:xfrm>
              <a:grpFill/>
            </p:grpSpPr>
            <p:sp>
              <p:nvSpPr>
                <p:cNvPr id="5141" name="Freeform 4279">
                  <a:extLst>
                    <a:ext uri="{FF2B5EF4-FFF2-40B4-BE49-F238E27FC236}">
                      <a16:creationId xmlns:a16="http://schemas.microsoft.com/office/drawing/2014/main" id="{47C96E69-8296-2782-739E-481C7A7B21AA}"/>
                    </a:ext>
                  </a:extLst>
                </p:cNvPr>
                <p:cNvSpPr/>
                <p:nvPr/>
              </p:nvSpPr>
              <p:spPr>
                <a:xfrm>
                  <a:off x="5198390" y="5993789"/>
                  <a:ext cx="13384" cy="50445"/>
                </a:xfrm>
                <a:custGeom>
                  <a:avLst/>
                  <a:gdLst>
                    <a:gd name="connsiteX0" fmla="*/ 24 w 13384"/>
                    <a:gd name="connsiteY0" fmla="*/ 0 h 50445"/>
                    <a:gd name="connsiteX1" fmla="*/ 3138 w 13384"/>
                    <a:gd name="connsiteY1" fmla="*/ 18559 h 50445"/>
                    <a:gd name="connsiteX2" fmla="*/ 10985 w 13384"/>
                    <a:gd name="connsiteY2" fmla="*/ 34129 h 50445"/>
                    <a:gd name="connsiteX3" fmla="*/ 13352 w 13384"/>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83" h="50445">
                      <a:moveTo>
                        <a:pt x="24" y="0"/>
                      </a:moveTo>
                      <a:cubicBezTo>
                        <a:pt x="-225" y="8470"/>
                        <a:pt x="1519" y="14573"/>
                        <a:pt x="3138" y="18559"/>
                      </a:cubicBezTo>
                      <a:cubicBezTo>
                        <a:pt x="5753" y="25036"/>
                        <a:pt x="8618" y="27403"/>
                        <a:pt x="10985" y="34129"/>
                      </a:cubicBezTo>
                      <a:cubicBezTo>
                        <a:pt x="13352" y="40606"/>
                        <a:pt x="13476" y="46584"/>
                        <a:pt x="133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2" name="Freeform 4280">
                  <a:extLst>
                    <a:ext uri="{FF2B5EF4-FFF2-40B4-BE49-F238E27FC236}">
                      <a16:creationId xmlns:a16="http://schemas.microsoft.com/office/drawing/2014/main" id="{605ACB84-23EF-13B3-C891-AC242A31C463}"/>
                    </a:ext>
                  </a:extLst>
                </p:cNvPr>
                <p:cNvSpPr/>
                <p:nvPr/>
              </p:nvSpPr>
              <p:spPr>
                <a:xfrm>
                  <a:off x="5203895" y="5987063"/>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089" y="42973"/>
                        <a:pt x="8470" y="36869"/>
                        <a:pt x="7723" y="32634"/>
                      </a:cubicBezTo>
                      <a:cubicBezTo>
                        <a:pt x="6602" y="25784"/>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3" name="Freeform 4281">
                  <a:extLst>
                    <a:ext uri="{FF2B5EF4-FFF2-40B4-BE49-F238E27FC236}">
                      <a16:creationId xmlns:a16="http://schemas.microsoft.com/office/drawing/2014/main" id="{99ACA813-9CF5-63A2-5F5D-3345BFAA8ADE}"/>
                    </a:ext>
                  </a:extLst>
                </p:cNvPr>
                <p:cNvSpPr/>
                <p:nvPr/>
              </p:nvSpPr>
              <p:spPr>
                <a:xfrm>
                  <a:off x="5186702" y="5972735"/>
                  <a:ext cx="26655" cy="26539"/>
                </a:xfrm>
                <a:custGeom>
                  <a:avLst/>
                  <a:gdLst>
                    <a:gd name="connsiteX0" fmla="*/ 26161 w 26655"/>
                    <a:gd name="connsiteY0" fmla="*/ 9720 h 26539"/>
                    <a:gd name="connsiteX1" fmla="*/ 16944 w 26655"/>
                    <a:gd name="connsiteY1" fmla="*/ 26037 h 26539"/>
                    <a:gd name="connsiteX2" fmla="*/ 503 w 26655"/>
                    <a:gd name="connsiteY2" fmla="*/ 16820 h 26539"/>
                    <a:gd name="connsiteX3" fmla="*/ 9720 w 26655"/>
                    <a:gd name="connsiteY3" fmla="*/ 503 h 26539"/>
                    <a:gd name="connsiteX4" fmla="*/ 26161 w 2665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8">
                      <a:moveTo>
                        <a:pt x="26161" y="9720"/>
                      </a:moveTo>
                      <a:cubicBezTo>
                        <a:pt x="28154" y="16820"/>
                        <a:pt x="23919" y="24044"/>
                        <a:pt x="16944" y="26037"/>
                      </a:cubicBezTo>
                      <a:cubicBezTo>
                        <a:pt x="9844" y="28030"/>
                        <a:pt x="2495" y="23919"/>
                        <a:pt x="503" y="16820"/>
                      </a:cubicBezTo>
                      <a:cubicBezTo>
                        <a:pt x="-1490" y="9720"/>
                        <a:pt x="2620" y="2496"/>
                        <a:pt x="9720" y="503"/>
                      </a:cubicBezTo>
                      <a:cubicBezTo>
                        <a:pt x="16820" y="-1490"/>
                        <a:pt x="24168" y="2620"/>
                        <a:pt x="2616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4" name="Freeform 4282">
                  <a:extLst>
                    <a:ext uri="{FF2B5EF4-FFF2-40B4-BE49-F238E27FC236}">
                      <a16:creationId xmlns:a16="http://schemas.microsoft.com/office/drawing/2014/main" id="{CC452703-877E-A8D2-AECA-1996892D76DD}"/>
                    </a:ext>
                  </a:extLst>
                </p:cNvPr>
                <p:cNvSpPr/>
                <p:nvPr/>
              </p:nvSpPr>
              <p:spPr>
                <a:xfrm>
                  <a:off x="5221176" y="6045605"/>
                  <a:ext cx="13384" cy="50445"/>
                </a:xfrm>
                <a:custGeom>
                  <a:avLst/>
                  <a:gdLst>
                    <a:gd name="connsiteX0" fmla="*/ 13360 w 13384"/>
                    <a:gd name="connsiteY0" fmla="*/ 50446 h 50445"/>
                    <a:gd name="connsiteX1" fmla="*/ 10246 w 13384"/>
                    <a:gd name="connsiteY1" fmla="*/ 31887 h 50445"/>
                    <a:gd name="connsiteX2" fmla="*/ 2399 w 13384"/>
                    <a:gd name="connsiteY2" fmla="*/ 16317 h 50445"/>
                    <a:gd name="connsiteX3" fmla="*/ 3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13360" y="50446"/>
                      </a:moveTo>
                      <a:cubicBezTo>
                        <a:pt x="13609" y="41976"/>
                        <a:pt x="11866" y="35873"/>
                        <a:pt x="10246" y="31887"/>
                      </a:cubicBezTo>
                      <a:cubicBezTo>
                        <a:pt x="7631" y="25410"/>
                        <a:pt x="4766" y="23043"/>
                        <a:pt x="2399" y="16317"/>
                      </a:cubicBezTo>
                      <a:cubicBezTo>
                        <a:pt x="32" y="9840"/>
                        <a:pt x="-92" y="3861"/>
                        <a:pt x="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5" name="Freeform 4283">
                  <a:extLst>
                    <a:ext uri="{FF2B5EF4-FFF2-40B4-BE49-F238E27FC236}">
                      <a16:creationId xmlns:a16="http://schemas.microsoft.com/office/drawing/2014/main" id="{88E82C3C-89F5-02F7-CB24-B1422DCEF095}"/>
                    </a:ext>
                  </a:extLst>
                </p:cNvPr>
                <p:cNvSpPr/>
                <p:nvPr/>
              </p:nvSpPr>
              <p:spPr>
                <a:xfrm>
                  <a:off x="5214482" y="6052830"/>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580"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6" name="Freeform 4284">
                  <a:extLst>
                    <a:ext uri="{FF2B5EF4-FFF2-40B4-BE49-F238E27FC236}">
                      <a16:creationId xmlns:a16="http://schemas.microsoft.com/office/drawing/2014/main" id="{0DE8315D-9196-A110-41C2-94F83B9AAA03}"/>
                    </a:ext>
                  </a:extLst>
                </p:cNvPr>
                <p:cNvSpPr/>
                <p:nvPr/>
              </p:nvSpPr>
              <p:spPr>
                <a:xfrm>
                  <a:off x="5219833" y="6090691"/>
                  <a:ext cx="26291" cy="26487"/>
                </a:xfrm>
                <a:custGeom>
                  <a:avLst/>
                  <a:gdLst>
                    <a:gd name="connsiteX0" fmla="*/ 503 w 26291"/>
                    <a:gd name="connsiteY0" fmla="*/ 16820 h 26487"/>
                    <a:gd name="connsiteX1" fmla="*/ 9596 w 26291"/>
                    <a:gd name="connsiteY1" fmla="*/ 503 h 26487"/>
                    <a:gd name="connsiteX2" fmla="*/ 25789 w 26291"/>
                    <a:gd name="connsiteY2" fmla="*/ 9720 h 26487"/>
                    <a:gd name="connsiteX3" fmla="*/ 16696 w 26291"/>
                    <a:gd name="connsiteY3" fmla="*/ 26037 h 26487"/>
                    <a:gd name="connsiteX4" fmla="*/ 503 w 26291"/>
                    <a:gd name="connsiteY4" fmla="*/ 16820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503" y="16820"/>
                      </a:moveTo>
                      <a:cubicBezTo>
                        <a:pt x="-1490" y="9720"/>
                        <a:pt x="2621" y="2496"/>
                        <a:pt x="9596" y="503"/>
                      </a:cubicBezTo>
                      <a:cubicBezTo>
                        <a:pt x="16571" y="-1490"/>
                        <a:pt x="23920" y="2620"/>
                        <a:pt x="25789" y="9720"/>
                      </a:cubicBezTo>
                      <a:cubicBezTo>
                        <a:pt x="27781" y="16820"/>
                        <a:pt x="23671" y="24044"/>
                        <a:pt x="16696" y="26037"/>
                      </a:cubicBezTo>
                      <a:cubicBezTo>
                        <a:pt x="9721" y="27905"/>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4" name="Graphic 2987">
                <a:extLst>
                  <a:ext uri="{FF2B5EF4-FFF2-40B4-BE49-F238E27FC236}">
                    <a16:creationId xmlns:a16="http://schemas.microsoft.com/office/drawing/2014/main" id="{7DF20CD5-3E65-D21C-7DDF-428666DF7688}"/>
                  </a:ext>
                </a:extLst>
              </p:cNvPr>
              <p:cNvGrpSpPr/>
              <p:nvPr/>
            </p:nvGrpSpPr>
            <p:grpSpPr>
              <a:xfrm>
                <a:off x="5215402" y="5964639"/>
                <a:ext cx="58997" cy="144611"/>
                <a:chOff x="5215402" y="5964639"/>
                <a:chExt cx="58997" cy="144611"/>
              </a:xfrm>
              <a:grpFill/>
            </p:grpSpPr>
            <p:sp>
              <p:nvSpPr>
                <p:cNvPr id="5135" name="Freeform 4286">
                  <a:extLst>
                    <a:ext uri="{FF2B5EF4-FFF2-40B4-BE49-F238E27FC236}">
                      <a16:creationId xmlns:a16="http://schemas.microsoft.com/office/drawing/2014/main" id="{71738895-3C91-20E3-CA89-6418F086AA4A}"/>
                    </a:ext>
                  </a:extLst>
                </p:cNvPr>
                <p:cNvSpPr/>
                <p:nvPr/>
              </p:nvSpPr>
              <p:spPr>
                <a:xfrm>
                  <a:off x="5227038" y="5985818"/>
                  <a:ext cx="13317" cy="50446"/>
                </a:xfrm>
                <a:custGeom>
                  <a:avLst/>
                  <a:gdLst>
                    <a:gd name="connsiteX0" fmla="*/ 24 w 13317"/>
                    <a:gd name="connsiteY0" fmla="*/ 0 h 50446"/>
                    <a:gd name="connsiteX1" fmla="*/ 3138 w 13317"/>
                    <a:gd name="connsiteY1" fmla="*/ 18559 h 50446"/>
                    <a:gd name="connsiteX2" fmla="*/ 10985 w 13317"/>
                    <a:gd name="connsiteY2" fmla="*/ 34129 h 50446"/>
                    <a:gd name="connsiteX3" fmla="*/ 13227 w 1331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17" h="50446">
                      <a:moveTo>
                        <a:pt x="24" y="0"/>
                      </a:moveTo>
                      <a:cubicBezTo>
                        <a:pt x="-225" y="8470"/>
                        <a:pt x="1519" y="14573"/>
                        <a:pt x="3138" y="18559"/>
                      </a:cubicBezTo>
                      <a:cubicBezTo>
                        <a:pt x="5753"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6" name="Freeform 4287">
                  <a:extLst>
                    <a:ext uri="{FF2B5EF4-FFF2-40B4-BE49-F238E27FC236}">
                      <a16:creationId xmlns:a16="http://schemas.microsoft.com/office/drawing/2014/main" id="{8AD9F5F4-529D-C4A4-4D04-8D4A768C7100}"/>
                    </a:ext>
                  </a:extLst>
                </p:cNvPr>
                <p:cNvSpPr/>
                <p:nvPr/>
              </p:nvSpPr>
              <p:spPr>
                <a:xfrm>
                  <a:off x="5232418" y="5978967"/>
                  <a:ext cx="14573" cy="50072"/>
                </a:xfrm>
                <a:custGeom>
                  <a:avLst/>
                  <a:gdLst>
                    <a:gd name="connsiteX0" fmla="*/ 14573 w 14573"/>
                    <a:gd name="connsiteY0" fmla="*/ 50072 h 50072"/>
                    <a:gd name="connsiteX1" fmla="*/ 7723 w 14573"/>
                    <a:gd name="connsiteY1" fmla="*/ 32634 h 50072"/>
                    <a:gd name="connsiteX2" fmla="*/ 6477 w 14573"/>
                    <a:gd name="connsiteY2" fmla="*/ 15196 h 50072"/>
                    <a:gd name="connsiteX3" fmla="*/ 0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14573" y="50072"/>
                      </a:moveTo>
                      <a:cubicBezTo>
                        <a:pt x="10090" y="42973"/>
                        <a:pt x="8346"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7" name="Freeform 4288">
                  <a:extLst>
                    <a:ext uri="{FF2B5EF4-FFF2-40B4-BE49-F238E27FC236}">
                      <a16:creationId xmlns:a16="http://schemas.microsoft.com/office/drawing/2014/main" id="{E81CBE68-859B-3107-0559-8C073EF4D96E}"/>
                    </a:ext>
                  </a:extLst>
                </p:cNvPr>
                <p:cNvSpPr/>
                <p:nvPr/>
              </p:nvSpPr>
              <p:spPr>
                <a:xfrm>
                  <a:off x="5215402" y="5964639"/>
                  <a:ext cx="26601" cy="26539"/>
                </a:xfrm>
                <a:custGeom>
                  <a:avLst/>
                  <a:gdLst>
                    <a:gd name="connsiteX0" fmla="*/ 26109 w 26601"/>
                    <a:gd name="connsiteY0" fmla="*/ 9720 h 26539"/>
                    <a:gd name="connsiteX1" fmla="*/ 16767 w 26601"/>
                    <a:gd name="connsiteY1" fmla="*/ 26037 h 26539"/>
                    <a:gd name="connsiteX2" fmla="*/ 450 w 26601"/>
                    <a:gd name="connsiteY2" fmla="*/ 16820 h 26539"/>
                    <a:gd name="connsiteX3" fmla="*/ 9792 w 26601"/>
                    <a:gd name="connsiteY3" fmla="*/ 503 h 26539"/>
                    <a:gd name="connsiteX4" fmla="*/ 26109 w 2660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538">
                      <a:moveTo>
                        <a:pt x="26109" y="9720"/>
                      </a:moveTo>
                      <a:cubicBezTo>
                        <a:pt x="28102" y="16820"/>
                        <a:pt x="23867" y="24168"/>
                        <a:pt x="16767" y="26037"/>
                      </a:cubicBezTo>
                      <a:cubicBezTo>
                        <a:pt x="9667" y="28030"/>
                        <a:pt x="2318" y="23919"/>
                        <a:pt x="450" y="16820"/>
                      </a:cubicBezTo>
                      <a:cubicBezTo>
                        <a:pt x="-1418" y="9720"/>
                        <a:pt x="2692" y="2495"/>
                        <a:pt x="9792" y="503"/>
                      </a:cubicBezTo>
                      <a:cubicBezTo>
                        <a:pt x="16767" y="-1490"/>
                        <a:pt x="24116" y="2620"/>
                        <a:pt x="2610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8" name="Freeform 4289">
                  <a:extLst>
                    <a:ext uri="{FF2B5EF4-FFF2-40B4-BE49-F238E27FC236}">
                      <a16:creationId xmlns:a16="http://schemas.microsoft.com/office/drawing/2014/main" id="{83AEE965-C0CC-E456-57AD-F5C2B08CCEDF}"/>
                    </a:ext>
                  </a:extLst>
                </p:cNvPr>
                <p:cNvSpPr/>
                <p:nvPr/>
              </p:nvSpPr>
              <p:spPr>
                <a:xfrm>
                  <a:off x="5249517" y="6037758"/>
                  <a:ext cx="13317" cy="50445"/>
                </a:xfrm>
                <a:custGeom>
                  <a:avLst/>
                  <a:gdLst>
                    <a:gd name="connsiteX0" fmla="*/ 13293 w 13317"/>
                    <a:gd name="connsiteY0" fmla="*/ 50446 h 50445"/>
                    <a:gd name="connsiteX1" fmla="*/ 10179 w 13317"/>
                    <a:gd name="connsiteY1" fmla="*/ 31887 h 50445"/>
                    <a:gd name="connsiteX2" fmla="*/ 2333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3" y="41976"/>
                        <a:pt x="11799" y="35873"/>
                        <a:pt x="10179" y="31887"/>
                      </a:cubicBezTo>
                      <a:cubicBezTo>
                        <a:pt x="7564" y="25410"/>
                        <a:pt x="4699" y="23043"/>
                        <a:pt x="2333"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9" name="Freeform 4290">
                  <a:extLst>
                    <a:ext uri="{FF2B5EF4-FFF2-40B4-BE49-F238E27FC236}">
                      <a16:creationId xmlns:a16="http://schemas.microsoft.com/office/drawing/2014/main" id="{E5C61080-4DB2-F417-10D0-D7F62B4D5025}"/>
                    </a:ext>
                  </a:extLst>
                </p:cNvPr>
                <p:cNvSpPr/>
                <p:nvPr/>
              </p:nvSpPr>
              <p:spPr>
                <a:xfrm>
                  <a:off x="5242881" y="6044858"/>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3"/>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0" name="Freeform 4291">
                  <a:extLst>
                    <a:ext uri="{FF2B5EF4-FFF2-40B4-BE49-F238E27FC236}">
                      <a16:creationId xmlns:a16="http://schemas.microsoft.com/office/drawing/2014/main" id="{BCA72631-ECFA-FBF9-5CC4-69283E009365}"/>
                    </a:ext>
                  </a:extLst>
                </p:cNvPr>
                <p:cNvSpPr/>
                <p:nvPr/>
              </p:nvSpPr>
              <p:spPr>
                <a:xfrm>
                  <a:off x="5248108" y="6082719"/>
                  <a:ext cx="26291" cy="26530"/>
                </a:xfrm>
                <a:custGeom>
                  <a:avLst/>
                  <a:gdLst>
                    <a:gd name="connsiteX0" fmla="*/ 503 w 26291"/>
                    <a:gd name="connsiteY0" fmla="*/ 16820 h 26530"/>
                    <a:gd name="connsiteX1" fmla="*/ 9596 w 26291"/>
                    <a:gd name="connsiteY1" fmla="*/ 503 h 26530"/>
                    <a:gd name="connsiteX2" fmla="*/ 25788 w 26291"/>
                    <a:gd name="connsiteY2" fmla="*/ 9720 h 26530"/>
                    <a:gd name="connsiteX3" fmla="*/ 16696 w 26291"/>
                    <a:gd name="connsiteY3" fmla="*/ 26037 h 26530"/>
                    <a:gd name="connsiteX4" fmla="*/ 503 w 26291"/>
                    <a:gd name="connsiteY4" fmla="*/ 16820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0">
                      <a:moveTo>
                        <a:pt x="503" y="16820"/>
                      </a:moveTo>
                      <a:cubicBezTo>
                        <a:pt x="-1490" y="9720"/>
                        <a:pt x="2620" y="2496"/>
                        <a:pt x="9596" y="503"/>
                      </a:cubicBezTo>
                      <a:cubicBezTo>
                        <a:pt x="16571" y="-1490"/>
                        <a:pt x="23920" y="2620"/>
                        <a:pt x="25788" y="9720"/>
                      </a:cubicBezTo>
                      <a:cubicBezTo>
                        <a:pt x="27781" y="16820"/>
                        <a:pt x="23671" y="24044"/>
                        <a:pt x="16696" y="26037"/>
                      </a:cubicBezTo>
                      <a:cubicBezTo>
                        <a:pt x="9720" y="28030"/>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5" name="Graphic 2987">
                <a:extLst>
                  <a:ext uri="{FF2B5EF4-FFF2-40B4-BE49-F238E27FC236}">
                    <a16:creationId xmlns:a16="http://schemas.microsoft.com/office/drawing/2014/main" id="{31D9454C-D455-FBF1-BF75-E7711A8E8631}"/>
                  </a:ext>
                </a:extLst>
              </p:cNvPr>
              <p:cNvGrpSpPr/>
              <p:nvPr/>
            </p:nvGrpSpPr>
            <p:grpSpPr>
              <a:xfrm>
                <a:off x="5244007" y="5956603"/>
                <a:ext cx="58738" cy="144683"/>
                <a:chOff x="5244007" y="5956603"/>
                <a:chExt cx="58738" cy="144683"/>
              </a:xfrm>
              <a:grpFill/>
            </p:grpSpPr>
            <p:sp>
              <p:nvSpPr>
                <p:cNvPr id="5129" name="Freeform 4293">
                  <a:extLst>
                    <a:ext uri="{FF2B5EF4-FFF2-40B4-BE49-F238E27FC236}">
                      <a16:creationId xmlns:a16="http://schemas.microsoft.com/office/drawing/2014/main" id="{8C1709B3-C261-54C0-7381-6E2763375EBF}"/>
                    </a:ext>
                  </a:extLst>
                </p:cNvPr>
                <p:cNvSpPr/>
                <p:nvPr/>
              </p:nvSpPr>
              <p:spPr>
                <a:xfrm>
                  <a:off x="5255685" y="5977721"/>
                  <a:ext cx="13181" cy="50446"/>
                </a:xfrm>
                <a:custGeom>
                  <a:avLst/>
                  <a:gdLst>
                    <a:gd name="connsiteX0" fmla="*/ 26 w 13181"/>
                    <a:gd name="connsiteY0" fmla="*/ 0 h 50446"/>
                    <a:gd name="connsiteX1" fmla="*/ 3015 w 13181"/>
                    <a:gd name="connsiteY1" fmla="*/ 18559 h 50446"/>
                    <a:gd name="connsiteX2" fmla="*/ 10862 w 13181"/>
                    <a:gd name="connsiteY2" fmla="*/ 34129 h 50446"/>
                    <a:gd name="connsiteX3" fmla="*/ 13104 w 13181"/>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181" h="50446">
                      <a:moveTo>
                        <a:pt x="26" y="0"/>
                      </a:moveTo>
                      <a:cubicBezTo>
                        <a:pt x="-224" y="8470"/>
                        <a:pt x="1395" y="14573"/>
                        <a:pt x="3015" y="18559"/>
                      </a:cubicBezTo>
                      <a:cubicBezTo>
                        <a:pt x="5630" y="25036"/>
                        <a:pt x="8495" y="27403"/>
                        <a:pt x="10862" y="34129"/>
                      </a:cubicBezTo>
                      <a:cubicBezTo>
                        <a:pt x="13104" y="40606"/>
                        <a:pt x="13353" y="46585"/>
                        <a:pt x="1310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0" name="Freeform 4294">
                  <a:extLst>
                    <a:ext uri="{FF2B5EF4-FFF2-40B4-BE49-F238E27FC236}">
                      <a16:creationId xmlns:a16="http://schemas.microsoft.com/office/drawing/2014/main" id="{54856DF0-067B-FF65-6DC7-4A2B7C22A485}"/>
                    </a:ext>
                  </a:extLst>
                </p:cNvPr>
                <p:cNvSpPr/>
                <p:nvPr/>
              </p:nvSpPr>
              <p:spPr>
                <a:xfrm>
                  <a:off x="5261067" y="5970996"/>
                  <a:ext cx="14448" cy="50072"/>
                </a:xfrm>
                <a:custGeom>
                  <a:avLst/>
                  <a:gdLst>
                    <a:gd name="connsiteX0" fmla="*/ 14449 w 14448"/>
                    <a:gd name="connsiteY0" fmla="*/ 50072 h 50072"/>
                    <a:gd name="connsiteX1" fmla="*/ 7598 w 14448"/>
                    <a:gd name="connsiteY1" fmla="*/ 32509 h 50072"/>
                    <a:gd name="connsiteX2" fmla="*/ 6353 w 14448"/>
                    <a:gd name="connsiteY2" fmla="*/ 15196 h 50072"/>
                    <a:gd name="connsiteX3" fmla="*/ 0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14449" y="50072"/>
                      </a:moveTo>
                      <a:cubicBezTo>
                        <a:pt x="9964" y="42972"/>
                        <a:pt x="8345" y="36869"/>
                        <a:pt x="7598" y="32509"/>
                      </a:cubicBezTo>
                      <a:cubicBezTo>
                        <a:pt x="6477" y="25534"/>
                        <a:pt x="7723" y="22047"/>
                        <a:pt x="6353" y="15196"/>
                      </a:cubicBezTo>
                      <a:cubicBezTo>
                        <a:pt x="4982" y="8470"/>
                        <a:pt x="211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1" name="Freeform 4295">
                  <a:extLst>
                    <a:ext uri="{FF2B5EF4-FFF2-40B4-BE49-F238E27FC236}">
                      <a16:creationId xmlns:a16="http://schemas.microsoft.com/office/drawing/2014/main" id="{6B9F2A4F-490A-B027-533E-6BAC82FDA0E8}"/>
                    </a:ext>
                  </a:extLst>
                </p:cNvPr>
                <p:cNvSpPr/>
                <p:nvPr/>
              </p:nvSpPr>
              <p:spPr>
                <a:xfrm>
                  <a:off x="5244007" y="5956603"/>
                  <a:ext cx="26601" cy="26602"/>
                </a:xfrm>
                <a:custGeom>
                  <a:avLst/>
                  <a:gdLst>
                    <a:gd name="connsiteX0" fmla="*/ 26152 w 26601"/>
                    <a:gd name="connsiteY0" fmla="*/ 9908 h 26602"/>
                    <a:gd name="connsiteX1" fmla="*/ 16810 w 26601"/>
                    <a:gd name="connsiteY1" fmla="*/ 26100 h 26602"/>
                    <a:gd name="connsiteX2" fmla="*/ 493 w 26601"/>
                    <a:gd name="connsiteY2" fmla="*/ 16883 h 26602"/>
                    <a:gd name="connsiteX3" fmla="*/ 9835 w 26601"/>
                    <a:gd name="connsiteY3" fmla="*/ 441 h 26602"/>
                    <a:gd name="connsiteX4" fmla="*/ 26152 w 26601"/>
                    <a:gd name="connsiteY4" fmla="*/ 9908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02">
                      <a:moveTo>
                        <a:pt x="26152" y="9908"/>
                      </a:moveTo>
                      <a:cubicBezTo>
                        <a:pt x="28020" y="17008"/>
                        <a:pt x="23910" y="24232"/>
                        <a:pt x="16810" y="26100"/>
                      </a:cubicBezTo>
                      <a:cubicBezTo>
                        <a:pt x="9710" y="28093"/>
                        <a:pt x="2486" y="23983"/>
                        <a:pt x="493" y="16883"/>
                      </a:cubicBezTo>
                      <a:cubicBezTo>
                        <a:pt x="-1500" y="9783"/>
                        <a:pt x="2735" y="2434"/>
                        <a:pt x="9835" y="441"/>
                      </a:cubicBezTo>
                      <a:cubicBezTo>
                        <a:pt x="16935" y="-1427"/>
                        <a:pt x="24283" y="2808"/>
                        <a:pt x="2615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2" name="Freeform 4296">
                  <a:extLst>
                    <a:ext uri="{FF2B5EF4-FFF2-40B4-BE49-F238E27FC236}">
                      <a16:creationId xmlns:a16="http://schemas.microsoft.com/office/drawing/2014/main" id="{27A57B24-A707-7ADA-B957-ADD30C9D58B2}"/>
                    </a:ext>
                  </a:extLst>
                </p:cNvPr>
                <p:cNvSpPr/>
                <p:nvPr/>
              </p:nvSpPr>
              <p:spPr>
                <a:xfrm>
                  <a:off x="5278178" y="6029787"/>
                  <a:ext cx="13057" cy="50445"/>
                </a:xfrm>
                <a:custGeom>
                  <a:avLst/>
                  <a:gdLst>
                    <a:gd name="connsiteX0" fmla="*/ 13032 w 13057"/>
                    <a:gd name="connsiteY0" fmla="*/ 50446 h 50445"/>
                    <a:gd name="connsiteX1" fmla="*/ 10042 w 13057"/>
                    <a:gd name="connsiteY1" fmla="*/ 31887 h 50445"/>
                    <a:gd name="connsiteX2" fmla="*/ 2320 w 13057"/>
                    <a:gd name="connsiteY2" fmla="*/ 16317 h 50445"/>
                    <a:gd name="connsiteX3" fmla="*/ 78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50446"/>
                      </a:moveTo>
                      <a:cubicBezTo>
                        <a:pt x="13281" y="42100"/>
                        <a:pt x="11662" y="35997"/>
                        <a:pt x="10042" y="31887"/>
                      </a:cubicBezTo>
                      <a:cubicBezTo>
                        <a:pt x="7427" y="25409"/>
                        <a:pt x="4562" y="22919"/>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3" name="Freeform 4297">
                  <a:extLst>
                    <a:ext uri="{FF2B5EF4-FFF2-40B4-BE49-F238E27FC236}">
                      <a16:creationId xmlns:a16="http://schemas.microsoft.com/office/drawing/2014/main" id="{B182D7BE-1576-5272-866C-0B0ACEF65D24}"/>
                    </a:ext>
                  </a:extLst>
                </p:cNvPr>
                <p:cNvSpPr/>
                <p:nvPr/>
              </p:nvSpPr>
              <p:spPr>
                <a:xfrm>
                  <a:off x="5271405" y="6036886"/>
                  <a:ext cx="14448" cy="50196"/>
                </a:xfrm>
                <a:custGeom>
                  <a:avLst/>
                  <a:gdLst>
                    <a:gd name="connsiteX0" fmla="*/ 0 w 14448"/>
                    <a:gd name="connsiteY0" fmla="*/ 0 h 50196"/>
                    <a:gd name="connsiteX1" fmla="*/ 6851 w 14448"/>
                    <a:gd name="connsiteY1" fmla="*/ 17563 h 50196"/>
                    <a:gd name="connsiteX2" fmla="*/ 8096 w 14448"/>
                    <a:gd name="connsiteY2" fmla="*/ 35001 h 50196"/>
                    <a:gd name="connsiteX3" fmla="*/ 14449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0" y="0"/>
                      </a:moveTo>
                      <a:cubicBezTo>
                        <a:pt x="4484" y="7100"/>
                        <a:pt x="6104" y="13203"/>
                        <a:pt x="6851" y="17563"/>
                      </a:cubicBezTo>
                      <a:cubicBezTo>
                        <a:pt x="7972" y="24538"/>
                        <a:pt x="6726" y="28025"/>
                        <a:pt x="8096" y="35001"/>
                      </a:cubicBezTo>
                      <a:cubicBezTo>
                        <a:pt x="9467" y="41727"/>
                        <a:pt x="12331"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4" name="Freeform 4298">
                  <a:extLst>
                    <a:ext uri="{FF2B5EF4-FFF2-40B4-BE49-F238E27FC236}">
                      <a16:creationId xmlns:a16="http://schemas.microsoft.com/office/drawing/2014/main" id="{07537DDA-2764-F3F3-F166-F96ADE469DF3}"/>
                    </a:ext>
                  </a:extLst>
                </p:cNvPr>
                <p:cNvSpPr/>
                <p:nvPr/>
              </p:nvSpPr>
              <p:spPr>
                <a:xfrm>
                  <a:off x="5276383" y="6074766"/>
                  <a:ext cx="26362" cy="26521"/>
                </a:xfrm>
                <a:custGeom>
                  <a:avLst/>
                  <a:gdLst>
                    <a:gd name="connsiteX0" fmla="*/ 503 w 26362"/>
                    <a:gd name="connsiteY0" fmla="*/ 16801 h 26521"/>
                    <a:gd name="connsiteX1" fmla="*/ 9720 w 26362"/>
                    <a:gd name="connsiteY1" fmla="*/ 484 h 26521"/>
                    <a:gd name="connsiteX2" fmla="*/ 25912 w 26362"/>
                    <a:gd name="connsiteY2" fmla="*/ 9826 h 26521"/>
                    <a:gd name="connsiteX3" fmla="*/ 16695 w 26362"/>
                    <a:gd name="connsiteY3" fmla="*/ 26019 h 26521"/>
                    <a:gd name="connsiteX4" fmla="*/ 503 w 26362"/>
                    <a:gd name="connsiteY4" fmla="*/ 16801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20">
                      <a:moveTo>
                        <a:pt x="503" y="16801"/>
                      </a:moveTo>
                      <a:cubicBezTo>
                        <a:pt x="-1490" y="9702"/>
                        <a:pt x="2620" y="2477"/>
                        <a:pt x="9720" y="484"/>
                      </a:cubicBezTo>
                      <a:cubicBezTo>
                        <a:pt x="16695" y="-1509"/>
                        <a:pt x="24044" y="2851"/>
                        <a:pt x="25912" y="9826"/>
                      </a:cubicBezTo>
                      <a:cubicBezTo>
                        <a:pt x="27781" y="16926"/>
                        <a:pt x="23670" y="24026"/>
                        <a:pt x="16695" y="26019"/>
                      </a:cubicBezTo>
                      <a:cubicBezTo>
                        <a:pt x="9720" y="28012"/>
                        <a:pt x="2496" y="23901"/>
                        <a:pt x="503" y="16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6" name="Graphic 2987">
                <a:extLst>
                  <a:ext uri="{FF2B5EF4-FFF2-40B4-BE49-F238E27FC236}">
                    <a16:creationId xmlns:a16="http://schemas.microsoft.com/office/drawing/2014/main" id="{42E1D587-2F1D-1F02-549A-B2AA050E5C71}"/>
                  </a:ext>
                </a:extLst>
              </p:cNvPr>
              <p:cNvGrpSpPr/>
              <p:nvPr/>
            </p:nvGrpSpPr>
            <p:grpSpPr>
              <a:xfrm>
                <a:off x="5272699" y="5949005"/>
                <a:ext cx="58445" cy="144698"/>
                <a:chOff x="5272699" y="5949005"/>
                <a:chExt cx="58445" cy="144698"/>
              </a:xfrm>
              <a:grpFill/>
            </p:grpSpPr>
            <p:sp>
              <p:nvSpPr>
                <p:cNvPr id="5123" name="Freeform 4300">
                  <a:extLst>
                    <a:ext uri="{FF2B5EF4-FFF2-40B4-BE49-F238E27FC236}">
                      <a16:creationId xmlns:a16="http://schemas.microsoft.com/office/drawing/2014/main" id="{712DBA8A-31D0-9696-8E6E-FA91C189408D}"/>
                    </a:ext>
                  </a:extLst>
                </p:cNvPr>
                <p:cNvSpPr/>
                <p:nvPr/>
              </p:nvSpPr>
              <p:spPr>
                <a:xfrm>
                  <a:off x="5284333" y="5969999"/>
                  <a:ext cx="13012" cy="50446"/>
                </a:xfrm>
                <a:custGeom>
                  <a:avLst/>
                  <a:gdLst>
                    <a:gd name="connsiteX0" fmla="*/ 25 w 13012"/>
                    <a:gd name="connsiteY0" fmla="*/ 0 h 50446"/>
                    <a:gd name="connsiteX1" fmla="*/ 3015 w 13012"/>
                    <a:gd name="connsiteY1" fmla="*/ 18559 h 50446"/>
                    <a:gd name="connsiteX2" fmla="*/ 10737 w 13012"/>
                    <a:gd name="connsiteY2" fmla="*/ 34129 h 50446"/>
                    <a:gd name="connsiteX3" fmla="*/ 12980 w 13012"/>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11" h="50446">
                      <a:moveTo>
                        <a:pt x="25" y="0"/>
                      </a:moveTo>
                      <a:cubicBezTo>
                        <a:pt x="-224" y="8346"/>
                        <a:pt x="1395" y="14573"/>
                        <a:pt x="3015" y="18559"/>
                      </a:cubicBezTo>
                      <a:cubicBezTo>
                        <a:pt x="5631" y="25036"/>
                        <a:pt x="8495" y="27403"/>
                        <a:pt x="10737" y="34129"/>
                      </a:cubicBezTo>
                      <a:cubicBezTo>
                        <a:pt x="12980" y="40606"/>
                        <a:pt x="13104" y="46584"/>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4" name="Freeform 4301">
                  <a:extLst>
                    <a:ext uri="{FF2B5EF4-FFF2-40B4-BE49-F238E27FC236}">
                      <a16:creationId xmlns:a16="http://schemas.microsoft.com/office/drawing/2014/main" id="{322B7C38-7AFE-1D05-53E0-E53BF8C81AC1}"/>
                    </a:ext>
                  </a:extLst>
                </p:cNvPr>
                <p:cNvSpPr/>
                <p:nvPr/>
              </p:nvSpPr>
              <p:spPr>
                <a:xfrm>
                  <a:off x="5289964" y="5963397"/>
                  <a:ext cx="14199" cy="50072"/>
                </a:xfrm>
                <a:custGeom>
                  <a:avLst/>
                  <a:gdLst>
                    <a:gd name="connsiteX0" fmla="*/ 14199 w 14199"/>
                    <a:gd name="connsiteY0" fmla="*/ 50072 h 50072"/>
                    <a:gd name="connsiteX1" fmla="*/ 7473 w 14199"/>
                    <a:gd name="connsiteY1" fmla="*/ 32510 h 50072"/>
                    <a:gd name="connsiteX2" fmla="*/ 6352 w 14199"/>
                    <a:gd name="connsiteY2" fmla="*/ 15196 h 50072"/>
                    <a:gd name="connsiteX3" fmla="*/ 0 w 14199"/>
                    <a:gd name="connsiteY3" fmla="*/ 0 h 50072"/>
                  </a:gdLst>
                  <a:ahLst/>
                  <a:cxnLst>
                    <a:cxn ang="0">
                      <a:pos x="connsiteX0" y="connsiteY0"/>
                    </a:cxn>
                    <a:cxn ang="0">
                      <a:pos x="connsiteX1" y="connsiteY1"/>
                    </a:cxn>
                    <a:cxn ang="0">
                      <a:pos x="connsiteX2" y="connsiteY2"/>
                    </a:cxn>
                    <a:cxn ang="0">
                      <a:pos x="connsiteX3" y="connsiteY3"/>
                    </a:cxn>
                  </a:cxnLst>
                  <a:rect l="l" t="t" r="r" b="b"/>
                  <a:pathLst>
                    <a:path w="14199" h="50072">
                      <a:moveTo>
                        <a:pt x="14199" y="50072"/>
                      </a:moveTo>
                      <a:cubicBezTo>
                        <a:pt x="9715" y="42973"/>
                        <a:pt x="8096" y="36869"/>
                        <a:pt x="7473" y="32510"/>
                      </a:cubicBezTo>
                      <a:cubicBezTo>
                        <a:pt x="6352" y="25534"/>
                        <a:pt x="7723" y="22047"/>
                        <a:pt x="6352"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5" name="Freeform 4302">
                  <a:extLst>
                    <a:ext uri="{FF2B5EF4-FFF2-40B4-BE49-F238E27FC236}">
                      <a16:creationId xmlns:a16="http://schemas.microsoft.com/office/drawing/2014/main" id="{815EBAC7-8050-E0C8-FAA2-DB820E7C9507}"/>
                    </a:ext>
                  </a:extLst>
                </p:cNvPr>
                <p:cNvSpPr/>
                <p:nvPr/>
              </p:nvSpPr>
              <p:spPr>
                <a:xfrm>
                  <a:off x="5272699" y="5949005"/>
                  <a:ext cx="26674" cy="26417"/>
                </a:xfrm>
                <a:custGeom>
                  <a:avLst/>
                  <a:gdLst>
                    <a:gd name="connsiteX0" fmla="*/ 26233 w 26674"/>
                    <a:gd name="connsiteY0" fmla="*/ 9784 h 26417"/>
                    <a:gd name="connsiteX1" fmla="*/ 16766 w 26674"/>
                    <a:gd name="connsiteY1" fmla="*/ 25976 h 26417"/>
                    <a:gd name="connsiteX2" fmla="*/ 449 w 26674"/>
                    <a:gd name="connsiteY2" fmla="*/ 16634 h 26417"/>
                    <a:gd name="connsiteX3" fmla="*/ 9916 w 26674"/>
                    <a:gd name="connsiteY3" fmla="*/ 442 h 26417"/>
                    <a:gd name="connsiteX4" fmla="*/ 26233 w 26674"/>
                    <a:gd name="connsiteY4" fmla="*/ 9784 h 26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17">
                      <a:moveTo>
                        <a:pt x="26233" y="9784"/>
                      </a:moveTo>
                      <a:cubicBezTo>
                        <a:pt x="28101" y="16884"/>
                        <a:pt x="23866" y="24108"/>
                        <a:pt x="16766" y="25976"/>
                      </a:cubicBezTo>
                      <a:cubicBezTo>
                        <a:pt x="9667" y="27845"/>
                        <a:pt x="2318" y="23609"/>
                        <a:pt x="449" y="16634"/>
                      </a:cubicBezTo>
                      <a:cubicBezTo>
                        <a:pt x="-1419" y="9535"/>
                        <a:pt x="2691" y="2310"/>
                        <a:pt x="9916" y="442"/>
                      </a:cubicBezTo>
                      <a:cubicBezTo>
                        <a:pt x="17140" y="-1426"/>
                        <a:pt x="24364" y="2808"/>
                        <a:pt x="26233" y="97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6" name="Freeform 4303">
                  <a:extLst>
                    <a:ext uri="{FF2B5EF4-FFF2-40B4-BE49-F238E27FC236}">
                      <a16:creationId xmlns:a16="http://schemas.microsoft.com/office/drawing/2014/main" id="{266F6610-825D-3974-3EB8-2548FD966CC7}"/>
                    </a:ext>
                  </a:extLst>
                </p:cNvPr>
                <p:cNvSpPr/>
                <p:nvPr/>
              </p:nvSpPr>
              <p:spPr>
                <a:xfrm>
                  <a:off x="5306622" y="6022189"/>
                  <a:ext cx="13012" cy="50445"/>
                </a:xfrm>
                <a:custGeom>
                  <a:avLst/>
                  <a:gdLst>
                    <a:gd name="connsiteX0" fmla="*/ 12987 w 13012"/>
                    <a:gd name="connsiteY0" fmla="*/ 50446 h 50445"/>
                    <a:gd name="connsiteX1" fmla="*/ 9998 w 13012"/>
                    <a:gd name="connsiteY1" fmla="*/ 31887 h 50445"/>
                    <a:gd name="connsiteX2" fmla="*/ 2275 w 13012"/>
                    <a:gd name="connsiteY2" fmla="*/ 16317 h 50445"/>
                    <a:gd name="connsiteX3" fmla="*/ 33 w 13012"/>
                    <a:gd name="connsiteY3" fmla="*/ 0 h 50445"/>
                  </a:gdLst>
                  <a:ahLst/>
                  <a:cxnLst>
                    <a:cxn ang="0">
                      <a:pos x="connsiteX0" y="connsiteY0"/>
                    </a:cxn>
                    <a:cxn ang="0">
                      <a:pos x="connsiteX1" y="connsiteY1"/>
                    </a:cxn>
                    <a:cxn ang="0">
                      <a:pos x="connsiteX2" y="connsiteY2"/>
                    </a:cxn>
                    <a:cxn ang="0">
                      <a:pos x="connsiteX3" y="connsiteY3"/>
                    </a:cxn>
                  </a:cxnLst>
                  <a:rect l="l" t="t" r="r" b="b"/>
                  <a:pathLst>
                    <a:path w="13011" h="50445">
                      <a:moveTo>
                        <a:pt x="12987" y="50446"/>
                      </a:moveTo>
                      <a:cubicBezTo>
                        <a:pt x="13236" y="42101"/>
                        <a:pt x="11617" y="35873"/>
                        <a:pt x="9998" y="31887"/>
                      </a:cubicBezTo>
                      <a:cubicBezTo>
                        <a:pt x="7382" y="25410"/>
                        <a:pt x="4642" y="22919"/>
                        <a:pt x="2275" y="16317"/>
                      </a:cubicBezTo>
                      <a:cubicBezTo>
                        <a:pt x="33" y="9840"/>
                        <a:pt x="-92" y="3861"/>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7" name="Freeform 4304">
                  <a:extLst>
                    <a:ext uri="{FF2B5EF4-FFF2-40B4-BE49-F238E27FC236}">
                      <a16:creationId xmlns:a16="http://schemas.microsoft.com/office/drawing/2014/main" id="{0102D83A-D321-BC1A-6A25-0403CE7346D6}"/>
                    </a:ext>
                  </a:extLst>
                </p:cNvPr>
                <p:cNvSpPr/>
                <p:nvPr/>
              </p:nvSpPr>
              <p:spPr>
                <a:xfrm>
                  <a:off x="5299929" y="6029164"/>
                  <a:ext cx="14324" cy="50072"/>
                </a:xfrm>
                <a:custGeom>
                  <a:avLst/>
                  <a:gdLst>
                    <a:gd name="connsiteX0" fmla="*/ 0 w 14324"/>
                    <a:gd name="connsiteY0" fmla="*/ 0 h 50072"/>
                    <a:gd name="connsiteX1" fmla="*/ 6851 w 14324"/>
                    <a:gd name="connsiteY1" fmla="*/ 17563 h 50072"/>
                    <a:gd name="connsiteX2" fmla="*/ 7972 w 14324"/>
                    <a:gd name="connsiteY2" fmla="*/ 34876 h 50072"/>
                    <a:gd name="connsiteX3" fmla="*/ 14324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0" y="0"/>
                      </a:moveTo>
                      <a:cubicBezTo>
                        <a:pt x="4484" y="7100"/>
                        <a:pt x="6103" y="13203"/>
                        <a:pt x="6851" y="17563"/>
                      </a:cubicBezTo>
                      <a:cubicBezTo>
                        <a:pt x="7972" y="24538"/>
                        <a:pt x="6602" y="27901"/>
                        <a:pt x="7972" y="34876"/>
                      </a:cubicBezTo>
                      <a:cubicBezTo>
                        <a:pt x="9342" y="41602"/>
                        <a:pt x="12082" y="46834"/>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8" name="Freeform 4305">
                  <a:extLst>
                    <a:ext uri="{FF2B5EF4-FFF2-40B4-BE49-F238E27FC236}">
                      <a16:creationId xmlns:a16="http://schemas.microsoft.com/office/drawing/2014/main" id="{7AB46500-66BD-CB1E-1100-20D5B5535D32}"/>
                    </a:ext>
                  </a:extLst>
                </p:cNvPr>
                <p:cNvSpPr/>
                <p:nvPr/>
              </p:nvSpPr>
              <p:spPr>
                <a:xfrm>
                  <a:off x="5304834" y="6067211"/>
                  <a:ext cx="26310" cy="26492"/>
                </a:xfrm>
                <a:custGeom>
                  <a:avLst/>
                  <a:gdLst>
                    <a:gd name="connsiteX0" fmla="*/ 451 w 26310"/>
                    <a:gd name="connsiteY0" fmla="*/ 16634 h 26492"/>
                    <a:gd name="connsiteX1" fmla="*/ 9668 w 26310"/>
                    <a:gd name="connsiteY1" fmla="*/ 441 h 26492"/>
                    <a:gd name="connsiteX2" fmla="*/ 25860 w 26310"/>
                    <a:gd name="connsiteY2" fmla="*/ 9908 h 26492"/>
                    <a:gd name="connsiteX3" fmla="*/ 16643 w 26310"/>
                    <a:gd name="connsiteY3" fmla="*/ 26100 h 26492"/>
                    <a:gd name="connsiteX4" fmla="*/ 451 w 26310"/>
                    <a:gd name="connsiteY4" fmla="*/ 16634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92">
                      <a:moveTo>
                        <a:pt x="451" y="16634"/>
                      </a:moveTo>
                      <a:cubicBezTo>
                        <a:pt x="-1418" y="9534"/>
                        <a:pt x="2692" y="2310"/>
                        <a:pt x="9668" y="441"/>
                      </a:cubicBezTo>
                      <a:cubicBezTo>
                        <a:pt x="16643" y="-1427"/>
                        <a:pt x="23992" y="2808"/>
                        <a:pt x="25860" y="9908"/>
                      </a:cubicBezTo>
                      <a:cubicBezTo>
                        <a:pt x="27729" y="17008"/>
                        <a:pt x="23618" y="24232"/>
                        <a:pt x="16643" y="26100"/>
                      </a:cubicBezTo>
                      <a:cubicBezTo>
                        <a:pt x="9668" y="27844"/>
                        <a:pt x="2444" y="23609"/>
                        <a:pt x="45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7" name="Graphic 2987">
                <a:extLst>
                  <a:ext uri="{FF2B5EF4-FFF2-40B4-BE49-F238E27FC236}">
                    <a16:creationId xmlns:a16="http://schemas.microsoft.com/office/drawing/2014/main" id="{E4D6A8FD-F019-657F-0663-D454A72901A1}"/>
                  </a:ext>
                </a:extLst>
              </p:cNvPr>
              <p:cNvGrpSpPr/>
              <p:nvPr/>
            </p:nvGrpSpPr>
            <p:grpSpPr>
              <a:xfrm>
                <a:off x="5301480" y="5941399"/>
                <a:ext cx="58187" cy="144755"/>
                <a:chOff x="5301480" y="5941399"/>
                <a:chExt cx="58187" cy="144755"/>
              </a:xfrm>
              <a:grpFill/>
            </p:grpSpPr>
            <p:sp>
              <p:nvSpPr>
                <p:cNvPr id="5117" name="Freeform 4307">
                  <a:extLst>
                    <a:ext uri="{FF2B5EF4-FFF2-40B4-BE49-F238E27FC236}">
                      <a16:creationId xmlns:a16="http://schemas.microsoft.com/office/drawing/2014/main" id="{FD2FDA6C-FA6E-78B8-FA47-6E33194873FE}"/>
                    </a:ext>
                  </a:extLst>
                </p:cNvPr>
                <p:cNvSpPr/>
                <p:nvPr/>
              </p:nvSpPr>
              <p:spPr>
                <a:xfrm>
                  <a:off x="5313081" y="5962401"/>
                  <a:ext cx="12847" cy="50445"/>
                </a:xfrm>
                <a:custGeom>
                  <a:avLst/>
                  <a:gdLst>
                    <a:gd name="connsiteX0" fmla="*/ 51 w 12847"/>
                    <a:gd name="connsiteY0" fmla="*/ 0 h 50445"/>
                    <a:gd name="connsiteX1" fmla="*/ 2916 w 12847"/>
                    <a:gd name="connsiteY1" fmla="*/ 18559 h 50445"/>
                    <a:gd name="connsiteX2" fmla="*/ 10639 w 12847"/>
                    <a:gd name="connsiteY2" fmla="*/ 34129 h 50445"/>
                    <a:gd name="connsiteX3" fmla="*/ 12756 w 1284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847" h="50445">
                      <a:moveTo>
                        <a:pt x="51" y="0"/>
                      </a:moveTo>
                      <a:cubicBezTo>
                        <a:pt x="-322" y="8470"/>
                        <a:pt x="1422" y="14573"/>
                        <a:pt x="2916" y="18559"/>
                      </a:cubicBezTo>
                      <a:cubicBezTo>
                        <a:pt x="5532" y="25036"/>
                        <a:pt x="8272" y="27527"/>
                        <a:pt x="10639" y="34129"/>
                      </a:cubicBezTo>
                      <a:cubicBezTo>
                        <a:pt x="12881" y="40606"/>
                        <a:pt x="13005" y="46584"/>
                        <a:pt x="1275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8" name="Freeform 4308">
                  <a:extLst>
                    <a:ext uri="{FF2B5EF4-FFF2-40B4-BE49-F238E27FC236}">
                      <a16:creationId xmlns:a16="http://schemas.microsoft.com/office/drawing/2014/main" id="{050B5850-11E7-D2AB-0FFD-A0D4BF8528DE}"/>
                    </a:ext>
                  </a:extLst>
                </p:cNvPr>
                <p:cNvSpPr/>
                <p:nvPr/>
              </p:nvSpPr>
              <p:spPr>
                <a:xfrm>
                  <a:off x="5318612" y="5955675"/>
                  <a:ext cx="14199" cy="50196"/>
                </a:xfrm>
                <a:custGeom>
                  <a:avLst/>
                  <a:gdLst>
                    <a:gd name="connsiteX0" fmla="*/ 14200 w 14199"/>
                    <a:gd name="connsiteY0" fmla="*/ 50197 h 50196"/>
                    <a:gd name="connsiteX1" fmla="*/ 7474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4" y="32634"/>
                      </a:cubicBezTo>
                      <a:cubicBezTo>
                        <a:pt x="6477" y="25659"/>
                        <a:pt x="7723" y="22171"/>
                        <a:pt x="6353"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9" name="Freeform 4309">
                  <a:extLst>
                    <a:ext uri="{FF2B5EF4-FFF2-40B4-BE49-F238E27FC236}">
                      <a16:creationId xmlns:a16="http://schemas.microsoft.com/office/drawing/2014/main" id="{9090F8C0-F815-0407-5284-A65824E87262}"/>
                    </a:ext>
                  </a:extLst>
                </p:cNvPr>
                <p:cNvSpPr/>
                <p:nvPr/>
              </p:nvSpPr>
              <p:spPr>
                <a:xfrm>
                  <a:off x="5301480" y="5941399"/>
                  <a:ext cx="26666" cy="26426"/>
                </a:xfrm>
                <a:custGeom>
                  <a:avLst/>
                  <a:gdLst>
                    <a:gd name="connsiteX0" fmla="*/ 26225 w 26666"/>
                    <a:gd name="connsiteY0" fmla="*/ 9792 h 26426"/>
                    <a:gd name="connsiteX1" fmla="*/ 16758 w 26666"/>
                    <a:gd name="connsiteY1" fmla="*/ 25985 h 26426"/>
                    <a:gd name="connsiteX2" fmla="*/ 441 w 26666"/>
                    <a:gd name="connsiteY2" fmla="*/ 16643 h 26426"/>
                    <a:gd name="connsiteX3" fmla="*/ 9908 w 26666"/>
                    <a:gd name="connsiteY3" fmla="*/ 450 h 26426"/>
                    <a:gd name="connsiteX4" fmla="*/ 26225 w 26666"/>
                    <a:gd name="connsiteY4" fmla="*/ 9792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426">
                      <a:moveTo>
                        <a:pt x="26225" y="9792"/>
                      </a:moveTo>
                      <a:cubicBezTo>
                        <a:pt x="28093" y="16892"/>
                        <a:pt x="23858" y="24116"/>
                        <a:pt x="16758" y="25985"/>
                      </a:cubicBezTo>
                      <a:cubicBezTo>
                        <a:pt x="9658" y="27853"/>
                        <a:pt x="2310" y="23618"/>
                        <a:pt x="441" y="16643"/>
                      </a:cubicBezTo>
                      <a:cubicBezTo>
                        <a:pt x="-1427" y="9668"/>
                        <a:pt x="2808" y="2319"/>
                        <a:pt x="9908" y="450"/>
                      </a:cubicBezTo>
                      <a:cubicBezTo>
                        <a:pt x="17007" y="-1418"/>
                        <a:pt x="24356" y="2692"/>
                        <a:pt x="26225" y="97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0" name="Freeform 4310">
                  <a:extLst>
                    <a:ext uri="{FF2B5EF4-FFF2-40B4-BE49-F238E27FC236}">
                      <a16:creationId xmlns:a16="http://schemas.microsoft.com/office/drawing/2014/main" id="{0FBC341F-290A-431E-9067-B629C0CC4DD9}"/>
                    </a:ext>
                  </a:extLst>
                </p:cNvPr>
                <p:cNvSpPr/>
                <p:nvPr/>
              </p:nvSpPr>
              <p:spPr>
                <a:xfrm>
                  <a:off x="5335336" y="6014715"/>
                  <a:ext cx="12822" cy="50446"/>
                </a:xfrm>
                <a:custGeom>
                  <a:avLst/>
                  <a:gdLst>
                    <a:gd name="connsiteX0" fmla="*/ 12796 w 12822"/>
                    <a:gd name="connsiteY0" fmla="*/ 50446 h 50446"/>
                    <a:gd name="connsiteX1" fmla="*/ 9932 w 12822"/>
                    <a:gd name="connsiteY1" fmla="*/ 31887 h 50446"/>
                    <a:gd name="connsiteX2" fmla="*/ 2209 w 12822"/>
                    <a:gd name="connsiteY2" fmla="*/ 16317 h 50446"/>
                    <a:gd name="connsiteX3" fmla="*/ 92 w 12822"/>
                    <a:gd name="connsiteY3" fmla="*/ 0 h 50446"/>
                  </a:gdLst>
                  <a:ahLst/>
                  <a:cxnLst>
                    <a:cxn ang="0">
                      <a:pos x="connsiteX0" y="connsiteY0"/>
                    </a:cxn>
                    <a:cxn ang="0">
                      <a:pos x="connsiteX1" y="connsiteY1"/>
                    </a:cxn>
                    <a:cxn ang="0">
                      <a:pos x="connsiteX2" y="connsiteY2"/>
                    </a:cxn>
                    <a:cxn ang="0">
                      <a:pos x="connsiteX3" y="connsiteY3"/>
                    </a:cxn>
                  </a:cxnLst>
                  <a:rect l="l" t="t" r="r" b="b"/>
                  <a:pathLst>
                    <a:path w="12822" h="50446">
                      <a:moveTo>
                        <a:pt x="12796" y="50446"/>
                      </a:moveTo>
                      <a:cubicBezTo>
                        <a:pt x="13046" y="42101"/>
                        <a:pt x="11426" y="35873"/>
                        <a:pt x="9932" y="31887"/>
                      </a:cubicBezTo>
                      <a:cubicBezTo>
                        <a:pt x="7441" y="25410"/>
                        <a:pt x="4576" y="22919"/>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1" name="Freeform 4311">
                  <a:extLst>
                    <a:ext uri="{FF2B5EF4-FFF2-40B4-BE49-F238E27FC236}">
                      <a16:creationId xmlns:a16="http://schemas.microsoft.com/office/drawing/2014/main" id="{DCF76F72-80BA-A925-5C8B-97C8C3CA43E3}"/>
                    </a:ext>
                  </a:extLst>
                </p:cNvPr>
                <p:cNvSpPr/>
                <p:nvPr/>
              </p:nvSpPr>
              <p:spPr>
                <a:xfrm>
                  <a:off x="5328452" y="6021566"/>
                  <a:ext cx="14199" cy="50072"/>
                </a:xfrm>
                <a:custGeom>
                  <a:avLst/>
                  <a:gdLst>
                    <a:gd name="connsiteX0" fmla="*/ 0 w 14199"/>
                    <a:gd name="connsiteY0" fmla="*/ 0 h 50072"/>
                    <a:gd name="connsiteX1" fmla="*/ 6726 w 14199"/>
                    <a:gd name="connsiteY1" fmla="*/ 17563 h 50072"/>
                    <a:gd name="connsiteX2" fmla="*/ 7847 w 14199"/>
                    <a:gd name="connsiteY2" fmla="*/ 34876 h 50072"/>
                    <a:gd name="connsiteX3" fmla="*/ 14199 w 1419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199" h="50072">
                      <a:moveTo>
                        <a:pt x="0" y="0"/>
                      </a:moveTo>
                      <a:cubicBezTo>
                        <a:pt x="4484" y="7099"/>
                        <a:pt x="6103" y="13203"/>
                        <a:pt x="6726" y="17563"/>
                      </a:cubicBezTo>
                      <a:cubicBezTo>
                        <a:pt x="7723" y="24538"/>
                        <a:pt x="6477" y="28025"/>
                        <a:pt x="7847" y="34876"/>
                      </a:cubicBezTo>
                      <a:cubicBezTo>
                        <a:pt x="9217" y="41602"/>
                        <a:pt x="11957" y="46833"/>
                        <a:pt x="14199"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2" name="Freeform 4312">
                  <a:extLst>
                    <a:ext uri="{FF2B5EF4-FFF2-40B4-BE49-F238E27FC236}">
                      <a16:creationId xmlns:a16="http://schemas.microsoft.com/office/drawing/2014/main" id="{16F8197A-5C6E-5187-19B8-145E985AD3F2}"/>
                    </a:ext>
                  </a:extLst>
                </p:cNvPr>
                <p:cNvSpPr/>
                <p:nvPr/>
              </p:nvSpPr>
              <p:spPr>
                <a:xfrm>
                  <a:off x="5333234" y="6059613"/>
                  <a:ext cx="26434" cy="26541"/>
                </a:xfrm>
                <a:custGeom>
                  <a:avLst/>
                  <a:gdLst>
                    <a:gd name="connsiteX0" fmla="*/ 450 w 26434"/>
                    <a:gd name="connsiteY0" fmla="*/ 16634 h 26541"/>
                    <a:gd name="connsiteX1" fmla="*/ 9792 w 26434"/>
                    <a:gd name="connsiteY1" fmla="*/ 441 h 26541"/>
                    <a:gd name="connsiteX2" fmla="*/ 25985 w 26434"/>
                    <a:gd name="connsiteY2" fmla="*/ 9907 h 26541"/>
                    <a:gd name="connsiteX3" fmla="*/ 16643 w 26434"/>
                    <a:gd name="connsiteY3" fmla="*/ 26100 h 26541"/>
                    <a:gd name="connsiteX4" fmla="*/ 450 w 26434"/>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6541">
                      <a:moveTo>
                        <a:pt x="450" y="16634"/>
                      </a:moveTo>
                      <a:cubicBezTo>
                        <a:pt x="-1418" y="9534"/>
                        <a:pt x="2692" y="2310"/>
                        <a:pt x="9792" y="441"/>
                      </a:cubicBezTo>
                      <a:cubicBezTo>
                        <a:pt x="16767" y="-1427"/>
                        <a:pt x="24116" y="2808"/>
                        <a:pt x="25985" y="9907"/>
                      </a:cubicBezTo>
                      <a:cubicBezTo>
                        <a:pt x="27853" y="17007"/>
                        <a:pt x="23742" y="24232"/>
                        <a:pt x="16643" y="26100"/>
                      </a:cubicBezTo>
                      <a:cubicBezTo>
                        <a:pt x="9543" y="27968"/>
                        <a:pt x="2443"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8" name="Graphic 2987">
                <a:extLst>
                  <a:ext uri="{FF2B5EF4-FFF2-40B4-BE49-F238E27FC236}">
                    <a16:creationId xmlns:a16="http://schemas.microsoft.com/office/drawing/2014/main" id="{E5A837F2-B39B-16E1-A2EC-8054A6786998}"/>
                  </a:ext>
                </a:extLst>
              </p:cNvPr>
              <p:cNvGrpSpPr/>
              <p:nvPr/>
            </p:nvGrpSpPr>
            <p:grpSpPr>
              <a:xfrm>
                <a:off x="5330211" y="5933758"/>
                <a:ext cx="57848" cy="144798"/>
                <a:chOff x="5330211" y="5933758"/>
                <a:chExt cx="57848" cy="144798"/>
              </a:xfrm>
              <a:grpFill/>
            </p:grpSpPr>
            <p:sp>
              <p:nvSpPr>
                <p:cNvPr id="5111" name="Freeform 4314">
                  <a:extLst>
                    <a:ext uri="{FF2B5EF4-FFF2-40B4-BE49-F238E27FC236}">
                      <a16:creationId xmlns:a16="http://schemas.microsoft.com/office/drawing/2014/main" id="{2C18FB45-0AC2-F4BF-5648-CBAECF51D536}"/>
                    </a:ext>
                  </a:extLst>
                </p:cNvPr>
                <p:cNvSpPr/>
                <p:nvPr/>
              </p:nvSpPr>
              <p:spPr>
                <a:xfrm>
                  <a:off x="5341850" y="5954803"/>
                  <a:ext cx="12850" cy="50570"/>
                </a:xfrm>
                <a:custGeom>
                  <a:avLst/>
                  <a:gdLst>
                    <a:gd name="connsiteX0" fmla="*/ 54 w 12850"/>
                    <a:gd name="connsiteY0" fmla="*/ 0 h 50570"/>
                    <a:gd name="connsiteX1" fmla="*/ 2919 w 12850"/>
                    <a:gd name="connsiteY1" fmla="*/ 18559 h 50570"/>
                    <a:gd name="connsiteX2" fmla="*/ 10642 w 12850"/>
                    <a:gd name="connsiteY2" fmla="*/ 34253 h 50570"/>
                    <a:gd name="connsiteX3" fmla="*/ 12759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54" y="0"/>
                      </a:moveTo>
                      <a:cubicBezTo>
                        <a:pt x="-319" y="8470"/>
                        <a:pt x="1300" y="14573"/>
                        <a:pt x="2919" y="18559"/>
                      </a:cubicBezTo>
                      <a:cubicBezTo>
                        <a:pt x="5410" y="25036"/>
                        <a:pt x="8275" y="27527"/>
                        <a:pt x="10642" y="34253"/>
                      </a:cubicBezTo>
                      <a:cubicBezTo>
                        <a:pt x="12884" y="40731"/>
                        <a:pt x="13008" y="46709"/>
                        <a:pt x="1275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2" name="Freeform 4315">
                  <a:extLst>
                    <a:ext uri="{FF2B5EF4-FFF2-40B4-BE49-F238E27FC236}">
                      <a16:creationId xmlns:a16="http://schemas.microsoft.com/office/drawing/2014/main" id="{928738BA-4294-7FFD-D457-D801373CBB87}"/>
                    </a:ext>
                  </a:extLst>
                </p:cNvPr>
                <p:cNvSpPr/>
                <p:nvPr/>
              </p:nvSpPr>
              <p:spPr>
                <a:xfrm>
                  <a:off x="5347510" y="5947952"/>
                  <a:ext cx="13950" cy="50321"/>
                </a:xfrm>
                <a:custGeom>
                  <a:avLst/>
                  <a:gdLst>
                    <a:gd name="connsiteX0" fmla="*/ 13950 w 13950"/>
                    <a:gd name="connsiteY0" fmla="*/ 50321 h 50321"/>
                    <a:gd name="connsiteX1" fmla="*/ 7224 w 13950"/>
                    <a:gd name="connsiteY1" fmla="*/ 32759 h 50321"/>
                    <a:gd name="connsiteX2" fmla="*/ 6228 w 13950"/>
                    <a:gd name="connsiteY2" fmla="*/ 15320 h 50321"/>
                    <a:gd name="connsiteX3" fmla="*/ 0 w 13950"/>
                    <a:gd name="connsiteY3" fmla="*/ 0 h 50321"/>
                  </a:gdLst>
                  <a:ahLst/>
                  <a:cxnLst>
                    <a:cxn ang="0">
                      <a:pos x="connsiteX0" y="connsiteY0"/>
                    </a:cxn>
                    <a:cxn ang="0">
                      <a:pos x="connsiteX1" y="connsiteY1"/>
                    </a:cxn>
                    <a:cxn ang="0">
                      <a:pos x="connsiteX2" y="connsiteY2"/>
                    </a:cxn>
                    <a:cxn ang="0">
                      <a:pos x="connsiteX3" y="connsiteY3"/>
                    </a:cxn>
                  </a:cxnLst>
                  <a:rect l="l" t="t" r="r" b="b"/>
                  <a:pathLst>
                    <a:path w="13950" h="50321">
                      <a:moveTo>
                        <a:pt x="13950" y="50321"/>
                      </a:moveTo>
                      <a:cubicBezTo>
                        <a:pt x="9466" y="43222"/>
                        <a:pt x="7847" y="36994"/>
                        <a:pt x="7224" y="32759"/>
                      </a:cubicBezTo>
                      <a:cubicBezTo>
                        <a:pt x="6228" y="25784"/>
                        <a:pt x="7474" y="22296"/>
                        <a:pt x="6228" y="15320"/>
                      </a:cubicBezTo>
                      <a:cubicBezTo>
                        <a:pt x="4982"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3" name="Freeform 4316">
                  <a:extLst>
                    <a:ext uri="{FF2B5EF4-FFF2-40B4-BE49-F238E27FC236}">
                      <a16:creationId xmlns:a16="http://schemas.microsoft.com/office/drawing/2014/main" id="{D79DB75F-CCE9-CA0F-9CCC-3F969DE28C1F}"/>
                    </a:ext>
                  </a:extLst>
                </p:cNvPr>
                <p:cNvSpPr/>
                <p:nvPr/>
              </p:nvSpPr>
              <p:spPr>
                <a:xfrm>
                  <a:off x="5330211" y="5933758"/>
                  <a:ext cx="26708" cy="26469"/>
                </a:xfrm>
                <a:custGeom>
                  <a:avLst/>
                  <a:gdLst>
                    <a:gd name="connsiteX0" fmla="*/ 26267 w 26708"/>
                    <a:gd name="connsiteY0" fmla="*/ 9835 h 26469"/>
                    <a:gd name="connsiteX1" fmla="*/ 16801 w 26708"/>
                    <a:gd name="connsiteY1" fmla="*/ 26027 h 26469"/>
                    <a:gd name="connsiteX2" fmla="*/ 484 w 26708"/>
                    <a:gd name="connsiteY2" fmla="*/ 16685 h 26469"/>
                    <a:gd name="connsiteX3" fmla="*/ 9950 w 26708"/>
                    <a:gd name="connsiteY3" fmla="*/ 493 h 26469"/>
                    <a:gd name="connsiteX4" fmla="*/ 26267 w 26708"/>
                    <a:gd name="connsiteY4" fmla="*/ 9835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9">
                      <a:moveTo>
                        <a:pt x="26267" y="9835"/>
                      </a:moveTo>
                      <a:cubicBezTo>
                        <a:pt x="28136" y="16935"/>
                        <a:pt x="23901" y="24159"/>
                        <a:pt x="16801" y="26027"/>
                      </a:cubicBezTo>
                      <a:cubicBezTo>
                        <a:pt x="9701" y="27896"/>
                        <a:pt x="2477" y="23661"/>
                        <a:pt x="484" y="16685"/>
                      </a:cubicBezTo>
                      <a:cubicBezTo>
                        <a:pt x="-1509" y="9710"/>
                        <a:pt x="2851" y="2361"/>
                        <a:pt x="9950" y="493"/>
                      </a:cubicBezTo>
                      <a:cubicBezTo>
                        <a:pt x="17175" y="-1500"/>
                        <a:pt x="24399" y="2735"/>
                        <a:pt x="26267" y="9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4" name="Freeform 4317">
                  <a:extLst>
                    <a:ext uri="{FF2B5EF4-FFF2-40B4-BE49-F238E27FC236}">
                      <a16:creationId xmlns:a16="http://schemas.microsoft.com/office/drawing/2014/main" id="{98C31516-25D4-12E3-FCA7-7957444CCF9F}"/>
                    </a:ext>
                  </a:extLst>
                </p:cNvPr>
                <p:cNvSpPr/>
                <p:nvPr/>
              </p:nvSpPr>
              <p:spPr>
                <a:xfrm>
                  <a:off x="5363860" y="6006992"/>
                  <a:ext cx="12726" cy="50570"/>
                </a:xfrm>
                <a:custGeom>
                  <a:avLst/>
                  <a:gdLst>
                    <a:gd name="connsiteX0" fmla="*/ 12672 w 12726"/>
                    <a:gd name="connsiteY0" fmla="*/ 50570 h 50570"/>
                    <a:gd name="connsiteX1" fmla="*/ 9807 w 12726"/>
                    <a:gd name="connsiteY1" fmla="*/ 32011 h 50570"/>
                    <a:gd name="connsiteX2" fmla="*/ 2209 w 12726"/>
                    <a:gd name="connsiteY2" fmla="*/ 16317 h 50570"/>
                    <a:gd name="connsiteX3" fmla="*/ 92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50570"/>
                      </a:moveTo>
                      <a:cubicBezTo>
                        <a:pt x="13045" y="42101"/>
                        <a:pt x="11426" y="35997"/>
                        <a:pt x="9807" y="32011"/>
                      </a:cubicBezTo>
                      <a:cubicBezTo>
                        <a:pt x="7316" y="25534"/>
                        <a:pt x="4451" y="23043"/>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5" name="Freeform 4318">
                  <a:extLst>
                    <a:ext uri="{FF2B5EF4-FFF2-40B4-BE49-F238E27FC236}">
                      <a16:creationId xmlns:a16="http://schemas.microsoft.com/office/drawing/2014/main" id="{B00163B0-8CD2-8F91-D449-E6D807DBBD2F}"/>
                    </a:ext>
                  </a:extLst>
                </p:cNvPr>
                <p:cNvSpPr/>
                <p:nvPr/>
              </p:nvSpPr>
              <p:spPr>
                <a:xfrm>
                  <a:off x="5357101" y="6013968"/>
                  <a:ext cx="14075" cy="50321"/>
                </a:xfrm>
                <a:custGeom>
                  <a:avLst/>
                  <a:gdLst>
                    <a:gd name="connsiteX0" fmla="*/ 0 w 14075"/>
                    <a:gd name="connsiteY0" fmla="*/ 0 h 50321"/>
                    <a:gd name="connsiteX1" fmla="*/ 6726 w 14075"/>
                    <a:gd name="connsiteY1" fmla="*/ 17563 h 50321"/>
                    <a:gd name="connsiteX2" fmla="*/ 7847 w 14075"/>
                    <a:gd name="connsiteY2" fmla="*/ 35001 h 50321"/>
                    <a:gd name="connsiteX3" fmla="*/ 14075 w 1407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4075" h="50321">
                      <a:moveTo>
                        <a:pt x="0" y="0"/>
                      </a:moveTo>
                      <a:cubicBezTo>
                        <a:pt x="4484" y="7100"/>
                        <a:pt x="6103" y="13328"/>
                        <a:pt x="6726" y="17563"/>
                      </a:cubicBezTo>
                      <a:cubicBezTo>
                        <a:pt x="7723" y="24538"/>
                        <a:pt x="6477" y="28025"/>
                        <a:pt x="7847" y="35001"/>
                      </a:cubicBezTo>
                      <a:cubicBezTo>
                        <a:pt x="9093" y="41727"/>
                        <a:pt x="11957" y="46958"/>
                        <a:pt x="14075"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6" name="Freeform 4319">
                  <a:extLst>
                    <a:ext uri="{FF2B5EF4-FFF2-40B4-BE49-F238E27FC236}">
                      <a16:creationId xmlns:a16="http://schemas.microsoft.com/office/drawing/2014/main" id="{FE46CF2A-FD7A-637F-8C54-E6990D2C1B7E}"/>
                    </a:ext>
                  </a:extLst>
                </p:cNvPr>
                <p:cNvSpPr/>
                <p:nvPr/>
              </p:nvSpPr>
              <p:spPr>
                <a:xfrm>
                  <a:off x="5361757" y="6052015"/>
                  <a:ext cx="26301" cy="26541"/>
                </a:xfrm>
                <a:custGeom>
                  <a:avLst/>
                  <a:gdLst>
                    <a:gd name="connsiteX0" fmla="*/ 450 w 26301"/>
                    <a:gd name="connsiteY0" fmla="*/ 16634 h 26541"/>
                    <a:gd name="connsiteX1" fmla="*/ 9792 w 26301"/>
                    <a:gd name="connsiteY1" fmla="*/ 441 h 26541"/>
                    <a:gd name="connsiteX2" fmla="*/ 25860 w 26301"/>
                    <a:gd name="connsiteY2" fmla="*/ 9908 h 26541"/>
                    <a:gd name="connsiteX3" fmla="*/ 16518 w 26301"/>
                    <a:gd name="connsiteY3" fmla="*/ 26100 h 26541"/>
                    <a:gd name="connsiteX4" fmla="*/ 450 w 2630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541">
                      <a:moveTo>
                        <a:pt x="450" y="16634"/>
                      </a:moveTo>
                      <a:cubicBezTo>
                        <a:pt x="-1418" y="9534"/>
                        <a:pt x="2692" y="2310"/>
                        <a:pt x="9792" y="441"/>
                      </a:cubicBezTo>
                      <a:cubicBezTo>
                        <a:pt x="16767" y="-1427"/>
                        <a:pt x="23992" y="2808"/>
                        <a:pt x="25860" y="9908"/>
                      </a:cubicBezTo>
                      <a:cubicBezTo>
                        <a:pt x="27728" y="17008"/>
                        <a:pt x="23493" y="24232"/>
                        <a:pt x="16518" y="26100"/>
                      </a:cubicBezTo>
                      <a:cubicBezTo>
                        <a:pt x="9543" y="27969"/>
                        <a:pt x="2318"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9" name="Graphic 2987">
                <a:extLst>
                  <a:ext uri="{FF2B5EF4-FFF2-40B4-BE49-F238E27FC236}">
                    <a16:creationId xmlns:a16="http://schemas.microsoft.com/office/drawing/2014/main" id="{9E2ECA7F-18BD-BB27-1225-9056B5BF7BB2}"/>
                  </a:ext>
                </a:extLst>
              </p:cNvPr>
              <p:cNvGrpSpPr/>
              <p:nvPr/>
            </p:nvGrpSpPr>
            <p:grpSpPr>
              <a:xfrm>
                <a:off x="5359151" y="5926012"/>
                <a:ext cx="57307" cy="145071"/>
                <a:chOff x="5359151" y="5926012"/>
                <a:chExt cx="57307" cy="145071"/>
              </a:xfrm>
              <a:grpFill/>
            </p:grpSpPr>
            <p:sp>
              <p:nvSpPr>
                <p:cNvPr id="5105" name="Freeform 4321">
                  <a:extLst>
                    <a:ext uri="{FF2B5EF4-FFF2-40B4-BE49-F238E27FC236}">
                      <a16:creationId xmlns:a16="http://schemas.microsoft.com/office/drawing/2014/main" id="{68F6645B-9295-78DF-DB23-561D49C981CF}"/>
                    </a:ext>
                  </a:extLst>
                </p:cNvPr>
                <p:cNvSpPr/>
                <p:nvPr/>
              </p:nvSpPr>
              <p:spPr>
                <a:xfrm>
                  <a:off x="5370623" y="5947080"/>
                  <a:ext cx="12672" cy="50695"/>
                </a:xfrm>
                <a:custGeom>
                  <a:avLst/>
                  <a:gdLst>
                    <a:gd name="connsiteX0" fmla="*/ 54 w 12672"/>
                    <a:gd name="connsiteY0" fmla="*/ 0 h 50695"/>
                    <a:gd name="connsiteX1" fmla="*/ 2919 w 12672"/>
                    <a:gd name="connsiteY1" fmla="*/ 18559 h 50695"/>
                    <a:gd name="connsiteX2" fmla="*/ 10517 w 12672"/>
                    <a:gd name="connsiteY2" fmla="*/ 34253 h 50695"/>
                    <a:gd name="connsiteX3" fmla="*/ 12510 w 12672"/>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672" h="50695">
                      <a:moveTo>
                        <a:pt x="54" y="0"/>
                      </a:moveTo>
                      <a:cubicBezTo>
                        <a:pt x="-319" y="8470"/>
                        <a:pt x="1300" y="14573"/>
                        <a:pt x="2919" y="18559"/>
                      </a:cubicBezTo>
                      <a:cubicBezTo>
                        <a:pt x="5410" y="25036"/>
                        <a:pt x="8275" y="27527"/>
                        <a:pt x="10517" y="34253"/>
                      </a:cubicBezTo>
                      <a:cubicBezTo>
                        <a:pt x="12759" y="40730"/>
                        <a:pt x="12884" y="46709"/>
                        <a:pt x="1251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6" name="Freeform 4322">
                  <a:extLst>
                    <a:ext uri="{FF2B5EF4-FFF2-40B4-BE49-F238E27FC236}">
                      <a16:creationId xmlns:a16="http://schemas.microsoft.com/office/drawing/2014/main" id="{E6DF8688-82E1-A553-64DE-4F398E843CC6}"/>
                    </a:ext>
                  </a:extLst>
                </p:cNvPr>
                <p:cNvSpPr/>
                <p:nvPr/>
              </p:nvSpPr>
              <p:spPr>
                <a:xfrm>
                  <a:off x="5376158" y="5940354"/>
                  <a:ext cx="13826" cy="50321"/>
                </a:xfrm>
                <a:custGeom>
                  <a:avLst/>
                  <a:gdLst>
                    <a:gd name="connsiteX0" fmla="*/ 13826 w 13826"/>
                    <a:gd name="connsiteY0" fmla="*/ 50321 h 50321"/>
                    <a:gd name="connsiteX1" fmla="*/ 7225 w 13826"/>
                    <a:gd name="connsiteY1" fmla="*/ 32759 h 50321"/>
                    <a:gd name="connsiteX2" fmla="*/ 6228 w 13826"/>
                    <a:gd name="connsiteY2" fmla="*/ 15321 h 50321"/>
                    <a:gd name="connsiteX3" fmla="*/ 0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50321"/>
                      </a:moveTo>
                      <a:cubicBezTo>
                        <a:pt x="9342" y="43222"/>
                        <a:pt x="7847" y="36994"/>
                        <a:pt x="7225" y="32759"/>
                      </a:cubicBezTo>
                      <a:cubicBezTo>
                        <a:pt x="6228" y="25784"/>
                        <a:pt x="7474" y="22296"/>
                        <a:pt x="6228" y="15321"/>
                      </a:cubicBezTo>
                      <a:cubicBezTo>
                        <a:pt x="4982"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7" name="Freeform 4323">
                  <a:extLst>
                    <a:ext uri="{FF2B5EF4-FFF2-40B4-BE49-F238E27FC236}">
                      <a16:creationId xmlns:a16="http://schemas.microsoft.com/office/drawing/2014/main" id="{C34548B7-9ED5-7A94-6D93-6E0DD531995D}"/>
                    </a:ext>
                  </a:extLst>
                </p:cNvPr>
                <p:cNvSpPr/>
                <p:nvPr/>
              </p:nvSpPr>
              <p:spPr>
                <a:xfrm>
                  <a:off x="5359151" y="5926012"/>
                  <a:ext cx="26541" cy="26492"/>
                </a:xfrm>
                <a:custGeom>
                  <a:avLst/>
                  <a:gdLst>
                    <a:gd name="connsiteX0" fmla="*/ 26100 w 26541"/>
                    <a:gd name="connsiteY0" fmla="*/ 9859 h 26492"/>
                    <a:gd name="connsiteX1" fmla="*/ 16634 w 26541"/>
                    <a:gd name="connsiteY1" fmla="*/ 26051 h 26492"/>
                    <a:gd name="connsiteX2" fmla="*/ 441 w 26541"/>
                    <a:gd name="connsiteY2" fmla="*/ 16585 h 26492"/>
                    <a:gd name="connsiteX3" fmla="*/ 9907 w 26541"/>
                    <a:gd name="connsiteY3" fmla="*/ 392 h 26492"/>
                    <a:gd name="connsiteX4" fmla="*/ 26100 w 26541"/>
                    <a:gd name="connsiteY4" fmla="*/ 9859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92">
                      <a:moveTo>
                        <a:pt x="26100" y="9859"/>
                      </a:moveTo>
                      <a:cubicBezTo>
                        <a:pt x="27968" y="16958"/>
                        <a:pt x="23734" y="24183"/>
                        <a:pt x="16634" y="26051"/>
                      </a:cubicBezTo>
                      <a:cubicBezTo>
                        <a:pt x="9534" y="27919"/>
                        <a:pt x="2310" y="23684"/>
                        <a:pt x="441" y="16585"/>
                      </a:cubicBezTo>
                      <a:cubicBezTo>
                        <a:pt x="-1427" y="9485"/>
                        <a:pt x="2808" y="2260"/>
                        <a:pt x="9907" y="392"/>
                      </a:cubicBezTo>
                      <a:cubicBezTo>
                        <a:pt x="17007" y="-1352"/>
                        <a:pt x="24232" y="2883"/>
                        <a:pt x="26100" y="98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8" name="Freeform 4324">
                  <a:extLst>
                    <a:ext uri="{FF2B5EF4-FFF2-40B4-BE49-F238E27FC236}">
                      <a16:creationId xmlns:a16="http://schemas.microsoft.com/office/drawing/2014/main" id="{F5796539-0005-C607-A3B9-8BE081B16D59}"/>
                    </a:ext>
                  </a:extLst>
                </p:cNvPr>
                <p:cNvSpPr/>
                <p:nvPr/>
              </p:nvSpPr>
              <p:spPr>
                <a:xfrm>
                  <a:off x="5392438" y="5999270"/>
                  <a:ext cx="12672" cy="50695"/>
                </a:xfrm>
                <a:custGeom>
                  <a:avLst/>
                  <a:gdLst>
                    <a:gd name="connsiteX0" fmla="*/ 12618 w 12672"/>
                    <a:gd name="connsiteY0" fmla="*/ 50695 h 50695"/>
                    <a:gd name="connsiteX1" fmla="*/ 9753 w 12672"/>
                    <a:gd name="connsiteY1" fmla="*/ 32136 h 50695"/>
                    <a:gd name="connsiteX2" fmla="*/ 2155 w 12672"/>
                    <a:gd name="connsiteY2" fmla="*/ 16442 h 50695"/>
                    <a:gd name="connsiteX3" fmla="*/ 162 w 12672"/>
                    <a:gd name="connsiteY3" fmla="*/ 0 h 50695"/>
                  </a:gdLst>
                  <a:ahLst/>
                  <a:cxnLst>
                    <a:cxn ang="0">
                      <a:pos x="connsiteX0" y="connsiteY0"/>
                    </a:cxn>
                    <a:cxn ang="0">
                      <a:pos x="connsiteX1" y="connsiteY1"/>
                    </a:cxn>
                    <a:cxn ang="0">
                      <a:pos x="connsiteX2" y="connsiteY2"/>
                    </a:cxn>
                    <a:cxn ang="0">
                      <a:pos x="connsiteX3" y="connsiteY3"/>
                    </a:cxn>
                  </a:cxnLst>
                  <a:rect l="l" t="t" r="r" b="b"/>
                  <a:pathLst>
                    <a:path w="12672" h="50695">
                      <a:moveTo>
                        <a:pt x="12618" y="50695"/>
                      </a:moveTo>
                      <a:cubicBezTo>
                        <a:pt x="12991" y="42225"/>
                        <a:pt x="11372" y="36122"/>
                        <a:pt x="9753" y="32136"/>
                      </a:cubicBezTo>
                      <a:cubicBezTo>
                        <a:pt x="7262" y="25659"/>
                        <a:pt x="4397" y="23168"/>
                        <a:pt x="2155" y="16442"/>
                      </a:cubicBezTo>
                      <a:cubicBezTo>
                        <a:pt x="-87" y="9964"/>
                        <a:pt x="-212" y="3986"/>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9" name="Freeform 4325">
                  <a:extLst>
                    <a:ext uri="{FF2B5EF4-FFF2-40B4-BE49-F238E27FC236}">
                      <a16:creationId xmlns:a16="http://schemas.microsoft.com/office/drawing/2014/main" id="{039B3DDF-6731-A133-6651-571752F10228}"/>
                    </a:ext>
                  </a:extLst>
                </p:cNvPr>
                <p:cNvSpPr/>
                <p:nvPr/>
              </p:nvSpPr>
              <p:spPr>
                <a:xfrm>
                  <a:off x="5385624" y="6006370"/>
                  <a:ext cx="13825" cy="50321"/>
                </a:xfrm>
                <a:custGeom>
                  <a:avLst/>
                  <a:gdLst>
                    <a:gd name="connsiteX0" fmla="*/ 0 w 13825"/>
                    <a:gd name="connsiteY0" fmla="*/ 0 h 50321"/>
                    <a:gd name="connsiteX1" fmla="*/ 6602 w 13825"/>
                    <a:gd name="connsiteY1" fmla="*/ 17563 h 50321"/>
                    <a:gd name="connsiteX2" fmla="*/ 7598 w 13825"/>
                    <a:gd name="connsiteY2" fmla="*/ 35001 h 50321"/>
                    <a:gd name="connsiteX3" fmla="*/ 13826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0" y="0"/>
                      </a:moveTo>
                      <a:cubicBezTo>
                        <a:pt x="4484" y="7099"/>
                        <a:pt x="5979" y="13327"/>
                        <a:pt x="6602" y="17563"/>
                      </a:cubicBezTo>
                      <a:cubicBezTo>
                        <a:pt x="7598" y="24538"/>
                        <a:pt x="6353" y="28025"/>
                        <a:pt x="7598" y="35001"/>
                      </a:cubicBezTo>
                      <a:cubicBezTo>
                        <a:pt x="8843" y="41851"/>
                        <a:pt x="11708"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0" name="Freeform 4326">
                  <a:extLst>
                    <a:ext uri="{FF2B5EF4-FFF2-40B4-BE49-F238E27FC236}">
                      <a16:creationId xmlns:a16="http://schemas.microsoft.com/office/drawing/2014/main" id="{8186E083-B58C-6E30-9405-9887F4EB8266}"/>
                    </a:ext>
                  </a:extLst>
                </p:cNvPr>
                <p:cNvSpPr/>
                <p:nvPr/>
              </p:nvSpPr>
              <p:spPr>
                <a:xfrm>
                  <a:off x="5390165" y="6044541"/>
                  <a:ext cx="26293" cy="26541"/>
                </a:xfrm>
                <a:custGeom>
                  <a:avLst/>
                  <a:gdLst>
                    <a:gd name="connsiteX0" fmla="*/ 442 w 26293"/>
                    <a:gd name="connsiteY0" fmla="*/ 16634 h 26541"/>
                    <a:gd name="connsiteX1" fmla="*/ 9784 w 26293"/>
                    <a:gd name="connsiteY1" fmla="*/ 441 h 26541"/>
                    <a:gd name="connsiteX2" fmla="*/ 25852 w 26293"/>
                    <a:gd name="connsiteY2" fmla="*/ 9908 h 26541"/>
                    <a:gd name="connsiteX3" fmla="*/ 16510 w 26293"/>
                    <a:gd name="connsiteY3" fmla="*/ 26101 h 26541"/>
                    <a:gd name="connsiteX4" fmla="*/ 442 w 26293"/>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16634"/>
                      </a:moveTo>
                      <a:cubicBezTo>
                        <a:pt x="-1426" y="9534"/>
                        <a:pt x="2808" y="2310"/>
                        <a:pt x="9784" y="441"/>
                      </a:cubicBezTo>
                      <a:cubicBezTo>
                        <a:pt x="16759" y="-1427"/>
                        <a:pt x="23983" y="2808"/>
                        <a:pt x="25852" y="9908"/>
                      </a:cubicBezTo>
                      <a:cubicBezTo>
                        <a:pt x="27720" y="17008"/>
                        <a:pt x="23485" y="24232"/>
                        <a:pt x="16510" y="26101"/>
                      </a:cubicBezTo>
                      <a:cubicBezTo>
                        <a:pt x="9410" y="27969"/>
                        <a:pt x="2310" y="23734"/>
                        <a:pt x="442"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0" name="Graphic 2987">
                <a:extLst>
                  <a:ext uri="{FF2B5EF4-FFF2-40B4-BE49-F238E27FC236}">
                    <a16:creationId xmlns:a16="http://schemas.microsoft.com/office/drawing/2014/main" id="{B5A21A5A-A3E5-805F-3402-BBDE927336CE}"/>
                  </a:ext>
                </a:extLst>
              </p:cNvPr>
              <p:cNvGrpSpPr/>
              <p:nvPr/>
            </p:nvGrpSpPr>
            <p:grpSpPr>
              <a:xfrm>
                <a:off x="5387807" y="5918497"/>
                <a:ext cx="57174" cy="144987"/>
                <a:chOff x="5387807" y="5918497"/>
                <a:chExt cx="57174" cy="144987"/>
              </a:xfrm>
              <a:grpFill/>
            </p:grpSpPr>
            <p:sp>
              <p:nvSpPr>
                <p:cNvPr id="5099" name="Freeform 4328">
                  <a:extLst>
                    <a:ext uri="{FF2B5EF4-FFF2-40B4-BE49-F238E27FC236}">
                      <a16:creationId xmlns:a16="http://schemas.microsoft.com/office/drawing/2014/main" id="{BA674616-9896-0AB2-45F6-B4B16820F222}"/>
                    </a:ext>
                  </a:extLst>
                </p:cNvPr>
                <p:cNvSpPr/>
                <p:nvPr/>
              </p:nvSpPr>
              <p:spPr>
                <a:xfrm>
                  <a:off x="5399396" y="5939482"/>
                  <a:ext cx="12494" cy="50694"/>
                </a:xfrm>
                <a:custGeom>
                  <a:avLst/>
                  <a:gdLst>
                    <a:gd name="connsiteX0" fmla="*/ 54 w 12494"/>
                    <a:gd name="connsiteY0" fmla="*/ 0 h 50694"/>
                    <a:gd name="connsiteX1" fmla="*/ 2795 w 12494"/>
                    <a:gd name="connsiteY1" fmla="*/ 18559 h 50694"/>
                    <a:gd name="connsiteX2" fmla="*/ 10393 w 12494"/>
                    <a:gd name="connsiteY2" fmla="*/ 34253 h 50694"/>
                    <a:gd name="connsiteX3" fmla="*/ 12386 w 12494"/>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494" h="50694">
                      <a:moveTo>
                        <a:pt x="54" y="0"/>
                      </a:moveTo>
                      <a:cubicBezTo>
                        <a:pt x="-319" y="8470"/>
                        <a:pt x="1300" y="14573"/>
                        <a:pt x="2795" y="18559"/>
                      </a:cubicBezTo>
                      <a:cubicBezTo>
                        <a:pt x="5286" y="25161"/>
                        <a:pt x="8151" y="27527"/>
                        <a:pt x="10393" y="34253"/>
                      </a:cubicBezTo>
                      <a:cubicBezTo>
                        <a:pt x="12635" y="40855"/>
                        <a:pt x="12635" y="46709"/>
                        <a:pt x="1238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0" name="Freeform 4329">
                  <a:extLst>
                    <a:ext uri="{FF2B5EF4-FFF2-40B4-BE49-F238E27FC236}">
                      <a16:creationId xmlns:a16="http://schemas.microsoft.com/office/drawing/2014/main" id="{F53FD136-99E0-AB50-673B-617FF17498F7}"/>
                    </a:ext>
                  </a:extLst>
                </p:cNvPr>
                <p:cNvSpPr/>
                <p:nvPr/>
              </p:nvSpPr>
              <p:spPr>
                <a:xfrm>
                  <a:off x="5404806" y="5932881"/>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6" y="43097"/>
                        <a:pt x="7847" y="36994"/>
                        <a:pt x="7224" y="32634"/>
                      </a:cubicBezTo>
                      <a:cubicBezTo>
                        <a:pt x="6228" y="25659"/>
                        <a:pt x="7598" y="22296"/>
                        <a:pt x="6228" y="15321"/>
                      </a:cubicBezTo>
                      <a:cubicBezTo>
                        <a:pt x="498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1" name="Freeform 4330">
                  <a:extLst>
                    <a:ext uri="{FF2B5EF4-FFF2-40B4-BE49-F238E27FC236}">
                      <a16:creationId xmlns:a16="http://schemas.microsoft.com/office/drawing/2014/main" id="{1A9C0403-D6A4-68AD-02C9-16FAC08B8220}"/>
                    </a:ext>
                  </a:extLst>
                </p:cNvPr>
                <p:cNvSpPr/>
                <p:nvPr/>
              </p:nvSpPr>
              <p:spPr>
                <a:xfrm>
                  <a:off x="5387807" y="5918497"/>
                  <a:ext cx="26649" cy="26533"/>
                </a:xfrm>
                <a:custGeom>
                  <a:avLst/>
                  <a:gdLst>
                    <a:gd name="connsiteX0" fmla="*/ 26216 w 26649"/>
                    <a:gd name="connsiteY0" fmla="*/ 10024 h 26533"/>
                    <a:gd name="connsiteX1" fmla="*/ 16626 w 26649"/>
                    <a:gd name="connsiteY1" fmla="*/ 26092 h 26533"/>
                    <a:gd name="connsiteX2" fmla="*/ 433 w 26649"/>
                    <a:gd name="connsiteY2" fmla="*/ 16626 h 26533"/>
                    <a:gd name="connsiteX3" fmla="*/ 10024 w 26649"/>
                    <a:gd name="connsiteY3" fmla="*/ 433 h 26533"/>
                    <a:gd name="connsiteX4" fmla="*/ 26216 w 26649"/>
                    <a:gd name="connsiteY4" fmla="*/ 10024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3">
                      <a:moveTo>
                        <a:pt x="26216" y="10024"/>
                      </a:moveTo>
                      <a:cubicBezTo>
                        <a:pt x="28085" y="17124"/>
                        <a:pt x="23725" y="24348"/>
                        <a:pt x="16626" y="26092"/>
                      </a:cubicBezTo>
                      <a:cubicBezTo>
                        <a:pt x="9526" y="27960"/>
                        <a:pt x="2301" y="23725"/>
                        <a:pt x="433" y="16626"/>
                      </a:cubicBezTo>
                      <a:cubicBezTo>
                        <a:pt x="-1435" y="9526"/>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2" name="Freeform 4331">
                  <a:extLst>
                    <a:ext uri="{FF2B5EF4-FFF2-40B4-BE49-F238E27FC236}">
                      <a16:creationId xmlns:a16="http://schemas.microsoft.com/office/drawing/2014/main" id="{7DC28601-1930-F1BF-77E9-6FA29469BC10}"/>
                    </a:ext>
                  </a:extLst>
                </p:cNvPr>
                <p:cNvSpPr/>
                <p:nvPr/>
              </p:nvSpPr>
              <p:spPr>
                <a:xfrm>
                  <a:off x="5421014" y="5991921"/>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4"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3" name="Freeform 4332">
                  <a:extLst>
                    <a:ext uri="{FF2B5EF4-FFF2-40B4-BE49-F238E27FC236}">
                      <a16:creationId xmlns:a16="http://schemas.microsoft.com/office/drawing/2014/main" id="{45E67BE7-FCBD-94C6-10FF-63DF23D69D5B}"/>
                    </a:ext>
                  </a:extLst>
                </p:cNvPr>
                <p:cNvSpPr/>
                <p:nvPr/>
              </p:nvSpPr>
              <p:spPr>
                <a:xfrm>
                  <a:off x="5414273" y="5998772"/>
                  <a:ext cx="13826" cy="50321"/>
                </a:xfrm>
                <a:custGeom>
                  <a:avLst/>
                  <a:gdLst>
                    <a:gd name="connsiteX0" fmla="*/ 0 w 13826"/>
                    <a:gd name="connsiteY0" fmla="*/ 0 h 50321"/>
                    <a:gd name="connsiteX1" fmla="*/ 6602 w 13826"/>
                    <a:gd name="connsiteY1" fmla="*/ 17563 h 50321"/>
                    <a:gd name="connsiteX2" fmla="*/ 7598 w 13826"/>
                    <a:gd name="connsiteY2" fmla="*/ 35001 h 50321"/>
                    <a:gd name="connsiteX3" fmla="*/ 13826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0" y="0"/>
                      </a:moveTo>
                      <a:cubicBezTo>
                        <a:pt x="4360" y="7100"/>
                        <a:pt x="5979" y="13328"/>
                        <a:pt x="6602" y="17563"/>
                      </a:cubicBezTo>
                      <a:cubicBezTo>
                        <a:pt x="7598" y="24538"/>
                        <a:pt x="6353" y="28025"/>
                        <a:pt x="7598" y="35001"/>
                      </a:cubicBezTo>
                      <a:cubicBezTo>
                        <a:pt x="8844" y="41852"/>
                        <a:pt x="11584"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4" name="Freeform 4333">
                  <a:extLst>
                    <a:ext uri="{FF2B5EF4-FFF2-40B4-BE49-F238E27FC236}">
                      <a16:creationId xmlns:a16="http://schemas.microsoft.com/office/drawing/2014/main" id="{0B82C6F4-AC94-53AC-DDB8-76C1F26DA446}"/>
                    </a:ext>
                  </a:extLst>
                </p:cNvPr>
                <p:cNvSpPr/>
                <p:nvPr/>
              </p:nvSpPr>
              <p:spPr>
                <a:xfrm>
                  <a:off x="5418564" y="6036993"/>
                  <a:ext cx="26416" cy="26491"/>
                </a:xfrm>
                <a:custGeom>
                  <a:avLst/>
                  <a:gdLst>
                    <a:gd name="connsiteX0" fmla="*/ 441 w 26416"/>
                    <a:gd name="connsiteY0" fmla="*/ 16584 h 26491"/>
                    <a:gd name="connsiteX1" fmla="*/ 9908 w 26416"/>
                    <a:gd name="connsiteY1" fmla="*/ 392 h 26491"/>
                    <a:gd name="connsiteX2" fmla="*/ 25975 w 26416"/>
                    <a:gd name="connsiteY2" fmla="*/ 9983 h 26491"/>
                    <a:gd name="connsiteX3" fmla="*/ 16509 w 26416"/>
                    <a:gd name="connsiteY3" fmla="*/ 26051 h 26491"/>
                    <a:gd name="connsiteX4" fmla="*/ 441 w 26416"/>
                    <a:gd name="connsiteY4" fmla="*/ 16584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91">
                      <a:moveTo>
                        <a:pt x="441" y="16584"/>
                      </a:moveTo>
                      <a:cubicBezTo>
                        <a:pt x="-1427" y="9485"/>
                        <a:pt x="2808" y="2260"/>
                        <a:pt x="9908" y="392"/>
                      </a:cubicBezTo>
                      <a:cubicBezTo>
                        <a:pt x="17008" y="-1352"/>
                        <a:pt x="24107" y="2883"/>
                        <a:pt x="25975" y="9983"/>
                      </a:cubicBezTo>
                      <a:cubicBezTo>
                        <a:pt x="27844" y="17082"/>
                        <a:pt x="23609" y="24307"/>
                        <a:pt x="16509" y="26051"/>
                      </a:cubicBezTo>
                      <a:cubicBezTo>
                        <a:pt x="9409" y="27919"/>
                        <a:pt x="2310" y="23684"/>
                        <a:pt x="441" y="16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1" name="Graphic 2987">
                <a:extLst>
                  <a:ext uri="{FF2B5EF4-FFF2-40B4-BE49-F238E27FC236}">
                    <a16:creationId xmlns:a16="http://schemas.microsoft.com/office/drawing/2014/main" id="{3EFC5D23-B9C0-D386-A94C-9CDBD9F4D604}"/>
                  </a:ext>
                </a:extLst>
              </p:cNvPr>
              <p:cNvGrpSpPr/>
              <p:nvPr/>
            </p:nvGrpSpPr>
            <p:grpSpPr>
              <a:xfrm>
                <a:off x="5416705" y="5911273"/>
                <a:ext cx="56792" cy="145062"/>
                <a:chOff x="5416705" y="5911273"/>
                <a:chExt cx="56792" cy="145062"/>
              </a:xfrm>
              <a:grpFill/>
            </p:grpSpPr>
            <p:sp>
              <p:nvSpPr>
                <p:cNvPr id="5093" name="Freeform 4335">
                  <a:extLst>
                    <a:ext uri="{FF2B5EF4-FFF2-40B4-BE49-F238E27FC236}">
                      <a16:creationId xmlns:a16="http://schemas.microsoft.com/office/drawing/2014/main" id="{13977A9B-7E11-67C1-ABED-BAAB9A1251F4}"/>
                    </a:ext>
                  </a:extLst>
                </p:cNvPr>
                <p:cNvSpPr/>
                <p:nvPr/>
              </p:nvSpPr>
              <p:spPr>
                <a:xfrm>
                  <a:off x="5428165" y="5932258"/>
                  <a:ext cx="12498" cy="50695"/>
                </a:xfrm>
                <a:custGeom>
                  <a:avLst/>
                  <a:gdLst>
                    <a:gd name="connsiteX0" fmla="*/ 58 w 12498"/>
                    <a:gd name="connsiteY0" fmla="*/ 0 h 50695"/>
                    <a:gd name="connsiteX1" fmla="*/ 2798 w 12498"/>
                    <a:gd name="connsiteY1" fmla="*/ 18559 h 50695"/>
                    <a:gd name="connsiteX2" fmla="*/ 10396 w 12498"/>
                    <a:gd name="connsiteY2" fmla="*/ 34253 h 50695"/>
                    <a:gd name="connsiteX3" fmla="*/ 12389 w 12498"/>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498" h="50695">
                      <a:moveTo>
                        <a:pt x="58" y="0"/>
                      </a:moveTo>
                      <a:cubicBezTo>
                        <a:pt x="-316" y="8346"/>
                        <a:pt x="1179" y="14573"/>
                        <a:pt x="2798" y="18559"/>
                      </a:cubicBezTo>
                      <a:cubicBezTo>
                        <a:pt x="5290" y="25161"/>
                        <a:pt x="8154" y="27527"/>
                        <a:pt x="10396" y="34253"/>
                      </a:cubicBezTo>
                      <a:cubicBezTo>
                        <a:pt x="12638" y="40855"/>
                        <a:pt x="12638" y="46709"/>
                        <a:pt x="1238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4" name="Freeform 4336">
                  <a:extLst>
                    <a:ext uri="{FF2B5EF4-FFF2-40B4-BE49-F238E27FC236}">
                      <a16:creationId xmlns:a16="http://schemas.microsoft.com/office/drawing/2014/main" id="{9B6C9F50-A625-A363-D7E1-A7568B15AF7B}"/>
                    </a:ext>
                  </a:extLst>
                </p:cNvPr>
                <p:cNvSpPr/>
                <p:nvPr/>
              </p:nvSpPr>
              <p:spPr>
                <a:xfrm>
                  <a:off x="5433953" y="5925532"/>
                  <a:ext cx="13452" cy="50446"/>
                </a:xfrm>
                <a:custGeom>
                  <a:avLst/>
                  <a:gdLst>
                    <a:gd name="connsiteX0" fmla="*/ 13452 w 13452"/>
                    <a:gd name="connsiteY0" fmla="*/ 50446 h 50446"/>
                    <a:gd name="connsiteX1" fmla="*/ 6975 w 13452"/>
                    <a:gd name="connsiteY1" fmla="*/ 32759 h 50446"/>
                    <a:gd name="connsiteX2" fmla="*/ 6103 w 13452"/>
                    <a:gd name="connsiteY2" fmla="*/ 15321 h 50446"/>
                    <a:gd name="connsiteX3" fmla="*/ 0 w 13452"/>
                    <a:gd name="connsiteY3" fmla="*/ 0 h 50446"/>
                  </a:gdLst>
                  <a:ahLst/>
                  <a:cxnLst>
                    <a:cxn ang="0">
                      <a:pos x="connsiteX0" y="connsiteY0"/>
                    </a:cxn>
                    <a:cxn ang="0">
                      <a:pos x="connsiteX1" y="connsiteY1"/>
                    </a:cxn>
                    <a:cxn ang="0">
                      <a:pos x="connsiteX2" y="connsiteY2"/>
                    </a:cxn>
                    <a:cxn ang="0">
                      <a:pos x="connsiteX3" y="connsiteY3"/>
                    </a:cxn>
                  </a:cxnLst>
                  <a:rect l="l" t="t" r="r" b="b"/>
                  <a:pathLst>
                    <a:path w="13451" h="50446">
                      <a:moveTo>
                        <a:pt x="13452" y="50446"/>
                      </a:moveTo>
                      <a:cubicBezTo>
                        <a:pt x="9092" y="43222"/>
                        <a:pt x="7473" y="37118"/>
                        <a:pt x="6975" y="32759"/>
                      </a:cubicBezTo>
                      <a:cubicBezTo>
                        <a:pt x="5979" y="25784"/>
                        <a:pt x="7349" y="22421"/>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5" name="Freeform 4337">
                  <a:extLst>
                    <a:ext uri="{FF2B5EF4-FFF2-40B4-BE49-F238E27FC236}">
                      <a16:creationId xmlns:a16="http://schemas.microsoft.com/office/drawing/2014/main" id="{05B9422D-A03B-298A-4FC8-8C22B6CC8AB0}"/>
                    </a:ext>
                  </a:extLst>
                </p:cNvPr>
                <p:cNvSpPr/>
                <p:nvPr/>
              </p:nvSpPr>
              <p:spPr>
                <a:xfrm>
                  <a:off x="5416705" y="5911273"/>
                  <a:ext cx="26608" cy="26483"/>
                </a:xfrm>
                <a:custGeom>
                  <a:avLst/>
                  <a:gdLst>
                    <a:gd name="connsiteX0" fmla="*/ 26216 w 26608"/>
                    <a:gd name="connsiteY0" fmla="*/ 10024 h 26483"/>
                    <a:gd name="connsiteX1" fmla="*/ 16625 w 26608"/>
                    <a:gd name="connsiteY1" fmla="*/ 26092 h 26483"/>
                    <a:gd name="connsiteX2" fmla="*/ 433 w 26608"/>
                    <a:gd name="connsiteY2" fmla="*/ 16501 h 26483"/>
                    <a:gd name="connsiteX3" fmla="*/ 10024 w 26608"/>
                    <a:gd name="connsiteY3" fmla="*/ 433 h 26483"/>
                    <a:gd name="connsiteX4" fmla="*/ 26216 w 26608"/>
                    <a:gd name="connsiteY4" fmla="*/ 10024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483">
                      <a:moveTo>
                        <a:pt x="26216" y="10024"/>
                      </a:moveTo>
                      <a:cubicBezTo>
                        <a:pt x="27960" y="17124"/>
                        <a:pt x="23725" y="24348"/>
                        <a:pt x="16625" y="26092"/>
                      </a:cubicBezTo>
                      <a:cubicBezTo>
                        <a:pt x="9526" y="27835"/>
                        <a:pt x="2301" y="23600"/>
                        <a:pt x="433" y="16501"/>
                      </a:cubicBezTo>
                      <a:cubicBezTo>
                        <a:pt x="-1435" y="9401"/>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6" name="Freeform 4338">
                  <a:extLst>
                    <a:ext uri="{FF2B5EF4-FFF2-40B4-BE49-F238E27FC236}">
                      <a16:creationId xmlns:a16="http://schemas.microsoft.com/office/drawing/2014/main" id="{B58D43C1-784E-5325-552D-E0CA5C8F935C}"/>
                    </a:ext>
                  </a:extLst>
                </p:cNvPr>
                <p:cNvSpPr/>
                <p:nvPr/>
              </p:nvSpPr>
              <p:spPr>
                <a:xfrm>
                  <a:off x="5449679" y="5984697"/>
                  <a:ext cx="12357" cy="50695"/>
                </a:xfrm>
                <a:custGeom>
                  <a:avLst/>
                  <a:gdLst>
                    <a:gd name="connsiteX0" fmla="*/ 12300 w 12357"/>
                    <a:gd name="connsiteY0" fmla="*/ 50695 h 50695"/>
                    <a:gd name="connsiteX1" fmla="*/ 9559 w 12357"/>
                    <a:gd name="connsiteY1" fmla="*/ 32136 h 50695"/>
                    <a:gd name="connsiteX2" fmla="*/ 2086 w 12357"/>
                    <a:gd name="connsiteY2" fmla="*/ 16442 h 50695"/>
                    <a:gd name="connsiteX3" fmla="*/ 93 w 12357"/>
                    <a:gd name="connsiteY3" fmla="*/ 0 h 50695"/>
                  </a:gdLst>
                  <a:ahLst/>
                  <a:cxnLst>
                    <a:cxn ang="0">
                      <a:pos x="connsiteX0" y="connsiteY0"/>
                    </a:cxn>
                    <a:cxn ang="0">
                      <a:pos x="connsiteX1" y="connsiteY1"/>
                    </a:cxn>
                    <a:cxn ang="0">
                      <a:pos x="connsiteX2" y="connsiteY2"/>
                    </a:cxn>
                    <a:cxn ang="0">
                      <a:pos x="connsiteX3" y="connsiteY3"/>
                    </a:cxn>
                  </a:cxnLst>
                  <a:rect l="l" t="t" r="r" b="b"/>
                  <a:pathLst>
                    <a:path w="12357" h="50695">
                      <a:moveTo>
                        <a:pt x="12300" y="50695"/>
                      </a:moveTo>
                      <a:cubicBezTo>
                        <a:pt x="12673" y="42350"/>
                        <a:pt x="11179" y="36122"/>
                        <a:pt x="9559" y="32136"/>
                      </a:cubicBezTo>
                      <a:cubicBezTo>
                        <a:pt x="7068" y="25535"/>
                        <a:pt x="4328" y="23168"/>
                        <a:pt x="2086" y="16442"/>
                      </a:cubicBezTo>
                      <a:cubicBezTo>
                        <a:pt x="-32" y="9840"/>
                        <a:pt x="-156" y="3986"/>
                        <a:pt x="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7" name="Freeform 4339">
                  <a:extLst>
                    <a:ext uri="{FF2B5EF4-FFF2-40B4-BE49-F238E27FC236}">
                      <a16:creationId xmlns:a16="http://schemas.microsoft.com/office/drawing/2014/main" id="{15AEBDC2-C489-5985-00DB-A9D54339FA53}"/>
                    </a:ext>
                  </a:extLst>
                </p:cNvPr>
                <p:cNvSpPr/>
                <p:nvPr/>
              </p:nvSpPr>
              <p:spPr>
                <a:xfrm>
                  <a:off x="5442921" y="5991547"/>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7" y="17687"/>
                      </a:cubicBezTo>
                      <a:cubicBezTo>
                        <a:pt x="7473" y="24662"/>
                        <a:pt x="6103" y="28025"/>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8" name="Freeform 4340">
                  <a:extLst>
                    <a:ext uri="{FF2B5EF4-FFF2-40B4-BE49-F238E27FC236}">
                      <a16:creationId xmlns:a16="http://schemas.microsoft.com/office/drawing/2014/main" id="{23EF36D7-567D-D07F-ADA3-EDF8B8F61467}"/>
                    </a:ext>
                  </a:extLst>
                </p:cNvPr>
                <p:cNvSpPr/>
                <p:nvPr/>
              </p:nvSpPr>
              <p:spPr>
                <a:xfrm>
                  <a:off x="5447096" y="6029893"/>
                  <a:ext cx="26401" cy="26442"/>
                </a:xfrm>
                <a:custGeom>
                  <a:avLst/>
                  <a:gdLst>
                    <a:gd name="connsiteX0" fmla="*/ 433 w 26401"/>
                    <a:gd name="connsiteY0" fmla="*/ 16460 h 26442"/>
                    <a:gd name="connsiteX1" fmla="*/ 9900 w 26401"/>
                    <a:gd name="connsiteY1" fmla="*/ 392 h 26442"/>
                    <a:gd name="connsiteX2" fmla="*/ 25968 w 26401"/>
                    <a:gd name="connsiteY2" fmla="*/ 9983 h 26442"/>
                    <a:gd name="connsiteX3" fmla="*/ 16501 w 26401"/>
                    <a:gd name="connsiteY3" fmla="*/ 26050 h 26442"/>
                    <a:gd name="connsiteX4" fmla="*/ 433 w 26401"/>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42">
                      <a:moveTo>
                        <a:pt x="433" y="16460"/>
                      </a:moveTo>
                      <a:cubicBezTo>
                        <a:pt x="-1435" y="9360"/>
                        <a:pt x="2924" y="2136"/>
                        <a:pt x="9900" y="392"/>
                      </a:cubicBezTo>
                      <a:cubicBezTo>
                        <a:pt x="16999" y="-1352"/>
                        <a:pt x="24099" y="2883"/>
                        <a:pt x="25968" y="9983"/>
                      </a:cubicBezTo>
                      <a:cubicBezTo>
                        <a:pt x="27836" y="17082"/>
                        <a:pt x="23477" y="24307"/>
                        <a:pt x="16501" y="26050"/>
                      </a:cubicBezTo>
                      <a:cubicBezTo>
                        <a:pt x="9402" y="27794"/>
                        <a:pt x="2177" y="23560"/>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2" name="Graphic 2987">
                <a:extLst>
                  <a:ext uri="{FF2B5EF4-FFF2-40B4-BE49-F238E27FC236}">
                    <a16:creationId xmlns:a16="http://schemas.microsoft.com/office/drawing/2014/main" id="{7BE55625-D627-CAE9-F2A2-FA8EE4A9AFE7}"/>
                  </a:ext>
                </a:extLst>
              </p:cNvPr>
              <p:cNvGrpSpPr/>
              <p:nvPr/>
            </p:nvGrpSpPr>
            <p:grpSpPr>
              <a:xfrm>
                <a:off x="5445478" y="5903965"/>
                <a:ext cx="56501" cy="145187"/>
                <a:chOff x="5445478" y="5903965"/>
                <a:chExt cx="56501" cy="145187"/>
              </a:xfrm>
              <a:grpFill/>
            </p:grpSpPr>
            <p:sp>
              <p:nvSpPr>
                <p:cNvPr id="5087" name="Freeform 4342">
                  <a:extLst>
                    <a:ext uri="{FF2B5EF4-FFF2-40B4-BE49-F238E27FC236}">
                      <a16:creationId xmlns:a16="http://schemas.microsoft.com/office/drawing/2014/main" id="{3B3E239F-D3D5-7409-FA04-0A4EE3AFEBD3}"/>
                    </a:ext>
                  </a:extLst>
                </p:cNvPr>
                <p:cNvSpPr/>
                <p:nvPr/>
              </p:nvSpPr>
              <p:spPr>
                <a:xfrm>
                  <a:off x="5457028" y="5925034"/>
                  <a:ext cx="12213" cy="50694"/>
                </a:xfrm>
                <a:custGeom>
                  <a:avLst/>
                  <a:gdLst>
                    <a:gd name="connsiteX0" fmla="*/ 92 w 12213"/>
                    <a:gd name="connsiteY0" fmla="*/ 0 h 50694"/>
                    <a:gd name="connsiteX1" fmla="*/ 2708 w 12213"/>
                    <a:gd name="connsiteY1" fmla="*/ 18559 h 50694"/>
                    <a:gd name="connsiteX2" fmla="*/ 10181 w 12213"/>
                    <a:gd name="connsiteY2" fmla="*/ 34253 h 50694"/>
                    <a:gd name="connsiteX3" fmla="*/ 12049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92" y="0"/>
                      </a:moveTo>
                      <a:cubicBezTo>
                        <a:pt x="-406" y="8345"/>
                        <a:pt x="1213" y="14573"/>
                        <a:pt x="2708" y="18559"/>
                      </a:cubicBezTo>
                      <a:cubicBezTo>
                        <a:pt x="5199" y="25161"/>
                        <a:pt x="7939" y="27527"/>
                        <a:pt x="10181" y="34253"/>
                      </a:cubicBezTo>
                      <a:cubicBezTo>
                        <a:pt x="12299" y="40855"/>
                        <a:pt x="12423" y="46709"/>
                        <a:pt x="1204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8" name="Freeform 4343">
                  <a:extLst>
                    <a:ext uri="{FF2B5EF4-FFF2-40B4-BE49-F238E27FC236}">
                      <a16:creationId xmlns:a16="http://schemas.microsoft.com/office/drawing/2014/main" id="{1FBE949E-0211-1F54-CFDE-71D7E367E38B}"/>
                    </a:ext>
                  </a:extLst>
                </p:cNvPr>
                <p:cNvSpPr/>
                <p:nvPr/>
              </p:nvSpPr>
              <p:spPr>
                <a:xfrm>
                  <a:off x="5462601" y="5918307"/>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3" y="43222"/>
                        <a:pt x="7598" y="37118"/>
                        <a:pt x="6975" y="32759"/>
                      </a:cubicBezTo>
                      <a:cubicBezTo>
                        <a:pt x="5979" y="25784"/>
                        <a:pt x="7349" y="22296"/>
                        <a:pt x="6103" y="15321"/>
                      </a:cubicBezTo>
                      <a:cubicBezTo>
                        <a:pt x="4858"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9" name="Freeform 4344">
                  <a:extLst>
                    <a:ext uri="{FF2B5EF4-FFF2-40B4-BE49-F238E27FC236}">
                      <a16:creationId xmlns:a16="http://schemas.microsoft.com/office/drawing/2014/main" id="{09A39C70-2918-7AEC-BC98-872141D76AD0}"/>
                    </a:ext>
                  </a:extLst>
                </p:cNvPr>
                <p:cNvSpPr/>
                <p:nvPr/>
              </p:nvSpPr>
              <p:spPr>
                <a:xfrm>
                  <a:off x="5445478" y="5903965"/>
                  <a:ext cx="26724" cy="26442"/>
                </a:xfrm>
                <a:custGeom>
                  <a:avLst/>
                  <a:gdLst>
                    <a:gd name="connsiteX0" fmla="*/ 26340 w 26724"/>
                    <a:gd name="connsiteY0" fmla="*/ 9983 h 26442"/>
                    <a:gd name="connsiteX1" fmla="*/ 16625 w 26724"/>
                    <a:gd name="connsiteY1" fmla="*/ 26051 h 26442"/>
                    <a:gd name="connsiteX2" fmla="*/ 432 w 26724"/>
                    <a:gd name="connsiteY2" fmla="*/ 16459 h 26442"/>
                    <a:gd name="connsiteX3" fmla="*/ 10148 w 26724"/>
                    <a:gd name="connsiteY3" fmla="*/ 392 h 26442"/>
                    <a:gd name="connsiteX4" fmla="*/ 26340 w 26724"/>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42">
                      <a:moveTo>
                        <a:pt x="26340" y="9983"/>
                      </a:moveTo>
                      <a:cubicBezTo>
                        <a:pt x="28084" y="17082"/>
                        <a:pt x="23725" y="24307"/>
                        <a:pt x="16625" y="26051"/>
                      </a:cubicBezTo>
                      <a:cubicBezTo>
                        <a:pt x="9525" y="27794"/>
                        <a:pt x="2301" y="23559"/>
                        <a:pt x="432" y="16459"/>
                      </a:cubicBezTo>
                      <a:cubicBezTo>
                        <a:pt x="-1436" y="9360"/>
                        <a:pt x="2924" y="2135"/>
                        <a:pt x="10148" y="392"/>
                      </a:cubicBezTo>
                      <a:cubicBezTo>
                        <a:pt x="17372" y="-1352"/>
                        <a:pt x="24597" y="2883"/>
                        <a:pt x="26340"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0" name="Freeform 4345">
                  <a:extLst>
                    <a:ext uri="{FF2B5EF4-FFF2-40B4-BE49-F238E27FC236}">
                      <a16:creationId xmlns:a16="http://schemas.microsoft.com/office/drawing/2014/main" id="{40622681-E6A2-C059-C24C-D165BAF4C2C6}"/>
                    </a:ext>
                  </a:extLst>
                </p:cNvPr>
                <p:cNvSpPr/>
                <p:nvPr/>
              </p:nvSpPr>
              <p:spPr>
                <a:xfrm>
                  <a:off x="5478505" y="5977472"/>
                  <a:ext cx="12179" cy="50695"/>
                </a:xfrm>
                <a:custGeom>
                  <a:avLst/>
                  <a:gdLst>
                    <a:gd name="connsiteX0" fmla="*/ 12122 w 12179"/>
                    <a:gd name="connsiteY0" fmla="*/ 50695 h 50695"/>
                    <a:gd name="connsiteX1" fmla="*/ 9506 w 12179"/>
                    <a:gd name="connsiteY1" fmla="*/ 32136 h 50695"/>
                    <a:gd name="connsiteX2" fmla="*/ 2033 w 12179"/>
                    <a:gd name="connsiteY2" fmla="*/ 16442 h 50695"/>
                    <a:gd name="connsiteX3" fmla="*/ 164 w 12179"/>
                    <a:gd name="connsiteY3" fmla="*/ 0 h 50695"/>
                  </a:gdLst>
                  <a:ahLst/>
                  <a:cxnLst>
                    <a:cxn ang="0">
                      <a:pos x="connsiteX0" y="connsiteY0"/>
                    </a:cxn>
                    <a:cxn ang="0">
                      <a:pos x="connsiteX1" y="connsiteY1"/>
                    </a:cxn>
                    <a:cxn ang="0">
                      <a:pos x="connsiteX2" y="connsiteY2"/>
                    </a:cxn>
                    <a:cxn ang="0">
                      <a:pos x="connsiteX3" y="connsiteY3"/>
                    </a:cxn>
                  </a:cxnLst>
                  <a:rect l="l" t="t" r="r" b="b"/>
                  <a:pathLst>
                    <a:path w="12179" h="50695">
                      <a:moveTo>
                        <a:pt x="12122" y="50695"/>
                      </a:moveTo>
                      <a:cubicBezTo>
                        <a:pt x="12495" y="42350"/>
                        <a:pt x="11001" y="36122"/>
                        <a:pt x="9506" y="32136"/>
                      </a:cubicBezTo>
                      <a:cubicBezTo>
                        <a:pt x="7015" y="25534"/>
                        <a:pt x="4275" y="23168"/>
                        <a:pt x="2033" y="16442"/>
                      </a:cubicBezTo>
                      <a:cubicBezTo>
                        <a:pt x="-85" y="9840"/>
                        <a:pt x="-209" y="3986"/>
                        <a:pt x="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1" name="Freeform 4346">
                  <a:extLst>
                    <a:ext uri="{FF2B5EF4-FFF2-40B4-BE49-F238E27FC236}">
                      <a16:creationId xmlns:a16="http://schemas.microsoft.com/office/drawing/2014/main" id="{8C1B1FBD-206A-2854-BD21-B970C1BAE11F}"/>
                    </a:ext>
                  </a:extLst>
                </p:cNvPr>
                <p:cNvSpPr/>
                <p:nvPr/>
              </p:nvSpPr>
              <p:spPr>
                <a:xfrm>
                  <a:off x="5471569" y="5984448"/>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60" y="7224"/>
                        <a:pt x="5854" y="13328"/>
                        <a:pt x="6477" y="17687"/>
                      </a:cubicBezTo>
                      <a:cubicBezTo>
                        <a:pt x="7474" y="24663"/>
                        <a:pt x="6103" y="28150"/>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2" name="Freeform 4347">
                  <a:extLst>
                    <a:ext uri="{FF2B5EF4-FFF2-40B4-BE49-F238E27FC236}">
                      <a16:creationId xmlns:a16="http://schemas.microsoft.com/office/drawing/2014/main" id="{F089DFE1-467E-7B60-132B-8DD0D3C2BD4A}"/>
                    </a:ext>
                  </a:extLst>
                </p:cNvPr>
                <p:cNvSpPr/>
                <p:nvPr/>
              </p:nvSpPr>
              <p:spPr>
                <a:xfrm>
                  <a:off x="5475661" y="6022669"/>
                  <a:ext cx="26318" cy="26483"/>
                </a:xfrm>
                <a:custGeom>
                  <a:avLst/>
                  <a:gdLst>
                    <a:gd name="connsiteX0" fmla="*/ 392 w 26318"/>
                    <a:gd name="connsiteY0" fmla="*/ 16460 h 26483"/>
                    <a:gd name="connsiteX1" fmla="*/ 9858 w 26318"/>
                    <a:gd name="connsiteY1" fmla="*/ 392 h 26483"/>
                    <a:gd name="connsiteX2" fmla="*/ 25926 w 26318"/>
                    <a:gd name="connsiteY2" fmla="*/ 9983 h 26483"/>
                    <a:gd name="connsiteX3" fmla="*/ 16336 w 26318"/>
                    <a:gd name="connsiteY3" fmla="*/ 26051 h 26483"/>
                    <a:gd name="connsiteX4" fmla="*/ 392 w 26318"/>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8" h="26483">
                      <a:moveTo>
                        <a:pt x="392" y="16460"/>
                      </a:moveTo>
                      <a:cubicBezTo>
                        <a:pt x="-1352" y="9360"/>
                        <a:pt x="2883" y="2135"/>
                        <a:pt x="9858" y="392"/>
                      </a:cubicBezTo>
                      <a:cubicBezTo>
                        <a:pt x="16958" y="-1352"/>
                        <a:pt x="24058" y="2883"/>
                        <a:pt x="25926" y="9983"/>
                      </a:cubicBezTo>
                      <a:cubicBezTo>
                        <a:pt x="27670" y="17082"/>
                        <a:pt x="23435" y="24307"/>
                        <a:pt x="16336" y="26051"/>
                      </a:cubicBezTo>
                      <a:cubicBezTo>
                        <a:pt x="9360" y="27919"/>
                        <a:pt x="2136" y="23559"/>
                        <a:pt x="392"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3" name="Graphic 2987">
                <a:extLst>
                  <a:ext uri="{FF2B5EF4-FFF2-40B4-BE49-F238E27FC236}">
                    <a16:creationId xmlns:a16="http://schemas.microsoft.com/office/drawing/2014/main" id="{B77EAE34-3B1A-092D-3F09-D8BFBECC14E4}"/>
                  </a:ext>
                </a:extLst>
              </p:cNvPr>
              <p:cNvGrpSpPr/>
              <p:nvPr/>
            </p:nvGrpSpPr>
            <p:grpSpPr>
              <a:xfrm>
                <a:off x="5474548" y="5896741"/>
                <a:ext cx="55955" cy="145387"/>
                <a:chOff x="5474548" y="5896741"/>
                <a:chExt cx="55955" cy="145387"/>
              </a:xfrm>
              <a:grpFill/>
            </p:grpSpPr>
            <p:sp>
              <p:nvSpPr>
                <p:cNvPr id="5081" name="Freeform 4349">
                  <a:extLst>
                    <a:ext uri="{FF2B5EF4-FFF2-40B4-BE49-F238E27FC236}">
                      <a16:creationId xmlns:a16="http://schemas.microsoft.com/office/drawing/2014/main" id="{10EAF896-F6D8-5CE2-A03F-83FA260AED62}"/>
                    </a:ext>
                  </a:extLst>
                </p:cNvPr>
                <p:cNvSpPr/>
                <p:nvPr/>
              </p:nvSpPr>
              <p:spPr>
                <a:xfrm>
                  <a:off x="5485801" y="5917809"/>
                  <a:ext cx="12160" cy="50819"/>
                </a:xfrm>
                <a:custGeom>
                  <a:avLst/>
                  <a:gdLst>
                    <a:gd name="connsiteX0" fmla="*/ 92 w 12160"/>
                    <a:gd name="connsiteY0" fmla="*/ 0 h 50819"/>
                    <a:gd name="connsiteX1" fmla="*/ 2708 w 12160"/>
                    <a:gd name="connsiteY1" fmla="*/ 18684 h 50819"/>
                    <a:gd name="connsiteX2" fmla="*/ 10181 w 12160"/>
                    <a:gd name="connsiteY2" fmla="*/ 34378 h 50819"/>
                    <a:gd name="connsiteX3" fmla="*/ 12050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0"/>
                      </a:moveTo>
                      <a:cubicBezTo>
                        <a:pt x="-406" y="8470"/>
                        <a:pt x="1213" y="14573"/>
                        <a:pt x="2708" y="18684"/>
                      </a:cubicBezTo>
                      <a:cubicBezTo>
                        <a:pt x="5199" y="25285"/>
                        <a:pt x="7939" y="27652"/>
                        <a:pt x="10181" y="34378"/>
                      </a:cubicBezTo>
                      <a:cubicBezTo>
                        <a:pt x="12299" y="40980"/>
                        <a:pt x="12299" y="46834"/>
                        <a:pt x="1205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2" name="Freeform 4350">
                  <a:extLst>
                    <a:ext uri="{FF2B5EF4-FFF2-40B4-BE49-F238E27FC236}">
                      <a16:creationId xmlns:a16="http://schemas.microsoft.com/office/drawing/2014/main" id="{83D1BA70-D15A-A90F-E32C-3B30372F8650}"/>
                    </a:ext>
                  </a:extLst>
                </p:cNvPr>
                <p:cNvSpPr/>
                <p:nvPr/>
              </p:nvSpPr>
              <p:spPr>
                <a:xfrm>
                  <a:off x="5491498" y="5911208"/>
                  <a:ext cx="13327" cy="50446"/>
                </a:xfrm>
                <a:custGeom>
                  <a:avLst/>
                  <a:gdLst>
                    <a:gd name="connsiteX0" fmla="*/ 13328 w 13327"/>
                    <a:gd name="connsiteY0" fmla="*/ 50446 h 50446"/>
                    <a:gd name="connsiteX1" fmla="*/ 6851 w 13327"/>
                    <a:gd name="connsiteY1" fmla="*/ 32759 h 50446"/>
                    <a:gd name="connsiteX2" fmla="*/ 6103 w 13327"/>
                    <a:gd name="connsiteY2" fmla="*/ 15321 h 50446"/>
                    <a:gd name="connsiteX3" fmla="*/ 0 w 13327"/>
                    <a:gd name="connsiteY3" fmla="*/ 0 h 50446"/>
                  </a:gdLst>
                  <a:ahLst/>
                  <a:cxnLst>
                    <a:cxn ang="0">
                      <a:pos x="connsiteX0" y="connsiteY0"/>
                    </a:cxn>
                    <a:cxn ang="0">
                      <a:pos x="connsiteX1" y="connsiteY1"/>
                    </a:cxn>
                    <a:cxn ang="0">
                      <a:pos x="connsiteX2" y="connsiteY2"/>
                    </a:cxn>
                    <a:cxn ang="0">
                      <a:pos x="connsiteX3" y="connsiteY3"/>
                    </a:cxn>
                  </a:cxnLst>
                  <a:rect l="l" t="t" r="r" b="b"/>
                  <a:pathLst>
                    <a:path w="13327" h="50446">
                      <a:moveTo>
                        <a:pt x="13328" y="50446"/>
                      </a:moveTo>
                      <a:cubicBezTo>
                        <a:pt x="8968" y="43222"/>
                        <a:pt x="7474" y="37118"/>
                        <a:pt x="6851" y="32759"/>
                      </a:cubicBezTo>
                      <a:cubicBezTo>
                        <a:pt x="5979" y="25784"/>
                        <a:pt x="7224" y="22296"/>
                        <a:pt x="6103" y="15321"/>
                      </a:cubicBezTo>
                      <a:cubicBezTo>
                        <a:pt x="4982"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3" name="Freeform 4351">
                  <a:extLst>
                    <a:ext uri="{FF2B5EF4-FFF2-40B4-BE49-F238E27FC236}">
                      <a16:creationId xmlns:a16="http://schemas.microsoft.com/office/drawing/2014/main" id="{A6BB6BB0-7536-E625-94A8-D81D2FD9B72D}"/>
                    </a:ext>
                  </a:extLst>
                </p:cNvPr>
                <p:cNvSpPr/>
                <p:nvPr/>
              </p:nvSpPr>
              <p:spPr>
                <a:xfrm>
                  <a:off x="5474548" y="5896741"/>
                  <a:ext cx="26551" cy="26442"/>
                </a:xfrm>
                <a:custGeom>
                  <a:avLst/>
                  <a:gdLst>
                    <a:gd name="connsiteX0" fmla="*/ 26168 w 26551"/>
                    <a:gd name="connsiteY0" fmla="*/ 9983 h 26442"/>
                    <a:gd name="connsiteX1" fmla="*/ 16452 w 26551"/>
                    <a:gd name="connsiteY1" fmla="*/ 26050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0"/>
                      </a:cubicBezTo>
                      <a:cubicBezTo>
                        <a:pt x="9352" y="27794"/>
                        <a:pt x="2128" y="23560"/>
                        <a:pt x="384" y="16460"/>
                      </a:cubicBezTo>
                      <a:cubicBezTo>
                        <a:pt x="-1360" y="9360"/>
                        <a:pt x="3000" y="2136"/>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4" name="Freeform 4352">
                  <a:extLst>
                    <a:ext uri="{FF2B5EF4-FFF2-40B4-BE49-F238E27FC236}">
                      <a16:creationId xmlns:a16="http://schemas.microsoft.com/office/drawing/2014/main" id="{124E214D-EE09-C79F-C2AC-26FE30AF60DB}"/>
                    </a:ext>
                  </a:extLst>
                </p:cNvPr>
                <p:cNvSpPr/>
                <p:nvPr/>
              </p:nvSpPr>
              <p:spPr>
                <a:xfrm>
                  <a:off x="5507082" y="5970248"/>
                  <a:ext cx="12160" cy="50819"/>
                </a:xfrm>
                <a:custGeom>
                  <a:avLst/>
                  <a:gdLst>
                    <a:gd name="connsiteX0" fmla="*/ 12069 w 12160"/>
                    <a:gd name="connsiteY0" fmla="*/ 50820 h 50819"/>
                    <a:gd name="connsiteX1" fmla="*/ 9453 w 12160"/>
                    <a:gd name="connsiteY1" fmla="*/ 32136 h 50819"/>
                    <a:gd name="connsiteX2" fmla="*/ 1979 w 12160"/>
                    <a:gd name="connsiteY2" fmla="*/ 16442 h 50819"/>
                    <a:gd name="connsiteX3" fmla="*/ 111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50820"/>
                      </a:moveTo>
                      <a:cubicBezTo>
                        <a:pt x="12567" y="42474"/>
                        <a:pt x="10948" y="36246"/>
                        <a:pt x="9453" y="32136"/>
                      </a:cubicBezTo>
                      <a:cubicBezTo>
                        <a:pt x="6962" y="25535"/>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5" name="Freeform 4353">
                  <a:extLst>
                    <a:ext uri="{FF2B5EF4-FFF2-40B4-BE49-F238E27FC236}">
                      <a16:creationId xmlns:a16="http://schemas.microsoft.com/office/drawing/2014/main" id="{9F07B802-A707-5037-BB96-62F4F2AD64E1}"/>
                    </a:ext>
                  </a:extLst>
                </p:cNvPr>
                <p:cNvSpPr/>
                <p:nvPr/>
              </p:nvSpPr>
              <p:spPr>
                <a:xfrm>
                  <a:off x="5500217" y="5977223"/>
                  <a:ext cx="13327" cy="50445"/>
                </a:xfrm>
                <a:custGeom>
                  <a:avLst/>
                  <a:gdLst>
                    <a:gd name="connsiteX0" fmla="*/ 0 w 13327"/>
                    <a:gd name="connsiteY0" fmla="*/ 0 h 50445"/>
                    <a:gd name="connsiteX1" fmla="*/ 6477 w 13327"/>
                    <a:gd name="connsiteY1" fmla="*/ 17687 h 50445"/>
                    <a:gd name="connsiteX2" fmla="*/ 7349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60" y="7224"/>
                        <a:pt x="5854" y="13327"/>
                        <a:pt x="6477" y="17687"/>
                      </a:cubicBezTo>
                      <a:cubicBezTo>
                        <a:pt x="7349" y="24662"/>
                        <a:pt x="6104" y="28150"/>
                        <a:pt x="7349" y="35125"/>
                      </a:cubicBezTo>
                      <a:cubicBezTo>
                        <a:pt x="8595" y="41976"/>
                        <a:pt x="11335"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6" name="Freeform 4354">
                  <a:extLst>
                    <a:ext uri="{FF2B5EF4-FFF2-40B4-BE49-F238E27FC236}">
                      <a16:creationId xmlns:a16="http://schemas.microsoft.com/office/drawing/2014/main" id="{646DA14B-B999-871D-12A3-8A79189954EA}"/>
                    </a:ext>
                  </a:extLst>
                </p:cNvPr>
                <p:cNvSpPr/>
                <p:nvPr/>
              </p:nvSpPr>
              <p:spPr>
                <a:xfrm>
                  <a:off x="5504185" y="6015569"/>
                  <a:ext cx="26317" cy="26558"/>
                </a:xfrm>
                <a:custGeom>
                  <a:avLst/>
                  <a:gdLst>
                    <a:gd name="connsiteX0" fmla="*/ 392 w 26317"/>
                    <a:gd name="connsiteY0" fmla="*/ 16459 h 26558"/>
                    <a:gd name="connsiteX1" fmla="*/ 9983 w 26317"/>
                    <a:gd name="connsiteY1" fmla="*/ 391 h 26558"/>
                    <a:gd name="connsiteX2" fmla="*/ 25926 w 26317"/>
                    <a:gd name="connsiteY2" fmla="*/ 10107 h 26558"/>
                    <a:gd name="connsiteX3" fmla="*/ 16335 w 26317"/>
                    <a:gd name="connsiteY3" fmla="*/ 26175 h 26558"/>
                    <a:gd name="connsiteX4" fmla="*/ 392 w 26317"/>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58">
                      <a:moveTo>
                        <a:pt x="392" y="16459"/>
                      </a:moveTo>
                      <a:cubicBezTo>
                        <a:pt x="-1352" y="9359"/>
                        <a:pt x="2883" y="2135"/>
                        <a:pt x="9983" y="391"/>
                      </a:cubicBezTo>
                      <a:cubicBezTo>
                        <a:pt x="17082" y="-1352"/>
                        <a:pt x="24182" y="2883"/>
                        <a:pt x="25926" y="10107"/>
                      </a:cubicBezTo>
                      <a:cubicBezTo>
                        <a:pt x="27670" y="17207"/>
                        <a:pt x="23435" y="24431"/>
                        <a:pt x="16335" y="26175"/>
                      </a:cubicBezTo>
                      <a:cubicBezTo>
                        <a:pt x="9236" y="27918"/>
                        <a:pt x="2136" y="23559"/>
                        <a:pt x="392"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4" name="Graphic 2987">
                <a:extLst>
                  <a:ext uri="{FF2B5EF4-FFF2-40B4-BE49-F238E27FC236}">
                    <a16:creationId xmlns:a16="http://schemas.microsoft.com/office/drawing/2014/main" id="{37C3F6E4-B708-8E5C-2432-50789603B569}"/>
                  </a:ext>
                </a:extLst>
              </p:cNvPr>
              <p:cNvGrpSpPr/>
              <p:nvPr/>
            </p:nvGrpSpPr>
            <p:grpSpPr>
              <a:xfrm>
                <a:off x="5503321" y="5889517"/>
                <a:ext cx="55698" cy="145387"/>
                <a:chOff x="5503321" y="5889517"/>
                <a:chExt cx="55698" cy="145387"/>
              </a:xfrm>
              <a:grpFill/>
            </p:grpSpPr>
            <p:sp>
              <p:nvSpPr>
                <p:cNvPr id="5075" name="Freeform 4356">
                  <a:extLst>
                    <a:ext uri="{FF2B5EF4-FFF2-40B4-BE49-F238E27FC236}">
                      <a16:creationId xmlns:a16="http://schemas.microsoft.com/office/drawing/2014/main" id="{D4E47E8B-4C6F-8AF4-8139-DFB7488381F0}"/>
                    </a:ext>
                  </a:extLst>
                </p:cNvPr>
                <p:cNvSpPr/>
                <p:nvPr/>
              </p:nvSpPr>
              <p:spPr>
                <a:xfrm>
                  <a:off x="5514693" y="5910585"/>
                  <a:ext cx="11917" cy="50819"/>
                </a:xfrm>
                <a:custGeom>
                  <a:avLst/>
                  <a:gdLst>
                    <a:gd name="connsiteX0" fmla="*/ 98 w 11917"/>
                    <a:gd name="connsiteY0" fmla="*/ 0 h 50819"/>
                    <a:gd name="connsiteX1" fmla="*/ 2589 w 11917"/>
                    <a:gd name="connsiteY1" fmla="*/ 18684 h 50819"/>
                    <a:gd name="connsiteX2" fmla="*/ 9938 w 11917"/>
                    <a:gd name="connsiteY2" fmla="*/ 34378 h 50819"/>
                    <a:gd name="connsiteX3" fmla="*/ 11806 w 11917"/>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917" h="50818">
                      <a:moveTo>
                        <a:pt x="98" y="0"/>
                      </a:moveTo>
                      <a:cubicBezTo>
                        <a:pt x="-401" y="8470"/>
                        <a:pt x="1094" y="14573"/>
                        <a:pt x="2589" y="18684"/>
                      </a:cubicBezTo>
                      <a:cubicBezTo>
                        <a:pt x="4956" y="25285"/>
                        <a:pt x="7820" y="27652"/>
                        <a:pt x="9938" y="34378"/>
                      </a:cubicBezTo>
                      <a:cubicBezTo>
                        <a:pt x="12055" y="40979"/>
                        <a:pt x="12055" y="46833"/>
                        <a:pt x="11806"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6" name="Freeform 4357">
                  <a:extLst>
                    <a:ext uri="{FF2B5EF4-FFF2-40B4-BE49-F238E27FC236}">
                      <a16:creationId xmlns:a16="http://schemas.microsoft.com/office/drawing/2014/main" id="{244C7E93-CBD7-4DEC-4FFE-FCC26224B5AA}"/>
                    </a:ext>
                  </a:extLst>
                </p:cNvPr>
                <p:cNvSpPr/>
                <p:nvPr/>
              </p:nvSpPr>
              <p:spPr>
                <a:xfrm>
                  <a:off x="5520520" y="5903983"/>
                  <a:ext cx="13078" cy="50445"/>
                </a:xfrm>
                <a:custGeom>
                  <a:avLst/>
                  <a:gdLst>
                    <a:gd name="connsiteX0" fmla="*/ 13079 w 13078"/>
                    <a:gd name="connsiteY0" fmla="*/ 50446 h 50445"/>
                    <a:gd name="connsiteX1" fmla="*/ 6726 w 13078"/>
                    <a:gd name="connsiteY1" fmla="*/ 32759 h 50445"/>
                    <a:gd name="connsiteX2" fmla="*/ 5979 w 13078"/>
                    <a:gd name="connsiteY2" fmla="*/ 15320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9" y="50446"/>
                      </a:moveTo>
                      <a:cubicBezTo>
                        <a:pt x="8719" y="43222"/>
                        <a:pt x="7225" y="37118"/>
                        <a:pt x="6726" y="32759"/>
                      </a:cubicBezTo>
                      <a:cubicBezTo>
                        <a:pt x="5854" y="25783"/>
                        <a:pt x="7225" y="22296"/>
                        <a:pt x="5979" y="15320"/>
                      </a:cubicBezTo>
                      <a:cubicBezTo>
                        <a:pt x="4858" y="8470"/>
                        <a:pt x="2118"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7" name="Freeform 4358">
                  <a:extLst>
                    <a:ext uri="{FF2B5EF4-FFF2-40B4-BE49-F238E27FC236}">
                      <a16:creationId xmlns:a16="http://schemas.microsoft.com/office/drawing/2014/main" id="{B90934D0-FF01-FF76-A5E3-DEC7AF8E6378}"/>
                    </a:ext>
                  </a:extLst>
                </p:cNvPr>
                <p:cNvSpPr/>
                <p:nvPr/>
              </p:nvSpPr>
              <p:spPr>
                <a:xfrm>
                  <a:off x="5503321" y="5889517"/>
                  <a:ext cx="26551" cy="26442"/>
                </a:xfrm>
                <a:custGeom>
                  <a:avLst/>
                  <a:gdLst>
                    <a:gd name="connsiteX0" fmla="*/ 26168 w 26551"/>
                    <a:gd name="connsiteY0" fmla="*/ 9983 h 26442"/>
                    <a:gd name="connsiteX1" fmla="*/ 16452 w 26551"/>
                    <a:gd name="connsiteY1" fmla="*/ 26051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1"/>
                      </a:cubicBezTo>
                      <a:cubicBezTo>
                        <a:pt x="9352" y="27794"/>
                        <a:pt x="2128" y="23559"/>
                        <a:pt x="384" y="16460"/>
                      </a:cubicBezTo>
                      <a:cubicBezTo>
                        <a:pt x="-1360" y="9360"/>
                        <a:pt x="3000" y="2135"/>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8" name="Freeform 4359">
                  <a:extLst>
                    <a:ext uri="{FF2B5EF4-FFF2-40B4-BE49-F238E27FC236}">
                      <a16:creationId xmlns:a16="http://schemas.microsoft.com/office/drawing/2014/main" id="{D41F639B-D0F4-8AF1-5876-8FA49BF9465F}"/>
                    </a:ext>
                  </a:extLst>
                </p:cNvPr>
                <p:cNvSpPr/>
                <p:nvPr/>
              </p:nvSpPr>
              <p:spPr>
                <a:xfrm>
                  <a:off x="5535854" y="5962899"/>
                  <a:ext cx="11917" cy="50944"/>
                </a:xfrm>
                <a:custGeom>
                  <a:avLst/>
                  <a:gdLst>
                    <a:gd name="connsiteX0" fmla="*/ 11820 w 11917"/>
                    <a:gd name="connsiteY0" fmla="*/ 50944 h 50944"/>
                    <a:gd name="connsiteX1" fmla="*/ 9328 w 11917"/>
                    <a:gd name="connsiteY1" fmla="*/ 32260 h 50944"/>
                    <a:gd name="connsiteX2" fmla="*/ 1979 w 11917"/>
                    <a:gd name="connsiteY2" fmla="*/ 16442 h 50944"/>
                    <a:gd name="connsiteX3" fmla="*/ 111 w 11917"/>
                    <a:gd name="connsiteY3" fmla="*/ 0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50944"/>
                      </a:moveTo>
                      <a:cubicBezTo>
                        <a:pt x="12318" y="42474"/>
                        <a:pt x="10823" y="36371"/>
                        <a:pt x="9328" y="32260"/>
                      </a:cubicBezTo>
                      <a:cubicBezTo>
                        <a:pt x="6962" y="25659"/>
                        <a:pt x="4097" y="23293"/>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9" name="Freeform 4360">
                  <a:extLst>
                    <a:ext uri="{FF2B5EF4-FFF2-40B4-BE49-F238E27FC236}">
                      <a16:creationId xmlns:a16="http://schemas.microsoft.com/office/drawing/2014/main" id="{04575210-53E3-394E-6224-5BCAC61952FB}"/>
                    </a:ext>
                  </a:extLst>
                </p:cNvPr>
                <p:cNvSpPr/>
                <p:nvPr/>
              </p:nvSpPr>
              <p:spPr>
                <a:xfrm>
                  <a:off x="5528990" y="5969999"/>
                  <a:ext cx="13078" cy="50446"/>
                </a:xfrm>
                <a:custGeom>
                  <a:avLst/>
                  <a:gdLst>
                    <a:gd name="connsiteX0" fmla="*/ 0 w 13078"/>
                    <a:gd name="connsiteY0" fmla="*/ 0 h 50446"/>
                    <a:gd name="connsiteX1" fmla="*/ 6352 w 13078"/>
                    <a:gd name="connsiteY1" fmla="*/ 17687 h 50446"/>
                    <a:gd name="connsiteX2" fmla="*/ 7099 w 13078"/>
                    <a:gd name="connsiteY2" fmla="*/ 35125 h 50446"/>
                    <a:gd name="connsiteX3" fmla="*/ 13078 w 13078"/>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78" h="50446">
                      <a:moveTo>
                        <a:pt x="0" y="0"/>
                      </a:moveTo>
                      <a:cubicBezTo>
                        <a:pt x="4359" y="7225"/>
                        <a:pt x="5854" y="13328"/>
                        <a:pt x="6352" y="17687"/>
                      </a:cubicBezTo>
                      <a:cubicBezTo>
                        <a:pt x="7224" y="24663"/>
                        <a:pt x="5979" y="28150"/>
                        <a:pt x="7099"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0" name="Freeform 4361">
                  <a:extLst>
                    <a:ext uri="{FF2B5EF4-FFF2-40B4-BE49-F238E27FC236}">
                      <a16:creationId xmlns:a16="http://schemas.microsoft.com/office/drawing/2014/main" id="{AC25F8F4-C490-2352-6D33-EBE4BE321977}"/>
                    </a:ext>
                  </a:extLst>
                </p:cNvPr>
                <p:cNvSpPr/>
                <p:nvPr/>
              </p:nvSpPr>
              <p:spPr>
                <a:xfrm>
                  <a:off x="5532709" y="6008352"/>
                  <a:ext cx="26310" cy="26551"/>
                </a:xfrm>
                <a:custGeom>
                  <a:avLst/>
                  <a:gdLst>
                    <a:gd name="connsiteX0" fmla="*/ 392 w 26310"/>
                    <a:gd name="connsiteY0" fmla="*/ 16452 h 26551"/>
                    <a:gd name="connsiteX1" fmla="*/ 9983 w 26310"/>
                    <a:gd name="connsiteY1" fmla="*/ 384 h 26551"/>
                    <a:gd name="connsiteX2" fmla="*/ 25926 w 26310"/>
                    <a:gd name="connsiteY2" fmla="*/ 10100 h 26551"/>
                    <a:gd name="connsiteX3" fmla="*/ 16335 w 26310"/>
                    <a:gd name="connsiteY3" fmla="*/ 26167 h 26551"/>
                    <a:gd name="connsiteX4" fmla="*/ 392 w 2631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392" y="16452"/>
                      </a:moveTo>
                      <a:cubicBezTo>
                        <a:pt x="-1352" y="9352"/>
                        <a:pt x="2883" y="2128"/>
                        <a:pt x="9983" y="384"/>
                      </a:cubicBezTo>
                      <a:cubicBezTo>
                        <a:pt x="17082" y="-1360"/>
                        <a:pt x="24182" y="3000"/>
                        <a:pt x="25926" y="10100"/>
                      </a:cubicBezTo>
                      <a:cubicBezTo>
                        <a:pt x="27670" y="17199"/>
                        <a:pt x="23310" y="24424"/>
                        <a:pt x="16335" y="26167"/>
                      </a:cubicBezTo>
                      <a:cubicBezTo>
                        <a:pt x="9360" y="27911"/>
                        <a:pt x="2135" y="23552"/>
                        <a:pt x="3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5" name="Graphic 2987">
                <a:extLst>
                  <a:ext uri="{FF2B5EF4-FFF2-40B4-BE49-F238E27FC236}">
                    <a16:creationId xmlns:a16="http://schemas.microsoft.com/office/drawing/2014/main" id="{9B6B2C8C-C19C-51E4-1607-F7969E790DC3}"/>
                  </a:ext>
                </a:extLst>
              </p:cNvPr>
              <p:cNvGrpSpPr/>
              <p:nvPr/>
            </p:nvGrpSpPr>
            <p:grpSpPr>
              <a:xfrm>
                <a:off x="5532219" y="5882346"/>
                <a:ext cx="55448" cy="145497"/>
                <a:chOff x="5532219" y="5882346"/>
                <a:chExt cx="55448" cy="145497"/>
              </a:xfrm>
              <a:grpFill/>
            </p:grpSpPr>
            <p:sp>
              <p:nvSpPr>
                <p:cNvPr id="5069" name="Freeform 4363">
                  <a:extLst>
                    <a:ext uri="{FF2B5EF4-FFF2-40B4-BE49-F238E27FC236}">
                      <a16:creationId xmlns:a16="http://schemas.microsoft.com/office/drawing/2014/main" id="{626D12FC-35C2-6F9A-4D76-4CD0BBC71546}"/>
                    </a:ext>
                  </a:extLst>
                </p:cNvPr>
                <p:cNvSpPr/>
                <p:nvPr/>
              </p:nvSpPr>
              <p:spPr>
                <a:xfrm>
                  <a:off x="5543590" y="5903360"/>
                  <a:ext cx="11869" cy="50944"/>
                </a:xfrm>
                <a:custGeom>
                  <a:avLst/>
                  <a:gdLst>
                    <a:gd name="connsiteX0" fmla="*/ 98 w 11869"/>
                    <a:gd name="connsiteY0" fmla="*/ 0 h 50944"/>
                    <a:gd name="connsiteX1" fmla="*/ 2589 w 11869"/>
                    <a:gd name="connsiteY1" fmla="*/ 18684 h 50944"/>
                    <a:gd name="connsiteX2" fmla="*/ 9938 w 11869"/>
                    <a:gd name="connsiteY2" fmla="*/ 34503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6"/>
                        <a:pt x="1094" y="14573"/>
                        <a:pt x="2589" y="18684"/>
                      </a:cubicBezTo>
                      <a:cubicBezTo>
                        <a:pt x="4955" y="25285"/>
                        <a:pt x="7820" y="27776"/>
                        <a:pt x="9938" y="34503"/>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0" name="Freeform 4364">
                  <a:extLst>
                    <a:ext uri="{FF2B5EF4-FFF2-40B4-BE49-F238E27FC236}">
                      <a16:creationId xmlns:a16="http://schemas.microsoft.com/office/drawing/2014/main" id="{95F1340A-57D3-B722-C554-35061856811C}"/>
                    </a:ext>
                  </a:extLst>
                </p:cNvPr>
                <p:cNvSpPr/>
                <p:nvPr/>
              </p:nvSpPr>
              <p:spPr>
                <a:xfrm>
                  <a:off x="5549169" y="5896759"/>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9" y="43346"/>
                        <a:pt x="7349" y="37118"/>
                        <a:pt x="6726" y="32883"/>
                      </a:cubicBezTo>
                      <a:cubicBezTo>
                        <a:pt x="5854" y="25908"/>
                        <a:pt x="7224"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1" name="Freeform 4365">
                  <a:extLst>
                    <a:ext uri="{FF2B5EF4-FFF2-40B4-BE49-F238E27FC236}">
                      <a16:creationId xmlns:a16="http://schemas.microsoft.com/office/drawing/2014/main" id="{2018C815-1774-FBF2-7815-5CC4536C89D6}"/>
                    </a:ext>
                  </a:extLst>
                </p:cNvPr>
                <p:cNvSpPr/>
                <p:nvPr/>
              </p:nvSpPr>
              <p:spPr>
                <a:xfrm>
                  <a:off x="5532219" y="5882346"/>
                  <a:ext cx="26668" cy="26465"/>
                </a:xfrm>
                <a:custGeom>
                  <a:avLst/>
                  <a:gdLst>
                    <a:gd name="connsiteX0" fmla="*/ 26292 w 26668"/>
                    <a:gd name="connsiteY0" fmla="*/ 10177 h 26465"/>
                    <a:gd name="connsiteX1" fmla="*/ 16452 w 26668"/>
                    <a:gd name="connsiteY1" fmla="*/ 26121 h 26465"/>
                    <a:gd name="connsiteX2" fmla="*/ 384 w 26668"/>
                    <a:gd name="connsiteY2" fmla="*/ 16405 h 26465"/>
                    <a:gd name="connsiteX3" fmla="*/ 10224 w 26668"/>
                    <a:gd name="connsiteY3" fmla="*/ 337 h 26465"/>
                    <a:gd name="connsiteX4" fmla="*/ 26292 w 26668"/>
                    <a:gd name="connsiteY4" fmla="*/ 10177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65">
                      <a:moveTo>
                        <a:pt x="26292" y="10177"/>
                      </a:moveTo>
                      <a:cubicBezTo>
                        <a:pt x="28035" y="17277"/>
                        <a:pt x="23552" y="24377"/>
                        <a:pt x="16452" y="26121"/>
                      </a:cubicBezTo>
                      <a:cubicBezTo>
                        <a:pt x="9352" y="27740"/>
                        <a:pt x="2128" y="23505"/>
                        <a:pt x="384" y="16405"/>
                      </a:cubicBezTo>
                      <a:cubicBezTo>
                        <a:pt x="-1360" y="9305"/>
                        <a:pt x="3000" y="2081"/>
                        <a:pt x="10224" y="337"/>
                      </a:cubicBezTo>
                      <a:cubicBezTo>
                        <a:pt x="17324" y="-1282"/>
                        <a:pt x="24548" y="3078"/>
                        <a:pt x="262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2" name="Freeform 4366">
                  <a:extLst>
                    <a:ext uri="{FF2B5EF4-FFF2-40B4-BE49-F238E27FC236}">
                      <a16:creationId xmlns:a16="http://schemas.microsoft.com/office/drawing/2014/main" id="{C4B63274-9A02-B0CB-47C4-29CAF5CD7F6A}"/>
                    </a:ext>
                  </a:extLst>
                </p:cNvPr>
                <p:cNvSpPr/>
                <p:nvPr/>
              </p:nvSpPr>
              <p:spPr>
                <a:xfrm>
                  <a:off x="5564550" y="5955924"/>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5" y="36371"/>
                        <a:pt x="9281" y="32260"/>
                      </a:cubicBezTo>
                      <a:cubicBezTo>
                        <a:pt x="6914" y="25659"/>
                        <a:pt x="4050"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3" name="Freeform 4367">
                  <a:extLst>
                    <a:ext uri="{FF2B5EF4-FFF2-40B4-BE49-F238E27FC236}">
                      <a16:creationId xmlns:a16="http://schemas.microsoft.com/office/drawing/2014/main" id="{928D63F3-37BE-5C63-6930-0D8F5E136B41}"/>
                    </a:ext>
                  </a:extLst>
                </p:cNvPr>
                <p:cNvSpPr/>
                <p:nvPr/>
              </p:nvSpPr>
              <p:spPr>
                <a:xfrm>
                  <a:off x="5557639" y="5962899"/>
                  <a:ext cx="13078" cy="50570"/>
                </a:xfrm>
                <a:custGeom>
                  <a:avLst/>
                  <a:gdLst>
                    <a:gd name="connsiteX0" fmla="*/ 0 w 13078"/>
                    <a:gd name="connsiteY0" fmla="*/ 0 h 50570"/>
                    <a:gd name="connsiteX1" fmla="*/ 6353 w 13078"/>
                    <a:gd name="connsiteY1" fmla="*/ 17687 h 50570"/>
                    <a:gd name="connsiteX2" fmla="*/ 7100 w 13078"/>
                    <a:gd name="connsiteY2" fmla="*/ 35125 h 50570"/>
                    <a:gd name="connsiteX3" fmla="*/ 13078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0" y="0"/>
                      </a:moveTo>
                      <a:cubicBezTo>
                        <a:pt x="4360" y="7225"/>
                        <a:pt x="5730" y="13452"/>
                        <a:pt x="6353" y="17687"/>
                      </a:cubicBezTo>
                      <a:cubicBezTo>
                        <a:pt x="7224" y="24663"/>
                        <a:pt x="5854" y="28025"/>
                        <a:pt x="7100" y="35125"/>
                      </a:cubicBezTo>
                      <a:cubicBezTo>
                        <a:pt x="8221" y="41976"/>
                        <a:pt x="10961" y="47207"/>
                        <a:pt x="13078"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4" name="Freeform 4368">
                  <a:extLst>
                    <a:ext uri="{FF2B5EF4-FFF2-40B4-BE49-F238E27FC236}">
                      <a16:creationId xmlns:a16="http://schemas.microsoft.com/office/drawing/2014/main" id="{EE6043CE-2F5A-FF0A-578A-2650DB101F18}"/>
                    </a:ext>
                  </a:extLst>
                </p:cNvPr>
                <p:cNvSpPr/>
                <p:nvPr/>
              </p:nvSpPr>
              <p:spPr>
                <a:xfrm>
                  <a:off x="5561240" y="6001424"/>
                  <a:ext cx="26427" cy="26419"/>
                </a:xfrm>
                <a:custGeom>
                  <a:avLst/>
                  <a:gdLst>
                    <a:gd name="connsiteX0" fmla="*/ 384 w 26427"/>
                    <a:gd name="connsiteY0" fmla="*/ 16281 h 26419"/>
                    <a:gd name="connsiteX1" fmla="*/ 10100 w 26427"/>
                    <a:gd name="connsiteY1" fmla="*/ 337 h 26419"/>
                    <a:gd name="connsiteX2" fmla="*/ 26043 w 26427"/>
                    <a:gd name="connsiteY2" fmla="*/ 10177 h 26419"/>
                    <a:gd name="connsiteX3" fmla="*/ 16328 w 26427"/>
                    <a:gd name="connsiteY3" fmla="*/ 26121 h 26419"/>
                    <a:gd name="connsiteX4" fmla="*/ 384 w 26427"/>
                    <a:gd name="connsiteY4" fmla="*/ 16281 h 26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19">
                      <a:moveTo>
                        <a:pt x="384" y="16281"/>
                      </a:moveTo>
                      <a:cubicBezTo>
                        <a:pt x="-1360" y="9181"/>
                        <a:pt x="3000" y="1956"/>
                        <a:pt x="10100" y="337"/>
                      </a:cubicBezTo>
                      <a:cubicBezTo>
                        <a:pt x="17199" y="-1282"/>
                        <a:pt x="24299" y="3077"/>
                        <a:pt x="26043" y="10177"/>
                      </a:cubicBezTo>
                      <a:cubicBezTo>
                        <a:pt x="27787" y="17277"/>
                        <a:pt x="23427" y="24377"/>
                        <a:pt x="16328" y="26121"/>
                      </a:cubicBezTo>
                      <a:cubicBezTo>
                        <a:pt x="9228" y="27615"/>
                        <a:pt x="2128" y="23380"/>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6" name="Graphic 2987">
                <a:extLst>
                  <a:ext uri="{FF2B5EF4-FFF2-40B4-BE49-F238E27FC236}">
                    <a16:creationId xmlns:a16="http://schemas.microsoft.com/office/drawing/2014/main" id="{C5C08443-6B71-059B-68C1-68C913156B92}"/>
                  </a:ext>
                </a:extLst>
              </p:cNvPr>
              <p:cNvGrpSpPr/>
              <p:nvPr/>
            </p:nvGrpSpPr>
            <p:grpSpPr>
              <a:xfrm>
                <a:off x="5561123" y="5875496"/>
                <a:ext cx="55192" cy="145535"/>
                <a:chOff x="5561123" y="5875496"/>
                <a:chExt cx="55192" cy="145535"/>
              </a:xfrm>
              <a:grpFill/>
            </p:grpSpPr>
            <p:sp>
              <p:nvSpPr>
                <p:cNvPr id="5063" name="Freeform 4370">
                  <a:extLst>
                    <a:ext uri="{FF2B5EF4-FFF2-40B4-BE49-F238E27FC236}">
                      <a16:creationId xmlns:a16="http://schemas.microsoft.com/office/drawing/2014/main" id="{56F8938B-76AC-7304-26B2-104229505C5C}"/>
                    </a:ext>
                  </a:extLst>
                </p:cNvPr>
                <p:cNvSpPr/>
                <p:nvPr/>
              </p:nvSpPr>
              <p:spPr>
                <a:xfrm>
                  <a:off x="5572488" y="5896510"/>
                  <a:ext cx="11869" cy="50944"/>
                </a:xfrm>
                <a:custGeom>
                  <a:avLst/>
                  <a:gdLst>
                    <a:gd name="connsiteX0" fmla="*/ 98 w 11869"/>
                    <a:gd name="connsiteY0" fmla="*/ 0 h 50944"/>
                    <a:gd name="connsiteX1" fmla="*/ 2589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5"/>
                        <a:pt x="1094" y="14573"/>
                        <a:pt x="2589" y="18684"/>
                      </a:cubicBezTo>
                      <a:cubicBezTo>
                        <a:pt x="4955" y="25285"/>
                        <a:pt x="7820" y="27776"/>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4" name="Freeform 4371">
                  <a:extLst>
                    <a:ext uri="{FF2B5EF4-FFF2-40B4-BE49-F238E27FC236}">
                      <a16:creationId xmlns:a16="http://schemas.microsoft.com/office/drawing/2014/main" id="{18BC92D3-F23C-8A8A-838E-D782D80186EE}"/>
                    </a:ext>
                  </a:extLst>
                </p:cNvPr>
                <p:cNvSpPr/>
                <p:nvPr/>
              </p:nvSpPr>
              <p:spPr>
                <a:xfrm>
                  <a:off x="5578315" y="5889908"/>
                  <a:ext cx="12829" cy="50570"/>
                </a:xfrm>
                <a:custGeom>
                  <a:avLst/>
                  <a:gdLst>
                    <a:gd name="connsiteX0" fmla="*/ 12829 w 12829"/>
                    <a:gd name="connsiteY0" fmla="*/ 50570 h 50570"/>
                    <a:gd name="connsiteX1" fmla="*/ 6602 w 12829"/>
                    <a:gd name="connsiteY1" fmla="*/ 32883 h 50570"/>
                    <a:gd name="connsiteX2" fmla="*/ 5979 w 12829"/>
                    <a:gd name="connsiteY2" fmla="*/ 15445 h 50570"/>
                    <a:gd name="connsiteX3" fmla="*/ 0 w 12829"/>
                    <a:gd name="connsiteY3" fmla="*/ 0 h 50570"/>
                  </a:gdLst>
                  <a:ahLst/>
                  <a:cxnLst>
                    <a:cxn ang="0">
                      <a:pos x="connsiteX0" y="connsiteY0"/>
                    </a:cxn>
                    <a:cxn ang="0">
                      <a:pos x="connsiteX1" y="connsiteY1"/>
                    </a:cxn>
                    <a:cxn ang="0">
                      <a:pos x="connsiteX2" y="connsiteY2"/>
                    </a:cxn>
                    <a:cxn ang="0">
                      <a:pos x="connsiteX3" y="connsiteY3"/>
                    </a:cxn>
                  </a:cxnLst>
                  <a:rect l="l" t="t" r="r" b="b"/>
                  <a:pathLst>
                    <a:path w="12829" h="50570">
                      <a:moveTo>
                        <a:pt x="12829" y="50570"/>
                      </a:moveTo>
                      <a:cubicBezTo>
                        <a:pt x="8595" y="43346"/>
                        <a:pt x="7100" y="37118"/>
                        <a:pt x="6602" y="32883"/>
                      </a:cubicBezTo>
                      <a:cubicBezTo>
                        <a:pt x="5730" y="25908"/>
                        <a:pt x="7100"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5" name="Freeform 4372">
                  <a:extLst>
                    <a:ext uri="{FF2B5EF4-FFF2-40B4-BE49-F238E27FC236}">
                      <a16:creationId xmlns:a16="http://schemas.microsoft.com/office/drawing/2014/main" id="{42FF1187-783A-A83B-337A-88A401D1C388}"/>
                    </a:ext>
                  </a:extLst>
                </p:cNvPr>
                <p:cNvSpPr/>
                <p:nvPr/>
              </p:nvSpPr>
              <p:spPr>
                <a:xfrm>
                  <a:off x="5561123" y="5875496"/>
                  <a:ext cx="26661" cy="26497"/>
                </a:xfrm>
                <a:custGeom>
                  <a:avLst/>
                  <a:gdLst>
                    <a:gd name="connsiteX0" fmla="*/ 26285 w 26661"/>
                    <a:gd name="connsiteY0" fmla="*/ 10178 h 26497"/>
                    <a:gd name="connsiteX1" fmla="*/ 16445 w 26661"/>
                    <a:gd name="connsiteY1" fmla="*/ 26121 h 26497"/>
                    <a:gd name="connsiteX2" fmla="*/ 377 w 26661"/>
                    <a:gd name="connsiteY2" fmla="*/ 16281 h 26497"/>
                    <a:gd name="connsiteX3" fmla="*/ 10217 w 26661"/>
                    <a:gd name="connsiteY3" fmla="*/ 337 h 26497"/>
                    <a:gd name="connsiteX4" fmla="*/ 26285 w 26661"/>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7">
                      <a:moveTo>
                        <a:pt x="26285" y="10178"/>
                      </a:moveTo>
                      <a:cubicBezTo>
                        <a:pt x="28029" y="17277"/>
                        <a:pt x="23544" y="24502"/>
                        <a:pt x="16445" y="26121"/>
                      </a:cubicBezTo>
                      <a:cubicBezTo>
                        <a:pt x="9345" y="27865"/>
                        <a:pt x="2121" y="23381"/>
                        <a:pt x="377" y="16281"/>
                      </a:cubicBezTo>
                      <a:cubicBezTo>
                        <a:pt x="-1367" y="9181"/>
                        <a:pt x="3117" y="2081"/>
                        <a:pt x="10217" y="337"/>
                      </a:cubicBezTo>
                      <a:cubicBezTo>
                        <a:pt x="17441" y="-1282"/>
                        <a:pt x="24666" y="3078"/>
                        <a:pt x="262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6" name="Freeform 4373">
                  <a:extLst>
                    <a:ext uri="{FF2B5EF4-FFF2-40B4-BE49-F238E27FC236}">
                      <a16:creationId xmlns:a16="http://schemas.microsoft.com/office/drawing/2014/main" id="{4FDB6055-CECD-E69C-D2C5-C88B9D2F6CDB}"/>
                    </a:ext>
                  </a:extLst>
                </p:cNvPr>
                <p:cNvSpPr/>
                <p:nvPr/>
              </p:nvSpPr>
              <p:spPr>
                <a:xfrm>
                  <a:off x="5593198" y="5949073"/>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6" y="36371"/>
                        <a:pt x="9281" y="32260"/>
                      </a:cubicBezTo>
                      <a:cubicBezTo>
                        <a:pt x="6915" y="25659"/>
                        <a:pt x="4174"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7" name="Freeform 4374">
                  <a:extLst>
                    <a:ext uri="{FF2B5EF4-FFF2-40B4-BE49-F238E27FC236}">
                      <a16:creationId xmlns:a16="http://schemas.microsoft.com/office/drawing/2014/main" id="{F9EEF74B-9786-B978-9449-1A63D03F940C}"/>
                    </a:ext>
                  </a:extLst>
                </p:cNvPr>
                <p:cNvSpPr/>
                <p:nvPr/>
              </p:nvSpPr>
              <p:spPr>
                <a:xfrm>
                  <a:off x="5586411" y="5956048"/>
                  <a:ext cx="12829" cy="50570"/>
                </a:xfrm>
                <a:custGeom>
                  <a:avLst/>
                  <a:gdLst>
                    <a:gd name="connsiteX0" fmla="*/ 0 w 12829"/>
                    <a:gd name="connsiteY0" fmla="*/ 0 h 50570"/>
                    <a:gd name="connsiteX1" fmla="*/ 6353 w 12829"/>
                    <a:gd name="connsiteY1" fmla="*/ 17687 h 50570"/>
                    <a:gd name="connsiteX2" fmla="*/ 6975 w 12829"/>
                    <a:gd name="connsiteY2" fmla="*/ 35125 h 50570"/>
                    <a:gd name="connsiteX3" fmla="*/ 12829 w 12829"/>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29" h="50570">
                      <a:moveTo>
                        <a:pt x="0" y="0"/>
                      </a:moveTo>
                      <a:cubicBezTo>
                        <a:pt x="4235" y="7224"/>
                        <a:pt x="5730" y="13452"/>
                        <a:pt x="6353" y="17687"/>
                      </a:cubicBezTo>
                      <a:cubicBezTo>
                        <a:pt x="7224" y="24663"/>
                        <a:pt x="5854" y="28025"/>
                        <a:pt x="6975" y="35125"/>
                      </a:cubicBezTo>
                      <a:cubicBezTo>
                        <a:pt x="8096" y="41976"/>
                        <a:pt x="10836" y="47207"/>
                        <a:pt x="1282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8" name="Freeform 4375">
                  <a:extLst>
                    <a:ext uri="{FF2B5EF4-FFF2-40B4-BE49-F238E27FC236}">
                      <a16:creationId xmlns:a16="http://schemas.microsoft.com/office/drawing/2014/main" id="{C8BF0776-3707-B981-9C7E-E29D3C6B5449}"/>
                    </a:ext>
                  </a:extLst>
                </p:cNvPr>
                <p:cNvSpPr/>
                <p:nvPr/>
              </p:nvSpPr>
              <p:spPr>
                <a:xfrm>
                  <a:off x="5589889" y="5994573"/>
                  <a:ext cx="26427" cy="26458"/>
                </a:xfrm>
                <a:custGeom>
                  <a:avLst/>
                  <a:gdLst>
                    <a:gd name="connsiteX0" fmla="*/ 384 w 26427"/>
                    <a:gd name="connsiteY0" fmla="*/ 16281 h 26458"/>
                    <a:gd name="connsiteX1" fmla="*/ 10100 w 26427"/>
                    <a:gd name="connsiteY1" fmla="*/ 337 h 26458"/>
                    <a:gd name="connsiteX2" fmla="*/ 26043 w 26427"/>
                    <a:gd name="connsiteY2" fmla="*/ 10178 h 26458"/>
                    <a:gd name="connsiteX3" fmla="*/ 16327 w 26427"/>
                    <a:gd name="connsiteY3" fmla="*/ 26121 h 26458"/>
                    <a:gd name="connsiteX4" fmla="*/ 384 w 26427"/>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58">
                      <a:moveTo>
                        <a:pt x="384" y="16281"/>
                      </a:moveTo>
                      <a:cubicBezTo>
                        <a:pt x="-1360" y="9181"/>
                        <a:pt x="3000" y="2081"/>
                        <a:pt x="10100" y="337"/>
                      </a:cubicBezTo>
                      <a:cubicBezTo>
                        <a:pt x="17199" y="-1282"/>
                        <a:pt x="24299" y="3078"/>
                        <a:pt x="26043" y="10178"/>
                      </a:cubicBezTo>
                      <a:cubicBezTo>
                        <a:pt x="27787" y="17277"/>
                        <a:pt x="23427" y="24377"/>
                        <a:pt x="16327" y="26121"/>
                      </a:cubicBezTo>
                      <a:cubicBezTo>
                        <a:pt x="9228" y="27740"/>
                        <a:pt x="2128"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7" name="Graphic 2987">
                <a:extLst>
                  <a:ext uri="{FF2B5EF4-FFF2-40B4-BE49-F238E27FC236}">
                    <a16:creationId xmlns:a16="http://schemas.microsoft.com/office/drawing/2014/main" id="{32710C03-FCAD-73C7-F44A-EBDEBE5DA13C}"/>
                  </a:ext>
                </a:extLst>
              </p:cNvPr>
              <p:cNvGrpSpPr/>
              <p:nvPr/>
            </p:nvGrpSpPr>
            <p:grpSpPr>
              <a:xfrm>
                <a:off x="5590145" y="5868645"/>
                <a:ext cx="54648" cy="145574"/>
                <a:chOff x="5590145" y="5868645"/>
                <a:chExt cx="54648" cy="145574"/>
              </a:xfrm>
              <a:grpFill/>
            </p:grpSpPr>
            <p:sp>
              <p:nvSpPr>
                <p:cNvPr id="5057" name="Freeform 4377">
                  <a:extLst>
                    <a:ext uri="{FF2B5EF4-FFF2-40B4-BE49-F238E27FC236}">
                      <a16:creationId xmlns:a16="http://schemas.microsoft.com/office/drawing/2014/main" id="{9E486E7B-E94D-F673-7936-4BF168B15AD1}"/>
                    </a:ext>
                  </a:extLst>
                </p:cNvPr>
                <p:cNvSpPr/>
                <p:nvPr/>
              </p:nvSpPr>
              <p:spPr>
                <a:xfrm>
                  <a:off x="5601338" y="5889659"/>
                  <a:ext cx="11613" cy="50944"/>
                </a:xfrm>
                <a:custGeom>
                  <a:avLst/>
                  <a:gdLst>
                    <a:gd name="connsiteX0" fmla="*/ 145 w 11613"/>
                    <a:gd name="connsiteY0" fmla="*/ 0 h 50944"/>
                    <a:gd name="connsiteX1" fmla="*/ 2512 w 11613"/>
                    <a:gd name="connsiteY1" fmla="*/ 18684 h 50944"/>
                    <a:gd name="connsiteX2" fmla="*/ 9736 w 11613"/>
                    <a:gd name="connsiteY2" fmla="*/ 34502 h 50944"/>
                    <a:gd name="connsiteX3" fmla="*/ 11480 w 1161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13" h="50944">
                      <a:moveTo>
                        <a:pt x="145" y="0"/>
                      </a:moveTo>
                      <a:cubicBezTo>
                        <a:pt x="-478" y="8345"/>
                        <a:pt x="1017" y="14573"/>
                        <a:pt x="2512" y="18684"/>
                      </a:cubicBezTo>
                      <a:cubicBezTo>
                        <a:pt x="4878" y="25285"/>
                        <a:pt x="7618" y="27776"/>
                        <a:pt x="9736" y="34502"/>
                      </a:cubicBezTo>
                      <a:cubicBezTo>
                        <a:pt x="11853" y="41104"/>
                        <a:pt x="11729" y="46958"/>
                        <a:pt x="1148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8" name="Freeform 4378">
                  <a:extLst>
                    <a:ext uri="{FF2B5EF4-FFF2-40B4-BE49-F238E27FC236}">
                      <a16:creationId xmlns:a16="http://schemas.microsoft.com/office/drawing/2014/main" id="{B0DB4F1A-60E5-EAB9-D7F4-371A0BE5DC14}"/>
                    </a:ext>
                  </a:extLst>
                </p:cNvPr>
                <p:cNvSpPr/>
                <p:nvPr/>
              </p:nvSpPr>
              <p:spPr>
                <a:xfrm>
                  <a:off x="5607213" y="5883057"/>
                  <a:ext cx="12704" cy="50570"/>
                </a:xfrm>
                <a:custGeom>
                  <a:avLst/>
                  <a:gdLst>
                    <a:gd name="connsiteX0" fmla="*/ 12705 w 12704"/>
                    <a:gd name="connsiteY0" fmla="*/ 50571 h 50570"/>
                    <a:gd name="connsiteX1" fmla="*/ 6477 w 12704"/>
                    <a:gd name="connsiteY1" fmla="*/ 32883 h 50570"/>
                    <a:gd name="connsiteX2" fmla="*/ 5854 w 12704"/>
                    <a:gd name="connsiteY2" fmla="*/ 15445 h 50570"/>
                    <a:gd name="connsiteX3" fmla="*/ 0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50571"/>
                      </a:moveTo>
                      <a:cubicBezTo>
                        <a:pt x="8470" y="43346"/>
                        <a:pt x="6975" y="37118"/>
                        <a:pt x="6477" y="32883"/>
                      </a:cubicBezTo>
                      <a:cubicBezTo>
                        <a:pt x="5605" y="25908"/>
                        <a:pt x="6975" y="22421"/>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9" name="Freeform 4379">
                  <a:extLst>
                    <a:ext uri="{FF2B5EF4-FFF2-40B4-BE49-F238E27FC236}">
                      <a16:creationId xmlns:a16="http://schemas.microsoft.com/office/drawing/2014/main" id="{C4776F47-1D9F-562E-21D6-CA9F272C344A}"/>
                    </a:ext>
                  </a:extLst>
                </p:cNvPr>
                <p:cNvSpPr/>
                <p:nvPr/>
              </p:nvSpPr>
              <p:spPr>
                <a:xfrm>
                  <a:off x="5590145" y="5868645"/>
                  <a:ext cx="26622" cy="26497"/>
                </a:xfrm>
                <a:custGeom>
                  <a:avLst/>
                  <a:gdLst>
                    <a:gd name="connsiteX0" fmla="*/ 26285 w 26622"/>
                    <a:gd name="connsiteY0" fmla="*/ 10177 h 26497"/>
                    <a:gd name="connsiteX1" fmla="*/ 16445 w 26622"/>
                    <a:gd name="connsiteY1" fmla="*/ 26121 h 26497"/>
                    <a:gd name="connsiteX2" fmla="*/ 377 w 26622"/>
                    <a:gd name="connsiteY2" fmla="*/ 16281 h 26497"/>
                    <a:gd name="connsiteX3" fmla="*/ 10217 w 26622"/>
                    <a:gd name="connsiteY3" fmla="*/ 337 h 26497"/>
                    <a:gd name="connsiteX4" fmla="*/ 26285 w 26622"/>
                    <a:gd name="connsiteY4" fmla="*/ 10177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497">
                      <a:moveTo>
                        <a:pt x="26285" y="10177"/>
                      </a:moveTo>
                      <a:cubicBezTo>
                        <a:pt x="27904" y="17277"/>
                        <a:pt x="23545" y="24502"/>
                        <a:pt x="16445" y="26121"/>
                      </a:cubicBezTo>
                      <a:cubicBezTo>
                        <a:pt x="9345" y="27865"/>
                        <a:pt x="2121" y="23380"/>
                        <a:pt x="377" y="16281"/>
                      </a:cubicBezTo>
                      <a:cubicBezTo>
                        <a:pt x="-1367" y="9181"/>
                        <a:pt x="3117" y="1956"/>
                        <a:pt x="10217" y="337"/>
                      </a:cubicBezTo>
                      <a:cubicBezTo>
                        <a:pt x="17441" y="-1282"/>
                        <a:pt x="24541" y="3078"/>
                        <a:pt x="26285"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0" name="Freeform 4380">
                  <a:extLst>
                    <a:ext uri="{FF2B5EF4-FFF2-40B4-BE49-F238E27FC236}">
                      <a16:creationId xmlns:a16="http://schemas.microsoft.com/office/drawing/2014/main" id="{6DB8E80F-760B-8E3B-EA9C-582DAEAEED24}"/>
                    </a:ext>
                  </a:extLst>
                </p:cNvPr>
                <p:cNvSpPr/>
                <p:nvPr/>
              </p:nvSpPr>
              <p:spPr>
                <a:xfrm>
                  <a:off x="5622191" y="5942347"/>
                  <a:ext cx="11531" cy="50944"/>
                </a:xfrm>
                <a:custGeom>
                  <a:avLst/>
                  <a:gdLst>
                    <a:gd name="connsiteX0" fmla="*/ 11427 w 11531"/>
                    <a:gd name="connsiteY0" fmla="*/ 50944 h 50944"/>
                    <a:gd name="connsiteX1" fmla="*/ 9061 w 11531"/>
                    <a:gd name="connsiteY1" fmla="*/ 32260 h 50944"/>
                    <a:gd name="connsiteX2" fmla="*/ 1836 w 11531"/>
                    <a:gd name="connsiteY2" fmla="*/ 16442 h 50944"/>
                    <a:gd name="connsiteX3" fmla="*/ 217 w 11531"/>
                    <a:gd name="connsiteY3" fmla="*/ 0 h 50944"/>
                  </a:gdLst>
                  <a:ahLst/>
                  <a:cxnLst>
                    <a:cxn ang="0">
                      <a:pos x="connsiteX0" y="connsiteY0"/>
                    </a:cxn>
                    <a:cxn ang="0">
                      <a:pos x="connsiteX1" y="connsiteY1"/>
                    </a:cxn>
                    <a:cxn ang="0">
                      <a:pos x="connsiteX2" y="connsiteY2"/>
                    </a:cxn>
                    <a:cxn ang="0">
                      <a:pos x="connsiteX3" y="connsiteY3"/>
                    </a:cxn>
                  </a:cxnLst>
                  <a:rect l="l" t="t" r="r" b="b"/>
                  <a:pathLst>
                    <a:path w="11531" h="50944">
                      <a:moveTo>
                        <a:pt x="11427" y="50944"/>
                      </a:moveTo>
                      <a:cubicBezTo>
                        <a:pt x="11925" y="42599"/>
                        <a:pt x="10555" y="36371"/>
                        <a:pt x="9061" y="32260"/>
                      </a:cubicBezTo>
                      <a:cubicBezTo>
                        <a:pt x="6694" y="25659"/>
                        <a:pt x="3954" y="23168"/>
                        <a:pt x="1836" y="16442"/>
                      </a:cubicBezTo>
                      <a:cubicBezTo>
                        <a:pt x="-281" y="9840"/>
                        <a:pt x="-157" y="3986"/>
                        <a:pt x="2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1" name="Freeform 4381">
                  <a:extLst>
                    <a:ext uri="{FF2B5EF4-FFF2-40B4-BE49-F238E27FC236}">
                      <a16:creationId xmlns:a16="http://schemas.microsoft.com/office/drawing/2014/main" id="{77C5266B-30CD-DD54-6C6C-8C1A0B4F4245}"/>
                    </a:ext>
                  </a:extLst>
                </p:cNvPr>
                <p:cNvSpPr/>
                <p:nvPr/>
              </p:nvSpPr>
              <p:spPr>
                <a:xfrm>
                  <a:off x="5615184" y="5949198"/>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5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30" y="13452"/>
                        <a:pt x="6228" y="17687"/>
                      </a:cubicBezTo>
                      <a:cubicBezTo>
                        <a:pt x="7100" y="24662"/>
                        <a:pt x="5730" y="28025"/>
                        <a:pt x="6851" y="35125"/>
                      </a:cubicBezTo>
                      <a:cubicBezTo>
                        <a:pt x="7972" y="41976"/>
                        <a:pt x="10712" y="47207"/>
                        <a:pt x="1270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2" name="Freeform 4382">
                  <a:extLst>
                    <a:ext uri="{FF2B5EF4-FFF2-40B4-BE49-F238E27FC236}">
                      <a16:creationId xmlns:a16="http://schemas.microsoft.com/office/drawing/2014/main" id="{8040206F-674A-8CAB-B415-DF487E9DD949}"/>
                    </a:ext>
                  </a:extLst>
                </p:cNvPr>
                <p:cNvSpPr/>
                <p:nvPr/>
              </p:nvSpPr>
              <p:spPr>
                <a:xfrm>
                  <a:off x="5618537" y="5987722"/>
                  <a:ext cx="26256" cy="26497"/>
                </a:xfrm>
                <a:custGeom>
                  <a:avLst/>
                  <a:gdLst>
                    <a:gd name="connsiteX0" fmla="*/ 384 w 26256"/>
                    <a:gd name="connsiteY0" fmla="*/ 16281 h 26497"/>
                    <a:gd name="connsiteX1" fmla="*/ 10100 w 26256"/>
                    <a:gd name="connsiteY1" fmla="*/ 337 h 26497"/>
                    <a:gd name="connsiteX2" fmla="*/ 25919 w 26256"/>
                    <a:gd name="connsiteY2" fmla="*/ 10177 h 26497"/>
                    <a:gd name="connsiteX3" fmla="*/ 16203 w 26256"/>
                    <a:gd name="connsiteY3" fmla="*/ 26121 h 26497"/>
                    <a:gd name="connsiteX4" fmla="*/ 384 w 26256"/>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497">
                      <a:moveTo>
                        <a:pt x="384" y="16281"/>
                      </a:moveTo>
                      <a:cubicBezTo>
                        <a:pt x="-1360" y="9181"/>
                        <a:pt x="3000" y="2081"/>
                        <a:pt x="10100" y="337"/>
                      </a:cubicBezTo>
                      <a:cubicBezTo>
                        <a:pt x="17199" y="-1282"/>
                        <a:pt x="24299" y="3078"/>
                        <a:pt x="25919" y="10177"/>
                      </a:cubicBezTo>
                      <a:cubicBezTo>
                        <a:pt x="27538" y="17277"/>
                        <a:pt x="23178" y="24377"/>
                        <a:pt x="16203" y="26121"/>
                      </a:cubicBezTo>
                      <a:cubicBezTo>
                        <a:pt x="9103" y="27865"/>
                        <a:pt x="2003"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8" name="Graphic 2987">
                <a:extLst>
                  <a:ext uri="{FF2B5EF4-FFF2-40B4-BE49-F238E27FC236}">
                    <a16:creationId xmlns:a16="http://schemas.microsoft.com/office/drawing/2014/main" id="{47D9206E-9D6C-AD96-8F6F-CC7BAA619D63}"/>
                  </a:ext>
                </a:extLst>
              </p:cNvPr>
              <p:cNvGrpSpPr/>
              <p:nvPr/>
            </p:nvGrpSpPr>
            <p:grpSpPr>
              <a:xfrm>
                <a:off x="5619082" y="5861794"/>
                <a:ext cx="54483" cy="145699"/>
                <a:chOff x="5619082" y="5861794"/>
                <a:chExt cx="54483" cy="145699"/>
              </a:xfrm>
              <a:grpFill/>
            </p:grpSpPr>
            <p:sp>
              <p:nvSpPr>
                <p:cNvPr id="5051" name="Freeform 4384">
                  <a:extLst>
                    <a:ext uri="{FF2B5EF4-FFF2-40B4-BE49-F238E27FC236}">
                      <a16:creationId xmlns:a16="http://schemas.microsoft.com/office/drawing/2014/main" id="{3C1B9B28-727F-EC99-03E1-4AAEED685061}"/>
                    </a:ext>
                  </a:extLst>
                </p:cNvPr>
                <p:cNvSpPr/>
                <p:nvPr/>
              </p:nvSpPr>
              <p:spPr>
                <a:xfrm>
                  <a:off x="5630360" y="5882808"/>
                  <a:ext cx="11546" cy="50944"/>
                </a:xfrm>
                <a:custGeom>
                  <a:avLst/>
                  <a:gdLst>
                    <a:gd name="connsiteX0" fmla="*/ 145 w 11546"/>
                    <a:gd name="connsiteY0" fmla="*/ 0 h 50944"/>
                    <a:gd name="connsiteX1" fmla="*/ 2512 w 11546"/>
                    <a:gd name="connsiteY1" fmla="*/ 18684 h 50944"/>
                    <a:gd name="connsiteX2" fmla="*/ 9736 w 11546"/>
                    <a:gd name="connsiteY2" fmla="*/ 34502 h 50944"/>
                    <a:gd name="connsiteX3" fmla="*/ 11355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0"/>
                      </a:moveTo>
                      <a:cubicBezTo>
                        <a:pt x="-478" y="8346"/>
                        <a:pt x="1017" y="14573"/>
                        <a:pt x="2512" y="18684"/>
                      </a:cubicBezTo>
                      <a:cubicBezTo>
                        <a:pt x="4878" y="25285"/>
                        <a:pt x="7619" y="27776"/>
                        <a:pt x="9736" y="34502"/>
                      </a:cubicBezTo>
                      <a:cubicBezTo>
                        <a:pt x="11729" y="41104"/>
                        <a:pt x="11729" y="46958"/>
                        <a:pt x="1135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2" name="Freeform 4385">
                  <a:extLst>
                    <a:ext uri="{FF2B5EF4-FFF2-40B4-BE49-F238E27FC236}">
                      <a16:creationId xmlns:a16="http://schemas.microsoft.com/office/drawing/2014/main" id="{538A2A8C-CB1C-C8AF-06F4-A93474C343CA}"/>
                    </a:ext>
                  </a:extLst>
                </p:cNvPr>
                <p:cNvSpPr/>
                <p:nvPr/>
              </p:nvSpPr>
              <p:spPr>
                <a:xfrm>
                  <a:off x="5635985" y="5876207"/>
                  <a:ext cx="12704" cy="50695"/>
                </a:xfrm>
                <a:custGeom>
                  <a:avLst/>
                  <a:gdLst>
                    <a:gd name="connsiteX0" fmla="*/ 12705 w 12704"/>
                    <a:gd name="connsiteY0" fmla="*/ 50695 h 50695"/>
                    <a:gd name="connsiteX1" fmla="*/ 6477 w 12704"/>
                    <a:gd name="connsiteY1" fmla="*/ 32883 h 50695"/>
                    <a:gd name="connsiteX2" fmla="*/ 5854 w 12704"/>
                    <a:gd name="connsiteY2" fmla="*/ 15445 h 50695"/>
                    <a:gd name="connsiteX3" fmla="*/ 0 w 12704"/>
                    <a:gd name="connsiteY3" fmla="*/ 0 h 50695"/>
                  </a:gdLst>
                  <a:ahLst/>
                  <a:cxnLst>
                    <a:cxn ang="0">
                      <a:pos x="connsiteX0" y="connsiteY0"/>
                    </a:cxn>
                    <a:cxn ang="0">
                      <a:pos x="connsiteX1" y="connsiteY1"/>
                    </a:cxn>
                    <a:cxn ang="0">
                      <a:pos x="connsiteX2" y="connsiteY2"/>
                    </a:cxn>
                    <a:cxn ang="0">
                      <a:pos x="connsiteX3" y="connsiteY3"/>
                    </a:cxn>
                  </a:cxnLst>
                  <a:rect l="l" t="t" r="r" b="b"/>
                  <a:pathLst>
                    <a:path w="12704" h="50695">
                      <a:moveTo>
                        <a:pt x="12705" y="50695"/>
                      </a:moveTo>
                      <a:cubicBezTo>
                        <a:pt x="8470" y="43471"/>
                        <a:pt x="6975" y="37243"/>
                        <a:pt x="6477" y="32883"/>
                      </a:cubicBezTo>
                      <a:cubicBezTo>
                        <a:pt x="5605" y="25908"/>
                        <a:pt x="6975" y="22420"/>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3" name="Freeform 4386">
                  <a:extLst>
                    <a:ext uri="{FF2B5EF4-FFF2-40B4-BE49-F238E27FC236}">
                      <a16:creationId xmlns:a16="http://schemas.microsoft.com/office/drawing/2014/main" id="{61DC00C8-58E2-DDE5-4522-61305F50888A}"/>
                    </a:ext>
                  </a:extLst>
                </p:cNvPr>
                <p:cNvSpPr/>
                <p:nvPr/>
              </p:nvSpPr>
              <p:spPr>
                <a:xfrm>
                  <a:off x="5619082" y="5861794"/>
                  <a:ext cx="26582" cy="26497"/>
                </a:xfrm>
                <a:custGeom>
                  <a:avLst/>
                  <a:gdLst>
                    <a:gd name="connsiteX0" fmla="*/ 26245 w 26582"/>
                    <a:gd name="connsiteY0" fmla="*/ 10178 h 26497"/>
                    <a:gd name="connsiteX1" fmla="*/ 16280 w 26582"/>
                    <a:gd name="connsiteY1" fmla="*/ 26121 h 26497"/>
                    <a:gd name="connsiteX2" fmla="*/ 337 w 26582"/>
                    <a:gd name="connsiteY2" fmla="*/ 16281 h 26497"/>
                    <a:gd name="connsiteX3" fmla="*/ 10302 w 26582"/>
                    <a:gd name="connsiteY3" fmla="*/ 337 h 26497"/>
                    <a:gd name="connsiteX4" fmla="*/ 26245 w 26582"/>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1" h="26497">
                      <a:moveTo>
                        <a:pt x="26245" y="10178"/>
                      </a:moveTo>
                      <a:cubicBezTo>
                        <a:pt x="27864" y="17277"/>
                        <a:pt x="23505" y="24502"/>
                        <a:pt x="16280" y="26121"/>
                      </a:cubicBezTo>
                      <a:cubicBezTo>
                        <a:pt x="9181" y="27865"/>
                        <a:pt x="1956" y="23381"/>
                        <a:pt x="337" y="16281"/>
                      </a:cubicBezTo>
                      <a:cubicBezTo>
                        <a:pt x="-1282" y="9181"/>
                        <a:pt x="3077" y="1957"/>
                        <a:pt x="10302" y="337"/>
                      </a:cubicBezTo>
                      <a:cubicBezTo>
                        <a:pt x="17401" y="-1282"/>
                        <a:pt x="24626"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4" name="Freeform 4387">
                  <a:extLst>
                    <a:ext uri="{FF2B5EF4-FFF2-40B4-BE49-F238E27FC236}">
                      <a16:creationId xmlns:a16="http://schemas.microsoft.com/office/drawing/2014/main" id="{63264E8D-BE02-11D2-9B1F-4ED9D75FB875}"/>
                    </a:ext>
                  </a:extLst>
                </p:cNvPr>
                <p:cNvSpPr/>
                <p:nvPr/>
              </p:nvSpPr>
              <p:spPr>
                <a:xfrm>
                  <a:off x="5650865" y="5935621"/>
                  <a:ext cx="11546" cy="50944"/>
                </a:xfrm>
                <a:custGeom>
                  <a:avLst/>
                  <a:gdLst>
                    <a:gd name="connsiteX0" fmla="*/ 11402 w 11546"/>
                    <a:gd name="connsiteY0" fmla="*/ 50944 h 50944"/>
                    <a:gd name="connsiteX1" fmla="*/ 9035 w 11546"/>
                    <a:gd name="connsiteY1" fmla="*/ 32261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5" y="42599"/>
                        <a:pt x="10530" y="36371"/>
                        <a:pt x="9035" y="32261"/>
                      </a:cubicBezTo>
                      <a:cubicBezTo>
                        <a:pt x="6669" y="25659"/>
                        <a:pt x="3928"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5" name="Freeform 4388">
                  <a:extLst>
                    <a:ext uri="{FF2B5EF4-FFF2-40B4-BE49-F238E27FC236}">
                      <a16:creationId xmlns:a16="http://schemas.microsoft.com/office/drawing/2014/main" id="{FD13EBD9-08C4-5171-97C2-239AECB7110F}"/>
                    </a:ext>
                  </a:extLst>
                </p:cNvPr>
                <p:cNvSpPr/>
                <p:nvPr/>
              </p:nvSpPr>
              <p:spPr>
                <a:xfrm>
                  <a:off x="5643957" y="5942472"/>
                  <a:ext cx="12705" cy="50695"/>
                </a:xfrm>
                <a:custGeom>
                  <a:avLst/>
                  <a:gdLst>
                    <a:gd name="connsiteX0" fmla="*/ 0 w 12705"/>
                    <a:gd name="connsiteY0" fmla="*/ 0 h 50695"/>
                    <a:gd name="connsiteX1" fmla="*/ 6228 w 12705"/>
                    <a:gd name="connsiteY1" fmla="*/ 17812 h 50695"/>
                    <a:gd name="connsiteX2" fmla="*/ 6851 w 12705"/>
                    <a:gd name="connsiteY2" fmla="*/ 35250 h 50695"/>
                    <a:gd name="connsiteX3" fmla="*/ 12705 w 12705"/>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705" h="50695">
                      <a:moveTo>
                        <a:pt x="0" y="0"/>
                      </a:moveTo>
                      <a:cubicBezTo>
                        <a:pt x="4235" y="7224"/>
                        <a:pt x="5730" y="13452"/>
                        <a:pt x="6228" y="17812"/>
                      </a:cubicBezTo>
                      <a:cubicBezTo>
                        <a:pt x="7100" y="24787"/>
                        <a:pt x="5730" y="28274"/>
                        <a:pt x="6851" y="35250"/>
                      </a:cubicBezTo>
                      <a:cubicBezTo>
                        <a:pt x="7972" y="42101"/>
                        <a:pt x="10587" y="47332"/>
                        <a:pt x="1270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6" name="Freeform 4389">
                  <a:extLst>
                    <a:ext uri="{FF2B5EF4-FFF2-40B4-BE49-F238E27FC236}">
                      <a16:creationId xmlns:a16="http://schemas.microsoft.com/office/drawing/2014/main" id="{FB078002-A8E4-030B-ADE9-3519C490F5AD}"/>
                    </a:ext>
                  </a:extLst>
                </p:cNvPr>
                <p:cNvSpPr/>
                <p:nvPr/>
              </p:nvSpPr>
              <p:spPr>
                <a:xfrm>
                  <a:off x="5647232" y="5980996"/>
                  <a:ext cx="26333" cy="26497"/>
                </a:xfrm>
                <a:custGeom>
                  <a:avLst/>
                  <a:gdLst>
                    <a:gd name="connsiteX0" fmla="*/ 337 w 26333"/>
                    <a:gd name="connsiteY0" fmla="*/ 16281 h 26497"/>
                    <a:gd name="connsiteX1" fmla="*/ 10178 w 26333"/>
                    <a:gd name="connsiteY1" fmla="*/ 337 h 26497"/>
                    <a:gd name="connsiteX2" fmla="*/ 25996 w 26333"/>
                    <a:gd name="connsiteY2" fmla="*/ 10178 h 26497"/>
                    <a:gd name="connsiteX3" fmla="*/ 16156 w 26333"/>
                    <a:gd name="connsiteY3" fmla="*/ 26121 h 26497"/>
                    <a:gd name="connsiteX4" fmla="*/ 337 w 26333"/>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97">
                      <a:moveTo>
                        <a:pt x="337" y="16281"/>
                      </a:moveTo>
                      <a:cubicBezTo>
                        <a:pt x="-1282" y="9181"/>
                        <a:pt x="3078" y="2081"/>
                        <a:pt x="10178" y="337"/>
                      </a:cubicBezTo>
                      <a:cubicBezTo>
                        <a:pt x="17277" y="-1282"/>
                        <a:pt x="24377" y="3078"/>
                        <a:pt x="25996" y="10178"/>
                      </a:cubicBezTo>
                      <a:cubicBezTo>
                        <a:pt x="27616" y="17277"/>
                        <a:pt x="23256" y="24502"/>
                        <a:pt x="16156" y="26121"/>
                      </a:cubicBezTo>
                      <a:cubicBezTo>
                        <a:pt x="9056" y="27865"/>
                        <a:pt x="1957"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9" name="Graphic 2987">
                <a:extLst>
                  <a:ext uri="{FF2B5EF4-FFF2-40B4-BE49-F238E27FC236}">
                    <a16:creationId xmlns:a16="http://schemas.microsoft.com/office/drawing/2014/main" id="{26B02049-68B5-8E22-4C8D-09F4FC7F4042}"/>
                  </a:ext>
                </a:extLst>
              </p:cNvPr>
              <p:cNvGrpSpPr/>
              <p:nvPr/>
            </p:nvGrpSpPr>
            <p:grpSpPr>
              <a:xfrm>
                <a:off x="5648104" y="5854944"/>
                <a:ext cx="53985" cy="145784"/>
                <a:chOff x="5648104" y="5854944"/>
                <a:chExt cx="53985" cy="145784"/>
              </a:xfrm>
              <a:grpFill/>
            </p:grpSpPr>
            <p:sp>
              <p:nvSpPr>
                <p:cNvPr id="5045" name="Freeform 4391">
                  <a:extLst>
                    <a:ext uri="{FF2B5EF4-FFF2-40B4-BE49-F238E27FC236}">
                      <a16:creationId xmlns:a16="http://schemas.microsoft.com/office/drawing/2014/main" id="{1CDDCCF0-C84E-6C1D-4481-41DF8F5E6018}"/>
                    </a:ext>
                  </a:extLst>
                </p:cNvPr>
                <p:cNvSpPr/>
                <p:nvPr/>
              </p:nvSpPr>
              <p:spPr>
                <a:xfrm>
                  <a:off x="5659256" y="5875958"/>
                  <a:ext cx="11422" cy="50944"/>
                </a:xfrm>
                <a:custGeom>
                  <a:avLst/>
                  <a:gdLst>
                    <a:gd name="connsiteX0" fmla="*/ 145 w 11422"/>
                    <a:gd name="connsiteY0" fmla="*/ 0 h 50944"/>
                    <a:gd name="connsiteX1" fmla="*/ 2388 w 11422"/>
                    <a:gd name="connsiteY1" fmla="*/ 18684 h 50944"/>
                    <a:gd name="connsiteX2" fmla="*/ 9612 w 11422"/>
                    <a:gd name="connsiteY2" fmla="*/ 34502 h 50944"/>
                    <a:gd name="connsiteX3" fmla="*/ 11231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45" y="0"/>
                      </a:moveTo>
                      <a:cubicBezTo>
                        <a:pt x="-477" y="8345"/>
                        <a:pt x="1017" y="14573"/>
                        <a:pt x="2388" y="18684"/>
                      </a:cubicBezTo>
                      <a:cubicBezTo>
                        <a:pt x="4754" y="25285"/>
                        <a:pt x="7495" y="27776"/>
                        <a:pt x="9612" y="34502"/>
                      </a:cubicBezTo>
                      <a:cubicBezTo>
                        <a:pt x="11605" y="41104"/>
                        <a:pt x="11605" y="46958"/>
                        <a:pt x="1123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6" name="Freeform 4392">
                  <a:extLst>
                    <a:ext uri="{FF2B5EF4-FFF2-40B4-BE49-F238E27FC236}">
                      <a16:creationId xmlns:a16="http://schemas.microsoft.com/office/drawing/2014/main" id="{881D082A-B389-3F89-E254-80E35ADDCA2B}"/>
                    </a:ext>
                  </a:extLst>
                </p:cNvPr>
                <p:cNvSpPr/>
                <p:nvPr/>
              </p:nvSpPr>
              <p:spPr>
                <a:xfrm>
                  <a:off x="5665256" y="5869356"/>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7" y="43471"/>
                        <a:pt x="6726" y="37243"/>
                        <a:pt x="6228" y="32883"/>
                      </a:cubicBezTo>
                      <a:cubicBezTo>
                        <a:pt x="5356" y="25908"/>
                        <a:pt x="6851" y="22420"/>
                        <a:pt x="5730" y="15445"/>
                      </a:cubicBezTo>
                      <a:cubicBezTo>
                        <a:pt x="4609"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7" name="Freeform 4393">
                  <a:extLst>
                    <a:ext uri="{FF2B5EF4-FFF2-40B4-BE49-F238E27FC236}">
                      <a16:creationId xmlns:a16="http://schemas.microsoft.com/office/drawing/2014/main" id="{28A77D7B-2088-712B-4763-36584C281477}"/>
                    </a:ext>
                  </a:extLst>
                </p:cNvPr>
                <p:cNvSpPr/>
                <p:nvPr/>
              </p:nvSpPr>
              <p:spPr>
                <a:xfrm>
                  <a:off x="5648104" y="5854944"/>
                  <a:ext cx="26575" cy="26497"/>
                </a:xfrm>
                <a:custGeom>
                  <a:avLst/>
                  <a:gdLst>
                    <a:gd name="connsiteX0" fmla="*/ 26245 w 26575"/>
                    <a:gd name="connsiteY0" fmla="*/ 10178 h 26497"/>
                    <a:gd name="connsiteX1" fmla="*/ 16280 w 26575"/>
                    <a:gd name="connsiteY1" fmla="*/ 26121 h 26497"/>
                    <a:gd name="connsiteX2" fmla="*/ 337 w 26575"/>
                    <a:gd name="connsiteY2" fmla="*/ 16281 h 26497"/>
                    <a:gd name="connsiteX3" fmla="*/ 10302 w 26575"/>
                    <a:gd name="connsiteY3" fmla="*/ 337 h 26497"/>
                    <a:gd name="connsiteX4" fmla="*/ 26245 w 26575"/>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4" h="26497">
                      <a:moveTo>
                        <a:pt x="26245" y="10178"/>
                      </a:moveTo>
                      <a:cubicBezTo>
                        <a:pt x="27864" y="17277"/>
                        <a:pt x="23380" y="24502"/>
                        <a:pt x="16280" y="26121"/>
                      </a:cubicBezTo>
                      <a:cubicBezTo>
                        <a:pt x="9181" y="27865"/>
                        <a:pt x="1956" y="23381"/>
                        <a:pt x="337" y="16281"/>
                      </a:cubicBezTo>
                      <a:cubicBezTo>
                        <a:pt x="-1282" y="9181"/>
                        <a:pt x="3077" y="1957"/>
                        <a:pt x="10302" y="337"/>
                      </a:cubicBezTo>
                      <a:cubicBezTo>
                        <a:pt x="17526" y="-1282"/>
                        <a:pt x="24501"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8" name="Freeform 4394">
                  <a:extLst>
                    <a:ext uri="{FF2B5EF4-FFF2-40B4-BE49-F238E27FC236}">
                      <a16:creationId xmlns:a16="http://schemas.microsoft.com/office/drawing/2014/main" id="{D3445C58-B03B-9C0F-4158-1F02FE7B46DD}"/>
                    </a:ext>
                  </a:extLst>
                </p:cNvPr>
                <p:cNvSpPr/>
                <p:nvPr/>
              </p:nvSpPr>
              <p:spPr>
                <a:xfrm>
                  <a:off x="5679763" y="5928770"/>
                  <a:ext cx="11298" cy="50944"/>
                </a:xfrm>
                <a:custGeom>
                  <a:avLst/>
                  <a:gdLst>
                    <a:gd name="connsiteX0" fmla="*/ 11153 w 11298"/>
                    <a:gd name="connsiteY0" fmla="*/ 50944 h 50944"/>
                    <a:gd name="connsiteX1" fmla="*/ 8911 w 11298"/>
                    <a:gd name="connsiteY1" fmla="*/ 32260 h 50944"/>
                    <a:gd name="connsiteX2" fmla="*/ 1811 w 11298"/>
                    <a:gd name="connsiteY2" fmla="*/ 16442 h 50944"/>
                    <a:gd name="connsiteX3" fmla="*/ 192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50944"/>
                      </a:moveTo>
                      <a:cubicBezTo>
                        <a:pt x="11775" y="42599"/>
                        <a:pt x="10281" y="36371"/>
                        <a:pt x="8911" y="32260"/>
                      </a:cubicBezTo>
                      <a:cubicBezTo>
                        <a:pt x="6544" y="25659"/>
                        <a:pt x="3804"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9" name="Freeform 4395">
                  <a:extLst>
                    <a:ext uri="{FF2B5EF4-FFF2-40B4-BE49-F238E27FC236}">
                      <a16:creationId xmlns:a16="http://schemas.microsoft.com/office/drawing/2014/main" id="{34440687-E6E8-2BBC-434F-DB5C1B31C1CF}"/>
                    </a:ext>
                  </a:extLst>
                </p:cNvPr>
                <p:cNvSpPr/>
                <p:nvPr/>
              </p:nvSpPr>
              <p:spPr>
                <a:xfrm>
                  <a:off x="5672730" y="5935621"/>
                  <a:ext cx="12331" cy="50695"/>
                </a:xfrm>
                <a:custGeom>
                  <a:avLst/>
                  <a:gdLst>
                    <a:gd name="connsiteX0" fmla="*/ 0 w 12331"/>
                    <a:gd name="connsiteY0" fmla="*/ 0 h 50695"/>
                    <a:gd name="connsiteX1" fmla="*/ 6104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225"/>
                        <a:pt x="5605" y="13452"/>
                        <a:pt x="6104" y="17812"/>
                      </a:cubicBezTo>
                      <a:cubicBezTo>
                        <a:pt x="6975" y="24787"/>
                        <a:pt x="5481" y="28275"/>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0" name="Freeform 4396">
                  <a:extLst>
                    <a:ext uri="{FF2B5EF4-FFF2-40B4-BE49-F238E27FC236}">
                      <a16:creationId xmlns:a16="http://schemas.microsoft.com/office/drawing/2014/main" id="{980E7800-0EC2-15DC-6DA3-2D081A36103E}"/>
                    </a:ext>
                  </a:extLst>
                </p:cNvPr>
                <p:cNvSpPr/>
                <p:nvPr/>
              </p:nvSpPr>
              <p:spPr>
                <a:xfrm>
                  <a:off x="5675756" y="5974270"/>
                  <a:ext cx="26333" cy="26458"/>
                </a:xfrm>
                <a:custGeom>
                  <a:avLst/>
                  <a:gdLst>
                    <a:gd name="connsiteX0" fmla="*/ 337 w 26333"/>
                    <a:gd name="connsiteY0" fmla="*/ 16281 h 26458"/>
                    <a:gd name="connsiteX1" fmla="*/ 10177 w 26333"/>
                    <a:gd name="connsiteY1" fmla="*/ 337 h 26458"/>
                    <a:gd name="connsiteX2" fmla="*/ 25996 w 26333"/>
                    <a:gd name="connsiteY2" fmla="*/ 10178 h 26458"/>
                    <a:gd name="connsiteX3" fmla="*/ 16156 w 26333"/>
                    <a:gd name="connsiteY3" fmla="*/ 26121 h 26458"/>
                    <a:gd name="connsiteX4" fmla="*/ 337 w 26333"/>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58">
                      <a:moveTo>
                        <a:pt x="337" y="16281"/>
                      </a:moveTo>
                      <a:cubicBezTo>
                        <a:pt x="-1282" y="9181"/>
                        <a:pt x="3078" y="1957"/>
                        <a:pt x="10177" y="337"/>
                      </a:cubicBezTo>
                      <a:cubicBezTo>
                        <a:pt x="17277" y="-1282"/>
                        <a:pt x="24377" y="3078"/>
                        <a:pt x="25996" y="10178"/>
                      </a:cubicBezTo>
                      <a:cubicBezTo>
                        <a:pt x="27616" y="17277"/>
                        <a:pt x="23256" y="24502"/>
                        <a:pt x="16156" y="26121"/>
                      </a:cubicBezTo>
                      <a:cubicBezTo>
                        <a:pt x="9181" y="27740"/>
                        <a:pt x="2081"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0" name="Graphic 2987">
                <a:extLst>
                  <a:ext uri="{FF2B5EF4-FFF2-40B4-BE49-F238E27FC236}">
                    <a16:creationId xmlns:a16="http://schemas.microsoft.com/office/drawing/2014/main" id="{99E00C13-4518-8D54-A2B5-B5052641E67A}"/>
                  </a:ext>
                </a:extLst>
              </p:cNvPr>
              <p:cNvGrpSpPr/>
              <p:nvPr/>
            </p:nvGrpSpPr>
            <p:grpSpPr>
              <a:xfrm>
                <a:off x="5677008" y="5848224"/>
                <a:ext cx="53723" cy="145852"/>
                <a:chOff x="5677008" y="5848224"/>
                <a:chExt cx="53723" cy="145852"/>
              </a:xfrm>
              <a:grpFill/>
            </p:grpSpPr>
            <p:sp>
              <p:nvSpPr>
                <p:cNvPr id="5039" name="Freeform 4398">
                  <a:extLst>
                    <a:ext uri="{FF2B5EF4-FFF2-40B4-BE49-F238E27FC236}">
                      <a16:creationId xmlns:a16="http://schemas.microsoft.com/office/drawing/2014/main" id="{2FBA13A7-E892-2721-DF73-964D7AF7F32F}"/>
                    </a:ext>
                  </a:extLst>
                </p:cNvPr>
                <p:cNvSpPr/>
                <p:nvPr/>
              </p:nvSpPr>
              <p:spPr>
                <a:xfrm>
                  <a:off x="5688145" y="5869107"/>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6"/>
                        <a:pt x="901" y="14573"/>
                        <a:pt x="2396" y="18684"/>
                      </a:cubicBezTo>
                      <a:cubicBezTo>
                        <a:pt x="4763" y="25285"/>
                        <a:pt x="7503" y="27776"/>
                        <a:pt x="9496" y="34627"/>
                      </a:cubicBezTo>
                      <a:cubicBezTo>
                        <a:pt x="11489"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0" name="Freeform 4399">
                  <a:extLst>
                    <a:ext uri="{FF2B5EF4-FFF2-40B4-BE49-F238E27FC236}">
                      <a16:creationId xmlns:a16="http://schemas.microsoft.com/office/drawing/2014/main" id="{359122ED-3F78-FA70-DDC9-75FA62845D4D}"/>
                    </a:ext>
                  </a:extLst>
                </p:cNvPr>
                <p:cNvSpPr/>
                <p:nvPr/>
              </p:nvSpPr>
              <p:spPr>
                <a:xfrm>
                  <a:off x="5694029" y="5862755"/>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0" y="25908"/>
                        <a:pt x="6851" y="22545"/>
                        <a:pt x="5730"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1" name="Freeform 4400">
                  <a:extLst>
                    <a:ext uri="{FF2B5EF4-FFF2-40B4-BE49-F238E27FC236}">
                      <a16:creationId xmlns:a16="http://schemas.microsoft.com/office/drawing/2014/main" id="{005F202C-AA5E-4B18-BAF8-6F0EEFB697F8}"/>
                    </a:ext>
                  </a:extLst>
                </p:cNvPr>
                <p:cNvSpPr/>
                <p:nvPr/>
              </p:nvSpPr>
              <p:spPr>
                <a:xfrm>
                  <a:off x="5677008" y="5848224"/>
                  <a:ext cx="26693" cy="26445"/>
                </a:xfrm>
                <a:custGeom>
                  <a:avLst/>
                  <a:gdLst>
                    <a:gd name="connsiteX0" fmla="*/ 26363 w 26693"/>
                    <a:gd name="connsiteY0" fmla="*/ 10296 h 26445"/>
                    <a:gd name="connsiteX1" fmla="*/ 16274 w 26693"/>
                    <a:gd name="connsiteY1" fmla="*/ 26114 h 26445"/>
                    <a:gd name="connsiteX2" fmla="*/ 330 w 26693"/>
                    <a:gd name="connsiteY2" fmla="*/ 16150 h 26445"/>
                    <a:gd name="connsiteX3" fmla="*/ 10420 w 26693"/>
                    <a:gd name="connsiteY3" fmla="*/ 331 h 26445"/>
                    <a:gd name="connsiteX4" fmla="*/ 26363 w 26693"/>
                    <a:gd name="connsiteY4" fmla="*/ 10296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45">
                      <a:moveTo>
                        <a:pt x="26363" y="10296"/>
                      </a:moveTo>
                      <a:cubicBezTo>
                        <a:pt x="27982" y="17395"/>
                        <a:pt x="23498" y="24495"/>
                        <a:pt x="16274" y="26114"/>
                      </a:cubicBezTo>
                      <a:cubicBezTo>
                        <a:pt x="9050" y="27734"/>
                        <a:pt x="1950" y="23249"/>
                        <a:pt x="330" y="16150"/>
                      </a:cubicBezTo>
                      <a:cubicBezTo>
                        <a:pt x="-1289" y="9050"/>
                        <a:pt x="3195" y="1825"/>
                        <a:pt x="10420" y="331"/>
                      </a:cubicBezTo>
                      <a:cubicBezTo>
                        <a:pt x="17519" y="-1288"/>
                        <a:pt x="24744" y="3196"/>
                        <a:pt x="26363" y="102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2" name="Freeform 4401">
                  <a:extLst>
                    <a:ext uri="{FF2B5EF4-FFF2-40B4-BE49-F238E27FC236}">
                      <a16:creationId xmlns:a16="http://schemas.microsoft.com/office/drawing/2014/main" id="{82B66C0D-1493-86D2-16D8-0CFA43D57912}"/>
                    </a:ext>
                  </a:extLst>
                </p:cNvPr>
                <p:cNvSpPr/>
                <p:nvPr/>
              </p:nvSpPr>
              <p:spPr>
                <a:xfrm>
                  <a:off x="5708506" y="5922044"/>
                  <a:ext cx="11203" cy="51068"/>
                </a:xfrm>
                <a:custGeom>
                  <a:avLst/>
                  <a:gdLst>
                    <a:gd name="connsiteX0" fmla="*/ 11058 w 11203"/>
                    <a:gd name="connsiteY0" fmla="*/ 51069 h 51068"/>
                    <a:gd name="connsiteX1" fmla="*/ 8816 w 11203"/>
                    <a:gd name="connsiteY1" fmla="*/ 32385 h 51068"/>
                    <a:gd name="connsiteX2" fmla="*/ 1716 w 11203"/>
                    <a:gd name="connsiteY2" fmla="*/ 16442 h 51068"/>
                    <a:gd name="connsiteX3" fmla="*/ 221 w 11203"/>
                    <a:gd name="connsiteY3" fmla="*/ 0 h 51068"/>
                  </a:gdLst>
                  <a:ahLst/>
                  <a:cxnLst>
                    <a:cxn ang="0">
                      <a:pos x="connsiteX0" y="connsiteY0"/>
                    </a:cxn>
                    <a:cxn ang="0">
                      <a:pos x="connsiteX1" y="connsiteY1"/>
                    </a:cxn>
                    <a:cxn ang="0">
                      <a:pos x="connsiteX2" y="connsiteY2"/>
                    </a:cxn>
                    <a:cxn ang="0">
                      <a:pos x="connsiteX3" y="connsiteY3"/>
                    </a:cxn>
                  </a:cxnLst>
                  <a:rect l="l" t="t" r="r" b="b"/>
                  <a:pathLst>
                    <a:path w="11203" h="51068">
                      <a:moveTo>
                        <a:pt x="11058" y="51069"/>
                      </a:moveTo>
                      <a:cubicBezTo>
                        <a:pt x="11681" y="42724"/>
                        <a:pt x="10186" y="36496"/>
                        <a:pt x="8816" y="32385"/>
                      </a:cubicBezTo>
                      <a:cubicBezTo>
                        <a:pt x="6574"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3" name="Freeform 4402">
                  <a:extLst>
                    <a:ext uri="{FF2B5EF4-FFF2-40B4-BE49-F238E27FC236}">
                      <a16:creationId xmlns:a16="http://schemas.microsoft.com/office/drawing/2014/main" id="{6AA0D84C-DAEA-3FB0-2F6D-42A69E9BD06C}"/>
                    </a:ext>
                  </a:extLst>
                </p:cNvPr>
                <p:cNvSpPr/>
                <p:nvPr/>
              </p:nvSpPr>
              <p:spPr>
                <a:xfrm>
                  <a:off x="5701502" y="5928895"/>
                  <a:ext cx="12331" cy="50694"/>
                </a:xfrm>
                <a:custGeom>
                  <a:avLst/>
                  <a:gdLst>
                    <a:gd name="connsiteX0" fmla="*/ 0 w 12331"/>
                    <a:gd name="connsiteY0" fmla="*/ 0 h 50694"/>
                    <a:gd name="connsiteX1" fmla="*/ 6104 w 12331"/>
                    <a:gd name="connsiteY1" fmla="*/ 17812 h 50694"/>
                    <a:gd name="connsiteX2" fmla="*/ 6602 w 12331"/>
                    <a:gd name="connsiteY2" fmla="*/ 35250 h 50694"/>
                    <a:gd name="connsiteX3" fmla="*/ 12331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0" y="0"/>
                      </a:moveTo>
                      <a:cubicBezTo>
                        <a:pt x="4235" y="7349"/>
                        <a:pt x="5605" y="13452"/>
                        <a:pt x="6104" y="17812"/>
                      </a:cubicBezTo>
                      <a:cubicBezTo>
                        <a:pt x="6851" y="24787"/>
                        <a:pt x="5481" y="28150"/>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4" name="Freeform 4403">
                  <a:extLst>
                    <a:ext uri="{FF2B5EF4-FFF2-40B4-BE49-F238E27FC236}">
                      <a16:creationId xmlns:a16="http://schemas.microsoft.com/office/drawing/2014/main" id="{35606394-9EE4-DC12-053A-500E281A466B}"/>
                    </a:ext>
                  </a:extLst>
                </p:cNvPr>
                <p:cNvSpPr/>
                <p:nvPr/>
              </p:nvSpPr>
              <p:spPr>
                <a:xfrm>
                  <a:off x="5704404" y="5967551"/>
                  <a:ext cx="26327" cy="26525"/>
                </a:xfrm>
                <a:custGeom>
                  <a:avLst/>
                  <a:gdLst>
                    <a:gd name="connsiteX0" fmla="*/ 337 w 26327"/>
                    <a:gd name="connsiteY0" fmla="*/ 16149 h 26525"/>
                    <a:gd name="connsiteX1" fmla="*/ 10178 w 26327"/>
                    <a:gd name="connsiteY1" fmla="*/ 331 h 26525"/>
                    <a:gd name="connsiteX2" fmla="*/ 25996 w 26327"/>
                    <a:gd name="connsiteY2" fmla="*/ 10420 h 26525"/>
                    <a:gd name="connsiteX3" fmla="*/ 16156 w 26327"/>
                    <a:gd name="connsiteY3" fmla="*/ 26238 h 26525"/>
                    <a:gd name="connsiteX4" fmla="*/ 337 w 26327"/>
                    <a:gd name="connsiteY4" fmla="*/ 16149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524">
                      <a:moveTo>
                        <a:pt x="337" y="16149"/>
                      </a:moveTo>
                      <a:cubicBezTo>
                        <a:pt x="-1282" y="9049"/>
                        <a:pt x="3078" y="1825"/>
                        <a:pt x="10178" y="331"/>
                      </a:cubicBezTo>
                      <a:cubicBezTo>
                        <a:pt x="17277" y="-1289"/>
                        <a:pt x="24377" y="3195"/>
                        <a:pt x="25996" y="10420"/>
                      </a:cubicBezTo>
                      <a:cubicBezTo>
                        <a:pt x="27616" y="17519"/>
                        <a:pt x="23131" y="24619"/>
                        <a:pt x="16156" y="26238"/>
                      </a:cubicBezTo>
                      <a:cubicBezTo>
                        <a:pt x="9057" y="27733"/>
                        <a:pt x="1957" y="23249"/>
                        <a:pt x="337" y="1614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1" name="Graphic 2987">
                <a:extLst>
                  <a:ext uri="{FF2B5EF4-FFF2-40B4-BE49-F238E27FC236}">
                    <a16:creationId xmlns:a16="http://schemas.microsoft.com/office/drawing/2014/main" id="{3458F0BE-C11C-8DF8-5199-B82AFDE1B5E6}"/>
                  </a:ext>
                </a:extLst>
              </p:cNvPr>
              <p:cNvGrpSpPr/>
              <p:nvPr/>
            </p:nvGrpSpPr>
            <p:grpSpPr>
              <a:xfrm>
                <a:off x="5706030" y="5841748"/>
                <a:ext cx="53598" cy="145895"/>
                <a:chOff x="5706030" y="5841748"/>
                <a:chExt cx="53598" cy="145895"/>
              </a:xfrm>
              <a:grpFill/>
            </p:grpSpPr>
            <p:sp>
              <p:nvSpPr>
                <p:cNvPr id="5033" name="Freeform 4405">
                  <a:extLst>
                    <a:ext uri="{FF2B5EF4-FFF2-40B4-BE49-F238E27FC236}">
                      <a16:creationId xmlns:a16="http://schemas.microsoft.com/office/drawing/2014/main" id="{6ADE4589-3952-2D8D-08BA-A9F7839E86A6}"/>
                    </a:ext>
                  </a:extLst>
                </p:cNvPr>
                <p:cNvSpPr/>
                <p:nvPr/>
              </p:nvSpPr>
              <p:spPr>
                <a:xfrm>
                  <a:off x="5717167" y="5862755"/>
                  <a:ext cx="11212" cy="51068"/>
                </a:xfrm>
                <a:custGeom>
                  <a:avLst/>
                  <a:gdLst>
                    <a:gd name="connsiteX0" fmla="*/ 154 w 11212"/>
                    <a:gd name="connsiteY0" fmla="*/ 0 h 51068"/>
                    <a:gd name="connsiteX1" fmla="*/ 2396 w 11212"/>
                    <a:gd name="connsiteY1" fmla="*/ 18684 h 51068"/>
                    <a:gd name="connsiteX2" fmla="*/ 9496 w 11212"/>
                    <a:gd name="connsiteY2" fmla="*/ 34627 h 51068"/>
                    <a:gd name="connsiteX3" fmla="*/ 10991 w 112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2" h="51068">
                      <a:moveTo>
                        <a:pt x="154" y="0"/>
                      </a:moveTo>
                      <a:cubicBezTo>
                        <a:pt x="-469" y="8345"/>
                        <a:pt x="901" y="14573"/>
                        <a:pt x="2396" y="18684"/>
                      </a:cubicBezTo>
                      <a:cubicBezTo>
                        <a:pt x="4638" y="25285"/>
                        <a:pt x="7503" y="27776"/>
                        <a:pt x="9496" y="34627"/>
                      </a:cubicBezTo>
                      <a:cubicBezTo>
                        <a:pt x="11489" y="41229"/>
                        <a:pt x="11364" y="47083"/>
                        <a:pt x="10991"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4" name="Freeform 4406">
                  <a:extLst>
                    <a:ext uri="{FF2B5EF4-FFF2-40B4-BE49-F238E27FC236}">
                      <a16:creationId xmlns:a16="http://schemas.microsoft.com/office/drawing/2014/main" id="{A6BE6110-0460-FD39-3C49-54AB63A2B578}"/>
                    </a:ext>
                  </a:extLst>
                </p:cNvPr>
                <p:cNvSpPr/>
                <p:nvPr/>
              </p:nvSpPr>
              <p:spPr>
                <a:xfrm>
                  <a:off x="5723051" y="5856278"/>
                  <a:ext cx="12206" cy="50695"/>
                </a:xfrm>
                <a:custGeom>
                  <a:avLst/>
                  <a:gdLst>
                    <a:gd name="connsiteX0" fmla="*/ 12207 w 12206"/>
                    <a:gd name="connsiteY0" fmla="*/ 50695 h 50695"/>
                    <a:gd name="connsiteX1" fmla="*/ 6103 w 12206"/>
                    <a:gd name="connsiteY1" fmla="*/ 32883 h 50695"/>
                    <a:gd name="connsiteX2" fmla="*/ 5730 w 12206"/>
                    <a:gd name="connsiteY2" fmla="*/ 15445 h 50695"/>
                    <a:gd name="connsiteX3" fmla="*/ 0 w 12206"/>
                    <a:gd name="connsiteY3" fmla="*/ 0 h 50695"/>
                  </a:gdLst>
                  <a:ahLst/>
                  <a:cxnLst>
                    <a:cxn ang="0">
                      <a:pos x="connsiteX0" y="connsiteY0"/>
                    </a:cxn>
                    <a:cxn ang="0">
                      <a:pos x="connsiteX1" y="connsiteY1"/>
                    </a:cxn>
                    <a:cxn ang="0">
                      <a:pos x="connsiteX2" y="connsiteY2"/>
                    </a:cxn>
                    <a:cxn ang="0">
                      <a:pos x="connsiteX3" y="connsiteY3"/>
                    </a:cxn>
                  </a:cxnLst>
                  <a:rect l="l" t="t" r="r" b="b"/>
                  <a:pathLst>
                    <a:path w="12206" h="50695">
                      <a:moveTo>
                        <a:pt x="12207" y="50695"/>
                      </a:moveTo>
                      <a:cubicBezTo>
                        <a:pt x="7971" y="43346"/>
                        <a:pt x="6602" y="37243"/>
                        <a:pt x="6103"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5" name="Freeform 4407">
                  <a:extLst>
                    <a:ext uri="{FF2B5EF4-FFF2-40B4-BE49-F238E27FC236}">
                      <a16:creationId xmlns:a16="http://schemas.microsoft.com/office/drawing/2014/main" id="{99432ED5-BF57-3253-B0D3-603C89151CFA}"/>
                    </a:ext>
                  </a:extLst>
                </p:cNvPr>
                <p:cNvSpPr/>
                <p:nvPr/>
              </p:nvSpPr>
              <p:spPr>
                <a:xfrm>
                  <a:off x="5706030" y="5841748"/>
                  <a:ext cx="26693" cy="26568"/>
                </a:xfrm>
                <a:custGeom>
                  <a:avLst/>
                  <a:gdLst>
                    <a:gd name="connsiteX0" fmla="*/ 26363 w 26693"/>
                    <a:gd name="connsiteY0" fmla="*/ 10420 h 26568"/>
                    <a:gd name="connsiteX1" fmla="*/ 16274 w 26693"/>
                    <a:gd name="connsiteY1" fmla="*/ 26238 h 26568"/>
                    <a:gd name="connsiteX2" fmla="*/ 331 w 26693"/>
                    <a:gd name="connsiteY2" fmla="*/ 16149 h 26568"/>
                    <a:gd name="connsiteX3" fmla="*/ 10420 w 26693"/>
                    <a:gd name="connsiteY3" fmla="*/ 331 h 26568"/>
                    <a:gd name="connsiteX4" fmla="*/ 26363 w 2669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67">
                      <a:moveTo>
                        <a:pt x="26363" y="10420"/>
                      </a:moveTo>
                      <a:cubicBezTo>
                        <a:pt x="27982" y="17520"/>
                        <a:pt x="23498" y="24619"/>
                        <a:pt x="16274" y="26238"/>
                      </a:cubicBezTo>
                      <a:cubicBezTo>
                        <a:pt x="9049" y="27858"/>
                        <a:pt x="1950" y="23374"/>
                        <a:pt x="331" y="16149"/>
                      </a:cubicBezTo>
                      <a:cubicBezTo>
                        <a:pt x="-1289" y="9049"/>
                        <a:pt x="3195" y="1950"/>
                        <a:pt x="10420" y="331"/>
                      </a:cubicBezTo>
                      <a:cubicBezTo>
                        <a:pt x="17644" y="-1289"/>
                        <a:pt x="24744" y="3195"/>
                        <a:pt x="2636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6" name="Freeform 4408">
                  <a:extLst>
                    <a:ext uri="{FF2B5EF4-FFF2-40B4-BE49-F238E27FC236}">
                      <a16:creationId xmlns:a16="http://schemas.microsoft.com/office/drawing/2014/main" id="{0596C171-EF60-7D65-1C96-E0B0B2ABF779}"/>
                    </a:ext>
                  </a:extLst>
                </p:cNvPr>
                <p:cNvSpPr/>
                <p:nvPr/>
              </p:nvSpPr>
              <p:spPr>
                <a:xfrm>
                  <a:off x="5737278" y="5915692"/>
                  <a:ext cx="11211" cy="51068"/>
                </a:xfrm>
                <a:custGeom>
                  <a:avLst/>
                  <a:gdLst>
                    <a:gd name="connsiteX0" fmla="*/ 11058 w 11211"/>
                    <a:gd name="connsiteY0" fmla="*/ 51068 h 51068"/>
                    <a:gd name="connsiteX1" fmla="*/ 8816 w 11211"/>
                    <a:gd name="connsiteY1" fmla="*/ 32385 h 51068"/>
                    <a:gd name="connsiteX2" fmla="*/ 1716 w 11211"/>
                    <a:gd name="connsiteY2" fmla="*/ 16441 h 51068"/>
                    <a:gd name="connsiteX3" fmla="*/ 22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8"/>
                      </a:moveTo>
                      <a:cubicBezTo>
                        <a:pt x="11681" y="42723"/>
                        <a:pt x="10311" y="36495"/>
                        <a:pt x="8816" y="32385"/>
                      </a:cubicBezTo>
                      <a:cubicBezTo>
                        <a:pt x="6574" y="25783"/>
                        <a:pt x="3834" y="23292"/>
                        <a:pt x="1716" y="16441"/>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7" name="Freeform 4409">
                  <a:extLst>
                    <a:ext uri="{FF2B5EF4-FFF2-40B4-BE49-F238E27FC236}">
                      <a16:creationId xmlns:a16="http://schemas.microsoft.com/office/drawing/2014/main" id="{BE7BA811-9A48-7731-8F6C-9747E76C09BE}"/>
                    </a:ext>
                  </a:extLst>
                </p:cNvPr>
                <p:cNvSpPr/>
                <p:nvPr/>
              </p:nvSpPr>
              <p:spPr>
                <a:xfrm>
                  <a:off x="5730400" y="5922418"/>
                  <a:ext cx="12331" cy="50695"/>
                </a:xfrm>
                <a:custGeom>
                  <a:avLst/>
                  <a:gdLst>
                    <a:gd name="connsiteX0" fmla="*/ 0 w 12331"/>
                    <a:gd name="connsiteY0" fmla="*/ 0 h 50695"/>
                    <a:gd name="connsiteX1" fmla="*/ 6103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349"/>
                        <a:pt x="5605" y="13452"/>
                        <a:pt x="6103" y="17812"/>
                      </a:cubicBezTo>
                      <a:cubicBezTo>
                        <a:pt x="6851" y="24787"/>
                        <a:pt x="5481" y="28150"/>
                        <a:pt x="6602" y="35250"/>
                      </a:cubicBezTo>
                      <a:cubicBezTo>
                        <a:pt x="7598" y="42101"/>
                        <a:pt x="10214"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8" name="Freeform 4410">
                  <a:extLst>
                    <a:ext uri="{FF2B5EF4-FFF2-40B4-BE49-F238E27FC236}">
                      <a16:creationId xmlns:a16="http://schemas.microsoft.com/office/drawing/2014/main" id="{5AD88642-80AF-BF0A-68F3-E016ABE5E663}"/>
                    </a:ext>
                  </a:extLst>
                </p:cNvPr>
                <p:cNvSpPr/>
                <p:nvPr/>
              </p:nvSpPr>
              <p:spPr>
                <a:xfrm>
                  <a:off x="5733183" y="5961074"/>
                  <a:ext cx="26445" cy="26569"/>
                </a:xfrm>
                <a:custGeom>
                  <a:avLst/>
                  <a:gdLst>
                    <a:gd name="connsiteX0" fmla="*/ 331 w 26445"/>
                    <a:gd name="connsiteY0" fmla="*/ 16150 h 26569"/>
                    <a:gd name="connsiteX1" fmla="*/ 10295 w 26445"/>
                    <a:gd name="connsiteY1" fmla="*/ 331 h 26569"/>
                    <a:gd name="connsiteX2" fmla="*/ 26114 w 26445"/>
                    <a:gd name="connsiteY2" fmla="*/ 10420 h 26569"/>
                    <a:gd name="connsiteX3" fmla="*/ 16150 w 26445"/>
                    <a:gd name="connsiteY3" fmla="*/ 26239 h 26569"/>
                    <a:gd name="connsiteX4" fmla="*/ 331 w 26445"/>
                    <a:gd name="connsiteY4" fmla="*/ 1615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569">
                      <a:moveTo>
                        <a:pt x="331" y="16150"/>
                      </a:moveTo>
                      <a:cubicBezTo>
                        <a:pt x="-1288" y="9050"/>
                        <a:pt x="3196" y="1950"/>
                        <a:pt x="10295" y="331"/>
                      </a:cubicBezTo>
                      <a:cubicBezTo>
                        <a:pt x="17395" y="-1289"/>
                        <a:pt x="24495" y="3195"/>
                        <a:pt x="26114" y="10420"/>
                      </a:cubicBezTo>
                      <a:cubicBezTo>
                        <a:pt x="27734" y="17520"/>
                        <a:pt x="23249" y="24619"/>
                        <a:pt x="16150" y="26239"/>
                      </a:cubicBezTo>
                      <a:cubicBezTo>
                        <a:pt x="9050" y="27858"/>
                        <a:pt x="1950" y="23374"/>
                        <a:pt x="331"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2" name="Graphic 2987">
                <a:extLst>
                  <a:ext uri="{FF2B5EF4-FFF2-40B4-BE49-F238E27FC236}">
                    <a16:creationId xmlns:a16="http://schemas.microsoft.com/office/drawing/2014/main" id="{4EE0A1C6-17A9-C11E-B030-ED3BAB9208F6}"/>
                  </a:ext>
                </a:extLst>
              </p:cNvPr>
              <p:cNvGrpSpPr/>
              <p:nvPr/>
            </p:nvGrpSpPr>
            <p:grpSpPr>
              <a:xfrm>
                <a:off x="5735176" y="5835271"/>
                <a:ext cx="52937" cy="146013"/>
                <a:chOff x="5735176" y="5835271"/>
                <a:chExt cx="52937" cy="146013"/>
              </a:xfrm>
              <a:grpFill/>
            </p:grpSpPr>
            <p:sp>
              <p:nvSpPr>
                <p:cNvPr id="5027" name="Freeform 4412">
                  <a:extLst>
                    <a:ext uri="{FF2B5EF4-FFF2-40B4-BE49-F238E27FC236}">
                      <a16:creationId xmlns:a16="http://schemas.microsoft.com/office/drawing/2014/main" id="{B1D9DFF7-6D46-63EB-2358-1E932B2FF229}"/>
                    </a:ext>
                  </a:extLst>
                </p:cNvPr>
                <p:cNvSpPr/>
                <p:nvPr/>
              </p:nvSpPr>
              <p:spPr>
                <a:xfrm>
                  <a:off x="5746189" y="585627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7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6"/>
                        <a:pt x="902" y="14573"/>
                        <a:pt x="2272" y="18684"/>
                      </a:cubicBezTo>
                      <a:cubicBezTo>
                        <a:pt x="4514" y="25285"/>
                        <a:pt x="7254" y="27776"/>
                        <a:pt x="9372" y="34627"/>
                      </a:cubicBezTo>
                      <a:cubicBezTo>
                        <a:pt x="11365" y="41229"/>
                        <a:pt x="11240" y="47083"/>
                        <a:pt x="1086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8" name="Freeform 4413">
                  <a:extLst>
                    <a:ext uri="{FF2B5EF4-FFF2-40B4-BE49-F238E27FC236}">
                      <a16:creationId xmlns:a16="http://schemas.microsoft.com/office/drawing/2014/main" id="{1B0404B3-0BCD-BD18-E012-418085AE3EB3}"/>
                    </a:ext>
                  </a:extLst>
                </p:cNvPr>
                <p:cNvSpPr/>
                <p:nvPr/>
              </p:nvSpPr>
              <p:spPr>
                <a:xfrm>
                  <a:off x="5752073" y="5849801"/>
                  <a:ext cx="12082" cy="50695"/>
                </a:xfrm>
                <a:custGeom>
                  <a:avLst/>
                  <a:gdLst>
                    <a:gd name="connsiteX0" fmla="*/ 12082 w 12082"/>
                    <a:gd name="connsiteY0" fmla="*/ 50695 h 50695"/>
                    <a:gd name="connsiteX1" fmla="*/ 6104 w 12082"/>
                    <a:gd name="connsiteY1" fmla="*/ 32883 h 50695"/>
                    <a:gd name="connsiteX2" fmla="*/ 5730 w 12082"/>
                    <a:gd name="connsiteY2" fmla="*/ 15445 h 50695"/>
                    <a:gd name="connsiteX3" fmla="*/ 0 w 12082"/>
                    <a:gd name="connsiteY3" fmla="*/ 0 h 50695"/>
                  </a:gdLst>
                  <a:ahLst/>
                  <a:cxnLst>
                    <a:cxn ang="0">
                      <a:pos x="connsiteX0" y="connsiteY0"/>
                    </a:cxn>
                    <a:cxn ang="0">
                      <a:pos x="connsiteX1" y="connsiteY1"/>
                    </a:cxn>
                    <a:cxn ang="0">
                      <a:pos x="connsiteX2" y="connsiteY2"/>
                    </a:cxn>
                    <a:cxn ang="0">
                      <a:pos x="connsiteX3" y="connsiteY3"/>
                    </a:cxn>
                  </a:cxnLst>
                  <a:rect l="l" t="t" r="r" b="b"/>
                  <a:pathLst>
                    <a:path w="12082" h="50695">
                      <a:moveTo>
                        <a:pt x="12082" y="50695"/>
                      </a:moveTo>
                      <a:cubicBezTo>
                        <a:pt x="7972" y="43346"/>
                        <a:pt x="6602" y="37243"/>
                        <a:pt x="6104"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9" name="Freeform 4414">
                  <a:extLst>
                    <a:ext uri="{FF2B5EF4-FFF2-40B4-BE49-F238E27FC236}">
                      <a16:creationId xmlns:a16="http://schemas.microsoft.com/office/drawing/2014/main" id="{88C2F553-2844-ADD5-17DF-A7F6A2190F16}"/>
                    </a:ext>
                  </a:extLst>
                </p:cNvPr>
                <p:cNvSpPr/>
                <p:nvPr/>
              </p:nvSpPr>
              <p:spPr>
                <a:xfrm>
                  <a:off x="5735176" y="5835271"/>
                  <a:ext cx="26562" cy="26569"/>
                </a:xfrm>
                <a:custGeom>
                  <a:avLst/>
                  <a:gdLst>
                    <a:gd name="connsiteX0" fmla="*/ 26238 w 26562"/>
                    <a:gd name="connsiteY0" fmla="*/ 10420 h 26569"/>
                    <a:gd name="connsiteX1" fmla="*/ 16149 w 26562"/>
                    <a:gd name="connsiteY1" fmla="*/ 26239 h 26569"/>
                    <a:gd name="connsiteX2" fmla="*/ 331 w 26562"/>
                    <a:gd name="connsiteY2" fmla="*/ 16149 h 26569"/>
                    <a:gd name="connsiteX3" fmla="*/ 10420 w 26562"/>
                    <a:gd name="connsiteY3" fmla="*/ 330 h 26569"/>
                    <a:gd name="connsiteX4" fmla="*/ 26238 w 26562"/>
                    <a:gd name="connsiteY4" fmla="*/ 1042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2" h="26569">
                      <a:moveTo>
                        <a:pt x="26238" y="10420"/>
                      </a:moveTo>
                      <a:cubicBezTo>
                        <a:pt x="27858" y="17519"/>
                        <a:pt x="23249" y="24619"/>
                        <a:pt x="16149" y="26239"/>
                      </a:cubicBezTo>
                      <a:cubicBezTo>
                        <a:pt x="8925" y="27858"/>
                        <a:pt x="1825" y="23374"/>
                        <a:pt x="331" y="16149"/>
                      </a:cubicBezTo>
                      <a:cubicBezTo>
                        <a:pt x="-1289" y="9050"/>
                        <a:pt x="3195" y="1950"/>
                        <a:pt x="10420" y="330"/>
                      </a:cubicBezTo>
                      <a:cubicBezTo>
                        <a:pt x="17520" y="-1289"/>
                        <a:pt x="24619" y="3195"/>
                        <a:pt x="26238"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0" name="Freeform 4415">
                  <a:extLst>
                    <a:ext uri="{FF2B5EF4-FFF2-40B4-BE49-F238E27FC236}">
                      <a16:creationId xmlns:a16="http://schemas.microsoft.com/office/drawing/2014/main" id="{C77CD5AC-CCA8-AE5B-5939-0470B5770574}"/>
                    </a:ext>
                  </a:extLst>
                </p:cNvPr>
                <p:cNvSpPr/>
                <p:nvPr/>
              </p:nvSpPr>
              <p:spPr>
                <a:xfrm>
                  <a:off x="5766176" y="5909215"/>
                  <a:ext cx="10963" cy="51068"/>
                </a:xfrm>
                <a:custGeom>
                  <a:avLst/>
                  <a:gdLst>
                    <a:gd name="connsiteX0" fmla="*/ 10809 w 10963"/>
                    <a:gd name="connsiteY0" fmla="*/ 51069 h 51068"/>
                    <a:gd name="connsiteX1" fmla="*/ 8691 w 10963"/>
                    <a:gd name="connsiteY1" fmla="*/ 32385 h 51068"/>
                    <a:gd name="connsiteX2" fmla="*/ 1716 w 10963"/>
                    <a:gd name="connsiteY2" fmla="*/ 16442 h 51068"/>
                    <a:gd name="connsiteX3" fmla="*/ 221 w 10963"/>
                    <a:gd name="connsiteY3" fmla="*/ 0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51069"/>
                      </a:moveTo>
                      <a:cubicBezTo>
                        <a:pt x="11432" y="42724"/>
                        <a:pt x="10061" y="36496"/>
                        <a:pt x="8691" y="32385"/>
                      </a:cubicBezTo>
                      <a:cubicBezTo>
                        <a:pt x="6449"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1" name="Freeform 4416">
                  <a:extLst>
                    <a:ext uri="{FF2B5EF4-FFF2-40B4-BE49-F238E27FC236}">
                      <a16:creationId xmlns:a16="http://schemas.microsoft.com/office/drawing/2014/main" id="{EEC5D2B7-B578-1FFF-F398-1ACCAE83E415}"/>
                    </a:ext>
                  </a:extLst>
                </p:cNvPr>
                <p:cNvSpPr/>
                <p:nvPr/>
              </p:nvSpPr>
              <p:spPr>
                <a:xfrm>
                  <a:off x="5759297" y="5916066"/>
                  <a:ext cx="11957" cy="50694"/>
                </a:xfrm>
                <a:custGeom>
                  <a:avLst/>
                  <a:gdLst>
                    <a:gd name="connsiteX0" fmla="*/ 0 w 11957"/>
                    <a:gd name="connsiteY0" fmla="*/ 0 h 50694"/>
                    <a:gd name="connsiteX1" fmla="*/ 5979 w 11957"/>
                    <a:gd name="connsiteY1" fmla="*/ 17812 h 50694"/>
                    <a:gd name="connsiteX2" fmla="*/ 6353 w 11957"/>
                    <a:gd name="connsiteY2" fmla="*/ 35250 h 50694"/>
                    <a:gd name="connsiteX3" fmla="*/ 11957 w 1195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1957" h="50694">
                      <a:moveTo>
                        <a:pt x="0" y="0"/>
                      </a:moveTo>
                      <a:cubicBezTo>
                        <a:pt x="4110" y="7349"/>
                        <a:pt x="5481" y="13452"/>
                        <a:pt x="5979" y="17812"/>
                      </a:cubicBezTo>
                      <a:cubicBezTo>
                        <a:pt x="6726" y="24787"/>
                        <a:pt x="5356" y="28150"/>
                        <a:pt x="6353" y="35250"/>
                      </a:cubicBezTo>
                      <a:cubicBezTo>
                        <a:pt x="7349" y="42101"/>
                        <a:pt x="9964" y="47332"/>
                        <a:pt x="1195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2" name="Freeform 4417">
                  <a:extLst>
                    <a:ext uri="{FF2B5EF4-FFF2-40B4-BE49-F238E27FC236}">
                      <a16:creationId xmlns:a16="http://schemas.microsoft.com/office/drawing/2014/main" id="{7E88D067-7DBF-C919-BF3F-8741486AB368}"/>
                    </a:ext>
                  </a:extLst>
                </p:cNvPr>
                <p:cNvSpPr/>
                <p:nvPr/>
              </p:nvSpPr>
              <p:spPr>
                <a:xfrm>
                  <a:off x="5761831" y="5954728"/>
                  <a:ext cx="26282" cy="26556"/>
                </a:xfrm>
                <a:custGeom>
                  <a:avLst/>
                  <a:gdLst>
                    <a:gd name="connsiteX0" fmla="*/ 331 w 26282"/>
                    <a:gd name="connsiteY0" fmla="*/ 16143 h 26556"/>
                    <a:gd name="connsiteX1" fmla="*/ 10296 w 26282"/>
                    <a:gd name="connsiteY1" fmla="*/ 325 h 26556"/>
                    <a:gd name="connsiteX2" fmla="*/ 25990 w 26282"/>
                    <a:gd name="connsiteY2" fmla="*/ 10414 h 26556"/>
                    <a:gd name="connsiteX3" fmla="*/ 16025 w 26282"/>
                    <a:gd name="connsiteY3" fmla="*/ 26232 h 26556"/>
                    <a:gd name="connsiteX4" fmla="*/ 331 w 26282"/>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56">
                      <a:moveTo>
                        <a:pt x="331" y="16143"/>
                      </a:moveTo>
                      <a:cubicBezTo>
                        <a:pt x="-1288" y="9043"/>
                        <a:pt x="3196" y="1943"/>
                        <a:pt x="10296" y="325"/>
                      </a:cubicBezTo>
                      <a:cubicBezTo>
                        <a:pt x="17395" y="-1295"/>
                        <a:pt x="24495" y="3314"/>
                        <a:pt x="25990" y="10414"/>
                      </a:cubicBezTo>
                      <a:cubicBezTo>
                        <a:pt x="27485" y="17513"/>
                        <a:pt x="23125" y="24613"/>
                        <a:pt x="16025"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3" name="Graphic 2987">
                <a:extLst>
                  <a:ext uri="{FF2B5EF4-FFF2-40B4-BE49-F238E27FC236}">
                    <a16:creationId xmlns:a16="http://schemas.microsoft.com/office/drawing/2014/main" id="{0B6F3441-004F-B0E2-E62B-EB427D939D13}"/>
                  </a:ext>
                </a:extLst>
              </p:cNvPr>
              <p:cNvGrpSpPr/>
              <p:nvPr/>
            </p:nvGrpSpPr>
            <p:grpSpPr>
              <a:xfrm>
                <a:off x="5764204" y="5828794"/>
                <a:ext cx="52720" cy="146100"/>
                <a:chOff x="5764204" y="5828794"/>
                <a:chExt cx="52720" cy="146100"/>
              </a:xfrm>
              <a:grpFill/>
            </p:grpSpPr>
            <p:sp>
              <p:nvSpPr>
                <p:cNvPr id="5021" name="Freeform 4419">
                  <a:extLst>
                    <a:ext uri="{FF2B5EF4-FFF2-40B4-BE49-F238E27FC236}">
                      <a16:creationId xmlns:a16="http://schemas.microsoft.com/office/drawing/2014/main" id="{C9221C25-48AA-4CAC-4988-D22BACB197CD}"/>
                    </a:ext>
                  </a:extLst>
                </p:cNvPr>
                <p:cNvSpPr/>
                <p:nvPr/>
              </p:nvSpPr>
              <p:spPr>
                <a:xfrm>
                  <a:off x="5775166" y="5849801"/>
                  <a:ext cx="10973" cy="51068"/>
                </a:xfrm>
                <a:custGeom>
                  <a:avLst/>
                  <a:gdLst>
                    <a:gd name="connsiteX0" fmla="*/ 200 w 10973"/>
                    <a:gd name="connsiteY0" fmla="*/ 0 h 51068"/>
                    <a:gd name="connsiteX1" fmla="*/ 2317 w 10973"/>
                    <a:gd name="connsiteY1" fmla="*/ 18684 h 51068"/>
                    <a:gd name="connsiteX2" fmla="*/ 9292 w 10973"/>
                    <a:gd name="connsiteY2" fmla="*/ 34627 h 51068"/>
                    <a:gd name="connsiteX3" fmla="*/ 10662 w 1097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73" h="51068">
                      <a:moveTo>
                        <a:pt x="200" y="0"/>
                      </a:moveTo>
                      <a:cubicBezTo>
                        <a:pt x="-548" y="8345"/>
                        <a:pt x="947" y="14573"/>
                        <a:pt x="2317" y="18684"/>
                      </a:cubicBezTo>
                      <a:cubicBezTo>
                        <a:pt x="4559" y="25285"/>
                        <a:pt x="7299" y="27776"/>
                        <a:pt x="9292" y="34627"/>
                      </a:cubicBezTo>
                      <a:cubicBezTo>
                        <a:pt x="11285" y="41229"/>
                        <a:pt x="11160" y="47207"/>
                        <a:pt x="1066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2" name="Freeform 4420">
                  <a:extLst>
                    <a:ext uri="{FF2B5EF4-FFF2-40B4-BE49-F238E27FC236}">
                      <a16:creationId xmlns:a16="http://schemas.microsoft.com/office/drawing/2014/main" id="{F238961F-246A-43AA-9C8C-304ED2EBB73D}"/>
                    </a:ext>
                  </a:extLst>
                </p:cNvPr>
                <p:cNvSpPr/>
                <p:nvPr/>
              </p:nvSpPr>
              <p:spPr>
                <a:xfrm>
                  <a:off x="5781095" y="5843324"/>
                  <a:ext cx="11957" cy="50819"/>
                </a:xfrm>
                <a:custGeom>
                  <a:avLst/>
                  <a:gdLst>
                    <a:gd name="connsiteX0" fmla="*/ 11957 w 11957"/>
                    <a:gd name="connsiteY0" fmla="*/ 50819 h 50819"/>
                    <a:gd name="connsiteX1" fmla="*/ 5979 w 11957"/>
                    <a:gd name="connsiteY1" fmla="*/ 33008 h 50819"/>
                    <a:gd name="connsiteX2" fmla="*/ 5605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19"/>
                      </a:moveTo>
                      <a:cubicBezTo>
                        <a:pt x="7847" y="43471"/>
                        <a:pt x="6477" y="37367"/>
                        <a:pt x="5979" y="33008"/>
                      </a:cubicBezTo>
                      <a:cubicBezTo>
                        <a:pt x="5231" y="26033"/>
                        <a:pt x="6726" y="22669"/>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3" name="Freeform 4421">
                  <a:extLst>
                    <a:ext uri="{FF2B5EF4-FFF2-40B4-BE49-F238E27FC236}">
                      <a16:creationId xmlns:a16="http://schemas.microsoft.com/office/drawing/2014/main" id="{37D09022-6907-DCB0-4C26-2C6282843D3F}"/>
                    </a:ext>
                  </a:extLst>
                </p:cNvPr>
                <p:cNvSpPr/>
                <p:nvPr/>
              </p:nvSpPr>
              <p:spPr>
                <a:xfrm>
                  <a:off x="5764204" y="5828794"/>
                  <a:ext cx="26557" cy="26568"/>
                </a:xfrm>
                <a:custGeom>
                  <a:avLst/>
                  <a:gdLst>
                    <a:gd name="connsiteX0" fmla="*/ 26233 w 26557"/>
                    <a:gd name="connsiteY0" fmla="*/ 10420 h 26568"/>
                    <a:gd name="connsiteX1" fmla="*/ 16143 w 26557"/>
                    <a:gd name="connsiteY1" fmla="*/ 26238 h 26568"/>
                    <a:gd name="connsiteX2" fmla="*/ 324 w 26557"/>
                    <a:gd name="connsiteY2" fmla="*/ 16149 h 26568"/>
                    <a:gd name="connsiteX3" fmla="*/ 10414 w 26557"/>
                    <a:gd name="connsiteY3" fmla="*/ 331 h 26568"/>
                    <a:gd name="connsiteX4" fmla="*/ 26233 w 26557"/>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567">
                      <a:moveTo>
                        <a:pt x="26233" y="10420"/>
                      </a:moveTo>
                      <a:cubicBezTo>
                        <a:pt x="27852" y="17520"/>
                        <a:pt x="23243" y="24619"/>
                        <a:pt x="16143" y="26238"/>
                      </a:cubicBezTo>
                      <a:cubicBezTo>
                        <a:pt x="8919" y="27858"/>
                        <a:pt x="1944" y="23374"/>
                        <a:pt x="324" y="16149"/>
                      </a:cubicBezTo>
                      <a:cubicBezTo>
                        <a:pt x="-1295" y="9050"/>
                        <a:pt x="3314" y="1950"/>
                        <a:pt x="10414" y="331"/>
                      </a:cubicBezTo>
                      <a:cubicBezTo>
                        <a:pt x="17638" y="-1289"/>
                        <a:pt x="24738" y="3195"/>
                        <a:pt x="2623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4" name="Freeform 4422">
                  <a:extLst>
                    <a:ext uri="{FF2B5EF4-FFF2-40B4-BE49-F238E27FC236}">
                      <a16:creationId xmlns:a16="http://schemas.microsoft.com/office/drawing/2014/main" id="{826BA91B-F930-F678-8A5F-C25385A490E1}"/>
                    </a:ext>
                  </a:extLst>
                </p:cNvPr>
                <p:cNvSpPr/>
                <p:nvPr/>
              </p:nvSpPr>
              <p:spPr>
                <a:xfrm>
                  <a:off x="5794983" y="5902862"/>
                  <a:ext cx="10928" cy="51068"/>
                </a:xfrm>
                <a:custGeom>
                  <a:avLst/>
                  <a:gdLst>
                    <a:gd name="connsiteX0" fmla="*/ 10774 w 10928"/>
                    <a:gd name="connsiteY0" fmla="*/ 51068 h 51068"/>
                    <a:gd name="connsiteX1" fmla="*/ 8657 w 10928"/>
                    <a:gd name="connsiteY1" fmla="*/ 32385 h 51068"/>
                    <a:gd name="connsiteX2" fmla="*/ 1682 w 10928"/>
                    <a:gd name="connsiteY2" fmla="*/ 16441 h 51068"/>
                    <a:gd name="connsiteX3" fmla="*/ 311 w 10928"/>
                    <a:gd name="connsiteY3" fmla="*/ 0 h 51068"/>
                  </a:gdLst>
                  <a:ahLst/>
                  <a:cxnLst>
                    <a:cxn ang="0">
                      <a:pos x="connsiteX0" y="connsiteY0"/>
                    </a:cxn>
                    <a:cxn ang="0">
                      <a:pos x="connsiteX1" y="connsiteY1"/>
                    </a:cxn>
                    <a:cxn ang="0">
                      <a:pos x="connsiteX2" y="connsiteY2"/>
                    </a:cxn>
                    <a:cxn ang="0">
                      <a:pos x="connsiteX3" y="connsiteY3"/>
                    </a:cxn>
                  </a:cxnLst>
                  <a:rect l="l" t="t" r="r" b="b"/>
                  <a:pathLst>
                    <a:path w="10928" h="51068">
                      <a:moveTo>
                        <a:pt x="10774" y="51068"/>
                      </a:moveTo>
                      <a:cubicBezTo>
                        <a:pt x="11397" y="42723"/>
                        <a:pt x="10027" y="36495"/>
                        <a:pt x="8657" y="32385"/>
                      </a:cubicBezTo>
                      <a:cubicBezTo>
                        <a:pt x="6415" y="25783"/>
                        <a:pt x="3675" y="23292"/>
                        <a:pt x="1682" y="16441"/>
                      </a:cubicBezTo>
                      <a:cubicBezTo>
                        <a:pt x="-311" y="9840"/>
                        <a:pt x="-187" y="3861"/>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5" name="Freeform 4423">
                  <a:extLst>
                    <a:ext uri="{FF2B5EF4-FFF2-40B4-BE49-F238E27FC236}">
                      <a16:creationId xmlns:a16="http://schemas.microsoft.com/office/drawing/2014/main" id="{AB1E7300-C687-7BA9-4F88-7554081B446B}"/>
                    </a:ext>
                  </a:extLst>
                </p:cNvPr>
                <p:cNvSpPr/>
                <p:nvPr/>
              </p:nvSpPr>
              <p:spPr>
                <a:xfrm>
                  <a:off x="5788195" y="5909588"/>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452"/>
                        <a:pt x="5979" y="17812"/>
                      </a:cubicBezTo>
                      <a:cubicBezTo>
                        <a:pt x="6726" y="24787"/>
                        <a:pt x="5356" y="28150"/>
                        <a:pt x="6352" y="35250"/>
                      </a:cubicBezTo>
                      <a:cubicBezTo>
                        <a:pt x="7349"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6" name="Freeform 4424">
                  <a:extLst>
                    <a:ext uri="{FF2B5EF4-FFF2-40B4-BE49-F238E27FC236}">
                      <a16:creationId xmlns:a16="http://schemas.microsoft.com/office/drawing/2014/main" id="{311526D8-8EFA-7BA4-D5DF-A64A294A0F4C}"/>
                    </a:ext>
                  </a:extLst>
                </p:cNvPr>
                <p:cNvSpPr/>
                <p:nvPr/>
              </p:nvSpPr>
              <p:spPr>
                <a:xfrm>
                  <a:off x="5790604" y="5948375"/>
                  <a:ext cx="26320" cy="26519"/>
                </a:xfrm>
                <a:custGeom>
                  <a:avLst/>
                  <a:gdLst>
                    <a:gd name="connsiteX0" fmla="*/ 331 w 26320"/>
                    <a:gd name="connsiteY0" fmla="*/ 16143 h 26519"/>
                    <a:gd name="connsiteX1" fmla="*/ 10295 w 26320"/>
                    <a:gd name="connsiteY1" fmla="*/ 325 h 26519"/>
                    <a:gd name="connsiteX2" fmla="*/ 25990 w 26320"/>
                    <a:gd name="connsiteY2" fmla="*/ 10414 h 26519"/>
                    <a:gd name="connsiteX3" fmla="*/ 16025 w 26320"/>
                    <a:gd name="connsiteY3" fmla="*/ 26232 h 26519"/>
                    <a:gd name="connsiteX4" fmla="*/ 331 w 26320"/>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519">
                      <a:moveTo>
                        <a:pt x="331" y="16143"/>
                      </a:moveTo>
                      <a:cubicBezTo>
                        <a:pt x="-1288" y="9043"/>
                        <a:pt x="3195" y="1944"/>
                        <a:pt x="10295" y="325"/>
                      </a:cubicBezTo>
                      <a:cubicBezTo>
                        <a:pt x="17395" y="-1295"/>
                        <a:pt x="24495" y="3314"/>
                        <a:pt x="25990" y="10414"/>
                      </a:cubicBezTo>
                      <a:cubicBezTo>
                        <a:pt x="27609" y="17514"/>
                        <a:pt x="23125" y="24613"/>
                        <a:pt x="16025" y="26232"/>
                      </a:cubicBezTo>
                      <a:cubicBezTo>
                        <a:pt x="8925" y="27727"/>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4" name="Graphic 2987">
                <a:extLst>
                  <a:ext uri="{FF2B5EF4-FFF2-40B4-BE49-F238E27FC236}">
                    <a16:creationId xmlns:a16="http://schemas.microsoft.com/office/drawing/2014/main" id="{0972504E-B827-311C-13FA-9CAEC689D401}"/>
                  </a:ext>
                </a:extLst>
              </p:cNvPr>
              <p:cNvGrpSpPr/>
              <p:nvPr/>
            </p:nvGrpSpPr>
            <p:grpSpPr>
              <a:xfrm>
                <a:off x="5793102" y="5822317"/>
                <a:ext cx="52713" cy="146144"/>
                <a:chOff x="5793102" y="5822317"/>
                <a:chExt cx="52713" cy="146144"/>
              </a:xfrm>
              <a:grpFill/>
            </p:grpSpPr>
            <p:sp>
              <p:nvSpPr>
                <p:cNvPr id="5015" name="Freeform 4426">
                  <a:extLst>
                    <a:ext uri="{FF2B5EF4-FFF2-40B4-BE49-F238E27FC236}">
                      <a16:creationId xmlns:a16="http://schemas.microsoft.com/office/drawing/2014/main" id="{33F97C68-2A5C-AF3D-EE75-3C1661028A78}"/>
                    </a:ext>
                  </a:extLst>
                </p:cNvPr>
                <p:cNvSpPr/>
                <p:nvPr/>
              </p:nvSpPr>
              <p:spPr>
                <a:xfrm>
                  <a:off x="5804176" y="5843324"/>
                  <a:ext cx="10805" cy="51068"/>
                </a:xfrm>
                <a:custGeom>
                  <a:avLst/>
                  <a:gdLst>
                    <a:gd name="connsiteX0" fmla="*/ 211 w 10805"/>
                    <a:gd name="connsiteY0" fmla="*/ 0 h 51068"/>
                    <a:gd name="connsiteX1" fmla="*/ 2204 w 10805"/>
                    <a:gd name="connsiteY1" fmla="*/ 18684 h 51068"/>
                    <a:gd name="connsiteX2" fmla="*/ 9180 w 10805"/>
                    <a:gd name="connsiteY2" fmla="*/ 34627 h 51068"/>
                    <a:gd name="connsiteX3" fmla="*/ 10549 w 10805"/>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805" h="51068">
                      <a:moveTo>
                        <a:pt x="211" y="0"/>
                      </a:moveTo>
                      <a:cubicBezTo>
                        <a:pt x="-536" y="8345"/>
                        <a:pt x="834" y="14573"/>
                        <a:pt x="2204" y="18684"/>
                      </a:cubicBezTo>
                      <a:cubicBezTo>
                        <a:pt x="4446" y="25285"/>
                        <a:pt x="7187" y="27776"/>
                        <a:pt x="9180" y="34627"/>
                      </a:cubicBezTo>
                      <a:cubicBezTo>
                        <a:pt x="11172" y="41229"/>
                        <a:pt x="10923" y="47207"/>
                        <a:pt x="10549"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6" name="Freeform 4427">
                  <a:extLst>
                    <a:ext uri="{FF2B5EF4-FFF2-40B4-BE49-F238E27FC236}">
                      <a16:creationId xmlns:a16="http://schemas.microsoft.com/office/drawing/2014/main" id="{BE791106-533F-0631-56D2-A4009CA20A9B}"/>
                    </a:ext>
                  </a:extLst>
                </p:cNvPr>
                <p:cNvSpPr/>
                <p:nvPr/>
              </p:nvSpPr>
              <p:spPr>
                <a:xfrm>
                  <a:off x="5810366" y="5836847"/>
                  <a:ext cx="11708" cy="50819"/>
                </a:xfrm>
                <a:custGeom>
                  <a:avLst/>
                  <a:gdLst>
                    <a:gd name="connsiteX0" fmla="*/ 11708 w 11708"/>
                    <a:gd name="connsiteY0" fmla="*/ 50820 h 50819"/>
                    <a:gd name="connsiteX1" fmla="*/ 5854 w 11708"/>
                    <a:gd name="connsiteY1" fmla="*/ 33008 h 50819"/>
                    <a:gd name="connsiteX2" fmla="*/ 5605 w 11708"/>
                    <a:gd name="connsiteY2" fmla="*/ 15570 h 50819"/>
                    <a:gd name="connsiteX3" fmla="*/ 0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50820"/>
                      </a:moveTo>
                      <a:cubicBezTo>
                        <a:pt x="7598" y="43471"/>
                        <a:pt x="6228" y="37243"/>
                        <a:pt x="5854" y="33008"/>
                      </a:cubicBezTo>
                      <a:cubicBezTo>
                        <a:pt x="5107" y="26033"/>
                        <a:pt x="6602" y="22545"/>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7" name="Freeform 4428">
                  <a:extLst>
                    <a:ext uri="{FF2B5EF4-FFF2-40B4-BE49-F238E27FC236}">
                      <a16:creationId xmlns:a16="http://schemas.microsoft.com/office/drawing/2014/main" id="{4B9775EC-BCE5-1643-7DBA-F108B18DAA0F}"/>
                    </a:ext>
                  </a:extLst>
                </p:cNvPr>
                <p:cNvSpPr/>
                <p:nvPr/>
              </p:nvSpPr>
              <p:spPr>
                <a:xfrm>
                  <a:off x="5793102" y="5822317"/>
                  <a:ext cx="26643" cy="26568"/>
                </a:xfrm>
                <a:custGeom>
                  <a:avLst/>
                  <a:gdLst>
                    <a:gd name="connsiteX0" fmla="*/ 26357 w 26643"/>
                    <a:gd name="connsiteY0" fmla="*/ 10420 h 26568"/>
                    <a:gd name="connsiteX1" fmla="*/ 16143 w 26643"/>
                    <a:gd name="connsiteY1" fmla="*/ 26238 h 26568"/>
                    <a:gd name="connsiteX2" fmla="*/ 324 w 26643"/>
                    <a:gd name="connsiteY2" fmla="*/ 16149 h 26568"/>
                    <a:gd name="connsiteX3" fmla="*/ 10538 w 26643"/>
                    <a:gd name="connsiteY3" fmla="*/ 331 h 26568"/>
                    <a:gd name="connsiteX4" fmla="*/ 26357 w 2664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2" h="26567">
                      <a:moveTo>
                        <a:pt x="26357" y="10420"/>
                      </a:moveTo>
                      <a:cubicBezTo>
                        <a:pt x="27851" y="17520"/>
                        <a:pt x="23367" y="24619"/>
                        <a:pt x="16143" y="26238"/>
                      </a:cubicBezTo>
                      <a:cubicBezTo>
                        <a:pt x="8919" y="27858"/>
                        <a:pt x="1944" y="23373"/>
                        <a:pt x="324" y="16149"/>
                      </a:cubicBezTo>
                      <a:cubicBezTo>
                        <a:pt x="-1295" y="9049"/>
                        <a:pt x="3313" y="1950"/>
                        <a:pt x="10538" y="331"/>
                      </a:cubicBezTo>
                      <a:cubicBezTo>
                        <a:pt x="17762" y="-1289"/>
                        <a:pt x="24862" y="3195"/>
                        <a:pt x="26357"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8" name="Freeform 4429">
                  <a:extLst>
                    <a:ext uri="{FF2B5EF4-FFF2-40B4-BE49-F238E27FC236}">
                      <a16:creationId xmlns:a16="http://schemas.microsoft.com/office/drawing/2014/main" id="{1F74822C-4606-6A17-CBD0-6D242CDF642B}"/>
                    </a:ext>
                  </a:extLst>
                </p:cNvPr>
                <p:cNvSpPr/>
                <p:nvPr/>
              </p:nvSpPr>
              <p:spPr>
                <a:xfrm>
                  <a:off x="5823936" y="5896510"/>
                  <a:ext cx="10806" cy="51068"/>
                </a:xfrm>
                <a:custGeom>
                  <a:avLst/>
                  <a:gdLst>
                    <a:gd name="connsiteX0" fmla="*/ 10595 w 10806"/>
                    <a:gd name="connsiteY0" fmla="*/ 51069 h 51068"/>
                    <a:gd name="connsiteX1" fmla="*/ 8602 w 10806"/>
                    <a:gd name="connsiteY1" fmla="*/ 32385 h 51068"/>
                    <a:gd name="connsiteX2" fmla="*/ 1627 w 10806"/>
                    <a:gd name="connsiteY2" fmla="*/ 16442 h 51068"/>
                    <a:gd name="connsiteX3" fmla="*/ 256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10595" y="51069"/>
                      </a:moveTo>
                      <a:cubicBezTo>
                        <a:pt x="11342" y="42723"/>
                        <a:pt x="9972" y="36495"/>
                        <a:pt x="8602" y="32385"/>
                      </a:cubicBezTo>
                      <a:cubicBezTo>
                        <a:pt x="6360" y="25784"/>
                        <a:pt x="3619" y="23292"/>
                        <a:pt x="1627" y="16442"/>
                      </a:cubicBezTo>
                      <a:cubicBezTo>
                        <a:pt x="-366" y="9840"/>
                        <a:pt x="-117" y="3861"/>
                        <a:pt x="2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9" name="Freeform 4430">
                  <a:extLst>
                    <a:ext uri="{FF2B5EF4-FFF2-40B4-BE49-F238E27FC236}">
                      <a16:creationId xmlns:a16="http://schemas.microsoft.com/office/drawing/2014/main" id="{5189343B-8B63-ED32-570E-417392C18416}"/>
                    </a:ext>
                  </a:extLst>
                </p:cNvPr>
                <p:cNvSpPr/>
                <p:nvPr/>
              </p:nvSpPr>
              <p:spPr>
                <a:xfrm>
                  <a:off x="5816968" y="5903111"/>
                  <a:ext cx="11832" cy="50819"/>
                </a:xfrm>
                <a:custGeom>
                  <a:avLst/>
                  <a:gdLst>
                    <a:gd name="connsiteX0" fmla="*/ 0 w 11832"/>
                    <a:gd name="connsiteY0" fmla="*/ 0 h 50819"/>
                    <a:gd name="connsiteX1" fmla="*/ 5854 w 11832"/>
                    <a:gd name="connsiteY1" fmla="*/ 17812 h 50819"/>
                    <a:gd name="connsiteX2" fmla="*/ 6228 w 11832"/>
                    <a:gd name="connsiteY2" fmla="*/ 35250 h 50819"/>
                    <a:gd name="connsiteX3" fmla="*/ 11833 w 11832"/>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832" h="50818">
                      <a:moveTo>
                        <a:pt x="0" y="0"/>
                      </a:moveTo>
                      <a:cubicBezTo>
                        <a:pt x="4110" y="7349"/>
                        <a:pt x="5481" y="13577"/>
                        <a:pt x="5854" y="17812"/>
                      </a:cubicBezTo>
                      <a:cubicBezTo>
                        <a:pt x="6602" y="24787"/>
                        <a:pt x="5107" y="28274"/>
                        <a:pt x="6228" y="35250"/>
                      </a:cubicBezTo>
                      <a:cubicBezTo>
                        <a:pt x="7224" y="42101"/>
                        <a:pt x="9840" y="47332"/>
                        <a:pt x="11833"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0" name="Freeform 4431">
                  <a:extLst>
                    <a:ext uri="{FF2B5EF4-FFF2-40B4-BE49-F238E27FC236}">
                      <a16:creationId xmlns:a16="http://schemas.microsoft.com/office/drawing/2014/main" id="{E442E4CD-0EAD-669C-F58D-CD9A654AADF1}"/>
                    </a:ext>
                  </a:extLst>
                </p:cNvPr>
                <p:cNvSpPr/>
                <p:nvPr/>
              </p:nvSpPr>
              <p:spPr>
                <a:xfrm>
                  <a:off x="5819377" y="5941898"/>
                  <a:ext cx="26438" cy="26563"/>
                </a:xfrm>
                <a:custGeom>
                  <a:avLst/>
                  <a:gdLst>
                    <a:gd name="connsiteX0" fmla="*/ 331 w 26438"/>
                    <a:gd name="connsiteY0" fmla="*/ 16143 h 26563"/>
                    <a:gd name="connsiteX1" fmla="*/ 10420 w 26438"/>
                    <a:gd name="connsiteY1" fmla="*/ 324 h 26563"/>
                    <a:gd name="connsiteX2" fmla="*/ 26114 w 26438"/>
                    <a:gd name="connsiteY2" fmla="*/ 10414 h 26563"/>
                    <a:gd name="connsiteX3" fmla="*/ 16025 w 26438"/>
                    <a:gd name="connsiteY3" fmla="*/ 26233 h 26563"/>
                    <a:gd name="connsiteX4" fmla="*/ 331 w 26438"/>
                    <a:gd name="connsiteY4" fmla="*/ 16143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563">
                      <a:moveTo>
                        <a:pt x="331" y="16143"/>
                      </a:moveTo>
                      <a:cubicBezTo>
                        <a:pt x="-1289" y="9044"/>
                        <a:pt x="3195" y="1944"/>
                        <a:pt x="10420" y="324"/>
                      </a:cubicBezTo>
                      <a:cubicBezTo>
                        <a:pt x="17519" y="-1295"/>
                        <a:pt x="24495" y="3314"/>
                        <a:pt x="26114" y="10414"/>
                      </a:cubicBezTo>
                      <a:cubicBezTo>
                        <a:pt x="27733" y="17513"/>
                        <a:pt x="23124" y="24613"/>
                        <a:pt x="16025" y="26233"/>
                      </a:cubicBezTo>
                      <a:cubicBezTo>
                        <a:pt x="8800" y="27852"/>
                        <a:pt x="1825" y="23368"/>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5" name="Graphic 2987">
                <a:extLst>
                  <a:ext uri="{FF2B5EF4-FFF2-40B4-BE49-F238E27FC236}">
                    <a16:creationId xmlns:a16="http://schemas.microsoft.com/office/drawing/2014/main" id="{C24827C3-11A0-AE5F-3B43-58B1B6A8D23B}"/>
                  </a:ext>
                </a:extLst>
              </p:cNvPr>
              <p:cNvGrpSpPr/>
              <p:nvPr/>
            </p:nvGrpSpPr>
            <p:grpSpPr>
              <a:xfrm>
                <a:off x="5822286" y="5816013"/>
                <a:ext cx="52141" cy="146171"/>
                <a:chOff x="5822286" y="5816013"/>
                <a:chExt cx="52141" cy="146171"/>
              </a:xfrm>
              <a:grpFill/>
            </p:grpSpPr>
            <p:sp>
              <p:nvSpPr>
                <p:cNvPr id="5009" name="Freeform 4433">
                  <a:extLst>
                    <a:ext uri="{FF2B5EF4-FFF2-40B4-BE49-F238E27FC236}">
                      <a16:creationId xmlns:a16="http://schemas.microsoft.com/office/drawing/2014/main" id="{C7A04B96-1EB5-DD36-0704-9E2860DBA6C7}"/>
                    </a:ext>
                  </a:extLst>
                </p:cNvPr>
                <p:cNvSpPr/>
                <p:nvPr/>
              </p:nvSpPr>
              <p:spPr>
                <a:xfrm>
                  <a:off x="5833322" y="5836971"/>
                  <a:ext cx="10775" cy="51068"/>
                </a:xfrm>
                <a:custGeom>
                  <a:avLst/>
                  <a:gdLst>
                    <a:gd name="connsiteX0" fmla="*/ 211 w 10775"/>
                    <a:gd name="connsiteY0" fmla="*/ 0 h 51068"/>
                    <a:gd name="connsiteX1" fmla="*/ 2204 w 10775"/>
                    <a:gd name="connsiteY1" fmla="*/ 18684 h 51068"/>
                    <a:gd name="connsiteX2" fmla="*/ 9179 w 10775"/>
                    <a:gd name="connsiteY2" fmla="*/ 34627 h 51068"/>
                    <a:gd name="connsiteX3" fmla="*/ 10550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211" y="0"/>
                      </a:moveTo>
                      <a:cubicBezTo>
                        <a:pt x="-536" y="8345"/>
                        <a:pt x="834" y="14573"/>
                        <a:pt x="2204" y="18684"/>
                      </a:cubicBezTo>
                      <a:cubicBezTo>
                        <a:pt x="4446" y="25285"/>
                        <a:pt x="7187" y="27901"/>
                        <a:pt x="9179" y="34627"/>
                      </a:cubicBezTo>
                      <a:cubicBezTo>
                        <a:pt x="11048"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0" name="Freeform 4434">
                  <a:extLst>
                    <a:ext uri="{FF2B5EF4-FFF2-40B4-BE49-F238E27FC236}">
                      <a16:creationId xmlns:a16="http://schemas.microsoft.com/office/drawing/2014/main" id="{6124F136-5442-C637-1A85-E54EDEB7E4A6}"/>
                    </a:ext>
                  </a:extLst>
                </p:cNvPr>
                <p:cNvSpPr/>
                <p:nvPr/>
              </p:nvSpPr>
              <p:spPr>
                <a:xfrm>
                  <a:off x="5839263" y="5830494"/>
                  <a:ext cx="11708" cy="50944"/>
                </a:xfrm>
                <a:custGeom>
                  <a:avLst/>
                  <a:gdLst>
                    <a:gd name="connsiteX0" fmla="*/ 11708 w 11708"/>
                    <a:gd name="connsiteY0" fmla="*/ 50944 h 50944"/>
                    <a:gd name="connsiteX1" fmla="*/ 5854 w 11708"/>
                    <a:gd name="connsiteY1" fmla="*/ 33008 h 50944"/>
                    <a:gd name="connsiteX2" fmla="*/ 5605 w 11708"/>
                    <a:gd name="connsiteY2" fmla="*/ 15570 h 50944"/>
                    <a:gd name="connsiteX3" fmla="*/ 0 w 11708"/>
                    <a:gd name="connsiteY3" fmla="*/ 0 h 50944"/>
                  </a:gdLst>
                  <a:ahLst/>
                  <a:cxnLst>
                    <a:cxn ang="0">
                      <a:pos x="connsiteX0" y="connsiteY0"/>
                    </a:cxn>
                    <a:cxn ang="0">
                      <a:pos x="connsiteX1" y="connsiteY1"/>
                    </a:cxn>
                    <a:cxn ang="0">
                      <a:pos x="connsiteX2" y="connsiteY2"/>
                    </a:cxn>
                    <a:cxn ang="0">
                      <a:pos x="connsiteX3" y="connsiteY3"/>
                    </a:cxn>
                  </a:cxnLst>
                  <a:rect l="l" t="t" r="r" b="b"/>
                  <a:pathLst>
                    <a:path w="11708" h="50944">
                      <a:moveTo>
                        <a:pt x="11708" y="50944"/>
                      </a:moveTo>
                      <a:cubicBezTo>
                        <a:pt x="7598" y="43595"/>
                        <a:pt x="6228" y="37367"/>
                        <a:pt x="5854" y="33008"/>
                      </a:cubicBezTo>
                      <a:cubicBezTo>
                        <a:pt x="5107" y="26033"/>
                        <a:pt x="6602" y="22669"/>
                        <a:pt x="5605" y="15570"/>
                      </a:cubicBezTo>
                      <a:cubicBezTo>
                        <a:pt x="4609" y="8719"/>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1" name="Freeform 4435">
                  <a:extLst>
                    <a:ext uri="{FF2B5EF4-FFF2-40B4-BE49-F238E27FC236}">
                      <a16:creationId xmlns:a16="http://schemas.microsoft.com/office/drawing/2014/main" id="{709AB192-EF4F-6572-9A4A-49FA7909FFA0}"/>
                    </a:ext>
                  </a:extLst>
                </p:cNvPr>
                <p:cNvSpPr/>
                <p:nvPr/>
              </p:nvSpPr>
              <p:spPr>
                <a:xfrm>
                  <a:off x="5822286" y="5816013"/>
                  <a:ext cx="26601" cy="26471"/>
                </a:xfrm>
                <a:custGeom>
                  <a:avLst/>
                  <a:gdLst>
                    <a:gd name="connsiteX0" fmla="*/ 26319 w 26601"/>
                    <a:gd name="connsiteY0" fmla="*/ 10495 h 26471"/>
                    <a:gd name="connsiteX1" fmla="*/ 16106 w 26601"/>
                    <a:gd name="connsiteY1" fmla="*/ 26189 h 26471"/>
                    <a:gd name="connsiteX2" fmla="*/ 287 w 26601"/>
                    <a:gd name="connsiteY2" fmla="*/ 15976 h 26471"/>
                    <a:gd name="connsiteX3" fmla="*/ 10501 w 26601"/>
                    <a:gd name="connsiteY3" fmla="*/ 282 h 26471"/>
                    <a:gd name="connsiteX4" fmla="*/ 26319 w 26601"/>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470">
                      <a:moveTo>
                        <a:pt x="26319" y="10495"/>
                      </a:moveTo>
                      <a:cubicBezTo>
                        <a:pt x="27814" y="17595"/>
                        <a:pt x="23205" y="24695"/>
                        <a:pt x="16106" y="26189"/>
                      </a:cubicBezTo>
                      <a:cubicBezTo>
                        <a:pt x="8881" y="27684"/>
                        <a:pt x="1906" y="23075"/>
                        <a:pt x="287" y="15976"/>
                      </a:cubicBezTo>
                      <a:cubicBezTo>
                        <a:pt x="-1208" y="8751"/>
                        <a:pt x="3277" y="1776"/>
                        <a:pt x="10501" y="282"/>
                      </a:cubicBezTo>
                      <a:cubicBezTo>
                        <a:pt x="17725" y="-1213"/>
                        <a:pt x="24825" y="3395"/>
                        <a:pt x="2631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2" name="Freeform 4436">
                  <a:extLst>
                    <a:ext uri="{FF2B5EF4-FFF2-40B4-BE49-F238E27FC236}">
                      <a16:creationId xmlns:a16="http://schemas.microsoft.com/office/drawing/2014/main" id="{EB83AFDC-2152-A245-7963-492E9FC06734}"/>
                    </a:ext>
                  </a:extLst>
                </p:cNvPr>
                <p:cNvSpPr/>
                <p:nvPr/>
              </p:nvSpPr>
              <p:spPr>
                <a:xfrm>
                  <a:off x="5852863" y="5890157"/>
                  <a:ext cx="10651" cy="51193"/>
                </a:xfrm>
                <a:custGeom>
                  <a:avLst/>
                  <a:gdLst>
                    <a:gd name="connsiteX0" fmla="*/ 10440 w 10651"/>
                    <a:gd name="connsiteY0" fmla="*/ 51193 h 51193"/>
                    <a:gd name="connsiteX1" fmla="*/ 8447 w 10651"/>
                    <a:gd name="connsiteY1" fmla="*/ 32510 h 51193"/>
                    <a:gd name="connsiteX2" fmla="*/ 1596 w 10651"/>
                    <a:gd name="connsiteY2" fmla="*/ 16442 h 51193"/>
                    <a:gd name="connsiteX3" fmla="*/ 226 w 10651"/>
                    <a:gd name="connsiteY3" fmla="*/ 0 h 51193"/>
                  </a:gdLst>
                  <a:ahLst/>
                  <a:cxnLst>
                    <a:cxn ang="0">
                      <a:pos x="connsiteX0" y="connsiteY0"/>
                    </a:cxn>
                    <a:cxn ang="0">
                      <a:pos x="connsiteX1" y="connsiteY1"/>
                    </a:cxn>
                    <a:cxn ang="0">
                      <a:pos x="connsiteX2" y="connsiteY2"/>
                    </a:cxn>
                    <a:cxn ang="0">
                      <a:pos x="connsiteX3" y="connsiteY3"/>
                    </a:cxn>
                  </a:cxnLst>
                  <a:rect l="l" t="t" r="r" b="b"/>
                  <a:pathLst>
                    <a:path w="10651" h="51193">
                      <a:moveTo>
                        <a:pt x="10440" y="51193"/>
                      </a:moveTo>
                      <a:cubicBezTo>
                        <a:pt x="11187" y="42848"/>
                        <a:pt x="9817" y="36620"/>
                        <a:pt x="8447" y="32510"/>
                      </a:cubicBezTo>
                      <a:cubicBezTo>
                        <a:pt x="6205" y="25908"/>
                        <a:pt x="3465" y="23292"/>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3" name="Freeform 4437">
                  <a:extLst>
                    <a:ext uri="{FF2B5EF4-FFF2-40B4-BE49-F238E27FC236}">
                      <a16:creationId xmlns:a16="http://schemas.microsoft.com/office/drawing/2014/main" id="{4F1D94A1-7825-1C11-5BF9-3C9433D98EE1}"/>
                    </a:ext>
                  </a:extLst>
                </p:cNvPr>
                <p:cNvSpPr/>
                <p:nvPr/>
              </p:nvSpPr>
              <p:spPr>
                <a:xfrm>
                  <a:off x="5845865" y="5896759"/>
                  <a:ext cx="11584" cy="50944"/>
                </a:xfrm>
                <a:custGeom>
                  <a:avLst/>
                  <a:gdLst>
                    <a:gd name="connsiteX0" fmla="*/ 0 w 11584"/>
                    <a:gd name="connsiteY0" fmla="*/ 0 h 50944"/>
                    <a:gd name="connsiteX1" fmla="*/ 5854 w 11584"/>
                    <a:gd name="connsiteY1" fmla="*/ 17936 h 50944"/>
                    <a:gd name="connsiteX2" fmla="*/ 6104 w 11584"/>
                    <a:gd name="connsiteY2" fmla="*/ 35374 h 50944"/>
                    <a:gd name="connsiteX3" fmla="*/ 11584 w 1158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4" h="50944">
                      <a:moveTo>
                        <a:pt x="0" y="0"/>
                      </a:moveTo>
                      <a:cubicBezTo>
                        <a:pt x="4111" y="7349"/>
                        <a:pt x="5481" y="13577"/>
                        <a:pt x="5854" y="17936"/>
                      </a:cubicBezTo>
                      <a:cubicBezTo>
                        <a:pt x="6602" y="24912"/>
                        <a:pt x="5107" y="28275"/>
                        <a:pt x="6104"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4" name="Freeform 4438">
                  <a:extLst>
                    <a:ext uri="{FF2B5EF4-FFF2-40B4-BE49-F238E27FC236}">
                      <a16:creationId xmlns:a16="http://schemas.microsoft.com/office/drawing/2014/main" id="{9FACAB3C-2799-813E-0ACC-9833D02F5DF1}"/>
                    </a:ext>
                  </a:extLst>
                </p:cNvPr>
                <p:cNvSpPr/>
                <p:nvPr/>
              </p:nvSpPr>
              <p:spPr>
                <a:xfrm>
                  <a:off x="5848069" y="5935713"/>
                  <a:ext cx="26357" cy="26471"/>
                </a:xfrm>
                <a:custGeom>
                  <a:avLst/>
                  <a:gdLst>
                    <a:gd name="connsiteX0" fmla="*/ 287 w 26357"/>
                    <a:gd name="connsiteY0" fmla="*/ 15976 h 26471"/>
                    <a:gd name="connsiteX1" fmla="*/ 10376 w 26357"/>
                    <a:gd name="connsiteY1" fmla="*/ 282 h 26471"/>
                    <a:gd name="connsiteX2" fmla="*/ 26071 w 26357"/>
                    <a:gd name="connsiteY2" fmla="*/ 10495 h 26471"/>
                    <a:gd name="connsiteX3" fmla="*/ 15982 w 26357"/>
                    <a:gd name="connsiteY3" fmla="*/ 26190 h 26471"/>
                    <a:gd name="connsiteX4" fmla="*/ 287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87" y="15976"/>
                      </a:moveTo>
                      <a:cubicBezTo>
                        <a:pt x="-1207" y="8752"/>
                        <a:pt x="3276" y="1777"/>
                        <a:pt x="10376" y="282"/>
                      </a:cubicBezTo>
                      <a:cubicBezTo>
                        <a:pt x="17476" y="-1213"/>
                        <a:pt x="24576" y="3395"/>
                        <a:pt x="26071" y="10495"/>
                      </a:cubicBezTo>
                      <a:cubicBezTo>
                        <a:pt x="27565" y="17595"/>
                        <a:pt x="23081" y="24695"/>
                        <a:pt x="15982" y="26190"/>
                      </a:cubicBezTo>
                      <a:cubicBezTo>
                        <a:pt x="8882" y="27684"/>
                        <a:pt x="1906" y="23076"/>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6" name="Graphic 2987">
                <a:extLst>
                  <a:ext uri="{FF2B5EF4-FFF2-40B4-BE49-F238E27FC236}">
                    <a16:creationId xmlns:a16="http://schemas.microsoft.com/office/drawing/2014/main" id="{52F08388-B4E9-F39D-FAE6-865CF8AC6784}"/>
                  </a:ext>
                </a:extLst>
              </p:cNvPr>
              <p:cNvGrpSpPr/>
              <p:nvPr/>
            </p:nvGrpSpPr>
            <p:grpSpPr>
              <a:xfrm>
                <a:off x="5851313" y="5809992"/>
                <a:ext cx="51886" cy="146131"/>
                <a:chOff x="5851313" y="5809992"/>
                <a:chExt cx="51886" cy="146131"/>
              </a:xfrm>
              <a:grpFill/>
            </p:grpSpPr>
            <p:sp>
              <p:nvSpPr>
                <p:cNvPr id="5003" name="Freeform 4440">
                  <a:extLst>
                    <a:ext uri="{FF2B5EF4-FFF2-40B4-BE49-F238E27FC236}">
                      <a16:creationId xmlns:a16="http://schemas.microsoft.com/office/drawing/2014/main" id="{DAA06D5D-6C65-9ECB-CE73-8D1F90260633}"/>
                    </a:ext>
                  </a:extLst>
                </p:cNvPr>
                <p:cNvSpPr/>
                <p:nvPr/>
              </p:nvSpPr>
              <p:spPr>
                <a:xfrm>
                  <a:off x="5862344" y="5830868"/>
                  <a:ext cx="10618" cy="51193"/>
                </a:xfrm>
                <a:custGeom>
                  <a:avLst/>
                  <a:gdLst>
                    <a:gd name="connsiteX0" fmla="*/ 211 w 10618"/>
                    <a:gd name="connsiteY0" fmla="*/ 0 h 51193"/>
                    <a:gd name="connsiteX1" fmla="*/ 2204 w 10618"/>
                    <a:gd name="connsiteY1" fmla="*/ 18684 h 51193"/>
                    <a:gd name="connsiteX2" fmla="*/ 9055 w 10618"/>
                    <a:gd name="connsiteY2" fmla="*/ 34751 h 51193"/>
                    <a:gd name="connsiteX3" fmla="*/ 10301 w 1061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618" h="51193">
                      <a:moveTo>
                        <a:pt x="211" y="0"/>
                      </a:moveTo>
                      <a:cubicBezTo>
                        <a:pt x="-536" y="8345"/>
                        <a:pt x="834" y="14573"/>
                        <a:pt x="2204" y="18684"/>
                      </a:cubicBezTo>
                      <a:cubicBezTo>
                        <a:pt x="4446" y="25285"/>
                        <a:pt x="7187" y="27901"/>
                        <a:pt x="9055" y="34751"/>
                      </a:cubicBezTo>
                      <a:cubicBezTo>
                        <a:pt x="10923" y="41353"/>
                        <a:pt x="10799" y="47332"/>
                        <a:pt x="1030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4" name="Freeform 4441">
                  <a:extLst>
                    <a:ext uri="{FF2B5EF4-FFF2-40B4-BE49-F238E27FC236}">
                      <a16:creationId xmlns:a16="http://schemas.microsoft.com/office/drawing/2014/main" id="{800EAC16-6DF5-E4DD-859F-5D38742A593C}"/>
                    </a:ext>
                  </a:extLst>
                </p:cNvPr>
                <p:cNvSpPr/>
                <p:nvPr/>
              </p:nvSpPr>
              <p:spPr>
                <a:xfrm>
                  <a:off x="5868534" y="5824391"/>
                  <a:ext cx="11459" cy="50944"/>
                </a:xfrm>
                <a:custGeom>
                  <a:avLst/>
                  <a:gdLst>
                    <a:gd name="connsiteX0" fmla="*/ 11459 w 11459"/>
                    <a:gd name="connsiteY0" fmla="*/ 50944 h 50944"/>
                    <a:gd name="connsiteX1" fmla="*/ 5605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9" y="43595"/>
                        <a:pt x="6104" y="37367"/>
                        <a:pt x="5605" y="33008"/>
                      </a:cubicBezTo>
                      <a:cubicBezTo>
                        <a:pt x="4982" y="26033"/>
                        <a:pt x="6353" y="22670"/>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5" name="Freeform 4442">
                  <a:extLst>
                    <a:ext uri="{FF2B5EF4-FFF2-40B4-BE49-F238E27FC236}">
                      <a16:creationId xmlns:a16="http://schemas.microsoft.com/office/drawing/2014/main" id="{1FA00DCB-5852-4964-FE1E-178929708174}"/>
                    </a:ext>
                  </a:extLst>
                </p:cNvPr>
                <p:cNvSpPr/>
                <p:nvPr/>
              </p:nvSpPr>
              <p:spPr>
                <a:xfrm>
                  <a:off x="5851313" y="5809992"/>
                  <a:ext cx="26719" cy="26513"/>
                </a:xfrm>
                <a:custGeom>
                  <a:avLst/>
                  <a:gdLst>
                    <a:gd name="connsiteX0" fmla="*/ 26438 w 26719"/>
                    <a:gd name="connsiteY0" fmla="*/ 10538 h 26513"/>
                    <a:gd name="connsiteX1" fmla="*/ 16100 w 26719"/>
                    <a:gd name="connsiteY1" fmla="*/ 26232 h 26513"/>
                    <a:gd name="connsiteX2" fmla="*/ 281 w 26719"/>
                    <a:gd name="connsiteY2" fmla="*/ 16018 h 26513"/>
                    <a:gd name="connsiteX3" fmla="*/ 10619 w 26719"/>
                    <a:gd name="connsiteY3" fmla="*/ 324 h 26513"/>
                    <a:gd name="connsiteX4" fmla="*/ 26438 w 26719"/>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13">
                      <a:moveTo>
                        <a:pt x="26438" y="10538"/>
                      </a:moveTo>
                      <a:cubicBezTo>
                        <a:pt x="27933" y="17762"/>
                        <a:pt x="23325" y="24738"/>
                        <a:pt x="16100" y="26232"/>
                      </a:cubicBezTo>
                      <a:cubicBezTo>
                        <a:pt x="8876" y="27727"/>
                        <a:pt x="1901" y="23118"/>
                        <a:pt x="281" y="16018"/>
                      </a:cubicBezTo>
                      <a:cubicBezTo>
                        <a:pt x="-1213" y="8919"/>
                        <a:pt x="3395" y="1819"/>
                        <a:pt x="10619" y="324"/>
                      </a:cubicBezTo>
                      <a:cubicBezTo>
                        <a:pt x="17844" y="-1295"/>
                        <a:pt x="24943" y="3314"/>
                        <a:pt x="26438"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6" name="Freeform 4443">
                  <a:extLst>
                    <a:ext uri="{FF2B5EF4-FFF2-40B4-BE49-F238E27FC236}">
                      <a16:creationId xmlns:a16="http://schemas.microsoft.com/office/drawing/2014/main" id="{08E9C436-0D52-357A-4EC7-1AB93DEA730A}"/>
                    </a:ext>
                  </a:extLst>
                </p:cNvPr>
                <p:cNvSpPr/>
                <p:nvPr/>
              </p:nvSpPr>
              <p:spPr>
                <a:xfrm>
                  <a:off x="5881669" y="5884054"/>
                  <a:ext cx="10618" cy="51193"/>
                </a:xfrm>
                <a:custGeom>
                  <a:avLst/>
                  <a:gdLst>
                    <a:gd name="connsiteX0" fmla="*/ 10407 w 10618"/>
                    <a:gd name="connsiteY0" fmla="*/ 51193 h 51193"/>
                    <a:gd name="connsiteX1" fmla="*/ 8414 w 10618"/>
                    <a:gd name="connsiteY1" fmla="*/ 32509 h 51193"/>
                    <a:gd name="connsiteX2" fmla="*/ 1563 w 10618"/>
                    <a:gd name="connsiteY2" fmla="*/ 16442 h 51193"/>
                    <a:gd name="connsiteX3" fmla="*/ 318 w 10618"/>
                    <a:gd name="connsiteY3" fmla="*/ 0 h 51193"/>
                  </a:gdLst>
                  <a:ahLst/>
                  <a:cxnLst>
                    <a:cxn ang="0">
                      <a:pos x="connsiteX0" y="connsiteY0"/>
                    </a:cxn>
                    <a:cxn ang="0">
                      <a:pos x="connsiteX1" y="connsiteY1"/>
                    </a:cxn>
                    <a:cxn ang="0">
                      <a:pos x="connsiteX2" y="connsiteY2"/>
                    </a:cxn>
                    <a:cxn ang="0">
                      <a:pos x="connsiteX3" y="connsiteY3"/>
                    </a:cxn>
                  </a:cxnLst>
                  <a:rect l="l" t="t" r="r" b="b"/>
                  <a:pathLst>
                    <a:path w="10618" h="51193">
                      <a:moveTo>
                        <a:pt x="10407" y="51193"/>
                      </a:moveTo>
                      <a:cubicBezTo>
                        <a:pt x="11154" y="42848"/>
                        <a:pt x="9784" y="36620"/>
                        <a:pt x="8414" y="32509"/>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7" name="Freeform 4444">
                  <a:extLst>
                    <a:ext uri="{FF2B5EF4-FFF2-40B4-BE49-F238E27FC236}">
                      <a16:creationId xmlns:a16="http://schemas.microsoft.com/office/drawing/2014/main" id="{FF778AA4-0E1A-6831-8E9D-200C89447B07}"/>
                    </a:ext>
                  </a:extLst>
                </p:cNvPr>
                <p:cNvSpPr/>
                <p:nvPr/>
              </p:nvSpPr>
              <p:spPr>
                <a:xfrm>
                  <a:off x="5874887" y="5890780"/>
                  <a:ext cx="11583" cy="50944"/>
                </a:xfrm>
                <a:custGeom>
                  <a:avLst/>
                  <a:gdLst>
                    <a:gd name="connsiteX0" fmla="*/ 0 w 11583"/>
                    <a:gd name="connsiteY0" fmla="*/ 0 h 50944"/>
                    <a:gd name="connsiteX1" fmla="*/ 5854 w 11583"/>
                    <a:gd name="connsiteY1" fmla="*/ 17936 h 50944"/>
                    <a:gd name="connsiteX2" fmla="*/ 6103 w 11583"/>
                    <a:gd name="connsiteY2" fmla="*/ 35374 h 50944"/>
                    <a:gd name="connsiteX3" fmla="*/ 11584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0" y="0"/>
                      </a:moveTo>
                      <a:cubicBezTo>
                        <a:pt x="4110" y="7349"/>
                        <a:pt x="5356" y="13577"/>
                        <a:pt x="5854" y="17936"/>
                      </a:cubicBezTo>
                      <a:cubicBezTo>
                        <a:pt x="6477" y="24912"/>
                        <a:pt x="5107" y="28274"/>
                        <a:pt x="6103"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8" name="Freeform 4445">
                  <a:extLst>
                    <a:ext uri="{FF2B5EF4-FFF2-40B4-BE49-F238E27FC236}">
                      <a16:creationId xmlns:a16="http://schemas.microsoft.com/office/drawing/2014/main" id="{2E10CB01-DCAC-5043-0B68-F3A0670A009F}"/>
                    </a:ext>
                  </a:extLst>
                </p:cNvPr>
                <p:cNvSpPr/>
                <p:nvPr/>
              </p:nvSpPr>
              <p:spPr>
                <a:xfrm>
                  <a:off x="5876842" y="5929610"/>
                  <a:ext cx="26357" cy="26513"/>
                </a:xfrm>
                <a:custGeom>
                  <a:avLst/>
                  <a:gdLst>
                    <a:gd name="connsiteX0" fmla="*/ 287 w 26357"/>
                    <a:gd name="connsiteY0" fmla="*/ 15976 h 26513"/>
                    <a:gd name="connsiteX1" fmla="*/ 10376 w 26357"/>
                    <a:gd name="connsiteY1" fmla="*/ 282 h 26513"/>
                    <a:gd name="connsiteX2" fmla="*/ 26071 w 26357"/>
                    <a:gd name="connsiteY2" fmla="*/ 10495 h 26513"/>
                    <a:gd name="connsiteX3" fmla="*/ 15982 w 26357"/>
                    <a:gd name="connsiteY3" fmla="*/ 26190 h 26513"/>
                    <a:gd name="connsiteX4" fmla="*/ 287 w 26357"/>
                    <a:gd name="connsiteY4" fmla="*/ 15976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513">
                      <a:moveTo>
                        <a:pt x="287" y="15976"/>
                      </a:moveTo>
                      <a:cubicBezTo>
                        <a:pt x="-1207" y="8876"/>
                        <a:pt x="3276" y="1776"/>
                        <a:pt x="10376" y="282"/>
                      </a:cubicBezTo>
                      <a:cubicBezTo>
                        <a:pt x="17476" y="-1213"/>
                        <a:pt x="24451" y="3395"/>
                        <a:pt x="26071" y="10495"/>
                      </a:cubicBezTo>
                      <a:cubicBezTo>
                        <a:pt x="27565" y="17720"/>
                        <a:pt x="23081" y="24695"/>
                        <a:pt x="15982" y="26190"/>
                      </a:cubicBezTo>
                      <a:cubicBezTo>
                        <a:pt x="8882" y="27809"/>
                        <a:pt x="1906" y="23200"/>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7" name="Graphic 2987">
                <a:extLst>
                  <a:ext uri="{FF2B5EF4-FFF2-40B4-BE49-F238E27FC236}">
                    <a16:creationId xmlns:a16="http://schemas.microsoft.com/office/drawing/2014/main" id="{06DFC038-4D0B-7F31-1E8A-9C7F2FA7458A}"/>
                  </a:ext>
                </a:extLst>
              </p:cNvPr>
              <p:cNvGrpSpPr/>
              <p:nvPr/>
            </p:nvGrpSpPr>
            <p:grpSpPr>
              <a:xfrm>
                <a:off x="5880584" y="5803888"/>
                <a:ext cx="51506" cy="146338"/>
                <a:chOff x="5880584" y="5803888"/>
                <a:chExt cx="51506" cy="146338"/>
              </a:xfrm>
              <a:grpFill/>
            </p:grpSpPr>
            <p:sp>
              <p:nvSpPr>
                <p:cNvPr id="4997" name="Freeform 4447">
                  <a:extLst>
                    <a:ext uri="{FF2B5EF4-FFF2-40B4-BE49-F238E27FC236}">
                      <a16:creationId xmlns:a16="http://schemas.microsoft.com/office/drawing/2014/main" id="{AF8D98B0-B0F9-7D90-98F6-A1F9753979B6}"/>
                    </a:ext>
                  </a:extLst>
                </p:cNvPr>
                <p:cNvSpPr/>
                <p:nvPr/>
              </p:nvSpPr>
              <p:spPr>
                <a:xfrm>
                  <a:off x="5891478" y="5824765"/>
                  <a:ext cx="10506" cy="51193"/>
                </a:xfrm>
                <a:custGeom>
                  <a:avLst/>
                  <a:gdLst>
                    <a:gd name="connsiteX0" fmla="*/ 225 w 10506"/>
                    <a:gd name="connsiteY0" fmla="*/ 0 h 51193"/>
                    <a:gd name="connsiteX1" fmla="*/ 2093 w 10506"/>
                    <a:gd name="connsiteY1" fmla="*/ 18684 h 51193"/>
                    <a:gd name="connsiteX2" fmla="*/ 8943 w 10506"/>
                    <a:gd name="connsiteY2" fmla="*/ 34752 h 51193"/>
                    <a:gd name="connsiteX3" fmla="*/ 10189 w 1050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06" h="51193">
                      <a:moveTo>
                        <a:pt x="225" y="0"/>
                      </a:moveTo>
                      <a:cubicBezTo>
                        <a:pt x="-523" y="8346"/>
                        <a:pt x="722" y="14573"/>
                        <a:pt x="2093" y="18684"/>
                      </a:cubicBezTo>
                      <a:cubicBezTo>
                        <a:pt x="4335" y="25285"/>
                        <a:pt x="6950" y="27901"/>
                        <a:pt x="8943" y="34752"/>
                      </a:cubicBezTo>
                      <a:cubicBezTo>
                        <a:pt x="10812" y="41353"/>
                        <a:pt x="10687"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8" name="Freeform 4448">
                  <a:extLst>
                    <a:ext uri="{FF2B5EF4-FFF2-40B4-BE49-F238E27FC236}">
                      <a16:creationId xmlns:a16="http://schemas.microsoft.com/office/drawing/2014/main" id="{768B6594-D4ED-97FC-F25A-B15D87747531}"/>
                    </a:ext>
                  </a:extLst>
                </p:cNvPr>
                <p:cNvSpPr/>
                <p:nvPr/>
              </p:nvSpPr>
              <p:spPr>
                <a:xfrm>
                  <a:off x="5897557" y="5818412"/>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4" y="43595"/>
                        <a:pt x="5979" y="37367"/>
                        <a:pt x="5605" y="33008"/>
                      </a:cubicBezTo>
                      <a:cubicBezTo>
                        <a:pt x="4982" y="26033"/>
                        <a:pt x="6352" y="22669"/>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9" name="Freeform 4449">
                  <a:extLst>
                    <a:ext uri="{FF2B5EF4-FFF2-40B4-BE49-F238E27FC236}">
                      <a16:creationId xmlns:a16="http://schemas.microsoft.com/office/drawing/2014/main" id="{C6FD99EA-4DE5-D923-AB8F-87267A18A0B1}"/>
                    </a:ext>
                  </a:extLst>
                </p:cNvPr>
                <p:cNvSpPr/>
                <p:nvPr/>
              </p:nvSpPr>
              <p:spPr>
                <a:xfrm>
                  <a:off x="5880584" y="5803888"/>
                  <a:ext cx="26595" cy="26513"/>
                </a:xfrm>
                <a:custGeom>
                  <a:avLst/>
                  <a:gdLst>
                    <a:gd name="connsiteX0" fmla="*/ 26314 w 26595"/>
                    <a:gd name="connsiteY0" fmla="*/ 10538 h 26513"/>
                    <a:gd name="connsiteX1" fmla="*/ 15975 w 26595"/>
                    <a:gd name="connsiteY1" fmla="*/ 26232 h 26513"/>
                    <a:gd name="connsiteX2" fmla="*/ 281 w 26595"/>
                    <a:gd name="connsiteY2" fmla="*/ 16019 h 26513"/>
                    <a:gd name="connsiteX3" fmla="*/ 10620 w 26595"/>
                    <a:gd name="connsiteY3" fmla="*/ 324 h 26513"/>
                    <a:gd name="connsiteX4" fmla="*/ 26314 w 26595"/>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13">
                      <a:moveTo>
                        <a:pt x="26314" y="10538"/>
                      </a:moveTo>
                      <a:cubicBezTo>
                        <a:pt x="27809" y="17762"/>
                        <a:pt x="23200" y="24737"/>
                        <a:pt x="15975" y="26232"/>
                      </a:cubicBezTo>
                      <a:cubicBezTo>
                        <a:pt x="8751" y="27727"/>
                        <a:pt x="1776" y="23118"/>
                        <a:pt x="281" y="16019"/>
                      </a:cubicBezTo>
                      <a:cubicBezTo>
                        <a:pt x="-1214" y="8794"/>
                        <a:pt x="3395" y="1819"/>
                        <a:pt x="10620" y="324"/>
                      </a:cubicBezTo>
                      <a:cubicBezTo>
                        <a:pt x="17719" y="-1295"/>
                        <a:pt x="24819" y="3313"/>
                        <a:pt x="26314"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0" name="Freeform 4450">
                  <a:extLst>
                    <a:ext uri="{FF2B5EF4-FFF2-40B4-BE49-F238E27FC236}">
                      <a16:creationId xmlns:a16="http://schemas.microsoft.com/office/drawing/2014/main" id="{261E45C6-43B6-C347-3887-0A7C37D13D5A}"/>
                    </a:ext>
                  </a:extLst>
                </p:cNvPr>
                <p:cNvSpPr/>
                <p:nvPr/>
              </p:nvSpPr>
              <p:spPr>
                <a:xfrm>
                  <a:off x="5910691" y="5878075"/>
                  <a:ext cx="10506" cy="51193"/>
                </a:xfrm>
                <a:custGeom>
                  <a:avLst/>
                  <a:gdLst>
                    <a:gd name="connsiteX0" fmla="*/ 10282 w 10506"/>
                    <a:gd name="connsiteY0" fmla="*/ 51193 h 51193"/>
                    <a:gd name="connsiteX1" fmla="*/ 8414 w 10506"/>
                    <a:gd name="connsiteY1" fmla="*/ 32510 h 51193"/>
                    <a:gd name="connsiteX2" fmla="*/ 1563 w 10506"/>
                    <a:gd name="connsiteY2" fmla="*/ 16442 h 51193"/>
                    <a:gd name="connsiteX3" fmla="*/ 318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10282" y="51193"/>
                      </a:moveTo>
                      <a:cubicBezTo>
                        <a:pt x="11030" y="42848"/>
                        <a:pt x="9784" y="36620"/>
                        <a:pt x="8414" y="32510"/>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1" name="Freeform 4451">
                  <a:extLst>
                    <a:ext uri="{FF2B5EF4-FFF2-40B4-BE49-F238E27FC236}">
                      <a16:creationId xmlns:a16="http://schemas.microsoft.com/office/drawing/2014/main" id="{F8A1AB4F-31F3-9366-708C-6627F52A2D21}"/>
                    </a:ext>
                  </a:extLst>
                </p:cNvPr>
                <p:cNvSpPr/>
                <p:nvPr/>
              </p:nvSpPr>
              <p:spPr>
                <a:xfrm>
                  <a:off x="5903784" y="5884677"/>
                  <a:ext cx="11334" cy="50944"/>
                </a:xfrm>
                <a:custGeom>
                  <a:avLst/>
                  <a:gdLst>
                    <a:gd name="connsiteX0" fmla="*/ 0 w 11334"/>
                    <a:gd name="connsiteY0" fmla="*/ 0 h 50944"/>
                    <a:gd name="connsiteX1" fmla="*/ 5730 w 11334"/>
                    <a:gd name="connsiteY1" fmla="*/ 17936 h 50944"/>
                    <a:gd name="connsiteX2" fmla="*/ 5854 w 11334"/>
                    <a:gd name="connsiteY2" fmla="*/ 35374 h 50944"/>
                    <a:gd name="connsiteX3" fmla="*/ 11335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30" y="17936"/>
                      </a:cubicBezTo>
                      <a:cubicBezTo>
                        <a:pt x="6352" y="24912"/>
                        <a:pt x="4982" y="28275"/>
                        <a:pt x="5854" y="35374"/>
                      </a:cubicBezTo>
                      <a:cubicBezTo>
                        <a:pt x="6851"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2" name="Freeform 4452">
                  <a:extLst>
                    <a:ext uri="{FF2B5EF4-FFF2-40B4-BE49-F238E27FC236}">
                      <a16:creationId xmlns:a16="http://schemas.microsoft.com/office/drawing/2014/main" id="{FA6405D4-DC7F-43BF-4534-984B203F65AA}"/>
                    </a:ext>
                  </a:extLst>
                </p:cNvPr>
                <p:cNvSpPr/>
                <p:nvPr/>
              </p:nvSpPr>
              <p:spPr>
                <a:xfrm>
                  <a:off x="5905739" y="5923631"/>
                  <a:ext cx="26351" cy="26595"/>
                </a:xfrm>
                <a:custGeom>
                  <a:avLst/>
                  <a:gdLst>
                    <a:gd name="connsiteX0" fmla="*/ 287 w 26351"/>
                    <a:gd name="connsiteY0" fmla="*/ 15975 h 26595"/>
                    <a:gd name="connsiteX1" fmla="*/ 10501 w 26351"/>
                    <a:gd name="connsiteY1" fmla="*/ 281 h 26595"/>
                    <a:gd name="connsiteX2" fmla="*/ 26070 w 26351"/>
                    <a:gd name="connsiteY2" fmla="*/ 10620 h 26595"/>
                    <a:gd name="connsiteX3" fmla="*/ 15857 w 26351"/>
                    <a:gd name="connsiteY3" fmla="*/ 26314 h 26595"/>
                    <a:gd name="connsiteX4" fmla="*/ 287 w 26351"/>
                    <a:gd name="connsiteY4" fmla="*/ 15975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95">
                      <a:moveTo>
                        <a:pt x="287" y="15975"/>
                      </a:moveTo>
                      <a:cubicBezTo>
                        <a:pt x="-1208" y="8751"/>
                        <a:pt x="3276" y="1776"/>
                        <a:pt x="10501" y="281"/>
                      </a:cubicBezTo>
                      <a:cubicBezTo>
                        <a:pt x="17600" y="-1214"/>
                        <a:pt x="24575" y="3395"/>
                        <a:pt x="26070" y="10620"/>
                      </a:cubicBezTo>
                      <a:cubicBezTo>
                        <a:pt x="27565" y="17844"/>
                        <a:pt x="22957" y="24819"/>
                        <a:pt x="15857" y="26314"/>
                      </a:cubicBezTo>
                      <a:cubicBezTo>
                        <a:pt x="8757" y="27809"/>
                        <a:pt x="1782" y="23200"/>
                        <a:pt x="287" y="15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8" name="Graphic 2987">
                <a:extLst>
                  <a:ext uri="{FF2B5EF4-FFF2-40B4-BE49-F238E27FC236}">
                    <a16:creationId xmlns:a16="http://schemas.microsoft.com/office/drawing/2014/main" id="{AF471089-94EC-8002-927F-B7DB1BBD520F}"/>
                  </a:ext>
                </a:extLst>
              </p:cNvPr>
              <p:cNvGrpSpPr/>
              <p:nvPr/>
            </p:nvGrpSpPr>
            <p:grpSpPr>
              <a:xfrm>
                <a:off x="5909606" y="5797822"/>
                <a:ext cx="51257" cy="146384"/>
                <a:chOff x="5909606" y="5797822"/>
                <a:chExt cx="51257" cy="146384"/>
              </a:xfrm>
              <a:grpFill/>
            </p:grpSpPr>
            <p:sp>
              <p:nvSpPr>
                <p:cNvPr id="4991" name="Freeform 4454">
                  <a:extLst>
                    <a:ext uri="{FF2B5EF4-FFF2-40B4-BE49-F238E27FC236}">
                      <a16:creationId xmlns:a16="http://schemas.microsoft.com/office/drawing/2014/main" id="{D2F48538-2B50-A120-9EDC-0BCB4207D067}"/>
                    </a:ext>
                  </a:extLst>
                </p:cNvPr>
                <p:cNvSpPr/>
                <p:nvPr/>
              </p:nvSpPr>
              <p:spPr>
                <a:xfrm>
                  <a:off x="5920624" y="5818786"/>
                  <a:ext cx="10451" cy="51193"/>
                </a:xfrm>
                <a:custGeom>
                  <a:avLst/>
                  <a:gdLst>
                    <a:gd name="connsiteX0" fmla="*/ 224 w 10451"/>
                    <a:gd name="connsiteY0" fmla="*/ 0 h 51193"/>
                    <a:gd name="connsiteX1" fmla="*/ 2093 w 10451"/>
                    <a:gd name="connsiteY1" fmla="*/ 18684 h 51193"/>
                    <a:gd name="connsiteX2" fmla="*/ 8943 w 10451"/>
                    <a:gd name="connsiteY2" fmla="*/ 34751 h 51193"/>
                    <a:gd name="connsiteX3" fmla="*/ 10189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224" y="0"/>
                      </a:moveTo>
                      <a:cubicBezTo>
                        <a:pt x="-523" y="8345"/>
                        <a:pt x="723" y="14573"/>
                        <a:pt x="2093" y="18684"/>
                      </a:cubicBezTo>
                      <a:cubicBezTo>
                        <a:pt x="4210" y="25285"/>
                        <a:pt x="6951" y="27901"/>
                        <a:pt x="8943" y="34751"/>
                      </a:cubicBezTo>
                      <a:cubicBezTo>
                        <a:pt x="10812" y="41353"/>
                        <a:pt x="10563"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2" name="Freeform 4455">
                  <a:extLst>
                    <a:ext uri="{FF2B5EF4-FFF2-40B4-BE49-F238E27FC236}">
                      <a16:creationId xmlns:a16="http://schemas.microsoft.com/office/drawing/2014/main" id="{86B0D4C3-83FA-03A9-0776-89BD2B3482E3}"/>
                    </a:ext>
                  </a:extLst>
                </p:cNvPr>
                <p:cNvSpPr/>
                <p:nvPr/>
              </p:nvSpPr>
              <p:spPr>
                <a:xfrm>
                  <a:off x="5926578" y="5812309"/>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5" y="43595"/>
                        <a:pt x="5979" y="37367"/>
                        <a:pt x="5605" y="33008"/>
                      </a:cubicBezTo>
                      <a:cubicBezTo>
                        <a:pt x="4982" y="26033"/>
                        <a:pt x="6477" y="22670"/>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3" name="Freeform 4456">
                  <a:extLst>
                    <a:ext uri="{FF2B5EF4-FFF2-40B4-BE49-F238E27FC236}">
                      <a16:creationId xmlns:a16="http://schemas.microsoft.com/office/drawing/2014/main" id="{29EBB7E7-13D8-0383-5F71-E4052E1D6E1F}"/>
                    </a:ext>
                  </a:extLst>
                </p:cNvPr>
                <p:cNvSpPr/>
                <p:nvPr/>
              </p:nvSpPr>
              <p:spPr>
                <a:xfrm>
                  <a:off x="5909606" y="5797822"/>
                  <a:ext cx="26595" cy="26476"/>
                </a:xfrm>
                <a:custGeom>
                  <a:avLst/>
                  <a:gdLst>
                    <a:gd name="connsiteX0" fmla="*/ 26314 w 26595"/>
                    <a:gd name="connsiteY0" fmla="*/ 10500 h 26476"/>
                    <a:gd name="connsiteX1" fmla="*/ 15976 w 26595"/>
                    <a:gd name="connsiteY1" fmla="*/ 26195 h 26476"/>
                    <a:gd name="connsiteX2" fmla="*/ 281 w 26595"/>
                    <a:gd name="connsiteY2" fmla="*/ 15981 h 26476"/>
                    <a:gd name="connsiteX3" fmla="*/ 10619 w 26595"/>
                    <a:gd name="connsiteY3" fmla="*/ 287 h 26476"/>
                    <a:gd name="connsiteX4" fmla="*/ 26314 w 26595"/>
                    <a:gd name="connsiteY4" fmla="*/ 10500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6">
                      <a:moveTo>
                        <a:pt x="26314" y="10500"/>
                      </a:moveTo>
                      <a:cubicBezTo>
                        <a:pt x="27808" y="17725"/>
                        <a:pt x="23200" y="24700"/>
                        <a:pt x="15976" y="26195"/>
                      </a:cubicBezTo>
                      <a:cubicBezTo>
                        <a:pt x="8751" y="27689"/>
                        <a:pt x="1776" y="23081"/>
                        <a:pt x="281" y="15981"/>
                      </a:cubicBezTo>
                      <a:cubicBezTo>
                        <a:pt x="-1213" y="8757"/>
                        <a:pt x="3395" y="1782"/>
                        <a:pt x="10619" y="287"/>
                      </a:cubicBezTo>
                      <a:cubicBezTo>
                        <a:pt x="17844" y="-1208"/>
                        <a:pt x="24944" y="3276"/>
                        <a:pt x="26314"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4" name="Freeform 4457">
                  <a:extLst>
                    <a:ext uri="{FF2B5EF4-FFF2-40B4-BE49-F238E27FC236}">
                      <a16:creationId xmlns:a16="http://schemas.microsoft.com/office/drawing/2014/main" id="{B3A87724-7F7F-6FF7-5D5D-5F78EB4B40C7}"/>
                    </a:ext>
                  </a:extLst>
                </p:cNvPr>
                <p:cNvSpPr/>
                <p:nvPr/>
              </p:nvSpPr>
              <p:spPr>
                <a:xfrm>
                  <a:off x="5939643" y="5872097"/>
                  <a:ext cx="10327" cy="51193"/>
                </a:xfrm>
                <a:custGeom>
                  <a:avLst/>
                  <a:gdLst>
                    <a:gd name="connsiteX0" fmla="*/ 10103 w 10327"/>
                    <a:gd name="connsiteY0" fmla="*/ 51193 h 51193"/>
                    <a:gd name="connsiteX1" fmla="*/ 8234 w 10327"/>
                    <a:gd name="connsiteY1" fmla="*/ 32509 h 51193"/>
                    <a:gd name="connsiteX2" fmla="*/ 1508 w 10327"/>
                    <a:gd name="connsiteY2" fmla="*/ 16441 h 51193"/>
                    <a:gd name="connsiteX3" fmla="*/ 263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10103" y="51193"/>
                      </a:moveTo>
                      <a:cubicBezTo>
                        <a:pt x="10850" y="42848"/>
                        <a:pt x="9605" y="36620"/>
                        <a:pt x="8234" y="32509"/>
                      </a:cubicBezTo>
                      <a:cubicBezTo>
                        <a:pt x="6117" y="25908"/>
                        <a:pt x="3377" y="23292"/>
                        <a:pt x="1508" y="16441"/>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5" name="Freeform 4458">
                  <a:extLst>
                    <a:ext uri="{FF2B5EF4-FFF2-40B4-BE49-F238E27FC236}">
                      <a16:creationId xmlns:a16="http://schemas.microsoft.com/office/drawing/2014/main" id="{01FDD6FC-0844-8EE3-8CE8-9304F31A32AB}"/>
                    </a:ext>
                  </a:extLst>
                </p:cNvPr>
                <p:cNvSpPr/>
                <p:nvPr/>
              </p:nvSpPr>
              <p:spPr>
                <a:xfrm>
                  <a:off x="5932682" y="5878698"/>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4111" y="7349"/>
                        <a:pt x="5356" y="13577"/>
                        <a:pt x="5730" y="17936"/>
                      </a:cubicBezTo>
                      <a:cubicBezTo>
                        <a:pt x="6353" y="24912"/>
                        <a:pt x="4858" y="28274"/>
                        <a:pt x="5854" y="35374"/>
                      </a:cubicBezTo>
                      <a:cubicBezTo>
                        <a:pt x="6726" y="42225"/>
                        <a:pt x="9342"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6" name="Freeform 4459">
                  <a:extLst>
                    <a:ext uri="{FF2B5EF4-FFF2-40B4-BE49-F238E27FC236}">
                      <a16:creationId xmlns:a16="http://schemas.microsoft.com/office/drawing/2014/main" id="{35269956-3116-BF82-5385-B891E14C36CE}"/>
                    </a:ext>
                  </a:extLst>
                </p:cNvPr>
                <p:cNvSpPr/>
                <p:nvPr/>
              </p:nvSpPr>
              <p:spPr>
                <a:xfrm>
                  <a:off x="5934518" y="5917653"/>
                  <a:ext cx="26346" cy="26554"/>
                </a:xfrm>
                <a:custGeom>
                  <a:avLst/>
                  <a:gdLst>
                    <a:gd name="connsiteX0" fmla="*/ 282 w 26346"/>
                    <a:gd name="connsiteY0" fmla="*/ 15976 h 26554"/>
                    <a:gd name="connsiteX1" fmla="*/ 10495 w 26346"/>
                    <a:gd name="connsiteY1" fmla="*/ 281 h 26554"/>
                    <a:gd name="connsiteX2" fmla="*/ 26065 w 26346"/>
                    <a:gd name="connsiteY2" fmla="*/ 10619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19"/>
                      </a:cubicBezTo>
                      <a:cubicBezTo>
                        <a:pt x="27560" y="17844"/>
                        <a:pt x="22951" y="24819"/>
                        <a:pt x="15851" y="26314"/>
                      </a:cubicBezTo>
                      <a:cubicBezTo>
                        <a:pt x="8751" y="27684"/>
                        <a:pt x="1776" y="23075"/>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9" name="Graphic 2987">
                <a:extLst>
                  <a:ext uri="{FF2B5EF4-FFF2-40B4-BE49-F238E27FC236}">
                    <a16:creationId xmlns:a16="http://schemas.microsoft.com/office/drawing/2014/main" id="{6D0359C5-83FA-F601-F33E-CABEBE913D55}"/>
                  </a:ext>
                </a:extLst>
              </p:cNvPr>
              <p:cNvGrpSpPr/>
              <p:nvPr/>
            </p:nvGrpSpPr>
            <p:grpSpPr>
              <a:xfrm>
                <a:off x="5938758" y="5791724"/>
                <a:ext cx="50879" cy="146504"/>
                <a:chOff x="5938758" y="5791724"/>
                <a:chExt cx="50879" cy="146504"/>
              </a:xfrm>
              <a:grpFill/>
            </p:grpSpPr>
            <p:sp>
              <p:nvSpPr>
                <p:cNvPr id="4985" name="Freeform 4461">
                  <a:extLst>
                    <a:ext uri="{FF2B5EF4-FFF2-40B4-BE49-F238E27FC236}">
                      <a16:creationId xmlns:a16="http://schemas.microsoft.com/office/drawing/2014/main" id="{84622B4A-747D-C9AD-F439-B2CA8C541ECD}"/>
                    </a:ext>
                  </a:extLst>
                </p:cNvPr>
                <p:cNvSpPr/>
                <p:nvPr/>
              </p:nvSpPr>
              <p:spPr>
                <a:xfrm>
                  <a:off x="5949595" y="5812682"/>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6"/>
                        <a:pt x="773" y="14573"/>
                        <a:pt x="2019" y="18684"/>
                      </a:cubicBezTo>
                      <a:cubicBezTo>
                        <a:pt x="4136" y="25285"/>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6" name="Freeform 4462">
                  <a:extLst>
                    <a:ext uri="{FF2B5EF4-FFF2-40B4-BE49-F238E27FC236}">
                      <a16:creationId xmlns:a16="http://schemas.microsoft.com/office/drawing/2014/main" id="{56D01FC2-5DFF-AD4C-F694-93FD6BF290EE}"/>
                    </a:ext>
                  </a:extLst>
                </p:cNvPr>
                <p:cNvSpPr/>
                <p:nvPr/>
              </p:nvSpPr>
              <p:spPr>
                <a:xfrm>
                  <a:off x="5955974" y="5806330"/>
                  <a:ext cx="10960" cy="50944"/>
                </a:xfrm>
                <a:custGeom>
                  <a:avLst/>
                  <a:gdLst>
                    <a:gd name="connsiteX0" fmla="*/ 10961 w 10960"/>
                    <a:gd name="connsiteY0" fmla="*/ 50944 h 50944"/>
                    <a:gd name="connsiteX1" fmla="*/ 5356 w 10960"/>
                    <a:gd name="connsiteY1" fmla="*/ 33008 h 50944"/>
                    <a:gd name="connsiteX2" fmla="*/ 5356 w 10960"/>
                    <a:gd name="connsiteY2" fmla="*/ 15570 h 50944"/>
                    <a:gd name="connsiteX3" fmla="*/ 0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10961" y="50944"/>
                      </a:moveTo>
                      <a:cubicBezTo>
                        <a:pt x="6975" y="43595"/>
                        <a:pt x="5730" y="37367"/>
                        <a:pt x="5356" y="33008"/>
                      </a:cubicBezTo>
                      <a:cubicBezTo>
                        <a:pt x="4733" y="26033"/>
                        <a:pt x="6228" y="22669"/>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7" name="Freeform 4463">
                  <a:extLst>
                    <a:ext uri="{FF2B5EF4-FFF2-40B4-BE49-F238E27FC236}">
                      <a16:creationId xmlns:a16="http://schemas.microsoft.com/office/drawing/2014/main" id="{D8E770E0-C7A4-A081-6E9F-FDED921FD6F9}"/>
                    </a:ext>
                  </a:extLst>
                </p:cNvPr>
                <p:cNvSpPr/>
                <p:nvPr/>
              </p:nvSpPr>
              <p:spPr>
                <a:xfrm>
                  <a:off x="5938758" y="5791724"/>
                  <a:ext cx="26584" cy="26471"/>
                </a:xfrm>
                <a:custGeom>
                  <a:avLst/>
                  <a:gdLst>
                    <a:gd name="connsiteX0" fmla="*/ 26309 w 26584"/>
                    <a:gd name="connsiteY0" fmla="*/ 10495 h 26471"/>
                    <a:gd name="connsiteX1" fmla="*/ 15970 w 26584"/>
                    <a:gd name="connsiteY1" fmla="*/ 26190 h 26471"/>
                    <a:gd name="connsiteX2" fmla="*/ 276 w 26584"/>
                    <a:gd name="connsiteY2" fmla="*/ 15976 h 26471"/>
                    <a:gd name="connsiteX3" fmla="*/ 10615 w 26584"/>
                    <a:gd name="connsiteY3" fmla="*/ 282 h 26471"/>
                    <a:gd name="connsiteX4" fmla="*/ 26309 w 26584"/>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4" h="26470">
                      <a:moveTo>
                        <a:pt x="26309" y="10495"/>
                      </a:moveTo>
                      <a:cubicBezTo>
                        <a:pt x="27803" y="17720"/>
                        <a:pt x="23070" y="24695"/>
                        <a:pt x="15970" y="26190"/>
                      </a:cubicBezTo>
                      <a:cubicBezTo>
                        <a:pt x="8871" y="27684"/>
                        <a:pt x="1771" y="23076"/>
                        <a:pt x="276" y="15976"/>
                      </a:cubicBezTo>
                      <a:cubicBezTo>
                        <a:pt x="-1219" y="8752"/>
                        <a:pt x="3515" y="1777"/>
                        <a:pt x="10615" y="282"/>
                      </a:cubicBezTo>
                      <a:cubicBezTo>
                        <a:pt x="17839" y="-1213"/>
                        <a:pt x="24814" y="3395"/>
                        <a:pt x="2630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8" name="Freeform 4464">
                  <a:extLst>
                    <a:ext uri="{FF2B5EF4-FFF2-40B4-BE49-F238E27FC236}">
                      <a16:creationId xmlns:a16="http://schemas.microsoft.com/office/drawing/2014/main" id="{D6AF5CE8-ED7B-5BBE-08E6-D8A18D3A2A92}"/>
                    </a:ext>
                  </a:extLst>
                </p:cNvPr>
                <p:cNvSpPr/>
                <p:nvPr/>
              </p:nvSpPr>
              <p:spPr>
                <a:xfrm>
                  <a:off x="5968694" y="5865993"/>
                  <a:ext cx="10224" cy="51193"/>
                </a:xfrm>
                <a:custGeom>
                  <a:avLst/>
                  <a:gdLst>
                    <a:gd name="connsiteX0" fmla="*/ 9950 w 10224"/>
                    <a:gd name="connsiteY0" fmla="*/ 51193 h 51193"/>
                    <a:gd name="connsiteX1" fmla="*/ 8206 w 10224"/>
                    <a:gd name="connsiteY1" fmla="*/ 32510 h 51193"/>
                    <a:gd name="connsiteX2" fmla="*/ 1480 w 10224"/>
                    <a:gd name="connsiteY2" fmla="*/ 16442 h 51193"/>
                    <a:gd name="connsiteX3" fmla="*/ 359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51193"/>
                      </a:moveTo>
                      <a:cubicBezTo>
                        <a:pt x="10822" y="42848"/>
                        <a:pt x="9452" y="36620"/>
                        <a:pt x="8206" y="32510"/>
                      </a:cubicBezTo>
                      <a:cubicBezTo>
                        <a:pt x="6088" y="25908"/>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9" name="Freeform 4465">
                  <a:extLst>
                    <a:ext uri="{FF2B5EF4-FFF2-40B4-BE49-F238E27FC236}">
                      <a16:creationId xmlns:a16="http://schemas.microsoft.com/office/drawing/2014/main" id="{6840F39B-BE11-7360-A9DA-E4800976A1D7}"/>
                    </a:ext>
                  </a:extLst>
                </p:cNvPr>
                <p:cNvSpPr/>
                <p:nvPr/>
              </p:nvSpPr>
              <p:spPr>
                <a:xfrm>
                  <a:off x="5961704" y="5872595"/>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3986" y="7349"/>
                        <a:pt x="5231" y="13577"/>
                        <a:pt x="5730" y="17936"/>
                      </a:cubicBezTo>
                      <a:cubicBezTo>
                        <a:pt x="6353" y="24912"/>
                        <a:pt x="4858" y="28275"/>
                        <a:pt x="5854" y="35374"/>
                      </a:cubicBezTo>
                      <a:cubicBezTo>
                        <a:pt x="6726" y="42225"/>
                        <a:pt x="9217"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0" name="Freeform 4466">
                  <a:extLst>
                    <a:ext uri="{FF2B5EF4-FFF2-40B4-BE49-F238E27FC236}">
                      <a16:creationId xmlns:a16="http://schemas.microsoft.com/office/drawing/2014/main" id="{B5CBD535-0723-6E09-A717-18930366E459}"/>
                    </a:ext>
                  </a:extLst>
                </p:cNvPr>
                <p:cNvSpPr/>
                <p:nvPr/>
              </p:nvSpPr>
              <p:spPr>
                <a:xfrm>
                  <a:off x="5963290" y="5911674"/>
                  <a:ext cx="26346" cy="26554"/>
                </a:xfrm>
                <a:custGeom>
                  <a:avLst/>
                  <a:gdLst>
                    <a:gd name="connsiteX0" fmla="*/ 282 w 26346"/>
                    <a:gd name="connsiteY0" fmla="*/ 15976 h 26554"/>
                    <a:gd name="connsiteX1" fmla="*/ 10495 w 26346"/>
                    <a:gd name="connsiteY1" fmla="*/ 281 h 26554"/>
                    <a:gd name="connsiteX2" fmla="*/ 26065 w 26346"/>
                    <a:gd name="connsiteY2" fmla="*/ 10620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20"/>
                      </a:cubicBezTo>
                      <a:cubicBezTo>
                        <a:pt x="27560" y="17844"/>
                        <a:pt x="22951" y="24819"/>
                        <a:pt x="15851" y="26314"/>
                      </a:cubicBezTo>
                      <a:cubicBezTo>
                        <a:pt x="8751" y="27684"/>
                        <a:pt x="1776" y="23076"/>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0" name="Graphic 2987">
                <a:extLst>
                  <a:ext uri="{FF2B5EF4-FFF2-40B4-BE49-F238E27FC236}">
                    <a16:creationId xmlns:a16="http://schemas.microsoft.com/office/drawing/2014/main" id="{287E3163-50BE-CEA7-66DA-2CB2B7D23A97}"/>
                  </a:ext>
                </a:extLst>
              </p:cNvPr>
              <p:cNvGrpSpPr/>
              <p:nvPr/>
            </p:nvGrpSpPr>
            <p:grpSpPr>
              <a:xfrm>
                <a:off x="5967780" y="5785870"/>
                <a:ext cx="50873" cy="146379"/>
                <a:chOff x="5967780" y="5785870"/>
                <a:chExt cx="50873" cy="146379"/>
              </a:xfrm>
              <a:grpFill/>
            </p:grpSpPr>
            <p:sp>
              <p:nvSpPr>
                <p:cNvPr id="4979" name="Freeform 4468">
                  <a:extLst>
                    <a:ext uri="{FF2B5EF4-FFF2-40B4-BE49-F238E27FC236}">
                      <a16:creationId xmlns:a16="http://schemas.microsoft.com/office/drawing/2014/main" id="{2D386AEA-6857-4C21-01E2-BEFD756A2606}"/>
                    </a:ext>
                  </a:extLst>
                </p:cNvPr>
                <p:cNvSpPr/>
                <p:nvPr/>
              </p:nvSpPr>
              <p:spPr>
                <a:xfrm>
                  <a:off x="5978727" y="5806704"/>
                  <a:ext cx="10239" cy="51193"/>
                </a:xfrm>
                <a:custGeom>
                  <a:avLst/>
                  <a:gdLst>
                    <a:gd name="connsiteX0" fmla="*/ 290 w 10239"/>
                    <a:gd name="connsiteY0" fmla="*/ 0 h 51193"/>
                    <a:gd name="connsiteX1" fmla="*/ 2034 w 10239"/>
                    <a:gd name="connsiteY1" fmla="*/ 18684 h 51193"/>
                    <a:gd name="connsiteX2" fmla="*/ 8760 w 10239"/>
                    <a:gd name="connsiteY2" fmla="*/ 34751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3" y="14573"/>
                        <a:pt x="2034" y="18684"/>
                      </a:cubicBezTo>
                      <a:cubicBezTo>
                        <a:pt x="4151" y="25409"/>
                        <a:pt x="6891" y="27901"/>
                        <a:pt x="8760" y="34751"/>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0" name="Freeform 4469">
                  <a:extLst>
                    <a:ext uri="{FF2B5EF4-FFF2-40B4-BE49-F238E27FC236}">
                      <a16:creationId xmlns:a16="http://schemas.microsoft.com/office/drawing/2014/main" id="{CA4E5E93-510B-F59D-8DCE-14FB2FA174AF}"/>
                    </a:ext>
                  </a:extLst>
                </p:cNvPr>
                <p:cNvSpPr/>
                <p:nvPr/>
              </p:nvSpPr>
              <p:spPr>
                <a:xfrm>
                  <a:off x="5984996" y="5800351"/>
                  <a:ext cx="10961" cy="50944"/>
                </a:xfrm>
                <a:custGeom>
                  <a:avLst/>
                  <a:gdLst>
                    <a:gd name="connsiteX0" fmla="*/ 10961 w 10961"/>
                    <a:gd name="connsiteY0" fmla="*/ 50944 h 50944"/>
                    <a:gd name="connsiteX1" fmla="*/ 5356 w 10961"/>
                    <a:gd name="connsiteY1" fmla="*/ 33008 h 50944"/>
                    <a:gd name="connsiteX2" fmla="*/ 5356 w 10961"/>
                    <a:gd name="connsiteY2" fmla="*/ 15570 h 50944"/>
                    <a:gd name="connsiteX3" fmla="*/ 0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50944"/>
                      </a:moveTo>
                      <a:cubicBezTo>
                        <a:pt x="6975" y="43595"/>
                        <a:pt x="5730" y="37367"/>
                        <a:pt x="5356" y="33008"/>
                      </a:cubicBezTo>
                      <a:cubicBezTo>
                        <a:pt x="4733" y="26033"/>
                        <a:pt x="6228" y="22670"/>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1" name="Freeform 4470">
                  <a:extLst>
                    <a:ext uri="{FF2B5EF4-FFF2-40B4-BE49-F238E27FC236}">
                      <a16:creationId xmlns:a16="http://schemas.microsoft.com/office/drawing/2014/main" id="{52307AA2-7F18-2C6C-3763-F75846B423BD}"/>
                    </a:ext>
                  </a:extLst>
                </p:cNvPr>
                <p:cNvSpPr/>
                <p:nvPr/>
              </p:nvSpPr>
              <p:spPr>
                <a:xfrm>
                  <a:off x="5967780" y="5785870"/>
                  <a:ext cx="26708" cy="26430"/>
                </a:xfrm>
                <a:custGeom>
                  <a:avLst/>
                  <a:gdLst>
                    <a:gd name="connsiteX0" fmla="*/ 26433 w 26708"/>
                    <a:gd name="connsiteY0" fmla="*/ 10620 h 26430"/>
                    <a:gd name="connsiteX1" fmla="*/ 15970 w 26708"/>
                    <a:gd name="connsiteY1" fmla="*/ 26189 h 26430"/>
                    <a:gd name="connsiteX2" fmla="*/ 276 w 26708"/>
                    <a:gd name="connsiteY2" fmla="*/ 15851 h 26430"/>
                    <a:gd name="connsiteX3" fmla="*/ 10739 w 26708"/>
                    <a:gd name="connsiteY3" fmla="*/ 281 h 26430"/>
                    <a:gd name="connsiteX4" fmla="*/ 26433 w 26708"/>
                    <a:gd name="connsiteY4" fmla="*/ 10620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30">
                      <a:moveTo>
                        <a:pt x="26433" y="10620"/>
                      </a:moveTo>
                      <a:cubicBezTo>
                        <a:pt x="27927" y="17844"/>
                        <a:pt x="23195" y="24819"/>
                        <a:pt x="15970" y="26189"/>
                      </a:cubicBezTo>
                      <a:cubicBezTo>
                        <a:pt x="8746" y="27559"/>
                        <a:pt x="1771" y="22951"/>
                        <a:pt x="276" y="15851"/>
                      </a:cubicBezTo>
                      <a:cubicBezTo>
                        <a:pt x="-1219" y="8627"/>
                        <a:pt x="3514" y="1652"/>
                        <a:pt x="10739" y="281"/>
                      </a:cubicBezTo>
                      <a:cubicBezTo>
                        <a:pt x="18088" y="-1213"/>
                        <a:pt x="25063" y="3395"/>
                        <a:pt x="26433" y="106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2" name="Freeform 4471">
                  <a:extLst>
                    <a:ext uri="{FF2B5EF4-FFF2-40B4-BE49-F238E27FC236}">
                      <a16:creationId xmlns:a16="http://schemas.microsoft.com/office/drawing/2014/main" id="{59C340CE-71B9-69F9-0F4B-9C3D9AFB9AEA}"/>
                    </a:ext>
                  </a:extLst>
                </p:cNvPr>
                <p:cNvSpPr/>
                <p:nvPr/>
              </p:nvSpPr>
              <p:spPr>
                <a:xfrm>
                  <a:off x="5997467" y="5860139"/>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8" y="25784"/>
                        <a:pt x="3348" y="23293"/>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3" name="Freeform 4472">
                  <a:extLst>
                    <a:ext uri="{FF2B5EF4-FFF2-40B4-BE49-F238E27FC236}">
                      <a16:creationId xmlns:a16="http://schemas.microsoft.com/office/drawing/2014/main" id="{EA372C22-CCAC-BFFC-1F5E-2F5A83B2D6FB}"/>
                    </a:ext>
                  </a:extLst>
                </p:cNvPr>
                <p:cNvSpPr/>
                <p:nvPr/>
              </p:nvSpPr>
              <p:spPr>
                <a:xfrm>
                  <a:off x="5990601" y="5866616"/>
                  <a:ext cx="10960" cy="50944"/>
                </a:xfrm>
                <a:custGeom>
                  <a:avLst/>
                  <a:gdLst>
                    <a:gd name="connsiteX0" fmla="*/ 0 w 10960"/>
                    <a:gd name="connsiteY0" fmla="*/ 0 h 50944"/>
                    <a:gd name="connsiteX1" fmla="*/ 5605 w 10960"/>
                    <a:gd name="connsiteY1" fmla="*/ 17936 h 50944"/>
                    <a:gd name="connsiteX2" fmla="*/ 5605 w 10960"/>
                    <a:gd name="connsiteY2" fmla="*/ 35374 h 50944"/>
                    <a:gd name="connsiteX3" fmla="*/ 10961 w 1096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0" h="50944">
                      <a:moveTo>
                        <a:pt x="0" y="0"/>
                      </a:moveTo>
                      <a:cubicBezTo>
                        <a:pt x="3986" y="7349"/>
                        <a:pt x="5231" y="13577"/>
                        <a:pt x="5605" y="17936"/>
                      </a:cubicBezTo>
                      <a:cubicBezTo>
                        <a:pt x="6228" y="24912"/>
                        <a:pt x="4733" y="28274"/>
                        <a:pt x="5605" y="35374"/>
                      </a:cubicBezTo>
                      <a:cubicBezTo>
                        <a:pt x="6477" y="42225"/>
                        <a:pt x="8968" y="47581"/>
                        <a:pt x="1096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4" name="Freeform 4473">
                  <a:extLst>
                    <a:ext uri="{FF2B5EF4-FFF2-40B4-BE49-F238E27FC236}">
                      <a16:creationId xmlns:a16="http://schemas.microsoft.com/office/drawing/2014/main" id="{1198BA47-9B68-1DD7-480F-A95BBD2C2D17}"/>
                    </a:ext>
                  </a:extLst>
                </p:cNvPr>
                <p:cNvSpPr/>
                <p:nvPr/>
              </p:nvSpPr>
              <p:spPr>
                <a:xfrm>
                  <a:off x="5992188" y="5905736"/>
                  <a:ext cx="26465" cy="26514"/>
                </a:xfrm>
                <a:custGeom>
                  <a:avLst/>
                  <a:gdLst>
                    <a:gd name="connsiteX0" fmla="*/ 281 w 26465"/>
                    <a:gd name="connsiteY0" fmla="*/ 15811 h 26514"/>
                    <a:gd name="connsiteX1" fmla="*/ 10619 w 26465"/>
                    <a:gd name="connsiteY1" fmla="*/ 241 h 26514"/>
                    <a:gd name="connsiteX2" fmla="*/ 26189 w 26465"/>
                    <a:gd name="connsiteY2" fmla="*/ 10704 h 26514"/>
                    <a:gd name="connsiteX3" fmla="*/ 15851 w 26465"/>
                    <a:gd name="connsiteY3" fmla="*/ 26273 h 26514"/>
                    <a:gd name="connsiteX4" fmla="*/ 281 w 26465"/>
                    <a:gd name="connsiteY4" fmla="*/ 15811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5" h="26513">
                      <a:moveTo>
                        <a:pt x="281" y="15811"/>
                      </a:moveTo>
                      <a:cubicBezTo>
                        <a:pt x="-1213" y="8586"/>
                        <a:pt x="3395" y="1611"/>
                        <a:pt x="10619" y="241"/>
                      </a:cubicBezTo>
                      <a:cubicBezTo>
                        <a:pt x="17719" y="-1129"/>
                        <a:pt x="24694" y="3479"/>
                        <a:pt x="26189" y="10704"/>
                      </a:cubicBezTo>
                      <a:cubicBezTo>
                        <a:pt x="27684" y="17928"/>
                        <a:pt x="22951" y="24779"/>
                        <a:pt x="15851" y="26273"/>
                      </a:cubicBezTo>
                      <a:cubicBezTo>
                        <a:pt x="8626" y="27643"/>
                        <a:pt x="1651" y="23035"/>
                        <a:pt x="28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1" name="Graphic 2987">
                <a:extLst>
                  <a:ext uri="{FF2B5EF4-FFF2-40B4-BE49-F238E27FC236}">
                    <a16:creationId xmlns:a16="http://schemas.microsoft.com/office/drawing/2014/main" id="{C5CD621D-6F72-D304-5E8E-EFCF444F1C71}"/>
                  </a:ext>
                </a:extLst>
              </p:cNvPr>
              <p:cNvGrpSpPr/>
              <p:nvPr/>
            </p:nvGrpSpPr>
            <p:grpSpPr>
              <a:xfrm>
                <a:off x="5997051" y="5780057"/>
                <a:ext cx="50215" cy="146583"/>
                <a:chOff x="5997051" y="5780057"/>
                <a:chExt cx="50215" cy="146583"/>
              </a:xfrm>
              <a:grpFill/>
            </p:grpSpPr>
            <p:sp>
              <p:nvSpPr>
                <p:cNvPr id="4973" name="Freeform 4475">
                  <a:extLst>
                    <a:ext uri="{FF2B5EF4-FFF2-40B4-BE49-F238E27FC236}">
                      <a16:creationId xmlns:a16="http://schemas.microsoft.com/office/drawing/2014/main" id="{7C88C788-B7F1-3808-8FCA-DF29EBD58F2B}"/>
                    </a:ext>
                  </a:extLst>
                </p:cNvPr>
                <p:cNvSpPr/>
                <p:nvPr/>
              </p:nvSpPr>
              <p:spPr>
                <a:xfrm>
                  <a:off x="6007874" y="5800974"/>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6"/>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4" name="Freeform 4476">
                  <a:extLst>
                    <a:ext uri="{FF2B5EF4-FFF2-40B4-BE49-F238E27FC236}">
                      <a16:creationId xmlns:a16="http://schemas.microsoft.com/office/drawing/2014/main" id="{FF99F651-A240-481D-4F4F-BB830F75BCCB}"/>
                    </a:ext>
                  </a:extLst>
                </p:cNvPr>
                <p:cNvSpPr/>
                <p:nvPr/>
              </p:nvSpPr>
              <p:spPr>
                <a:xfrm>
                  <a:off x="6014018" y="5794622"/>
                  <a:ext cx="10961" cy="51068"/>
                </a:xfrm>
                <a:custGeom>
                  <a:avLst/>
                  <a:gdLst>
                    <a:gd name="connsiteX0" fmla="*/ 10961 w 10961"/>
                    <a:gd name="connsiteY0" fmla="*/ 51068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8"/>
                      </a:moveTo>
                      <a:cubicBezTo>
                        <a:pt x="6976" y="43595"/>
                        <a:pt x="5730" y="37492"/>
                        <a:pt x="5356" y="33132"/>
                      </a:cubicBezTo>
                      <a:cubicBezTo>
                        <a:pt x="4733" y="26157"/>
                        <a:pt x="6228" y="22794"/>
                        <a:pt x="5356"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5" name="Freeform 4477">
                  <a:extLst>
                    <a:ext uri="{FF2B5EF4-FFF2-40B4-BE49-F238E27FC236}">
                      <a16:creationId xmlns:a16="http://schemas.microsoft.com/office/drawing/2014/main" id="{41C186D5-C381-6BBE-305A-DA38E8162FB0}"/>
                    </a:ext>
                  </a:extLst>
                </p:cNvPr>
                <p:cNvSpPr/>
                <p:nvPr/>
              </p:nvSpPr>
              <p:spPr>
                <a:xfrm>
                  <a:off x="5997051" y="5780057"/>
                  <a:ext cx="26673" cy="26514"/>
                </a:xfrm>
                <a:custGeom>
                  <a:avLst/>
                  <a:gdLst>
                    <a:gd name="connsiteX0" fmla="*/ 26433 w 26673"/>
                    <a:gd name="connsiteY0" fmla="*/ 10704 h 26514"/>
                    <a:gd name="connsiteX1" fmla="*/ 15970 w 26673"/>
                    <a:gd name="connsiteY1" fmla="*/ 26274 h 26514"/>
                    <a:gd name="connsiteX2" fmla="*/ 276 w 26673"/>
                    <a:gd name="connsiteY2" fmla="*/ 15810 h 26514"/>
                    <a:gd name="connsiteX3" fmla="*/ 10739 w 26673"/>
                    <a:gd name="connsiteY3" fmla="*/ 241 h 26514"/>
                    <a:gd name="connsiteX4" fmla="*/ 26433 w 26673"/>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513">
                      <a:moveTo>
                        <a:pt x="26433" y="10704"/>
                      </a:moveTo>
                      <a:cubicBezTo>
                        <a:pt x="27803" y="17928"/>
                        <a:pt x="23194" y="24903"/>
                        <a:pt x="15970" y="26274"/>
                      </a:cubicBezTo>
                      <a:cubicBezTo>
                        <a:pt x="8746" y="27644"/>
                        <a:pt x="1770" y="23035"/>
                        <a:pt x="276" y="15810"/>
                      </a:cubicBezTo>
                      <a:cubicBezTo>
                        <a:pt x="-1219" y="8586"/>
                        <a:pt x="3514" y="1611"/>
                        <a:pt x="10739" y="241"/>
                      </a:cubicBezTo>
                      <a:cubicBezTo>
                        <a:pt x="17963" y="-1129"/>
                        <a:pt x="24938" y="3479"/>
                        <a:pt x="2643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6" name="Freeform 4478">
                  <a:extLst>
                    <a:ext uri="{FF2B5EF4-FFF2-40B4-BE49-F238E27FC236}">
                      <a16:creationId xmlns:a16="http://schemas.microsoft.com/office/drawing/2014/main" id="{027CF0B6-02AF-B3C6-8D68-B7A792B8FDEB}"/>
                    </a:ext>
                  </a:extLst>
                </p:cNvPr>
                <p:cNvSpPr/>
                <p:nvPr/>
              </p:nvSpPr>
              <p:spPr>
                <a:xfrm>
                  <a:off x="6026613" y="5854534"/>
                  <a:ext cx="10115" cy="51193"/>
                </a:xfrm>
                <a:custGeom>
                  <a:avLst/>
                  <a:gdLst>
                    <a:gd name="connsiteX0" fmla="*/ 9825 w 10115"/>
                    <a:gd name="connsiteY0" fmla="*/ 51193 h 51193"/>
                    <a:gd name="connsiteX1" fmla="*/ 8081 w 10115"/>
                    <a:gd name="connsiteY1" fmla="*/ 32509 h 51193"/>
                    <a:gd name="connsiteX2" fmla="*/ 1480 w 10115"/>
                    <a:gd name="connsiteY2" fmla="*/ 16442 h 51193"/>
                    <a:gd name="connsiteX3" fmla="*/ 359 w 10115"/>
                    <a:gd name="connsiteY3" fmla="*/ 0 h 51193"/>
                  </a:gdLst>
                  <a:ahLst/>
                  <a:cxnLst>
                    <a:cxn ang="0">
                      <a:pos x="connsiteX0" y="connsiteY0"/>
                    </a:cxn>
                    <a:cxn ang="0">
                      <a:pos x="connsiteX1" y="connsiteY1"/>
                    </a:cxn>
                    <a:cxn ang="0">
                      <a:pos x="connsiteX2" y="connsiteY2"/>
                    </a:cxn>
                    <a:cxn ang="0">
                      <a:pos x="connsiteX3" y="connsiteY3"/>
                    </a:cxn>
                  </a:cxnLst>
                  <a:rect l="l" t="t" r="r" b="b"/>
                  <a:pathLst>
                    <a:path w="10115" h="51193">
                      <a:moveTo>
                        <a:pt x="9825" y="51193"/>
                      </a:moveTo>
                      <a:cubicBezTo>
                        <a:pt x="10697" y="42848"/>
                        <a:pt x="9452" y="36620"/>
                        <a:pt x="8081" y="32509"/>
                      </a:cubicBezTo>
                      <a:cubicBezTo>
                        <a:pt x="5964" y="25784"/>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7" name="Freeform 4479">
                  <a:extLst>
                    <a:ext uri="{FF2B5EF4-FFF2-40B4-BE49-F238E27FC236}">
                      <a16:creationId xmlns:a16="http://schemas.microsoft.com/office/drawing/2014/main" id="{9A10C294-5674-7E22-D906-DAFDF953B30F}"/>
                    </a:ext>
                  </a:extLst>
                </p:cNvPr>
                <p:cNvSpPr/>
                <p:nvPr/>
              </p:nvSpPr>
              <p:spPr>
                <a:xfrm>
                  <a:off x="6019623" y="5861011"/>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4"/>
                        <a:pt x="5232" y="13577"/>
                        <a:pt x="5605" y="17936"/>
                      </a:cubicBezTo>
                      <a:cubicBezTo>
                        <a:pt x="6228" y="24912"/>
                        <a:pt x="4733" y="28274"/>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8" name="Freeform 4480">
                  <a:extLst>
                    <a:ext uri="{FF2B5EF4-FFF2-40B4-BE49-F238E27FC236}">
                      <a16:creationId xmlns:a16="http://schemas.microsoft.com/office/drawing/2014/main" id="{1AAEA835-8B27-3567-31BD-548A2EA060FB}"/>
                    </a:ext>
                  </a:extLst>
                </p:cNvPr>
                <p:cNvSpPr/>
                <p:nvPr/>
              </p:nvSpPr>
              <p:spPr>
                <a:xfrm>
                  <a:off x="6020966" y="5900130"/>
                  <a:ext cx="26300" cy="26509"/>
                </a:xfrm>
                <a:custGeom>
                  <a:avLst/>
                  <a:gdLst>
                    <a:gd name="connsiteX0" fmla="*/ 276 w 26300"/>
                    <a:gd name="connsiteY0" fmla="*/ 15810 h 26509"/>
                    <a:gd name="connsiteX1" fmla="*/ 10614 w 26300"/>
                    <a:gd name="connsiteY1" fmla="*/ 241 h 26509"/>
                    <a:gd name="connsiteX2" fmla="*/ 26060 w 26300"/>
                    <a:gd name="connsiteY2" fmla="*/ 10704 h 26509"/>
                    <a:gd name="connsiteX3" fmla="*/ 15721 w 26300"/>
                    <a:gd name="connsiteY3" fmla="*/ 26273 h 26509"/>
                    <a:gd name="connsiteX4" fmla="*/ 276 w 26300"/>
                    <a:gd name="connsiteY4" fmla="*/ 15810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0" h="26509">
                      <a:moveTo>
                        <a:pt x="276" y="15810"/>
                      </a:moveTo>
                      <a:cubicBezTo>
                        <a:pt x="-1219" y="8586"/>
                        <a:pt x="3515" y="1735"/>
                        <a:pt x="10614" y="241"/>
                      </a:cubicBezTo>
                      <a:cubicBezTo>
                        <a:pt x="17714" y="-1129"/>
                        <a:pt x="24689" y="3479"/>
                        <a:pt x="26060" y="10704"/>
                      </a:cubicBezTo>
                      <a:cubicBezTo>
                        <a:pt x="27430" y="17928"/>
                        <a:pt x="22821" y="24779"/>
                        <a:pt x="15721" y="26273"/>
                      </a:cubicBezTo>
                      <a:cubicBezTo>
                        <a:pt x="8746" y="27644"/>
                        <a:pt x="1771" y="22910"/>
                        <a:pt x="276" y="15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2" name="Graphic 2987">
                <a:extLst>
                  <a:ext uri="{FF2B5EF4-FFF2-40B4-BE49-F238E27FC236}">
                    <a16:creationId xmlns:a16="http://schemas.microsoft.com/office/drawing/2014/main" id="{7BF035E9-D0FD-436E-621F-B2F6AEF19E44}"/>
                  </a:ext>
                </a:extLst>
              </p:cNvPr>
              <p:cNvGrpSpPr/>
              <p:nvPr/>
            </p:nvGrpSpPr>
            <p:grpSpPr>
              <a:xfrm>
                <a:off x="6026357" y="5774332"/>
                <a:ext cx="49806" cy="146618"/>
                <a:chOff x="6026357" y="5774332"/>
                <a:chExt cx="49806" cy="146618"/>
              </a:xfrm>
              <a:grpFill/>
            </p:grpSpPr>
            <p:sp>
              <p:nvSpPr>
                <p:cNvPr id="4967" name="Freeform 4482">
                  <a:extLst>
                    <a:ext uri="{FF2B5EF4-FFF2-40B4-BE49-F238E27FC236}">
                      <a16:creationId xmlns:a16="http://schemas.microsoft.com/office/drawing/2014/main" id="{6832F191-7C58-1A0E-399E-7774FD944819}"/>
                    </a:ext>
                  </a:extLst>
                </p:cNvPr>
                <p:cNvSpPr/>
                <p:nvPr/>
              </p:nvSpPr>
              <p:spPr>
                <a:xfrm>
                  <a:off x="6037019" y="5795244"/>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1" y="8346"/>
                        <a:pt x="665" y="14573"/>
                        <a:pt x="1910" y="18684"/>
                      </a:cubicBezTo>
                      <a:cubicBezTo>
                        <a:pt x="4028" y="25410"/>
                        <a:pt x="6644" y="27901"/>
                        <a:pt x="8512" y="34752"/>
                      </a:cubicBezTo>
                      <a:cubicBezTo>
                        <a:pt x="10381"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8" name="Freeform 4483">
                  <a:extLst>
                    <a:ext uri="{FF2B5EF4-FFF2-40B4-BE49-F238E27FC236}">
                      <a16:creationId xmlns:a16="http://schemas.microsoft.com/office/drawing/2014/main" id="{D2E8DB54-4DCB-0101-39E7-F8F6DF122C29}"/>
                    </a:ext>
                  </a:extLst>
                </p:cNvPr>
                <p:cNvSpPr/>
                <p:nvPr/>
              </p:nvSpPr>
              <p:spPr>
                <a:xfrm>
                  <a:off x="6043413" y="5788892"/>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356" y="37367"/>
                        <a:pt x="5107" y="33132"/>
                      </a:cubicBezTo>
                      <a:cubicBezTo>
                        <a:pt x="4484" y="26157"/>
                        <a:pt x="6103" y="22794"/>
                        <a:pt x="5231"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9" name="Freeform 4484">
                  <a:extLst>
                    <a:ext uri="{FF2B5EF4-FFF2-40B4-BE49-F238E27FC236}">
                      <a16:creationId xmlns:a16="http://schemas.microsoft.com/office/drawing/2014/main" id="{24E245C5-3B6B-FF4E-C9B4-469E357C49FD}"/>
                    </a:ext>
                  </a:extLst>
                </p:cNvPr>
                <p:cNvSpPr/>
                <p:nvPr/>
              </p:nvSpPr>
              <p:spPr>
                <a:xfrm>
                  <a:off x="6026357" y="5774332"/>
                  <a:ext cx="26509" cy="26509"/>
                </a:xfrm>
                <a:custGeom>
                  <a:avLst/>
                  <a:gdLst>
                    <a:gd name="connsiteX0" fmla="*/ 26273 w 26509"/>
                    <a:gd name="connsiteY0" fmla="*/ 10699 h 26509"/>
                    <a:gd name="connsiteX1" fmla="*/ 15810 w 26509"/>
                    <a:gd name="connsiteY1" fmla="*/ 26269 h 26509"/>
                    <a:gd name="connsiteX2" fmla="*/ 241 w 26509"/>
                    <a:gd name="connsiteY2" fmla="*/ 15806 h 26509"/>
                    <a:gd name="connsiteX3" fmla="*/ 10704 w 26509"/>
                    <a:gd name="connsiteY3" fmla="*/ 236 h 26509"/>
                    <a:gd name="connsiteX4" fmla="*/ 26273 w 26509"/>
                    <a:gd name="connsiteY4" fmla="*/ 10699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9" h="26509">
                      <a:moveTo>
                        <a:pt x="26273" y="10699"/>
                      </a:moveTo>
                      <a:cubicBezTo>
                        <a:pt x="27644" y="17924"/>
                        <a:pt x="22910" y="24899"/>
                        <a:pt x="15810" y="26269"/>
                      </a:cubicBezTo>
                      <a:cubicBezTo>
                        <a:pt x="8586" y="27639"/>
                        <a:pt x="1611" y="23030"/>
                        <a:pt x="241" y="15806"/>
                      </a:cubicBezTo>
                      <a:cubicBezTo>
                        <a:pt x="-1129" y="8582"/>
                        <a:pt x="3479" y="1607"/>
                        <a:pt x="10704" y="236"/>
                      </a:cubicBezTo>
                      <a:cubicBezTo>
                        <a:pt x="17928" y="-1134"/>
                        <a:pt x="24903" y="3600"/>
                        <a:pt x="26273"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0" name="Freeform 4485">
                  <a:extLst>
                    <a:ext uri="{FF2B5EF4-FFF2-40B4-BE49-F238E27FC236}">
                      <a16:creationId xmlns:a16="http://schemas.microsoft.com/office/drawing/2014/main" id="{BD2B9619-F3AA-AC89-1E3B-EFC31CEB8BDF}"/>
                    </a:ext>
                  </a:extLst>
                </p:cNvPr>
                <p:cNvSpPr/>
                <p:nvPr/>
              </p:nvSpPr>
              <p:spPr>
                <a:xfrm>
                  <a:off x="6055751" y="5848929"/>
                  <a:ext cx="9875" cy="51193"/>
                </a:xfrm>
                <a:custGeom>
                  <a:avLst/>
                  <a:gdLst>
                    <a:gd name="connsiteX0" fmla="*/ 9584 w 9875"/>
                    <a:gd name="connsiteY0" fmla="*/ 51193 h 51193"/>
                    <a:gd name="connsiteX1" fmla="*/ 7965 w 9875"/>
                    <a:gd name="connsiteY1" fmla="*/ 32510 h 51193"/>
                    <a:gd name="connsiteX2" fmla="*/ 1364 w 9875"/>
                    <a:gd name="connsiteY2" fmla="*/ 16442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8"/>
                        <a:pt x="9211" y="36620"/>
                        <a:pt x="7965" y="32510"/>
                      </a:cubicBezTo>
                      <a:cubicBezTo>
                        <a:pt x="5847" y="25784"/>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1" name="Freeform 4486">
                  <a:extLst>
                    <a:ext uri="{FF2B5EF4-FFF2-40B4-BE49-F238E27FC236}">
                      <a16:creationId xmlns:a16="http://schemas.microsoft.com/office/drawing/2014/main" id="{27B14F62-3902-E7F9-056D-A3CB17134BCB}"/>
                    </a:ext>
                  </a:extLst>
                </p:cNvPr>
                <p:cNvSpPr/>
                <p:nvPr/>
              </p:nvSpPr>
              <p:spPr>
                <a:xfrm>
                  <a:off x="6048645" y="5855406"/>
                  <a:ext cx="10712" cy="51068"/>
                </a:xfrm>
                <a:custGeom>
                  <a:avLst/>
                  <a:gdLst>
                    <a:gd name="connsiteX0" fmla="*/ 0 w 10712"/>
                    <a:gd name="connsiteY0" fmla="*/ 0 h 51068"/>
                    <a:gd name="connsiteX1" fmla="*/ 5481 w 10712"/>
                    <a:gd name="connsiteY1" fmla="*/ 17936 h 51068"/>
                    <a:gd name="connsiteX2" fmla="*/ 5481 w 10712"/>
                    <a:gd name="connsiteY2" fmla="*/ 35374 h 51068"/>
                    <a:gd name="connsiteX3" fmla="*/ 10712 w 107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712" h="51068">
                      <a:moveTo>
                        <a:pt x="0" y="0"/>
                      </a:moveTo>
                      <a:cubicBezTo>
                        <a:pt x="3986" y="7473"/>
                        <a:pt x="5232" y="13701"/>
                        <a:pt x="5481" y="17936"/>
                      </a:cubicBezTo>
                      <a:cubicBezTo>
                        <a:pt x="6104" y="24912"/>
                        <a:pt x="4609" y="28274"/>
                        <a:pt x="5481" y="35374"/>
                      </a:cubicBezTo>
                      <a:cubicBezTo>
                        <a:pt x="6353" y="42225"/>
                        <a:pt x="8844" y="47581"/>
                        <a:pt x="1071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2" name="Freeform 4487">
                  <a:extLst>
                    <a:ext uri="{FF2B5EF4-FFF2-40B4-BE49-F238E27FC236}">
                      <a16:creationId xmlns:a16="http://schemas.microsoft.com/office/drawing/2014/main" id="{C58A7539-96F0-F3BE-F7CC-CC7FEAAAFD90}"/>
                    </a:ext>
                  </a:extLst>
                </p:cNvPr>
                <p:cNvSpPr/>
                <p:nvPr/>
              </p:nvSpPr>
              <p:spPr>
                <a:xfrm>
                  <a:off x="6049899" y="5894401"/>
                  <a:ext cx="26265" cy="26549"/>
                </a:xfrm>
                <a:custGeom>
                  <a:avLst/>
                  <a:gdLst>
                    <a:gd name="connsiteX0" fmla="*/ 241 w 26265"/>
                    <a:gd name="connsiteY0" fmla="*/ 15811 h 26549"/>
                    <a:gd name="connsiteX1" fmla="*/ 10579 w 26265"/>
                    <a:gd name="connsiteY1" fmla="*/ 241 h 26549"/>
                    <a:gd name="connsiteX2" fmla="*/ 26024 w 26265"/>
                    <a:gd name="connsiteY2" fmla="*/ 10704 h 26549"/>
                    <a:gd name="connsiteX3" fmla="*/ 15686 w 26265"/>
                    <a:gd name="connsiteY3" fmla="*/ 26273 h 26549"/>
                    <a:gd name="connsiteX4" fmla="*/ 241 w 26265"/>
                    <a:gd name="connsiteY4" fmla="*/ 15811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49">
                      <a:moveTo>
                        <a:pt x="241" y="15811"/>
                      </a:moveTo>
                      <a:cubicBezTo>
                        <a:pt x="-1129" y="8586"/>
                        <a:pt x="3479" y="1736"/>
                        <a:pt x="10579" y="241"/>
                      </a:cubicBezTo>
                      <a:cubicBezTo>
                        <a:pt x="17679" y="-1129"/>
                        <a:pt x="24654" y="3479"/>
                        <a:pt x="26024" y="10704"/>
                      </a:cubicBezTo>
                      <a:cubicBezTo>
                        <a:pt x="27395" y="17928"/>
                        <a:pt x="22786" y="24903"/>
                        <a:pt x="15686" y="26273"/>
                      </a:cubicBezTo>
                      <a:cubicBezTo>
                        <a:pt x="8586" y="27768"/>
                        <a:pt x="1736" y="23035"/>
                        <a:pt x="24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3" name="Graphic 2987">
                <a:extLst>
                  <a:ext uri="{FF2B5EF4-FFF2-40B4-BE49-F238E27FC236}">
                    <a16:creationId xmlns:a16="http://schemas.microsoft.com/office/drawing/2014/main" id="{AB093147-6E3D-0C97-19D9-9409ACE72055}"/>
                  </a:ext>
                </a:extLst>
              </p:cNvPr>
              <p:cNvGrpSpPr/>
              <p:nvPr/>
            </p:nvGrpSpPr>
            <p:grpSpPr>
              <a:xfrm>
                <a:off x="6055509" y="5768722"/>
                <a:ext cx="49677" cy="146622"/>
                <a:chOff x="6055509" y="5768722"/>
                <a:chExt cx="49677" cy="146622"/>
              </a:xfrm>
              <a:grpFill/>
            </p:grpSpPr>
            <p:sp>
              <p:nvSpPr>
                <p:cNvPr id="4961" name="Freeform 4489">
                  <a:extLst>
                    <a:ext uri="{FF2B5EF4-FFF2-40B4-BE49-F238E27FC236}">
                      <a16:creationId xmlns:a16="http://schemas.microsoft.com/office/drawing/2014/main" id="{BEC50D9B-0176-D0A7-7877-2F84A89AB4D8}"/>
                    </a:ext>
                  </a:extLst>
                </p:cNvPr>
                <p:cNvSpPr/>
                <p:nvPr/>
              </p:nvSpPr>
              <p:spPr>
                <a:xfrm>
                  <a:off x="6066274" y="5789515"/>
                  <a:ext cx="9891" cy="51193"/>
                </a:xfrm>
                <a:custGeom>
                  <a:avLst/>
                  <a:gdLst>
                    <a:gd name="connsiteX0" fmla="*/ 307 w 9891"/>
                    <a:gd name="connsiteY0" fmla="*/ 0 h 51193"/>
                    <a:gd name="connsiteX1" fmla="*/ 1927 w 9891"/>
                    <a:gd name="connsiteY1" fmla="*/ 18684 h 51193"/>
                    <a:gd name="connsiteX2" fmla="*/ 8528 w 9891"/>
                    <a:gd name="connsiteY2" fmla="*/ 34752 h 51193"/>
                    <a:gd name="connsiteX3" fmla="*/ 9525 w 989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91" h="51193">
                      <a:moveTo>
                        <a:pt x="307" y="0"/>
                      </a:moveTo>
                      <a:cubicBezTo>
                        <a:pt x="-564" y="8345"/>
                        <a:pt x="557" y="14573"/>
                        <a:pt x="1927" y="18684"/>
                      </a:cubicBezTo>
                      <a:cubicBezTo>
                        <a:pt x="4044" y="25410"/>
                        <a:pt x="6660" y="27901"/>
                        <a:pt x="8528" y="34752"/>
                      </a:cubicBezTo>
                      <a:cubicBezTo>
                        <a:pt x="10272" y="41478"/>
                        <a:pt x="10023" y="47332"/>
                        <a:pt x="952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2" name="Freeform 4490">
                  <a:extLst>
                    <a:ext uri="{FF2B5EF4-FFF2-40B4-BE49-F238E27FC236}">
                      <a16:creationId xmlns:a16="http://schemas.microsoft.com/office/drawing/2014/main" id="{B96A6583-206C-BC95-488E-980EBDE35F76}"/>
                    </a:ext>
                  </a:extLst>
                </p:cNvPr>
                <p:cNvSpPr/>
                <p:nvPr/>
              </p:nvSpPr>
              <p:spPr>
                <a:xfrm>
                  <a:off x="6072435" y="5783287"/>
                  <a:ext cx="10587" cy="51068"/>
                </a:xfrm>
                <a:custGeom>
                  <a:avLst/>
                  <a:gdLst>
                    <a:gd name="connsiteX0" fmla="*/ 10587 w 10587"/>
                    <a:gd name="connsiteY0" fmla="*/ 51069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4" y="22794"/>
                        <a:pt x="5232"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3" name="Freeform 4491">
                  <a:extLst>
                    <a:ext uri="{FF2B5EF4-FFF2-40B4-BE49-F238E27FC236}">
                      <a16:creationId xmlns:a16="http://schemas.microsoft.com/office/drawing/2014/main" id="{2289F681-7EA6-C3FA-FE2E-03D6258D94D1}"/>
                    </a:ext>
                  </a:extLst>
                </p:cNvPr>
                <p:cNvSpPr/>
                <p:nvPr/>
              </p:nvSpPr>
              <p:spPr>
                <a:xfrm>
                  <a:off x="6055509" y="5768722"/>
                  <a:ext cx="26629" cy="26514"/>
                </a:xfrm>
                <a:custGeom>
                  <a:avLst/>
                  <a:gdLst>
                    <a:gd name="connsiteX0" fmla="*/ 26393 w 26629"/>
                    <a:gd name="connsiteY0" fmla="*/ 10704 h 26514"/>
                    <a:gd name="connsiteX1" fmla="*/ 15806 w 26629"/>
                    <a:gd name="connsiteY1" fmla="*/ 26273 h 26514"/>
                    <a:gd name="connsiteX2" fmla="*/ 236 w 26629"/>
                    <a:gd name="connsiteY2" fmla="*/ 15811 h 26514"/>
                    <a:gd name="connsiteX3" fmla="*/ 10823 w 26629"/>
                    <a:gd name="connsiteY3" fmla="*/ 241 h 26514"/>
                    <a:gd name="connsiteX4" fmla="*/ 26393 w 26629"/>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13">
                      <a:moveTo>
                        <a:pt x="26393" y="10704"/>
                      </a:moveTo>
                      <a:cubicBezTo>
                        <a:pt x="27764" y="17928"/>
                        <a:pt x="23030" y="24903"/>
                        <a:pt x="15806" y="26273"/>
                      </a:cubicBezTo>
                      <a:cubicBezTo>
                        <a:pt x="8582" y="27643"/>
                        <a:pt x="1606" y="23035"/>
                        <a:pt x="236" y="15811"/>
                      </a:cubicBezTo>
                      <a:cubicBezTo>
                        <a:pt x="-1134" y="8586"/>
                        <a:pt x="3599" y="1611"/>
                        <a:pt x="10823" y="241"/>
                      </a:cubicBezTo>
                      <a:cubicBezTo>
                        <a:pt x="18048" y="-1129"/>
                        <a:pt x="25023" y="3479"/>
                        <a:pt x="2639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4" name="Freeform 4492">
                  <a:extLst>
                    <a:ext uri="{FF2B5EF4-FFF2-40B4-BE49-F238E27FC236}">
                      <a16:creationId xmlns:a16="http://schemas.microsoft.com/office/drawing/2014/main" id="{76C9FF2E-DF17-C740-B92E-546D810A9EA8}"/>
                    </a:ext>
                  </a:extLst>
                </p:cNvPr>
                <p:cNvSpPr/>
                <p:nvPr/>
              </p:nvSpPr>
              <p:spPr>
                <a:xfrm>
                  <a:off x="6084649" y="5843324"/>
                  <a:ext cx="9875" cy="51193"/>
                </a:xfrm>
                <a:custGeom>
                  <a:avLst/>
                  <a:gdLst>
                    <a:gd name="connsiteX0" fmla="*/ 9584 w 9875"/>
                    <a:gd name="connsiteY0" fmla="*/ 51193 h 51193"/>
                    <a:gd name="connsiteX1" fmla="*/ 7965 w 9875"/>
                    <a:gd name="connsiteY1" fmla="*/ 32509 h 51193"/>
                    <a:gd name="connsiteX2" fmla="*/ 1363 w 9875"/>
                    <a:gd name="connsiteY2" fmla="*/ 16441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7"/>
                        <a:pt x="9211" y="36620"/>
                        <a:pt x="7965" y="32509"/>
                      </a:cubicBezTo>
                      <a:cubicBezTo>
                        <a:pt x="5848" y="25783"/>
                        <a:pt x="3232" y="23292"/>
                        <a:pt x="1363"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5" name="Freeform 4493">
                  <a:extLst>
                    <a:ext uri="{FF2B5EF4-FFF2-40B4-BE49-F238E27FC236}">
                      <a16:creationId xmlns:a16="http://schemas.microsoft.com/office/drawing/2014/main" id="{C4057B4B-5A14-B3A2-848B-829F5CB8CB42}"/>
                    </a:ext>
                  </a:extLst>
                </p:cNvPr>
                <p:cNvSpPr/>
                <p:nvPr/>
              </p:nvSpPr>
              <p:spPr>
                <a:xfrm>
                  <a:off x="6077667" y="5849676"/>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4"/>
                        <a:pt x="5107" y="13701"/>
                        <a:pt x="5481" y="17936"/>
                      </a:cubicBezTo>
                      <a:cubicBezTo>
                        <a:pt x="5979" y="24912"/>
                        <a:pt x="4484" y="28275"/>
                        <a:pt x="5356" y="35374"/>
                      </a:cubicBezTo>
                      <a:cubicBezTo>
                        <a:pt x="6228" y="42225"/>
                        <a:pt x="8595" y="47581"/>
                        <a:pt x="1058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6" name="Freeform 4494">
                  <a:extLst>
                    <a:ext uri="{FF2B5EF4-FFF2-40B4-BE49-F238E27FC236}">
                      <a16:creationId xmlns:a16="http://schemas.microsoft.com/office/drawing/2014/main" id="{CA1B270B-0075-2C28-01CA-6BAA9956CF14}"/>
                    </a:ext>
                  </a:extLst>
                </p:cNvPr>
                <p:cNvSpPr/>
                <p:nvPr/>
              </p:nvSpPr>
              <p:spPr>
                <a:xfrm>
                  <a:off x="6078796" y="5888800"/>
                  <a:ext cx="26389" cy="26544"/>
                </a:xfrm>
                <a:custGeom>
                  <a:avLst/>
                  <a:gdLst>
                    <a:gd name="connsiteX0" fmla="*/ 241 w 26389"/>
                    <a:gd name="connsiteY0" fmla="*/ 15806 h 26544"/>
                    <a:gd name="connsiteX1" fmla="*/ 10704 w 26389"/>
                    <a:gd name="connsiteY1" fmla="*/ 236 h 26544"/>
                    <a:gd name="connsiteX2" fmla="*/ 26149 w 26389"/>
                    <a:gd name="connsiteY2" fmla="*/ 10699 h 26544"/>
                    <a:gd name="connsiteX3" fmla="*/ 15686 w 26389"/>
                    <a:gd name="connsiteY3" fmla="*/ 26269 h 26544"/>
                    <a:gd name="connsiteX4" fmla="*/ 241 w 26389"/>
                    <a:gd name="connsiteY4" fmla="*/ 1580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44">
                      <a:moveTo>
                        <a:pt x="241" y="15806"/>
                      </a:moveTo>
                      <a:cubicBezTo>
                        <a:pt x="-1129" y="8582"/>
                        <a:pt x="3479" y="1607"/>
                        <a:pt x="10704" y="236"/>
                      </a:cubicBezTo>
                      <a:cubicBezTo>
                        <a:pt x="17803" y="-1134"/>
                        <a:pt x="24779" y="3599"/>
                        <a:pt x="26149" y="10699"/>
                      </a:cubicBezTo>
                      <a:cubicBezTo>
                        <a:pt x="27519" y="17924"/>
                        <a:pt x="22910" y="24899"/>
                        <a:pt x="15686" y="26269"/>
                      </a:cubicBezTo>
                      <a:cubicBezTo>
                        <a:pt x="8586" y="27763"/>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4" name="Graphic 2987">
                <a:extLst>
                  <a:ext uri="{FF2B5EF4-FFF2-40B4-BE49-F238E27FC236}">
                    <a16:creationId xmlns:a16="http://schemas.microsoft.com/office/drawing/2014/main" id="{F0A8ED0B-AAD4-0E26-6F2F-48F8BE641D1D}"/>
                  </a:ext>
                </a:extLst>
              </p:cNvPr>
              <p:cNvGrpSpPr/>
              <p:nvPr/>
            </p:nvGrpSpPr>
            <p:grpSpPr>
              <a:xfrm>
                <a:off x="6084655" y="5762957"/>
                <a:ext cx="49423" cy="146747"/>
                <a:chOff x="6084655" y="5762957"/>
                <a:chExt cx="49423" cy="146747"/>
              </a:xfrm>
              <a:grpFill/>
            </p:grpSpPr>
            <p:sp>
              <p:nvSpPr>
                <p:cNvPr id="4955" name="Freeform 4496">
                  <a:extLst>
                    <a:ext uri="{FF2B5EF4-FFF2-40B4-BE49-F238E27FC236}">
                      <a16:creationId xmlns:a16="http://schemas.microsoft.com/office/drawing/2014/main" id="{1E2903AA-83DE-4838-9517-5481B410D996}"/>
                    </a:ext>
                  </a:extLst>
                </p:cNvPr>
                <p:cNvSpPr/>
                <p:nvPr/>
              </p:nvSpPr>
              <p:spPr>
                <a:xfrm>
                  <a:off x="6095368" y="5783910"/>
                  <a:ext cx="9944" cy="51317"/>
                </a:xfrm>
                <a:custGeom>
                  <a:avLst/>
                  <a:gdLst>
                    <a:gd name="connsiteX0" fmla="*/ 360 w 9944"/>
                    <a:gd name="connsiteY0" fmla="*/ 0 h 51317"/>
                    <a:gd name="connsiteX1" fmla="*/ 1979 w 9944"/>
                    <a:gd name="connsiteY1" fmla="*/ 18808 h 51317"/>
                    <a:gd name="connsiteX2" fmla="*/ 8581 w 9944"/>
                    <a:gd name="connsiteY2" fmla="*/ 34876 h 51317"/>
                    <a:gd name="connsiteX3" fmla="*/ 9577 w 9944"/>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944" h="51317">
                      <a:moveTo>
                        <a:pt x="360" y="0"/>
                      </a:moveTo>
                      <a:cubicBezTo>
                        <a:pt x="-636" y="8346"/>
                        <a:pt x="609" y="14573"/>
                        <a:pt x="1979" y="18808"/>
                      </a:cubicBezTo>
                      <a:cubicBezTo>
                        <a:pt x="4097" y="25535"/>
                        <a:pt x="6712" y="28025"/>
                        <a:pt x="8581" y="34876"/>
                      </a:cubicBezTo>
                      <a:cubicBezTo>
                        <a:pt x="10325" y="41602"/>
                        <a:pt x="10076" y="47456"/>
                        <a:pt x="957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6" name="Freeform 4497">
                  <a:extLst>
                    <a:ext uri="{FF2B5EF4-FFF2-40B4-BE49-F238E27FC236}">
                      <a16:creationId xmlns:a16="http://schemas.microsoft.com/office/drawing/2014/main" id="{B6F532CA-6D61-DDE8-C490-1275FBB2CAE3}"/>
                    </a:ext>
                  </a:extLst>
                </p:cNvPr>
                <p:cNvSpPr/>
                <p:nvPr/>
              </p:nvSpPr>
              <p:spPr>
                <a:xfrm>
                  <a:off x="6101582" y="5777557"/>
                  <a:ext cx="10587" cy="51068"/>
                </a:xfrm>
                <a:custGeom>
                  <a:avLst/>
                  <a:gdLst>
                    <a:gd name="connsiteX0" fmla="*/ 10587 w 10587"/>
                    <a:gd name="connsiteY0" fmla="*/ 51068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8"/>
                      </a:moveTo>
                      <a:cubicBezTo>
                        <a:pt x="6602" y="43595"/>
                        <a:pt x="5481" y="37367"/>
                        <a:pt x="5107" y="33132"/>
                      </a:cubicBezTo>
                      <a:cubicBezTo>
                        <a:pt x="4609" y="26157"/>
                        <a:pt x="6104" y="22794"/>
                        <a:pt x="5232"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7" name="Freeform 4498">
                  <a:extLst>
                    <a:ext uri="{FF2B5EF4-FFF2-40B4-BE49-F238E27FC236}">
                      <a16:creationId xmlns:a16="http://schemas.microsoft.com/office/drawing/2014/main" id="{BB48E4EF-E6AC-D05A-01AE-5AEAAA672BD6}"/>
                    </a:ext>
                  </a:extLst>
                </p:cNvPr>
                <p:cNvSpPr/>
                <p:nvPr/>
              </p:nvSpPr>
              <p:spPr>
                <a:xfrm>
                  <a:off x="6084655" y="5762957"/>
                  <a:ext cx="26629" cy="26549"/>
                </a:xfrm>
                <a:custGeom>
                  <a:avLst/>
                  <a:gdLst>
                    <a:gd name="connsiteX0" fmla="*/ 26393 w 26629"/>
                    <a:gd name="connsiteY0" fmla="*/ 10739 h 26549"/>
                    <a:gd name="connsiteX1" fmla="*/ 15806 w 26629"/>
                    <a:gd name="connsiteY1" fmla="*/ 26308 h 26549"/>
                    <a:gd name="connsiteX2" fmla="*/ 236 w 26629"/>
                    <a:gd name="connsiteY2" fmla="*/ 15846 h 26549"/>
                    <a:gd name="connsiteX3" fmla="*/ 10823 w 26629"/>
                    <a:gd name="connsiteY3" fmla="*/ 276 h 26549"/>
                    <a:gd name="connsiteX4" fmla="*/ 26393 w 26629"/>
                    <a:gd name="connsiteY4" fmla="*/ 10739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49">
                      <a:moveTo>
                        <a:pt x="26393" y="10739"/>
                      </a:moveTo>
                      <a:cubicBezTo>
                        <a:pt x="27764" y="17963"/>
                        <a:pt x="23030" y="24938"/>
                        <a:pt x="15806" y="26308"/>
                      </a:cubicBezTo>
                      <a:cubicBezTo>
                        <a:pt x="8582" y="27679"/>
                        <a:pt x="1606" y="23070"/>
                        <a:pt x="236" y="15846"/>
                      </a:cubicBezTo>
                      <a:cubicBezTo>
                        <a:pt x="-1134" y="8621"/>
                        <a:pt x="3599" y="1646"/>
                        <a:pt x="10823" y="276"/>
                      </a:cubicBezTo>
                      <a:cubicBezTo>
                        <a:pt x="18048" y="-1219"/>
                        <a:pt x="25023" y="3514"/>
                        <a:pt x="26393" y="107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8" name="Freeform 4499">
                  <a:extLst>
                    <a:ext uri="{FF2B5EF4-FFF2-40B4-BE49-F238E27FC236}">
                      <a16:creationId xmlns:a16="http://schemas.microsoft.com/office/drawing/2014/main" id="{035C6179-811E-5462-ED29-39FC60C6DD45}"/>
                    </a:ext>
                  </a:extLst>
                </p:cNvPr>
                <p:cNvSpPr/>
                <p:nvPr/>
              </p:nvSpPr>
              <p:spPr>
                <a:xfrm>
                  <a:off x="6113671" y="5837470"/>
                  <a:ext cx="9767" cy="51317"/>
                </a:xfrm>
                <a:custGeom>
                  <a:avLst/>
                  <a:gdLst>
                    <a:gd name="connsiteX0" fmla="*/ 9460 w 9767"/>
                    <a:gd name="connsiteY0" fmla="*/ 51318 h 51317"/>
                    <a:gd name="connsiteX1" fmla="*/ 7840 w 9767"/>
                    <a:gd name="connsiteY1" fmla="*/ 32509 h 51317"/>
                    <a:gd name="connsiteX2" fmla="*/ 1364 w 9767"/>
                    <a:gd name="connsiteY2" fmla="*/ 16441 h 51317"/>
                    <a:gd name="connsiteX3" fmla="*/ 367 w 9767"/>
                    <a:gd name="connsiteY3" fmla="*/ 0 h 51317"/>
                  </a:gdLst>
                  <a:ahLst/>
                  <a:cxnLst>
                    <a:cxn ang="0">
                      <a:pos x="connsiteX0" y="connsiteY0"/>
                    </a:cxn>
                    <a:cxn ang="0">
                      <a:pos x="connsiteX1" y="connsiteY1"/>
                    </a:cxn>
                    <a:cxn ang="0">
                      <a:pos x="connsiteX2" y="connsiteY2"/>
                    </a:cxn>
                    <a:cxn ang="0">
                      <a:pos x="connsiteX3" y="connsiteY3"/>
                    </a:cxn>
                  </a:cxnLst>
                  <a:rect l="l" t="t" r="r" b="b"/>
                  <a:pathLst>
                    <a:path w="9767" h="51317">
                      <a:moveTo>
                        <a:pt x="9460" y="51318"/>
                      </a:moveTo>
                      <a:cubicBezTo>
                        <a:pt x="10332" y="42972"/>
                        <a:pt x="9211" y="36744"/>
                        <a:pt x="7840" y="32509"/>
                      </a:cubicBezTo>
                      <a:cubicBezTo>
                        <a:pt x="5723" y="25783"/>
                        <a:pt x="3107" y="23292"/>
                        <a:pt x="1364"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9" name="Freeform 4500">
                  <a:extLst>
                    <a:ext uri="{FF2B5EF4-FFF2-40B4-BE49-F238E27FC236}">
                      <a16:creationId xmlns:a16="http://schemas.microsoft.com/office/drawing/2014/main" id="{FB0C234F-D23D-34B7-401A-222C7B59F38B}"/>
                    </a:ext>
                  </a:extLst>
                </p:cNvPr>
                <p:cNvSpPr/>
                <p:nvPr/>
              </p:nvSpPr>
              <p:spPr>
                <a:xfrm>
                  <a:off x="6106689" y="5844071"/>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4" y="28274"/>
                        <a:pt x="5356" y="35374"/>
                      </a:cubicBezTo>
                      <a:cubicBezTo>
                        <a:pt x="6228" y="42225"/>
                        <a:pt x="8595" y="47581"/>
                        <a:pt x="1058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0" name="Freeform 4501">
                  <a:extLst>
                    <a:ext uri="{FF2B5EF4-FFF2-40B4-BE49-F238E27FC236}">
                      <a16:creationId xmlns:a16="http://schemas.microsoft.com/office/drawing/2014/main" id="{6436689C-586A-D3A3-E631-E841ADA21F8B}"/>
                    </a:ext>
                  </a:extLst>
                </p:cNvPr>
                <p:cNvSpPr/>
                <p:nvPr/>
              </p:nvSpPr>
              <p:spPr>
                <a:xfrm>
                  <a:off x="6107693" y="5883195"/>
                  <a:ext cx="26385" cy="26509"/>
                </a:xfrm>
                <a:custGeom>
                  <a:avLst/>
                  <a:gdLst>
                    <a:gd name="connsiteX0" fmla="*/ 241 w 26385"/>
                    <a:gd name="connsiteY0" fmla="*/ 15806 h 26509"/>
                    <a:gd name="connsiteX1" fmla="*/ 10704 w 26385"/>
                    <a:gd name="connsiteY1" fmla="*/ 236 h 26509"/>
                    <a:gd name="connsiteX2" fmla="*/ 26149 w 26385"/>
                    <a:gd name="connsiteY2" fmla="*/ 10699 h 26509"/>
                    <a:gd name="connsiteX3" fmla="*/ 15686 w 26385"/>
                    <a:gd name="connsiteY3" fmla="*/ 26269 h 26509"/>
                    <a:gd name="connsiteX4" fmla="*/ 241 w 26385"/>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9">
                      <a:moveTo>
                        <a:pt x="241" y="15806"/>
                      </a:moveTo>
                      <a:cubicBezTo>
                        <a:pt x="-1129" y="8581"/>
                        <a:pt x="3479" y="1606"/>
                        <a:pt x="10704" y="236"/>
                      </a:cubicBezTo>
                      <a:cubicBezTo>
                        <a:pt x="17803" y="-1134"/>
                        <a:pt x="24779" y="3599"/>
                        <a:pt x="26149" y="10699"/>
                      </a:cubicBezTo>
                      <a:cubicBezTo>
                        <a:pt x="27519" y="17923"/>
                        <a:pt x="22786" y="24898"/>
                        <a:pt x="15686" y="26269"/>
                      </a:cubicBezTo>
                      <a:cubicBezTo>
                        <a:pt x="8586" y="27639"/>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5" name="Graphic 2987">
                <a:extLst>
                  <a:ext uri="{FF2B5EF4-FFF2-40B4-BE49-F238E27FC236}">
                    <a16:creationId xmlns:a16="http://schemas.microsoft.com/office/drawing/2014/main" id="{0ECA70D3-D730-F3E3-BE01-287950E7B8A7}"/>
                  </a:ext>
                </a:extLst>
              </p:cNvPr>
              <p:cNvGrpSpPr/>
              <p:nvPr/>
            </p:nvGrpSpPr>
            <p:grpSpPr>
              <a:xfrm>
                <a:off x="6113926" y="5757392"/>
                <a:ext cx="49049" cy="146794"/>
                <a:chOff x="6113926" y="5757392"/>
                <a:chExt cx="49049" cy="146794"/>
              </a:xfrm>
              <a:grpFill/>
            </p:grpSpPr>
            <p:sp>
              <p:nvSpPr>
                <p:cNvPr id="4949" name="Freeform 4503">
                  <a:extLst>
                    <a:ext uri="{FF2B5EF4-FFF2-40B4-BE49-F238E27FC236}">
                      <a16:creationId xmlns:a16="http://schemas.microsoft.com/office/drawing/2014/main" id="{914FFAAE-56CF-BFA0-F133-A28E6FDD42DA}"/>
                    </a:ext>
                  </a:extLst>
                </p:cNvPr>
                <p:cNvSpPr/>
                <p:nvPr/>
              </p:nvSpPr>
              <p:spPr>
                <a:xfrm>
                  <a:off x="6124512" y="5778180"/>
                  <a:ext cx="9673" cy="51317"/>
                </a:xfrm>
                <a:custGeom>
                  <a:avLst/>
                  <a:gdLst>
                    <a:gd name="connsiteX0" fmla="*/ 362 w 9673"/>
                    <a:gd name="connsiteY0" fmla="*/ 0 h 51317"/>
                    <a:gd name="connsiteX1" fmla="*/ 1857 w 9673"/>
                    <a:gd name="connsiteY1" fmla="*/ 18684 h 51317"/>
                    <a:gd name="connsiteX2" fmla="*/ 8334 w 9673"/>
                    <a:gd name="connsiteY2" fmla="*/ 34876 h 51317"/>
                    <a:gd name="connsiteX3" fmla="*/ 9206 w 9673"/>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3" h="51317">
                      <a:moveTo>
                        <a:pt x="362" y="0"/>
                      </a:moveTo>
                      <a:cubicBezTo>
                        <a:pt x="-634" y="8345"/>
                        <a:pt x="611" y="14573"/>
                        <a:pt x="1857" y="18684"/>
                      </a:cubicBezTo>
                      <a:cubicBezTo>
                        <a:pt x="3850" y="25410"/>
                        <a:pt x="6590" y="28025"/>
                        <a:pt x="8334" y="34876"/>
                      </a:cubicBezTo>
                      <a:cubicBezTo>
                        <a:pt x="10078" y="41602"/>
                        <a:pt x="9828"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0" name="Freeform 4504">
                  <a:extLst>
                    <a:ext uri="{FF2B5EF4-FFF2-40B4-BE49-F238E27FC236}">
                      <a16:creationId xmlns:a16="http://schemas.microsoft.com/office/drawing/2014/main" id="{48C26024-6417-3A9F-2327-E450442D68D2}"/>
                    </a:ext>
                  </a:extLst>
                </p:cNvPr>
                <p:cNvSpPr/>
                <p:nvPr/>
              </p:nvSpPr>
              <p:spPr>
                <a:xfrm>
                  <a:off x="6130977" y="5771952"/>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4" y="22794"/>
                        <a:pt x="5107" y="15694"/>
                      </a:cubicBezTo>
                      <a:cubicBezTo>
                        <a:pt x="4360" y="8843"/>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1" name="Freeform 4505">
                  <a:extLst>
                    <a:ext uri="{FF2B5EF4-FFF2-40B4-BE49-F238E27FC236}">
                      <a16:creationId xmlns:a16="http://schemas.microsoft.com/office/drawing/2014/main" id="{720A16BB-5F93-6A26-C2B9-E562BE8D9C3B}"/>
                    </a:ext>
                  </a:extLst>
                </p:cNvPr>
                <p:cNvSpPr/>
                <p:nvPr/>
              </p:nvSpPr>
              <p:spPr>
                <a:xfrm>
                  <a:off x="6113926" y="5757392"/>
                  <a:ext cx="26624" cy="26471"/>
                </a:xfrm>
                <a:custGeom>
                  <a:avLst/>
                  <a:gdLst>
                    <a:gd name="connsiteX0" fmla="*/ 26393 w 26624"/>
                    <a:gd name="connsiteY0" fmla="*/ 10824 h 26471"/>
                    <a:gd name="connsiteX1" fmla="*/ 15806 w 26624"/>
                    <a:gd name="connsiteY1" fmla="*/ 26269 h 26471"/>
                    <a:gd name="connsiteX2" fmla="*/ 236 w 26624"/>
                    <a:gd name="connsiteY2" fmla="*/ 15681 h 26471"/>
                    <a:gd name="connsiteX3" fmla="*/ 10823 w 26624"/>
                    <a:gd name="connsiteY3" fmla="*/ 236 h 26471"/>
                    <a:gd name="connsiteX4" fmla="*/ 26393 w 26624"/>
                    <a:gd name="connsiteY4" fmla="*/ 10824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470">
                      <a:moveTo>
                        <a:pt x="26393" y="10824"/>
                      </a:moveTo>
                      <a:cubicBezTo>
                        <a:pt x="27763" y="18048"/>
                        <a:pt x="22906" y="24898"/>
                        <a:pt x="15806" y="26269"/>
                      </a:cubicBezTo>
                      <a:cubicBezTo>
                        <a:pt x="8582" y="27514"/>
                        <a:pt x="1606" y="22905"/>
                        <a:pt x="236" y="15681"/>
                      </a:cubicBezTo>
                      <a:cubicBezTo>
                        <a:pt x="-1134" y="8457"/>
                        <a:pt x="3599" y="1482"/>
                        <a:pt x="10823" y="236"/>
                      </a:cubicBezTo>
                      <a:cubicBezTo>
                        <a:pt x="18048" y="-1134"/>
                        <a:pt x="25023" y="3599"/>
                        <a:pt x="26393"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2" name="Freeform 4506">
                  <a:extLst>
                    <a:ext uri="{FF2B5EF4-FFF2-40B4-BE49-F238E27FC236}">
                      <a16:creationId xmlns:a16="http://schemas.microsoft.com/office/drawing/2014/main" id="{69297F66-46DE-832F-A81E-1CDA18A9883F}"/>
                    </a:ext>
                  </a:extLst>
                </p:cNvPr>
                <p:cNvSpPr/>
                <p:nvPr/>
              </p:nvSpPr>
              <p:spPr>
                <a:xfrm>
                  <a:off x="6142717" y="5831989"/>
                  <a:ext cx="9673" cy="51317"/>
                </a:xfrm>
                <a:custGeom>
                  <a:avLst/>
                  <a:gdLst>
                    <a:gd name="connsiteX0" fmla="*/ 9311 w 9673"/>
                    <a:gd name="connsiteY0" fmla="*/ 51318 h 51317"/>
                    <a:gd name="connsiteX1" fmla="*/ 7816 w 9673"/>
                    <a:gd name="connsiteY1" fmla="*/ 32634 h 51317"/>
                    <a:gd name="connsiteX2" fmla="*/ 1339 w 9673"/>
                    <a:gd name="connsiteY2" fmla="*/ 16441 h 51317"/>
                    <a:gd name="connsiteX3" fmla="*/ 468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9311" y="51318"/>
                      </a:moveTo>
                      <a:cubicBezTo>
                        <a:pt x="10307" y="42972"/>
                        <a:pt x="9062" y="36744"/>
                        <a:pt x="7816" y="32634"/>
                      </a:cubicBezTo>
                      <a:cubicBezTo>
                        <a:pt x="5823" y="25908"/>
                        <a:pt x="3083" y="23292"/>
                        <a:pt x="1339" y="16441"/>
                      </a:cubicBezTo>
                      <a:cubicBezTo>
                        <a:pt x="-404" y="9715"/>
                        <a:pt x="-155" y="3861"/>
                        <a:pt x="4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3" name="Freeform 4507">
                  <a:extLst>
                    <a:ext uri="{FF2B5EF4-FFF2-40B4-BE49-F238E27FC236}">
                      <a16:creationId xmlns:a16="http://schemas.microsoft.com/office/drawing/2014/main" id="{B1094B2A-A6D4-7627-DD18-CC6B736AA12B}"/>
                    </a:ext>
                  </a:extLst>
                </p:cNvPr>
                <p:cNvSpPr/>
                <p:nvPr/>
              </p:nvSpPr>
              <p:spPr>
                <a:xfrm>
                  <a:off x="6135711" y="5838341"/>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5107" y="13701"/>
                        <a:pt x="5356" y="18061"/>
                      </a:cubicBezTo>
                      <a:cubicBezTo>
                        <a:pt x="5854" y="25036"/>
                        <a:pt x="4360" y="28399"/>
                        <a:pt x="5107" y="35499"/>
                      </a:cubicBezTo>
                      <a:cubicBezTo>
                        <a:pt x="5854"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4" name="Freeform 4508">
                  <a:extLst>
                    <a:ext uri="{FF2B5EF4-FFF2-40B4-BE49-F238E27FC236}">
                      <a16:creationId xmlns:a16="http://schemas.microsoft.com/office/drawing/2014/main" id="{0B2515EF-0D24-700A-3264-46B3D342D357}"/>
                    </a:ext>
                  </a:extLst>
                </p:cNvPr>
                <p:cNvSpPr/>
                <p:nvPr/>
              </p:nvSpPr>
              <p:spPr>
                <a:xfrm>
                  <a:off x="6136595" y="5877752"/>
                  <a:ext cx="26380" cy="26434"/>
                </a:xfrm>
                <a:custGeom>
                  <a:avLst/>
                  <a:gdLst>
                    <a:gd name="connsiteX0" fmla="*/ 236 w 26380"/>
                    <a:gd name="connsiteY0" fmla="*/ 15644 h 26434"/>
                    <a:gd name="connsiteX1" fmla="*/ 10699 w 26380"/>
                    <a:gd name="connsiteY1" fmla="*/ 199 h 26434"/>
                    <a:gd name="connsiteX2" fmla="*/ 26144 w 26380"/>
                    <a:gd name="connsiteY2" fmla="*/ 10911 h 26434"/>
                    <a:gd name="connsiteX3" fmla="*/ 15681 w 26380"/>
                    <a:gd name="connsiteY3" fmla="*/ 26231 h 26434"/>
                    <a:gd name="connsiteX4" fmla="*/ 236 w 26380"/>
                    <a:gd name="connsiteY4" fmla="*/ 15644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5644"/>
                      </a:moveTo>
                      <a:cubicBezTo>
                        <a:pt x="-1134" y="8419"/>
                        <a:pt x="3599" y="1444"/>
                        <a:pt x="10699" y="199"/>
                      </a:cubicBezTo>
                      <a:cubicBezTo>
                        <a:pt x="17923" y="-1047"/>
                        <a:pt x="24774" y="3686"/>
                        <a:pt x="26144" y="10911"/>
                      </a:cubicBezTo>
                      <a:cubicBezTo>
                        <a:pt x="27514" y="18135"/>
                        <a:pt x="22781" y="24986"/>
                        <a:pt x="15681" y="26231"/>
                      </a:cubicBezTo>
                      <a:cubicBezTo>
                        <a:pt x="8457" y="27477"/>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6" name="Graphic 2987">
                <a:extLst>
                  <a:ext uri="{FF2B5EF4-FFF2-40B4-BE49-F238E27FC236}">
                    <a16:creationId xmlns:a16="http://schemas.microsoft.com/office/drawing/2014/main" id="{8B4D3FCA-4904-B010-053C-AE8A7778447E}"/>
                  </a:ext>
                </a:extLst>
              </p:cNvPr>
              <p:cNvGrpSpPr/>
              <p:nvPr/>
            </p:nvGrpSpPr>
            <p:grpSpPr>
              <a:xfrm>
                <a:off x="6143077" y="5751953"/>
                <a:ext cx="48762" cy="147030"/>
                <a:chOff x="6143077" y="5751953"/>
                <a:chExt cx="48762" cy="147030"/>
              </a:xfrm>
              <a:grpFill/>
            </p:grpSpPr>
            <p:sp>
              <p:nvSpPr>
                <p:cNvPr id="4943" name="Freeform 4510">
                  <a:extLst>
                    <a:ext uri="{FF2B5EF4-FFF2-40B4-BE49-F238E27FC236}">
                      <a16:creationId xmlns:a16="http://schemas.microsoft.com/office/drawing/2014/main" id="{A40ABAD7-7438-570A-45BE-066DC6E7D5BB}"/>
                    </a:ext>
                  </a:extLst>
                </p:cNvPr>
                <p:cNvSpPr/>
                <p:nvPr/>
              </p:nvSpPr>
              <p:spPr>
                <a:xfrm>
                  <a:off x="6153783" y="5772949"/>
                  <a:ext cx="9621" cy="51318"/>
                </a:xfrm>
                <a:custGeom>
                  <a:avLst/>
                  <a:gdLst>
                    <a:gd name="connsiteX0" fmla="*/ 362 w 9621"/>
                    <a:gd name="connsiteY0" fmla="*/ 0 h 51318"/>
                    <a:gd name="connsiteX1" fmla="*/ 1857 w 9621"/>
                    <a:gd name="connsiteY1" fmla="*/ 18684 h 51318"/>
                    <a:gd name="connsiteX2" fmla="*/ 8334 w 9621"/>
                    <a:gd name="connsiteY2" fmla="*/ 34876 h 51318"/>
                    <a:gd name="connsiteX3" fmla="*/ 9206 w 9621"/>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621" h="51318">
                      <a:moveTo>
                        <a:pt x="362" y="0"/>
                      </a:moveTo>
                      <a:cubicBezTo>
                        <a:pt x="-634" y="8346"/>
                        <a:pt x="611" y="14573"/>
                        <a:pt x="1857" y="18684"/>
                      </a:cubicBezTo>
                      <a:cubicBezTo>
                        <a:pt x="3850" y="25410"/>
                        <a:pt x="6590" y="28025"/>
                        <a:pt x="8334" y="34876"/>
                      </a:cubicBezTo>
                      <a:cubicBezTo>
                        <a:pt x="10077" y="41602"/>
                        <a:pt x="9704"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4" name="Freeform 4511">
                  <a:extLst>
                    <a:ext uri="{FF2B5EF4-FFF2-40B4-BE49-F238E27FC236}">
                      <a16:creationId xmlns:a16="http://schemas.microsoft.com/office/drawing/2014/main" id="{E6766B40-B75C-F4E6-5E1C-24671364AC18}"/>
                    </a:ext>
                  </a:extLst>
                </p:cNvPr>
                <p:cNvSpPr/>
                <p:nvPr/>
              </p:nvSpPr>
              <p:spPr>
                <a:xfrm>
                  <a:off x="6160124" y="5766721"/>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854" y="22794"/>
                        <a:pt x="5107"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5" name="Freeform 4512">
                  <a:extLst>
                    <a:ext uri="{FF2B5EF4-FFF2-40B4-BE49-F238E27FC236}">
                      <a16:creationId xmlns:a16="http://schemas.microsoft.com/office/drawing/2014/main" id="{4A969DF2-D057-0DBB-8E6F-380BE5ACFF5B}"/>
                    </a:ext>
                  </a:extLst>
                </p:cNvPr>
                <p:cNvSpPr/>
                <p:nvPr/>
              </p:nvSpPr>
              <p:spPr>
                <a:xfrm>
                  <a:off x="6143077" y="5751953"/>
                  <a:ext cx="26744" cy="26583"/>
                </a:xfrm>
                <a:custGeom>
                  <a:avLst/>
                  <a:gdLst>
                    <a:gd name="connsiteX0" fmla="*/ 26513 w 26744"/>
                    <a:gd name="connsiteY0" fmla="*/ 10907 h 26583"/>
                    <a:gd name="connsiteX1" fmla="*/ 15801 w 26744"/>
                    <a:gd name="connsiteY1" fmla="*/ 26352 h 26583"/>
                    <a:gd name="connsiteX2" fmla="*/ 231 w 26744"/>
                    <a:gd name="connsiteY2" fmla="*/ 15640 h 26583"/>
                    <a:gd name="connsiteX3" fmla="*/ 10944 w 26744"/>
                    <a:gd name="connsiteY3" fmla="*/ 195 h 26583"/>
                    <a:gd name="connsiteX4" fmla="*/ 26513 w 2674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83">
                      <a:moveTo>
                        <a:pt x="26513" y="10907"/>
                      </a:moveTo>
                      <a:cubicBezTo>
                        <a:pt x="27883" y="18131"/>
                        <a:pt x="23026" y="24982"/>
                        <a:pt x="15801" y="26352"/>
                      </a:cubicBezTo>
                      <a:cubicBezTo>
                        <a:pt x="8577" y="27722"/>
                        <a:pt x="1602" y="22865"/>
                        <a:pt x="231" y="15640"/>
                      </a:cubicBezTo>
                      <a:cubicBezTo>
                        <a:pt x="-1139" y="8416"/>
                        <a:pt x="3719" y="1565"/>
                        <a:pt x="10944" y="195"/>
                      </a:cubicBezTo>
                      <a:cubicBezTo>
                        <a:pt x="18168" y="-1051"/>
                        <a:pt x="25143" y="3807"/>
                        <a:pt x="26513"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6" name="Freeform 4513">
                  <a:extLst>
                    <a:ext uri="{FF2B5EF4-FFF2-40B4-BE49-F238E27FC236}">
                      <a16:creationId xmlns:a16="http://schemas.microsoft.com/office/drawing/2014/main" id="{194E228C-EB48-4B27-109E-12FF60B091BF}"/>
                    </a:ext>
                  </a:extLst>
                </p:cNvPr>
                <p:cNvSpPr/>
                <p:nvPr/>
              </p:nvSpPr>
              <p:spPr>
                <a:xfrm>
                  <a:off x="6171790" y="5826758"/>
                  <a:ext cx="9621" cy="51317"/>
                </a:xfrm>
                <a:custGeom>
                  <a:avLst/>
                  <a:gdLst>
                    <a:gd name="connsiteX0" fmla="*/ 9259 w 9621"/>
                    <a:gd name="connsiteY0" fmla="*/ 51318 h 51317"/>
                    <a:gd name="connsiteX1" fmla="*/ 7764 w 9621"/>
                    <a:gd name="connsiteY1" fmla="*/ 32634 h 51317"/>
                    <a:gd name="connsiteX2" fmla="*/ 1288 w 9621"/>
                    <a:gd name="connsiteY2" fmla="*/ 16442 h 51317"/>
                    <a:gd name="connsiteX3" fmla="*/ 41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51318"/>
                      </a:moveTo>
                      <a:cubicBezTo>
                        <a:pt x="10256" y="42973"/>
                        <a:pt x="9010" y="36745"/>
                        <a:pt x="7764" y="32634"/>
                      </a:cubicBezTo>
                      <a:cubicBezTo>
                        <a:pt x="5772" y="25908"/>
                        <a:pt x="3156"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7" name="Freeform 4514">
                  <a:extLst>
                    <a:ext uri="{FF2B5EF4-FFF2-40B4-BE49-F238E27FC236}">
                      <a16:creationId xmlns:a16="http://schemas.microsoft.com/office/drawing/2014/main" id="{0D76D859-0ADD-7D85-57F3-BF392249EF98}"/>
                    </a:ext>
                  </a:extLst>
                </p:cNvPr>
                <p:cNvSpPr/>
                <p:nvPr/>
              </p:nvSpPr>
              <p:spPr>
                <a:xfrm>
                  <a:off x="6164857" y="5833110"/>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345" y="47705"/>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8" name="Freeform 4515">
                  <a:extLst>
                    <a:ext uri="{FF2B5EF4-FFF2-40B4-BE49-F238E27FC236}">
                      <a16:creationId xmlns:a16="http://schemas.microsoft.com/office/drawing/2014/main" id="{2303E120-D5A8-0D22-3A50-127FEC7940FE}"/>
                    </a:ext>
                  </a:extLst>
                </p:cNvPr>
                <p:cNvSpPr/>
                <p:nvPr/>
              </p:nvSpPr>
              <p:spPr>
                <a:xfrm>
                  <a:off x="6165493" y="5872396"/>
                  <a:ext cx="26346" cy="26587"/>
                </a:xfrm>
                <a:custGeom>
                  <a:avLst/>
                  <a:gdLst>
                    <a:gd name="connsiteX0" fmla="*/ 236 w 26346"/>
                    <a:gd name="connsiteY0" fmla="*/ 15644 h 26587"/>
                    <a:gd name="connsiteX1" fmla="*/ 10823 w 26346"/>
                    <a:gd name="connsiteY1" fmla="*/ 199 h 26587"/>
                    <a:gd name="connsiteX2" fmla="*/ 26144 w 26346"/>
                    <a:gd name="connsiteY2" fmla="*/ 10911 h 26587"/>
                    <a:gd name="connsiteX3" fmla="*/ 15556 w 26346"/>
                    <a:gd name="connsiteY3" fmla="*/ 26356 h 26587"/>
                    <a:gd name="connsiteX4" fmla="*/ 236 w 26346"/>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87">
                      <a:moveTo>
                        <a:pt x="236" y="15644"/>
                      </a:moveTo>
                      <a:cubicBezTo>
                        <a:pt x="-1134" y="8420"/>
                        <a:pt x="3599" y="1569"/>
                        <a:pt x="10823" y="199"/>
                      </a:cubicBezTo>
                      <a:cubicBezTo>
                        <a:pt x="18048" y="-1047"/>
                        <a:pt x="24898" y="3686"/>
                        <a:pt x="26144" y="10911"/>
                      </a:cubicBezTo>
                      <a:cubicBezTo>
                        <a:pt x="27390" y="18135"/>
                        <a:pt x="22781" y="24986"/>
                        <a:pt x="15556" y="26356"/>
                      </a:cubicBezTo>
                      <a:cubicBezTo>
                        <a:pt x="8332" y="27726"/>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7" name="Graphic 2987">
                <a:extLst>
                  <a:ext uri="{FF2B5EF4-FFF2-40B4-BE49-F238E27FC236}">
                    <a16:creationId xmlns:a16="http://schemas.microsoft.com/office/drawing/2014/main" id="{FBDF4B08-C778-43BC-9282-EE9A635F0CA2}"/>
                  </a:ext>
                </a:extLst>
              </p:cNvPr>
              <p:cNvGrpSpPr/>
              <p:nvPr/>
            </p:nvGrpSpPr>
            <p:grpSpPr>
              <a:xfrm>
                <a:off x="6172473" y="5746717"/>
                <a:ext cx="48385" cy="146998"/>
                <a:chOff x="6172473" y="5746717"/>
                <a:chExt cx="48385" cy="146998"/>
              </a:xfrm>
              <a:grpFill/>
            </p:grpSpPr>
            <p:sp>
              <p:nvSpPr>
                <p:cNvPr id="4937" name="Freeform 4517">
                  <a:extLst>
                    <a:ext uri="{FF2B5EF4-FFF2-40B4-BE49-F238E27FC236}">
                      <a16:creationId xmlns:a16="http://schemas.microsoft.com/office/drawing/2014/main" id="{4E561783-B02A-93DE-3003-5896F89A2A61}"/>
                    </a:ext>
                  </a:extLst>
                </p:cNvPr>
                <p:cNvSpPr/>
                <p:nvPr/>
              </p:nvSpPr>
              <p:spPr>
                <a:xfrm>
                  <a:off x="6183033" y="5767593"/>
                  <a:ext cx="9517" cy="51442"/>
                </a:xfrm>
                <a:custGeom>
                  <a:avLst/>
                  <a:gdLst>
                    <a:gd name="connsiteX0" fmla="*/ 383 w 9517"/>
                    <a:gd name="connsiteY0" fmla="*/ 0 h 51442"/>
                    <a:gd name="connsiteX1" fmla="*/ 1754 w 9517"/>
                    <a:gd name="connsiteY1" fmla="*/ 18808 h 51442"/>
                    <a:gd name="connsiteX2" fmla="*/ 8230 w 9517"/>
                    <a:gd name="connsiteY2" fmla="*/ 35001 h 51442"/>
                    <a:gd name="connsiteX3" fmla="*/ 9102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383" y="0"/>
                      </a:moveTo>
                      <a:cubicBezTo>
                        <a:pt x="-613" y="8346"/>
                        <a:pt x="508" y="14573"/>
                        <a:pt x="1754" y="18808"/>
                      </a:cubicBezTo>
                      <a:cubicBezTo>
                        <a:pt x="3746" y="25535"/>
                        <a:pt x="6362" y="28150"/>
                        <a:pt x="8230" y="35001"/>
                      </a:cubicBezTo>
                      <a:cubicBezTo>
                        <a:pt x="9974" y="41727"/>
                        <a:pt x="9601" y="47581"/>
                        <a:pt x="910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8" name="Freeform 4518">
                  <a:extLst>
                    <a:ext uri="{FF2B5EF4-FFF2-40B4-BE49-F238E27FC236}">
                      <a16:creationId xmlns:a16="http://schemas.microsoft.com/office/drawing/2014/main" id="{EE66B043-B053-7D3F-B717-5D216EA0972C}"/>
                    </a:ext>
                  </a:extLst>
                </p:cNvPr>
                <p:cNvSpPr/>
                <p:nvPr/>
              </p:nvSpPr>
              <p:spPr>
                <a:xfrm>
                  <a:off x="6189270" y="5761365"/>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979" y="22794"/>
                        <a:pt x="5107"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9" name="Freeform 4519">
                  <a:extLst>
                    <a:ext uri="{FF2B5EF4-FFF2-40B4-BE49-F238E27FC236}">
                      <a16:creationId xmlns:a16="http://schemas.microsoft.com/office/drawing/2014/main" id="{9E5C5B38-8620-44E7-F152-0F458A54A6C3}"/>
                    </a:ext>
                  </a:extLst>
                </p:cNvPr>
                <p:cNvSpPr/>
                <p:nvPr/>
              </p:nvSpPr>
              <p:spPr>
                <a:xfrm>
                  <a:off x="6172473" y="5746717"/>
                  <a:ext cx="26587" cy="26587"/>
                </a:xfrm>
                <a:custGeom>
                  <a:avLst/>
                  <a:gdLst>
                    <a:gd name="connsiteX0" fmla="*/ 26389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9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9" y="10911"/>
                      </a:moveTo>
                      <a:cubicBezTo>
                        <a:pt x="27634" y="18135"/>
                        <a:pt x="22901" y="24986"/>
                        <a:pt x="15677" y="26356"/>
                      </a:cubicBezTo>
                      <a:cubicBezTo>
                        <a:pt x="8452" y="27726"/>
                        <a:pt x="1477" y="22868"/>
                        <a:pt x="232" y="15644"/>
                      </a:cubicBezTo>
                      <a:cubicBezTo>
                        <a:pt x="-1139" y="8420"/>
                        <a:pt x="3719" y="1569"/>
                        <a:pt x="10943" y="199"/>
                      </a:cubicBezTo>
                      <a:cubicBezTo>
                        <a:pt x="18168" y="-1047"/>
                        <a:pt x="25018" y="3686"/>
                        <a:pt x="2638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0" name="Freeform 4520">
                  <a:extLst>
                    <a:ext uri="{FF2B5EF4-FFF2-40B4-BE49-F238E27FC236}">
                      <a16:creationId xmlns:a16="http://schemas.microsoft.com/office/drawing/2014/main" id="{26BAAD8C-DBDD-A3D8-83B2-CF9B5202F535}"/>
                    </a:ext>
                  </a:extLst>
                </p:cNvPr>
                <p:cNvSpPr/>
                <p:nvPr/>
              </p:nvSpPr>
              <p:spPr>
                <a:xfrm>
                  <a:off x="6200937" y="5821402"/>
                  <a:ext cx="9393" cy="51442"/>
                </a:xfrm>
                <a:custGeom>
                  <a:avLst/>
                  <a:gdLst>
                    <a:gd name="connsiteX0" fmla="*/ 9010 w 9393"/>
                    <a:gd name="connsiteY0" fmla="*/ 51442 h 51442"/>
                    <a:gd name="connsiteX1" fmla="*/ 7640 w 9393"/>
                    <a:gd name="connsiteY1" fmla="*/ 32634 h 51442"/>
                    <a:gd name="connsiteX2" fmla="*/ 1288 w 9393"/>
                    <a:gd name="connsiteY2" fmla="*/ 16442 h 51442"/>
                    <a:gd name="connsiteX3" fmla="*/ 416 w 9393"/>
                    <a:gd name="connsiteY3" fmla="*/ 0 h 51442"/>
                  </a:gdLst>
                  <a:ahLst/>
                  <a:cxnLst>
                    <a:cxn ang="0">
                      <a:pos x="connsiteX0" y="connsiteY0"/>
                    </a:cxn>
                    <a:cxn ang="0">
                      <a:pos x="connsiteX1" y="connsiteY1"/>
                    </a:cxn>
                    <a:cxn ang="0">
                      <a:pos x="connsiteX2" y="connsiteY2"/>
                    </a:cxn>
                    <a:cxn ang="0">
                      <a:pos x="connsiteX3" y="connsiteY3"/>
                    </a:cxn>
                  </a:cxnLst>
                  <a:rect l="l" t="t" r="r" b="b"/>
                  <a:pathLst>
                    <a:path w="9393" h="51442">
                      <a:moveTo>
                        <a:pt x="9010" y="51442"/>
                      </a:moveTo>
                      <a:cubicBezTo>
                        <a:pt x="10007" y="43097"/>
                        <a:pt x="8885" y="36869"/>
                        <a:pt x="7640" y="32634"/>
                      </a:cubicBezTo>
                      <a:cubicBezTo>
                        <a:pt x="5647"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1" name="Freeform 4521">
                  <a:extLst>
                    <a:ext uri="{FF2B5EF4-FFF2-40B4-BE49-F238E27FC236}">
                      <a16:creationId xmlns:a16="http://schemas.microsoft.com/office/drawing/2014/main" id="{FF2F851C-02FB-E49E-2059-BA0D8F1DCCBC}"/>
                    </a:ext>
                  </a:extLst>
                </p:cNvPr>
                <p:cNvSpPr/>
                <p:nvPr/>
              </p:nvSpPr>
              <p:spPr>
                <a:xfrm>
                  <a:off x="6194004" y="5827878"/>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221"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2" name="Freeform 4522">
                  <a:extLst>
                    <a:ext uri="{FF2B5EF4-FFF2-40B4-BE49-F238E27FC236}">
                      <a16:creationId xmlns:a16="http://schemas.microsoft.com/office/drawing/2014/main" id="{66AAE7E2-0C71-CF36-CA4D-E4D7F98E4560}"/>
                    </a:ext>
                  </a:extLst>
                </p:cNvPr>
                <p:cNvSpPr/>
                <p:nvPr/>
              </p:nvSpPr>
              <p:spPr>
                <a:xfrm>
                  <a:off x="6194515" y="5867165"/>
                  <a:ext cx="26343" cy="26550"/>
                </a:xfrm>
                <a:custGeom>
                  <a:avLst/>
                  <a:gdLst>
                    <a:gd name="connsiteX0" fmla="*/ 236 w 26343"/>
                    <a:gd name="connsiteY0" fmla="*/ 15644 h 26550"/>
                    <a:gd name="connsiteX1" fmla="*/ 10824 w 26343"/>
                    <a:gd name="connsiteY1" fmla="*/ 199 h 26550"/>
                    <a:gd name="connsiteX2" fmla="*/ 26144 w 26343"/>
                    <a:gd name="connsiteY2" fmla="*/ 10911 h 26550"/>
                    <a:gd name="connsiteX3" fmla="*/ 15557 w 26343"/>
                    <a:gd name="connsiteY3" fmla="*/ 26356 h 26550"/>
                    <a:gd name="connsiteX4" fmla="*/ 236 w 26343"/>
                    <a:gd name="connsiteY4" fmla="*/ 15644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49">
                      <a:moveTo>
                        <a:pt x="236" y="15644"/>
                      </a:moveTo>
                      <a:cubicBezTo>
                        <a:pt x="-1134" y="8420"/>
                        <a:pt x="3599" y="1569"/>
                        <a:pt x="10824" y="199"/>
                      </a:cubicBezTo>
                      <a:cubicBezTo>
                        <a:pt x="18048" y="-1047"/>
                        <a:pt x="24899" y="3686"/>
                        <a:pt x="26144" y="10911"/>
                      </a:cubicBezTo>
                      <a:cubicBezTo>
                        <a:pt x="27390" y="18135"/>
                        <a:pt x="22657" y="24986"/>
                        <a:pt x="15557" y="26356"/>
                      </a:cubicBezTo>
                      <a:cubicBezTo>
                        <a:pt x="8457" y="27601"/>
                        <a:pt x="1606" y="22744"/>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8" name="Graphic 2987">
                <a:extLst>
                  <a:ext uri="{FF2B5EF4-FFF2-40B4-BE49-F238E27FC236}">
                    <a16:creationId xmlns:a16="http://schemas.microsoft.com/office/drawing/2014/main" id="{856AC8CC-D181-73A7-185F-66AC4E60682F}"/>
                  </a:ext>
                </a:extLst>
              </p:cNvPr>
              <p:cNvGrpSpPr/>
              <p:nvPr/>
            </p:nvGrpSpPr>
            <p:grpSpPr>
              <a:xfrm>
                <a:off x="6201744" y="5741361"/>
                <a:ext cx="48011" cy="147034"/>
                <a:chOff x="6201744" y="5741361"/>
                <a:chExt cx="48011" cy="147034"/>
              </a:xfrm>
              <a:grpFill/>
            </p:grpSpPr>
            <p:sp>
              <p:nvSpPr>
                <p:cNvPr id="4931" name="Freeform 4524">
                  <a:extLst>
                    <a:ext uri="{FF2B5EF4-FFF2-40B4-BE49-F238E27FC236}">
                      <a16:creationId xmlns:a16="http://schemas.microsoft.com/office/drawing/2014/main" id="{620CB48B-0AAB-1362-4349-2EEFD0BF011F}"/>
                    </a:ext>
                  </a:extLst>
                </p:cNvPr>
                <p:cNvSpPr/>
                <p:nvPr/>
              </p:nvSpPr>
              <p:spPr>
                <a:xfrm>
                  <a:off x="6212304" y="5762237"/>
                  <a:ext cx="9372" cy="51442"/>
                </a:xfrm>
                <a:custGeom>
                  <a:avLst/>
                  <a:gdLst>
                    <a:gd name="connsiteX0" fmla="*/ 383 w 9372"/>
                    <a:gd name="connsiteY0" fmla="*/ 0 h 51442"/>
                    <a:gd name="connsiteX1" fmla="*/ 1754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5"/>
                        <a:pt x="508" y="14573"/>
                        <a:pt x="1754" y="18808"/>
                      </a:cubicBezTo>
                      <a:cubicBezTo>
                        <a:pt x="3746" y="25534"/>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2" name="Freeform 4525">
                  <a:extLst>
                    <a:ext uri="{FF2B5EF4-FFF2-40B4-BE49-F238E27FC236}">
                      <a16:creationId xmlns:a16="http://schemas.microsoft.com/office/drawing/2014/main" id="{CD1BC018-D0E2-7F69-FD91-C83742FD3D3F}"/>
                    </a:ext>
                  </a:extLst>
                </p:cNvPr>
                <p:cNvSpPr/>
                <p:nvPr/>
              </p:nvSpPr>
              <p:spPr>
                <a:xfrm>
                  <a:off x="6218791" y="5756134"/>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19"/>
                        <a:pt x="4858" y="37492"/>
                        <a:pt x="4609" y="33132"/>
                      </a:cubicBezTo>
                      <a:cubicBezTo>
                        <a:pt x="4111" y="26157"/>
                        <a:pt x="5730" y="22794"/>
                        <a:pt x="4983" y="15694"/>
                      </a:cubicBezTo>
                      <a:cubicBezTo>
                        <a:pt x="4235" y="8843"/>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3" name="Freeform 4526">
                  <a:extLst>
                    <a:ext uri="{FF2B5EF4-FFF2-40B4-BE49-F238E27FC236}">
                      <a16:creationId xmlns:a16="http://schemas.microsoft.com/office/drawing/2014/main" id="{B784689A-5E6F-A92A-D81B-ED2D91B7AD05}"/>
                    </a:ext>
                  </a:extLst>
                </p:cNvPr>
                <p:cNvSpPr/>
                <p:nvPr/>
              </p:nvSpPr>
              <p:spPr>
                <a:xfrm>
                  <a:off x="6201744" y="5741361"/>
                  <a:ext cx="26587" cy="26587"/>
                </a:xfrm>
                <a:custGeom>
                  <a:avLst/>
                  <a:gdLst>
                    <a:gd name="connsiteX0" fmla="*/ 26388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8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8" y="10911"/>
                      </a:moveTo>
                      <a:cubicBezTo>
                        <a:pt x="27634" y="18135"/>
                        <a:pt x="22901" y="24986"/>
                        <a:pt x="15677" y="26356"/>
                      </a:cubicBezTo>
                      <a:cubicBezTo>
                        <a:pt x="8452" y="27726"/>
                        <a:pt x="1601" y="22868"/>
                        <a:pt x="232" y="15644"/>
                      </a:cubicBezTo>
                      <a:cubicBezTo>
                        <a:pt x="-1139" y="8420"/>
                        <a:pt x="3719" y="1569"/>
                        <a:pt x="10943" y="199"/>
                      </a:cubicBezTo>
                      <a:cubicBezTo>
                        <a:pt x="18168" y="-1047"/>
                        <a:pt x="25018" y="3686"/>
                        <a:pt x="26388"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4" name="Freeform 4527">
                  <a:extLst>
                    <a:ext uri="{FF2B5EF4-FFF2-40B4-BE49-F238E27FC236}">
                      <a16:creationId xmlns:a16="http://schemas.microsoft.com/office/drawing/2014/main" id="{ED512A21-4CF7-D81C-EC51-BEFFDB31EA80}"/>
                    </a:ext>
                  </a:extLst>
                </p:cNvPr>
                <p:cNvSpPr/>
                <p:nvPr/>
              </p:nvSpPr>
              <p:spPr>
                <a:xfrm>
                  <a:off x="6229980" y="5816046"/>
                  <a:ext cx="9372" cy="51442"/>
                </a:xfrm>
                <a:custGeom>
                  <a:avLst/>
                  <a:gdLst>
                    <a:gd name="connsiteX0" fmla="*/ 8990 w 9372"/>
                    <a:gd name="connsiteY0" fmla="*/ 51442 h 51442"/>
                    <a:gd name="connsiteX1" fmla="*/ 7619 w 9372"/>
                    <a:gd name="connsiteY1" fmla="*/ 32634 h 51442"/>
                    <a:gd name="connsiteX2" fmla="*/ 1267 w 9372"/>
                    <a:gd name="connsiteY2" fmla="*/ 16441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1" y="23292"/>
                        <a:pt x="1267" y="16441"/>
                      </a:cubicBezTo>
                      <a:cubicBezTo>
                        <a:pt x="-477" y="9715"/>
                        <a:pt x="-103"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5" name="Freeform 4528">
                  <a:extLst>
                    <a:ext uri="{FF2B5EF4-FFF2-40B4-BE49-F238E27FC236}">
                      <a16:creationId xmlns:a16="http://schemas.microsoft.com/office/drawing/2014/main" id="{1B2DEC28-EAF9-7A5A-8071-2883D65BB99F}"/>
                    </a:ext>
                  </a:extLst>
                </p:cNvPr>
                <p:cNvSpPr/>
                <p:nvPr/>
              </p:nvSpPr>
              <p:spPr>
                <a:xfrm>
                  <a:off x="6223025" y="5822523"/>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2" y="7474"/>
                        <a:pt x="4983" y="13701"/>
                        <a:pt x="5232" y="18061"/>
                      </a:cubicBezTo>
                      <a:cubicBezTo>
                        <a:pt x="5730" y="25036"/>
                        <a:pt x="4111" y="28399"/>
                        <a:pt x="4858" y="35499"/>
                      </a:cubicBezTo>
                      <a:cubicBezTo>
                        <a:pt x="5605" y="42350"/>
                        <a:pt x="7972" y="47705"/>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6" name="Freeform 4529">
                  <a:extLst>
                    <a:ext uri="{FF2B5EF4-FFF2-40B4-BE49-F238E27FC236}">
                      <a16:creationId xmlns:a16="http://schemas.microsoft.com/office/drawing/2014/main" id="{E4C5A64F-1732-0066-4317-011765457679}"/>
                    </a:ext>
                  </a:extLst>
                </p:cNvPr>
                <p:cNvSpPr/>
                <p:nvPr/>
              </p:nvSpPr>
              <p:spPr>
                <a:xfrm>
                  <a:off x="6223450" y="5861809"/>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7" y="8419"/>
                        <a:pt x="3687" y="1569"/>
                        <a:pt x="10786" y="199"/>
                      </a:cubicBezTo>
                      <a:cubicBezTo>
                        <a:pt x="18011" y="-1047"/>
                        <a:pt x="24861" y="3686"/>
                        <a:pt x="26107" y="10911"/>
                      </a:cubicBezTo>
                      <a:cubicBezTo>
                        <a:pt x="27352" y="18135"/>
                        <a:pt x="22619" y="24986"/>
                        <a:pt x="15520" y="26356"/>
                      </a:cubicBezTo>
                      <a:cubicBezTo>
                        <a:pt x="8420" y="27726"/>
                        <a:pt x="1569"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9" name="Graphic 2987">
                <a:extLst>
                  <a:ext uri="{FF2B5EF4-FFF2-40B4-BE49-F238E27FC236}">
                    <a16:creationId xmlns:a16="http://schemas.microsoft.com/office/drawing/2014/main" id="{798373B8-435A-E9F2-C0E4-C71518C36E2C}"/>
                  </a:ext>
                </a:extLst>
              </p:cNvPr>
              <p:cNvGrpSpPr/>
              <p:nvPr/>
            </p:nvGrpSpPr>
            <p:grpSpPr>
              <a:xfrm>
                <a:off x="6230923" y="5736009"/>
                <a:ext cx="47853" cy="147155"/>
                <a:chOff x="6230923" y="5736009"/>
                <a:chExt cx="47853" cy="147155"/>
              </a:xfrm>
              <a:grpFill/>
            </p:grpSpPr>
            <p:sp>
              <p:nvSpPr>
                <p:cNvPr id="4925" name="Freeform 4531">
                  <a:extLst>
                    <a:ext uri="{FF2B5EF4-FFF2-40B4-BE49-F238E27FC236}">
                      <a16:creationId xmlns:a16="http://schemas.microsoft.com/office/drawing/2014/main" id="{10B73586-6020-276A-B03D-1CCDCC6DDA93}"/>
                    </a:ext>
                  </a:extLst>
                </p:cNvPr>
                <p:cNvSpPr/>
                <p:nvPr/>
              </p:nvSpPr>
              <p:spPr>
                <a:xfrm>
                  <a:off x="6241575" y="5757005"/>
                  <a:ext cx="9372" cy="51442"/>
                </a:xfrm>
                <a:custGeom>
                  <a:avLst/>
                  <a:gdLst>
                    <a:gd name="connsiteX0" fmla="*/ 383 w 9372"/>
                    <a:gd name="connsiteY0" fmla="*/ 0 h 51442"/>
                    <a:gd name="connsiteX1" fmla="*/ 1753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6"/>
                        <a:pt x="508" y="14573"/>
                        <a:pt x="1753" y="18808"/>
                      </a:cubicBezTo>
                      <a:cubicBezTo>
                        <a:pt x="3746" y="25535"/>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6" name="Freeform 4532">
                  <a:extLst>
                    <a:ext uri="{FF2B5EF4-FFF2-40B4-BE49-F238E27FC236}">
                      <a16:creationId xmlns:a16="http://schemas.microsoft.com/office/drawing/2014/main" id="{A691F7D5-4AEA-EC1B-4400-92DDED03C73B}"/>
                    </a:ext>
                  </a:extLst>
                </p:cNvPr>
                <p:cNvSpPr/>
                <p:nvPr/>
              </p:nvSpPr>
              <p:spPr>
                <a:xfrm>
                  <a:off x="6247937" y="5750777"/>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7" name="Freeform 4533">
                  <a:extLst>
                    <a:ext uri="{FF2B5EF4-FFF2-40B4-BE49-F238E27FC236}">
                      <a16:creationId xmlns:a16="http://schemas.microsoft.com/office/drawing/2014/main" id="{ADD99C98-82EA-B4BF-DA87-5337B880E69D}"/>
                    </a:ext>
                  </a:extLst>
                </p:cNvPr>
                <p:cNvSpPr/>
                <p:nvPr/>
              </p:nvSpPr>
              <p:spPr>
                <a:xfrm>
                  <a:off x="6230923" y="5736009"/>
                  <a:ext cx="26674" cy="26583"/>
                </a:xfrm>
                <a:custGeom>
                  <a:avLst/>
                  <a:gdLst>
                    <a:gd name="connsiteX0" fmla="*/ 26480 w 26674"/>
                    <a:gd name="connsiteY0" fmla="*/ 10907 h 26583"/>
                    <a:gd name="connsiteX1" fmla="*/ 15644 w 26674"/>
                    <a:gd name="connsiteY1" fmla="*/ 26352 h 26583"/>
                    <a:gd name="connsiteX2" fmla="*/ 199 w 26674"/>
                    <a:gd name="connsiteY2" fmla="*/ 15640 h 26583"/>
                    <a:gd name="connsiteX3" fmla="*/ 11035 w 26674"/>
                    <a:gd name="connsiteY3" fmla="*/ 195 h 26583"/>
                    <a:gd name="connsiteX4" fmla="*/ 26480 w 2667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83">
                      <a:moveTo>
                        <a:pt x="26480" y="10907"/>
                      </a:moveTo>
                      <a:cubicBezTo>
                        <a:pt x="27726" y="18131"/>
                        <a:pt x="22868" y="24982"/>
                        <a:pt x="15644" y="26352"/>
                      </a:cubicBezTo>
                      <a:cubicBezTo>
                        <a:pt x="8419" y="27722"/>
                        <a:pt x="1569" y="22865"/>
                        <a:pt x="199" y="15640"/>
                      </a:cubicBezTo>
                      <a:cubicBezTo>
                        <a:pt x="-1047" y="8416"/>
                        <a:pt x="3686" y="1565"/>
                        <a:pt x="11035" y="195"/>
                      </a:cubicBezTo>
                      <a:cubicBezTo>
                        <a:pt x="18259" y="-1051"/>
                        <a:pt x="25110" y="3807"/>
                        <a:pt x="26480"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8" name="Freeform 4534">
                  <a:extLst>
                    <a:ext uri="{FF2B5EF4-FFF2-40B4-BE49-F238E27FC236}">
                      <a16:creationId xmlns:a16="http://schemas.microsoft.com/office/drawing/2014/main" id="{AB72547E-E62E-7D04-15F5-4FE1E24948E4}"/>
                    </a:ext>
                  </a:extLst>
                </p:cNvPr>
                <p:cNvSpPr/>
                <p:nvPr/>
              </p:nvSpPr>
              <p:spPr>
                <a:xfrm>
                  <a:off x="6259001" y="5810814"/>
                  <a:ext cx="9372" cy="51442"/>
                </a:xfrm>
                <a:custGeom>
                  <a:avLst/>
                  <a:gdLst>
                    <a:gd name="connsiteX0" fmla="*/ 8989 w 9372"/>
                    <a:gd name="connsiteY0" fmla="*/ 51442 h 51442"/>
                    <a:gd name="connsiteX1" fmla="*/ 7619 w 9372"/>
                    <a:gd name="connsiteY1" fmla="*/ 32634 h 51442"/>
                    <a:gd name="connsiteX2" fmla="*/ 1267 w 9372"/>
                    <a:gd name="connsiteY2" fmla="*/ 16442 h 51442"/>
                    <a:gd name="connsiteX3" fmla="*/ 520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51442"/>
                      </a:moveTo>
                      <a:cubicBezTo>
                        <a:pt x="9986" y="43097"/>
                        <a:pt x="8865" y="36869"/>
                        <a:pt x="7619" y="32634"/>
                      </a:cubicBezTo>
                      <a:cubicBezTo>
                        <a:pt x="5627" y="25908"/>
                        <a:pt x="3011" y="23292"/>
                        <a:pt x="1267" y="16442"/>
                      </a:cubicBezTo>
                      <a:cubicBezTo>
                        <a:pt x="-477" y="9715"/>
                        <a:pt x="-103" y="3861"/>
                        <a:pt x="5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9" name="Freeform 4535">
                  <a:extLst>
                    <a:ext uri="{FF2B5EF4-FFF2-40B4-BE49-F238E27FC236}">
                      <a16:creationId xmlns:a16="http://schemas.microsoft.com/office/drawing/2014/main" id="{6EFC4A67-5F98-08D7-9C17-695880EB1A41}"/>
                    </a:ext>
                  </a:extLst>
                </p:cNvPr>
                <p:cNvSpPr/>
                <p:nvPr/>
              </p:nvSpPr>
              <p:spPr>
                <a:xfrm>
                  <a:off x="6252172" y="5817291"/>
                  <a:ext cx="9839" cy="51193"/>
                </a:xfrm>
                <a:custGeom>
                  <a:avLst/>
                  <a:gdLst>
                    <a:gd name="connsiteX0" fmla="*/ 0 w 9839"/>
                    <a:gd name="connsiteY0" fmla="*/ 0 h 51193"/>
                    <a:gd name="connsiteX1" fmla="*/ 5231 w 9839"/>
                    <a:gd name="connsiteY1" fmla="*/ 18061 h 51193"/>
                    <a:gd name="connsiteX2" fmla="*/ 4858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4"/>
                        <a:pt x="4982" y="13701"/>
                        <a:pt x="5231" y="18061"/>
                      </a:cubicBezTo>
                      <a:cubicBezTo>
                        <a:pt x="5730" y="25036"/>
                        <a:pt x="4110" y="28399"/>
                        <a:pt x="4858" y="35499"/>
                      </a:cubicBezTo>
                      <a:cubicBezTo>
                        <a:pt x="5605"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0" name="Freeform 4536">
                  <a:extLst>
                    <a:ext uri="{FF2B5EF4-FFF2-40B4-BE49-F238E27FC236}">
                      <a16:creationId xmlns:a16="http://schemas.microsoft.com/office/drawing/2014/main" id="{7A755B11-DE05-07F5-4122-39E0EA4955B1}"/>
                    </a:ext>
                  </a:extLst>
                </p:cNvPr>
                <p:cNvSpPr/>
                <p:nvPr/>
              </p:nvSpPr>
              <p:spPr>
                <a:xfrm>
                  <a:off x="6252471" y="5856577"/>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6" y="8420"/>
                        <a:pt x="3686" y="1569"/>
                        <a:pt x="10786" y="199"/>
                      </a:cubicBezTo>
                      <a:cubicBezTo>
                        <a:pt x="18011" y="-1047"/>
                        <a:pt x="24737" y="3686"/>
                        <a:pt x="26107" y="10911"/>
                      </a:cubicBezTo>
                      <a:cubicBezTo>
                        <a:pt x="27353" y="18135"/>
                        <a:pt x="22619" y="24986"/>
                        <a:pt x="15520" y="26356"/>
                      </a:cubicBezTo>
                      <a:cubicBezTo>
                        <a:pt x="8420" y="27726"/>
                        <a:pt x="1444"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0" name="Graphic 2987">
                <a:extLst>
                  <a:ext uri="{FF2B5EF4-FFF2-40B4-BE49-F238E27FC236}">
                    <a16:creationId xmlns:a16="http://schemas.microsoft.com/office/drawing/2014/main" id="{756F2BBD-7D31-BB57-DE8D-8A13D5D46F2B}"/>
                  </a:ext>
                </a:extLst>
              </p:cNvPr>
              <p:cNvGrpSpPr/>
              <p:nvPr/>
            </p:nvGrpSpPr>
            <p:grpSpPr>
              <a:xfrm>
                <a:off x="6260323" y="5730812"/>
                <a:ext cx="47476" cy="147088"/>
                <a:chOff x="6260323" y="5730812"/>
                <a:chExt cx="47476" cy="147088"/>
              </a:xfrm>
              <a:grpFill/>
            </p:grpSpPr>
            <p:sp>
              <p:nvSpPr>
                <p:cNvPr id="4919" name="Freeform 4538">
                  <a:extLst>
                    <a:ext uri="{FF2B5EF4-FFF2-40B4-BE49-F238E27FC236}">
                      <a16:creationId xmlns:a16="http://schemas.microsoft.com/office/drawing/2014/main" id="{DAD86AF3-9840-46D4-8F1A-141EFC708E79}"/>
                    </a:ext>
                  </a:extLst>
                </p:cNvPr>
                <p:cNvSpPr/>
                <p:nvPr/>
              </p:nvSpPr>
              <p:spPr>
                <a:xfrm>
                  <a:off x="6270644" y="5751649"/>
                  <a:ext cx="9233" cy="51442"/>
                </a:xfrm>
                <a:custGeom>
                  <a:avLst/>
                  <a:gdLst>
                    <a:gd name="connsiteX0" fmla="*/ 461 w 9233"/>
                    <a:gd name="connsiteY0" fmla="*/ 0 h 51442"/>
                    <a:gd name="connsiteX1" fmla="*/ 1707 w 9233"/>
                    <a:gd name="connsiteY1" fmla="*/ 18808 h 51442"/>
                    <a:gd name="connsiteX2" fmla="*/ 8059 w 9233"/>
                    <a:gd name="connsiteY2" fmla="*/ 35001 h 51442"/>
                    <a:gd name="connsiteX3" fmla="*/ 8807 w 923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33" h="51442">
                      <a:moveTo>
                        <a:pt x="461" y="0"/>
                      </a:moveTo>
                      <a:cubicBezTo>
                        <a:pt x="-660" y="8346"/>
                        <a:pt x="461" y="14573"/>
                        <a:pt x="1707" y="18808"/>
                      </a:cubicBezTo>
                      <a:cubicBezTo>
                        <a:pt x="3700" y="25534"/>
                        <a:pt x="6315" y="28150"/>
                        <a:pt x="8059" y="35001"/>
                      </a:cubicBezTo>
                      <a:cubicBezTo>
                        <a:pt x="9678" y="41727"/>
                        <a:pt x="9305" y="47581"/>
                        <a:pt x="880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0" name="Freeform 4539">
                  <a:extLst>
                    <a:ext uri="{FF2B5EF4-FFF2-40B4-BE49-F238E27FC236}">
                      <a16:creationId xmlns:a16="http://schemas.microsoft.com/office/drawing/2014/main" id="{79008A76-A80F-1927-6CE9-DA5AD03FA9E5}"/>
                    </a:ext>
                  </a:extLst>
                </p:cNvPr>
                <p:cNvSpPr/>
                <p:nvPr/>
              </p:nvSpPr>
              <p:spPr>
                <a:xfrm>
                  <a:off x="6277333" y="5745421"/>
                  <a:ext cx="9590" cy="51317"/>
                </a:xfrm>
                <a:custGeom>
                  <a:avLst/>
                  <a:gdLst>
                    <a:gd name="connsiteX0" fmla="*/ 9591 w 9590"/>
                    <a:gd name="connsiteY0" fmla="*/ 51318 h 51317"/>
                    <a:gd name="connsiteX1" fmla="*/ 4484 w 9590"/>
                    <a:gd name="connsiteY1" fmla="*/ 33257 h 51317"/>
                    <a:gd name="connsiteX2" fmla="*/ 4982 w 9590"/>
                    <a:gd name="connsiteY2" fmla="*/ 15819 h 51317"/>
                    <a:gd name="connsiteX3" fmla="*/ 0 w 9590"/>
                    <a:gd name="connsiteY3" fmla="*/ 0 h 51317"/>
                  </a:gdLst>
                  <a:ahLst/>
                  <a:cxnLst>
                    <a:cxn ang="0">
                      <a:pos x="connsiteX0" y="connsiteY0"/>
                    </a:cxn>
                    <a:cxn ang="0">
                      <a:pos x="connsiteX1" y="connsiteY1"/>
                    </a:cxn>
                    <a:cxn ang="0">
                      <a:pos x="connsiteX2" y="connsiteY2"/>
                    </a:cxn>
                    <a:cxn ang="0">
                      <a:pos x="connsiteX3" y="connsiteY3"/>
                    </a:cxn>
                  </a:cxnLst>
                  <a:rect l="l" t="t" r="r" b="b"/>
                  <a:pathLst>
                    <a:path w="9590" h="51317">
                      <a:moveTo>
                        <a:pt x="9591" y="51318"/>
                      </a:moveTo>
                      <a:cubicBezTo>
                        <a:pt x="5730" y="43844"/>
                        <a:pt x="4733" y="37616"/>
                        <a:pt x="4484" y="33257"/>
                      </a:cubicBezTo>
                      <a:cubicBezTo>
                        <a:pt x="4110" y="26282"/>
                        <a:pt x="5605" y="22919"/>
                        <a:pt x="4982"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1" name="Freeform 4540">
                  <a:extLst>
                    <a:ext uri="{FF2B5EF4-FFF2-40B4-BE49-F238E27FC236}">
                      <a16:creationId xmlns:a16="http://schemas.microsoft.com/office/drawing/2014/main" id="{DAACCA45-1A76-12B9-66DB-388A0D5BCA8B}"/>
                    </a:ext>
                  </a:extLst>
                </p:cNvPr>
                <p:cNvSpPr/>
                <p:nvPr/>
              </p:nvSpPr>
              <p:spPr>
                <a:xfrm>
                  <a:off x="6260323" y="5730812"/>
                  <a:ext cx="26546" cy="26516"/>
                </a:xfrm>
                <a:custGeom>
                  <a:avLst/>
                  <a:gdLst>
                    <a:gd name="connsiteX0" fmla="*/ 26352 w 26546"/>
                    <a:gd name="connsiteY0" fmla="*/ 10997 h 26516"/>
                    <a:gd name="connsiteX1" fmla="*/ 15516 w 26546"/>
                    <a:gd name="connsiteY1" fmla="*/ 26318 h 26516"/>
                    <a:gd name="connsiteX2" fmla="*/ 195 w 26546"/>
                    <a:gd name="connsiteY2" fmla="*/ 15606 h 26516"/>
                    <a:gd name="connsiteX3" fmla="*/ 11031 w 26546"/>
                    <a:gd name="connsiteY3" fmla="*/ 161 h 26516"/>
                    <a:gd name="connsiteX4" fmla="*/ 26352 w 26546"/>
                    <a:gd name="connsiteY4" fmla="*/ 10997 h 26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16">
                      <a:moveTo>
                        <a:pt x="26352" y="10997"/>
                      </a:moveTo>
                      <a:cubicBezTo>
                        <a:pt x="27598" y="18222"/>
                        <a:pt x="22740" y="25072"/>
                        <a:pt x="15516" y="26318"/>
                      </a:cubicBezTo>
                      <a:cubicBezTo>
                        <a:pt x="8291" y="27564"/>
                        <a:pt x="1440" y="22830"/>
                        <a:pt x="195" y="15606"/>
                      </a:cubicBezTo>
                      <a:cubicBezTo>
                        <a:pt x="-1051" y="8382"/>
                        <a:pt x="3807" y="1407"/>
                        <a:pt x="11031" y="161"/>
                      </a:cubicBezTo>
                      <a:cubicBezTo>
                        <a:pt x="18131" y="-960"/>
                        <a:pt x="25106" y="3898"/>
                        <a:pt x="26352" y="1099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2" name="Freeform 4541">
                  <a:extLst>
                    <a:ext uri="{FF2B5EF4-FFF2-40B4-BE49-F238E27FC236}">
                      <a16:creationId xmlns:a16="http://schemas.microsoft.com/office/drawing/2014/main" id="{FF03187C-4EF8-1B93-B382-B778FAA3AAED}"/>
                    </a:ext>
                  </a:extLst>
                </p:cNvPr>
                <p:cNvSpPr/>
                <p:nvPr/>
              </p:nvSpPr>
              <p:spPr>
                <a:xfrm>
                  <a:off x="6288116" y="5805458"/>
                  <a:ext cx="9178" cy="51566"/>
                </a:xfrm>
                <a:custGeom>
                  <a:avLst/>
                  <a:gdLst>
                    <a:gd name="connsiteX0" fmla="*/ 8772 w 9178"/>
                    <a:gd name="connsiteY0" fmla="*/ 51567 h 51566"/>
                    <a:gd name="connsiteX1" fmla="*/ 7527 w 9178"/>
                    <a:gd name="connsiteY1" fmla="*/ 32759 h 51566"/>
                    <a:gd name="connsiteX2" fmla="*/ 1174 w 9178"/>
                    <a:gd name="connsiteY2" fmla="*/ 16442 h 51566"/>
                    <a:gd name="connsiteX3" fmla="*/ 427 w 9178"/>
                    <a:gd name="connsiteY3" fmla="*/ 0 h 51566"/>
                  </a:gdLst>
                  <a:ahLst/>
                  <a:cxnLst>
                    <a:cxn ang="0">
                      <a:pos x="connsiteX0" y="connsiteY0"/>
                    </a:cxn>
                    <a:cxn ang="0">
                      <a:pos x="connsiteX1" y="connsiteY1"/>
                    </a:cxn>
                    <a:cxn ang="0">
                      <a:pos x="connsiteX2" y="connsiteY2"/>
                    </a:cxn>
                    <a:cxn ang="0">
                      <a:pos x="connsiteX3" y="connsiteY3"/>
                    </a:cxn>
                  </a:cxnLst>
                  <a:rect l="l" t="t" r="r" b="b"/>
                  <a:pathLst>
                    <a:path w="9178" h="51566">
                      <a:moveTo>
                        <a:pt x="8772" y="51567"/>
                      </a:moveTo>
                      <a:cubicBezTo>
                        <a:pt x="9769" y="43222"/>
                        <a:pt x="8772" y="36994"/>
                        <a:pt x="7527" y="32759"/>
                      </a:cubicBezTo>
                      <a:cubicBezTo>
                        <a:pt x="5534" y="26033"/>
                        <a:pt x="2918" y="23417"/>
                        <a:pt x="1174" y="16442"/>
                      </a:cubicBezTo>
                      <a:cubicBezTo>
                        <a:pt x="-445" y="9715"/>
                        <a:pt x="-72" y="3861"/>
                        <a:pt x="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3" name="Freeform 4542">
                  <a:extLst>
                    <a:ext uri="{FF2B5EF4-FFF2-40B4-BE49-F238E27FC236}">
                      <a16:creationId xmlns:a16="http://schemas.microsoft.com/office/drawing/2014/main" id="{D7B42FBA-9D94-3978-A314-14E68ADA5CF2}"/>
                    </a:ext>
                  </a:extLst>
                </p:cNvPr>
                <p:cNvSpPr/>
                <p:nvPr/>
              </p:nvSpPr>
              <p:spPr>
                <a:xfrm>
                  <a:off x="6281194" y="5811935"/>
                  <a:ext cx="9715" cy="51193"/>
                </a:xfrm>
                <a:custGeom>
                  <a:avLst/>
                  <a:gdLst>
                    <a:gd name="connsiteX0" fmla="*/ 0 w 9715"/>
                    <a:gd name="connsiteY0" fmla="*/ 0 h 51193"/>
                    <a:gd name="connsiteX1" fmla="*/ 5107 w 9715"/>
                    <a:gd name="connsiteY1" fmla="*/ 18061 h 51193"/>
                    <a:gd name="connsiteX2" fmla="*/ 4733 w 9715"/>
                    <a:gd name="connsiteY2" fmla="*/ 35499 h 51193"/>
                    <a:gd name="connsiteX3" fmla="*/ 9715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0" y="0"/>
                      </a:moveTo>
                      <a:cubicBezTo>
                        <a:pt x="3861" y="7474"/>
                        <a:pt x="4858" y="13701"/>
                        <a:pt x="5107" y="18061"/>
                      </a:cubicBezTo>
                      <a:cubicBezTo>
                        <a:pt x="5481" y="25036"/>
                        <a:pt x="3986" y="28399"/>
                        <a:pt x="4733" y="35499"/>
                      </a:cubicBezTo>
                      <a:cubicBezTo>
                        <a:pt x="5481" y="42350"/>
                        <a:pt x="7847" y="47706"/>
                        <a:pt x="971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4" name="Freeform 4543">
                  <a:extLst>
                    <a:ext uri="{FF2B5EF4-FFF2-40B4-BE49-F238E27FC236}">
                      <a16:creationId xmlns:a16="http://schemas.microsoft.com/office/drawing/2014/main" id="{7D368A4D-A313-F122-376B-58FE16818A08}"/>
                    </a:ext>
                  </a:extLst>
                </p:cNvPr>
                <p:cNvSpPr/>
                <p:nvPr/>
              </p:nvSpPr>
              <p:spPr>
                <a:xfrm>
                  <a:off x="6281369" y="5851474"/>
                  <a:ext cx="26430" cy="26426"/>
                </a:xfrm>
                <a:custGeom>
                  <a:avLst/>
                  <a:gdLst>
                    <a:gd name="connsiteX0" fmla="*/ 199 w 26430"/>
                    <a:gd name="connsiteY0" fmla="*/ 15516 h 26426"/>
                    <a:gd name="connsiteX1" fmla="*/ 10911 w 26430"/>
                    <a:gd name="connsiteY1" fmla="*/ 195 h 26426"/>
                    <a:gd name="connsiteX2" fmla="*/ 26231 w 26430"/>
                    <a:gd name="connsiteY2" fmla="*/ 11031 h 26426"/>
                    <a:gd name="connsiteX3" fmla="*/ 15520 w 26430"/>
                    <a:gd name="connsiteY3" fmla="*/ 26227 h 26426"/>
                    <a:gd name="connsiteX4" fmla="*/ 199 w 26430"/>
                    <a:gd name="connsiteY4" fmla="*/ 15516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26">
                      <a:moveTo>
                        <a:pt x="199" y="15516"/>
                      </a:moveTo>
                      <a:cubicBezTo>
                        <a:pt x="-1047" y="8291"/>
                        <a:pt x="3686" y="1316"/>
                        <a:pt x="10911" y="195"/>
                      </a:cubicBezTo>
                      <a:cubicBezTo>
                        <a:pt x="18135" y="-1051"/>
                        <a:pt x="24986" y="3807"/>
                        <a:pt x="26231" y="11031"/>
                      </a:cubicBezTo>
                      <a:cubicBezTo>
                        <a:pt x="27477" y="18256"/>
                        <a:pt x="22744" y="25106"/>
                        <a:pt x="15520" y="26227"/>
                      </a:cubicBezTo>
                      <a:cubicBezTo>
                        <a:pt x="8295" y="27473"/>
                        <a:pt x="1569" y="22740"/>
                        <a:pt x="199"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1" name="Graphic 2987">
                <a:extLst>
                  <a:ext uri="{FF2B5EF4-FFF2-40B4-BE49-F238E27FC236}">
                    <a16:creationId xmlns:a16="http://schemas.microsoft.com/office/drawing/2014/main" id="{48BD3E0F-3879-0C4A-46CB-4271E99915A4}"/>
                  </a:ext>
                </a:extLst>
              </p:cNvPr>
              <p:cNvGrpSpPr/>
              <p:nvPr/>
            </p:nvGrpSpPr>
            <p:grpSpPr>
              <a:xfrm>
                <a:off x="6289594" y="5725920"/>
                <a:ext cx="47098" cy="147114"/>
                <a:chOff x="6289594" y="5725920"/>
                <a:chExt cx="47098" cy="147114"/>
              </a:xfrm>
              <a:grpFill/>
            </p:grpSpPr>
            <p:sp>
              <p:nvSpPr>
                <p:cNvPr id="4913" name="Freeform 4545">
                  <a:extLst>
                    <a:ext uri="{FF2B5EF4-FFF2-40B4-BE49-F238E27FC236}">
                      <a16:creationId xmlns:a16="http://schemas.microsoft.com/office/drawing/2014/main" id="{D838E354-28C8-89CB-4826-0DFEEB229B8E}"/>
                    </a:ext>
                  </a:extLst>
                </p:cNvPr>
                <p:cNvSpPr/>
                <p:nvPr/>
              </p:nvSpPr>
              <p:spPr>
                <a:xfrm>
                  <a:off x="6300039" y="5746667"/>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8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700" y="25534"/>
                        <a:pt x="6315" y="28150"/>
                        <a:pt x="7935" y="35125"/>
                      </a:cubicBezTo>
                      <a:cubicBezTo>
                        <a:pt x="9554" y="41851"/>
                        <a:pt x="9180" y="47705"/>
                        <a:pt x="8558"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4" name="Freeform 4546">
                  <a:extLst>
                    <a:ext uri="{FF2B5EF4-FFF2-40B4-BE49-F238E27FC236}">
                      <a16:creationId xmlns:a16="http://schemas.microsoft.com/office/drawing/2014/main" id="{6360BC3A-4C8C-CED1-D23D-C5DF8A573E40}"/>
                    </a:ext>
                  </a:extLst>
                </p:cNvPr>
                <p:cNvSpPr/>
                <p:nvPr/>
              </p:nvSpPr>
              <p:spPr>
                <a:xfrm>
                  <a:off x="6306604" y="5740564"/>
                  <a:ext cx="9466" cy="51317"/>
                </a:xfrm>
                <a:custGeom>
                  <a:avLst/>
                  <a:gdLst>
                    <a:gd name="connsiteX0" fmla="*/ 9466 w 9466"/>
                    <a:gd name="connsiteY0" fmla="*/ 51318 h 51317"/>
                    <a:gd name="connsiteX1" fmla="*/ 4360 w 9466"/>
                    <a:gd name="connsiteY1" fmla="*/ 33257 h 51317"/>
                    <a:gd name="connsiteX2" fmla="*/ 4858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6" y="51318"/>
                      </a:moveTo>
                      <a:cubicBezTo>
                        <a:pt x="5605" y="43844"/>
                        <a:pt x="4609" y="37492"/>
                        <a:pt x="4360" y="33257"/>
                      </a:cubicBezTo>
                      <a:cubicBezTo>
                        <a:pt x="3986"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5" name="Freeform 4547">
                  <a:extLst>
                    <a:ext uri="{FF2B5EF4-FFF2-40B4-BE49-F238E27FC236}">
                      <a16:creationId xmlns:a16="http://schemas.microsoft.com/office/drawing/2014/main" id="{6248AFC6-0EC6-AEA8-59A6-B0BE31375656}"/>
                    </a:ext>
                  </a:extLst>
                </p:cNvPr>
                <p:cNvSpPr/>
                <p:nvPr/>
              </p:nvSpPr>
              <p:spPr>
                <a:xfrm>
                  <a:off x="6289594" y="5725920"/>
                  <a:ext cx="26546" cy="26546"/>
                </a:xfrm>
                <a:custGeom>
                  <a:avLst/>
                  <a:gdLst>
                    <a:gd name="connsiteX0" fmla="*/ 26352 w 26546"/>
                    <a:gd name="connsiteY0" fmla="*/ 11031 h 26546"/>
                    <a:gd name="connsiteX1" fmla="*/ 15516 w 26546"/>
                    <a:gd name="connsiteY1" fmla="*/ 26352 h 26546"/>
                    <a:gd name="connsiteX2" fmla="*/ 195 w 26546"/>
                    <a:gd name="connsiteY2" fmla="*/ 15515 h 26546"/>
                    <a:gd name="connsiteX3" fmla="*/ 11031 w 26546"/>
                    <a:gd name="connsiteY3" fmla="*/ 195 h 26546"/>
                    <a:gd name="connsiteX4" fmla="*/ 26352 w 26546"/>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352" y="11031"/>
                      </a:moveTo>
                      <a:cubicBezTo>
                        <a:pt x="27598" y="18255"/>
                        <a:pt x="22740" y="25106"/>
                        <a:pt x="15516" y="26352"/>
                      </a:cubicBezTo>
                      <a:cubicBezTo>
                        <a:pt x="8291" y="27597"/>
                        <a:pt x="1440" y="22740"/>
                        <a:pt x="195" y="15515"/>
                      </a:cubicBezTo>
                      <a:cubicBezTo>
                        <a:pt x="-1051" y="8291"/>
                        <a:pt x="3807" y="1440"/>
                        <a:pt x="11031" y="195"/>
                      </a:cubicBezTo>
                      <a:cubicBezTo>
                        <a:pt x="18256" y="-1051"/>
                        <a:pt x="25106" y="3807"/>
                        <a:pt x="26352"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6" name="Freeform 4548">
                  <a:extLst>
                    <a:ext uri="{FF2B5EF4-FFF2-40B4-BE49-F238E27FC236}">
                      <a16:creationId xmlns:a16="http://schemas.microsoft.com/office/drawing/2014/main" id="{0EEF63A6-826B-0850-56B0-70BF4EEBDEA6}"/>
                    </a:ext>
                  </a:extLst>
                </p:cNvPr>
                <p:cNvSpPr/>
                <p:nvPr/>
              </p:nvSpPr>
              <p:spPr>
                <a:xfrm>
                  <a:off x="6317407" y="5800600"/>
                  <a:ext cx="9089" cy="51567"/>
                </a:xfrm>
                <a:custGeom>
                  <a:avLst/>
                  <a:gdLst>
                    <a:gd name="connsiteX0" fmla="*/ 8628 w 9089"/>
                    <a:gd name="connsiteY0" fmla="*/ 51567 h 51567"/>
                    <a:gd name="connsiteX1" fmla="*/ 7383 w 9089"/>
                    <a:gd name="connsiteY1" fmla="*/ 32759 h 51567"/>
                    <a:gd name="connsiteX2" fmla="*/ 1155 w 9089"/>
                    <a:gd name="connsiteY2" fmla="*/ 16442 h 51567"/>
                    <a:gd name="connsiteX3" fmla="*/ 532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8628" y="51567"/>
                      </a:moveTo>
                      <a:cubicBezTo>
                        <a:pt x="9749" y="43222"/>
                        <a:pt x="8628" y="36994"/>
                        <a:pt x="7383" y="32759"/>
                      </a:cubicBezTo>
                      <a:cubicBezTo>
                        <a:pt x="5390" y="26033"/>
                        <a:pt x="2774"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7" name="Freeform 4549">
                  <a:extLst>
                    <a:ext uri="{FF2B5EF4-FFF2-40B4-BE49-F238E27FC236}">
                      <a16:creationId xmlns:a16="http://schemas.microsoft.com/office/drawing/2014/main" id="{B42511BD-43C3-D5D9-0396-F0E57D6D9262}"/>
                    </a:ext>
                  </a:extLst>
                </p:cNvPr>
                <p:cNvSpPr/>
                <p:nvPr/>
              </p:nvSpPr>
              <p:spPr>
                <a:xfrm>
                  <a:off x="6310340" y="5807078"/>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986" y="28399"/>
                        <a:pt x="4609" y="35499"/>
                      </a:cubicBezTo>
                      <a:cubicBezTo>
                        <a:pt x="5356"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8" name="Freeform 4550">
                  <a:extLst>
                    <a:ext uri="{FF2B5EF4-FFF2-40B4-BE49-F238E27FC236}">
                      <a16:creationId xmlns:a16="http://schemas.microsoft.com/office/drawing/2014/main" id="{13609B3E-FCF9-827D-90AB-1CB8DD2A4578}"/>
                    </a:ext>
                  </a:extLst>
                </p:cNvPr>
                <p:cNvSpPr/>
                <p:nvPr/>
              </p:nvSpPr>
              <p:spPr>
                <a:xfrm>
                  <a:off x="6310395" y="5846617"/>
                  <a:ext cx="26297" cy="26418"/>
                </a:xfrm>
                <a:custGeom>
                  <a:avLst/>
                  <a:gdLst>
                    <a:gd name="connsiteX0" fmla="*/ 195 w 26297"/>
                    <a:gd name="connsiteY0" fmla="*/ 15391 h 26418"/>
                    <a:gd name="connsiteX1" fmla="*/ 10907 w 26297"/>
                    <a:gd name="connsiteY1" fmla="*/ 195 h 26418"/>
                    <a:gd name="connsiteX2" fmla="*/ 26103 w 26297"/>
                    <a:gd name="connsiteY2" fmla="*/ 11031 h 26418"/>
                    <a:gd name="connsiteX3" fmla="*/ 15391 w 26297"/>
                    <a:gd name="connsiteY3" fmla="*/ 26227 h 26418"/>
                    <a:gd name="connsiteX4" fmla="*/ 195 w 26297"/>
                    <a:gd name="connsiteY4" fmla="*/ 15391 h 26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18">
                      <a:moveTo>
                        <a:pt x="195" y="15391"/>
                      </a:moveTo>
                      <a:cubicBezTo>
                        <a:pt x="-1051" y="8166"/>
                        <a:pt x="3807" y="1316"/>
                        <a:pt x="10907" y="195"/>
                      </a:cubicBezTo>
                      <a:cubicBezTo>
                        <a:pt x="18131" y="-1051"/>
                        <a:pt x="24857" y="3807"/>
                        <a:pt x="26103" y="11031"/>
                      </a:cubicBezTo>
                      <a:cubicBezTo>
                        <a:pt x="27348" y="18255"/>
                        <a:pt x="22491" y="25106"/>
                        <a:pt x="15391" y="26227"/>
                      </a:cubicBezTo>
                      <a:cubicBezTo>
                        <a:pt x="8291" y="27473"/>
                        <a:pt x="1440" y="22490"/>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2" name="Graphic 2987">
                <a:extLst>
                  <a:ext uri="{FF2B5EF4-FFF2-40B4-BE49-F238E27FC236}">
                    <a16:creationId xmlns:a16="http://schemas.microsoft.com/office/drawing/2014/main" id="{191F5D7D-12CE-48AF-D4B6-92A8389C6074}"/>
                  </a:ext>
                </a:extLst>
              </p:cNvPr>
              <p:cNvGrpSpPr/>
              <p:nvPr/>
            </p:nvGrpSpPr>
            <p:grpSpPr>
              <a:xfrm>
                <a:off x="6318865" y="5720938"/>
                <a:ext cx="46849" cy="147118"/>
                <a:chOff x="6318865" y="5720938"/>
                <a:chExt cx="46849" cy="147118"/>
              </a:xfrm>
              <a:grpFill/>
            </p:grpSpPr>
            <p:sp>
              <p:nvSpPr>
                <p:cNvPr id="4907" name="Freeform 4552">
                  <a:extLst>
                    <a:ext uri="{FF2B5EF4-FFF2-40B4-BE49-F238E27FC236}">
                      <a16:creationId xmlns:a16="http://schemas.microsoft.com/office/drawing/2014/main" id="{FFC9A1F8-31B9-4D98-26B9-A3E8B8F7634A}"/>
                    </a:ext>
                  </a:extLst>
                </p:cNvPr>
                <p:cNvSpPr/>
                <p:nvPr/>
              </p:nvSpPr>
              <p:spPr>
                <a:xfrm>
                  <a:off x="6329307" y="5741809"/>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578" y="25535"/>
                        <a:pt x="6194"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8" name="Freeform 4553">
                  <a:extLst>
                    <a:ext uri="{FF2B5EF4-FFF2-40B4-BE49-F238E27FC236}">
                      <a16:creationId xmlns:a16="http://schemas.microsoft.com/office/drawing/2014/main" id="{D830C1FB-308F-B092-F7B5-AA6EA773F574}"/>
                    </a:ext>
                  </a:extLst>
                </p:cNvPr>
                <p:cNvSpPr/>
                <p:nvPr/>
              </p:nvSpPr>
              <p:spPr>
                <a:xfrm>
                  <a:off x="6335875" y="5735581"/>
                  <a:ext cx="9466" cy="51318"/>
                </a:xfrm>
                <a:custGeom>
                  <a:avLst/>
                  <a:gdLst>
                    <a:gd name="connsiteX0" fmla="*/ 9466 w 9466"/>
                    <a:gd name="connsiteY0" fmla="*/ 51318 h 51318"/>
                    <a:gd name="connsiteX1" fmla="*/ 4359 w 9466"/>
                    <a:gd name="connsiteY1" fmla="*/ 33257 h 51318"/>
                    <a:gd name="connsiteX2" fmla="*/ 4858 w 9466"/>
                    <a:gd name="connsiteY2" fmla="*/ 15819 h 51318"/>
                    <a:gd name="connsiteX3" fmla="*/ 0 w 9466"/>
                    <a:gd name="connsiteY3" fmla="*/ 0 h 51318"/>
                  </a:gdLst>
                  <a:ahLst/>
                  <a:cxnLst>
                    <a:cxn ang="0">
                      <a:pos x="connsiteX0" y="connsiteY0"/>
                    </a:cxn>
                    <a:cxn ang="0">
                      <a:pos x="connsiteX1" y="connsiteY1"/>
                    </a:cxn>
                    <a:cxn ang="0">
                      <a:pos x="connsiteX2" y="connsiteY2"/>
                    </a:cxn>
                    <a:cxn ang="0">
                      <a:pos x="connsiteX3" y="connsiteY3"/>
                    </a:cxn>
                  </a:cxnLst>
                  <a:rect l="l" t="t" r="r" b="b"/>
                  <a:pathLst>
                    <a:path w="9466" h="51318">
                      <a:moveTo>
                        <a:pt x="9466" y="51318"/>
                      </a:moveTo>
                      <a:cubicBezTo>
                        <a:pt x="5730" y="43845"/>
                        <a:pt x="4609" y="37492"/>
                        <a:pt x="4359" y="33257"/>
                      </a:cubicBezTo>
                      <a:cubicBezTo>
                        <a:pt x="3986" y="26282"/>
                        <a:pt x="5605"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9" name="Freeform 4554">
                  <a:extLst>
                    <a:ext uri="{FF2B5EF4-FFF2-40B4-BE49-F238E27FC236}">
                      <a16:creationId xmlns:a16="http://schemas.microsoft.com/office/drawing/2014/main" id="{6726B72A-7082-6773-99F9-6C84BB77D133}"/>
                    </a:ext>
                  </a:extLst>
                </p:cNvPr>
                <p:cNvSpPr/>
                <p:nvPr/>
              </p:nvSpPr>
              <p:spPr>
                <a:xfrm>
                  <a:off x="6318865" y="5720938"/>
                  <a:ext cx="26670" cy="26546"/>
                </a:xfrm>
                <a:custGeom>
                  <a:avLst/>
                  <a:gdLst>
                    <a:gd name="connsiteX0" fmla="*/ 26476 w 26670"/>
                    <a:gd name="connsiteY0" fmla="*/ 11032 h 26546"/>
                    <a:gd name="connsiteX1" fmla="*/ 15515 w 26670"/>
                    <a:gd name="connsiteY1" fmla="*/ 26352 h 26546"/>
                    <a:gd name="connsiteX2" fmla="*/ 195 w 26670"/>
                    <a:gd name="connsiteY2" fmla="*/ 15515 h 26546"/>
                    <a:gd name="connsiteX3" fmla="*/ 11156 w 26670"/>
                    <a:gd name="connsiteY3" fmla="*/ 195 h 26546"/>
                    <a:gd name="connsiteX4" fmla="*/ 26476 w 26670"/>
                    <a:gd name="connsiteY4" fmla="*/ 1103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476" y="11032"/>
                      </a:moveTo>
                      <a:cubicBezTo>
                        <a:pt x="27722" y="18256"/>
                        <a:pt x="22864" y="25106"/>
                        <a:pt x="15515" y="26352"/>
                      </a:cubicBezTo>
                      <a:cubicBezTo>
                        <a:pt x="8291" y="27598"/>
                        <a:pt x="1440" y="22740"/>
                        <a:pt x="195" y="15515"/>
                      </a:cubicBezTo>
                      <a:cubicBezTo>
                        <a:pt x="-1051" y="8291"/>
                        <a:pt x="3807" y="1440"/>
                        <a:pt x="11156" y="195"/>
                      </a:cubicBezTo>
                      <a:cubicBezTo>
                        <a:pt x="18380" y="-1051"/>
                        <a:pt x="25231" y="3807"/>
                        <a:pt x="26476" y="110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0" name="Freeform 4555">
                  <a:extLst>
                    <a:ext uri="{FF2B5EF4-FFF2-40B4-BE49-F238E27FC236}">
                      <a16:creationId xmlns:a16="http://schemas.microsoft.com/office/drawing/2014/main" id="{80B4B410-A0BB-21EE-B4A6-6D61DF5E463A}"/>
                    </a:ext>
                  </a:extLst>
                </p:cNvPr>
                <p:cNvSpPr/>
                <p:nvPr/>
              </p:nvSpPr>
              <p:spPr>
                <a:xfrm>
                  <a:off x="6346553" y="5795743"/>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2"/>
                        <a:pt x="8504" y="36994"/>
                        <a:pt x="7383" y="32759"/>
                      </a:cubicBezTo>
                      <a:cubicBezTo>
                        <a:pt x="5514" y="26033"/>
                        <a:pt x="2899"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1" name="Freeform 4556">
                  <a:extLst>
                    <a:ext uri="{FF2B5EF4-FFF2-40B4-BE49-F238E27FC236}">
                      <a16:creationId xmlns:a16="http://schemas.microsoft.com/office/drawing/2014/main" id="{54A67334-9C68-6722-7816-E3F23A08D53B}"/>
                    </a:ext>
                  </a:extLst>
                </p:cNvPr>
                <p:cNvSpPr/>
                <p:nvPr/>
              </p:nvSpPr>
              <p:spPr>
                <a:xfrm>
                  <a:off x="6339612" y="5802095"/>
                  <a:ext cx="9466" cy="51318"/>
                </a:xfrm>
                <a:custGeom>
                  <a:avLst/>
                  <a:gdLst>
                    <a:gd name="connsiteX0" fmla="*/ 0 w 9466"/>
                    <a:gd name="connsiteY0" fmla="*/ 0 h 51318"/>
                    <a:gd name="connsiteX1" fmla="*/ 5107 w 9466"/>
                    <a:gd name="connsiteY1" fmla="*/ 18061 h 51318"/>
                    <a:gd name="connsiteX2" fmla="*/ 4609 w 9466"/>
                    <a:gd name="connsiteY2" fmla="*/ 35499 h 51318"/>
                    <a:gd name="connsiteX3" fmla="*/ 9467 w 9466"/>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466" h="51318">
                      <a:moveTo>
                        <a:pt x="0" y="0"/>
                      </a:moveTo>
                      <a:cubicBezTo>
                        <a:pt x="3737" y="7474"/>
                        <a:pt x="4858" y="13826"/>
                        <a:pt x="5107" y="18061"/>
                      </a:cubicBezTo>
                      <a:cubicBezTo>
                        <a:pt x="5481" y="25036"/>
                        <a:pt x="3861" y="28400"/>
                        <a:pt x="4609" y="35499"/>
                      </a:cubicBezTo>
                      <a:cubicBezTo>
                        <a:pt x="5232"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2" name="Freeform 4557">
                  <a:extLst>
                    <a:ext uri="{FF2B5EF4-FFF2-40B4-BE49-F238E27FC236}">
                      <a16:creationId xmlns:a16="http://schemas.microsoft.com/office/drawing/2014/main" id="{AC2D5DEC-0489-EB81-556F-61FB8BA33D32}"/>
                    </a:ext>
                  </a:extLst>
                </p:cNvPr>
                <p:cNvSpPr/>
                <p:nvPr/>
              </p:nvSpPr>
              <p:spPr>
                <a:xfrm>
                  <a:off x="6339417" y="5841634"/>
                  <a:ext cx="26297" cy="26422"/>
                </a:xfrm>
                <a:custGeom>
                  <a:avLst/>
                  <a:gdLst>
                    <a:gd name="connsiteX0" fmla="*/ 195 w 26297"/>
                    <a:gd name="connsiteY0" fmla="*/ 15391 h 26422"/>
                    <a:gd name="connsiteX1" fmla="*/ 10907 w 26297"/>
                    <a:gd name="connsiteY1" fmla="*/ 195 h 26422"/>
                    <a:gd name="connsiteX2" fmla="*/ 26103 w 26297"/>
                    <a:gd name="connsiteY2" fmla="*/ 11032 h 26422"/>
                    <a:gd name="connsiteX3" fmla="*/ 15391 w 26297"/>
                    <a:gd name="connsiteY3" fmla="*/ 26228 h 26422"/>
                    <a:gd name="connsiteX4" fmla="*/ 195 w 26297"/>
                    <a:gd name="connsiteY4" fmla="*/ 15391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22">
                      <a:moveTo>
                        <a:pt x="195" y="15391"/>
                      </a:moveTo>
                      <a:cubicBezTo>
                        <a:pt x="-1051" y="8167"/>
                        <a:pt x="3807" y="1316"/>
                        <a:pt x="10907" y="195"/>
                      </a:cubicBezTo>
                      <a:cubicBezTo>
                        <a:pt x="18131" y="-1051"/>
                        <a:pt x="24858" y="3807"/>
                        <a:pt x="26103" y="11032"/>
                      </a:cubicBezTo>
                      <a:cubicBezTo>
                        <a:pt x="27348" y="18256"/>
                        <a:pt x="22491" y="25106"/>
                        <a:pt x="15391" y="26228"/>
                      </a:cubicBezTo>
                      <a:cubicBezTo>
                        <a:pt x="8291" y="27473"/>
                        <a:pt x="1441" y="22615"/>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3" name="Graphic 2987">
                <a:extLst>
                  <a:ext uri="{FF2B5EF4-FFF2-40B4-BE49-F238E27FC236}">
                    <a16:creationId xmlns:a16="http://schemas.microsoft.com/office/drawing/2014/main" id="{C7D74DC7-4C17-4D51-8916-088F9C75EFF4}"/>
                  </a:ext>
                </a:extLst>
              </p:cNvPr>
              <p:cNvGrpSpPr/>
              <p:nvPr/>
            </p:nvGrpSpPr>
            <p:grpSpPr>
              <a:xfrm>
                <a:off x="6348140" y="5716048"/>
                <a:ext cx="46721" cy="147150"/>
                <a:chOff x="6348140" y="5716048"/>
                <a:chExt cx="46721" cy="147150"/>
              </a:xfrm>
              <a:grpFill/>
            </p:grpSpPr>
            <p:sp>
              <p:nvSpPr>
                <p:cNvPr id="4901" name="Freeform 4559">
                  <a:extLst>
                    <a:ext uri="{FF2B5EF4-FFF2-40B4-BE49-F238E27FC236}">
                      <a16:creationId xmlns:a16="http://schemas.microsoft.com/office/drawing/2014/main" id="{BD7012FE-F114-1A7B-2083-3359CA8D3903}"/>
                    </a:ext>
                  </a:extLst>
                </p:cNvPr>
                <p:cNvSpPr/>
                <p:nvPr/>
              </p:nvSpPr>
              <p:spPr>
                <a:xfrm>
                  <a:off x="6358578" y="5736827"/>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454" y="25535"/>
                        <a:pt x="6070"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2" name="Freeform 4560">
                  <a:extLst>
                    <a:ext uri="{FF2B5EF4-FFF2-40B4-BE49-F238E27FC236}">
                      <a16:creationId xmlns:a16="http://schemas.microsoft.com/office/drawing/2014/main" id="{1E54366E-D389-A6CE-9FA2-D9B4F761EA7A}"/>
                    </a:ext>
                  </a:extLst>
                </p:cNvPr>
                <p:cNvSpPr/>
                <p:nvPr/>
              </p:nvSpPr>
              <p:spPr>
                <a:xfrm>
                  <a:off x="6365270" y="5730724"/>
                  <a:ext cx="9217" cy="51317"/>
                </a:xfrm>
                <a:custGeom>
                  <a:avLst/>
                  <a:gdLst>
                    <a:gd name="connsiteX0" fmla="*/ 9217 w 9217"/>
                    <a:gd name="connsiteY0" fmla="*/ 51318 h 51317"/>
                    <a:gd name="connsiteX1" fmla="*/ 4235 w 9217"/>
                    <a:gd name="connsiteY1" fmla="*/ 33257 h 51317"/>
                    <a:gd name="connsiteX2" fmla="*/ 4858 w 9217"/>
                    <a:gd name="connsiteY2" fmla="*/ 15819 h 51317"/>
                    <a:gd name="connsiteX3" fmla="*/ 0 w 9217"/>
                    <a:gd name="connsiteY3" fmla="*/ 0 h 51317"/>
                  </a:gdLst>
                  <a:ahLst/>
                  <a:cxnLst>
                    <a:cxn ang="0">
                      <a:pos x="connsiteX0" y="connsiteY0"/>
                    </a:cxn>
                    <a:cxn ang="0">
                      <a:pos x="connsiteX1" y="connsiteY1"/>
                    </a:cxn>
                    <a:cxn ang="0">
                      <a:pos x="connsiteX2" y="connsiteY2"/>
                    </a:cxn>
                    <a:cxn ang="0">
                      <a:pos x="connsiteX3" y="connsiteY3"/>
                    </a:cxn>
                  </a:cxnLst>
                  <a:rect l="l" t="t" r="r" b="b"/>
                  <a:pathLst>
                    <a:path w="9217" h="51317">
                      <a:moveTo>
                        <a:pt x="9217" y="51318"/>
                      </a:moveTo>
                      <a:cubicBezTo>
                        <a:pt x="5481" y="43844"/>
                        <a:pt x="4484" y="37492"/>
                        <a:pt x="4235" y="33257"/>
                      </a:cubicBezTo>
                      <a:cubicBezTo>
                        <a:pt x="3861"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3" name="Freeform 4561">
                  <a:extLst>
                    <a:ext uri="{FF2B5EF4-FFF2-40B4-BE49-F238E27FC236}">
                      <a16:creationId xmlns:a16="http://schemas.microsoft.com/office/drawing/2014/main" id="{7D17BE28-14AA-05A8-0F63-38901F17D53D}"/>
                    </a:ext>
                  </a:extLst>
                </p:cNvPr>
                <p:cNvSpPr/>
                <p:nvPr/>
              </p:nvSpPr>
              <p:spPr>
                <a:xfrm>
                  <a:off x="6348140" y="5716048"/>
                  <a:ext cx="26663" cy="26579"/>
                </a:xfrm>
                <a:custGeom>
                  <a:avLst/>
                  <a:gdLst>
                    <a:gd name="connsiteX0" fmla="*/ 26473 w 26663"/>
                    <a:gd name="connsiteY0" fmla="*/ 11064 h 26579"/>
                    <a:gd name="connsiteX1" fmla="*/ 15511 w 26663"/>
                    <a:gd name="connsiteY1" fmla="*/ 26384 h 26579"/>
                    <a:gd name="connsiteX2" fmla="*/ 191 w 26663"/>
                    <a:gd name="connsiteY2" fmla="*/ 15548 h 26579"/>
                    <a:gd name="connsiteX3" fmla="*/ 11152 w 26663"/>
                    <a:gd name="connsiteY3" fmla="*/ 227 h 26579"/>
                    <a:gd name="connsiteX4" fmla="*/ 26473 w 26663"/>
                    <a:gd name="connsiteY4" fmla="*/ 1106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79">
                      <a:moveTo>
                        <a:pt x="26473" y="11064"/>
                      </a:moveTo>
                      <a:cubicBezTo>
                        <a:pt x="27718" y="18288"/>
                        <a:pt x="22736" y="25139"/>
                        <a:pt x="15511" y="26384"/>
                      </a:cubicBezTo>
                      <a:cubicBezTo>
                        <a:pt x="8287" y="27630"/>
                        <a:pt x="1436" y="22772"/>
                        <a:pt x="191" y="15548"/>
                      </a:cubicBezTo>
                      <a:cubicBezTo>
                        <a:pt x="-1055" y="8323"/>
                        <a:pt x="3928" y="1473"/>
                        <a:pt x="11152" y="227"/>
                      </a:cubicBezTo>
                      <a:cubicBezTo>
                        <a:pt x="18501" y="-1143"/>
                        <a:pt x="25352" y="3839"/>
                        <a:pt x="26473"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4" name="Freeform 4562">
                  <a:extLst>
                    <a:ext uri="{FF2B5EF4-FFF2-40B4-BE49-F238E27FC236}">
                      <a16:creationId xmlns:a16="http://schemas.microsoft.com/office/drawing/2014/main" id="{301C9E34-6649-6392-36EA-3205C834A43C}"/>
                    </a:ext>
                  </a:extLst>
                </p:cNvPr>
                <p:cNvSpPr/>
                <p:nvPr/>
              </p:nvSpPr>
              <p:spPr>
                <a:xfrm>
                  <a:off x="6375624" y="5790885"/>
                  <a:ext cx="8919" cy="51567"/>
                </a:xfrm>
                <a:custGeom>
                  <a:avLst/>
                  <a:gdLst>
                    <a:gd name="connsiteX0" fmla="*/ 8455 w 8919"/>
                    <a:gd name="connsiteY0" fmla="*/ 51567 h 51567"/>
                    <a:gd name="connsiteX1" fmla="*/ 7334 w 8919"/>
                    <a:gd name="connsiteY1" fmla="*/ 32759 h 51567"/>
                    <a:gd name="connsiteX2" fmla="*/ 1106 w 8919"/>
                    <a:gd name="connsiteY2" fmla="*/ 16442 h 51567"/>
                    <a:gd name="connsiteX3" fmla="*/ 483 w 8919"/>
                    <a:gd name="connsiteY3" fmla="*/ 0 h 51567"/>
                  </a:gdLst>
                  <a:ahLst/>
                  <a:cxnLst>
                    <a:cxn ang="0">
                      <a:pos x="connsiteX0" y="connsiteY0"/>
                    </a:cxn>
                    <a:cxn ang="0">
                      <a:pos x="connsiteX1" y="connsiteY1"/>
                    </a:cxn>
                    <a:cxn ang="0">
                      <a:pos x="connsiteX2" y="connsiteY2"/>
                    </a:cxn>
                    <a:cxn ang="0">
                      <a:pos x="connsiteX3" y="connsiteY3"/>
                    </a:cxn>
                  </a:cxnLst>
                  <a:rect l="l" t="t" r="r" b="b"/>
                  <a:pathLst>
                    <a:path w="8919" h="51567">
                      <a:moveTo>
                        <a:pt x="8455" y="51567"/>
                      </a:moveTo>
                      <a:cubicBezTo>
                        <a:pt x="9576" y="43222"/>
                        <a:pt x="8455" y="36994"/>
                        <a:pt x="7334" y="32759"/>
                      </a:cubicBezTo>
                      <a:cubicBezTo>
                        <a:pt x="5466" y="26033"/>
                        <a:pt x="2850" y="23417"/>
                        <a:pt x="1106" y="16442"/>
                      </a:cubicBezTo>
                      <a:cubicBezTo>
                        <a:pt x="-513" y="9715"/>
                        <a:pt x="-15" y="3861"/>
                        <a:pt x="4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5" name="Freeform 4563">
                  <a:extLst>
                    <a:ext uri="{FF2B5EF4-FFF2-40B4-BE49-F238E27FC236}">
                      <a16:creationId xmlns:a16="http://schemas.microsoft.com/office/drawing/2014/main" id="{193B545A-20F5-52CE-8D45-F5368BAC0D86}"/>
                    </a:ext>
                  </a:extLst>
                </p:cNvPr>
                <p:cNvSpPr/>
                <p:nvPr/>
              </p:nvSpPr>
              <p:spPr>
                <a:xfrm>
                  <a:off x="6368758" y="5797237"/>
                  <a:ext cx="9341" cy="51317"/>
                </a:xfrm>
                <a:custGeom>
                  <a:avLst/>
                  <a:gdLst>
                    <a:gd name="connsiteX0" fmla="*/ 0 w 9341"/>
                    <a:gd name="connsiteY0" fmla="*/ 0 h 51317"/>
                    <a:gd name="connsiteX1" fmla="*/ 4982 w 9341"/>
                    <a:gd name="connsiteY1" fmla="*/ 18061 h 51317"/>
                    <a:gd name="connsiteX2" fmla="*/ 4484 w 9341"/>
                    <a:gd name="connsiteY2" fmla="*/ 35499 h 51317"/>
                    <a:gd name="connsiteX3" fmla="*/ 9342 w 934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341" h="51317">
                      <a:moveTo>
                        <a:pt x="0" y="0"/>
                      </a:moveTo>
                      <a:cubicBezTo>
                        <a:pt x="3737" y="7474"/>
                        <a:pt x="4733" y="13826"/>
                        <a:pt x="4982" y="18061"/>
                      </a:cubicBezTo>
                      <a:cubicBezTo>
                        <a:pt x="5356" y="25036"/>
                        <a:pt x="3737" y="28399"/>
                        <a:pt x="4484" y="35499"/>
                      </a:cubicBezTo>
                      <a:cubicBezTo>
                        <a:pt x="5107" y="42350"/>
                        <a:pt x="7474" y="47830"/>
                        <a:pt x="9342"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6" name="Freeform 4564">
                  <a:extLst>
                    <a:ext uri="{FF2B5EF4-FFF2-40B4-BE49-F238E27FC236}">
                      <a16:creationId xmlns:a16="http://schemas.microsoft.com/office/drawing/2014/main" id="{511C0CF2-15AC-023E-13B0-09A83A09939C}"/>
                    </a:ext>
                  </a:extLst>
                </p:cNvPr>
                <p:cNvSpPr/>
                <p:nvPr/>
              </p:nvSpPr>
              <p:spPr>
                <a:xfrm>
                  <a:off x="6368439" y="5836652"/>
                  <a:ext cx="26422" cy="26546"/>
                </a:xfrm>
                <a:custGeom>
                  <a:avLst/>
                  <a:gdLst>
                    <a:gd name="connsiteX0" fmla="*/ 195 w 26422"/>
                    <a:gd name="connsiteY0" fmla="*/ 15516 h 26546"/>
                    <a:gd name="connsiteX1" fmla="*/ 11031 w 26422"/>
                    <a:gd name="connsiteY1" fmla="*/ 195 h 26546"/>
                    <a:gd name="connsiteX2" fmla="*/ 26228 w 26422"/>
                    <a:gd name="connsiteY2" fmla="*/ 11031 h 26546"/>
                    <a:gd name="connsiteX3" fmla="*/ 15391 w 26422"/>
                    <a:gd name="connsiteY3" fmla="*/ 26352 h 26546"/>
                    <a:gd name="connsiteX4" fmla="*/ 195 w 26422"/>
                    <a:gd name="connsiteY4" fmla="*/ 15516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195" y="15516"/>
                      </a:moveTo>
                      <a:cubicBezTo>
                        <a:pt x="-1051" y="8291"/>
                        <a:pt x="3807" y="1440"/>
                        <a:pt x="11031" y="195"/>
                      </a:cubicBezTo>
                      <a:cubicBezTo>
                        <a:pt x="18256" y="-1051"/>
                        <a:pt x="24982" y="3807"/>
                        <a:pt x="26228" y="11031"/>
                      </a:cubicBezTo>
                      <a:cubicBezTo>
                        <a:pt x="27473" y="18256"/>
                        <a:pt x="22615" y="25106"/>
                        <a:pt x="15391" y="26352"/>
                      </a:cubicBezTo>
                      <a:cubicBezTo>
                        <a:pt x="8291" y="27598"/>
                        <a:pt x="1440" y="22740"/>
                        <a:pt x="195"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4" name="Graphic 2987">
                <a:extLst>
                  <a:ext uri="{FF2B5EF4-FFF2-40B4-BE49-F238E27FC236}">
                    <a16:creationId xmlns:a16="http://schemas.microsoft.com/office/drawing/2014/main" id="{DBF78470-98E6-D65F-7F35-9A7EB18F2335}"/>
                  </a:ext>
                </a:extLst>
              </p:cNvPr>
              <p:cNvGrpSpPr/>
              <p:nvPr/>
            </p:nvGrpSpPr>
            <p:grpSpPr>
              <a:xfrm>
                <a:off x="6377535" y="5711098"/>
                <a:ext cx="46441" cy="147242"/>
                <a:chOff x="6377535" y="5711098"/>
                <a:chExt cx="46441" cy="147242"/>
              </a:xfrm>
              <a:grpFill/>
            </p:grpSpPr>
            <p:sp>
              <p:nvSpPr>
                <p:cNvPr id="4895" name="Freeform 4566">
                  <a:extLst>
                    <a:ext uri="{FF2B5EF4-FFF2-40B4-BE49-F238E27FC236}">
                      <a16:creationId xmlns:a16="http://schemas.microsoft.com/office/drawing/2014/main" id="{E067DA53-4DA9-39F8-C118-B6EF06E67B77}"/>
                    </a:ext>
                  </a:extLst>
                </p:cNvPr>
                <p:cNvSpPr/>
                <p:nvPr/>
              </p:nvSpPr>
              <p:spPr>
                <a:xfrm>
                  <a:off x="6387950" y="5731969"/>
                  <a:ext cx="8801" cy="51566"/>
                </a:xfrm>
                <a:custGeom>
                  <a:avLst/>
                  <a:gdLst>
                    <a:gd name="connsiteX0" fmla="*/ 488 w 8801"/>
                    <a:gd name="connsiteY0" fmla="*/ 0 h 51566"/>
                    <a:gd name="connsiteX1" fmla="*/ 1609 w 8801"/>
                    <a:gd name="connsiteY1" fmla="*/ 18808 h 51566"/>
                    <a:gd name="connsiteX2" fmla="*/ 7712 w 8801"/>
                    <a:gd name="connsiteY2" fmla="*/ 35125 h 51566"/>
                    <a:gd name="connsiteX3" fmla="*/ 8211 w 880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1" h="51566">
                      <a:moveTo>
                        <a:pt x="488" y="0"/>
                      </a:moveTo>
                      <a:cubicBezTo>
                        <a:pt x="-633" y="8345"/>
                        <a:pt x="363" y="14573"/>
                        <a:pt x="1609" y="18808"/>
                      </a:cubicBezTo>
                      <a:cubicBezTo>
                        <a:pt x="3477" y="25534"/>
                        <a:pt x="6093" y="28150"/>
                        <a:pt x="7712" y="35125"/>
                      </a:cubicBezTo>
                      <a:cubicBezTo>
                        <a:pt x="9331" y="41851"/>
                        <a:pt x="8833" y="47705"/>
                        <a:pt x="821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6" name="Freeform 4567">
                  <a:extLst>
                    <a:ext uri="{FF2B5EF4-FFF2-40B4-BE49-F238E27FC236}">
                      <a16:creationId xmlns:a16="http://schemas.microsoft.com/office/drawing/2014/main" id="{FFAA15C4-439F-4D00-6BC9-AB383ACA983E}"/>
                    </a:ext>
                  </a:extLst>
                </p:cNvPr>
                <p:cNvSpPr/>
                <p:nvPr/>
              </p:nvSpPr>
              <p:spPr>
                <a:xfrm>
                  <a:off x="6394542" y="5725617"/>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969"/>
                        <a:pt x="4359" y="37616"/>
                        <a:pt x="4111" y="33257"/>
                      </a:cubicBezTo>
                      <a:cubicBezTo>
                        <a:pt x="3737" y="26281"/>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7" name="Freeform 4568">
                  <a:extLst>
                    <a:ext uri="{FF2B5EF4-FFF2-40B4-BE49-F238E27FC236}">
                      <a16:creationId xmlns:a16="http://schemas.microsoft.com/office/drawing/2014/main" id="{D4A7E8F6-997C-06FA-6B7F-1DBB2004E65C}"/>
                    </a:ext>
                  </a:extLst>
                </p:cNvPr>
                <p:cNvSpPr/>
                <p:nvPr/>
              </p:nvSpPr>
              <p:spPr>
                <a:xfrm>
                  <a:off x="6377535" y="5711098"/>
                  <a:ext cx="26633" cy="26546"/>
                </a:xfrm>
                <a:custGeom>
                  <a:avLst/>
                  <a:gdLst>
                    <a:gd name="connsiteX0" fmla="*/ 26473 w 26633"/>
                    <a:gd name="connsiteY0" fmla="*/ 11031 h 26546"/>
                    <a:gd name="connsiteX1" fmla="*/ 15511 w 26633"/>
                    <a:gd name="connsiteY1" fmla="*/ 26352 h 26546"/>
                    <a:gd name="connsiteX2" fmla="*/ 191 w 26633"/>
                    <a:gd name="connsiteY2" fmla="*/ 15515 h 26546"/>
                    <a:gd name="connsiteX3" fmla="*/ 11152 w 26633"/>
                    <a:gd name="connsiteY3" fmla="*/ 195 h 26546"/>
                    <a:gd name="connsiteX4" fmla="*/ 26473 w 26633"/>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45">
                      <a:moveTo>
                        <a:pt x="26473" y="11031"/>
                      </a:moveTo>
                      <a:cubicBezTo>
                        <a:pt x="27593" y="18255"/>
                        <a:pt x="22736" y="25106"/>
                        <a:pt x="15511" y="26352"/>
                      </a:cubicBezTo>
                      <a:cubicBezTo>
                        <a:pt x="8287" y="27597"/>
                        <a:pt x="1436" y="22740"/>
                        <a:pt x="191" y="15515"/>
                      </a:cubicBezTo>
                      <a:cubicBezTo>
                        <a:pt x="-1055" y="8291"/>
                        <a:pt x="3928" y="1440"/>
                        <a:pt x="11152" y="195"/>
                      </a:cubicBezTo>
                      <a:cubicBezTo>
                        <a:pt x="18376" y="-1051"/>
                        <a:pt x="25227" y="3807"/>
                        <a:pt x="26473"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8" name="Freeform 4569">
                  <a:extLst>
                    <a:ext uri="{FF2B5EF4-FFF2-40B4-BE49-F238E27FC236}">
                      <a16:creationId xmlns:a16="http://schemas.microsoft.com/office/drawing/2014/main" id="{E9C6CE8F-32BE-1350-419B-5D44C4423CB2}"/>
                    </a:ext>
                  </a:extLst>
                </p:cNvPr>
                <p:cNvSpPr/>
                <p:nvPr/>
              </p:nvSpPr>
              <p:spPr>
                <a:xfrm>
                  <a:off x="6404786" y="5785778"/>
                  <a:ext cx="8802" cy="51691"/>
                </a:xfrm>
                <a:custGeom>
                  <a:avLst/>
                  <a:gdLst>
                    <a:gd name="connsiteX0" fmla="*/ 8314 w 8802"/>
                    <a:gd name="connsiteY0" fmla="*/ 51692 h 51691"/>
                    <a:gd name="connsiteX1" fmla="*/ 7194 w 8802"/>
                    <a:gd name="connsiteY1" fmla="*/ 32883 h 51691"/>
                    <a:gd name="connsiteX2" fmla="*/ 1090 w 8802"/>
                    <a:gd name="connsiteY2" fmla="*/ 16566 h 51691"/>
                    <a:gd name="connsiteX3" fmla="*/ 592 w 8802"/>
                    <a:gd name="connsiteY3" fmla="*/ 0 h 51691"/>
                  </a:gdLst>
                  <a:ahLst/>
                  <a:cxnLst>
                    <a:cxn ang="0">
                      <a:pos x="connsiteX0" y="connsiteY0"/>
                    </a:cxn>
                    <a:cxn ang="0">
                      <a:pos x="connsiteX1" y="connsiteY1"/>
                    </a:cxn>
                    <a:cxn ang="0">
                      <a:pos x="connsiteX2" y="connsiteY2"/>
                    </a:cxn>
                    <a:cxn ang="0">
                      <a:pos x="connsiteX3" y="connsiteY3"/>
                    </a:cxn>
                  </a:cxnLst>
                  <a:rect l="l" t="t" r="r" b="b"/>
                  <a:pathLst>
                    <a:path w="8802" h="51690">
                      <a:moveTo>
                        <a:pt x="8314" y="51692"/>
                      </a:moveTo>
                      <a:cubicBezTo>
                        <a:pt x="9436" y="43346"/>
                        <a:pt x="8439" y="37118"/>
                        <a:pt x="7194" y="32883"/>
                      </a:cubicBezTo>
                      <a:cubicBezTo>
                        <a:pt x="5325" y="26157"/>
                        <a:pt x="2709" y="23542"/>
                        <a:pt x="1090" y="16566"/>
                      </a:cubicBezTo>
                      <a:cubicBezTo>
                        <a:pt x="-530" y="9840"/>
                        <a:pt x="-31" y="3986"/>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9" name="Freeform 4570">
                  <a:extLst>
                    <a:ext uri="{FF2B5EF4-FFF2-40B4-BE49-F238E27FC236}">
                      <a16:creationId xmlns:a16="http://schemas.microsoft.com/office/drawing/2014/main" id="{1CAF02FB-7316-BE17-0490-B56700D15F13}"/>
                    </a:ext>
                  </a:extLst>
                </p:cNvPr>
                <p:cNvSpPr/>
                <p:nvPr/>
              </p:nvSpPr>
              <p:spPr>
                <a:xfrm>
                  <a:off x="6397905" y="5792255"/>
                  <a:ext cx="9092" cy="51442"/>
                </a:xfrm>
                <a:custGeom>
                  <a:avLst/>
                  <a:gdLst>
                    <a:gd name="connsiteX0" fmla="*/ 0 w 9092"/>
                    <a:gd name="connsiteY0" fmla="*/ 0 h 51442"/>
                    <a:gd name="connsiteX1" fmla="*/ 4982 w 9092"/>
                    <a:gd name="connsiteY1" fmla="*/ 18185 h 51442"/>
                    <a:gd name="connsiteX2" fmla="*/ 4359 w 9092"/>
                    <a:gd name="connsiteY2" fmla="*/ 35623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2" y="18185"/>
                      </a:cubicBezTo>
                      <a:cubicBezTo>
                        <a:pt x="5356" y="25161"/>
                        <a:pt x="3737" y="28523"/>
                        <a:pt x="4359" y="35623"/>
                      </a:cubicBezTo>
                      <a:cubicBezTo>
                        <a:pt x="4982" y="42474"/>
                        <a:pt x="7348"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0" name="Freeform 4571">
                  <a:extLst>
                    <a:ext uri="{FF2B5EF4-FFF2-40B4-BE49-F238E27FC236}">
                      <a16:creationId xmlns:a16="http://schemas.microsoft.com/office/drawing/2014/main" id="{268F72D8-16C6-DB18-A90F-9247F399E08A}"/>
                    </a:ext>
                  </a:extLst>
                </p:cNvPr>
                <p:cNvSpPr/>
                <p:nvPr/>
              </p:nvSpPr>
              <p:spPr>
                <a:xfrm>
                  <a:off x="6397585" y="5831794"/>
                  <a:ext cx="26391" cy="26546"/>
                </a:xfrm>
                <a:custGeom>
                  <a:avLst/>
                  <a:gdLst>
                    <a:gd name="connsiteX0" fmla="*/ 195 w 26391"/>
                    <a:gd name="connsiteY0" fmla="*/ 15515 h 26546"/>
                    <a:gd name="connsiteX1" fmla="*/ 11031 w 26391"/>
                    <a:gd name="connsiteY1" fmla="*/ 195 h 26546"/>
                    <a:gd name="connsiteX2" fmla="*/ 26227 w 26391"/>
                    <a:gd name="connsiteY2" fmla="*/ 11031 h 26546"/>
                    <a:gd name="connsiteX3" fmla="*/ 15391 w 26391"/>
                    <a:gd name="connsiteY3" fmla="*/ 26352 h 26546"/>
                    <a:gd name="connsiteX4" fmla="*/ 195 w 26391"/>
                    <a:gd name="connsiteY4" fmla="*/ 1551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45">
                      <a:moveTo>
                        <a:pt x="195" y="15515"/>
                      </a:moveTo>
                      <a:cubicBezTo>
                        <a:pt x="-1051" y="8291"/>
                        <a:pt x="3807" y="1440"/>
                        <a:pt x="11031" y="195"/>
                      </a:cubicBezTo>
                      <a:cubicBezTo>
                        <a:pt x="18256" y="-1051"/>
                        <a:pt x="24982" y="3807"/>
                        <a:pt x="26227" y="11031"/>
                      </a:cubicBezTo>
                      <a:cubicBezTo>
                        <a:pt x="27348" y="18255"/>
                        <a:pt x="22615" y="25106"/>
                        <a:pt x="15391" y="26352"/>
                      </a:cubicBezTo>
                      <a:cubicBezTo>
                        <a:pt x="8167" y="27597"/>
                        <a:pt x="1316" y="22740"/>
                        <a:pt x="195" y="1551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5" name="Graphic 2987">
                <a:extLst>
                  <a:ext uri="{FF2B5EF4-FFF2-40B4-BE49-F238E27FC236}">
                    <a16:creationId xmlns:a16="http://schemas.microsoft.com/office/drawing/2014/main" id="{37BE0382-3792-D62E-18EF-5256344E5FED}"/>
                  </a:ext>
                </a:extLst>
              </p:cNvPr>
              <p:cNvGrpSpPr/>
              <p:nvPr/>
            </p:nvGrpSpPr>
            <p:grpSpPr>
              <a:xfrm>
                <a:off x="6406837" y="5706119"/>
                <a:ext cx="46034" cy="147363"/>
                <a:chOff x="6406837" y="5706119"/>
                <a:chExt cx="46034" cy="147363"/>
              </a:xfrm>
              <a:grpFill/>
            </p:grpSpPr>
            <p:sp>
              <p:nvSpPr>
                <p:cNvPr id="4889" name="Freeform 4573">
                  <a:extLst>
                    <a:ext uri="{FF2B5EF4-FFF2-40B4-BE49-F238E27FC236}">
                      <a16:creationId xmlns:a16="http://schemas.microsoft.com/office/drawing/2014/main" id="{4AE91DDD-29DB-E41C-9BA7-43346DD1374E}"/>
                    </a:ext>
                  </a:extLst>
                </p:cNvPr>
                <p:cNvSpPr/>
                <p:nvPr/>
              </p:nvSpPr>
              <p:spPr>
                <a:xfrm>
                  <a:off x="6417218" y="5726987"/>
                  <a:ext cx="8681" cy="51691"/>
                </a:xfrm>
                <a:custGeom>
                  <a:avLst/>
                  <a:gdLst>
                    <a:gd name="connsiteX0" fmla="*/ 491 w 8681"/>
                    <a:gd name="connsiteY0" fmla="*/ 0 h 51691"/>
                    <a:gd name="connsiteX1" fmla="*/ 1488 w 8681"/>
                    <a:gd name="connsiteY1" fmla="*/ 18808 h 51691"/>
                    <a:gd name="connsiteX2" fmla="*/ 7591 w 8681"/>
                    <a:gd name="connsiteY2" fmla="*/ 35125 h 51691"/>
                    <a:gd name="connsiteX3" fmla="*/ 8089 w 868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681" h="51690">
                      <a:moveTo>
                        <a:pt x="491" y="0"/>
                      </a:moveTo>
                      <a:cubicBezTo>
                        <a:pt x="-629" y="8346"/>
                        <a:pt x="367" y="14573"/>
                        <a:pt x="1488" y="18808"/>
                      </a:cubicBezTo>
                      <a:cubicBezTo>
                        <a:pt x="3356" y="25535"/>
                        <a:pt x="5972" y="28150"/>
                        <a:pt x="7591" y="35125"/>
                      </a:cubicBezTo>
                      <a:cubicBezTo>
                        <a:pt x="9210" y="41852"/>
                        <a:pt x="8713" y="47706"/>
                        <a:pt x="8089"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0" name="Freeform 4574">
                  <a:extLst>
                    <a:ext uri="{FF2B5EF4-FFF2-40B4-BE49-F238E27FC236}">
                      <a16:creationId xmlns:a16="http://schemas.microsoft.com/office/drawing/2014/main" id="{8B5809E1-CDAF-B44B-AA3B-F08F45B464C7}"/>
                    </a:ext>
                  </a:extLst>
                </p:cNvPr>
                <p:cNvSpPr/>
                <p:nvPr/>
              </p:nvSpPr>
              <p:spPr>
                <a:xfrm>
                  <a:off x="6423812" y="5720759"/>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5"/>
                        <a:pt x="4360" y="37617"/>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1" name="Freeform 4575">
                  <a:extLst>
                    <a:ext uri="{FF2B5EF4-FFF2-40B4-BE49-F238E27FC236}">
                      <a16:creationId xmlns:a16="http://schemas.microsoft.com/office/drawing/2014/main" id="{51077C14-50BE-5500-D583-EE5530A785F8}"/>
                    </a:ext>
                  </a:extLst>
                </p:cNvPr>
                <p:cNvSpPr/>
                <p:nvPr/>
              </p:nvSpPr>
              <p:spPr>
                <a:xfrm>
                  <a:off x="6406837" y="5706119"/>
                  <a:ext cx="26603" cy="26542"/>
                </a:xfrm>
                <a:custGeom>
                  <a:avLst/>
                  <a:gdLst>
                    <a:gd name="connsiteX0" fmla="*/ 26442 w 26603"/>
                    <a:gd name="connsiteY0" fmla="*/ 11152 h 26542"/>
                    <a:gd name="connsiteX1" fmla="*/ 15357 w 26603"/>
                    <a:gd name="connsiteY1" fmla="*/ 26348 h 26542"/>
                    <a:gd name="connsiteX2" fmla="*/ 161 w 26603"/>
                    <a:gd name="connsiteY2" fmla="*/ 15511 h 26542"/>
                    <a:gd name="connsiteX3" fmla="*/ 11122 w 26603"/>
                    <a:gd name="connsiteY3" fmla="*/ 191 h 26542"/>
                    <a:gd name="connsiteX4" fmla="*/ 26442 w 26603"/>
                    <a:gd name="connsiteY4" fmla="*/ 11152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2">
                      <a:moveTo>
                        <a:pt x="26442" y="11152"/>
                      </a:moveTo>
                      <a:cubicBezTo>
                        <a:pt x="27564" y="18376"/>
                        <a:pt x="22706" y="25103"/>
                        <a:pt x="15357" y="26348"/>
                      </a:cubicBezTo>
                      <a:cubicBezTo>
                        <a:pt x="8133" y="27594"/>
                        <a:pt x="1281" y="22736"/>
                        <a:pt x="161" y="15511"/>
                      </a:cubicBezTo>
                      <a:cubicBezTo>
                        <a:pt x="-961" y="8287"/>
                        <a:pt x="3897" y="1436"/>
                        <a:pt x="11122" y="191"/>
                      </a:cubicBezTo>
                      <a:cubicBezTo>
                        <a:pt x="18470" y="-1055"/>
                        <a:pt x="25322" y="3928"/>
                        <a:pt x="2644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2" name="Freeform 4576">
                  <a:extLst>
                    <a:ext uri="{FF2B5EF4-FFF2-40B4-BE49-F238E27FC236}">
                      <a16:creationId xmlns:a16="http://schemas.microsoft.com/office/drawing/2014/main" id="{48C52964-7D09-EE58-474E-D6AC2C7AE95C}"/>
                    </a:ext>
                  </a:extLst>
                </p:cNvPr>
                <p:cNvSpPr/>
                <p:nvPr/>
              </p:nvSpPr>
              <p:spPr>
                <a:xfrm>
                  <a:off x="6433933" y="5781045"/>
                  <a:ext cx="8681" cy="51566"/>
                </a:xfrm>
                <a:custGeom>
                  <a:avLst/>
                  <a:gdLst>
                    <a:gd name="connsiteX0" fmla="*/ 8190 w 8681"/>
                    <a:gd name="connsiteY0" fmla="*/ 51567 h 51566"/>
                    <a:gd name="connsiteX1" fmla="*/ 7193 w 8681"/>
                    <a:gd name="connsiteY1" fmla="*/ 32758 h 51566"/>
                    <a:gd name="connsiteX2" fmla="*/ 1090 w 8681"/>
                    <a:gd name="connsiteY2" fmla="*/ 16441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0" y="43222"/>
                        <a:pt x="8315" y="36994"/>
                        <a:pt x="7193" y="32758"/>
                      </a:cubicBezTo>
                      <a:cubicBezTo>
                        <a:pt x="5325" y="26033"/>
                        <a:pt x="2709" y="23292"/>
                        <a:pt x="1090" y="16441"/>
                      </a:cubicBezTo>
                      <a:cubicBezTo>
                        <a:pt x="-529"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3" name="Freeform 4577">
                  <a:extLst>
                    <a:ext uri="{FF2B5EF4-FFF2-40B4-BE49-F238E27FC236}">
                      <a16:creationId xmlns:a16="http://schemas.microsoft.com/office/drawing/2014/main" id="{4FFF263B-AB7C-085D-6CD0-71CC329DBBC7}"/>
                    </a:ext>
                  </a:extLst>
                </p:cNvPr>
                <p:cNvSpPr/>
                <p:nvPr/>
              </p:nvSpPr>
              <p:spPr>
                <a:xfrm>
                  <a:off x="6427051" y="5787397"/>
                  <a:ext cx="9092" cy="51442"/>
                </a:xfrm>
                <a:custGeom>
                  <a:avLst/>
                  <a:gdLst>
                    <a:gd name="connsiteX0" fmla="*/ 0 w 9092"/>
                    <a:gd name="connsiteY0" fmla="*/ 0 h 51442"/>
                    <a:gd name="connsiteX1" fmla="*/ 4983 w 9092"/>
                    <a:gd name="connsiteY1" fmla="*/ 18186 h 51442"/>
                    <a:gd name="connsiteX2" fmla="*/ 4360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3" y="18186"/>
                      </a:cubicBezTo>
                      <a:cubicBezTo>
                        <a:pt x="5356" y="25161"/>
                        <a:pt x="3737" y="28524"/>
                        <a:pt x="4360" y="35624"/>
                      </a:cubicBezTo>
                      <a:cubicBezTo>
                        <a:pt x="4983" y="42474"/>
                        <a:pt x="7225"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4" name="Freeform 4578">
                  <a:extLst>
                    <a:ext uri="{FF2B5EF4-FFF2-40B4-BE49-F238E27FC236}">
                      <a16:creationId xmlns:a16="http://schemas.microsoft.com/office/drawing/2014/main" id="{6B019260-AA6B-2BAA-B044-168353708DBE}"/>
                    </a:ext>
                  </a:extLst>
                </p:cNvPr>
                <p:cNvSpPr/>
                <p:nvPr/>
              </p:nvSpPr>
              <p:spPr>
                <a:xfrm>
                  <a:off x="6426641" y="5826974"/>
                  <a:ext cx="26229" cy="26509"/>
                </a:xfrm>
                <a:custGeom>
                  <a:avLst/>
                  <a:gdLst>
                    <a:gd name="connsiteX0" fmla="*/ 161 w 26229"/>
                    <a:gd name="connsiteY0" fmla="*/ 15478 h 26509"/>
                    <a:gd name="connsiteX1" fmla="*/ 10998 w 26229"/>
                    <a:gd name="connsiteY1" fmla="*/ 158 h 26509"/>
                    <a:gd name="connsiteX2" fmla="*/ 26069 w 26229"/>
                    <a:gd name="connsiteY2" fmla="*/ 11243 h 26509"/>
                    <a:gd name="connsiteX3" fmla="*/ 15233 w 26229"/>
                    <a:gd name="connsiteY3" fmla="*/ 26315 h 26509"/>
                    <a:gd name="connsiteX4" fmla="*/ 161 w 26229"/>
                    <a:gd name="connsiteY4" fmla="*/ 15478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509">
                      <a:moveTo>
                        <a:pt x="161" y="15478"/>
                      </a:moveTo>
                      <a:cubicBezTo>
                        <a:pt x="-960" y="8254"/>
                        <a:pt x="3898" y="1403"/>
                        <a:pt x="10998" y="158"/>
                      </a:cubicBezTo>
                      <a:cubicBezTo>
                        <a:pt x="18222" y="-963"/>
                        <a:pt x="24948" y="4019"/>
                        <a:pt x="26069" y="11243"/>
                      </a:cubicBezTo>
                      <a:cubicBezTo>
                        <a:pt x="27190" y="18468"/>
                        <a:pt x="22332" y="25194"/>
                        <a:pt x="15233" y="26315"/>
                      </a:cubicBezTo>
                      <a:cubicBezTo>
                        <a:pt x="8008" y="27560"/>
                        <a:pt x="1282" y="22702"/>
                        <a:pt x="161" y="154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6" name="Graphic 2987">
                <a:extLst>
                  <a:ext uri="{FF2B5EF4-FFF2-40B4-BE49-F238E27FC236}">
                    <a16:creationId xmlns:a16="http://schemas.microsoft.com/office/drawing/2014/main" id="{1F45FD26-70C8-8174-1FAD-ADAC43888C15}"/>
                  </a:ext>
                </a:extLst>
              </p:cNvPr>
              <p:cNvGrpSpPr/>
              <p:nvPr/>
            </p:nvGrpSpPr>
            <p:grpSpPr>
              <a:xfrm>
                <a:off x="6436232" y="5701544"/>
                <a:ext cx="45785" cy="147417"/>
                <a:chOff x="6436232" y="5701544"/>
                <a:chExt cx="45785" cy="147417"/>
              </a:xfrm>
              <a:grpFill/>
            </p:grpSpPr>
            <p:sp>
              <p:nvSpPr>
                <p:cNvPr id="4883" name="Freeform 4580">
                  <a:extLst>
                    <a:ext uri="{FF2B5EF4-FFF2-40B4-BE49-F238E27FC236}">
                      <a16:creationId xmlns:a16="http://schemas.microsoft.com/office/drawing/2014/main" id="{B6F5FB97-3A04-776C-6D9B-36C3BE4C3E5B}"/>
                    </a:ext>
                  </a:extLst>
                </p:cNvPr>
                <p:cNvSpPr/>
                <p:nvPr/>
              </p:nvSpPr>
              <p:spPr>
                <a:xfrm>
                  <a:off x="6446558" y="5722378"/>
                  <a:ext cx="8736" cy="51567"/>
                </a:xfrm>
                <a:custGeom>
                  <a:avLst/>
                  <a:gdLst>
                    <a:gd name="connsiteX0" fmla="*/ 546 w 8736"/>
                    <a:gd name="connsiteY0" fmla="*/ 0 h 51567"/>
                    <a:gd name="connsiteX1" fmla="*/ 1543 w 8736"/>
                    <a:gd name="connsiteY1" fmla="*/ 18808 h 51567"/>
                    <a:gd name="connsiteX2" fmla="*/ 7646 w 8736"/>
                    <a:gd name="connsiteY2" fmla="*/ 35125 h 51567"/>
                    <a:gd name="connsiteX3" fmla="*/ 8145 w 8736"/>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736" h="51567">
                      <a:moveTo>
                        <a:pt x="546" y="0"/>
                      </a:moveTo>
                      <a:cubicBezTo>
                        <a:pt x="-699" y="8346"/>
                        <a:pt x="422" y="14573"/>
                        <a:pt x="1543" y="18808"/>
                      </a:cubicBezTo>
                      <a:cubicBezTo>
                        <a:pt x="3412" y="25535"/>
                        <a:pt x="6027" y="28275"/>
                        <a:pt x="7646" y="35125"/>
                      </a:cubicBezTo>
                      <a:cubicBezTo>
                        <a:pt x="9266" y="41852"/>
                        <a:pt x="8768" y="47706"/>
                        <a:pt x="81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4" name="Freeform 4581">
                  <a:extLst>
                    <a:ext uri="{FF2B5EF4-FFF2-40B4-BE49-F238E27FC236}">
                      <a16:creationId xmlns:a16="http://schemas.microsoft.com/office/drawing/2014/main" id="{A71C6DD7-C4DE-C389-AE3F-F2EE593A7F9D}"/>
                    </a:ext>
                  </a:extLst>
                </p:cNvPr>
                <p:cNvSpPr/>
                <p:nvPr/>
              </p:nvSpPr>
              <p:spPr>
                <a:xfrm>
                  <a:off x="6453332" y="5716275"/>
                  <a:ext cx="8843" cy="51442"/>
                </a:xfrm>
                <a:custGeom>
                  <a:avLst/>
                  <a:gdLst>
                    <a:gd name="connsiteX0" fmla="*/ 8844 w 8843"/>
                    <a:gd name="connsiteY0" fmla="*/ 51442 h 51442"/>
                    <a:gd name="connsiteX1" fmla="*/ 3986 w 8843"/>
                    <a:gd name="connsiteY1" fmla="*/ 33257 h 51442"/>
                    <a:gd name="connsiteX2" fmla="*/ 4733 w 8843"/>
                    <a:gd name="connsiteY2" fmla="*/ 15819 h 51442"/>
                    <a:gd name="connsiteX3" fmla="*/ 0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51442"/>
                      </a:moveTo>
                      <a:cubicBezTo>
                        <a:pt x="5107" y="43844"/>
                        <a:pt x="4111" y="37616"/>
                        <a:pt x="3986" y="33257"/>
                      </a:cubicBezTo>
                      <a:cubicBezTo>
                        <a:pt x="3613" y="26281"/>
                        <a:pt x="5232"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5" name="Freeform 4582">
                  <a:extLst>
                    <a:ext uri="{FF2B5EF4-FFF2-40B4-BE49-F238E27FC236}">
                      <a16:creationId xmlns:a16="http://schemas.microsoft.com/office/drawing/2014/main" id="{12BF9BE2-F16C-5F3B-BD2C-C58F163F3FF3}"/>
                    </a:ext>
                  </a:extLst>
                </p:cNvPr>
                <p:cNvSpPr/>
                <p:nvPr/>
              </p:nvSpPr>
              <p:spPr>
                <a:xfrm>
                  <a:off x="6436232" y="5701544"/>
                  <a:ext cx="26599" cy="26472"/>
                </a:xfrm>
                <a:custGeom>
                  <a:avLst/>
                  <a:gdLst>
                    <a:gd name="connsiteX0" fmla="*/ 26442 w 26599"/>
                    <a:gd name="connsiteY0" fmla="*/ 11243 h 26472"/>
                    <a:gd name="connsiteX1" fmla="*/ 15357 w 26599"/>
                    <a:gd name="connsiteY1" fmla="*/ 26315 h 26472"/>
                    <a:gd name="connsiteX2" fmla="*/ 161 w 26599"/>
                    <a:gd name="connsiteY2" fmla="*/ 15229 h 26472"/>
                    <a:gd name="connsiteX3" fmla="*/ 11246 w 26599"/>
                    <a:gd name="connsiteY3" fmla="*/ 158 h 26472"/>
                    <a:gd name="connsiteX4" fmla="*/ 26442 w 26599"/>
                    <a:gd name="connsiteY4" fmla="*/ 11243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2">
                      <a:moveTo>
                        <a:pt x="26442" y="11243"/>
                      </a:moveTo>
                      <a:cubicBezTo>
                        <a:pt x="27563" y="18468"/>
                        <a:pt x="22581" y="25194"/>
                        <a:pt x="15357" y="26315"/>
                      </a:cubicBezTo>
                      <a:cubicBezTo>
                        <a:pt x="8132" y="27436"/>
                        <a:pt x="1282" y="22453"/>
                        <a:pt x="161" y="15229"/>
                      </a:cubicBezTo>
                      <a:cubicBezTo>
                        <a:pt x="-960" y="8005"/>
                        <a:pt x="3897" y="1279"/>
                        <a:pt x="11246" y="158"/>
                      </a:cubicBezTo>
                      <a:cubicBezTo>
                        <a:pt x="18595" y="-963"/>
                        <a:pt x="25321" y="4019"/>
                        <a:pt x="26442"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6" name="Freeform 4583">
                  <a:extLst>
                    <a:ext uri="{FF2B5EF4-FFF2-40B4-BE49-F238E27FC236}">
                      <a16:creationId xmlns:a16="http://schemas.microsoft.com/office/drawing/2014/main" id="{652D77C5-E59E-2A86-A8BC-DD3ED9EF6533}"/>
                    </a:ext>
                  </a:extLst>
                </p:cNvPr>
                <p:cNvSpPr/>
                <p:nvPr/>
              </p:nvSpPr>
              <p:spPr>
                <a:xfrm>
                  <a:off x="6463079" y="5776561"/>
                  <a:ext cx="8680" cy="51567"/>
                </a:xfrm>
                <a:custGeom>
                  <a:avLst/>
                  <a:gdLst>
                    <a:gd name="connsiteX0" fmla="*/ 8189 w 8680"/>
                    <a:gd name="connsiteY0" fmla="*/ 51567 h 51567"/>
                    <a:gd name="connsiteX1" fmla="*/ 7193 w 8680"/>
                    <a:gd name="connsiteY1" fmla="*/ 32759 h 51567"/>
                    <a:gd name="connsiteX2" fmla="*/ 1089 w 8680"/>
                    <a:gd name="connsiteY2" fmla="*/ 16442 h 51567"/>
                    <a:gd name="connsiteX3" fmla="*/ 591 w 8680"/>
                    <a:gd name="connsiteY3" fmla="*/ 0 h 51567"/>
                  </a:gdLst>
                  <a:ahLst/>
                  <a:cxnLst>
                    <a:cxn ang="0">
                      <a:pos x="connsiteX0" y="connsiteY0"/>
                    </a:cxn>
                    <a:cxn ang="0">
                      <a:pos x="connsiteX1" y="connsiteY1"/>
                    </a:cxn>
                    <a:cxn ang="0">
                      <a:pos x="connsiteX2" y="connsiteY2"/>
                    </a:cxn>
                    <a:cxn ang="0">
                      <a:pos x="connsiteX3" y="connsiteY3"/>
                    </a:cxn>
                  </a:cxnLst>
                  <a:rect l="l" t="t" r="r" b="b"/>
                  <a:pathLst>
                    <a:path w="8680" h="51567">
                      <a:moveTo>
                        <a:pt x="8189" y="51567"/>
                      </a:moveTo>
                      <a:cubicBezTo>
                        <a:pt x="9311" y="43222"/>
                        <a:pt x="8314" y="36994"/>
                        <a:pt x="7193" y="32759"/>
                      </a:cubicBezTo>
                      <a:cubicBezTo>
                        <a:pt x="5325" y="26033"/>
                        <a:pt x="2709" y="23292"/>
                        <a:pt x="1089" y="16442"/>
                      </a:cubicBezTo>
                      <a:cubicBezTo>
                        <a:pt x="-529" y="9715"/>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7" name="Freeform 4584">
                  <a:extLst>
                    <a:ext uri="{FF2B5EF4-FFF2-40B4-BE49-F238E27FC236}">
                      <a16:creationId xmlns:a16="http://schemas.microsoft.com/office/drawing/2014/main" id="{02FD91D9-6CD5-D4E0-12A8-51E6D8EC1085}"/>
                    </a:ext>
                  </a:extLst>
                </p:cNvPr>
                <p:cNvSpPr/>
                <p:nvPr/>
              </p:nvSpPr>
              <p:spPr>
                <a:xfrm>
                  <a:off x="6456198" y="5782789"/>
                  <a:ext cx="8967" cy="51442"/>
                </a:xfrm>
                <a:custGeom>
                  <a:avLst/>
                  <a:gdLst>
                    <a:gd name="connsiteX0" fmla="*/ 0 w 8967"/>
                    <a:gd name="connsiteY0" fmla="*/ 0 h 51442"/>
                    <a:gd name="connsiteX1" fmla="*/ 4857 w 8967"/>
                    <a:gd name="connsiteY1" fmla="*/ 18185 h 51442"/>
                    <a:gd name="connsiteX2" fmla="*/ 4235 w 8967"/>
                    <a:gd name="connsiteY2" fmla="*/ 35624 h 51442"/>
                    <a:gd name="connsiteX3" fmla="*/ 8968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0" y="0"/>
                      </a:moveTo>
                      <a:cubicBezTo>
                        <a:pt x="3737" y="7598"/>
                        <a:pt x="4733" y="13826"/>
                        <a:pt x="4857" y="18185"/>
                      </a:cubicBezTo>
                      <a:cubicBezTo>
                        <a:pt x="5231" y="25161"/>
                        <a:pt x="3612" y="28524"/>
                        <a:pt x="4235" y="35624"/>
                      </a:cubicBezTo>
                      <a:cubicBezTo>
                        <a:pt x="4857" y="42474"/>
                        <a:pt x="7100" y="47955"/>
                        <a:pt x="896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8" name="Freeform 4585">
                  <a:extLst>
                    <a:ext uri="{FF2B5EF4-FFF2-40B4-BE49-F238E27FC236}">
                      <a16:creationId xmlns:a16="http://schemas.microsoft.com/office/drawing/2014/main" id="{6DC8A053-D5F0-C372-B7AF-551CF562A776}"/>
                    </a:ext>
                  </a:extLst>
                </p:cNvPr>
                <p:cNvSpPr/>
                <p:nvPr/>
              </p:nvSpPr>
              <p:spPr>
                <a:xfrm>
                  <a:off x="6455663" y="5822490"/>
                  <a:ext cx="26354" cy="26471"/>
                </a:xfrm>
                <a:custGeom>
                  <a:avLst/>
                  <a:gdLst>
                    <a:gd name="connsiteX0" fmla="*/ 161 w 26354"/>
                    <a:gd name="connsiteY0" fmla="*/ 15229 h 26471"/>
                    <a:gd name="connsiteX1" fmla="*/ 11122 w 26354"/>
                    <a:gd name="connsiteY1" fmla="*/ 158 h 26471"/>
                    <a:gd name="connsiteX2" fmla="*/ 26194 w 26354"/>
                    <a:gd name="connsiteY2" fmla="*/ 11243 h 26471"/>
                    <a:gd name="connsiteX3" fmla="*/ 15232 w 26354"/>
                    <a:gd name="connsiteY3" fmla="*/ 26314 h 26471"/>
                    <a:gd name="connsiteX4" fmla="*/ 161 w 26354"/>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470">
                      <a:moveTo>
                        <a:pt x="161" y="15229"/>
                      </a:moveTo>
                      <a:cubicBezTo>
                        <a:pt x="-960" y="8005"/>
                        <a:pt x="3897" y="1279"/>
                        <a:pt x="11122" y="158"/>
                      </a:cubicBezTo>
                      <a:cubicBezTo>
                        <a:pt x="18346" y="-963"/>
                        <a:pt x="25072" y="4019"/>
                        <a:pt x="26194" y="11243"/>
                      </a:cubicBezTo>
                      <a:cubicBezTo>
                        <a:pt x="27314" y="18468"/>
                        <a:pt x="22457" y="25193"/>
                        <a:pt x="15232" y="26314"/>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7" name="Graphic 2987">
                <a:extLst>
                  <a:ext uri="{FF2B5EF4-FFF2-40B4-BE49-F238E27FC236}">
                    <a16:creationId xmlns:a16="http://schemas.microsoft.com/office/drawing/2014/main" id="{1771B48E-8623-FEF7-D01D-DC8171A563E1}"/>
                  </a:ext>
                </a:extLst>
              </p:cNvPr>
              <p:cNvGrpSpPr/>
              <p:nvPr/>
            </p:nvGrpSpPr>
            <p:grpSpPr>
              <a:xfrm>
                <a:off x="6465631" y="5696935"/>
                <a:ext cx="45408" cy="147514"/>
                <a:chOff x="6465631" y="5696935"/>
                <a:chExt cx="45408" cy="147514"/>
              </a:xfrm>
              <a:grpFill/>
            </p:grpSpPr>
            <p:sp>
              <p:nvSpPr>
                <p:cNvPr id="4877" name="Freeform 4587">
                  <a:extLst>
                    <a:ext uri="{FF2B5EF4-FFF2-40B4-BE49-F238E27FC236}">
                      <a16:creationId xmlns:a16="http://schemas.microsoft.com/office/drawing/2014/main" id="{0066DC09-A735-D25A-6BC3-3C8168ED632E}"/>
                    </a:ext>
                  </a:extLst>
                </p:cNvPr>
                <p:cNvSpPr/>
                <p:nvPr/>
              </p:nvSpPr>
              <p:spPr>
                <a:xfrm>
                  <a:off x="6475803" y="5717770"/>
                  <a:ext cx="8575" cy="51567"/>
                </a:xfrm>
                <a:custGeom>
                  <a:avLst/>
                  <a:gdLst>
                    <a:gd name="connsiteX0" fmla="*/ 573 w 8575"/>
                    <a:gd name="connsiteY0" fmla="*/ 0 h 51567"/>
                    <a:gd name="connsiteX1" fmla="*/ 1569 w 8575"/>
                    <a:gd name="connsiteY1" fmla="*/ 18808 h 51567"/>
                    <a:gd name="connsiteX2" fmla="*/ 7548 w 8575"/>
                    <a:gd name="connsiteY2" fmla="*/ 35125 h 51567"/>
                    <a:gd name="connsiteX3" fmla="*/ 7921 w 85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575" h="51567">
                      <a:moveTo>
                        <a:pt x="573" y="0"/>
                      </a:moveTo>
                      <a:cubicBezTo>
                        <a:pt x="-673" y="8346"/>
                        <a:pt x="323" y="14573"/>
                        <a:pt x="1569" y="18808"/>
                      </a:cubicBezTo>
                      <a:cubicBezTo>
                        <a:pt x="3437" y="25535"/>
                        <a:pt x="6053" y="28274"/>
                        <a:pt x="7548" y="35125"/>
                      </a:cubicBezTo>
                      <a:cubicBezTo>
                        <a:pt x="9042" y="41852"/>
                        <a:pt x="8668" y="47706"/>
                        <a:pt x="79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8" name="Freeform 4588">
                  <a:extLst>
                    <a:ext uri="{FF2B5EF4-FFF2-40B4-BE49-F238E27FC236}">
                      <a16:creationId xmlns:a16="http://schemas.microsoft.com/office/drawing/2014/main" id="{1D9B328E-2BA1-A752-E05A-CA38807EADBB}"/>
                    </a:ext>
                  </a:extLst>
                </p:cNvPr>
                <p:cNvSpPr/>
                <p:nvPr/>
              </p:nvSpPr>
              <p:spPr>
                <a:xfrm>
                  <a:off x="6482729" y="5711666"/>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1"/>
                        <a:pt x="5231" y="22919"/>
                        <a:pt x="4609" y="15819"/>
                      </a:cubicBezTo>
                      <a:cubicBezTo>
                        <a:pt x="3986"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9" name="Freeform 4589">
                  <a:extLst>
                    <a:ext uri="{FF2B5EF4-FFF2-40B4-BE49-F238E27FC236}">
                      <a16:creationId xmlns:a16="http://schemas.microsoft.com/office/drawing/2014/main" id="{A22F07AD-3FBF-B9AB-6054-CD1B1440B2EC}"/>
                    </a:ext>
                  </a:extLst>
                </p:cNvPr>
                <p:cNvSpPr/>
                <p:nvPr/>
              </p:nvSpPr>
              <p:spPr>
                <a:xfrm>
                  <a:off x="6465631" y="5696935"/>
                  <a:ext cx="26597" cy="26596"/>
                </a:xfrm>
                <a:custGeom>
                  <a:avLst/>
                  <a:gdLst>
                    <a:gd name="connsiteX0" fmla="*/ 26440 w 26597"/>
                    <a:gd name="connsiteY0" fmla="*/ 11243 h 26596"/>
                    <a:gd name="connsiteX1" fmla="*/ 15354 w 26597"/>
                    <a:gd name="connsiteY1" fmla="*/ 26439 h 26596"/>
                    <a:gd name="connsiteX2" fmla="*/ 157 w 26597"/>
                    <a:gd name="connsiteY2" fmla="*/ 15354 h 26596"/>
                    <a:gd name="connsiteX3" fmla="*/ 11243 w 26597"/>
                    <a:gd name="connsiteY3" fmla="*/ 158 h 26596"/>
                    <a:gd name="connsiteX4" fmla="*/ 26440 w 26597"/>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7" h="26595">
                      <a:moveTo>
                        <a:pt x="26440" y="11243"/>
                      </a:moveTo>
                      <a:cubicBezTo>
                        <a:pt x="27560" y="18468"/>
                        <a:pt x="22578" y="25194"/>
                        <a:pt x="15354" y="26439"/>
                      </a:cubicBezTo>
                      <a:cubicBezTo>
                        <a:pt x="8129" y="27560"/>
                        <a:pt x="1279" y="22578"/>
                        <a:pt x="157" y="15354"/>
                      </a:cubicBezTo>
                      <a:cubicBezTo>
                        <a:pt x="-963" y="8129"/>
                        <a:pt x="4019" y="1403"/>
                        <a:pt x="11243" y="158"/>
                      </a:cubicBezTo>
                      <a:cubicBezTo>
                        <a:pt x="18468" y="-963"/>
                        <a:pt x="25318" y="4019"/>
                        <a:pt x="26440"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0" name="Freeform 4590">
                  <a:extLst>
                    <a:ext uri="{FF2B5EF4-FFF2-40B4-BE49-F238E27FC236}">
                      <a16:creationId xmlns:a16="http://schemas.microsoft.com/office/drawing/2014/main" id="{7EC59217-502B-1217-5570-7641FE20FFF0}"/>
                    </a:ext>
                  </a:extLst>
                </p:cNvPr>
                <p:cNvSpPr/>
                <p:nvPr/>
              </p:nvSpPr>
              <p:spPr>
                <a:xfrm>
                  <a:off x="6492459" y="5772077"/>
                  <a:ext cx="8529" cy="51566"/>
                </a:xfrm>
                <a:custGeom>
                  <a:avLst/>
                  <a:gdLst>
                    <a:gd name="connsiteX0" fmla="*/ 7957 w 8529"/>
                    <a:gd name="connsiteY0" fmla="*/ 51567 h 51566"/>
                    <a:gd name="connsiteX1" fmla="*/ 6960 w 8529"/>
                    <a:gd name="connsiteY1" fmla="*/ 32758 h 51566"/>
                    <a:gd name="connsiteX2" fmla="*/ 982 w 8529"/>
                    <a:gd name="connsiteY2" fmla="*/ 16441 h 51566"/>
                    <a:gd name="connsiteX3" fmla="*/ 608 w 8529"/>
                    <a:gd name="connsiteY3" fmla="*/ 0 h 51566"/>
                  </a:gdLst>
                  <a:ahLst/>
                  <a:cxnLst>
                    <a:cxn ang="0">
                      <a:pos x="connsiteX0" y="connsiteY0"/>
                    </a:cxn>
                    <a:cxn ang="0">
                      <a:pos x="connsiteX1" y="connsiteY1"/>
                    </a:cxn>
                    <a:cxn ang="0">
                      <a:pos x="connsiteX2" y="connsiteY2"/>
                    </a:cxn>
                    <a:cxn ang="0">
                      <a:pos x="connsiteX3" y="connsiteY3"/>
                    </a:cxn>
                  </a:cxnLst>
                  <a:rect l="l" t="t" r="r" b="b"/>
                  <a:pathLst>
                    <a:path w="8529" h="51566">
                      <a:moveTo>
                        <a:pt x="7957" y="51567"/>
                      </a:moveTo>
                      <a:cubicBezTo>
                        <a:pt x="9202" y="43222"/>
                        <a:pt x="8206" y="36994"/>
                        <a:pt x="6960" y="32758"/>
                      </a:cubicBezTo>
                      <a:cubicBezTo>
                        <a:pt x="5092" y="26033"/>
                        <a:pt x="2601" y="23292"/>
                        <a:pt x="982" y="16441"/>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1" name="Freeform 4591">
                  <a:extLst>
                    <a:ext uri="{FF2B5EF4-FFF2-40B4-BE49-F238E27FC236}">
                      <a16:creationId xmlns:a16="http://schemas.microsoft.com/office/drawing/2014/main" id="{7C25B013-E8AF-BEB8-BC8B-C2641B5F6EF3}"/>
                    </a:ext>
                  </a:extLst>
                </p:cNvPr>
                <p:cNvSpPr/>
                <p:nvPr/>
              </p:nvSpPr>
              <p:spPr>
                <a:xfrm>
                  <a:off x="6485469" y="5778305"/>
                  <a:ext cx="8719" cy="51442"/>
                </a:xfrm>
                <a:custGeom>
                  <a:avLst/>
                  <a:gdLst>
                    <a:gd name="connsiteX0" fmla="*/ 0 w 8719"/>
                    <a:gd name="connsiteY0" fmla="*/ 0 h 51442"/>
                    <a:gd name="connsiteX1" fmla="*/ 4858 w 8719"/>
                    <a:gd name="connsiteY1" fmla="*/ 18185 h 51442"/>
                    <a:gd name="connsiteX2" fmla="*/ 4111 w 8719"/>
                    <a:gd name="connsiteY2" fmla="*/ 35623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231" y="25161"/>
                        <a:pt x="3488" y="28523"/>
                        <a:pt x="4111" y="35623"/>
                      </a:cubicBezTo>
                      <a:cubicBezTo>
                        <a:pt x="4733" y="42474"/>
                        <a:pt x="6975" y="47954"/>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2" name="Freeform 4592">
                  <a:extLst>
                    <a:ext uri="{FF2B5EF4-FFF2-40B4-BE49-F238E27FC236}">
                      <a16:creationId xmlns:a16="http://schemas.microsoft.com/office/drawing/2014/main" id="{2CEA83DF-4D63-53C8-F3C1-513D08D2B574}"/>
                    </a:ext>
                  </a:extLst>
                </p:cNvPr>
                <p:cNvSpPr/>
                <p:nvPr/>
              </p:nvSpPr>
              <p:spPr>
                <a:xfrm>
                  <a:off x="6484685" y="5818005"/>
                  <a:ext cx="26353" cy="26444"/>
                </a:xfrm>
                <a:custGeom>
                  <a:avLst/>
                  <a:gdLst>
                    <a:gd name="connsiteX0" fmla="*/ 161 w 26353"/>
                    <a:gd name="connsiteY0" fmla="*/ 15229 h 26444"/>
                    <a:gd name="connsiteX1" fmla="*/ 11122 w 26353"/>
                    <a:gd name="connsiteY1" fmla="*/ 158 h 26444"/>
                    <a:gd name="connsiteX2" fmla="*/ 26193 w 26353"/>
                    <a:gd name="connsiteY2" fmla="*/ 11243 h 26444"/>
                    <a:gd name="connsiteX3" fmla="*/ 15233 w 26353"/>
                    <a:gd name="connsiteY3" fmla="*/ 26315 h 26444"/>
                    <a:gd name="connsiteX4" fmla="*/ 161 w 26353"/>
                    <a:gd name="connsiteY4" fmla="*/ 1522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444">
                      <a:moveTo>
                        <a:pt x="161" y="15229"/>
                      </a:moveTo>
                      <a:cubicBezTo>
                        <a:pt x="-961" y="8005"/>
                        <a:pt x="3897" y="1279"/>
                        <a:pt x="11122" y="158"/>
                      </a:cubicBezTo>
                      <a:cubicBezTo>
                        <a:pt x="18347" y="-963"/>
                        <a:pt x="25072" y="4019"/>
                        <a:pt x="26193" y="11243"/>
                      </a:cubicBezTo>
                      <a:cubicBezTo>
                        <a:pt x="27314" y="18468"/>
                        <a:pt x="22456" y="25194"/>
                        <a:pt x="15233" y="26315"/>
                      </a:cubicBezTo>
                      <a:cubicBezTo>
                        <a:pt x="8133" y="27311"/>
                        <a:pt x="1406"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8" name="Graphic 2987">
                <a:extLst>
                  <a:ext uri="{FF2B5EF4-FFF2-40B4-BE49-F238E27FC236}">
                    <a16:creationId xmlns:a16="http://schemas.microsoft.com/office/drawing/2014/main" id="{C66B9860-C7EB-8DAD-6F7F-87E439E3B20A}"/>
                  </a:ext>
                </a:extLst>
              </p:cNvPr>
              <p:cNvGrpSpPr/>
              <p:nvPr/>
            </p:nvGrpSpPr>
            <p:grpSpPr>
              <a:xfrm>
                <a:off x="6495027" y="5692448"/>
                <a:ext cx="45155" cy="147420"/>
                <a:chOff x="6495027" y="5692448"/>
                <a:chExt cx="45155" cy="147420"/>
              </a:xfrm>
              <a:grpFill/>
            </p:grpSpPr>
            <p:sp>
              <p:nvSpPr>
                <p:cNvPr id="4871" name="Freeform 4594">
                  <a:extLst>
                    <a:ext uri="{FF2B5EF4-FFF2-40B4-BE49-F238E27FC236}">
                      <a16:creationId xmlns:a16="http://schemas.microsoft.com/office/drawing/2014/main" id="{5BF332CE-9C59-6CBB-92F2-987A5B56209E}"/>
                    </a:ext>
                  </a:extLst>
                </p:cNvPr>
                <p:cNvSpPr/>
                <p:nvPr/>
              </p:nvSpPr>
              <p:spPr>
                <a:xfrm>
                  <a:off x="6505195" y="5713286"/>
                  <a:ext cx="8408" cy="51566"/>
                </a:xfrm>
                <a:custGeom>
                  <a:avLst/>
                  <a:gdLst>
                    <a:gd name="connsiteX0" fmla="*/ 577 w 8408"/>
                    <a:gd name="connsiteY0" fmla="*/ 0 h 51566"/>
                    <a:gd name="connsiteX1" fmla="*/ 1449 w 8408"/>
                    <a:gd name="connsiteY1" fmla="*/ 18808 h 51566"/>
                    <a:gd name="connsiteX2" fmla="*/ 7427 w 8408"/>
                    <a:gd name="connsiteY2" fmla="*/ 35125 h 51566"/>
                    <a:gd name="connsiteX3" fmla="*/ 7801 w 840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408" h="51566">
                      <a:moveTo>
                        <a:pt x="577" y="0"/>
                      </a:moveTo>
                      <a:cubicBezTo>
                        <a:pt x="-669" y="8345"/>
                        <a:pt x="327" y="14573"/>
                        <a:pt x="1449" y="18808"/>
                      </a:cubicBezTo>
                      <a:cubicBezTo>
                        <a:pt x="3317" y="25534"/>
                        <a:pt x="5808" y="28274"/>
                        <a:pt x="7427" y="35125"/>
                      </a:cubicBezTo>
                      <a:cubicBezTo>
                        <a:pt x="8922" y="41851"/>
                        <a:pt x="8424" y="47705"/>
                        <a:pt x="78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2" name="Freeform 4595">
                  <a:extLst>
                    <a:ext uri="{FF2B5EF4-FFF2-40B4-BE49-F238E27FC236}">
                      <a16:creationId xmlns:a16="http://schemas.microsoft.com/office/drawing/2014/main" id="{01605099-5E39-66B0-14BB-F6ED446559AD}"/>
                    </a:ext>
                  </a:extLst>
                </p:cNvPr>
                <p:cNvSpPr/>
                <p:nvPr/>
              </p:nvSpPr>
              <p:spPr>
                <a:xfrm>
                  <a:off x="6511875" y="5707182"/>
                  <a:ext cx="8719" cy="51442"/>
                </a:xfrm>
                <a:custGeom>
                  <a:avLst/>
                  <a:gdLst>
                    <a:gd name="connsiteX0" fmla="*/ 8719 w 8719"/>
                    <a:gd name="connsiteY0" fmla="*/ 51442 h 51442"/>
                    <a:gd name="connsiteX1" fmla="*/ 3861 w 8719"/>
                    <a:gd name="connsiteY1" fmla="*/ 33257 h 51442"/>
                    <a:gd name="connsiteX2" fmla="*/ 4609 w 8719"/>
                    <a:gd name="connsiteY2" fmla="*/ 15819 h 51442"/>
                    <a:gd name="connsiteX3" fmla="*/ 0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51442"/>
                      </a:moveTo>
                      <a:cubicBezTo>
                        <a:pt x="5107" y="43845"/>
                        <a:pt x="4111" y="37617"/>
                        <a:pt x="3861" y="33257"/>
                      </a:cubicBezTo>
                      <a:cubicBezTo>
                        <a:pt x="3613" y="26282"/>
                        <a:pt x="5231" y="22919"/>
                        <a:pt x="4609"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3" name="Freeform 4596">
                  <a:extLst>
                    <a:ext uri="{FF2B5EF4-FFF2-40B4-BE49-F238E27FC236}">
                      <a16:creationId xmlns:a16="http://schemas.microsoft.com/office/drawing/2014/main" id="{ABEBC704-084A-CC9A-6ED1-C463D55F166F}"/>
                    </a:ext>
                  </a:extLst>
                </p:cNvPr>
                <p:cNvSpPr/>
                <p:nvPr/>
              </p:nvSpPr>
              <p:spPr>
                <a:xfrm>
                  <a:off x="6495027" y="5692448"/>
                  <a:ext cx="26596" cy="26599"/>
                </a:xfrm>
                <a:custGeom>
                  <a:avLst/>
                  <a:gdLst>
                    <a:gd name="connsiteX0" fmla="*/ 26439 w 26596"/>
                    <a:gd name="connsiteY0" fmla="*/ 11246 h 26599"/>
                    <a:gd name="connsiteX1" fmla="*/ 15353 w 26596"/>
                    <a:gd name="connsiteY1" fmla="*/ 26442 h 26599"/>
                    <a:gd name="connsiteX2" fmla="*/ 158 w 26596"/>
                    <a:gd name="connsiteY2" fmla="*/ 15357 h 26599"/>
                    <a:gd name="connsiteX3" fmla="*/ 11243 w 26596"/>
                    <a:gd name="connsiteY3" fmla="*/ 161 h 26599"/>
                    <a:gd name="connsiteX4" fmla="*/ 26439 w 26596"/>
                    <a:gd name="connsiteY4" fmla="*/ 11246 h 2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99">
                      <a:moveTo>
                        <a:pt x="26439" y="11246"/>
                      </a:moveTo>
                      <a:cubicBezTo>
                        <a:pt x="27560" y="18471"/>
                        <a:pt x="22578" y="25321"/>
                        <a:pt x="15353" y="26442"/>
                      </a:cubicBezTo>
                      <a:cubicBezTo>
                        <a:pt x="8129" y="27563"/>
                        <a:pt x="1278" y="22581"/>
                        <a:pt x="158" y="15357"/>
                      </a:cubicBezTo>
                      <a:cubicBezTo>
                        <a:pt x="-964" y="8132"/>
                        <a:pt x="4019" y="1406"/>
                        <a:pt x="11243" y="161"/>
                      </a:cubicBezTo>
                      <a:cubicBezTo>
                        <a:pt x="18592" y="-960"/>
                        <a:pt x="25318" y="3897"/>
                        <a:pt x="26439" y="112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4" name="Freeform 4597">
                  <a:extLst>
                    <a:ext uri="{FF2B5EF4-FFF2-40B4-BE49-F238E27FC236}">
                      <a16:creationId xmlns:a16="http://schemas.microsoft.com/office/drawing/2014/main" id="{7FCF42A7-1C16-8381-7AF0-B9D2C998FFA6}"/>
                    </a:ext>
                  </a:extLst>
                </p:cNvPr>
                <p:cNvSpPr/>
                <p:nvPr/>
              </p:nvSpPr>
              <p:spPr>
                <a:xfrm>
                  <a:off x="6521605" y="5767593"/>
                  <a:ext cx="8409" cy="51567"/>
                </a:xfrm>
                <a:custGeom>
                  <a:avLst/>
                  <a:gdLst>
                    <a:gd name="connsiteX0" fmla="*/ 7833 w 8409"/>
                    <a:gd name="connsiteY0" fmla="*/ 51567 h 51567"/>
                    <a:gd name="connsiteX1" fmla="*/ 6961 w 8409"/>
                    <a:gd name="connsiteY1" fmla="*/ 32759 h 51567"/>
                    <a:gd name="connsiteX2" fmla="*/ 981 w 8409"/>
                    <a:gd name="connsiteY2" fmla="*/ 16442 h 51567"/>
                    <a:gd name="connsiteX3" fmla="*/ 608 w 8409"/>
                    <a:gd name="connsiteY3" fmla="*/ 0 h 51567"/>
                  </a:gdLst>
                  <a:ahLst/>
                  <a:cxnLst>
                    <a:cxn ang="0">
                      <a:pos x="connsiteX0" y="connsiteY0"/>
                    </a:cxn>
                    <a:cxn ang="0">
                      <a:pos x="connsiteX1" y="connsiteY1"/>
                    </a:cxn>
                    <a:cxn ang="0">
                      <a:pos x="connsiteX2" y="connsiteY2"/>
                    </a:cxn>
                    <a:cxn ang="0">
                      <a:pos x="connsiteX3" y="connsiteY3"/>
                    </a:cxn>
                  </a:cxnLst>
                  <a:rect l="l" t="t" r="r" b="b"/>
                  <a:pathLst>
                    <a:path w="8409" h="51567">
                      <a:moveTo>
                        <a:pt x="7833" y="51567"/>
                      </a:moveTo>
                      <a:cubicBezTo>
                        <a:pt x="9078" y="43222"/>
                        <a:pt x="8081" y="36994"/>
                        <a:pt x="6961" y="32759"/>
                      </a:cubicBezTo>
                      <a:cubicBezTo>
                        <a:pt x="5092" y="26033"/>
                        <a:pt x="2601" y="23292"/>
                        <a:pt x="981" y="16442"/>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5" name="Freeform 4598">
                  <a:extLst>
                    <a:ext uri="{FF2B5EF4-FFF2-40B4-BE49-F238E27FC236}">
                      <a16:creationId xmlns:a16="http://schemas.microsoft.com/office/drawing/2014/main" id="{6C8EDB52-D940-EAA5-5AF7-F7FB39285C33}"/>
                    </a:ext>
                  </a:extLst>
                </p:cNvPr>
                <p:cNvSpPr/>
                <p:nvPr/>
              </p:nvSpPr>
              <p:spPr>
                <a:xfrm>
                  <a:off x="6514740" y="5773696"/>
                  <a:ext cx="8718" cy="51442"/>
                </a:xfrm>
                <a:custGeom>
                  <a:avLst/>
                  <a:gdLst>
                    <a:gd name="connsiteX0" fmla="*/ 0 w 8718"/>
                    <a:gd name="connsiteY0" fmla="*/ 0 h 51442"/>
                    <a:gd name="connsiteX1" fmla="*/ 4857 w 8718"/>
                    <a:gd name="connsiteY1" fmla="*/ 18186 h 51442"/>
                    <a:gd name="connsiteX2" fmla="*/ 4110 w 8718"/>
                    <a:gd name="connsiteY2" fmla="*/ 35624 h 51442"/>
                    <a:gd name="connsiteX3" fmla="*/ 8718 w 8718"/>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8" h="51442">
                      <a:moveTo>
                        <a:pt x="0" y="0"/>
                      </a:moveTo>
                      <a:cubicBezTo>
                        <a:pt x="3737" y="7598"/>
                        <a:pt x="4609" y="13826"/>
                        <a:pt x="4857" y="18186"/>
                      </a:cubicBezTo>
                      <a:cubicBezTo>
                        <a:pt x="5107" y="25161"/>
                        <a:pt x="3487" y="28524"/>
                        <a:pt x="4110" y="35624"/>
                      </a:cubicBezTo>
                      <a:cubicBezTo>
                        <a:pt x="4732" y="42474"/>
                        <a:pt x="6975" y="47955"/>
                        <a:pt x="871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6" name="Freeform 4599">
                  <a:extLst>
                    <a:ext uri="{FF2B5EF4-FFF2-40B4-BE49-F238E27FC236}">
                      <a16:creationId xmlns:a16="http://schemas.microsoft.com/office/drawing/2014/main" id="{59D18526-F653-78C8-B828-5743F3289AA2}"/>
                    </a:ext>
                  </a:extLst>
                </p:cNvPr>
                <p:cNvSpPr/>
                <p:nvPr/>
              </p:nvSpPr>
              <p:spPr>
                <a:xfrm>
                  <a:off x="6513831" y="5813397"/>
                  <a:ext cx="26351" cy="26472"/>
                </a:xfrm>
                <a:custGeom>
                  <a:avLst/>
                  <a:gdLst>
                    <a:gd name="connsiteX0" fmla="*/ 161 w 26351"/>
                    <a:gd name="connsiteY0" fmla="*/ 15229 h 26472"/>
                    <a:gd name="connsiteX1" fmla="*/ 11122 w 26351"/>
                    <a:gd name="connsiteY1" fmla="*/ 158 h 26472"/>
                    <a:gd name="connsiteX2" fmla="*/ 26194 w 26351"/>
                    <a:gd name="connsiteY2" fmla="*/ 11243 h 26472"/>
                    <a:gd name="connsiteX3" fmla="*/ 15232 w 26351"/>
                    <a:gd name="connsiteY3" fmla="*/ 26315 h 26472"/>
                    <a:gd name="connsiteX4" fmla="*/ 161 w 26351"/>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472">
                      <a:moveTo>
                        <a:pt x="161" y="15229"/>
                      </a:moveTo>
                      <a:cubicBezTo>
                        <a:pt x="-960" y="8005"/>
                        <a:pt x="3898" y="1279"/>
                        <a:pt x="11122" y="158"/>
                      </a:cubicBezTo>
                      <a:cubicBezTo>
                        <a:pt x="18346" y="-963"/>
                        <a:pt x="25072" y="4019"/>
                        <a:pt x="26194" y="11243"/>
                      </a:cubicBezTo>
                      <a:cubicBezTo>
                        <a:pt x="27315" y="18468"/>
                        <a:pt x="22332" y="25194"/>
                        <a:pt x="15232" y="26315"/>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9" name="Graphic 2987">
                <a:extLst>
                  <a:ext uri="{FF2B5EF4-FFF2-40B4-BE49-F238E27FC236}">
                    <a16:creationId xmlns:a16="http://schemas.microsoft.com/office/drawing/2014/main" id="{0048636B-E421-5C8E-0FD7-24087AD132FF}"/>
                  </a:ext>
                </a:extLst>
              </p:cNvPr>
              <p:cNvGrpSpPr/>
              <p:nvPr/>
            </p:nvGrpSpPr>
            <p:grpSpPr>
              <a:xfrm>
                <a:off x="6524298" y="5687843"/>
                <a:ext cx="45031" cy="147542"/>
                <a:chOff x="6524298" y="5687843"/>
                <a:chExt cx="45031" cy="147542"/>
              </a:xfrm>
              <a:grpFill/>
            </p:grpSpPr>
            <p:sp>
              <p:nvSpPr>
                <p:cNvPr id="4865" name="Freeform 4601">
                  <a:extLst>
                    <a:ext uri="{FF2B5EF4-FFF2-40B4-BE49-F238E27FC236}">
                      <a16:creationId xmlns:a16="http://schemas.microsoft.com/office/drawing/2014/main" id="{1DA7B620-7322-5782-48B7-F3F32C839403}"/>
                    </a:ext>
                  </a:extLst>
                </p:cNvPr>
                <p:cNvSpPr/>
                <p:nvPr/>
              </p:nvSpPr>
              <p:spPr>
                <a:xfrm>
                  <a:off x="6534590" y="5708677"/>
                  <a:ext cx="8408" cy="51691"/>
                </a:xfrm>
                <a:custGeom>
                  <a:avLst/>
                  <a:gdLst>
                    <a:gd name="connsiteX0" fmla="*/ 576 w 8408"/>
                    <a:gd name="connsiteY0" fmla="*/ 0 h 51691"/>
                    <a:gd name="connsiteX1" fmla="*/ 1448 w 8408"/>
                    <a:gd name="connsiteY1" fmla="*/ 18808 h 51691"/>
                    <a:gd name="connsiteX2" fmla="*/ 7427 w 8408"/>
                    <a:gd name="connsiteY2" fmla="*/ 35125 h 51691"/>
                    <a:gd name="connsiteX3" fmla="*/ 7801 w 8408"/>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408" h="51690">
                      <a:moveTo>
                        <a:pt x="576" y="0"/>
                      </a:moveTo>
                      <a:cubicBezTo>
                        <a:pt x="-669" y="8346"/>
                        <a:pt x="328" y="14573"/>
                        <a:pt x="1448" y="18808"/>
                      </a:cubicBezTo>
                      <a:cubicBezTo>
                        <a:pt x="3317" y="25535"/>
                        <a:pt x="5808" y="28275"/>
                        <a:pt x="7427" y="35125"/>
                      </a:cubicBezTo>
                      <a:cubicBezTo>
                        <a:pt x="8922" y="41852"/>
                        <a:pt x="8424" y="47706"/>
                        <a:pt x="7801"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6" name="Freeform 4602">
                  <a:extLst>
                    <a:ext uri="{FF2B5EF4-FFF2-40B4-BE49-F238E27FC236}">
                      <a16:creationId xmlns:a16="http://schemas.microsoft.com/office/drawing/2014/main" id="{65643919-5E6B-660B-7056-636A7CF0B997}"/>
                    </a:ext>
                  </a:extLst>
                </p:cNvPr>
                <p:cNvSpPr/>
                <p:nvPr/>
              </p:nvSpPr>
              <p:spPr>
                <a:xfrm>
                  <a:off x="6541395" y="5702573"/>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8" y="43845"/>
                        <a:pt x="3861" y="37617"/>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7" name="Freeform 4603">
                  <a:extLst>
                    <a:ext uri="{FF2B5EF4-FFF2-40B4-BE49-F238E27FC236}">
                      <a16:creationId xmlns:a16="http://schemas.microsoft.com/office/drawing/2014/main" id="{9DEA06D8-89C5-5A96-BA69-879EEFC0245E}"/>
                    </a:ext>
                  </a:extLst>
                </p:cNvPr>
                <p:cNvSpPr/>
                <p:nvPr/>
              </p:nvSpPr>
              <p:spPr>
                <a:xfrm>
                  <a:off x="6524298" y="5687843"/>
                  <a:ext cx="26721" cy="26596"/>
                </a:xfrm>
                <a:custGeom>
                  <a:avLst/>
                  <a:gdLst>
                    <a:gd name="connsiteX0" fmla="*/ 26564 w 26721"/>
                    <a:gd name="connsiteY0" fmla="*/ 11243 h 26596"/>
                    <a:gd name="connsiteX1" fmla="*/ 15354 w 26721"/>
                    <a:gd name="connsiteY1" fmla="*/ 26439 h 26596"/>
                    <a:gd name="connsiteX2" fmla="*/ 158 w 26721"/>
                    <a:gd name="connsiteY2" fmla="*/ 15354 h 26596"/>
                    <a:gd name="connsiteX3" fmla="*/ 11368 w 26721"/>
                    <a:gd name="connsiteY3" fmla="*/ 158 h 26596"/>
                    <a:gd name="connsiteX4" fmla="*/ 26564 w 26721"/>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595">
                      <a:moveTo>
                        <a:pt x="26564" y="11243"/>
                      </a:moveTo>
                      <a:cubicBezTo>
                        <a:pt x="27685" y="18468"/>
                        <a:pt x="22702" y="25318"/>
                        <a:pt x="15354" y="26439"/>
                      </a:cubicBezTo>
                      <a:cubicBezTo>
                        <a:pt x="8005" y="27560"/>
                        <a:pt x="1279" y="22578"/>
                        <a:pt x="158" y="15354"/>
                      </a:cubicBezTo>
                      <a:cubicBezTo>
                        <a:pt x="-964" y="8129"/>
                        <a:pt x="4019" y="1279"/>
                        <a:pt x="11368" y="158"/>
                      </a:cubicBezTo>
                      <a:cubicBezTo>
                        <a:pt x="18717" y="-964"/>
                        <a:pt x="25443" y="4019"/>
                        <a:pt x="26564"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8" name="Freeform 4604">
                  <a:extLst>
                    <a:ext uri="{FF2B5EF4-FFF2-40B4-BE49-F238E27FC236}">
                      <a16:creationId xmlns:a16="http://schemas.microsoft.com/office/drawing/2014/main" id="{97B6CB86-499A-3FA8-7B74-6E9D8AC0D1BE}"/>
                    </a:ext>
                  </a:extLst>
                </p:cNvPr>
                <p:cNvSpPr/>
                <p:nvPr/>
              </p:nvSpPr>
              <p:spPr>
                <a:xfrm>
                  <a:off x="6550752" y="5762859"/>
                  <a:ext cx="8409" cy="51691"/>
                </a:xfrm>
                <a:custGeom>
                  <a:avLst/>
                  <a:gdLst>
                    <a:gd name="connsiteX0" fmla="*/ 7832 w 8409"/>
                    <a:gd name="connsiteY0" fmla="*/ 51691 h 51691"/>
                    <a:gd name="connsiteX1" fmla="*/ 6960 w 8409"/>
                    <a:gd name="connsiteY1" fmla="*/ 32883 h 51691"/>
                    <a:gd name="connsiteX2" fmla="*/ 982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51691"/>
                      </a:moveTo>
                      <a:cubicBezTo>
                        <a:pt x="9078" y="43346"/>
                        <a:pt x="8082" y="37118"/>
                        <a:pt x="6960" y="32883"/>
                      </a:cubicBezTo>
                      <a:cubicBezTo>
                        <a:pt x="5092" y="26157"/>
                        <a:pt x="2601"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9" name="Freeform 4605">
                  <a:extLst>
                    <a:ext uri="{FF2B5EF4-FFF2-40B4-BE49-F238E27FC236}">
                      <a16:creationId xmlns:a16="http://schemas.microsoft.com/office/drawing/2014/main" id="{F294627A-929C-B703-CA86-D7DFC7EDC264}"/>
                    </a:ext>
                  </a:extLst>
                </p:cNvPr>
                <p:cNvSpPr/>
                <p:nvPr/>
              </p:nvSpPr>
              <p:spPr>
                <a:xfrm>
                  <a:off x="6543886" y="5769212"/>
                  <a:ext cx="8594" cy="51442"/>
                </a:xfrm>
                <a:custGeom>
                  <a:avLst/>
                  <a:gdLst>
                    <a:gd name="connsiteX0" fmla="*/ 0 w 8594"/>
                    <a:gd name="connsiteY0" fmla="*/ 0 h 51442"/>
                    <a:gd name="connsiteX1" fmla="*/ 4733 w 8594"/>
                    <a:gd name="connsiteY1" fmla="*/ 18185 h 51442"/>
                    <a:gd name="connsiteX2" fmla="*/ 3986 w 8594"/>
                    <a:gd name="connsiteY2" fmla="*/ 35623 h 51442"/>
                    <a:gd name="connsiteX3" fmla="*/ 8595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0" y="0"/>
                      </a:moveTo>
                      <a:cubicBezTo>
                        <a:pt x="3612" y="7598"/>
                        <a:pt x="4609" y="13826"/>
                        <a:pt x="4733" y="18185"/>
                      </a:cubicBezTo>
                      <a:cubicBezTo>
                        <a:pt x="4983" y="25161"/>
                        <a:pt x="3363" y="28524"/>
                        <a:pt x="3986" y="35623"/>
                      </a:cubicBezTo>
                      <a:cubicBezTo>
                        <a:pt x="4484" y="42474"/>
                        <a:pt x="6726" y="47955"/>
                        <a:pt x="859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0" name="Freeform 4606">
                  <a:extLst>
                    <a:ext uri="{FF2B5EF4-FFF2-40B4-BE49-F238E27FC236}">
                      <a16:creationId xmlns:a16="http://schemas.microsoft.com/office/drawing/2014/main" id="{24D6159D-6E10-7687-EC8C-E8BB8851F72E}"/>
                    </a:ext>
                  </a:extLst>
                </p:cNvPr>
                <p:cNvSpPr/>
                <p:nvPr/>
              </p:nvSpPr>
              <p:spPr>
                <a:xfrm>
                  <a:off x="6542981" y="5808913"/>
                  <a:ext cx="26347" cy="26471"/>
                </a:xfrm>
                <a:custGeom>
                  <a:avLst/>
                  <a:gdLst>
                    <a:gd name="connsiteX0" fmla="*/ 158 w 26347"/>
                    <a:gd name="connsiteY0" fmla="*/ 15229 h 26471"/>
                    <a:gd name="connsiteX1" fmla="*/ 11243 w 26347"/>
                    <a:gd name="connsiteY1" fmla="*/ 158 h 26471"/>
                    <a:gd name="connsiteX2" fmla="*/ 26191 w 26347"/>
                    <a:gd name="connsiteY2" fmla="*/ 11243 h 26471"/>
                    <a:gd name="connsiteX3" fmla="*/ 15105 w 26347"/>
                    <a:gd name="connsiteY3" fmla="*/ 26314 h 26471"/>
                    <a:gd name="connsiteX4" fmla="*/ 158 w 26347"/>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0">
                      <a:moveTo>
                        <a:pt x="158" y="15229"/>
                      </a:moveTo>
                      <a:cubicBezTo>
                        <a:pt x="-964" y="8004"/>
                        <a:pt x="4019" y="1279"/>
                        <a:pt x="11243" y="158"/>
                      </a:cubicBezTo>
                      <a:cubicBezTo>
                        <a:pt x="18468" y="-964"/>
                        <a:pt x="25194" y="4019"/>
                        <a:pt x="26191" y="11243"/>
                      </a:cubicBezTo>
                      <a:cubicBezTo>
                        <a:pt x="27311" y="18468"/>
                        <a:pt x="22329" y="25193"/>
                        <a:pt x="15105" y="26314"/>
                      </a:cubicBezTo>
                      <a:cubicBezTo>
                        <a:pt x="7880" y="27435"/>
                        <a:pt x="1154"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0" name="Graphic 2987">
                <a:extLst>
                  <a:ext uri="{FF2B5EF4-FFF2-40B4-BE49-F238E27FC236}">
                    <a16:creationId xmlns:a16="http://schemas.microsoft.com/office/drawing/2014/main" id="{C5C85019-38E7-A27D-3575-737F1929885C}"/>
                  </a:ext>
                </a:extLst>
              </p:cNvPr>
              <p:cNvGrpSpPr/>
              <p:nvPr/>
            </p:nvGrpSpPr>
            <p:grpSpPr>
              <a:xfrm>
                <a:off x="6553818" y="5683237"/>
                <a:ext cx="44532" cy="147663"/>
                <a:chOff x="6553818" y="5683237"/>
                <a:chExt cx="44532" cy="147663"/>
              </a:xfrm>
              <a:grpFill/>
            </p:grpSpPr>
            <p:sp>
              <p:nvSpPr>
                <p:cNvPr id="4859" name="Freeform 4608">
                  <a:extLst>
                    <a:ext uri="{FF2B5EF4-FFF2-40B4-BE49-F238E27FC236}">
                      <a16:creationId xmlns:a16="http://schemas.microsoft.com/office/drawing/2014/main" id="{F7786DBB-C0BC-4F00-F593-EE7A52F571D6}"/>
                    </a:ext>
                  </a:extLst>
                </p:cNvPr>
                <p:cNvSpPr/>
                <p:nvPr/>
              </p:nvSpPr>
              <p:spPr>
                <a:xfrm>
                  <a:off x="6563986" y="5704068"/>
                  <a:ext cx="8270" cy="51691"/>
                </a:xfrm>
                <a:custGeom>
                  <a:avLst/>
                  <a:gdLst>
                    <a:gd name="connsiteX0" fmla="*/ 577 w 8270"/>
                    <a:gd name="connsiteY0" fmla="*/ 0 h 51691"/>
                    <a:gd name="connsiteX1" fmla="*/ 1448 w 8270"/>
                    <a:gd name="connsiteY1" fmla="*/ 18808 h 51691"/>
                    <a:gd name="connsiteX2" fmla="*/ 7303 w 8270"/>
                    <a:gd name="connsiteY2" fmla="*/ 35125 h 51691"/>
                    <a:gd name="connsiteX3" fmla="*/ 7552 w 8270"/>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270" h="51690">
                      <a:moveTo>
                        <a:pt x="577" y="0"/>
                      </a:moveTo>
                      <a:cubicBezTo>
                        <a:pt x="-669" y="8346"/>
                        <a:pt x="328" y="14573"/>
                        <a:pt x="1448" y="18808"/>
                      </a:cubicBezTo>
                      <a:cubicBezTo>
                        <a:pt x="3192" y="25535"/>
                        <a:pt x="5808" y="28275"/>
                        <a:pt x="7303" y="35125"/>
                      </a:cubicBezTo>
                      <a:cubicBezTo>
                        <a:pt x="8798" y="41852"/>
                        <a:pt x="8300" y="47706"/>
                        <a:pt x="7552"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0" name="Freeform 4609">
                  <a:extLst>
                    <a:ext uri="{FF2B5EF4-FFF2-40B4-BE49-F238E27FC236}">
                      <a16:creationId xmlns:a16="http://schemas.microsoft.com/office/drawing/2014/main" id="{0B58CC8A-8D9A-FCBB-7041-908ABC0C9FDE}"/>
                    </a:ext>
                  </a:extLst>
                </p:cNvPr>
                <p:cNvSpPr/>
                <p:nvPr/>
              </p:nvSpPr>
              <p:spPr>
                <a:xfrm>
                  <a:off x="6570666" y="5698090"/>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7" y="43844"/>
                        <a:pt x="3861" y="37616"/>
                        <a:pt x="3737" y="33257"/>
                      </a:cubicBezTo>
                      <a:cubicBezTo>
                        <a:pt x="3487" y="26281"/>
                        <a:pt x="5107" y="22919"/>
                        <a:pt x="4609" y="15819"/>
                      </a:cubicBezTo>
                      <a:cubicBezTo>
                        <a:pt x="4110"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1" name="Freeform 4610">
                  <a:extLst>
                    <a:ext uri="{FF2B5EF4-FFF2-40B4-BE49-F238E27FC236}">
                      <a16:creationId xmlns:a16="http://schemas.microsoft.com/office/drawing/2014/main" id="{2C32A08B-1DA4-FA4E-54E0-A7035090ADF8}"/>
                    </a:ext>
                  </a:extLst>
                </p:cNvPr>
                <p:cNvSpPr/>
                <p:nvPr/>
              </p:nvSpPr>
              <p:spPr>
                <a:xfrm>
                  <a:off x="6553818" y="5683237"/>
                  <a:ext cx="26593" cy="26593"/>
                </a:xfrm>
                <a:custGeom>
                  <a:avLst/>
                  <a:gdLst>
                    <a:gd name="connsiteX0" fmla="*/ 26439 w 26593"/>
                    <a:gd name="connsiteY0" fmla="*/ 11365 h 26593"/>
                    <a:gd name="connsiteX1" fmla="*/ 15229 w 26593"/>
                    <a:gd name="connsiteY1" fmla="*/ 26436 h 26593"/>
                    <a:gd name="connsiteX2" fmla="*/ 157 w 26593"/>
                    <a:gd name="connsiteY2" fmla="*/ 15351 h 26593"/>
                    <a:gd name="connsiteX3" fmla="*/ 11368 w 26593"/>
                    <a:gd name="connsiteY3" fmla="*/ 154 h 26593"/>
                    <a:gd name="connsiteX4" fmla="*/ 26439 w 26593"/>
                    <a:gd name="connsiteY4" fmla="*/ 11365 h 26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2">
                      <a:moveTo>
                        <a:pt x="26439" y="11365"/>
                      </a:moveTo>
                      <a:cubicBezTo>
                        <a:pt x="27560" y="18589"/>
                        <a:pt x="22453" y="25315"/>
                        <a:pt x="15229" y="26436"/>
                      </a:cubicBezTo>
                      <a:cubicBezTo>
                        <a:pt x="8005" y="27557"/>
                        <a:pt x="1154" y="22575"/>
                        <a:pt x="157" y="15351"/>
                      </a:cubicBezTo>
                      <a:cubicBezTo>
                        <a:pt x="-963" y="8126"/>
                        <a:pt x="4019" y="1276"/>
                        <a:pt x="11368" y="154"/>
                      </a:cubicBezTo>
                      <a:cubicBezTo>
                        <a:pt x="18592" y="-967"/>
                        <a:pt x="25318" y="4140"/>
                        <a:pt x="26439"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2" name="Freeform 4611">
                  <a:extLst>
                    <a:ext uri="{FF2B5EF4-FFF2-40B4-BE49-F238E27FC236}">
                      <a16:creationId xmlns:a16="http://schemas.microsoft.com/office/drawing/2014/main" id="{93875578-5384-FBFB-CD87-CC9BAB242AF5}"/>
                    </a:ext>
                  </a:extLst>
                </p:cNvPr>
                <p:cNvSpPr/>
                <p:nvPr/>
              </p:nvSpPr>
              <p:spPr>
                <a:xfrm>
                  <a:off x="6580036" y="5758375"/>
                  <a:ext cx="8270" cy="51691"/>
                </a:xfrm>
                <a:custGeom>
                  <a:avLst/>
                  <a:gdLst>
                    <a:gd name="connsiteX0" fmla="*/ 7694 w 8270"/>
                    <a:gd name="connsiteY0" fmla="*/ 51691 h 51691"/>
                    <a:gd name="connsiteX1" fmla="*/ 6822 w 8270"/>
                    <a:gd name="connsiteY1" fmla="*/ 32883 h 51691"/>
                    <a:gd name="connsiteX2" fmla="*/ 968 w 8270"/>
                    <a:gd name="connsiteY2" fmla="*/ 16566 h 51691"/>
                    <a:gd name="connsiteX3" fmla="*/ 719 w 8270"/>
                    <a:gd name="connsiteY3" fmla="*/ 0 h 51691"/>
                  </a:gdLst>
                  <a:ahLst/>
                  <a:cxnLst>
                    <a:cxn ang="0">
                      <a:pos x="connsiteX0" y="connsiteY0"/>
                    </a:cxn>
                    <a:cxn ang="0">
                      <a:pos x="connsiteX1" y="connsiteY1"/>
                    </a:cxn>
                    <a:cxn ang="0">
                      <a:pos x="connsiteX2" y="connsiteY2"/>
                    </a:cxn>
                    <a:cxn ang="0">
                      <a:pos x="connsiteX3" y="connsiteY3"/>
                    </a:cxn>
                  </a:cxnLst>
                  <a:rect l="l" t="t" r="r" b="b"/>
                  <a:pathLst>
                    <a:path w="8270" h="51690">
                      <a:moveTo>
                        <a:pt x="7694" y="51691"/>
                      </a:moveTo>
                      <a:cubicBezTo>
                        <a:pt x="8939" y="43346"/>
                        <a:pt x="7943" y="37118"/>
                        <a:pt x="6822" y="32883"/>
                      </a:cubicBezTo>
                      <a:cubicBezTo>
                        <a:pt x="5078" y="26157"/>
                        <a:pt x="2462"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3" name="Freeform 4612">
                  <a:extLst>
                    <a:ext uri="{FF2B5EF4-FFF2-40B4-BE49-F238E27FC236}">
                      <a16:creationId xmlns:a16="http://schemas.microsoft.com/office/drawing/2014/main" id="{255A29EE-DA66-D574-260C-07A92B87B1F5}"/>
                    </a:ext>
                  </a:extLst>
                </p:cNvPr>
                <p:cNvSpPr/>
                <p:nvPr/>
              </p:nvSpPr>
              <p:spPr>
                <a:xfrm>
                  <a:off x="6573157" y="5764603"/>
                  <a:ext cx="8345" cy="51442"/>
                </a:xfrm>
                <a:custGeom>
                  <a:avLst/>
                  <a:gdLst>
                    <a:gd name="connsiteX0" fmla="*/ 0 w 8345"/>
                    <a:gd name="connsiteY0" fmla="*/ 0 h 51442"/>
                    <a:gd name="connsiteX1" fmla="*/ 4733 w 8345"/>
                    <a:gd name="connsiteY1" fmla="*/ 18185 h 51442"/>
                    <a:gd name="connsiteX2" fmla="*/ 3862 w 8345"/>
                    <a:gd name="connsiteY2" fmla="*/ 35623 h 51442"/>
                    <a:gd name="connsiteX3" fmla="*/ 8346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3" y="7598"/>
                        <a:pt x="4609" y="13826"/>
                        <a:pt x="4733" y="18185"/>
                      </a:cubicBezTo>
                      <a:cubicBezTo>
                        <a:pt x="4983" y="25161"/>
                        <a:pt x="3363" y="28524"/>
                        <a:pt x="3862" y="35623"/>
                      </a:cubicBezTo>
                      <a:cubicBezTo>
                        <a:pt x="4360" y="42474"/>
                        <a:pt x="6602" y="47955"/>
                        <a:pt x="834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4" name="Freeform 4613">
                  <a:extLst>
                    <a:ext uri="{FF2B5EF4-FFF2-40B4-BE49-F238E27FC236}">
                      <a16:creationId xmlns:a16="http://schemas.microsoft.com/office/drawing/2014/main" id="{7474A621-9F93-8CA8-336A-2D935168D6AB}"/>
                    </a:ext>
                  </a:extLst>
                </p:cNvPr>
                <p:cNvSpPr/>
                <p:nvPr/>
              </p:nvSpPr>
              <p:spPr>
                <a:xfrm>
                  <a:off x="6572003" y="5804429"/>
                  <a:ext cx="26347" cy="26472"/>
                </a:xfrm>
                <a:custGeom>
                  <a:avLst/>
                  <a:gdLst>
                    <a:gd name="connsiteX0" fmla="*/ 158 w 26347"/>
                    <a:gd name="connsiteY0" fmla="*/ 15229 h 26472"/>
                    <a:gd name="connsiteX1" fmla="*/ 11243 w 26347"/>
                    <a:gd name="connsiteY1" fmla="*/ 158 h 26472"/>
                    <a:gd name="connsiteX2" fmla="*/ 26190 w 26347"/>
                    <a:gd name="connsiteY2" fmla="*/ 11243 h 26472"/>
                    <a:gd name="connsiteX3" fmla="*/ 15105 w 26347"/>
                    <a:gd name="connsiteY3" fmla="*/ 26315 h 26472"/>
                    <a:gd name="connsiteX4" fmla="*/ 158 w 26347"/>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2">
                      <a:moveTo>
                        <a:pt x="158" y="15229"/>
                      </a:moveTo>
                      <a:cubicBezTo>
                        <a:pt x="-964" y="8005"/>
                        <a:pt x="4019" y="1279"/>
                        <a:pt x="11243" y="158"/>
                      </a:cubicBezTo>
                      <a:cubicBezTo>
                        <a:pt x="18467" y="-963"/>
                        <a:pt x="25194" y="4019"/>
                        <a:pt x="26190" y="11243"/>
                      </a:cubicBezTo>
                      <a:cubicBezTo>
                        <a:pt x="27311" y="18468"/>
                        <a:pt x="22329" y="25194"/>
                        <a:pt x="15105" y="26315"/>
                      </a:cubicBezTo>
                      <a:cubicBezTo>
                        <a:pt x="8005" y="27436"/>
                        <a:pt x="1278"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1" name="Graphic 2987">
                <a:extLst>
                  <a:ext uri="{FF2B5EF4-FFF2-40B4-BE49-F238E27FC236}">
                    <a16:creationId xmlns:a16="http://schemas.microsoft.com/office/drawing/2014/main" id="{7022EEFF-58B0-B381-78D4-3EE3B769F2A5}"/>
                  </a:ext>
                </a:extLst>
              </p:cNvPr>
              <p:cNvGrpSpPr/>
              <p:nvPr/>
            </p:nvGrpSpPr>
            <p:grpSpPr>
              <a:xfrm>
                <a:off x="6583216" y="5679030"/>
                <a:ext cx="44253" cy="147511"/>
                <a:chOff x="6583216" y="5679030"/>
                <a:chExt cx="44253" cy="147511"/>
              </a:xfrm>
              <a:grpFill/>
            </p:grpSpPr>
            <p:sp>
              <p:nvSpPr>
                <p:cNvPr id="4853" name="Freeform 4615">
                  <a:extLst>
                    <a:ext uri="{FF2B5EF4-FFF2-40B4-BE49-F238E27FC236}">
                      <a16:creationId xmlns:a16="http://schemas.microsoft.com/office/drawing/2014/main" id="{EB77FE9F-5711-533E-EE6F-E271E196EBB5}"/>
                    </a:ext>
                  </a:extLst>
                </p:cNvPr>
                <p:cNvSpPr/>
                <p:nvPr/>
              </p:nvSpPr>
              <p:spPr>
                <a:xfrm>
                  <a:off x="6593348" y="5699833"/>
                  <a:ext cx="8179" cy="51691"/>
                </a:xfrm>
                <a:custGeom>
                  <a:avLst/>
                  <a:gdLst>
                    <a:gd name="connsiteX0" fmla="*/ 610 w 8179"/>
                    <a:gd name="connsiteY0" fmla="*/ 0 h 51691"/>
                    <a:gd name="connsiteX1" fmla="*/ 1357 w 8179"/>
                    <a:gd name="connsiteY1" fmla="*/ 18808 h 51691"/>
                    <a:gd name="connsiteX2" fmla="*/ 7211 w 8179"/>
                    <a:gd name="connsiteY2" fmla="*/ 35250 h 51691"/>
                    <a:gd name="connsiteX3" fmla="*/ 7461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610" y="0"/>
                      </a:moveTo>
                      <a:cubicBezTo>
                        <a:pt x="-636" y="8346"/>
                        <a:pt x="236" y="14573"/>
                        <a:pt x="1357" y="18808"/>
                      </a:cubicBezTo>
                      <a:cubicBezTo>
                        <a:pt x="3101" y="25535"/>
                        <a:pt x="5717" y="28275"/>
                        <a:pt x="7211" y="35250"/>
                      </a:cubicBezTo>
                      <a:cubicBezTo>
                        <a:pt x="8706" y="41976"/>
                        <a:pt x="8208"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4" name="Freeform 4616">
                  <a:extLst>
                    <a:ext uri="{FF2B5EF4-FFF2-40B4-BE49-F238E27FC236}">
                      <a16:creationId xmlns:a16="http://schemas.microsoft.com/office/drawing/2014/main" id="{59CCFF36-B382-80CD-53D7-EE4F857F49DB}"/>
                    </a:ext>
                  </a:extLst>
                </p:cNvPr>
                <p:cNvSpPr/>
                <p:nvPr/>
              </p:nvSpPr>
              <p:spPr>
                <a:xfrm>
                  <a:off x="6600062" y="5693730"/>
                  <a:ext cx="8345" cy="51566"/>
                </a:xfrm>
                <a:custGeom>
                  <a:avLst/>
                  <a:gdLst>
                    <a:gd name="connsiteX0" fmla="*/ 8345 w 8345"/>
                    <a:gd name="connsiteY0" fmla="*/ 51567 h 51566"/>
                    <a:gd name="connsiteX1" fmla="*/ 3612 w 8345"/>
                    <a:gd name="connsiteY1" fmla="*/ 33381 h 51566"/>
                    <a:gd name="connsiteX2" fmla="*/ 4484 w 8345"/>
                    <a:gd name="connsiteY2" fmla="*/ 15943 h 51566"/>
                    <a:gd name="connsiteX3" fmla="*/ 0 w 8345"/>
                    <a:gd name="connsiteY3" fmla="*/ 0 h 51566"/>
                  </a:gdLst>
                  <a:ahLst/>
                  <a:cxnLst>
                    <a:cxn ang="0">
                      <a:pos x="connsiteX0" y="connsiteY0"/>
                    </a:cxn>
                    <a:cxn ang="0">
                      <a:pos x="connsiteX1" y="connsiteY1"/>
                    </a:cxn>
                    <a:cxn ang="0">
                      <a:pos x="connsiteX2" y="connsiteY2"/>
                    </a:cxn>
                    <a:cxn ang="0">
                      <a:pos x="connsiteX3" y="connsiteY3"/>
                    </a:cxn>
                  </a:cxnLst>
                  <a:rect l="l" t="t" r="r" b="b"/>
                  <a:pathLst>
                    <a:path w="8345" h="51566">
                      <a:moveTo>
                        <a:pt x="8345" y="51567"/>
                      </a:moveTo>
                      <a:cubicBezTo>
                        <a:pt x="4733" y="43969"/>
                        <a:pt x="3861" y="37741"/>
                        <a:pt x="3612" y="33381"/>
                      </a:cubicBezTo>
                      <a:cubicBezTo>
                        <a:pt x="3363" y="26406"/>
                        <a:pt x="5107"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5" name="Freeform 4617">
                  <a:extLst>
                    <a:ext uri="{FF2B5EF4-FFF2-40B4-BE49-F238E27FC236}">
                      <a16:creationId xmlns:a16="http://schemas.microsoft.com/office/drawing/2014/main" id="{E37E0181-F2F5-4B55-41C2-977E6196216C}"/>
                    </a:ext>
                  </a:extLst>
                </p:cNvPr>
                <p:cNvSpPr/>
                <p:nvPr/>
              </p:nvSpPr>
              <p:spPr>
                <a:xfrm>
                  <a:off x="6583216" y="5679030"/>
                  <a:ext cx="26563" cy="26410"/>
                </a:xfrm>
                <a:custGeom>
                  <a:avLst/>
                  <a:gdLst>
                    <a:gd name="connsiteX0" fmla="*/ 26437 w 26563"/>
                    <a:gd name="connsiteY0" fmla="*/ 11337 h 26410"/>
                    <a:gd name="connsiteX1" fmla="*/ 15226 w 26563"/>
                    <a:gd name="connsiteY1" fmla="*/ 26284 h 26410"/>
                    <a:gd name="connsiteX2" fmla="*/ 154 w 26563"/>
                    <a:gd name="connsiteY2" fmla="*/ 15074 h 26410"/>
                    <a:gd name="connsiteX3" fmla="*/ 11365 w 26563"/>
                    <a:gd name="connsiteY3" fmla="*/ 127 h 26410"/>
                    <a:gd name="connsiteX4" fmla="*/ 26437 w 26563"/>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3" h="26410">
                      <a:moveTo>
                        <a:pt x="26437" y="11337"/>
                      </a:moveTo>
                      <a:cubicBezTo>
                        <a:pt x="27433" y="18561"/>
                        <a:pt x="22451" y="25288"/>
                        <a:pt x="15226" y="26284"/>
                      </a:cubicBezTo>
                      <a:cubicBezTo>
                        <a:pt x="8002" y="27281"/>
                        <a:pt x="1151" y="22298"/>
                        <a:pt x="154" y="15074"/>
                      </a:cubicBezTo>
                      <a:cubicBezTo>
                        <a:pt x="-966" y="7849"/>
                        <a:pt x="4140" y="1123"/>
                        <a:pt x="11365" y="127"/>
                      </a:cubicBezTo>
                      <a:cubicBezTo>
                        <a:pt x="18714" y="-870"/>
                        <a:pt x="25440" y="4113"/>
                        <a:pt x="26437"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6" name="Freeform 4618">
                  <a:extLst>
                    <a:ext uri="{FF2B5EF4-FFF2-40B4-BE49-F238E27FC236}">
                      <a16:creationId xmlns:a16="http://schemas.microsoft.com/office/drawing/2014/main" id="{DB0286CB-839C-0F4F-1F8B-00512B34D4E0}"/>
                    </a:ext>
                  </a:extLst>
                </p:cNvPr>
                <p:cNvSpPr/>
                <p:nvPr/>
              </p:nvSpPr>
              <p:spPr>
                <a:xfrm>
                  <a:off x="6609351" y="5754141"/>
                  <a:ext cx="8135" cy="51691"/>
                </a:xfrm>
                <a:custGeom>
                  <a:avLst/>
                  <a:gdLst>
                    <a:gd name="connsiteX0" fmla="*/ 7526 w 8135"/>
                    <a:gd name="connsiteY0" fmla="*/ 51691 h 51691"/>
                    <a:gd name="connsiteX1" fmla="*/ 6779 w 8135"/>
                    <a:gd name="connsiteY1" fmla="*/ 32883 h 51691"/>
                    <a:gd name="connsiteX2" fmla="*/ 925 w 8135"/>
                    <a:gd name="connsiteY2" fmla="*/ 16441 h 51691"/>
                    <a:gd name="connsiteX3" fmla="*/ 675 w 8135"/>
                    <a:gd name="connsiteY3" fmla="*/ 0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51691"/>
                      </a:moveTo>
                      <a:cubicBezTo>
                        <a:pt x="8772" y="43346"/>
                        <a:pt x="7900" y="37118"/>
                        <a:pt x="6779" y="32883"/>
                      </a:cubicBezTo>
                      <a:cubicBezTo>
                        <a:pt x="5035" y="26157"/>
                        <a:pt x="2419" y="23417"/>
                        <a:pt x="925" y="16441"/>
                      </a:cubicBezTo>
                      <a:cubicBezTo>
                        <a:pt x="-570" y="9715"/>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7" name="Freeform 4619">
                  <a:extLst>
                    <a:ext uri="{FF2B5EF4-FFF2-40B4-BE49-F238E27FC236}">
                      <a16:creationId xmlns:a16="http://schemas.microsoft.com/office/drawing/2014/main" id="{656ABE24-EAEE-3FB2-49E4-86CD26A2D555}"/>
                    </a:ext>
                  </a:extLst>
                </p:cNvPr>
                <p:cNvSpPr/>
                <p:nvPr/>
              </p:nvSpPr>
              <p:spPr>
                <a:xfrm>
                  <a:off x="6602428" y="5760368"/>
                  <a:ext cx="8345" cy="51566"/>
                </a:xfrm>
                <a:custGeom>
                  <a:avLst/>
                  <a:gdLst>
                    <a:gd name="connsiteX0" fmla="*/ 0 w 8345"/>
                    <a:gd name="connsiteY0" fmla="*/ 0 h 51566"/>
                    <a:gd name="connsiteX1" fmla="*/ 4733 w 8345"/>
                    <a:gd name="connsiteY1" fmla="*/ 18185 h 51566"/>
                    <a:gd name="connsiteX2" fmla="*/ 3861 w 8345"/>
                    <a:gd name="connsiteY2" fmla="*/ 35623 h 51566"/>
                    <a:gd name="connsiteX3" fmla="*/ 8345 w 834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345" h="51566">
                      <a:moveTo>
                        <a:pt x="0" y="0"/>
                      </a:moveTo>
                      <a:cubicBezTo>
                        <a:pt x="3612" y="7598"/>
                        <a:pt x="4484" y="13826"/>
                        <a:pt x="4733" y="18185"/>
                      </a:cubicBezTo>
                      <a:cubicBezTo>
                        <a:pt x="4982" y="25161"/>
                        <a:pt x="3363" y="28523"/>
                        <a:pt x="3861" y="35623"/>
                      </a:cubicBezTo>
                      <a:cubicBezTo>
                        <a:pt x="4359" y="42474"/>
                        <a:pt x="6601" y="47954"/>
                        <a:pt x="83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8" name="Freeform 4620">
                  <a:extLst>
                    <a:ext uri="{FF2B5EF4-FFF2-40B4-BE49-F238E27FC236}">
                      <a16:creationId xmlns:a16="http://schemas.microsoft.com/office/drawing/2014/main" id="{0CB58BEC-BAAB-47E7-6A3A-FE8E1B352F62}"/>
                    </a:ext>
                  </a:extLst>
                </p:cNvPr>
                <p:cNvSpPr/>
                <p:nvPr/>
              </p:nvSpPr>
              <p:spPr>
                <a:xfrm>
                  <a:off x="6601150" y="5800100"/>
                  <a:ext cx="26319" cy="26441"/>
                </a:xfrm>
                <a:custGeom>
                  <a:avLst/>
                  <a:gdLst>
                    <a:gd name="connsiteX0" fmla="*/ 157 w 26319"/>
                    <a:gd name="connsiteY0" fmla="*/ 15074 h 26441"/>
                    <a:gd name="connsiteX1" fmla="*/ 11243 w 26319"/>
                    <a:gd name="connsiteY1" fmla="*/ 127 h 26441"/>
                    <a:gd name="connsiteX2" fmla="*/ 26190 w 26319"/>
                    <a:gd name="connsiteY2" fmla="*/ 11337 h 26441"/>
                    <a:gd name="connsiteX3" fmla="*/ 15105 w 26319"/>
                    <a:gd name="connsiteY3" fmla="*/ 26284 h 26441"/>
                    <a:gd name="connsiteX4" fmla="*/ 157 w 26319"/>
                    <a:gd name="connsiteY4" fmla="*/ 15074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41">
                      <a:moveTo>
                        <a:pt x="157" y="15074"/>
                      </a:moveTo>
                      <a:cubicBezTo>
                        <a:pt x="-963" y="7849"/>
                        <a:pt x="4019" y="1123"/>
                        <a:pt x="11243" y="127"/>
                      </a:cubicBezTo>
                      <a:cubicBezTo>
                        <a:pt x="18468" y="-870"/>
                        <a:pt x="25194" y="4113"/>
                        <a:pt x="26190" y="11337"/>
                      </a:cubicBezTo>
                      <a:cubicBezTo>
                        <a:pt x="27187" y="18561"/>
                        <a:pt x="22329" y="25288"/>
                        <a:pt x="15105" y="26284"/>
                      </a:cubicBezTo>
                      <a:cubicBezTo>
                        <a:pt x="7880" y="27405"/>
                        <a:pt x="1154" y="22423"/>
                        <a:pt x="15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2" name="Graphic 2987">
                <a:extLst>
                  <a:ext uri="{FF2B5EF4-FFF2-40B4-BE49-F238E27FC236}">
                    <a16:creationId xmlns:a16="http://schemas.microsoft.com/office/drawing/2014/main" id="{4DB60867-3639-3CE8-DDAE-6116FF1F06EC}"/>
                  </a:ext>
                </a:extLst>
              </p:cNvPr>
              <p:cNvGrpSpPr/>
              <p:nvPr/>
            </p:nvGrpSpPr>
            <p:grpSpPr>
              <a:xfrm>
                <a:off x="6612640" y="5674889"/>
                <a:ext cx="43972" cy="147539"/>
                <a:chOff x="6612640" y="5674889"/>
                <a:chExt cx="43972" cy="147539"/>
              </a:xfrm>
              <a:grpFill/>
            </p:grpSpPr>
            <p:sp>
              <p:nvSpPr>
                <p:cNvPr id="4847" name="Freeform 4622">
                  <a:extLst>
                    <a:ext uri="{FF2B5EF4-FFF2-40B4-BE49-F238E27FC236}">
                      <a16:creationId xmlns:a16="http://schemas.microsoft.com/office/drawing/2014/main" id="{0F04BCA4-AB2C-FF19-FC58-21B5CC313B1C}"/>
                    </a:ext>
                  </a:extLst>
                </p:cNvPr>
                <p:cNvSpPr/>
                <p:nvPr/>
              </p:nvSpPr>
              <p:spPr>
                <a:xfrm>
                  <a:off x="6622689" y="5695598"/>
                  <a:ext cx="8191" cy="51691"/>
                </a:xfrm>
                <a:custGeom>
                  <a:avLst/>
                  <a:gdLst>
                    <a:gd name="connsiteX0" fmla="*/ 665 w 8191"/>
                    <a:gd name="connsiteY0" fmla="*/ 0 h 51691"/>
                    <a:gd name="connsiteX1" fmla="*/ 1412 w 8191"/>
                    <a:gd name="connsiteY1" fmla="*/ 18808 h 51691"/>
                    <a:gd name="connsiteX2" fmla="*/ 7267 w 8191"/>
                    <a:gd name="connsiteY2" fmla="*/ 35250 h 51691"/>
                    <a:gd name="connsiteX3" fmla="*/ 7516 w 819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90" h="51690">
                      <a:moveTo>
                        <a:pt x="665" y="0"/>
                      </a:moveTo>
                      <a:cubicBezTo>
                        <a:pt x="-705" y="8346"/>
                        <a:pt x="291" y="14573"/>
                        <a:pt x="1412" y="18808"/>
                      </a:cubicBezTo>
                      <a:cubicBezTo>
                        <a:pt x="3156" y="25534"/>
                        <a:pt x="5772" y="28274"/>
                        <a:pt x="7267" y="35250"/>
                      </a:cubicBezTo>
                      <a:cubicBezTo>
                        <a:pt x="8762" y="41976"/>
                        <a:pt x="8138" y="47830"/>
                        <a:pt x="751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8" name="Freeform 4623">
                  <a:extLst>
                    <a:ext uri="{FF2B5EF4-FFF2-40B4-BE49-F238E27FC236}">
                      <a16:creationId xmlns:a16="http://schemas.microsoft.com/office/drawing/2014/main" id="{22BBEB48-F17D-FB02-A489-27BAEFFFC944}"/>
                    </a:ext>
                  </a:extLst>
                </p:cNvPr>
                <p:cNvSpPr/>
                <p:nvPr/>
              </p:nvSpPr>
              <p:spPr>
                <a:xfrm>
                  <a:off x="6629707" y="5689619"/>
                  <a:ext cx="8095" cy="51567"/>
                </a:xfrm>
                <a:custGeom>
                  <a:avLst/>
                  <a:gdLst>
                    <a:gd name="connsiteX0" fmla="*/ 8096 w 8095"/>
                    <a:gd name="connsiteY0" fmla="*/ 51567 h 51567"/>
                    <a:gd name="connsiteX1" fmla="*/ 3487 w 8095"/>
                    <a:gd name="connsiteY1" fmla="*/ 33382 h 51567"/>
                    <a:gd name="connsiteX2" fmla="*/ 4484 w 8095"/>
                    <a:gd name="connsiteY2" fmla="*/ 15943 h 51567"/>
                    <a:gd name="connsiteX3" fmla="*/ 0 w 8095"/>
                    <a:gd name="connsiteY3" fmla="*/ 0 h 51567"/>
                  </a:gdLst>
                  <a:ahLst/>
                  <a:cxnLst>
                    <a:cxn ang="0">
                      <a:pos x="connsiteX0" y="connsiteY0"/>
                    </a:cxn>
                    <a:cxn ang="0">
                      <a:pos x="connsiteX1" y="connsiteY1"/>
                    </a:cxn>
                    <a:cxn ang="0">
                      <a:pos x="connsiteX2" y="connsiteY2"/>
                    </a:cxn>
                    <a:cxn ang="0">
                      <a:pos x="connsiteX3" y="connsiteY3"/>
                    </a:cxn>
                  </a:cxnLst>
                  <a:rect l="l" t="t" r="r" b="b"/>
                  <a:pathLst>
                    <a:path w="8095" h="51567">
                      <a:moveTo>
                        <a:pt x="8096" y="51567"/>
                      </a:moveTo>
                      <a:cubicBezTo>
                        <a:pt x="4484" y="43969"/>
                        <a:pt x="3612" y="37741"/>
                        <a:pt x="3487" y="33382"/>
                      </a:cubicBezTo>
                      <a:cubicBezTo>
                        <a:pt x="3239" y="26407"/>
                        <a:pt x="4982"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9" name="Freeform 4624">
                  <a:extLst>
                    <a:ext uri="{FF2B5EF4-FFF2-40B4-BE49-F238E27FC236}">
                      <a16:creationId xmlns:a16="http://schemas.microsoft.com/office/drawing/2014/main" id="{9789F8FA-1BD8-6F09-AA44-EF57E694C7F8}"/>
                    </a:ext>
                  </a:extLst>
                </p:cNvPr>
                <p:cNvSpPr/>
                <p:nvPr/>
              </p:nvSpPr>
              <p:spPr>
                <a:xfrm>
                  <a:off x="6612640" y="5674889"/>
                  <a:ext cx="26659" cy="26441"/>
                </a:xfrm>
                <a:custGeom>
                  <a:avLst/>
                  <a:gdLst>
                    <a:gd name="connsiteX0" fmla="*/ 26533 w 26659"/>
                    <a:gd name="connsiteY0" fmla="*/ 11368 h 26441"/>
                    <a:gd name="connsiteX1" fmla="*/ 15198 w 26659"/>
                    <a:gd name="connsiteY1" fmla="*/ 26315 h 26441"/>
                    <a:gd name="connsiteX2" fmla="*/ 127 w 26659"/>
                    <a:gd name="connsiteY2" fmla="*/ 15104 h 26441"/>
                    <a:gd name="connsiteX3" fmla="*/ 11461 w 26659"/>
                    <a:gd name="connsiteY3" fmla="*/ 157 h 26441"/>
                    <a:gd name="connsiteX4" fmla="*/ 26533 w 26659"/>
                    <a:gd name="connsiteY4" fmla="*/ 113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41">
                      <a:moveTo>
                        <a:pt x="26533" y="11368"/>
                      </a:moveTo>
                      <a:cubicBezTo>
                        <a:pt x="27529" y="18592"/>
                        <a:pt x="22547" y="25318"/>
                        <a:pt x="15198" y="26315"/>
                      </a:cubicBezTo>
                      <a:cubicBezTo>
                        <a:pt x="7974" y="27311"/>
                        <a:pt x="1247" y="22329"/>
                        <a:pt x="127" y="15104"/>
                      </a:cubicBezTo>
                      <a:cubicBezTo>
                        <a:pt x="-870" y="7880"/>
                        <a:pt x="4112" y="1154"/>
                        <a:pt x="11461" y="157"/>
                      </a:cubicBezTo>
                      <a:cubicBezTo>
                        <a:pt x="18686" y="-964"/>
                        <a:pt x="25412" y="4019"/>
                        <a:pt x="26533" y="113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0" name="Freeform 4625">
                  <a:extLst>
                    <a:ext uri="{FF2B5EF4-FFF2-40B4-BE49-F238E27FC236}">
                      <a16:creationId xmlns:a16="http://schemas.microsoft.com/office/drawing/2014/main" id="{77CAD702-290D-6A86-BBFC-FBAF6AFE4A10}"/>
                    </a:ext>
                  </a:extLst>
                </p:cNvPr>
                <p:cNvSpPr/>
                <p:nvPr/>
              </p:nvSpPr>
              <p:spPr>
                <a:xfrm>
                  <a:off x="6638497" y="5750030"/>
                  <a:ext cx="8136" cy="51691"/>
                </a:xfrm>
                <a:custGeom>
                  <a:avLst/>
                  <a:gdLst>
                    <a:gd name="connsiteX0" fmla="*/ 7527 w 8136"/>
                    <a:gd name="connsiteY0" fmla="*/ 51691 h 51691"/>
                    <a:gd name="connsiteX1" fmla="*/ 6779 w 8136"/>
                    <a:gd name="connsiteY1" fmla="*/ 32883 h 51691"/>
                    <a:gd name="connsiteX2" fmla="*/ 925 w 8136"/>
                    <a:gd name="connsiteY2" fmla="*/ 16442 h 51691"/>
                    <a:gd name="connsiteX3" fmla="*/ 676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7527" y="51691"/>
                      </a:moveTo>
                      <a:cubicBezTo>
                        <a:pt x="8772" y="43346"/>
                        <a:pt x="7900" y="37118"/>
                        <a:pt x="6779" y="32883"/>
                      </a:cubicBezTo>
                      <a:cubicBezTo>
                        <a:pt x="5035" y="26157"/>
                        <a:pt x="2544" y="23417"/>
                        <a:pt x="925" y="16442"/>
                      </a:cubicBezTo>
                      <a:cubicBezTo>
                        <a:pt x="-570" y="9715"/>
                        <a:pt x="53" y="3861"/>
                        <a:pt x="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1" name="Freeform 4626">
                  <a:extLst>
                    <a:ext uri="{FF2B5EF4-FFF2-40B4-BE49-F238E27FC236}">
                      <a16:creationId xmlns:a16="http://schemas.microsoft.com/office/drawing/2014/main" id="{E763004F-F9A0-0325-D96E-AE1D50804E22}"/>
                    </a:ext>
                  </a:extLst>
                </p:cNvPr>
                <p:cNvSpPr/>
                <p:nvPr/>
              </p:nvSpPr>
              <p:spPr>
                <a:xfrm>
                  <a:off x="6631699" y="5756134"/>
                  <a:ext cx="8221" cy="51566"/>
                </a:xfrm>
                <a:custGeom>
                  <a:avLst/>
                  <a:gdLst>
                    <a:gd name="connsiteX0" fmla="*/ 0 w 8221"/>
                    <a:gd name="connsiteY0" fmla="*/ 0 h 51566"/>
                    <a:gd name="connsiteX1" fmla="*/ 4609 w 8221"/>
                    <a:gd name="connsiteY1" fmla="*/ 18185 h 51566"/>
                    <a:gd name="connsiteX2" fmla="*/ 3737 w 8221"/>
                    <a:gd name="connsiteY2" fmla="*/ 35623 h 51566"/>
                    <a:gd name="connsiteX3" fmla="*/ 8221 w 82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221" h="51566">
                      <a:moveTo>
                        <a:pt x="0" y="0"/>
                      </a:moveTo>
                      <a:cubicBezTo>
                        <a:pt x="3613" y="7598"/>
                        <a:pt x="4485" y="13826"/>
                        <a:pt x="4609" y="18185"/>
                      </a:cubicBezTo>
                      <a:cubicBezTo>
                        <a:pt x="4858" y="25161"/>
                        <a:pt x="3114" y="28523"/>
                        <a:pt x="3737" y="35623"/>
                      </a:cubicBezTo>
                      <a:cubicBezTo>
                        <a:pt x="4235" y="42474"/>
                        <a:pt x="6477" y="47954"/>
                        <a:pt x="82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2" name="Freeform 4627">
                  <a:extLst>
                    <a:ext uri="{FF2B5EF4-FFF2-40B4-BE49-F238E27FC236}">
                      <a16:creationId xmlns:a16="http://schemas.microsoft.com/office/drawing/2014/main" id="{DFACDABE-48AF-0934-7B1D-851D0B98BC4C}"/>
                    </a:ext>
                  </a:extLst>
                </p:cNvPr>
                <p:cNvSpPr/>
                <p:nvPr/>
              </p:nvSpPr>
              <p:spPr>
                <a:xfrm>
                  <a:off x="6630327" y="5795990"/>
                  <a:ext cx="26286" cy="26438"/>
                </a:xfrm>
                <a:custGeom>
                  <a:avLst/>
                  <a:gdLst>
                    <a:gd name="connsiteX0" fmla="*/ 127 w 26286"/>
                    <a:gd name="connsiteY0" fmla="*/ 15074 h 26438"/>
                    <a:gd name="connsiteX1" fmla="*/ 11213 w 26286"/>
                    <a:gd name="connsiteY1" fmla="*/ 127 h 26438"/>
                    <a:gd name="connsiteX2" fmla="*/ 26159 w 26286"/>
                    <a:gd name="connsiteY2" fmla="*/ 11337 h 26438"/>
                    <a:gd name="connsiteX3" fmla="*/ 15074 w 26286"/>
                    <a:gd name="connsiteY3" fmla="*/ 26284 h 26438"/>
                    <a:gd name="connsiteX4" fmla="*/ 127 w 26286"/>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438">
                      <a:moveTo>
                        <a:pt x="127" y="15074"/>
                      </a:moveTo>
                      <a:cubicBezTo>
                        <a:pt x="-870" y="7849"/>
                        <a:pt x="4113" y="1123"/>
                        <a:pt x="11213" y="127"/>
                      </a:cubicBezTo>
                      <a:cubicBezTo>
                        <a:pt x="18437" y="-870"/>
                        <a:pt x="25163" y="4113"/>
                        <a:pt x="26159" y="11337"/>
                      </a:cubicBezTo>
                      <a:cubicBezTo>
                        <a:pt x="27156" y="18561"/>
                        <a:pt x="22174" y="25287"/>
                        <a:pt x="15074" y="26284"/>
                      </a:cubicBezTo>
                      <a:cubicBezTo>
                        <a:pt x="7849" y="27405"/>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3" name="Graphic 2987">
                <a:extLst>
                  <a:ext uri="{FF2B5EF4-FFF2-40B4-BE49-F238E27FC236}">
                    <a16:creationId xmlns:a16="http://schemas.microsoft.com/office/drawing/2014/main" id="{06787EDF-DAB1-496C-F1C7-9869BC2BC496}"/>
                  </a:ext>
                </a:extLst>
              </p:cNvPr>
              <p:cNvGrpSpPr/>
              <p:nvPr/>
            </p:nvGrpSpPr>
            <p:grpSpPr>
              <a:xfrm>
                <a:off x="6642036" y="5670657"/>
                <a:ext cx="43876" cy="147660"/>
                <a:chOff x="6642036" y="5670657"/>
                <a:chExt cx="43876" cy="147660"/>
              </a:xfrm>
              <a:grpFill/>
            </p:grpSpPr>
            <p:sp>
              <p:nvSpPr>
                <p:cNvPr id="4841" name="Freeform 4629">
                  <a:extLst>
                    <a:ext uri="{FF2B5EF4-FFF2-40B4-BE49-F238E27FC236}">
                      <a16:creationId xmlns:a16="http://schemas.microsoft.com/office/drawing/2014/main" id="{0DD076B0-7BAF-9B6A-53CB-213029418F13}"/>
                    </a:ext>
                  </a:extLst>
                </p:cNvPr>
                <p:cNvSpPr/>
                <p:nvPr/>
              </p:nvSpPr>
              <p:spPr>
                <a:xfrm>
                  <a:off x="6652079" y="5691363"/>
                  <a:ext cx="7935" cy="51691"/>
                </a:xfrm>
                <a:custGeom>
                  <a:avLst/>
                  <a:gdLst>
                    <a:gd name="connsiteX0" fmla="*/ 670 w 7935"/>
                    <a:gd name="connsiteY0" fmla="*/ 0 h 51691"/>
                    <a:gd name="connsiteX1" fmla="*/ 1293 w 7935"/>
                    <a:gd name="connsiteY1" fmla="*/ 18808 h 51691"/>
                    <a:gd name="connsiteX2" fmla="*/ 7023 w 7935"/>
                    <a:gd name="connsiteY2" fmla="*/ 35250 h 51691"/>
                    <a:gd name="connsiteX3" fmla="*/ 7147 w 79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5" h="51690">
                      <a:moveTo>
                        <a:pt x="670" y="0"/>
                      </a:moveTo>
                      <a:cubicBezTo>
                        <a:pt x="-700" y="8346"/>
                        <a:pt x="297" y="14573"/>
                        <a:pt x="1293" y="18808"/>
                      </a:cubicBezTo>
                      <a:cubicBezTo>
                        <a:pt x="3037" y="25534"/>
                        <a:pt x="5528" y="28274"/>
                        <a:pt x="7023" y="35250"/>
                      </a:cubicBezTo>
                      <a:cubicBezTo>
                        <a:pt x="8517" y="41976"/>
                        <a:pt x="7895" y="47830"/>
                        <a:pt x="71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2" name="Freeform 4630">
                  <a:extLst>
                    <a:ext uri="{FF2B5EF4-FFF2-40B4-BE49-F238E27FC236}">
                      <a16:creationId xmlns:a16="http://schemas.microsoft.com/office/drawing/2014/main" id="{9FB7C8D1-04B7-83D2-35E7-9F67D02E7626}"/>
                    </a:ext>
                  </a:extLst>
                </p:cNvPr>
                <p:cNvSpPr/>
                <p:nvPr/>
              </p:nvSpPr>
              <p:spPr>
                <a:xfrm>
                  <a:off x="6658977" y="5685384"/>
                  <a:ext cx="8096" cy="51567"/>
                </a:xfrm>
                <a:custGeom>
                  <a:avLst/>
                  <a:gdLst>
                    <a:gd name="connsiteX0" fmla="*/ 8097 w 8096"/>
                    <a:gd name="connsiteY0" fmla="*/ 51567 h 51567"/>
                    <a:gd name="connsiteX1" fmla="*/ 3488 w 8096"/>
                    <a:gd name="connsiteY1" fmla="*/ 33382 h 51567"/>
                    <a:gd name="connsiteX2" fmla="*/ 4484 w 8096"/>
                    <a:gd name="connsiteY2" fmla="*/ 15943 h 51567"/>
                    <a:gd name="connsiteX3" fmla="*/ 0 w 8096"/>
                    <a:gd name="connsiteY3" fmla="*/ 0 h 51567"/>
                  </a:gdLst>
                  <a:ahLst/>
                  <a:cxnLst>
                    <a:cxn ang="0">
                      <a:pos x="connsiteX0" y="connsiteY0"/>
                    </a:cxn>
                    <a:cxn ang="0">
                      <a:pos x="connsiteX1" y="connsiteY1"/>
                    </a:cxn>
                    <a:cxn ang="0">
                      <a:pos x="connsiteX2" y="connsiteY2"/>
                    </a:cxn>
                    <a:cxn ang="0">
                      <a:pos x="connsiteX3" y="connsiteY3"/>
                    </a:cxn>
                  </a:cxnLst>
                  <a:rect l="l" t="t" r="r" b="b"/>
                  <a:pathLst>
                    <a:path w="8096" h="51567">
                      <a:moveTo>
                        <a:pt x="8097" y="51567"/>
                      </a:moveTo>
                      <a:cubicBezTo>
                        <a:pt x="4484" y="43969"/>
                        <a:pt x="3613" y="37617"/>
                        <a:pt x="3488" y="33382"/>
                      </a:cubicBezTo>
                      <a:cubicBezTo>
                        <a:pt x="3239" y="26406"/>
                        <a:pt x="4983" y="23043"/>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3" name="Freeform 4631">
                  <a:extLst>
                    <a:ext uri="{FF2B5EF4-FFF2-40B4-BE49-F238E27FC236}">
                      <a16:creationId xmlns:a16="http://schemas.microsoft.com/office/drawing/2014/main" id="{91F8956F-961E-2A71-3AB9-085F7EC7F207}"/>
                    </a:ext>
                  </a:extLst>
                </p:cNvPr>
                <p:cNvSpPr/>
                <p:nvPr/>
              </p:nvSpPr>
              <p:spPr>
                <a:xfrm>
                  <a:off x="6642036" y="5670657"/>
                  <a:ext cx="26659" cy="26438"/>
                </a:xfrm>
                <a:custGeom>
                  <a:avLst/>
                  <a:gdLst>
                    <a:gd name="connsiteX0" fmla="*/ 26533 w 26659"/>
                    <a:gd name="connsiteY0" fmla="*/ 11365 h 26438"/>
                    <a:gd name="connsiteX1" fmla="*/ 15198 w 26659"/>
                    <a:gd name="connsiteY1" fmla="*/ 26312 h 26438"/>
                    <a:gd name="connsiteX2" fmla="*/ 127 w 26659"/>
                    <a:gd name="connsiteY2" fmla="*/ 15101 h 26438"/>
                    <a:gd name="connsiteX3" fmla="*/ 11461 w 26659"/>
                    <a:gd name="connsiteY3" fmla="*/ 154 h 26438"/>
                    <a:gd name="connsiteX4" fmla="*/ 26533 w 26659"/>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38">
                      <a:moveTo>
                        <a:pt x="26533" y="11365"/>
                      </a:moveTo>
                      <a:cubicBezTo>
                        <a:pt x="27530" y="18589"/>
                        <a:pt x="22547" y="25315"/>
                        <a:pt x="15198" y="26312"/>
                      </a:cubicBezTo>
                      <a:cubicBezTo>
                        <a:pt x="7849" y="27308"/>
                        <a:pt x="1247" y="22326"/>
                        <a:pt x="127" y="15101"/>
                      </a:cubicBezTo>
                      <a:cubicBezTo>
                        <a:pt x="-870" y="7877"/>
                        <a:pt x="4113" y="1151"/>
                        <a:pt x="11461" y="154"/>
                      </a:cubicBezTo>
                      <a:cubicBezTo>
                        <a:pt x="18810" y="-967"/>
                        <a:pt x="25536" y="4140"/>
                        <a:pt x="26533"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4" name="Freeform 4632">
                  <a:extLst>
                    <a:ext uri="{FF2B5EF4-FFF2-40B4-BE49-F238E27FC236}">
                      <a16:creationId xmlns:a16="http://schemas.microsoft.com/office/drawing/2014/main" id="{8E04584E-D562-3259-6662-C5B698891D61}"/>
                    </a:ext>
                  </a:extLst>
                </p:cNvPr>
                <p:cNvSpPr/>
                <p:nvPr/>
              </p:nvSpPr>
              <p:spPr>
                <a:xfrm>
                  <a:off x="6667905" y="5745795"/>
                  <a:ext cx="7935" cy="51816"/>
                </a:xfrm>
                <a:custGeom>
                  <a:avLst/>
                  <a:gdLst>
                    <a:gd name="connsiteX0" fmla="*/ 7265 w 7935"/>
                    <a:gd name="connsiteY0" fmla="*/ 51816 h 51816"/>
                    <a:gd name="connsiteX1" fmla="*/ 6642 w 7935"/>
                    <a:gd name="connsiteY1" fmla="*/ 33008 h 51816"/>
                    <a:gd name="connsiteX2" fmla="*/ 913 w 7935"/>
                    <a:gd name="connsiteY2" fmla="*/ 16566 h 51816"/>
                    <a:gd name="connsiteX3" fmla="*/ 788 w 7935"/>
                    <a:gd name="connsiteY3" fmla="*/ 0 h 51816"/>
                  </a:gdLst>
                  <a:ahLst/>
                  <a:cxnLst>
                    <a:cxn ang="0">
                      <a:pos x="connsiteX0" y="connsiteY0"/>
                    </a:cxn>
                    <a:cxn ang="0">
                      <a:pos x="connsiteX1" y="connsiteY1"/>
                    </a:cxn>
                    <a:cxn ang="0">
                      <a:pos x="connsiteX2" y="connsiteY2"/>
                    </a:cxn>
                    <a:cxn ang="0">
                      <a:pos x="connsiteX3" y="connsiteY3"/>
                    </a:cxn>
                  </a:cxnLst>
                  <a:rect l="l" t="t" r="r" b="b"/>
                  <a:pathLst>
                    <a:path w="7935" h="51816">
                      <a:moveTo>
                        <a:pt x="7265" y="51816"/>
                      </a:moveTo>
                      <a:cubicBezTo>
                        <a:pt x="8636" y="43471"/>
                        <a:pt x="7639" y="37243"/>
                        <a:pt x="6642" y="33008"/>
                      </a:cubicBezTo>
                      <a:cubicBezTo>
                        <a:pt x="4898" y="26282"/>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5" name="Freeform 4633">
                  <a:extLst>
                    <a:ext uri="{FF2B5EF4-FFF2-40B4-BE49-F238E27FC236}">
                      <a16:creationId xmlns:a16="http://schemas.microsoft.com/office/drawing/2014/main" id="{856B5F8E-FAAE-6F9F-137A-8912046273B1}"/>
                    </a:ext>
                  </a:extLst>
                </p:cNvPr>
                <p:cNvSpPr/>
                <p:nvPr/>
              </p:nvSpPr>
              <p:spPr>
                <a:xfrm>
                  <a:off x="6660971" y="5752023"/>
                  <a:ext cx="8095" cy="51567"/>
                </a:xfrm>
                <a:custGeom>
                  <a:avLst/>
                  <a:gdLst>
                    <a:gd name="connsiteX0" fmla="*/ 0 w 8095"/>
                    <a:gd name="connsiteY0" fmla="*/ 0 h 51567"/>
                    <a:gd name="connsiteX1" fmla="*/ 4609 w 8095"/>
                    <a:gd name="connsiteY1" fmla="*/ 18185 h 51567"/>
                    <a:gd name="connsiteX2" fmla="*/ 3612 w 8095"/>
                    <a:gd name="connsiteY2" fmla="*/ 35624 h 51567"/>
                    <a:gd name="connsiteX3" fmla="*/ 8096 w 809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095" h="51567">
                      <a:moveTo>
                        <a:pt x="0" y="0"/>
                      </a:moveTo>
                      <a:cubicBezTo>
                        <a:pt x="3612" y="7598"/>
                        <a:pt x="4484" y="13950"/>
                        <a:pt x="4609" y="18185"/>
                      </a:cubicBezTo>
                      <a:cubicBezTo>
                        <a:pt x="4857" y="25161"/>
                        <a:pt x="3114" y="28524"/>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6" name="Freeform 4634">
                  <a:extLst>
                    <a:ext uri="{FF2B5EF4-FFF2-40B4-BE49-F238E27FC236}">
                      <a16:creationId xmlns:a16="http://schemas.microsoft.com/office/drawing/2014/main" id="{E6F9A615-CA3D-59F8-23F0-0067A3DA964C}"/>
                    </a:ext>
                  </a:extLst>
                </p:cNvPr>
                <p:cNvSpPr/>
                <p:nvPr/>
              </p:nvSpPr>
              <p:spPr>
                <a:xfrm>
                  <a:off x="6659473" y="5791879"/>
                  <a:ext cx="26438" cy="26438"/>
                </a:xfrm>
                <a:custGeom>
                  <a:avLst/>
                  <a:gdLst>
                    <a:gd name="connsiteX0" fmla="*/ 127 w 26438"/>
                    <a:gd name="connsiteY0" fmla="*/ 15074 h 26438"/>
                    <a:gd name="connsiteX1" fmla="*/ 11337 w 26438"/>
                    <a:gd name="connsiteY1" fmla="*/ 127 h 26438"/>
                    <a:gd name="connsiteX2" fmla="*/ 26284 w 26438"/>
                    <a:gd name="connsiteY2" fmla="*/ 11337 h 26438"/>
                    <a:gd name="connsiteX3" fmla="*/ 15074 w 26438"/>
                    <a:gd name="connsiteY3" fmla="*/ 26284 h 26438"/>
                    <a:gd name="connsiteX4" fmla="*/ 127 w 26438"/>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438">
                      <a:moveTo>
                        <a:pt x="127" y="15074"/>
                      </a:moveTo>
                      <a:cubicBezTo>
                        <a:pt x="-869" y="7850"/>
                        <a:pt x="4113" y="1123"/>
                        <a:pt x="11337" y="127"/>
                      </a:cubicBezTo>
                      <a:cubicBezTo>
                        <a:pt x="18562" y="-870"/>
                        <a:pt x="25163" y="4113"/>
                        <a:pt x="26284" y="11337"/>
                      </a:cubicBezTo>
                      <a:cubicBezTo>
                        <a:pt x="27405" y="18561"/>
                        <a:pt x="22298" y="25288"/>
                        <a:pt x="15074" y="26284"/>
                      </a:cubicBezTo>
                      <a:cubicBezTo>
                        <a:pt x="7850" y="27405"/>
                        <a:pt x="1123"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4" name="Graphic 2987">
                <a:extLst>
                  <a:ext uri="{FF2B5EF4-FFF2-40B4-BE49-F238E27FC236}">
                    <a16:creationId xmlns:a16="http://schemas.microsoft.com/office/drawing/2014/main" id="{67516658-DE65-2066-A9E2-DEA1260D859B}"/>
                  </a:ext>
                </a:extLst>
              </p:cNvPr>
              <p:cNvGrpSpPr/>
              <p:nvPr/>
            </p:nvGrpSpPr>
            <p:grpSpPr>
              <a:xfrm>
                <a:off x="6671683" y="5666450"/>
                <a:ext cx="43223" cy="147826"/>
                <a:chOff x="6671683" y="5666450"/>
                <a:chExt cx="43223" cy="147826"/>
              </a:xfrm>
              <a:grpFill/>
            </p:grpSpPr>
            <p:sp>
              <p:nvSpPr>
                <p:cNvPr id="4835" name="Freeform 4636">
                  <a:extLst>
                    <a:ext uri="{FF2B5EF4-FFF2-40B4-BE49-F238E27FC236}">
                      <a16:creationId xmlns:a16="http://schemas.microsoft.com/office/drawing/2014/main" id="{81B63605-5DAB-E115-29F0-EBE5B652911F}"/>
                    </a:ext>
                  </a:extLst>
                </p:cNvPr>
                <p:cNvSpPr/>
                <p:nvPr/>
              </p:nvSpPr>
              <p:spPr>
                <a:xfrm>
                  <a:off x="6681569" y="5687253"/>
                  <a:ext cx="7966" cy="51815"/>
                </a:xfrm>
                <a:custGeom>
                  <a:avLst/>
                  <a:gdLst>
                    <a:gd name="connsiteX0" fmla="*/ 701 w 7966"/>
                    <a:gd name="connsiteY0" fmla="*/ 0 h 51815"/>
                    <a:gd name="connsiteX1" fmla="*/ 1324 w 7966"/>
                    <a:gd name="connsiteY1" fmla="*/ 18808 h 51815"/>
                    <a:gd name="connsiteX2" fmla="*/ 7054 w 7966"/>
                    <a:gd name="connsiteY2" fmla="*/ 35250 h 51815"/>
                    <a:gd name="connsiteX3" fmla="*/ 7178 w 7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966" h="51815">
                      <a:moveTo>
                        <a:pt x="701" y="0"/>
                      </a:moveTo>
                      <a:cubicBezTo>
                        <a:pt x="-669" y="8345"/>
                        <a:pt x="203" y="14573"/>
                        <a:pt x="1324" y="18808"/>
                      </a:cubicBezTo>
                      <a:cubicBezTo>
                        <a:pt x="3068" y="25534"/>
                        <a:pt x="5559" y="28274"/>
                        <a:pt x="7054" y="35250"/>
                      </a:cubicBezTo>
                      <a:cubicBezTo>
                        <a:pt x="8548" y="41976"/>
                        <a:pt x="7926"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6" name="Freeform 4637">
                  <a:extLst>
                    <a:ext uri="{FF2B5EF4-FFF2-40B4-BE49-F238E27FC236}">
                      <a16:creationId xmlns:a16="http://schemas.microsoft.com/office/drawing/2014/main" id="{4438C259-1ACD-575F-9EFE-FF04078558B7}"/>
                    </a:ext>
                  </a:extLst>
                </p:cNvPr>
                <p:cNvSpPr/>
                <p:nvPr/>
              </p:nvSpPr>
              <p:spPr>
                <a:xfrm>
                  <a:off x="6688497" y="5681274"/>
                  <a:ext cx="7847" cy="51566"/>
                </a:xfrm>
                <a:custGeom>
                  <a:avLst/>
                  <a:gdLst>
                    <a:gd name="connsiteX0" fmla="*/ 7847 w 7847"/>
                    <a:gd name="connsiteY0" fmla="*/ 51567 h 51566"/>
                    <a:gd name="connsiteX1" fmla="*/ 3363 w 7847"/>
                    <a:gd name="connsiteY1" fmla="*/ 33381 h 51566"/>
                    <a:gd name="connsiteX2" fmla="*/ 4360 w 7847"/>
                    <a:gd name="connsiteY2" fmla="*/ 15943 h 51566"/>
                    <a:gd name="connsiteX3" fmla="*/ 0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51567"/>
                      </a:moveTo>
                      <a:cubicBezTo>
                        <a:pt x="4235" y="43969"/>
                        <a:pt x="3488" y="37616"/>
                        <a:pt x="3363" y="33381"/>
                      </a:cubicBezTo>
                      <a:cubicBezTo>
                        <a:pt x="3114"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7" name="Freeform 4638">
                  <a:extLst>
                    <a:ext uri="{FF2B5EF4-FFF2-40B4-BE49-F238E27FC236}">
                      <a16:creationId xmlns:a16="http://schemas.microsoft.com/office/drawing/2014/main" id="{B6E0BD2B-EF9B-0626-0947-4B6BE50D6C68}"/>
                    </a:ext>
                  </a:extLst>
                </p:cNvPr>
                <p:cNvSpPr/>
                <p:nvPr/>
              </p:nvSpPr>
              <p:spPr>
                <a:xfrm>
                  <a:off x="6671683" y="5666450"/>
                  <a:ext cx="26530" cy="26410"/>
                </a:xfrm>
                <a:custGeom>
                  <a:avLst/>
                  <a:gdLst>
                    <a:gd name="connsiteX0" fmla="*/ 26406 w 26530"/>
                    <a:gd name="connsiteY0" fmla="*/ 11337 h 26410"/>
                    <a:gd name="connsiteX1" fmla="*/ 15071 w 26530"/>
                    <a:gd name="connsiteY1" fmla="*/ 26284 h 26410"/>
                    <a:gd name="connsiteX2" fmla="*/ 124 w 26530"/>
                    <a:gd name="connsiteY2" fmla="*/ 15074 h 26410"/>
                    <a:gd name="connsiteX3" fmla="*/ 11459 w 26530"/>
                    <a:gd name="connsiteY3" fmla="*/ 127 h 26410"/>
                    <a:gd name="connsiteX4" fmla="*/ 26406 w 26530"/>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10">
                      <a:moveTo>
                        <a:pt x="26406" y="11337"/>
                      </a:moveTo>
                      <a:cubicBezTo>
                        <a:pt x="27402" y="18561"/>
                        <a:pt x="22295" y="25287"/>
                        <a:pt x="15071" y="26284"/>
                      </a:cubicBezTo>
                      <a:cubicBezTo>
                        <a:pt x="7847" y="27280"/>
                        <a:pt x="1120" y="22298"/>
                        <a:pt x="124" y="15074"/>
                      </a:cubicBezTo>
                      <a:cubicBezTo>
                        <a:pt x="-872" y="7849"/>
                        <a:pt x="4234" y="1123"/>
                        <a:pt x="11459" y="127"/>
                      </a:cubicBezTo>
                      <a:cubicBezTo>
                        <a:pt x="18683" y="-870"/>
                        <a:pt x="25284" y="4112"/>
                        <a:pt x="26406"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8" name="Freeform 4639">
                  <a:extLst>
                    <a:ext uri="{FF2B5EF4-FFF2-40B4-BE49-F238E27FC236}">
                      <a16:creationId xmlns:a16="http://schemas.microsoft.com/office/drawing/2014/main" id="{3807EBCC-A00C-52F9-D5BC-CAD01C8209DC}"/>
                    </a:ext>
                  </a:extLst>
                </p:cNvPr>
                <p:cNvSpPr/>
                <p:nvPr/>
              </p:nvSpPr>
              <p:spPr>
                <a:xfrm>
                  <a:off x="6697051" y="5741560"/>
                  <a:ext cx="7966" cy="51816"/>
                </a:xfrm>
                <a:custGeom>
                  <a:avLst/>
                  <a:gdLst>
                    <a:gd name="connsiteX0" fmla="*/ 7266 w 7966"/>
                    <a:gd name="connsiteY0" fmla="*/ 51816 h 51816"/>
                    <a:gd name="connsiteX1" fmla="*/ 6643 w 7966"/>
                    <a:gd name="connsiteY1" fmla="*/ 33008 h 51816"/>
                    <a:gd name="connsiteX2" fmla="*/ 913 w 7966"/>
                    <a:gd name="connsiteY2" fmla="*/ 16566 h 51816"/>
                    <a:gd name="connsiteX3" fmla="*/ 78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266" y="51816"/>
                      </a:moveTo>
                      <a:cubicBezTo>
                        <a:pt x="8636" y="43471"/>
                        <a:pt x="7764" y="37243"/>
                        <a:pt x="6643" y="33008"/>
                      </a:cubicBezTo>
                      <a:cubicBezTo>
                        <a:pt x="4899" y="26281"/>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9" name="Freeform 4640">
                  <a:extLst>
                    <a:ext uri="{FF2B5EF4-FFF2-40B4-BE49-F238E27FC236}">
                      <a16:creationId xmlns:a16="http://schemas.microsoft.com/office/drawing/2014/main" id="{2CE69AD1-8546-B176-2EC4-C403D84805A8}"/>
                    </a:ext>
                  </a:extLst>
                </p:cNvPr>
                <p:cNvSpPr/>
                <p:nvPr/>
              </p:nvSpPr>
              <p:spPr>
                <a:xfrm>
                  <a:off x="6690241" y="5747788"/>
                  <a:ext cx="7847" cy="51567"/>
                </a:xfrm>
                <a:custGeom>
                  <a:avLst/>
                  <a:gdLst>
                    <a:gd name="connsiteX0" fmla="*/ 0 w 7847"/>
                    <a:gd name="connsiteY0" fmla="*/ 0 h 51567"/>
                    <a:gd name="connsiteX1" fmla="*/ 4484 w 7847"/>
                    <a:gd name="connsiteY1" fmla="*/ 18185 h 51567"/>
                    <a:gd name="connsiteX2" fmla="*/ 3488 w 7847"/>
                    <a:gd name="connsiteY2" fmla="*/ 35623 h 51567"/>
                    <a:gd name="connsiteX3" fmla="*/ 7847 w 784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847" h="51567">
                      <a:moveTo>
                        <a:pt x="0" y="0"/>
                      </a:moveTo>
                      <a:cubicBezTo>
                        <a:pt x="3612" y="7598"/>
                        <a:pt x="4359" y="13950"/>
                        <a:pt x="4484" y="18185"/>
                      </a:cubicBezTo>
                      <a:cubicBezTo>
                        <a:pt x="4733" y="25161"/>
                        <a:pt x="2989" y="28524"/>
                        <a:pt x="3488" y="35623"/>
                      </a:cubicBezTo>
                      <a:cubicBezTo>
                        <a:pt x="3986" y="42474"/>
                        <a:pt x="6103" y="47955"/>
                        <a:pt x="784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0" name="Freeform 4641">
                  <a:extLst>
                    <a:ext uri="{FF2B5EF4-FFF2-40B4-BE49-F238E27FC236}">
                      <a16:creationId xmlns:a16="http://schemas.microsoft.com/office/drawing/2014/main" id="{E743ED06-C0E0-16C4-9ED9-ADA3D0E22D67}"/>
                    </a:ext>
                  </a:extLst>
                </p:cNvPr>
                <p:cNvSpPr/>
                <p:nvPr/>
              </p:nvSpPr>
              <p:spPr>
                <a:xfrm>
                  <a:off x="6688620" y="5787769"/>
                  <a:ext cx="26286" cy="26507"/>
                </a:xfrm>
                <a:custGeom>
                  <a:avLst/>
                  <a:gdLst>
                    <a:gd name="connsiteX0" fmla="*/ 127 w 26286"/>
                    <a:gd name="connsiteY0" fmla="*/ 15074 h 26507"/>
                    <a:gd name="connsiteX1" fmla="*/ 11337 w 26286"/>
                    <a:gd name="connsiteY1" fmla="*/ 127 h 26507"/>
                    <a:gd name="connsiteX2" fmla="*/ 26160 w 26286"/>
                    <a:gd name="connsiteY2" fmla="*/ 11461 h 26507"/>
                    <a:gd name="connsiteX3" fmla="*/ 14949 w 26286"/>
                    <a:gd name="connsiteY3" fmla="*/ 26408 h 26507"/>
                    <a:gd name="connsiteX4" fmla="*/ 127 w 26286"/>
                    <a:gd name="connsiteY4" fmla="*/ 15074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06">
                      <a:moveTo>
                        <a:pt x="127" y="15074"/>
                      </a:moveTo>
                      <a:cubicBezTo>
                        <a:pt x="-870" y="7849"/>
                        <a:pt x="4113" y="1123"/>
                        <a:pt x="11337" y="127"/>
                      </a:cubicBezTo>
                      <a:cubicBezTo>
                        <a:pt x="18561" y="-870"/>
                        <a:pt x="25163" y="4113"/>
                        <a:pt x="26160" y="11461"/>
                      </a:cubicBezTo>
                      <a:cubicBezTo>
                        <a:pt x="27156" y="18686"/>
                        <a:pt x="22174" y="25412"/>
                        <a:pt x="14949" y="26408"/>
                      </a:cubicBezTo>
                      <a:cubicBezTo>
                        <a:pt x="7725" y="27280"/>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5" name="Graphic 2987">
                <a:extLst>
                  <a:ext uri="{FF2B5EF4-FFF2-40B4-BE49-F238E27FC236}">
                    <a16:creationId xmlns:a16="http://schemas.microsoft.com/office/drawing/2014/main" id="{8CA82B8A-4B25-B122-9370-DB18011F8F80}"/>
                  </a:ext>
                </a:extLst>
              </p:cNvPr>
              <p:cNvGrpSpPr/>
              <p:nvPr/>
            </p:nvGrpSpPr>
            <p:grpSpPr>
              <a:xfrm>
                <a:off x="6701078" y="5662311"/>
                <a:ext cx="42971" cy="147757"/>
                <a:chOff x="6701078" y="5662311"/>
                <a:chExt cx="42971" cy="147757"/>
              </a:xfrm>
              <a:grpFill/>
            </p:grpSpPr>
            <p:sp>
              <p:nvSpPr>
                <p:cNvPr id="4829" name="Freeform 4643">
                  <a:extLst>
                    <a:ext uri="{FF2B5EF4-FFF2-40B4-BE49-F238E27FC236}">
                      <a16:creationId xmlns:a16="http://schemas.microsoft.com/office/drawing/2014/main" id="{B94821E4-78D1-F1E8-7E50-E8340876506B}"/>
                    </a:ext>
                  </a:extLst>
                </p:cNvPr>
                <p:cNvSpPr/>
                <p:nvPr/>
              </p:nvSpPr>
              <p:spPr>
                <a:xfrm>
                  <a:off x="6710964" y="5683018"/>
                  <a:ext cx="7915" cy="51816"/>
                </a:xfrm>
                <a:custGeom>
                  <a:avLst/>
                  <a:gdLst>
                    <a:gd name="connsiteX0" fmla="*/ 702 w 7915"/>
                    <a:gd name="connsiteY0" fmla="*/ 0 h 51816"/>
                    <a:gd name="connsiteX1" fmla="*/ 1324 w 7915"/>
                    <a:gd name="connsiteY1" fmla="*/ 18808 h 51816"/>
                    <a:gd name="connsiteX2" fmla="*/ 7053 w 7915"/>
                    <a:gd name="connsiteY2" fmla="*/ 35250 h 51816"/>
                    <a:gd name="connsiteX3" fmla="*/ 717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02" y="0"/>
                      </a:moveTo>
                      <a:cubicBezTo>
                        <a:pt x="-669" y="8346"/>
                        <a:pt x="203" y="14573"/>
                        <a:pt x="1324" y="18808"/>
                      </a:cubicBezTo>
                      <a:cubicBezTo>
                        <a:pt x="3068" y="25535"/>
                        <a:pt x="5559" y="28275"/>
                        <a:pt x="7053" y="35250"/>
                      </a:cubicBezTo>
                      <a:cubicBezTo>
                        <a:pt x="8424" y="41976"/>
                        <a:pt x="7925"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0" name="Freeform 4644">
                  <a:extLst>
                    <a:ext uri="{FF2B5EF4-FFF2-40B4-BE49-F238E27FC236}">
                      <a16:creationId xmlns:a16="http://schemas.microsoft.com/office/drawing/2014/main" id="{64F52D6C-0C96-8DCD-0C78-019C3701E1DB}"/>
                    </a:ext>
                  </a:extLst>
                </p:cNvPr>
                <p:cNvSpPr/>
                <p:nvPr/>
              </p:nvSpPr>
              <p:spPr>
                <a:xfrm>
                  <a:off x="6718018" y="5676915"/>
                  <a:ext cx="7722" cy="51691"/>
                </a:xfrm>
                <a:custGeom>
                  <a:avLst/>
                  <a:gdLst>
                    <a:gd name="connsiteX0" fmla="*/ 7723 w 7722"/>
                    <a:gd name="connsiteY0" fmla="*/ 51691 h 51691"/>
                    <a:gd name="connsiteX1" fmla="*/ 3239 w 7722"/>
                    <a:gd name="connsiteY1" fmla="*/ 33381 h 51691"/>
                    <a:gd name="connsiteX2" fmla="*/ 4360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4"/>
                        <a:pt x="3363" y="37741"/>
                        <a:pt x="3239" y="33381"/>
                      </a:cubicBezTo>
                      <a:cubicBezTo>
                        <a:pt x="3114" y="26406"/>
                        <a:pt x="4733"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1" name="Freeform 4645">
                  <a:extLst>
                    <a:ext uri="{FF2B5EF4-FFF2-40B4-BE49-F238E27FC236}">
                      <a16:creationId xmlns:a16="http://schemas.microsoft.com/office/drawing/2014/main" id="{BE3A7162-33D4-7E10-84CD-0D3A257C3098}"/>
                    </a:ext>
                  </a:extLst>
                </p:cNvPr>
                <p:cNvSpPr/>
                <p:nvPr/>
              </p:nvSpPr>
              <p:spPr>
                <a:xfrm>
                  <a:off x="6701078" y="5662311"/>
                  <a:ext cx="26530" cy="26438"/>
                </a:xfrm>
                <a:custGeom>
                  <a:avLst/>
                  <a:gdLst>
                    <a:gd name="connsiteX0" fmla="*/ 26406 w 26530"/>
                    <a:gd name="connsiteY0" fmla="*/ 11365 h 26438"/>
                    <a:gd name="connsiteX1" fmla="*/ 15071 w 26530"/>
                    <a:gd name="connsiteY1" fmla="*/ 26312 h 26438"/>
                    <a:gd name="connsiteX2" fmla="*/ 124 w 26530"/>
                    <a:gd name="connsiteY2" fmla="*/ 15102 h 26438"/>
                    <a:gd name="connsiteX3" fmla="*/ 11459 w 26530"/>
                    <a:gd name="connsiteY3" fmla="*/ 154 h 26438"/>
                    <a:gd name="connsiteX4" fmla="*/ 26406 w 26530"/>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38">
                      <a:moveTo>
                        <a:pt x="26406" y="11365"/>
                      </a:moveTo>
                      <a:cubicBezTo>
                        <a:pt x="27402" y="18589"/>
                        <a:pt x="22296" y="25315"/>
                        <a:pt x="15071" y="26312"/>
                      </a:cubicBezTo>
                      <a:cubicBezTo>
                        <a:pt x="7847" y="27308"/>
                        <a:pt x="1121" y="22326"/>
                        <a:pt x="124" y="15102"/>
                      </a:cubicBezTo>
                      <a:cubicBezTo>
                        <a:pt x="-872" y="7877"/>
                        <a:pt x="4235" y="1151"/>
                        <a:pt x="11459" y="154"/>
                      </a:cubicBezTo>
                      <a:cubicBezTo>
                        <a:pt x="18683" y="-967"/>
                        <a:pt x="25410" y="4140"/>
                        <a:pt x="26406"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2" name="Freeform 4646">
                  <a:extLst>
                    <a:ext uri="{FF2B5EF4-FFF2-40B4-BE49-F238E27FC236}">
                      <a16:creationId xmlns:a16="http://schemas.microsoft.com/office/drawing/2014/main" id="{5F0B8754-E8AD-167C-80BE-21AB037C4608}"/>
                    </a:ext>
                  </a:extLst>
                </p:cNvPr>
                <p:cNvSpPr/>
                <p:nvPr/>
              </p:nvSpPr>
              <p:spPr>
                <a:xfrm>
                  <a:off x="6726373" y="5737450"/>
                  <a:ext cx="7915" cy="51815"/>
                </a:xfrm>
                <a:custGeom>
                  <a:avLst/>
                  <a:gdLst>
                    <a:gd name="connsiteX0" fmla="*/ 7214 w 7915"/>
                    <a:gd name="connsiteY0" fmla="*/ 51816 h 51815"/>
                    <a:gd name="connsiteX1" fmla="*/ 6592 w 7915"/>
                    <a:gd name="connsiteY1" fmla="*/ 33008 h 51815"/>
                    <a:gd name="connsiteX2" fmla="*/ 863 w 7915"/>
                    <a:gd name="connsiteY2" fmla="*/ 16566 h 51815"/>
                    <a:gd name="connsiteX3" fmla="*/ 738 w 7915"/>
                    <a:gd name="connsiteY3" fmla="*/ 0 h 51815"/>
                  </a:gdLst>
                  <a:ahLst/>
                  <a:cxnLst>
                    <a:cxn ang="0">
                      <a:pos x="connsiteX0" y="connsiteY0"/>
                    </a:cxn>
                    <a:cxn ang="0">
                      <a:pos x="connsiteX1" y="connsiteY1"/>
                    </a:cxn>
                    <a:cxn ang="0">
                      <a:pos x="connsiteX2" y="connsiteY2"/>
                    </a:cxn>
                    <a:cxn ang="0">
                      <a:pos x="connsiteX3" y="connsiteY3"/>
                    </a:cxn>
                  </a:cxnLst>
                  <a:rect l="l" t="t" r="r" b="b"/>
                  <a:pathLst>
                    <a:path w="7915" h="51815">
                      <a:moveTo>
                        <a:pt x="7214" y="51816"/>
                      </a:moveTo>
                      <a:cubicBezTo>
                        <a:pt x="8585" y="43471"/>
                        <a:pt x="7713" y="37243"/>
                        <a:pt x="6592" y="33008"/>
                      </a:cubicBezTo>
                      <a:cubicBezTo>
                        <a:pt x="4848" y="26281"/>
                        <a:pt x="2357" y="23541"/>
                        <a:pt x="863" y="16566"/>
                      </a:cubicBezTo>
                      <a:cubicBezTo>
                        <a:pt x="-508" y="9840"/>
                        <a:pt x="-9" y="3986"/>
                        <a:pt x="73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3" name="Freeform 4647">
                  <a:extLst>
                    <a:ext uri="{FF2B5EF4-FFF2-40B4-BE49-F238E27FC236}">
                      <a16:creationId xmlns:a16="http://schemas.microsoft.com/office/drawing/2014/main" id="{8AC20117-5768-9F02-1077-1672DF849849}"/>
                    </a:ext>
                  </a:extLst>
                </p:cNvPr>
                <p:cNvSpPr/>
                <p:nvPr/>
              </p:nvSpPr>
              <p:spPr>
                <a:xfrm>
                  <a:off x="6719512" y="5743678"/>
                  <a:ext cx="7847" cy="51691"/>
                </a:xfrm>
                <a:custGeom>
                  <a:avLst/>
                  <a:gdLst>
                    <a:gd name="connsiteX0" fmla="*/ 0 w 7847"/>
                    <a:gd name="connsiteY0" fmla="*/ 0 h 51691"/>
                    <a:gd name="connsiteX1" fmla="*/ 4485 w 7847"/>
                    <a:gd name="connsiteY1" fmla="*/ 18310 h 51691"/>
                    <a:gd name="connsiteX2" fmla="*/ 3488 w 7847"/>
                    <a:gd name="connsiteY2" fmla="*/ 35748 h 51691"/>
                    <a:gd name="connsiteX3" fmla="*/ 7847 w 7847"/>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847" h="51690">
                      <a:moveTo>
                        <a:pt x="0" y="0"/>
                      </a:moveTo>
                      <a:cubicBezTo>
                        <a:pt x="3488" y="7598"/>
                        <a:pt x="4360" y="13950"/>
                        <a:pt x="4485" y="18310"/>
                      </a:cubicBezTo>
                      <a:cubicBezTo>
                        <a:pt x="4609" y="25285"/>
                        <a:pt x="2990" y="28648"/>
                        <a:pt x="3488" y="35748"/>
                      </a:cubicBezTo>
                      <a:cubicBezTo>
                        <a:pt x="3986" y="42599"/>
                        <a:pt x="6104" y="48079"/>
                        <a:pt x="78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4" name="Freeform 4648">
                  <a:extLst>
                    <a:ext uri="{FF2B5EF4-FFF2-40B4-BE49-F238E27FC236}">
                      <a16:creationId xmlns:a16="http://schemas.microsoft.com/office/drawing/2014/main" id="{0AC05666-3AE5-EF6A-63F4-9B67E537116D}"/>
                    </a:ext>
                  </a:extLst>
                </p:cNvPr>
                <p:cNvSpPr/>
                <p:nvPr/>
              </p:nvSpPr>
              <p:spPr>
                <a:xfrm>
                  <a:off x="6717767" y="5783534"/>
                  <a:ext cx="26283" cy="26535"/>
                </a:xfrm>
                <a:custGeom>
                  <a:avLst/>
                  <a:gdLst>
                    <a:gd name="connsiteX0" fmla="*/ 127 w 26283"/>
                    <a:gd name="connsiteY0" fmla="*/ 15073 h 26535"/>
                    <a:gd name="connsiteX1" fmla="*/ 11337 w 26283"/>
                    <a:gd name="connsiteY1" fmla="*/ 127 h 26535"/>
                    <a:gd name="connsiteX2" fmla="*/ 26159 w 26283"/>
                    <a:gd name="connsiteY2" fmla="*/ 11462 h 26535"/>
                    <a:gd name="connsiteX3" fmla="*/ 14949 w 26283"/>
                    <a:gd name="connsiteY3" fmla="*/ 26408 h 26535"/>
                    <a:gd name="connsiteX4" fmla="*/ 127 w 26283"/>
                    <a:gd name="connsiteY4" fmla="*/ 15073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5">
                      <a:moveTo>
                        <a:pt x="127" y="15073"/>
                      </a:moveTo>
                      <a:cubicBezTo>
                        <a:pt x="-870" y="7849"/>
                        <a:pt x="4112" y="1123"/>
                        <a:pt x="11337" y="127"/>
                      </a:cubicBezTo>
                      <a:cubicBezTo>
                        <a:pt x="18561" y="-870"/>
                        <a:pt x="25162" y="4113"/>
                        <a:pt x="26159" y="11462"/>
                      </a:cubicBezTo>
                      <a:cubicBezTo>
                        <a:pt x="27156" y="18810"/>
                        <a:pt x="22048" y="25412"/>
                        <a:pt x="14949" y="26408"/>
                      </a:cubicBezTo>
                      <a:cubicBezTo>
                        <a:pt x="7725" y="27405"/>
                        <a:pt x="1123" y="22423"/>
                        <a:pt x="127" y="150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6" name="Graphic 2987">
                <a:extLst>
                  <a:ext uri="{FF2B5EF4-FFF2-40B4-BE49-F238E27FC236}">
                    <a16:creationId xmlns:a16="http://schemas.microsoft.com/office/drawing/2014/main" id="{D04C15D7-3C5B-FC6B-A18F-7A1257DC515B}"/>
                  </a:ext>
                </a:extLst>
              </p:cNvPr>
              <p:cNvGrpSpPr/>
              <p:nvPr/>
            </p:nvGrpSpPr>
            <p:grpSpPr>
              <a:xfrm>
                <a:off x="6730474" y="5658259"/>
                <a:ext cx="42847" cy="147819"/>
                <a:chOff x="6730474" y="5658259"/>
                <a:chExt cx="42847" cy="147819"/>
              </a:xfrm>
              <a:grpFill/>
            </p:grpSpPr>
            <p:sp>
              <p:nvSpPr>
                <p:cNvPr id="4823" name="Freeform 4650">
                  <a:extLst>
                    <a:ext uri="{FF2B5EF4-FFF2-40B4-BE49-F238E27FC236}">
                      <a16:creationId xmlns:a16="http://schemas.microsoft.com/office/drawing/2014/main" id="{301147D3-BDA5-B9E0-EA07-49A6F70F98AC}"/>
                    </a:ext>
                  </a:extLst>
                </p:cNvPr>
                <p:cNvSpPr/>
                <p:nvPr/>
              </p:nvSpPr>
              <p:spPr>
                <a:xfrm>
                  <a:off x="6740354" y="5679032"/>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1" y="28399"/>
                        <a:pt x="6935" y="35250"/>
                      </a:cubicBezTo>
                      <a:cubicBezTo>
                        <a:pt x="8305" y="41976"/>
                        <a:pt x="7683"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4" name="Freeform 4651">
                  <a:extLst>
                    <a:ext uri="{FF2B5EF4-FFF2-40B4-BE49-F238E27FC236}">
                      <a16:creationId xmlns:a16="http://schemas.microsoft.com/office/drawing/2014/main" id="{F20D8E85-0F19-A1BC-0880-D909670BAA52}"/>
                    </a:ext>
                  </a:extLst>
                </p:cNvPr>
                <p:cNvSpPr/>
                <p:nvPr/>
              </p:nvSpPr>
              <p:spPr>
                <a:xfrm>
                  <a:off x="6747289" y="5673178"/>
                  <a:ext cx="7722" cy="51566"/>
                </a:xfrm>
                <a:custGeom>
                  <a:avLst/>
                  <a:gdLst>
                    <a:gd name="connsiteX0" fmla="*/ 7723 w 7722"/>
                    <a:gd name="connsiteY0" fmla="*/ 51567 h 51566"/>
                    <a:gd name="connsiteX1" fmla="*/ 3239 w 7722"/>
                    <a:gd name="connsiteY1" fmla="*/ 33257 h 51566"/>
                    <a:gd name="connsiteX2" fmla="*/ 4359 w 7722"/>
                    <a:gd name="connsiteY2" fmla="*/ 15943 h 51566"/>
                    <a:gd name="connsiteX3" fmla="*/ 0 w 7722"/>
                    <a:gd name="connsiteY3" fmla="*/ 0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51567"/>
                      </a:moveTo>
                      <a:cubicBezTo>
                        <a:pt x="4235" y="43969"/>
                        <a:pt x="3363" y="37616"/>
                        <a:pt x="3239" y="33257"/>
                      </a:cubicBezTo>
                      <a:cubicBezTo>
                        <a:pt x="3114" y="26281"/>
                        <a:pt x="4858" y="22919"/>
                        <a:pt x="4359" y="15943"/>
                      </a:cubicBezTo>
                      <a:cubicBezTo>
                        <a:pt x="3986" y="9092"/>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5" name="Freeform 4652">
                  <a:extLst>
                    <a:ext uri="{FF2B5EF4-FFF2-40B4-BE49-F238E27FC236}">
                      <a16:creationId xmlns:a16="http://schemas.microsoft.com/office/drawing/2014/main" id="{03CB2265-C097-9F8B-9CFA-A9518F4D2265}"/>
                    </a:ext>
                  </a:extLst>
                </p:cNvPr>
                <p:cNvSpPr/>
                <p:nvPr/>
              </p:nvSpPr>
              <p:spPr>
                <a:xfrm>
                  <a:off x="6730474" y="5658259"/>
                  <a:ext cx="26654" cy="26500"/>
                </a:xfrm>
                <a:custGeom>
                  <a:avLst/>
                  <a:gdLst>
                    <a:gd name="connsiteX0" fmla="*/ 26530 w 26654"/>
                    <a:gd name="connsiteY0" fmla="*/ 11556 h 26500"/>
                    <a:gd name="connsiteX1" fmla="*/ 15071 w 26654"/>
                    <a:gd name="connsiteY1" fmla="*/ 26378 h 26500"/>
                    <a:gd name="connsiteX2" fmla="*/ 124 w 26654"/>
                    <a:gd name="connsiteY2" fmla="*/ 14919 h 26500"/>
                    <a:gd name="connsiteX3" fmla="*/ 11584 w 26654"/>
                    <a:gd name="connsiteY3" fmla="*/ 97 h 26500"/>
                    <a:gd name="connsiteX4" fmla="*/ 26530 w 26654"/>
                    <a:gd name="connsiteY4" fmla="*/ 11556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99">
                      <a:moveTo>
                        <a:pt x="26530" y="11556"/>
                      </a:moveTo>
                      <a:cubicBezTo>
                        <a:pt x="27527" y="18781"/>
                        <a:pt x="22420" y="25506"/>
                        <a:pt x="15071" y="26378"/>
                      </a:cubicBezTo>
                      <a:cubicBezTo>
                        <a:pt x="7847" y="27375"/>
                        <a:pt x="1121" y="22144"/>
                        <a:pt x="124" y="14919"/>
                      </a:cubicBezTo>
                      <a:cubicBezTo>
                        <a:pt x="-872" y="7695"/>
                        <a:pt x="4235" y="969"/>
                        <a:pt x="11584" y="97"/>
                      </a:cubicBezTo>
                      <a:cubicBezTo>
                        <a:pt x="18808" y="-775"/>
                        <a:pt x="25534" y="4332"/>
                        <a:pt x="26530"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6" name="Freeform 4653">
                  <a:extLst>
                    <a:ext uri="{FF2B5EF4-FFF2-40B4-BE49-F238E27FC236}">
                      <a16:creationId xmlns:a16="http://schemas.microsoft.com/office/drawing/2014/main" id="{55B996BF-694D-20D9-F436-7BED047DE9D9}"/>
                    </a:ext>
                  </a:extLst>
                </p:cNvPr>
                <p:cNvSpPr/>
                <p:nvPr/>
              </p:nvSpPr>
              <p:spPr>
                <a:xfrm>
                  <a:off x="6755820" y="5733713"/>
                  <a:ext cx="7620" cy="51691"/>
                </a:xfrm>
                <a:custGeom>
                  <a:avLst/>
                  <a:gdLst>
                    <a:gd name="connsiteX0" fmla="*/ 6914 w 7620"/>
                    <a:gd name="connsiteY0" fmla="*/ 51691 h 51691"/>
                    <a:gd name="connsiteX1" fmla="*/ 6416 w 7620"/>
                    <a:gd name="connsiteY1" fmla="*/ 32883 h 51691"/>
                    <a:gd name="connsiteX2" fmla="*/ 810 w 7620"/>
                    <a:gd name="connsiteY2" fmla="*/ 16442 h 51691"/>
                    <a:gd name="connsiteX3" fmla="*/ 810 w 7620"/>
                    <a:gd name="connsiteY3" fmla="*/ 0 h 51691"/>
                  </a:gdLst>
                  <a:ahLst/>
                  <a:cxnLst>
                    <a:cxn ang="0">
                      <a:pos x="connsiteX0" y="connsiteY0"/>
                    </a:cxn>
                    <a:cxn ang="0">
                      <a:pos x="connsiteX1" y="connsiteY1"/>
                    </a:cxn>
                    <a:cxn ang="0">
                      <a:pos x="connsiteX2" y="connsiteY2"/>
                    </a:cxn>
                    <a:cxn ang="0">
                      <a:pos x="connsiteX3" y="connsiteY3"/>
                    </a:cxn>
                  </a:cxnLst>
                  <a:rect l="l" t="t" r="r" b="b"/>
                  <a:pathLst>
                    <a:path w="7620" h="51690">
                      <a:moveTo>
                        <a:pt x="6914" y="51691"/>
                      </a:moveTo>
                      <a:cubicBezTo>
                        <a:pt x="8284" y="43346"/>
                        <a:pt x="7412" y="37118"/>
                        <a:pt x="6416" y="32883"/>
                      </a:cubicBezTo>
                      <a:cubicBezTo>
                        <a:pt x="4672" y="26033"/>
                        <a:pt x="2180"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7" name="Freeform 4654">
                  <a:extLst>
                    <a:ext uri="{FF2B5EF4-FFF2-40B4-BE49-F238E27FC236}">
                      <a16:creationId xmlns:a16="http://schemas.microsoft.com/office/drawing/2014/main" id="{439F7C32-4870-2C45-442B-1F33FB8DE51E}"/>
                    </a:ext>
                  </a:extLst>
                </p:cNvPr>
                <p:cNvSpPr/>
                <p:nvPr/>
              </p:nvSpPr>
              <p:spPr>
                <a:xfrm>
                  <a:off x="6748784" y="5739692"/>
                  <a:ext cx="7722" cy="51566"/>
                </a:xfrm>
                <a:custGeom>
                  <a:avLst/>
                  <a:gdLst>
                    <a:gd name="connsiteX0" fmla="*/ 0 w 7722"/>
                    <a:gd name="connsiteY0" fmla="*/ 0 h 51566"/>
                    <a:gd name="connsiteX1" fmla="*/ 4484 w 7722"/>
                    <a:gd name="connsiteY1" fmla="*/ 18310 h 51566"/>
                    <a:gd name="connsiteX2" fmla="*/ 3363 w 7722"/>
                    <a:gd name="connsiteY2" fmla="*/ 35623 h 51566"/>
                    <a:gd name="connsiteX3" fmla="*/ 7723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0" y="0"/>
                      </a:moveTo>
                      <a:cubicBezTo>
                        <a:pt x="3487" y="7598"/>
                        <a:pt x="4359" y="13950"/>
                        <a:pt x="4484" y="18310"/>
                      </a:cubicBezTo>
                      <a:cubicBezTo>
                        <a:pt x="4609" y="25285"/>
                        <a:pt x="2989" y="28648"/>
                        <a:pt x="3363" y="35623"/>
                      </a:cubicBezTo>
                      <a:cubicBezTo>
                        <a:pt x="3737" y="42474"/>
                        <a:pt x="5979" y="47955"/>
                        <a:pt x="772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8" name="Freeform 4655">
                  <a:extLst>
                    <a:ext uri="{FF2B5EF4-FFF2-40B4-BE49-F238E27FC236}">
                      <a16:creationId xmlns:a16="http://schemas.microsoft.com/office/drawing/2014/main" id="{E4D110E2-C36F-61DD-EF3D-BBE43E3CD80D}"/>
                    </a:ext>
                  </a:extLst>
                </p:cNvPr>
                <p:cNvSpPr/>
                <p:nvPr/>
              </p:nvSpPr>
              <p:spPr>
                <a:xfrm>
                  <a:off x="6746915" y="5779578"/>
                  <a:ext cx="26406" cy="26500"/>
                </a:xfrm>
                <a:custGeom>
                  <a:avLst/>
                  <a:gdLst>
                    <a:gd name="connsiteX0" fmla="*/ 124 w 26406"/>
                    <a:gd name="connsiteY0" fmla="*/ 14919 h 26500"/>
                    <a:gd name="connsiteX1" fmla="*/ 11459 w 26406"/>
                    <a:gd name="connsiteY1" fmla="*/ 97 h 26500"/>
                    <a:gd name="connsiteX2" fmla="*/ 26282 w 26406"/>
                    <a:gd name="connsiteY2" fmla="*/ 11556 h 26500"/>
                    <a:gd name="connsiteX3" fmla="*/ 14947 w 26406"/>
                    <a:gd name="connsiteY3" fmla="*/ 26379 h 26500"/>
                    <a:gd name="connsiteX4" fmla="*/ 124 w 26406"/>
                    <a:gd name="connsiteY4" fmla="*/ 149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499">
                      <a:moveTo>
                        <a:pt x="124" y="14919"/>
                      </a:moveTo>
                      <a:cubicBezTo>
                        <a:pt x="-872" y="7695"/>
                        <a:pt x="4235" y="969"/>
                        <a:pt x="11459" y="97"/>
                      </a:cubicBezTo>
                      <a:cubicBezTo>
                        <a:pt x="18683" y="-775"/>
                        <a:pt x="25285" y="4332"/>
                        <a:pt x="26282" y="11556"/>
                      </a:cubicBezTo>
                      <a:cubicBezTo>
                        <a:pt x="27278" y="18781"/>
                        <a:pt x="22171" y="25507"/>
                        <a:pt x="14947" y="26379"/>
                      </a:cubicBezTo>
                      <a:cubicBezTo>
                        <a:pt x="7722" y="27375"/>
                        <a:pt x="1121"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7" name="Graphic 2987">
                <a:extLst>
                  <a:ext uri="{FF2B5EF4-FFF2-40B4-BE49-F238E27FC236}">
                    <a16:creationId xmlns:a16="http://schemas.microsoft.com/office/drawing/2014/main" id="{16987D0E-D86D-BF65-4577-662D5BB51210}"/>
                  </a:ext>
                </a:extLst>
              </p:cNvPr>
              <p:cNvGrpSpPr/>
              <p:nvPr/>
            </p:nvGrpSpPr>
            <p:grpSpPr>
              <a:xfrm>
                <a:off x="6759869" y="5654397"/>
                <a:ext cx="42598" cy="147919"/>
                <a:chOff x="6759869" y="5654397"/>
                <a:chExt cx="42598" cy="147919"/>
              </a:xfrm>
              <a:grpFill/>
            </p:grpSpPr>
            <p:sp>
              <p:nvSpPr>
                <p:cNvPr id="4817" name="Freeform 4657">
                  <a:extLst>
                    <a:ext uri="{FF2B5EF4-FFF2-40B4-BE49-F238E27FC236}">
                      <a16:creationId xmlns:a16="http://schemas.microsoft.com/office/drawing/2014/main" id="{985DBB3F-113F-E595-2752-8844BA61FECF}"/>
                    </a:ext>
                  </a:extLst>
                </p:cNvPr>
                <p:cNvSpPr/>
                <p:nvPr/>
              </p:nvSpPr>
              <p:spPr>
                <a:xfrm>
                  <a:off x="6769874" y="5675171"/>
                  <a:ext cx="7620" cy="51691"/>
                </a:xfrm>
                <a:custGeom>
                  <a:avLst/>
                  <a:gdLst>
                    <a:gd name="connsiteX0" fmla="*/ 707 w 7620"/>
                    <a:gd name="connsiteY0" fmla="*/ 0 h 51691"/>
                    <a:gd name="connsiteX1" fmla="*/ 1205 w 7620"/>
                    <a:gd name="connsiteY1" fmla="*/ 18808 h 51691"/>
                    <a:gd name="connsiteX2" fmla="*/ 6810 w 7620"/>
                    <a:gd name="connsiteY2" fmla="*/ 35250 h 51691"/>
                    <a:gd name="connsiteX3" fmla="*/ 6810 w 762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0" h="51690">
                      <a:moveTo>
                        <a:pt x="707" y="0"/>
                      </a:moveTo>
                      <a:cubicBezTo>
                        <a:pt x="-663" y="8345"/>
                        <a:pt x="209" y="14573"/>
                        <a:pt x="1205" y="18808"/>
                      </a:cubicBezTo>
                      <a:cubicBezTo>
                        <a:pt x="2949" y="25659"/>
                        <a:pt x="5440" y="28399"/>
                        <a:pt x="6810" y="35250"/>
                      </a:cubicBezTo>
                      <a:cubicBezTo>
                        <a:pt x="8180" y="41976"/>
                        <a:pt x="7558" y="47830"/>
                        <a:pt x="6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8" name="Freeform 4658">
                  <a:extLst>
                    <a:ext uri="{FF2B5EF4-FFF2-40B4-BE49-F238E27FC236}">
                      <a16:creationId xmlns:a16="http://schemas.microsoft.com/office/drawing/2014/main" id="{87687592-EA18-2883-66D0-50BEE59AEE05}"/>
                    </a:ext>
                  </a:extLst>
                </p:cNvPr>
                <p:cNvSpPr/>
                <p:nvPr/>
              </p:nvSpPr>
              <p:spPr>
                <a:xfrm>
                  <a:off x="6776934" y="5669317"/>
                  <a:ext cx="7473" cy="51566"/>
                </a:xfrm>
                <a:custGeom>
                  <a:avLst/>
                  <a:gdLst>
                    <a:gd name="connsiteX0" fmla="*/ 7473 w 7473"/>
                    <a:gd name="connsiteY0" fmla="*/ 51567 h 51566"/>
                    <a:gd name="connsiteX1" fmla="*/ 3114 w 7473"/>
                    <a:gd name="connsiteY1" fmla="*/ 33257 h 51566"/>
                    <a:gd name="connsiteX2" fmla="*/ 4235 w 7473"/>
                    <a:gd name="connsiteY2" fmla="*/ 15943 h 51566"/>
                    <a:gd name="connsiteX3" fmla="*/ 0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7473" y="51567"/>
                      </a:moveTo>
                      <a:cubicBezTo>
                        <a:pt x="3986" y="43969"/>
                        <a:pt x="3114" y="37616"/>
                        <a:pt x="3114" y="33257"/>
                      </a:cubicBezTo>
                      <a:cubicBezTo>
                        <a:pt x="2989" y="26281"/>
                        <a:pt x="4733" y="22919"/>
                        <a:pt x="4235" y="15943"/>
                      </a:cubicBezTo>
                      <a:cubicBezTo>
                        <a:pt x="3861" y="9092"/>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9" name="Freeform 4659">
                  <a:extLst>
                    <a:ext uri="{FF2B5EF4-FFF2-40B4-BE49-F238E27FC236}">
                      <a16:creationId xmlns:a16="http://schemas.microsoft.com/office/drawing/2014/main" id="{5EDB6405-BFE8-8178-3D44-11256378EAE2}"/>
                    </a:ext>
                  </a:extLst>
                </p:cNvPr>
                <p:cNvSpPr/>
                <p:nvPr/>
              </p:nvSpPr>
              <p:spPr>
                <a:xfrm>
                  <a:off x="6759869" y="5654397"/>
                  <a:ext cx="26652" cy="26475"/>
                </a:xfrm>
                <a:custGeom>
                  <a:avLst/>
                  <a:gdLst>
                    <a:gd name="connsiteX0" fmla="*/ 26531 w 26652"/>
                    <a:gd name="connsiteY0" fmla="*/ 11556 h 26475"/>
                    <a:gd name="connsiteX1" fmla="*/ 15071 w 26652"/>
                    <a:gd name="connsiteY1" fmla="*/ 26378 h 26475"/>
                    <a:gd name="connsiteX2" fmla="*/ 124 w 26652"/>
                    <a:gd name="connsiteY2" fmla="*/ 14919 h 26475"/>
                    <a:gd name="connsiteX3" fmla="*/ 11584 w 26652"/>
                    <a:gd name="connsiteY3" fmla="*/ 97 h 26475"/>
                    <a:gd name="connsiteX4" fmla="*/ 26531 w 26652"/>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474">
                      <a:moveTo>
                        <a:pt x="26531" y="11556"/>
                      </a:moveTo>
                      <a:cubicBezTo>
                        <a:pt x="27527" y="18781"/>
                        <a:pt x="22296" y="25506"/>
                        <a:pt x="15071" y="26378"/>
                      </a:cubicBezTo>
                      <a:cubicBezTo>
                        <a:pt x="7847" y="27250"/>
                        <a:pt x="1121" y="22144"/>
                        <a:pt x="124" y="14919"/>
                      </a:cubicBezTo>
                      <a:cubicBezTo>
                        <a:pt x="-872" y="7695"/>
                        <a:pt x="4235" y="969"/>
                        <a:pt x="11584" y="97"/>
                      </a:cubicBezTo>
                      <a:cubicBezTo>
                        <a:pt x="18932" y="-775"/>
                        <a:pt x="25659" y="4332"/>
                        <a:pt x="26531"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0" name="Freeform 4660">
                  <a:extLst>
                    <a:ext uri="{FF2B5EF4-FFF2-40B4-BE49-F238E27FC236}">
                      <a16:creationId xmlns:a16="http://schemas.microsoft.com/office/drawing/2014/main" id="{FD150CAB-7EEB-CAFB-501F-2215F6975165}"/>
                    </a:ext>
                  </a:extLst>
                </p:cNvPr>
                <p:cNvSpPr/>
                <p:nvPr/>
              </p:nvSpPr>
              <p:spPr>
                <a:xfrm>
                  <a:off x="6784966" y="5729852"/>
                  <a:ext cx="7621" cy="51691"/>
                </a:xfrm>
                <a:custGeom>
                  <a:avLst/>
                  <a:gdLst>
                    <a:gd name="connsiteX0" fmla="*/ 6914 w 7621"/>
                    <a:gd name="connsiteY0" fmla="*/ 51691 h 51691"/>
                    <a:gd name="connsiteX1" fmla="*/ 6416 w 7621"/>
                    <a:gd name="connsiteY1" fmla="*/ 32883 h 51691"/>
                    <a:gd name="connsiteX2" fmla="*/ 810 w 7621"/>
                    <a:gd name="connsiteY2" fmla="*/ 16442 h 51691"/>
                    <a:gd name="connsiteX3" fmla="*/ 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51691"/>
                      </a:moveTo>
                      <a:cubicBezTo>
                        <a:pt x="8284" y="43346"/>
                        <a:pt x="7412" y="37118"/>
                        <a:pt x="6416" y="32883"/>
                      </a:cubicBezTo>
                      <a:cubicBezTo>
                        <a:pt x="4796" y="26033"/>
                        <a:pt x="2181"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1" name="Freeform 4661">
                  <a:extLst>
                    <a:ext uri="{FF2B5EF4-FFF2-40B4-BE49-F238E27FC236}">
                      <a16:creationId xmlns:a16="http://schemas.microsoft.com/office/drawing/2014/main" id="{C693FFD9-76AC-CC45-E6F0-DB1E2D1F3097}"/>
                    </a:ext>
                  </a:extLst>
                </p:cNvPr>
                <p:cNvSpPr/>
                <p:nvPr/>
              </p:nvSpPr>
              <p:spPr>
                <a:xfrm>
                  <a:off x="6778179" y="5735831"/>
                  <a:ext cx="7473" cy="51566"/>
                </a:xfrm>
                <a:custGeom>
                  <a:avLst/>
                  <a:gdLst>
                    <a:gd name="connsiteX0" fmla="*/ 0 w 7473"/>
                    <a:gd name="connsiteY0" fmla="*/ 0 h 51566"/>
                    <a:gd name="connsiteX1" fmla="*/ 4360 w 7473"/>
                    <a:gd name="connsiteY1" fmla="*/ 18310 h 51566"/>
                    <a:gd name="connsiteX2" fmla="*/ 3239 w 7473"/>
                    <a:gd name="connsiteY2" fmla="*/ 35623 h 51566"/>
                    <a:gd name="connsiteX3" fmla="*/ 7474 w 747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473" h="51566">
                      <a:moveTo>
                        <a:pt x="0" y="0"/>
                      </a:moveTo>
                      <a:cubicBezTo>
                        <a:pt x="3488" y="7598"/>
                        <a:pt x="4360" y="13950"/>
                        <a:pt x="4360" y="18310"/>
                      </a:cubicBezTo>
                      <a:cubicBezTo>
                        <a:pt x="4484" y="25285"/>
                        <a:pt x="2741" y="28648"/>
                        <a:pt x="3239" y="35623"/>
                      </a:cubicBezTo>
                      <a:cubicBezTo>
                        <a:pt x="3612" y="42474"/>
                        <a:pt x="5855" y="48079"/>
                        <a:pt x="7474"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2" name="Freeform 4662">
                  <a:extLst>
                    <a:ext uri="{FF2B5EF4-FFF2-40B4-BE49-F238E27FC236}">
                      <a16:creationId xmlns:a16="http://schemas.microsoft.com/office/drawing/2014/main" id="{7D2FEF8D-4F29-A66F-64F0-1C955A64BAF0}"/>
                    </a:ext>
                  </a:extLst>
                </p:cNvPr>
                <p:cNvSpPr/>
                <p:nvPr/>
              </p:nvSpPr>
              <p:spPr>
                <a:xfrm>
                  <a:off x="6776062" y="5775841"/>
                  <a:ext cx="26405" cy="26475"/>
                </a:xfrm>
                <a:custGeom>
                  <a:avLst/>
                  <a:gdLst>
                    <a:gd name="connsiteX0" fmla="*/ 124 w 26405"/>
                    <a:gd name="connsiteY0" fmla="*/ 14919 h 26475"/>
                    <a:gd name="connsiteX1" fmla="*/ 11459 w 26405"/>
                    <a:gd name="connsiteY1" fmla="*/ 97 h 26475"/>
                    <a:gd name="connsiteX2" fmla="*/ 26281 w 26405"/>
                    <a:gd name="connsiteY2" fmla="*/ 11556 h 26475"/>
                    <a:gd name="connsiteX3" fmla="*/ 14947 w 26405"/>
                    <a:gd name="connsiteY3" fmla="*/ 26378 h 26475"/>
                    <a:gd name="connsiteX4" fmla="*/ 124 w 26405"/>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74">
                      <a:moveTo>
                        <a:pt x="124" y="14919"/>
                      </a:moveTo>
                      <a:cubicBezTo>
                        <a:pt x="-872" y="7695"/>
                        <a:pt x="4234" y="969"/>
                        <a:pt x="11459" y="97"/>
                      </a:cubicBezTo>
                      <a:cubicBezTo>
                        <a:pt x="18683" y="-775"/>
                        <a:pt x="25284" y="4332"/>
                        <a:pt x="26281" y="11556"/>
                      </a:cubicBezTo>
                      <a:cubicBezTo>
                        <a:pt x="27278" y="18781"/>
                        <a:pt x="22171" y="25506"/>
                        <a:pt x="14947" y="26378"/>
                      </a:cubicBezTo>
                      <a:cubicBezTo>
                        <a:pt x="7722" y="27250"/>
                        <a:pt x="1120"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8" name="Graphic 2987">
                <a:extLst>
                  <a:ext uri="{FF2B5EF4-FFF2-40B4-BE49-F238E27FC236}">
                    <a16:creationId xmlns:a16="http://schemas.microsoft.com/office/drawing/2014/main" id="{45B79712-11AE-C067-592A-96E0344635B5}"/>
                  </a:ext>
                </a:extLst>
              </p:cNvPr>
              <p:cNvGrpSpPr/>
              <p:nvPr/>
            </p:nvGrpSpPr>
            <p:grpSpPr>
              <a:xfrm>
                <a:off x="6789392" y="5650633"/>
                <a:ext cx="42320" cy="147946"/>
                <a:chOff x="6789392" y="5650633"/>
                <a:chExt cx="42320" cy="147946"/>
              </a:xfrm>
              <a:grpFill/>
            </p:grpSpPr>
            <p:sp>
              <p:nvSpPr>
                <p:cNvPr id="4811" name="Freeform 4664">
                  <a:extLst>
                    <a:ext uri="{FF2B5EF4-FFF2-40B4-BE49-F238E27FC236}">
                      <a16:creationId xmlns:a16="http://schemas.microsoft.com/office/drawing/2014/main" id="{B1E864F2-9291-3D62-FE37-397C84F6331C}"/>
                    </a:ext>
                  </a:extLst>
                </p:cNvPr>
                <p:cNvSpPr/>
                <p:nvPr/>
              </p:nvSpPr>
              <p:spPr>
                <a:xfrm>
                  <a:off x="6799361" y="5671434"/>
                  <a:ext cx="7653" cy="51691"/>
                </a:xfrm>
                <a:custGeom>
                  <a:avLst/>
                  <a:gdLst>
                    <a:gd name="connsiteX0" fmla="*/ 740 w 7653"/>
                    <a:gd name="connsiteY0" fmla="*/ 0 h 51691"/>
                    <a:gd name="connsiteX1" fmla="*/ 1238 w 7653"/>
                    <a:gd name="connsiteY1" fmla="*/ 18808 h 51691"/>
                    <a:gd name="connsiteX2" fmla="*/ 6844 w 7653"/>
                    <a:gd name="connsiteY2" fmla="*/ 35250 h 51691"/>
                    <a:gd name="connsiteX3" fmla="*/ 6844 w 765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53" h="51690">
                      <a:moveTo>
                        <a:pt x="740" y="0"/>
                      </a:moveTo>
                      <a:cubicBezTo>
                        <a:pt x="-630" y="8346"/>
                        <a:pt x="118" y="14573"/>
                        <a:pt x="1238" y="18808"/>
                      </a:cubicBezTo>
                      <a:cubicBezTo>
                        <a:pt x="2858" y="25659"/>
                        <a:pt x="5474" y="28399"/>
                        <a:pt x="6844" y="35250"/>
                      </a:cubicBezTo>
                      <a:cubicBezTo>
                        <a:pt x="8213" y="41976"/>
                        <a:pt x="7591" y="47830"/>
                        <a:pt x="6844"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2" name="Freeform 4665">
                  <a:extLst>
                    <a:ext uri="{FF2B5EF4-FFF2-40B4-BE49-F238E27FC236}">
                      <a16:creationId xmlns:a16="http://schemas.microsoft.com/office/drawing/2014/main" id="{67DB00A0-6ABC-9EF5-1915-6D2C5DFCE2F9}"/>
                    </a:ext>
                  </a:extLst>
                </p:cNvPr>
                <p:cNvSpPr/>
                <p:nvPr/>
              </p:nvSpPr>
              <p:spPr>
                <a:xfrm>
                  <a:off x="6806454" y="5665456"/>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2"/>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3" name="Freeform 4666">
                  <a:extLst>
                    <a:ext uri="{FF2B5EF4-FFF2-40B4-BE49-F238E27FC236}">
                      <a16:creationId xmlns:a16="http://schemas.microsoft.com/office/drawing/2014/main" id="{30B67C3D-8ECB-6AB0-DDC6-B095197715CA}"/>
                    </a:ext>
                  </a:extLst>
                </p:cNvPr>
                <p:cNvSpPr/>
                <p:nvPr/>
              </p:nvSpPr>
              <p:spPr>
                <a:xfrm>
                  <a:off x="6789392" y="5650633"/>
                  <a:ext cx="26624" cy="26527"/>
                </a:xfrm>
                <a:custGeom>
                  <a:avLst/>
                  <a:gdLst>
                    <a:gd name="connsiteX0" fmla="*/ 26528 w 26624"/>
                    <a:gd name="connsiteY0" fmla="*/ 11584 h 26527"/>
                    <a:gd name="connsiteX1" fmla="*/ 15068 w 26624"/>
                    <a:gd name="connsiteY1" fmla="*/ 26406 h 26527"/>
                    <a:gd name="connsiteX2" fmla="*/ 122 w 26624"/>
                    <a:gd name="connsiteY2" fmla="*/ 14947 h 26527"/>
                    <a:gd name="connsiteX3" fmla="*/ 11581 w 26624"/>
                    <a:gd name="connsiteY3" fmla="*/ 124 h 26527"/>
                    <a:gd name="connsiteX4" fmla="*/ 26528 w 26624"/>
                    <a:gd name="connsiteY4" fmla="*/ 11584 h 26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27">
                      <a:moveTo>
                        <a:pt x="26528" y="11584"/>
                      </a:moveTo>
                      <a:cubicBezTo>
                        <a:pt x="27400" y="18808"/>
                        <a:pt x="22293" y="25534"/>
                        <a:pt x="15068" y="26406"/>
                      </a:cubicBezTo>
                      <a:cubicBezTo>
                        <a:pt x="7844" y="27402"/>
                        <a:pt x="1118" y="22171"/>
                        <a:pt x="122" y="14947"/>
                      </a:cubicBezTo>
                      <a:cubicBezTo>
                        <a:pt x="-875" y="7722"/>
                        <a:pt x="4356" y="996"/>
                        <a:pt x="11581" y="124"/>
                      </a:cubicBezTo>
                      <a:cubicBezTo>
                        <a:pt x="18929" y="-872"/>
                        <a:pt x="25656" y="4235"/>
                        <a:pt x="26528" y="11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4" name="Freeform 4667">
                  <a:extLst>
                    <a:ext uri="{FF2B5EF4-FFF2-40B4-BE49-F238E27FC236}">
                      <a16:creationId xmlns:a16="http://schemas.microsoft.com/office/drawing/2014/main" id="{068B7D2A-2378-1CB8-DF8C-58D019288847}"/>
                    </a:ext>
                  </a:extLst>
                </p:cNvPr>
                <p:cNvSpPr/>
                <p:nvPr/>
              </p:nvSpPr>
              <p:spPr>
                <a:xfrm>
                  <a:off x="6814238" y="5725990"/>
                  <a:ext cx="7653" cy="51816"/>
                </a:xfrm>
                <a:custGeom>
                  <a:avLst/>
                  <a:gdLst>
                    <a:gd name="connsiteX0" fmla="*/ 6914 w 7653"/>
                    <a:gd name="connsiteY0" fmla="*/ 51816 h 51816"/>
                    <a:gd name="connsiteX1" fmla="*/ 6416 w 7653"/>
                    <a:gd name="connsiteY1" fmla="*/ 33008 h 51816"/>
                    <a:gd name="connsiteX2" fmla="*/ 810 w 7653"/>
                    <a:gd name="connsiteY2" fmla="*/ 16442 h 51816"/>
                    <a:gd name="connsiteX3" fmla="*/ 810 w 7653"/>
                    <a:gd name="connsiteY3" fmla="*/ 0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51816"/>
                      </a:moveTo>
                      <a:cubicBezTo>
                        <a:pt x="8284" y="43471"/>
                        <a:pt x="7536" y="37243"/>
                        <a:pt x="6416" y="33008"/>
                      </a:cubicBezTo>
                      <a:cubicBezTo>
                        <a:pt x="4796" y="26157"/>
                        <a:pt x="2305" y="23417"/>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5" name="Freeform 4668">
                  <a:extLst>
                    <a:ext uri="{FF2B5EF4-FFF2-40B4-BE49-F238E27FC236}">
                      <a16:creationId xmlns:a16="http://schemas.microsoft.com/office/drawing/2014/main" id="{AD042E2A-4A95-1D11-ABB9-F3ABA4C77C56}"/>
                    </a:ext>
                  </a:extLst>
                </p:cNvPr>
                <p:cNvSpPr/>
                <p:nvPr/>
              </p:nvSpPr>
              <p:spPr>
                <a:xfrm>
                  <a:off x="6807451" y="5732094"/>
                  <a:ext cx="7473" cy="51567"/>
                </a:xfrm>
                <a:custGeom>
                  <a:avLst/>
                  <a:gdLst>
                    <a:gd name="connsiteX0" fmla="*/ 0 w 7473"/>
                    <a:gd name="connsiteY0" fmla="*/ 0 h 51567"/>
                    <a:gd name="connsiteX1" fmla="*/ 4359 w 7473"/>
                    <a:gd name="connsiteY1" fmla="*/ 18310 h 51567"/>
                    <a:gd name="connsiteX2" fmla="*/ 3238 w 7473"/>
                    <a:gd name="connsiteY2" fmla="*/ 35624 h 51567"/>
                    <a:gd name="connsiteX3" fmla="*/ 7473 w 7473"/>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473" h="51567">
                      <a:moveTo>
                        <a:pt x="0" y="0"/>
                      </a:moveTo>
                      <a:cubicBezTo>
                        <a:pt x="3487" y="7598"/>
                        <a:pt x="4235" y="13950"/>
                        <a:pt x="4359" y="18310"/>
                      </a:cubicBezTo>
                      <a:cubicBezTo>
                        <a:pt x="4484" y="25285"/>
                        <a:pt x="2740" y="28648"/>
                        <a:pt x="3238" y="35624"/>
                      </a:cubicBezTo>
                      <a:cubicBezTo>
                        <a:pt x="3612" y="42474"/>
                        <a:pt x="5729" y="48079"/>
                        <a:pt x="747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6" name="Freeform 4669">
                  <a:extLst>
                    <a:ext uri="{FF2B5EF4-FFF2-40B4-BE49-F238E27FC236}">
                      <a16:creationId xmlns:a16="http://schemas.microsoft.com/office/drawing/2014/main" id="{83D67596-95F8-8B1A-96B5-D4A7B155648E}"/>
                    </a:ext>
                  </a:extLst>
                </p:cNvPr>
                <p:cNvSpPr/>
                <p:nvPr/>
              </p:nvSpPr>
              <p:spPr>
                <a:xfrm>
                  <a:off x="6805333" y="5772104"/>
                  <a:ext cx="26380" cy="26475"/>
                </a:xfrm>
                <a:custGeom>
                  <a:avLst/>
                  <a:gdLst>
                    <a:gd name="connsiteX0" fmla="*/ 124 w 26380"/>
                    <a:gd name="connsiteY0" fmla="*/ 14919 h 26475"/>
                    <a:gd name="connsiteX1" fmla="*/ 11459 w 26380"/>
                    <a:gd name="connsiteY1" fmla="*/ 97 h 26475"/>
                    <a:gd name="connsiteX2" fmla="*/ 26281 w 26380"/>
                    <a:gd name="connsiteY2" fmla="*/ 11556 h 26475"/>
                    <a:gd name="connsiteX3" fmla="*/ 14947 w 26380"/>
                    <a:gd name="connsiteY3" fmla="*/ 26379 h 26475"/>
                    <a:gd name="connsiteX4" fmla="*/ 124 w 2638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4919"/>
                      </a:moveTo>
                      <a:cubicBezTo>
                        <a:pt x="-872" y="7695"/>
                        <a:pt x="4235" y="969"/>
                        <a:pt x="11459" y="97"/>
                      </a:cubicBezTo>
                      <a:cubicBezTo>
                        <a:pt x="18683" y="-775"/>
                        <a:pt x="25285" y="4332"/>
                        <a:pt x="26281" y="11556"/>
                      </a:cubicBezTo>
                      <a:cubicBezTo>
                        <a:pt x="27153" y="18781"/>
                        <a:pt x="22171" y="25507"/>
                        <a:pt x="14947" y="26379"/>
                      </a:cubicBezTo>
                      <a:cubicBezTo>
                        <a:pt x="7597" y="27251"/>
                        <a:pt x="996"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9" name="Graphic 2987">
                <a:extLst>
                  <a:ext uri="{FF2B5EF4-FFF2-40B4-BE49-F238E27FC236}">
                    <a16:creationId xmlns:a16="http://schemas.microsoft.com/office/drawing/2014/main" id="{EF47AC3C-2312-6110-791F-EAD81009D1E3}"/>
                  </a:ext>
                </a:extLst>
              </p:cNvPr>
              <p:cNvGrpSpPr/>
              <p:nvPr/>
            </p:nvGrpSpPr>
            <p:grpSpPr>
              <a:xfrm>
                <a:off x="6818937" y="5646799"/>
                <a:ext cx="41795" cy="147946"/>
                <a:chOff x="6818937" y="5646799"/>
                <a:chExt cx="41795" cy="147946"/>
              </a:xfrm>
              <a:grpFill/>
            </p:grpSpPr>
            <p:sp>
              <p:nvSpPr>
                <p:cNvPr id="4805" name="Freeform 4671">
                  <a:extLst>
                    <a:ext uri="{FF2B5EF4-FFF2-40B4-BE49-F238E27FC236}">
                      <a16:creationId xmlns:a16="http://schemas.microsoft.com/office/drawing/2014/main" id="{6FB0A30D-B35B-BF6C-E44C-B6D0B1F557E9}"/>
                    </a:ext>
                  </a:extLst>
                </p:cNvPr>
                <p:cNvSpPr/>
                <p:nvPr/>
              </p:nvSpPr>
              <p:spPr>
                <a:xfrm>
                  <a:off x="6828695" y="5667573"/>
                  <a:ext cx="7581" cy="51940"/>
                </a:xfrm>
                <a:custGeom>
                  <a:avLst/>
                  <a:gdLst>
                    <a:gd name="connsiteX0" fmla="*/ 802 w 7581"/>
                    <a:gd name="connsiteY0" fmla="*/ 0 h 51940"/>
                    <a:gd name="connsiteX1" fmla="*/ 1176 w 7581"/>
                    <a:gd name="connsiteY1" fmla="*/ 18808 h 51940"/>
                    <a:gd name="connsiteX2" fmla="*/ 6781 w 7581"/>
                    <a:gd name="connsiteY2" fmla="*/ 35374 h 51940"/>
                    <a:gd name="connsiteX3" fmla="*/ 6656 w 758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581" h="51940">
                      <a:moveTo>
                        <a:pt x="802" y="0"/>
                      </a:moveTo>
                      <a:cubicBezTo>
                        <a:pt x="-693" y="8346"/>
                        <a:pt x="179" y="14573"/>
                        <a:pt x="1176" y="18808"/>
                      </a:cubicBezTo>
                      <a:cubicBezTo>
                        <a:pt x="2795" y="25659"/>
                        <a:pt x="5286" y="28399"/>
                        <a:pt x="6781" y="35374"/>
                      </a:cubicBezTo>
                      <a:cubicBezTo>
                        <a:pt x="8151" y="42101"/>
                        <a:pt x="7528" y="47955"/>
                        <a:pt x="665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6" name="Freeform 4672">
                  <a:extLst>
                    <a:ext uri="{FF2B5EF4-FFF2-40B4-BE49-F238E27FC236}">
                      <a16:creationId xmlns:a16="http://schemas.microsoft.com/office/drawing/2014/main" id="{AA3739B6-8E58-32BC-C113-9315414DFEC6}"/>
                    </a:ext>
                  </a:extLst>
                </p:cNvPr>
                <p:cNvSpPr/>
                <p:nvPr/>
              </p:nvSpPr>
              <p:spPr>
                <a:xfrm>
                  <a:off x="6835849" y="5661594"/>
                  <a:ext cx="7349" cy="51691"/>
                </a:xfrm>
                <a:custGeom>
                  <a:avLst/>
                  <a:gdLst>
                    <a:gd name="connsiteX0" fmla="*/ 7349 w 7349"/>
                    <a:gd name="connsiteY0" fmla="*/ 51692 h 51691"/>
                    <a:gd name="connsiteX1" fmla="*/ 2989 w 7349"/>
                    <a:gd name="connsiteY1" fmla="*/ 33382 h 51691"/>
                    <a:gd name="connsiteX2" fmla="*/ 4235 w 7349"/>
                    <a:gd name="connsiteY2" fmla="*/ 15943 h 51691"/>
                    <a:gd name="connsiteX3" fmla="*/ 0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51692"/>
                      </a:moveTo>
                      <a:cubicBezTo>
                        <a:pt x="3861" y="43969"/>
                        <a:pt x="3114" y="37741"/>
                        <a:pt x="2989" y="33382"/>
                      </a:cubicBezTo>
                      <a:cubicBezTo>
                        <a:pt x="2865" y="26407"/>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7" name="Freeform 4673">
                  <a:extLst>
                    <a:ext uri="{FF2B5EF4-FFF2-40B4-BE49-F238E27FC236}">
                      <a16:creationId xmlns:a16="http://schemas.microsoft.com/office/drawing/2014/main" id="{DFEDB2C5-8C74-6280-4BB7-9AF840779674}"/>
                    </a:ext>
                  </a:extLst>
                </p:cNvPr>
                <p:cNvSpPr/>
                <p:nvPr/>
              </p:nvSpPr>
              <p:spPr>
                <a:xfrm>
                  <a:off x="6818937" y="5646799"/>
                  <a:ext cx="26599" cy="26475"/>
                </a:xfrm>
                <a:custGeom>
                  <a:avLst/>
                  <a:gdLst>
                    <a:gd name="connsiteX0" fmla="*/ 26503 w 26599"/>
                    <a:gd name="connsiteY0" fmla="*/ 11556 h 26475"/>
                    <a:gd name="connsiteX1" fmla="*/ 14919 w 26599"/>
                    <a:gd name="connsiteY1" fmla="*/ 26379 h 26475"/>
                    <a:gd name="connsiteX2" fmla="*/ 97 w 26599"/>
                    <a:gd name="connsiteY2" fmla="*/ 14919 h 26475"/>
                    <a:gd name="connsiteX3" fmla="*/ 11681 w 26599"/>
                    <a:gd name="connsiteY3" fmla="*/ 97 h 26475"/>
                    <a:gd name="connsiteX4" fmla="*/ 26503 w 26599"/>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4">
                      <a:moveTo>
                        <a:pt x="26503" y="11556"/>
                      </a:moveTo>
                      <a:cubicBezTo>
                        <a:pt x="27375" y="18781"/>
                        <a:pt x="22268" y="25507"/>
                        <a:pt x="14919" y="26379"/>
                      </a:cubicBezTo>
                      <a:cubicBezTo>
                        <a:pt x="7570" y="27250"/>
                        <a:pt x="969" y="22144"/>
                        <a:pt x="97" y="14919"/>
                      </a:cubicBezTo>
                      <a:cubicBezTo>
                        <a:pt x="-775" y="7695"/>
                        <a:pt x="4331" y="969"/>
                        <a:pt x="11681" y="97"/>
                      </a:cubicBezTo>
                      <a:cubicBezTo>
                        <a:pt x="18904" y="-775"/>
                        <a:pt x="25631" y="4332"/>
                        <a:pt x="26503"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8" name="Freeform 4674">
                  <a:extLst>
                    <a:ext uri="{FF2B5EF4-FFF2-40B4-BE49-F238E27FC236}">
                      <a16:creationId xmlns:a16="http://schemas.microsoft.com/office/drawing/2014/main" id="{8708B920-C677-FF2A-5B50-451233E536E3}"/>
                    </a:ext>
                  </a:extLst>
                </p:cNvPr>
                <p:cNvSpPr/>
                <p:nvPr/>
              </p:nvSpPr>
              <p:spPr>
                <a:xfrm>
                  <a:off x="6843768" y="5722129"/>
                  <a:ext cx="7456" cy="51940"/>
                </a:xfrm>
                <a:custGeom>
                  <a:avLst/>
                  <a:gdLst>
                    <a:gd name="connsiteX0" fmla="*/ 6655 w 7456"/>
                    <a:gd name="connsiteY0" fmla="*/ 51940 h 51940"/>
                    <a:gd name="connsiteX1" fmla="*/ 6281 w 7456"/>
                    <a:gd name="connsiteY1" fmla="*/ 33132 h 51940"/>
                    <a:gd name="connsiteX2" fmla="*/ 801 w 7456"/>
                    <a:gd name="connsiteY2" fmla="*/ 16566 h 51940"/>
                    <a:gd name="connsiteX3" fmla="*/ 926 w 7456"/>
                    <a:gd name="connsiteY3" fmla="*/ 0 h 51940"/>
                  </a:gdLst>
                  <a:ahLst/>
                  <a:cxnLst>
                    <a:cxn ang="0">
                      <a:pos x="connsiteX0" y="connsiteY0"/>
                    </a:cxn>
                    <a:cxn ang="0">
                      <a:pos x="connsiteX1" y="connsiteY1"/>
                    </a:cxn>
                    <a:cxn ang="0">
                      <a:pos x="connsiteX2" y="connsiteY2"/>
                    </a:cxn>
                    <a:cxn ang="0">
                      <a:pos x="connsiteX3" y="connsiteY3"/>
                    </a:cxn>
                  </a:cxnLst>
                  <a:rect l="l" t="t" r="r" b="b"/>
                  <a:pathLst>
                    <a:path w="7456" h="51940">
                      <a:moveTo>
                        <a:pt x="6655" y="51940"/>
                      </a:moveTo>
                      <a:cubicBezTo>
                        <a:pt x="8149" y="43595"/>
                        <a:pt x="7278" y="37367"/>
                        <a:pt x="6281" y="33132"/>
                      </a:cubicBezTo>
                      <a:cubicBezTo>
                        <a:pt x="4662" y="26281"/>
                        <a:pt x="2171" y="23541"/>
                        <a:pt x="801" y="16566"/>
                      </a:cubicBezTo>
                      <a:cubicBezTo>
                        <a:pt x="-569" y="9840"/>
                        <a:pt x="54" y="3986"/>
                        <a:pt x="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9" name="Freeform 4675">
                  <a:extLst>
                    <a:ext uri="{FF2B5EF4-FFF2-40B4-BE49-F238E27FC236}">
                      <a16:creationId xmlns:a16="http://schemas.microsoft.com/office/drawing/2014/main" id="{24890ED2-CF10-BBF4-036D-D3FFE8DC3398}"/>
                    </a:ext>
                  </a:extLst>
                </p:cNvPr>
                <p:cNvSpPr/>
                <p:nvPr/>
              </p:nvSpPr>
              <p:spPr>
                <a:xfrm>
                  <a:off x="6836846" y="572823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723"/>
                        <a:pt x="4235" y="13950"/>
                        <a:pt x="4359" y="18310"/>
                      </a:cubicBezTo>
                      <a:cubicBezTo>
                        <a:pt x="4484" y="25285"/>
                        <a:pt x="2740" y="28648"/>
                        <a:pt x="3114" y="35748"/>
                      </a:cubicBezTo>
                      <a:cubicBezTo>
                        <a:pt x="3487" y="42599"/>
                        <a:pt x="5605" y="48204"/>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0" name="Freeform 4676">
                  <a:extLst>
                    <a:ext uri="{FF2B5EF4-FFF2-40B4-BE49-F238E27FC236}">
                      <a16:creationId xmlns:a16="http://schemas.microsoft.com/office/drawing/2014/main" id="{86CCA840-AE18-5BFD-CA4A-5DE4D4F3AAE0}"/>
                    </a:ext>
                  </a:extLst>
                </p:cNvPr>
                <p:cNvSpPr/>
                <p:nvPr/>
              </p:nvSpPr>
              <p:spPr>
                <a:xfrm>
                  <a:off x="6834505" y="5768243"/>
                  <a:ext cx="26228" cy="26502"/>
                </a:xfrm>
                <a:custGeom>
                  <a:avLst/>
                  <a:gdLst>
                    <a:gd name="connsiteX0" fmla="*/ 99 w 26228"/>
                    <a:gd name="connsiteY0" fmla="*/ 14919 h 26502"/>
                    <a:gd name="connsiteX1" fmla="*/ 11433 w 26228"/>
                    <a:gd name="connsiteY1" fmla="*/ 97 h 26502"/>
                    <a:gd name="connsiteX2" fmla="*/ 26131 w 26228"/>
                    <a:gd name="connsiteY2" fmla="*/ 11556 h 26502"/>
                    <a:gd name="connsiteX3" fmla="*/ 14797 w 26228"/>
                    <a:gd name="connsiteY3" fmla="*/ 26379 h 26502"/>
                    <a:gd name="connsiteX4" fmla="*/ 99 w 26228"/>
                    <a:gd name="connsiteY4" fmla="*/ 14919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7" h="26502">
                      <a:moveTo>
                        <a:pt x="99" y="14919"/>
                      </a:moveTo>
                      <a:cubicBezTo>
                        <a:pt x="-773" y="7695"/>
                        <a:pt x="4209" y="969"/>
                        <a:pt x="11433" y="97"/>
                      </a:cubicBezTo>
                      <a:cubicBezTo>
                        <a:pt x="18658" y="-775"/>
                        <a:pt x="25259" y="4332"/>
                        <a:pt x="26131" y="11556"/>
                      </a:cubicBezTo>
                      <a:cubicBezTo>
                        <a:pt x="27003" y="18781"/>
                        <a:pt x="21897" y="25507"/>
                        <a:pt x="14797" y="26379"/>
                      </a:cubicBezTo>
                      <a:cubicBezTo>
                        <a:pt x="7697" y="27375"/>
                        <a:pt x="1095" y="22268"/>
                        <a:pt x="99"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0" name="Graphic 2987">
                <a:extLst>
                  <a:ext uri="{FF2B5EF4-FFF2-40B4-BE49-F238E27FC236}">
                    <a16:creationId xmlns:a16="http://schemas.microsoft.com/office/drawing/2014/main" id="{306EB24D-CD07-B5E9-B271-BF930551A710}"/>
                  </a:ext>
                </a:extLst>
              </p:cNvPr>
              <p:cNvGrpSpPr/>
              <p:nvPr/>
            </p:nvGrpSpPr>
            <p:grpSpPr>
              <a:xfrm>
                <a:off x="6848458" y="5643035"/>
                <a:ext cx="41670" cy="147946"/>
                <a:chOff x="6848458" y="5643035"/>
                <a:chExt cx="41670" cy="147946"/>
              </a:xfrm>
              <a:grpFill/>
            </p:grpSpPr>
            <p:sp>
              <p:nvSpPr>
                <p:cNvPr id="4799" name="Freeform 4678">
                  <a:extLst>
                    <a:ext uri="{FF2B5EF4-FFF2-40B4-BE49-F238E27FC236}">
                      <a16:creationId xmlns:a16="http://schemas.microsoft.com/office/drawing/2014/main" id="{9050707F-1830-98E5-FB81-11732E047B82}"/>
                    </a:ext>
                  </a:extLst>
                </p:cNvPr>
                <p:cNvSpPr/>
                <p:nvPr/>
              </p:nvSpPr>
              <p:spPr>
                <a:xfrm>
                  <a:off x="6858215" y="5663712"/>
                  <a:ext cx="7419" cy="51940"/>
                </a:xfrm>
                <a:custGeom>
                  <a:avLst/>
                  <a:gdLst>
                    <a:gd name="connsiteX0" fmla="*/ 802 w 7419"/>
                    <a:gd name="connsiteY0" fmla="*/ 0 h 51940"/>
                    <a:gd name="connsiteX1" fmla="*/ 1176 w 7419"/>
                    <a:gd name="connsiteY1" fmla="*/ 18808 h 51940"/>
                    <a:gd name="connsiteX2" fmla="*/ 6656 w 7419"/>
                    <a:gd name="connsiteY2" fmla="*/ 35374 h 51940"/>
                    <a:gd name="connsiteX3" fmla="*/ 6532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802" y="0"/>
                      </a:moveTo>
                      <a:cubicBezTo>
                        <a:pt x="-693" y="8346"/>
                        <a:pt x="179" y="14573"/>
                        <a:pt x="1176" y="18808"/>
                      </a:cubicBezTo>
                      <a:cubicBezTo>
                        <a:pt x="2795" y="25659"/>
                        <a:pt x="5287" y="28399"/>
                        <a:pt x="6656" y="35374"/>
                      </a:cubicBezTo>
                      <a:cubicBezTo>
                        <a:pt x="8026" y="42101"/>
                        <a:pt x="7279" y="47955"/>
                        <a:pt x="653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0" name="Freeform 4679">
                  <a:extLst>
                    <a:ext uri="{FF2B5EF4-FFF2-40B4-BE49-F238E27FC236}">
                      <a16:creationId xmlns:a16="http://schemas.microsoft.com/office/drawing/2014/main" id="{C09A17A7-D988-2A99-BD5F-1F07182FA5F1}"/>
                    </a:ext>
                  </a:extLst>
                </p:cNvPr>
                <p:cNvSpPr/>
                <p:nvPr/>
              </p:nvSpPr>
              <p:spPr>
                <a:xfrm>
                  <a:off x="6865369" y="5657857"/>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2" y="43969"/>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1" name="Freeform 4680">
                  <a:extLst>
                    <a:ext uri="{FF2B5EF4-FFF2-40B4-BE49-F238E27FC236}">
                      <a16:creationId xmlns:a16="http://schemas.microsoft.com/office/drawing/2014/main" id="{73BF5C3D-E464-2248-D31C-1721E597A9AA}"/>
                    </a:ext>
                  </a:extLst>
                </p:cNvPr>
                <p:cNvSpPr/>
                <p:nvPr/>
              </p:nvSpPr>
              <p:spPr>
                <a:xfrm>
                  <a:off x="6848458" y="5643035"/>
                  <a:ext cx="26599" cy="26502"/>
                </a:xfrm>
                <a:custGeom>
                  <a:avLst/>
                  <a:gdLst>
                    <a:gd name="connsiteX0" fmla="*/ 26503 w 26599"/>
                    <a:gd name="connsiteY0" fmla="*/ 11583 h 26502"/>
                    <a:gd name="connsiteX1" fmla="*/ 14919 w 26599"/>
                    <a:gd name="connsiteY1" fmla="*/ 26406 h 26502"/>
                    <a:gd name="connsiteX2" fmla="*/ 97 w 26599"/>
                    <a:gd name="connsiteY2" fmla="*/ 14947 h 26502"/>
                    <a:gd name="connsiteX3" fmla="*/ 11681 w 26599"/>
                    <a:gd name="connsiteY3" fmla="*/ 124 h 26502"/>
                    <a:gd name="connsiteX4" fmla="*/ 26503 w 26599"/>
                    <a:gd name="connsiteY4" fmla="*/ 11583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02">
                      <a:moveTo>
                        <a:pt x="26503" y="11583"/>
                      </a:moveTo>
                      <a:cubicBezTo>
                        <a:pt x="27375" y="18808"/>
                        <a:pt x="22268" y="25534"/>
                        <a:pt x="14919" y="26406"/>
                      </a:cubicBezTo>
                      <a:cubicBezTo>
                        <a:pt x="7570" y="27278"/>
                        <a:pt x="969" y="22171"/>
                        <a:pt x="97" y="14947"/>
                      </a:cubicBezTo>
                      <a:cubicBezTo>
                        <a:pt x="-775" y="7722"/>
                        <a:pt x="4331" y="996"/>
                        <a:pt x="11681" y="124"/>
                      </a:cubicBezTo>
                      <a:cubicBezTo>
                        <a:pt x="18905" y="-872"/>
                        <a:pt x="25631" y="4234"/>
                        <a:pt x="26503" y="115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2" name="Freeform 4681">
                  <a:extLst>
                    <a:ext uri="{FF2B5EF4-FFF2-40B4-BE49-F238E27FC236}">
                      <a16:creationId xmlns:a16="http://schemas.microsoft.com/office/drawing/2014/main" id="{CCED01A4-C2B2-9397-2835-E4E81684158A}"/>
                    </a:ext>
                  </a:extLst>
                </p:cNvPr>
                <p:cNvSpPr/>
                <p:nvPr/>
              </p:nvSpPr>
              <p:spPr>
                <a:xfrm>
                  <a:off x="6872951" y="5718268"/>
                  <a:ext cx="7419" cy="51940"/>
                </a:xfrm>
                <a:custGeom>
                  <a:avLst/>
                  <a:gdLst>
                    <a:gd name="connsiteX0" fmla="*/ 6618 w 7419"/>
                    <a:gd name="connsiteY0" fmla="*/ 51940 h 51940"/>
                    <a:gd name="connsiteX1" fmla="*/ 6244 w 7419"/>
                    <a:gd name="connsiteY1" fmla="*/ 33132 h 51940"/>
                    <a:gd name="connsiteX2" fmla="*/ 763 w 7419"/>
                    <a:gd name="connsiteY2" fmla="*/ 16566 h 51940"/>
                    <a:gd name="connsiteX3" fmla="*/ 888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6618" y="51940"/>
                      </a:moveTo>
                      <a:cubicBezTo>
                        <a:pt x="8113" y="43595"/>
                        <a:pt x="7241" y="37367"/>
                        <a:pt x="6244" y="33132"/>
                      </a:cubicBezTo>
                      <a:cubicBezTo>
                        <a:pt x="4625" y="26281"/>
                        <a:pt x="2134" y="23541"/>
                        <a:pt x="763" y="16566"/>
                      </a:cubicBezTo>
                      <a:cubicBezTo>
                        <a:pt x="-607" y="9840"/>
                        <a:pt x="141" y="3986"/>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3" name="Freeform 4682">
                  <a:extLst>
                    <a:ext uri="{FF2B5EF4-FFF2-40B4-BE49-F238E27FC236}">
                      <a16:creationId xmlns:a16="http://schemas.microsoft.com/office/drawing/2014/main" id="{49DEE8E6-E903-8C9C-42AE-8C536E0A27AF}"/>
                    </a:ext>
                  </a:extLst>
                </p:cNvPr>
                <p:cNvSpPr/>
                <p:nvPr/>
              </p:nvSpPr>
              <p:spPr>
                <a:xfrm>
                  <a:off x="6866117" y="5724496"/>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723"/>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4" name="Freeform 4683">
                  <a:extLst>
                    <a:ext uri="{FF2B5EF4-FFF2-40B4-BE49-F238E27FC236}">
                      <a16:creationId xmlns:a16="http://schemas.microsoft.com/office/drawing/2014/main" id="{54E6F19D-CFF8-C516-E21B-95A9744C4E52}"/>
                    </a:ext>
                  </a:extLst>
                </p:cNvPr>
                <p:cNvSpPr/>
                <p:nvPr/>
              </p:nvSpPr>
              <p:spPr>
                <a:xfrm>
                  <a:off x="6863778" y="5764506"/>
                  <a:ext cx="26350" cy="26475"/>
                </a:xfrm>
                <a:custGeom>
                  <a:avLst/>
                  <a:gdLst>
                    <a:gd name="connsiteX0" fmla="*/ 97 w 26350"/>
                    <a:gd name="connsiteY0" fmla="*/ 14919 h 26475"/>
                    <a:gd name="connsiteX1" fmla="*/ 11556 w 26350"/>
                    <a:gd name="connsiteY1" fmla="*/ 97 h 26475"/>
                    <a:gd name="connsiteX2" fmla="*/ 26254 w 26350"/>
                    <a:gd name="connsiteY2" fmla="*/ 11556 h 26475"/>
                    <a:gd name="connsiteX3" fmla="*/ 14795 w 26350"/>
                    <a:gd name="connsiteY3" fmla="*/ 26378 h 26475"/>
                    <a:gd name="connsiteX4" fmla="*/ 97 w 2635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4919"/>
                      </a:moveTo>
                      <a:cubicBezTo>
                        <a:pt x="-775" y="7695"/>
                        <a:pt x="4332" y="969"/>
                        <a:pt x="11556" y="97"/>
                      </a:cubicBezTo>
                      <a:cubicBezTo>
                        <a:pt x="18781" y="-775"/>
                        <a:pt x="25383" y="4332"/>
                        <a:pt x="26254" y="11556"/>
                      </a:cubicBezTo>
                      <a:cubicBezTo>
                        <a:pt x="27126" y="18781"/>
                        <a:pt x="22019" y="25507"/>
                        <a:pt x="14795" y="26378"/>
                      </a:cubicBezTo>
                      <a:cubicBezTo>
                        <a:pt x="7570" y="27250"/>
                        <a:pt x="969" y="22144"/>
                        <a:pt x="97"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1" name="Graphic 2987">
                <a:extLst>
                  <a:ext uri="{FF2B5EF4-FFF2-40B4-BE49-F238E27FC236}">
                    <a16:creationId xmlns:a16="http://schemas.microsoft.com/office/drawing/2014/main" id="{CC6C4995-7C3F-CE88-C6EE-F917490C3402}"/>
                  </a:ext>
                </a:extLst>
              </p:cNvPr>
              <p:cNvGrpSpPr/>
              <p:nvPr/>
            </p:nvGrpSpPr>
            <p:grpSpPr>
              <a:xfrm>
                <a:off x="6877978" y="5639326"/>
                <a:ext cx="41297" cy="147919"/>
                <a:chOff x="6877978" y="5639326"/>
                <a:chExt cx="41297" cy="147919"/>
              </a:xfrm>
              <a:grpFill/>
            </p:grpSpPr>
            <p:sp>
              <p:nvSpPr>
                <p:cNvPr id="4793" name="Freeform 4685">
                  <a:extLst>
                    <a:ext uri="{FF2B5EF4-FFF2-40B4-BE49-F238E27FC236}">
                      <a16:creationId xmlns:a16="http://schemas.microsoft.com/office/drawing/2014/main" id="{601424DE-6E9D-222D-BA15-CE5643BA9EFA}"/>
                    </a:ext>
                  </a:extLst>
                </p:cNvPr>
                <p:cNvSpPr/>
                <p:nvPr/>
              </p:nvSpPr>
              <p:spPr>
                <a:xfrm>
                  <a:off x="6887576" y="5659975"/>
                  <a:ext cx="7454" cy="51815"/>
                </a:xfrm>
                <a:custGeom>
                  <a:avLst/>
                  <a:gdLst>
                    <a:gd name="connsiteX0" fmla="*/ 838 w 7454"/>
                    <a:gd name="connsiteY0" fmla="*/ 0 h 51815"/>
                    <a:gd name="connsiteX1" fmla="*/ 1211 w 7454"/>
                    <a:gd name="connsiteY1" fmla="*/ 18808 h 51815"/>
                    <a:gd name="connsiteX2" fmla="*/ 6691 w 7454"/>
                    <a:gd name="connsiteY2" fmla="*/ 35374 h 51815"/>
                    <a:gd name="connsiteX3" fmla="*/ 6567 w 74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4" h="51815">
                      <a:moveTo>
                        <a:pt x="838" y="0"/>
                      </a:moveTo>
                      <a:cubicBezTo>
                        <a:pt x="-658" y="8345"/>
                        <a:pt x="89" y="14573"/>
                        <a:pt x="1211" y="18808"/>
                      </a:cubicBezTo>
                      <a:cubicBezTo>
                        <a:pt x="2830" y="25659"/>
                        <a:pt x="5321" y="28399"/>
                        <a:pt x="6691" y="35374"/>
                      </a:cubicBezTo>
                      <a:cubicBezTo>
                        <a:pt x="8061" y="42100"/>
                        <a:pt x="7314" y="47954"/>
                        <a:pt x="656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4" name="Freeform 4686">
                  <a:extLst>
                    <a:ext uri="{FF2B5EF4-FFF2-40B4-BE49-F238E27FC236}">
                      <a16:creationId xmlns:a16="http://schemas.microsoft.com/office/drawing/2014/main" id="{BA9634CD-BAD6-21D2-77A3-65C7D281A43D}"/>
                    </a:ext>
                  </a:extLst>
                </p:cNvPr>
                <p:cNvSpPr/>
                <p:nvPr/>
              </p:nvSpPr>
              <p:spPr>
                <a:xfrm>
                  <a:off x="6894890" y="5654245"/>
                  <a:ext cx="6975" cy="51567"/>
                </a:xfrm>
                <a:custGeom>
                  <a:avLst/>
                  <a:gdLst>
                    <a:gd name="connsiteX0" fmla="*/ 6975 w 6975"/>
                    <a:gd name="connsiteY0" fmla="*/ 51567 h 51567"/>
                    <a:gd name="connsiteX1" fmla="*/ 2741 w 6975"/>
                    <a:gd name="connsiteY1" fmla="*/ 33257 h 51567"/>
                    <a:gd name="connsiteX2" fmla="*/ 4111 w 6975"/>
                    <a:gd name="connsiteY2" fmla="*/ 15943 h 51567"/>
                    <a:gd name="connsiteX3" fmla="*/ 0 w 6975"/>
                    <a:gd name="connsiteY3" fmla="*/ 0 h 51567"/>
                  </a:gdLst>
                  <a:ahLst/>
                  <a:cxnLst>
                    <a:cxn ang="0">
                      <a:pos x="connsiteX0" y="connsiteY0"/>
                    </a:cxn>
                    <a:cxn ang="0">
                      <a:pos x="connsiteX1" y="connsiteY1"/>
                    </a:cxn>
                    <a:cxn ang="0">
                      <a:pos x="connsiteX2" y="connsiteY2"/>
                    </a:cxn>
                    <a:cxn ang="0">
                      <a:pos x="connsiteX3" y="connsiteY3"/>
                    </a:cxn>
                  </a:cxnLst>
                  <a:rect l="l" t="t" r="r" b="b"/>
                  <a:pathLst>
                    <a:path w="6975" h="51567">
                      <a:moveTo>
                        <a:pt x="6975" y="51567"/>
                      </a:moveTo>
                      <a:cubicBezTo>
                        <a:pt x="3488" y="43845"/>
                        <a:pt x="2741" y="37617"/>
                        <a:pt x="2741" y="33257"/>
                      </a:cubicBezTo>
                      <a:cubicBezTo>
                        <a:pt x="2616" y="26282"/>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5" name="Freeform 4687">
                  <a:extLst>
                    <a:ext uri="{FF2B5EF4-FFF2-40B4-BE49-F238E27FC236}">
                      <a16:creationId xmlns:a16="http://schemas.microsoft.com/office/drawing/2014/main" id="{599B767F-A6B4-0293-F221-F889038CCE81}"/>
                    </a:ext>
                  </a:extLst>
                </p:cNvPr>
                <p:cNvSpPr/>
                <p:nvPr/>
              </p:nvSpPr>
              <p:spPr>
                <a:xfrm>
                  <a:off x="6877978" y="5639326"/>
                  <a:ext cx="26598" cy="26475"/>
                </a:xfrm>
                <a:custGeom>
                  <a:avLst/>
                  <a:gdLst>
                    <a:gd name="connsiteX0" fmla="*/ 26503 w 26598"/>
                    <a:gd name="connsiteY0" fmla="*/ 11681 h 26475"/>
                    <a:gd name="connsiteX1" fmla="*/ 14919 w 26598"/>
                    <a:gd name="connsiteY1" fmla="*/ 26379 h 26475"/>
                    <a:gd name="connsiteX2" fmla="*/ 97 w 26598"/>
                    <a:gd name="connsiteY2" fmla="*/ 14919 h 26475"/>
                    <a:gd name="connsiteX3" fmla="*/ 11681 w 26598"/>
                    <a:gd name="connsiteY3" fmla="*/ 97 h 26475"/>
                    <a:gd name="connsiteX4" fmla="*/ 26503 w 26598"/>
                    <a:gd name="connsiteY4" fmla="*/ 11681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8" h="26474">
                      <a:moveTo>
                        <a:pt x="26503" y="11681"/>
                      </a:moveTo>
                      <a:cubicBezTo>
                        <a:pt x="27375" y="18905"/>
                        <a:pt x="22143" y="25507"/>
                        <a:pt x="14919" y="26379"/>
                      </a:cubicBezTo>
                      <a:cubicBezTo>
                        <a:pt x="7570" y="27251"/>
                        <a:pt x="969" y="22144"/>
                        <a:pt x="97" y="14919"/>
                      </a:cubicBezTo>
                      <a:cubicBezTo>
                        <a:pt x="-775" y="7695"/>
                        <a:pt x="4331" y="969"/>
                        <a:pt x="11681" y="97"/>
                      </a:cubicBezTo>
                      <a:cubicBezTo>
                        <a:pt x="18905" y="-775"/>
                        <a:pt x="25631" y="4332"/>
                        <a:pt x="26503"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6" name="Freeform 4688">
                  <a:extLst>
                    <a:ext uri="{FF2B5EF4-FFF2-40B4-BE49-F238E27FC236}">
                      <a16:creationId xmlns:a16="http://schemas.microsoft.com/office/drawing/2014/main" id="{8AE3FF98-E326-119F-777C-530A47990015}"/>
                    </a:ext>
                  </a:extLst>
                </p:cNvPr>
                <p:cNvSpPr/>
                <p:nvPr/>
              </p:nvSpPr>
              <p:spPr>
                <a:xfrm>
                  <a:off x="6902347" y="5714780"/>
                  <a:ext cx="7338" cy="51816"/>
                </a:xfrm>
                <a:custGeom>
                  <a:avLst/>
                  <a:gdLst>
                    <a:gd name="connsiteX0" fmla="*/ 6493 w 7338"/>
                    <a:gd name="connsiteY0" fmla="*/ 51816 h 51816"/>
                    <a:gd name="connsiteX1" fmla="*/ 6244 w 7338"/>
                    <a:gd name="connsiteY1" fmla="*/ 33008 h 51816"/>
                    <a:gd name="connsiteX2" fmla="*/ 764 w 7338"/>
                    <a:gd name="connsiteY2" fmla="*/ 16442 h 51816"/>
                    <a:gd name="connsiteX3" fmla="*/ 888 w 7338"/>
                    <a:gd name="connsiteY3" fmla="*/ 0 h 51816"/>
                  </a:gdLst>
                  <a:ahLst/>
                  <a:cxnLst>
                    <a:cxn ang="0">
                      <a:pos x="connsiteX0" y="connsiteY0"/>
                    </a:cxn>
                    <a:cxn ang="0">
                      <a:pos x="connsiteX1" y="connsiteY1"/>
                    </a:cxn>
                    <a:cxn ang="0">
                      <a:pos x="connsiteX2" y="connsiteY2"/>
                    </a:cxn>
                    <a:cxn ang="0">
                      <a:pos x="connsiteX3" y="connsiteY3"/>
                    </a:cxn>
                  </a:cxnLst>
                  <a:rect l="l" t="t" r="r" b="b"/>
                  <a:pathLst>
                    <a:path w="7338" h="51816">
                      <a:moveTo>
                        <a:pt x="6493" y="51816"/>
                      </a:moveTo>
                      <a:cubicBezTo>
                        <a:pt x="7988" y="43595"/>
                        <a:pt x="7240" y="37243"/>
                        <a:pt x="6244" y="33008"/>
                      </a:cubicBezTo>
                      <a:cubicBezTo>
                        <a:pt x="4625" y="26157"/>
                        <a:pt x="2134" y="23417"/>
                        <a:pt x="764" y="16442"/>
                      </a:cubicBezTo>
                      <a:cubicBezTo>
                        <a:pt x="-607" y="9715"/>
                        <a:pt x="140"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7" name="Freeform 4689">
                  <a:extLst>
                    <a:ext uri="{FF2B5EF4-FFF2-40B4-BE49-F238E27FC236}">
                      <a16:creationId xmlns:a16="http://schemas.microsoft.com/office/drawing/2014/main" id="{DA3A054F-2EA5-83AB-F2FC-9269CA8880FF}"/>
                    </a:ext>
                  </a:extLst>
                </p:cNvPr>
                <p:cNvSpPr/>
                <p:nvPr/>
              </p:nvSpPr>
              <p:spPr>
                <a:xfrm>
                  <a:off x="6895388" y="5720759"/>
                  <a:ext cx="7099" cy="51567"/>
                </a:xfrm>
                <a:custGeom>
                  <a:avLst/>
                  <a:gdLst>
                    <a:gd name="connsiteX0" fmla="*/ 0 w 7099"/>
                    <a:gd name="connsiteY0" fmla="*/ 0 h 51567"/>
                    <a:gd name="connsiteX1" fmla="*/ 4235 w 7099"/>
                    <a:gd name="connsiteY1" fmla="*/ 18310 h 51567"/>
                    <a:gd name="connsiteX2" fmla="*/ 2989 w 7099"/>
                    <a:gd name="connsiteY2" fmla="*/ 35624 h 51567"/>
                    <a:gd name="connsiteX3" fmla="*/ 7099 w 7099"/>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099" h="51567">
                      <a:moveTo>
                        <a:pt x="0" y="0"/>
                      </a:moveTo>
                      <a:cubicBezTo>
                        <a:pt x="3487" y="7723"/>
                        <a:pt x="4235" y="13951"/>
                        <a:pt x="4235" y="18310"/>
                      </a:cubicBezTo>
                      <a:cubicBezTo>
                        <a:pt x="4359" y="25285"/>
                        <a:pt x="2615" y="28524"/>
                        <a:pt x="2989" y="35624"/>
                      </a:cubicBezTo>
                      <a:cubicBezTo>
                        <a:pt x="3363" y="42474"/>
                        <a:pt x="5481" y="48079"/>
                        <a:pt x="709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8" name="Freeform 4690">
                  <a:extLst>
                    <a:ext uri="{FF2B5EF4-FFF2-40B4-BE49-F238E27FC236}">
                      <a16:creationId xmlns:a16="http://schemas.microsoft.com/office/drawing/2014/main" id="{543FA602-2438-CB07-7B58-1D5E2C195783}"/>
                    </a:ext>
                  </a:extLst>
                </p:cNvPr>
                <p:cNvSpPr/>
                <p:nvPr/>
              </p:nvSpPr>
              <p:spPr>
                <a:xfrm>
                  <a:off x="6892925" y="5760771"/>
                  <a:ext cx="26350" cy="26473"/>
                </a:xfrm>
                <a:custGeom>
                  <a:avLst/>
                  <a:gdLst>
                    <a:gd name="connsiteX0" fmla="*/ 97 w 26350"/>
                    <a:gd name="connsiteY0" fmla="*/ 14917 h 26473"/>
                    <a:gd name="connsiteX1" fmla="*/ 11556 w 26350"/>
                    <a:gd name="connsiteY1" fmla="*/ 95 h 26473"/>
                    <a:gd name="connsiteX2" fmla="*/ 26254 w 26350"/>
                    <a:gd name="connsiteY2" fmla="*/ 11679 h 26473"/>
                    <a:gd name="connsiteX3" fmla="*/ 14795 w 26350"/>
                    <a:gd name="connsiteY3" fmla="*/ 26377 h 26473"/>
                    <a:gd name="connsiteX4" fmla="*/ 97 w 26350"/>
                    <a:gd name="connsiteY4" fmla="*/ 14917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3">
                      <a:moveTo>
                        <a:pt x="97" y="14917"/>
                      </a:moveTo>
                      <a:cubicBezTo>
                        <a:pt x="-775" y="7693"/>
                        <a:pt x="4331" y="967"/>
                        <a:pt x="11556" y="95"/>
                      </a:cubicBezTo>
                      <a:cubicBezTo>
                        <a:pt x="18781" y="-777"/>
                        <a:pt x="25382" y="4455"/>
                        <a:pt x="26254" y="11679"/>
                      </a:cubicBezTo>
                      <a:cubicBezTo>
                        <a:pt x="27126" y="18903"/>
                        <a:pt x="22018" y="25505"/>
                        <a:pt x="14795" y="26377"/>
                      </a:cubicBezTo>
                      <a:cubicBezTo>
                        <a:pt x="7570" y="27249"/>
                        <a:pt x="968" y="22142"/>
                        <a:pt x="97" y="149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2" name="Graphic 2987">
                <a:extLst>
                  <a:ext uri="{FF2B5EF4-FFF2-40B4-BE49-F238E27FC236}">
                    <a16:creationId xmlns:a16="http://schemas.microsoft.com/office/drawing/2014/main" id="{9C2FE355-659C-7C8F-6E3C-ED2D4D4625CF}"/>
                  </a:ext>
                </a:extLst>
              </p:cNvPr>
              <p:cNvGrpSpPr/>
              <p:nvPr/>
            </p:nvGrpSpPr>
            <p:grpSpPr>
              <a:xfrm>
                <a:off x="6907500" y="5635840"/>
                <a:ext cx="41046" cy="148040"/>
                <a:chOff x="6907500" y="5635840"/>
                <a:chExt cx="41046" cy="148040"/>
              </a:xfrm>
              <a:grpFill/>
            </p:grpSpPr>
            <p:sp>
              <p:nvSpPr>
                <p:cNvPr id="4787" name="Freeform 4692">
                  <a:extLst>
                    <a:ext uri="{FF2B5EF4-FFF2-40B4-BE49-F238E27FC236}">
                      <a16:creationId xmlns:a16="http://schemas.microsoft.com/office/drawing/2014/main" id="{F6648B5F-D8DD-1CA7-91EA-21F9A457C5BD}"/>
                    </a:ext>
                  </a:extLst>
                </p:cNvPr>
                <p:cNvSpPr/>
                <p:nvPr/>
              </p:nvSpPr>
              <p:spPr>
                <a:xfrm>
                  <a:off x="6917088" y="5656487"/>
                  <a:ext cx="7329" cy="51815"/>
                </a:xfrm>
                <a:custGeom>
                  <a:avLst/>
                  <a:gdLst>
                    <a:gd name="connsiteX0" fmla="*/ 845 w 7329"/>
                    <a:gd name="connsiteY0" fmla="*/ 0 h 51815"/>
                    <a:gd name="connsiteX1" fmla="*/ 1094 w 7329"/>
                    <a:gd name="connsiteY1" fmla="*/ 18808 h 51815"/>
                    <a:gd name="connsiteX2" fmla="*/ 6574 w 7329"/>
                    <a:gd name="connsiteY2" fmla="*/ 35374 h 51815"/>
                    <a:gd name="connsiteX3" fmla="*/ 6326 w 73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29" h="51815">
                      <a:moveTo>
                        <a:pt x="845" y="0"/>
                      </a:moveTo>
                      <a:cubicBezTo>
                        <a:pt x="-649" y="8220"/>
                        <a:pt x="98" y="14573"/>
                        <a:pt x="1094" y="18808"/>
                      </a:cubicBezTo>
                      <a:cubicBezTo>
                        <a:pt x="2713" y="25659"/>
                        <a:pt x="5204" y="28399"/>
                        <a:pt x="6574" y="35374"/>
                      </a:cubicBezTo>
                      <a:cubicBezTo>
                        <a:pt x="7944" y="42100"/>
                        <a:pt x="7197" y="47954"/>
                        <a:pt x="632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8" name="Freeform 4693">
                  <a:extLst>
                    <a:ext uri="{FF2B5EF4-FFF2-40B4-BE49-F238E27FC236}">
                      <a16:creationId xmlns:a16="http://schemas.microsoft.com/office/drawing/2014/main" id="{33C25A89-B07E-4A29-61D0-AC5640015E2C}"/>
                    </a:ext>
                  </a:extLst>
                </p:cNvPr>
                <p:cNvSpPr/>
                <p:nvPr/>
              </p:nvSpPr>
              <p:spPr>
                <a:xfrm>
                  <a:off x="6924285" y="5650882"/>
                  <a:ext cx="6975" cy="51566"/>
                </a:xfrm>
                <a:custGeom>
                  <a:avLst/>
                  <a:gdLst>
                    <a:gd name="connsiteX0" fmla="*/ 6975 w 6975"/>
                    <a:gd name="connsiteY0" fmla="*/ 51567 h 51566"/>
                    <a:gd name="connsiteX1" fmla="*/ 2741 w 6975"/>
                    <a:gd name="connsiteY1" fmla="*/ 33257 h 51566"/>
                    <a:gd name="connsiteX2" fmla="*/ 4111 w 6975"/>
                    <a:gd name="connsiteY2" fmla="*/ 15943 h 51566"/>
                    <a:gd name="connsiteX3" fmla="*/ 0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6975" y="51567"/>
                      </a:moveTo>
                      <a:cubicBezTo>
                        <a:pt x="3613" y="43844"/>
                        <a:pt x="2865" y="37616"/>
                        <a:pt x="2741" y="33257"/>
                      </a:cubicBezTo>
                      <a:cubicBezTo>
                        <a:pt x="2741" y="26281"/>
                        <a:pt x="4485" y="23043"/>
                        <a:pt x="4111" y="15943"/>
                      </a:cubicBezTo>
                      <a:cubicBezTo>
                        <a:pt x="3737"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9" name="Freeform 4694">
                  <a:extLst>
                    <a:ext uri="{FF2B5EF4-FFF2-40B4-BE49-F238E27FC236}">
                      <a16:creationId xmlns:a16="http://schemas.microsoft.com/office/drawing/2014/main" id="{15E9A37E-B60B-AD3F-1DDB-120D6AE074FE}"/>
                    </a:ext>
                  </a:extLst>
                </p:cNvPr>
                <p:cNvSpPr/>
                <p:nvPr/>
              </p:nvSpPr>
              <p:spPr>
                <a:xfrm>
                  <a:off x="6907500" y="5635840"/>
                  <a:ext cx="26596" cy="26471"/>
                </a:xfrm>
                <a:custGeom>
                  <a:avLst/>
                  <a:gdLst>
                    <a:gd name="connsiteX0" fmla="*/ 26501 w 26596"/>
                    <a:gd name="connsiteY0" fmla="*/ 11679 h 26471"/>
                    <a:gd name="connsiteX1" fmla="*/ 14917 w 26596"/>
                    <a:gd name="connsiteY1" fmla="*/ 26377 h 26471"/>
                    <a:gd name="connsiteX2" fmla="*/ 95 w 26596"/>
                    <a:gd name="connsiteY2" fmla="*/ 14793 h 26471"/>
                    <a:gd name="connsiteX3" fmla="*/ 11679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917" y="26377"/>
                      </a:cubicBezTo>
                      <a:cubicBezTo>
                        <a:pt x="7693" y="27249"/>
                        <a:pt x="967" y="22017"/>
                        <a:pt x="95" y="14793"/>
                      </a:cubicBezTo>
                      <a:cubicBezTo>
                        <a:pt x="-777" y="7568"/>
                        <a:pt x="4454" y="967"/>
                        <a:pt x="11679" y="95"/>
                      </a:cubicBezTo>
                      <a:cubicBezTo>
                        <a:pt x="19028"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0" name="Freeform 4695">
                  <a:extLst>
                    <a:ext uri="{FF2B5EF4-FFF2-40B4-BE49-F238E27FC236}">
                      <a16:creationId xmlns:a16="http://schemas.microsoft.com/office/drawing/2014/main" id="{BBD4134A-E648-2D3C-C548-59E4573CC9FF}"/>
                    </a:ext>
                  </a:extLst>
                </p:cNvPr>
                <p:cNvSpPr/>
                <p:nvPr/>
              </p:nvSpPr>
              <p:spPr>
                <a:xfrm>
                  <a:off x="6931805" y="5711417"/>
                  <a:ext cx="7152" cy="51816"/>
                </a:xfrm>
                <a:custGeom>
                  <a:avLst/>
                  <a:gdLst>
                    <a:gd name="connsiteX0" fmla="*/ 6307 w 7152"/>
                    <a:gd name="connsiteY0" fmla="*/ 51816 h 51816"/>
                    <a:gd name="connsiteX1" fmla="*/ 6058 w 7152"/>
                    <a:gd name="connsiteY1" fmla="*/ 33008 h 51816"/>
                    <a:gd name="connsiteX2" fmla="*/ 702 w 7152"/>
                    <a:gd name="connsiteY2" fmla="*/ 16442 h 51816"/>
                    <a:gd name="connsiteX3" fmla="*/ 951 w 7152"/>
                    <a:gd name="connsiteY3" fmla="*/ 0 h 51816"/>
                  </a:gdLst>
                  <a:ahLst/>
                  <a:cxnLst>
                    <a:cxn ang="0">
                      <a:pos x="connsiteX0" y="connsiteY0"/>
                    </a:cxn>
                    <a:cxn ang="0">
                      <a:pos x="connsiteX1" y="connsiteY1"/>
                    </a:cxn>
                    <a:cxn ang="0">
                      <a:pos x="connsiteX2" y="connsiteY2"/>
                    </a:cxn>
                    <a:cxn ang="0">
                      <a:pos x="connsiteX3" y="connsiteY3"/>
                    </a:cxn>
                  </a:cxnLst>
                  <a:rect l="l" t="t" r="r" b="b"/>
                  <a:pathLst>
                    <a:path w="7152" h="51816">
                      <a:moveTo>
                        <a:pt x="6307" y="51816"/>
                      </a:moveTo>
                      <a:cubicBezTo>
                        <a:pt x="7802" y="43595"/>
                        <a:pt x="7054" y="37243"/>
                        <a:pt x="6058" y="33008"/>
                      </a:cubicBezTo>
                      <a:cubicBezTo>
                        <a:pt x="4438" y="26157"/>
                        <a:pt x="1947" y="23417"/>
                        <a:pt x="702" y="16442"/>
                      </a:cubicBezTo>
                      <a:cubicBezTo>
                        <a:pt x="-544" y="9715"/>
                        <a:pt x="79" y="3862"/>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1" name="Freeform 4696">
                  <a:extLst>
                    <a:ext uri="{FF2B5EF4-FFF2-40B4-BE49-F238E27FC236}">
                      <a16:creationId xmlns:a16="http://schemas.microsoft.com/office/drawing/2014/main" id="{D49EFE6F-E1BD-7D42-853D-DFBD054BCB45}"/>
                    </a:ext>
                  </a:extLst>
                </p:cNvPr>
                <p:cNvSpPr/>
                <p:nvPr/>
              </p:nvSpPr>
              <p:spPr>
                <a:xfrm>
                  <a:off x="6924784" y="5717271"/>
                  <a:ext cx="6975" cy="51567"/>
                </a:xfrm>
                <a:custGeom>
                  <a:avLst/>
                  <a:gdLst>
                    <a:gd name="connsiteX0" fmla="*/ 0 w 6975"/>
                    <a:gd name="connsiteY0" fmla="*/ 0 h 51567"/>
                    <a:gd name="connsiteX1" fmla="*/ 4235 w 6975"/>
                    <a:gd name="connsiteY1" fmla="*/ 18310 h 51567"/>
                    <a:gd name="connsiteX2" fmla="*/ 2865 w 6975"/>
                    <a:gd name="connsiteY2" fmla="*/ 35624 h 51567"/>
                    <a:gd name="connsiteX3" fmla="*/ 6975 w 69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975" h="51567">
                      <a:moveTo>
                        <a:pt x="0" y="0"/>
                      </a:moveTo>
                      <a:cubicBezTo>
                        <a:pt x="3363" y="7723"/>
                        <a:pt x="4111" y="13951"/>
                        <a:pt x="4235" y="18310"/>
                      </a:cubicBezTo>
                      <a:cubicBezTo>
                        <a:pt x="4235" y="25285"/>
                        <a:pt x="2491" y="28524"/>
                        <a:pt x="2865" y="35624"/>
                      </a:cubicBezTo>
                      <a:cubicBezTo>
                        <a:pt x="3239" y="42474"/>
                        <a:pt x="5231" y="48079"/>
                        <a:pt x="697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2" name="Freeform 4697">
                  <a:extLst>
                    <a:ext uri="{FF2B5EF4-FFF2-40B4-BE49-F238E27FC236}">
                      <a16:creationId xmlns:a16="http://schemas.microsoft.com/office/drawing/2014/main" id="{4CCCAE6C-6C8D-AF1A-9FB7-F25BD0134E22}"/>
                    </a:ext>
                  </a:extLst>
                </p:cNvPr>
                <p:cNvSpPr/>
                <p:nvPr/>
              </p:nvSpPr>
              <p:spPr>
                <a:xfrm>
                  <a:off x="6922195" y="5757408"/>
                  <a:ext cx="26350" cy="26471"/>
                </a:xfrm>
                <a:custGeom>
                  <a:avLst/>
                  <a:gdLst>
                    <a:gd name="connsiteX0" fmla="*/ 97 w 26350"/>
                    <a:gd name="connsiteY0" fmla="*/ 14793 h 26471"/>
                    <a:gd name="connsiteX1" fmla="*/ 11556 w 26350"/>
                    <a:gd name="connsiteY1" fmla="*/ 95 h 26471"/>
                    <a:gd name="connsiteX2" fmla="*/ 26254 w 26350"/>
                    <a:gd name="connsiteY2" fmla="*/ 11679 h 26471"/>
                    <a:gd name="connsiteX3" fmla="*/ 14795 w 26350"/>
                    <a:gd name="connsiteY3" fmla="*/ 26377 h 26471"/>
                    <a:gd name="connsiteX4" fmla="*/ 97 w 26350"/>
                    <a:gd name="connsiteY4" fmla="*/ 1479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0">
                      <a:moveTo>
                        <a:pt x="97" y="14793"/>
                      </a:moveTo>
                      <a:cubicBezTo>
                        <a:pt x="-775" y="7569"/>
                        <a:pt x="4332" y="967"/>
                        <a:pt x="11556" y="95"/>
                      </a:cubicBezTo>
                      <a:cubicBezTo>
                        <a:pt x="18781" y="-777"/>
                        <a:pt x="25383" y="4455"/>
                        <a:pt x="26254" y="11679"/>
                      </a:cubicBezTo>
                      <a:cubicBezTo>
                        <a:pt x="27126" y="18903"/>
                        <a:pt x="22019" y="25505"/>
                        <a:pt x="14795" y="26377"/>
                      </a:cubicBezTo>
                      <a:cubicBezTo>
                        <a:pt x="7570" y="27248"/>
                        <a:pt x="969" y="22017"/>
                        <a:pt x="97"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3" name="Graphic 2987">
                <a:extLst>
                  <a:ext uri="{FF2B5EF4-FFF2-40B4-BE49-F238E27FC236}">
                    <a16:creationId xmlns:a16="http://schemas.microsoft.com/office/drawing/2014/main" id="{E44A3F39-DF33-AC05-5445-A1A984833CC7}"/>
                  </a:ext>
                </a:extLst>
              </p:cNvPr>
              <p:cNvGrpSpPr/>
              <p:nvPr/>
            </p:nvGrpSpPr>
            <p:grpSpPr>
              <a:xfrm>
                <a:off x="6936895" y="5632475"/>
                <a:ext cx="40795" cy="147943"/>
                <a:chOff x="6936895" y="5632475"/>
                <a:chExt cx="40795" cy="147943"/>
              </a:xfrm>
              <a:grpFill/>
            </p:grpSpPr>
            <p:sp>
              <p:nvSpPr>
                <p:cNvPr id="4781" name="Freeform 4699">
                  <a:extLst>
                    <a:ext uri="{FF2B5EF4-FFF2-40B4-BE49-F238E27FC236}">
                      <a16:creationId xmlns:a16="http://schemas.microsoft.com/office/drawing/2014/main" id="{7738F567-3FB2-B91D-4EC3-C664C6E93D40}"/>
                    </a:ext>
                  </a:extLst>
                </p:cNvPr>
                <p:cNvSpPr/>
                <p:nvPr/>
              </p:nvSpPr>
              <p:spPr>
                <a:xfrm>
                  <a:off x="6946608" y="5653124"/>
                  <a:ext cx="7151" cy="51816"/>
                </a:xfrm>
                <a:custGeom>
                  <a:avLst/>
                  <a:gdLst>
                    <a:gd name="connsiteX0" fmla="*/ 845 w 7151"/>
                    <a:gd name="connsiteY0" fmla="*/ 0 h 51816"/>
                    <a:gd name="connsiteX1" fmla="*/ 1094 w 7151"/>
                    <a:gd name="connsiteY1" fmla="*/ 18808 h 51816"/>
                    <a:gd name="connsiteX2" fmla="*/ 6450 w 7151"/>
                    <a:gd name="connsiteY2" fmla="*/ 35374 h 51816"/>
                    <a:gd name="connsiteX3" fmla="*/ 6201 w 715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51" h="51816">
                      <a:moveTo>
                        <a:pt x="845" y="0"/>
                      </a:moveTo>
                      <a:cubicBezTo>
                        <a:pt x="-649" y="8221"/>
                        <a:pt x="98" y="14573"/>
                        <a:pt x="1094" y="18808"/>
                      </a:cubicBezTo>
                      <a:cubicBezTo>
                        <a:pt x="2713" y="25659"/>
                        <a:pt x="5204"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2" name="Freeform 4700">
                  <a:extLst>
                    <a:ext uri="{FF2B5EF4-FFF2-40B4-BE49-F238E27FC236}">
                      <a16:creationId xmlns:a16="http://schemas.microsoft.com/office/drawing/2014/main" id="{8FC6008A-A65F-7D74-FCC8-728ECE97C38F}"/>
                    </a:ext>
                  </a:extLst>
                </p:cNvPr>
                <p:cNvSpPr/>
                <p:nvPr/>
              </p:nvSpPr>
              <p:spPr>
                <a:xfrm>
                  <a:off x="6953806" y="5647395"/>
                  <a:ext cx="6850" cy="51566"/>
                </a:xfrm>
                <a:custGeom>
                  <a:avLst/>
                  <a:gdLst>
                    <a:gd name="connsiteX0" fmla="*/ 6851 w 6850"/>
                    <a:gd name="connsiteY0" fmla="*/ 51567 h 51566"/>
                    <a:gd name="connsiteX1" fmla="*/ 2740 w 6850"/>
                    <a:gd name="connsiteY1" fmla="*/ 33257 h 51566"/>
                    <a:gd name="connsiteX2" fmla="*/ 4110 w 6850"/>
                    <a:gd name="connsiteY2" fmla="*/ 15943 h 51566"/>
                    <a:gd name="connsiteX3" fmla="*/ 0 w 6850"/>
                    <a:gd name="connsiteY3" fmla="*/ 0 h 51566"/>
                  </a:gdLst>
                  <a:ahLst/>
                  <a:cxnLst>
                    <a:cxn ang="0">
                      <a:pos x="connsiteX0" y="connsiteY0"/>
                    </a:cxn>
                    <a:cxn ang="0">
                      <a:pos x="connsiteX1" y="connsiteY1"/>
                    </a:cxn>
                    <a:cxn ang="0">
                      <a:pos x="connsiteX2" y="connsiteY2"/>
                    </a:cxn>
                    <a:cxn ang="0">
                      <a:pos x="connsiteX3" y="connsiteY3"/>
                    </a:cxn>
                  </a:cxnLst>
                  <a:rect l="l" t="t" r="r" b="b"/>
                  <a:pathLst>
                    <a:path w="6850" h="51566">
                      <a:moveTo>
                        <a:pt x="6851" y="51567"/>
                      </a:moveTo>
                      <a:cubicBezTo>
                        <a:pt x="3487" y="43844"/>
                        <a:pt x="2740" y="37616"/>
                        <a:pt x="2740" y="33257"/>
                      </a:cubicBezTo>
                      <a:cubicBezTo>
                        <a:pt x="2740" y="26281"/>
                        <a:pt x="4484" y="23043"/>
                        <a:pt x="4110" y="15943"/>
                      </a:cubicBezTo>
                      <a:cubicBezTo>
                        <a:pt x="3861" y="9093"/>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3" name="Freeform 4701">
                  <a:extLst>
                    <a:ext uri="{FF2B5EF4-FFF2-40B4-BE49-F238E27FC236}">
                      <a16:creationId xmlns:a16="http://schemas.microsoft.com/office/drawing/2014/main" id="{0ACAFC79-8401-D0BE-E7C3-97C0C93A5377}"/>
                    </a:ext>
                  </a:extLst>
                </p:cNvPr>
                <p:cNvSpPr/>
                <p:nvPr/>
              </p:nvSpPr>
              <p:spPr>
                <a:xfrm>
                  <a:off x="6936895" y="5632475"/>
                  <a:ext cx="26720" cy="26473"/>
                </a:xfrm>
                <a:custGeom>
                  <a:avLst/>
                  <a:gdLst>
                    <a:gd name="connsiteX0" fmla="*/ 26626 w 26720"/>
                    <a:gd name="connsiteY0" fmla="*/ 11681 h 26473"/>
                    <a:gd name="connsiteX1" fmla="*/ 14917 w 26720"/>
                    <a:gd name="connsiteY1" fmla="*/ 26378 h 26473"/>
                    <a:gd name="connsiteX2" fmla="*/ 95 w 26720"/>
                    <a:gd name="connsiteY2" fmla="*/ 14795 h 26473"/>
                    <a:gd name="connsiteX3" fmla="*/ 11803 w 26720"/>
                    <a:gd name="connsiteY3" fmla="*/ 97 h 26473"/>
                    <a:gd name="connsiteX4" fmla="*/ 26626 w 26720"/>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73">
                      <a:moveTo>
                        <a:pt x="26626" y="11681"/>
                      </a:moveTo>
                      <a:cubicBezTo>
                        <a:pt x="27498" y="18905"/>
                        <a:pt x="22267" y="25507"/>
                        <a:pt x="14917" y="26378"/>
                      </a:cubicBezTo>
                      <a:cubicBezTo>
                        <a:pt x="7569" y="27250"/>
                        <a:pt x="967" y="22019"/>
                        <a:pt x="95" y="14795"/>
                      </a:cubicBezTo>
                      <a:cubicBezTo>
                        <a:pt x="-777" y="7570"/>
                        <a:pt x="4455" y="969"/>
                        <a:pt x="11803" y="97"/>
                      </a:cubicBezTo>
                      <a:cubicBezTo>
                        <a:pt x="19153" y="-775"/>
                        <a:pt x="25754" y="4332"/>
                        <a:pt x="26626"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4" name="Freeform 4702">
                  <a:extLst>
                    <a:ext uri="{FF2B5EF4-FFF2-40B4-BE49-F238E27FC236}">
                      <a16:creationId xmlns:a16="http://schemas.microsoft.com/office/drawing/2014/main" id="{0B3AACAD-B817-3335-1084-296261D9A184}"/>
                    </a:ext>
                  </a:extLst>
                </p:cNvPr>
                <p:cNvSpPr/>
                <p:nvPr/>
              </p:nvSpPr>
              <p:spPr>
                <a:xfrm>
                  <a:off x="6961076" y="5707929"/>
                  <a:ext cx="7151" cy="51816"/>
                </a:xfrm>
                <a:custGeom>
                  <a:avLst/>
                  <a:gdLst>
                    <a:gd name="connsiteX0" fmla="*/ 6307 w 7151"/>
                    <a:gd name="connsiteY0" fmla="*/ 51816 h 51816"/>
                    <a:gd name="connsiteX1" fmla="*/ 6057 w 7151"/>
                    <a:gd name="connsiteY1" fmla="*/ 33008 h 51816"/>
                    <a:gd name="connsiteX2" fmla="*/ 701 w 7151"/>
                    <a:gd name="connsiteY2" fmla="*/ 16442 h 51816"/>
                    <a:gd name="connsiteX3" fmla="*/ 951 w 7151"/>
                    <a:gd name="connsiteY3" fmla="*/ 0 h 51816"/>
                  </a:gdLst>
                  <a:ahLst/>
                  <a:cxnLst>
                    <a:cxn ang="0">
                      <a:pos x="connsiteX0" y="connsiteY0"/>
                    </a:cxn>
                    <a:cxn ang="0">
                      <a:pos x="connsiteX1" y="connsiteY1"/>
                    </a:cxn>
                    <a:cxn ang="0">
                      <a:pos x="connsiteX2" y="connsiteY2"/>
                    </a:cxn>
                    <a:cxn ang="0">
                      <a:pos x="connsiteX3" y="connsiteY3"/>
                    </a:cxn>
                  </a:cxnLst>
                  <a:rect l="l" t="t" r="r" b="b"/>
                  <a:pathLst>
                    <a:path w="7151" h="51816">
                      <a:moveTo>
                        <a:pt x="6307" y="51816"/>
                      </a:moveTo>
                      <a:cubicBezTo>
                        <a:pt x="7801" y="43595"/>
                        <a:pt x="7054" y="37243"/>
                        <a:pt x="6057" y="33008"/>
                      </a:cubicBezTo>
                      <a:cubicBezTo>
                        <a:pt x="4438" y="26157"/>
                        <a:pt x="2072" y="23417"/>
                        <a:pt x="701" y="16442"/>
                      </a:cubicBezTo>
                      <a:cubicBezTo>
                        <a:pt x="-544" y="9715"/>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5" name="Freeform 4703">
                  <a:extLst>
                    <a:ext uri="{FF2B5EF4-FFF2-40B4-BE49-F238E27FC236}">
                      <a16:creationId xmlns:a16="http://schemas.microsoft.com/office/drawing/2014/main" id="{AE559443-F2BC-9788-815F-4BECB9F2CCC7}"/>
                    </a:ext>
                  </a:extLst>
                </p:cNvPr>
                <p:cNvSpPr/>
                <p:nvPr/>
              </p:nvSpPr>
              <p:spPr>
                <a:xfrm>
                  <a:off x="6954179" y="5713908"/>
                  <a:ext cx="6725" cy="51567"/>
                </a:xfrm>
                <a:custGeom>
                  <a:avLst/>
                  <a:gdLst>
                    <a:gd name="connsiteX0" fmla="*/ 0 w 6725"/>
                    <a:gd name="connsiteY0" fmla="*/ 0 h 51567"/>
                    <a:gd name="connsiteX1" fmla="*/ 4111 w 6725"/>
                    <a:gd name="connsiteY1" fmla="*/ 18310 h 51567"/>
                    <a:gd name="connsiteX2" fmla="*/ 2741 w 6725"/>
                    <a:gd name="connsiteY2" fmla="*/ 35624 h 51567"/>
                    <a:gd name="connsiteX3" fmla="*/ 6726 w 672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724" h="51567">
                      <a:moveTo>
                        <a:pt x="0" y="0"/>
                      </a:moveTo>
                      <a:cubicBezTo>
                        <a:pt x="3363" y="7723"/>
                        <a:pt x="4111" y="13950"/>
                        <a:pt x="4111" y="18310"/>
                      </a:cubicBezTo>
                      <a:cubicBezTo>
                        <a:pt x="4111" y="25285"/>
                        <a:pt x="2367" y="28524"/>
                        <a:pt x="2741" y="35624"/>
                      </a:cubicBezTo>
                      <a:cubicBezTo>
                        <a:pt x="3114" y="42474"/>
                        <a:pt x="5107" y="48079"/>
                        <a:pt x="672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6" name="Freeform 4704">
                  <a:extLst>
                    <a:ext uri="{FF2B5EF4-FFF2-40B4-BE49-F238E27FC236}">
                      <a16:creationId xmlns:a16="http://schemas.microsoft.com/office/drawing/2014/main" id="{481F3D20-79D8-74EF-F009-ABBF6157C9E7}"/>
                    </a:ext>
                  </a:extLst>
                </p:cNvPr>
                <p:cNvSpPr/>
                <p:nvPr/>
              </p:nvSpPr>
              <p:spPr>
                <a:xfrm>
                  <a:off x="6951344" y="5753921"/>
                  <a:ext cx="26346" cy="26498"/>
                </a:xfrm>
                <a:custGeom>
                  <a:avLst/>
                  <a:gdLst>
                    <a:gd name="connsiteX0" fmla="*/ 95 w 26346"/>
                    <a:gd name="connsiteY0" fmla="*/ 14793 h 26498"/>
                    <a:gd name="connsiteX1" fmla="*/ 11679 w 26346"/>
                    <a:gd name="connsiteY1" fmla="*/ 95 h 26498"/>
                    <a:gd name="connsiteX2" fmla="*/ 26252 w 26346"/>
                    <a:gd name="connsiteY2" fmla="*/ 11679 h 26498"/>
                    <a:gd name="connsiteX3" fmla="*/ 14668 w 26346"/>
                    <a:gd name="connsiteY3" fmla="*/ 26376 h 26498"/>
                    <a:gd name="connsiteX4" fmla="*/ 95 w 26346"/>
                    <a:gd name="connsiteY4" fmla="*/ 14793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98">
                      <a:moveTo>
                        <a:pt x="95" y="14793"/>
                      </a:moveTo>
                      <a:cubicBezTo>
                        <a:pt x="-777" y="7569"/>
                        <a:pt x="4454" y="967"/>
                        <a:pt x="11679" y="95"/>
                      </a:cubicBezTo>
                      <a:cubicBezTo>
                        <a:pt x="18903" y="-777"/>
                        <a:pt x="25504" y="4455"/>
                        <a:pt x="26252" y="11679"/>
                      </a:cubicBezTo>
                      <a:cubicBezTo>
                        <a:pt x="27124" y="18903"/>
                        <a:pt x="21893" y="25505"/>
                        <a:pt x="14668" y="26376"/>
                      </a:cubicBezTo>
                      <a:cubicBezTo>
                        <a:pt x="7568" y="27373"/>
                        <a:pt x="966" y="22142"/>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4" name="Graphic 2987">
                <a:extLst>
                  <a:ext uri="{FF2B5EF4-FFF2-40B4-BE49-F238E27FC236}">
                    <a16:creationId xmlns:a16="http://schemas.microsoft.com/office/drawing/2014/main" id="{31EB74CB-849C-623F-E0BB-4A52F966366B}"/>
                  </a:ext>
                </a:extLst>
              </p:cNvPr>
              <p:cNvGrpSpPr/>
              <p:nvPr/>
            </p:nvGrpSpPr>
            <p:grpSpPr>
              <a:xfrm>
                <a:off x="6966540" y="5628990"/>
                <a:ext cx="40421" cy="148140"/>
                <a:chOff x="6966540" y="5628990"/>
                <a:chExt cx="40421" cy="148140"/>
              </a:xfrm>
              <a:grpFill/>
            </p:grpSpPr>
            <p:sp>
              <p:nvSpPr>
                <p:cNvPr id="4775" name="Freeform 4706">
                  <a:extLst>
                    <a:ext uri="{FF2B5EF4-FFF2-40B4-BE49-F238E27FC236}">
                      <a16:creationId xmlns:a16="http://schemas.microsoft.com/office/drawing/2014/main" id="{DAFA1AAC-A10C-D856-1B2F-B956846A0331}"/>
                    </a:ext>
                  </a:extLst>
                </p:cNvPr>
                <p:cNvSpPr/>
                <p:nvPr/>
              </p:nvSpPr>
              <p:spPr>
                <a:xfrm>
                  <a:off x="6976120" y="5649636"/>
                  <a:ext cx="7000" cy="51940"/>
                </a:xfrm>
                <a:custGeom>
                  <a:avLst/>
                  <a:gdLst>
                    <a:gd name="connsiteX0" fmla="*/ 854 w 7000"/>
                    <a:gd name="connsiteY0" fmla="*/ 0 h 51940"/>
                    <a:gd name="connsiteX1" fmla="*/ 978 w 7000"/>
                    <a:gd name="connsiteY1" fmla="*/ 18808 h 51940"/>
                    <a:gd name="connsiteX2" fmla="*/ 6334 w 7000"/>
                    <a:gd name="connsiteY2" fmla="*/ 35374 h 51940"/>
                    <a:gd name="connsiteX3" fmla="*/ 6085 w 700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000" h="51940">
                      <a:moveTo>
                        <a:pt x="854" y="0"/>
                      </a:moveTo>
                      <a:cubicBezTo>
                        <a:pt x="-641" y="8221"/>
                        <a:pt x="106" y="14573"/>
                        <a:pt x="978" y="18808"/>
                      </a:cubicBezTo>
                      <a:cubicBezTo>
                        <a:pt x="2598" y="25659"/>
                        <a:pt x="4964" y="28399"/>
                        <a:pt x="6334" y="35374"/>
                      </a:cubicBezTo>
                      <a:cubicBezTo>
                        <a:pt x="7580" y="42101"/>
                        <a:pt x="6832" y="47955"/>
                        <a:pt x="608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6" name="Freeform 4707">
                  <a:extLst>
                    <a:ext uri="{FF2B5EF4-FFF2-40B4-BE49-F238E27FC236}">
                      <a16:creationId xmlns:a16="http://schemas.microsoft.com/office/drawing/2014/main" id="{31E0847B-E80C-4F78-8DAE-DFE539DB31FF}"/>
                    </a:ext>
                  </a:extLst>
                </p:cNvPr>
                <p:cNvSpPr/>
                <p:nvPr/>
              </p:nvSpPr>
              <p:spPr>
                <a:xfrm>
                  <a:off x="6983450" y="5643907"/>
                  <a:ext cx="6601" cy="51691"/>
                </a:xfrm>
                <a:custGeom>
                  <a:avLst/>
                  <a:gdLst>
                    <a:gd name="connsiteX0" fmla="*/ 6602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7" name="Freeform 4708">
                  <a:extLst>
                    <a:ext uri="{FF2B5EF4-FFF2-40B4-BE49-F238E27FC236}">
                      <a16:creationId xmlns:a16="http://schemas.microsoft.com/office/drawing/2014/main" id="{F1C4593D-622F-2118-22FD-ED28AF16B9A9}"/>
                    </a:ext>
                  </a:extLst>
                </p:cNvPr>
                <p:cNvSpPr/>
                <p:nvPr/>
              </p:nvSpPr>
              <p:spPr>
                <a:xfrm>
                  <a:off x="6966540" y="5628990"/>
                  <a:ext cx="26596" cy="26471"/>
                </a:xfrm>
                <a:custGeom>
                  <a:avLst/>
                  <a:gdLst>
                    <a:gd name="connsiteX0" fmla="*/ 26501 w 26596"/>
                    <a:gd name="connsiteY0" fmla="*/ 11679 h 26471"/>
                    <a:gd name="connsiteX1" fmla="*/ 14793 w 26596"/>
                    <a:gd name="connsiteY1" fmla="*/ 26376 h 26471"/>
                    <a:gd name="connsiteX2" fmla="*/ 95 w 26596"/>
                    <a:gd name="connsiteY2" fmla="*/ 14793 h 26471"/>
                    <a:gd name="connsiteX3" fmla="*/ 11803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793" y="26376"/>
                      </a:cubicBezTo>
                      <a:cubicBezTo>
                        <a:pt x="7444" y="27248"/>
                        <a:pt x="967" y="22017"/>
                        <a:pt x="95" y="14793"/>
                      </a:cubicBezTo>
                      <a:cubicBezTo>
                        <a:pt x="-777" y="7569"/>
                        <a:pt x="4454" y="967"/>
                        <a:pt x="11803" y="95"/>
                      </a:cubicBezTo>
                      <a:cubicBezTo>
                        <a:pt x="19153"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8" name="Freeform 4709">
                  <a:extLst>
                    <a:ext uri="{FF2B5EF4-FFF2-40B4-BE49-F238E27FC236}">
                      <a16:creationId xmlns:a16="http://schemas.microsoft.com/office/drawing/2014/main" id="{4E5EE4DC-DFED-F60C-9EDA-863A591A1A37}"/>
                    </a:ext>
                  </a:extLst>
                </p:cNvPr>
                <p:cNvSpPr/>
                <p:nvPr/>
              </p:nvSpPr>
              <p:spPr>
                <a:xfrm>
                  <a:off x="6990507" y="5704442"/>
                  <a:ext cx="7000" cy="51940"/>
                </a:xfrm>
                <a:custGeom>
                  <a:avLst/>
                  <a:gdLst>
                    <a:gd name="connsiteX0" fmla="*/ 6146 w 7000"/>
                    <a:gd name="connsiteY0" fmla="*/ 51941 h 51940"/>
                    <a:gd name="connsiteX1" fmla="*/ 6022 w 7000"/>
                    <a:gd name="connsiteY1" fmla="*/ 33132 h 51940"/>
                    <a:gd name="connsiteX2" fmla="*/ 667 w 7000"/>
                    <a:gd name="connsiteY2" fmla="*/ 16566 h 51940"/>
                    <a:gd name="connsiteX3" fmla="*/ 915 w 7000"/>
                    <a:gd name="connsiteY3" fmla="*/ 0 h 51940"/>
                  </a:gdLst>
                  <a:ahLst/>
                  <a:cxnLst>
                    <a:cxn ang="0">
                      <a:pos x="connsiteX0" y="connsiteY0"/>
                    </a:cxn>
                    <a:cxn ang="0">
                      <a:pos x="connsiteX1" y="connsiteY1"/>
                    </a:cxn>
                    <a:cxn ang="0">
                      <a:pos x="connsiteX2" y="connsiteY2"/>
                    </a:cxn>
                    <a:cxn ang="0">
                      <a:pos x="connsiteX3" y="connsiteY3"/>
                    </a:cxn>
                  </a:cxnLst>
                  <a:rect l="l" t="t" r="r" b="b"/>
                  <a:pathLst>
                    <a:path w="7000" h="51940">
                      <a:moveTo>
                        <a:pt x="6146" y="51941"/>
                      </a:moveTo>
                      <a:cubicBezTo>
                        <a:pt x="7642" y="43720"/>
                        <a:pt x="6894" y="37367"/>
                        <a:pt x="6022" y="33132"/>
                      </a:cubicBezTo>
                      <a:cubicBezTo>
                        <a:pt x="4403" y="26282"/>
                        <a:pt x="2037" y="23542"/>
                        <a:pt x="667" y="16566"/>
                      </a:cubicBezTo>
                      <a:cubicBezTo>
                        <a:pt x="-579" y="9840"/>
                        <a:pt x="168" y="3986"/>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9" name="Freeform 4710">
                  <a:extLst>
                    <a:ext uri="{FF2B5EF4-FFF2-40B4-BE49-F238E27FC236}">
                      <a16:creationId xmlns:a16="http://schemas.microsoft.com/office/drawing/2014/main" id="{2478D4A3-7385-A63C-1E68-C9ED194B912E}"/>
                    </a:ext>
                  </a:extLst>
                </p:cNvPr>
                <p:cNvSpPr/>
                <p:nvPr/>
              </p:nvSpPr>
              <p:spPr>
                <a:xfrm>
                  <a:off x="6983575" y="5710421"/>
                  <a:ext cx="6726" cy="51691"/>
                </a:xfrm>
                <a:custGeom>
                  <a:avLst/>
                  <a:gdLst>
                    <a:gd name="connsiteX0" fmla="*/ 0 w 6726"/>
                    <a:gd name="connsiteY0" fmla="*/ 0 h 51691"/>
                    <a:gd name="connsiteX1" fmla="*/ 4111 w 6726"/>
                    <a:gd name="connsiteY1" fmla="*/ 18310 h 51691"/>
                    <a:gd name="connsiteX2" fmla="*/ 2741 w 6726"/>
                    <a:gd name="connsiteY2" fmla="*/ 35623 h 51691"/>
                    <a:gd name="connsiteX3" fmla="*/ 6727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0" y="0"/>
                      </a:moveTo>
                      <a:cubicBezTo>
                        <a:pt x="3363" y="7723"/>
                        <a:pt x="4111" y="13950"/>
                        <a:pt x="4111" y="18310"/>
                      </a:cubicBezTo>
                      <a:cubicBezTo>
                        <a:pt x="4111" y="25285"/>
                        <a:pt x="2367" y="28524"/>
                        <a:pt x="2741" y="35623"/>
                      </a:cubicBezTo>
                      <a:cubicBezTo>
                        <a:pt x="2989" y="42474"/>
                        <a:pt x="5107" y="48079"/>
                        <a:pt x="672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0" name="Freeform 4711">
                  <a:extLst>
                    <a:ext uri="{FF2B5EF4-FFF2-40B4-BE49-F238E27FC236}">
                      <a16:creationId xmlns:a16="http://schemas.microsoft.com/office/drawing/2014/main" id="{106D1F7E-5ECC-90AA-9375-4B0C4D183468}"/>
                    </a:ext>
                  </a:extLst>
                </p:cNvPr>
                <p:cNvSpPr/>
                <p:nvPr/>
              </p:nvSpPr>
              <p:spPr>
                <a:xfrm>
                  <a:off x="6980615" y="5750558"/>
                  <a:ext cx="26346" cy="26572"/>
                </a:xfrm>
                <a:custGeom>
                  <a:avLst/>
                  <a:gdLst>
                    <a:gd name="connsiteX0" fmla="*/ 95 w 26346"/>
                    <a:gd name="connsiteY0" fmla="*/ 14793 h 26572"/>
                    <a:gd name="connsiteX1" fmla="*/ 11679 w 26346"/>
                    <a:gd name="connsiteY1" fmla="*/ 95 h 26572"/>
                    <a:gd name="connsiteX2" fmla="*/ 26252 w 26346"/>
                    <a:gd name="connsiteY2" fmla="*/ 11803 h 26572"/>
                    <a:gd name="connsiteX3" fmla="*/ 14668 w 26346"/>
                    <a:gd name="connsiteY3" fmla="*/ 26501 h 26572"/>
                    <a:gd name="connsiteX4" fmla="*/ 95 w 26346"/>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72">
                      <a:moveTo>
                        <a:pt x="95" y="14793"/>
                      </a:moveTo>
                      <a:cubicBezTo>
                        <a:pt x="-777" y="7568"/>
                        <a:pt x="4454" y="967"/>
                        <a:pt x="11679" y="95"/>
                      </a:cubicBezTo>
                      <a:cubicBezTo>
                        <a:pt x="18903" y="-777"/>
                        <a:pt x="25504" y="4454"/>
                        <a:pt x="26252" y="11803"/>
                      </a:cubicBezTo>
                      <a:cubicBezTo>
                        <a:pt x="27124" y="19028"/>
                        <a:pt x="21893" y="25629"/>
                        <a:pt x="14668" y="26501"/>
                      </a:cubicBezTo>
                      <a:cubicBezTo>
                        <a:pt x="7568" y="27248"/>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5" name="Graphic 2987">
                <a:extLst>
                  <a:ext uri="{FF2B5EF4-FFF2-40B4-BE49-F238E27FC236}">
                    <a16:creationId xmlns:a16="http://schemas.microsoft.com/office/drawing/2014/main" id="{D5176C80-C05C-4419-A356-59290DB9122C}"/>
                  </a:ext>
                </a:extLst>
              </p:cNvPr>
              <p:cNvGrpSpPr/>
              <p:nvPr/>
            </p:nvGrpSpPr>
            <p:grpSpPr>
              <a:xfrm>
                <a:off x="6996062" y="5625625"/>
                <a:ext cx="40171" cy="148142"/>
                <a:chOff x="6996062" y="5625625"/>
                <a:chExt cx="40171" cy="148142"/>
              </a:xfrm>
              <a:grpFill/>
            </p:grpSpPr>
            <p:sp>
              <p:nvSpPr>
                <p:cNvPr id="4769" name="Freeform 4713">
                  <a:extLst>
                    <a:ext uri="{FF2B5EF4-FFF2-40B4-BE49-F238E27FC236}">
                      <a16:creationId xmlns:a16="http://schemas.microsoft.com/office/drawing/2014/main" id="{F3525DF3-2DE0-A212-048A-E6DC9A864ABB}"/>
                    </a:ext>
                  </a:extLst>
                </p:cNvPr>
                <p:cNvSpPr/>
                <p:nvPr/>
              </p:nvSpPr>
              <p:spPr>
                <a:xfrm>
                  <a:off x="7005549" y="5646274"/>
                  <a:ext cx="7091" cy="51940"/>
                </a:xfrm>
                <a:custGeom>
                  <a:avLst/>
                  <a:gdLst>
                    <a:gd name="connsiteX0" fmla="*/ 945 w 7091"/>
                    <a:gd name="connsiteY0" fmla="*/ 0 h 51940"/>
                    <a:gd name="connsiteX1" fmla="*/ 1069 w 7091"/>
                    <a:gd name="connsiteY1" fmla="*/ 18808 h 51940"/>
                    <a:gd name="connsiteX2" fmla="*/ 6425 w 7091"/>
                    <a:gd name="connsiteY2" fmla="*/ 35374 h 51940"/>
                    <a:gd name="connsiteX3" fmla="*/ 6176 w 709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7091" h="51940">
                      <a:moveTo>
                        <a:pt x="945" y="0"/>
                      </a:moveTo>
                      <a:cubicBezTo>
                        <a:pt x="-675" y="8221"/>
                        <a:pt x="73" y="14573"/>
                        <a:pt x="1069" y="18808"/>
                      </a:cubicBezTo>
                      <a:cubicBezTo>
                        <a:pt x="2564" y="25659"/>
                        <a:pt x="5055" y="28399"/>
                        <a:pt x="6425" y="35374"/>
                      </a:cubicBezTo>
                      <a:cubicBezTo>
                        <a:pt x="7671" y="42101"/>
                        <a:pt x="6923" y="48079"/>
                        <a:pt x="617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0" name="Freeform 4714">
                  <a:extLst>
                    <a:ext uri="{FF2B5EF4-FFF2-40B4-BE49-F238E27FC236}">
                      <a16:creationId xmlns:a16="http://schemas.microsoft.com/office/drawing/2014/main" id="{F855D489-9ED9-38AA-975D-111920209BCE}"/>
                    </a:ext>
                  </a:extLst>
                </p:cNvPr>
                <p:cNvSpPr/>
                <p:nvPr/>
              </p:nvSpPr>
              <p:spPr>
                <a:xfrm>
                  <a:off x="7012846" y="5640419"/>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1" name="Freeform 4715">
                  <a:extLst>
                    <a:ext uri="{FF2B5EF4-FFF2-40B4-BE49-F238E27FC236}">
                      <a16:creationId xmlns:a16="http://schemas.microsoft.com/office/drawing/2014/main" id="{17306896-BCAB-BA08-107D-18255E8F1A40}"/>
                    </a:ext>
                  </a:extLst>
                </p:cNvPr>
                <p:cNvSpPr/>
                <p:nvPr/>
              </p:nvSpPr>
              <p:spPr>
                <a:xfrm>
                  <a:off x="6996062" y="5625625"/>
                  <a:ext cx="26592" cy="26473"/>
                </a:xfrm>
                <a:custGeom>
                  <a:avLst/>
                  <a:gdLst>
                    <a:gd name="connsiteX0" fmla="*/ 26499 w 26592"/>
                    <a:gd name="connsiteY0" fmla="*/ 11681 h 26473"/>
                    <a:gd name="connsiteX1" fmla="*/ 14791 w 26592"/>
                    <a:gd name="connsiteY1" fmla="*/ 26378 h 26473"/>
                    <a:gd name="connsiteX2" fmla="*/ 93 w 26592"/>
                    <a:gd name="connsiteY2" fmla="*/ 14795 h 26473"/>
                    <a:gd name="connsiteX3" fmla="*/ 11802 w 26592"/>
                    <a:gd name="connsiteY3" fmla="*/ 97 h 26473"/>
                    <a:gd name="connsiteX4" fmla="*/ 26499 w 26592"/>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73">
                      <a:moveTo>
                        <a:pt x="26499" y="11681"/>
                      </a:moveTo>
                      <a:cubicBezTo>
                        <a:pt x="27371" y="18905"/>
                        <a:pt x="22015" y="25506"/>
                        <a:pt x="14791" y="26378"/>
                      </a:cubicBezTo>
                      <a:cubicBezTo>
                        <a:pt x="7442" y="27250"/>
                        <a:pt x="965" y="22019"/>
                        <a:pt x="93" y="14795"/>
                      </a:cubicBezTo>
                      <a:cubicBezTo>
                        <a:pt x="-779" y="7570"/>
                        <a:pt x="4577" y="968"/>
                        <a:pt x="11802" y="97"/>
                      </a:cubicBezTo>
                      <a:cubicBezTo>
                        <a:pt x="19026" y="-775"/>
                        <a:pt x="25752" y="4332"/>
                        <a:pt x="26499"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2" name="Freeform 4716">
                  <a:extLst>
                    <a:ext uri="{FF2B5EF4-FFF2-40B4-BE49-F238E27FC236}">
                      <a16:creationId xmlns:a16="http://schemas.microsoft.com/office/drawing/2014/main" id="{E5884D52-D654-913A-2CB7-4AFBDC9C8147}"/>
                    </a:ext>
                  </a:extLst>
                </p:cNvPr>
                <p:cNvSpPr/>
                <p:nvPr/>
              </p:nvSpPr>
              <p:spPr>
                <a:xfrm>
                  <a:off x="7019902" y="5701079"/>
                  <a:ext cx="6914" cy="51940"/>
                </a:xfrm>
                <a:custGeom>
                  <a:avLst/>
                  <a:gdLst>
                    <a:gd name="connsiteX0" fmla="*/ 6022 w 6914"/>
                    <a:gd name="connsiteY0" fmla="*/ 51941 h 51940"/>
                    <a:gd name="connsiteX1" fmla="*/ 5898 w 6914"/>
                    <a:gd name="connsiteY1" fmla="*/ 33132 h 51940"/>
                    <a:gd name="connsiteX2" fmla="*/ 667 w 6914"/>
                    <a:gd name="connsiteY2" fmla="*/ 16566 h 51940"/>
                    <a:gd name="connsiteX3" fmla="*/ 915 w 6914"/>
                    <a:gd name="connsiteY3" fmla="*/ 0 h 51940"/>
                  </a:gdLst>
                  <a:ahLst/>
                  <a:cxnLst>
                    <a:cxn ang="0">
                      <a:pos x="connsiteX0" y="connsiteY0"/>
                    </a:cxn>
                    <a:cxn ang="0">
                      <a:pos x="connsiteX1" y="connsiteY1"/>
                    </a:cxn>
                    <a:cxn ang="0">
                      <a:pos x="connsiteX2" y="connsiteY2"/>
                    </a:cxn>
                    <a:cxn ang="0">
                      <a:pos x="connsiteX3" y="connsiteY3"/>
                    </a:cxn>
                  </a:cxnLst>
                  <a:rect l="l" t="t" r="r" b="b"/>
                  <a:pathLst>
                    <a:path w="6914" h="51940">
                      <a:moveTo>
                        <a:pt x="6022" y="51941"/>
                      </a:moveTo>
                      <a:cubicBezTo>
                        <a:pt x="7517" y="43720"/>
                        <a:pt x="6894" y="37367"/>
                        <a:pt x="5898" y="33132"/>
                      </a:cubicBezTo>
                      <a:cubicBezTo>
                        <a:pt x="4403" y="26281"/>
                        <a:pt x="1912" y="23542"/>
                        <a:pt x="667" y="16566"/>
                      </a:cubicBezTo>
                      <a:cubicBezTo>
                        <a:pt x="-579" y="9840"/>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3" name="Freeform 4717">
                  <a:extLst>
                    <a:ext uri="{FF2B5EF4-FFF2-40B4-BE49-F238E27FC236}">
                      <a16:creationId xmlns:a16="http://schemas.microsoft.com/office/drawing/2014/main" id="{15519707-1011-4A18-7AEB-442A17239FE0}"/>
                    </a:ext>
                  </a:extLst>
                </p:cNvPr>
                <p:cNvSpPr/>
                <p:nvPr/>
              </p:nvSpPr>
              <p:spPr>
                <a:xfrm>
                  <a:off x="7012971" y="5707058"/>
                  <a:ext cx="6601" cy="51691"/>
                </a:xfrm>
                <a:custGeom>
                  <a:avLst/>
                  <a:gdLst>
                    <a:gd name="connsiteX0" fmla="*/ 0 w 6601"/>
                    <a:gd name="connsiteY0" fmla="*/ 0 h 51691"/>
                    <a:gd name="connsiteX1" fmla="*/ 4110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3950"/>
                        <a:pt x="4110" y="18310"/>
                      </a:cubicBezTo>
                      <a:cubicBezTo>
                        <a:pt x="4110" y="25285"/>
                        <a:pt x="2366" y="28523"/>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4" name="Freeform 4718">
                  <a:extLst>
                    <a:ext uri="{FF2B5EF4-FFF2-40B4-BE49-F238E27FC236}">
                      <a16:creationId xmlns:a16="http://schemas.microsoft.com/office/drawing/2014/main" id="{B0E8E1E0-5683-A8CB-9602-14384103474C}"/>
                    </a:ext>
                  </a:extLst>
                </p:cNvPr>
                <p:cNvSpPr/>
                <p:nvPr/>
              </p:nvSpPr>
              <p:spPr>
                <a:xfrm>
                  <a:off x="7009886" y="5747195"/>
                  <a:ext cx="26347" cy="26572"/>
                </a:xfrm>
                <a:custGeom>
                  <a:avLst/>
                  <a:gdLst>
                    <a:gd name="connsiteX0" fmla="*/ 95 w 26347"/>
                    <a:gd name="connsiteY0" fmla="*/ 14793 h 26572"/>
                    <a:gd name="connsiteX1" fmla="*/ 11679 w 26347"/>
                    <a:gd name="connsiteY1" fmla="*/ 95 h 26572"/>
                    <a:gd name="connsiteX2" fmla="*/ 26253 w 26347"/>
                    <a:gd name="connsiteY2" fmla="*/ 11803 h 26572"/>
                    <a:gd name="connsiteX3" fmla="*/ 14669 w 26347"/>
                    <a:gd name="connsiteY3" fmla="*/ 26501 h 26572"/>
                    <a:gd name="connsiteX4" fmla="*/ 95 w 26347"/>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72">
                      <a:moveTo>
                        <a:pt x="95" y="14793"/>
                      </a:moveTo>
                      <a:cubicBezTo>
                        <a:pt x="-777" y="7568"/>
                        <a:pt x="4455" y="967"/>
                        <a:pt x="11679" y="95"/>
                      </a:cubicBezTo>
                      <a:cubicBezTo>
                        <a:pt x="18903" y="-777"/>
                        <a:pt x="25381" y="4454"/>
                        <a:pt x="26253" y="11803"/>
                      </a:cubicBezTo>
                      <a:cubicBezTo>
                        <a:pt x="27125" y="19028"/>
                        <a:pt x="21893" y="25629"/>
                        <a:pt x="14669" y="26501"/>
                      </a:cubicBezTo>
                      <a:cubicBezTo>
                        <a:pt x="7444" y="27249"/>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6" name="Graphic 2987">
                <a:extLst>
                  <a:ext uri="{FF2B5EF4-FFF2-40B4-BE49-F238E27FC236}">
                    <a16:creationId xmlns:a16="http://schemas.microsoft.com/office/drawing/2014/main" id="{8C892E68-4802-6D82-ACCF-2D1CD9521874}"/>
                  </a:ext>
                </a:extLst>
              </p:cNvPr>
              <p:cNvGrpSpPr/>
              <p:nvPr/>
            </p:nvGrpSpPr>
            <p:grpSpPr>
              <a:xfrm>
                <a:off x="7025457" y="5622139"/>
                <a:ext cx="40022" cy="148066"/>
                <a:chOff x="7025457" y="5622139"/>
                <a:chExt cx="40022" cy="148066"/>
              </a:xfrm>
              <a:grpFill/>
            </p:grpSpPr>
            <p:sp>
              <p:nvSpPr>
                <p:cNvPr id="4763" name="Freeform 4720">
                  <a:extLst>
                    <a:ext uri="{FF2B5EF4-FFF2-40B4-BE49-F238E27FC236}">
                      <a16:creationId xmlns:a16="http://schemas.microsoft.com/office/drawing/2014/main" id="{6C4CE02F-0037-00A7-C1B0-72C9E816F586}"/>
                    </a:ext>
                  </a:extLst>
                </p:cNvPr>
                <p:cNvSpPr/>
                <p:nvPr/>
              </p:nvSpPr>
              <p:spPr>
                <a:xfrm>
                  <a:off x="7035069" y="5642786"/>
                  <a:ext cx="6959" cy="51940"/>
                </a:xfrm>
                <a:custGeom>
                  <a:avLst/>
                  <a:gdLst>
                    <a:gd name="connsiteX0" fmla="*/ 945 w 6959"/>
                    <a:gd name="connsiteY0" fmla="*/ 0 h 51940"/>
                    <a:gd name="connsiteX1" fmla="*/ 1069 w 6959"/>
                    <a:gd name="connsiteY1" fmla="*/ 18808 h 51940"/>
                    <a:gd name="connsiteX2" fmla="*/ 6301 w 6959"/>
                    <a:gd name="connsiteY2" fmla="*/ 35374 h 51940"/>
                    <a:gd name="connsiteX3" fmla="*/ 5927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0"/>
                      </a:moveTo>
                      <a:cubicBezTo>
                        <a:pt x="-675" y="8221"/>
                        <a:pt x="73" y="14573"/>
                        <a:pt x="1069" y="18808"/>
                      </a:cubicBezTo>
                      <a:cubicBezTo>
                        <a:pt x="2564" y="25659"/>
                        <a:pt x="5055" y="28399"/>
                        <a:pt x="6301" y="35374"/>
                      </a:cubicBezTo>
                      <a:cubicBezTo>
                        <a:pt x="7546" y="42225"/>
                        <a:pt x="6799" y="48079"/>
                        <a:pt x="5927"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4" name="Freeform 4721">
                  <a:extLst>
                    <a:ext uri="{FF2B5EF4-FFF2-40B4-BE49-F238E27FC236}">
                      <a16:creationId xmlns:a16="http://schemas.microsoft.com/office/drawing/2014/main" id="{5A003461-8EE7-CC45-45F6-AAAC364B0CBA}"/>
                    </a:ext>
                  </a:extLst>
                </p:cNvPr>
                <p:cNvSpPr/>
                <p:nvPr/>
              </p:nvSpPr>
              <p:spPr>
                <a:xfrm>
                  <a:off x="7042491" y="5637056"/>
                  <a:ext cx="6476" cy="51691"/>
                </a:xfrm>
                <a:custGeom>
                  <a:avLst/>
                  <a:gdLst>
                    <a:gd name="connsiteX0" fmla="*/ 6476 w 6476"/>
                    <a:gd name="connsiteY0" fmla="*/ 51692 h 51691"/>
                    <a:gd name="connsiteX1" fmla="*/ 2491 w 6476"/>
                    <a:gd name="connsiteY1" fmla="*/ 33382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2"/>
                      </a:moveTo>
                      <a:cubicBezTo>
                        <a:pt x="3114" y="43969"/>
                        <a:pt x="2491" y="37741"/>
                        <a:pt x="2491" y="33382"/>
                      </a:cubicBezTo>
                      <a:cubicBezTo>
                        <a:pt x="2491" y="26407"/>
                        <a:pt x="4235" y="23043"/>
                        <a:pt x="3985" y="16068"/>
                      </a:cubicBezTo>
                      <a:cubicBezTo>
                        <a:pt x="3737" y="9218"/>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5" name="Freeform 4722">
                  <a:extLst>
                    <a:ext uri="{FF2B5EF4-FFF2-40B4-BE49-F238E27FC236}">
                      <a16:creationId xmlns:a16="http://schemas.microsoft.com/office/drawing/2014/main" id="{B7593801-ED63-2673-0C50-AACFA37DE7FC}"/>
                    </a:ext>
                  </a:extLst>
                </p:cNvPr>
                <p:cNvSpPr/>
                <p:nvPr/>
              </p:nvSpPr>
              <p:spPr>
                <a:xfrm>
                  <a:off x="7025457" y="5622139"/>
                  <a:ext cx="26694" cy="26471"/>
                </a:xfrm>
                <a:custGeom>
                  <a:avLst/>
                  <a:gdLst>
                    <a:gd name="connsiteX0" fmla="*/ 26624 w 26694"/>
                    <a:gd name="connsiteY0" fmla="*/ 11803 h 26471"/>
                    <a:gd name="connsiteX1" fmla="*/ 14791 w 26694"/>
                    <a:gd name="connsiteY1" fmla="*/ 26376 h 26471"/>
                    <a:gd name="connsiteX2" fmla="*/ 93 w 26694"/>
                    <a:gd name="connsiteY2" fmla="*/ 14793 h 26471"/>
                    <a:gd name="connsiteX3" fmla="*/ 11802 w 26694"/>
                    <a:gd name="connsiteY3" fmla="*/ 95 h 26471"/>
                    <a:gd name="connsiteX4" fmla="*/ 26624 w 26694"/>
                    <a:gd name="connsiteY4" fmla="*/ 1180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70">
                      <a:moveTo>
                        <a:pt x="26624" y="11803"/>
                      </a:moveTo>
                      <a:cubicBezTo>
                        <a:pt x="27371" y="19152"/>
                        <a:pt x="22140" y="25504"/>
                        <a:pt x="14791" y="26376"/>
                      </a:cubicBezTo>
                      <a:cubicBezTo>
                        <a:pt x="7442" y="27248"/>
                        <a:pt x="965" y="22017"/>
                        <a:pt x="93" y="14793"/>
                      </a:cubicBezTo>
                      <a:cubicBezTo>
                        <a:pt x="-779" y="7568"/>
                        <a:pt x="4578" y="967"/>
                        <a:pt x="11802" y="95"/>
                      </a:cubicBezTo>
                      <a:cubicBezTo>
                        <a:pt x="19275" y="-777"/>
                        <a:pt x="25877" y="4454"/>
                        <a:pt x="26624"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6" name="Freeform 4723">
                  <a:extLst>
                    <a:ext uri="{FF2B5EF4-FFF2-40B4-BE49-F238E27FC236}">
                      <a16:creationId xmlns:a16="http://schemas.microsoft.com/office/drawing/2014/main" id="{88D03354-A0BE-7B3A-AE0F-F38E445F3ED2}"/>
                    </a:ext>
                  </a:extLst>
                </p:cNvPr>
                <p:cNvSpPr/>
                <p:nvPr/>
              </p:nvSpPr>
              <p:spPr>
                <a:xfrm>
                  <a:off x="7049180" y="5697591"/>
                  <a:ext cx="6959" cy="51940"/>
                </a:xfrm>
                <a:custGeom>
                  <a:avLst/>
                  <a:gdLst>
                    <a:gd name="connsiteX0" fmla="*/ 6015 w 6959"/>
                    <a:gd name="connsiteY0" fmla="*/ 51941 h 51940"/>
                    <a:gd name="connsiteX1" fmla="*/ 5890 w 6959"/>
                    <a:gd name="connsiteY1" fmla="*/ 33132 h 51940"/>
                    <a:gd name="connsiteX2" fmla="*/ 659 w 6959"/>
                    <a:gd name="connsiteY2" fmla="*/ 16566 h 51940"/>
                    <a:gd name="connsiteX3" fmla="*/ 1033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51941"/>
                      </a:moveTo>
                      <a:cubicBezTo>
                        <a:pt x="7634" y="43720"/>
                        <a:pt x="6887" y="37367"/>
                        <a:pt x="5890" y="33132"/>
                      </a:cubicBezTo>
                      <a:cubicBezTo>
                        <a:pt x="4395" y="26281"/>
                        <a:pt x="1905" y="23541"/>
                        <a:pt x="659" y="16566"/>
                      </a:cubicBezTo>
                      <a:cubicBezTo>
                        <a:pt x="-586" y="9715"/>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7" name="Freeform 4724">
                  <a:extLst>
                    <a:ext uri="{FF2B5EF4-FFF2-40B4-BE49-F238E27FC236}">
                      <a16:creationId xmlns:a16="http://schemas.microsoft.com/office/drawing/2014/main" id="{91D8083D-E23F-DD7E-8AC2-ED6B94F7ED42}"/>
                    </a:ext>
                  </a:extLst>
                </p:cNvPr>
                <p:cNvSpPr/>
                <p:nvPr/>
              </p:nvSpPr>
              <p:spPr>
                <a:xfrm>
                  <a:off x="7042366" y="5703694"/>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3950"/>
                        <a:pt x="3986" y="18310"/>
                      </a:cubicBezTo>
                      <a:cubicBezTo>
                        <a:pt x="3986" y="25285"/>
                        <a:pt x="2242"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8" name="Freeform 4725">
                  <a:extLst>
                    <a:ext uri="{FF2B5EF4-FFF2-40B4-BE49-F238E27FC236}">
                      <a16:creationId xmlns:a16="http://schemas.microsoft.com/office/drawing/2014/main" id="{F66D4BA2-01B0-927D-A643-2B286BE7F9C7}"/>
                    </a:ext>
                  </a:extLst>
                </p:cNvPr>
                <p:cNvSpPr/>
                <p:nvPr/>
              </p:nvSpPr>
              <p:spPr>
                <a:xfrm>
                  <a:off x="7039157" y="5743709"/>
                  <a:ext cx="26322" cy="26496"/>
                </a:xfrm>
                <a:custGeom>
                  <a:avLst/>
                  <a:gdLst>
                    <a:gd name="connsiteX0" fmla="*/ 95 w 26322"/>
                    <a:gd name="connsiteY0" fmla="*/ 14791 h 26496"/>
                    <a:gd name="connsiteX1" fmla="*/ 11679 w 26322"/>
                    <a:gd name="connsiteY1" fmla="*/ 93 h 26496"/>
                    <a:gd name="connsiteX2" fmla="*/ 26252 w 26322"/>
                    <a:gd name="connsiteY2" fmla="*/ 11802 h 26496"/>
                    <a:gd name="connsiteX3" fmla="*/ 14668 w 26322"/>
                    <a:gd name="connsiteY3" fmla="*/ 26375 h 26496"/>
                    <a:gd name="connsiteX4" fmla="*/ 95 w 26322"/>
                    <a:gd name="connsiteY4" fmla="*/ 14791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2" h="26495">
                      <a:moveTo>
                        <a:pt x="95" y="14791"/>
                      </a:moveTo>
                      <a:cubicBezTo>
                        <a:pt x="-777" y="7567"/>
                        <a:pt x="4454" y="965"/>
                        <a:pt x="11679" y="93"/>
                      </a:cubicBezTo>
                      <a:cubicBezTo>
                        <a:pt x="18903" y="-779"/>
                        <a:pt x="25380" y="4577"/>
                        <a:pt x="26252" y="11802"/>
                      </a:cubicBezTo>
                      <a:cubicBezTo>
                        <a:pt x="26999" y="19150"/>
                        <a:pt x="21768" y="25503"/>
                        <a:pt x="14668" y="26375"/>
                      </a:cubicBezTo>
                      <a:cubicBezTo>
                        <a:pt x="7443" y="27371"/>
                        <a:pt x="842" y="22140"/>
                        <a:pt x="95" y="147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7" name="Graphic 2987">
                <a:extLst>
                  <a:ext uri="{FF2B5EF4-FFF2-40B4-BE49-F238E27FC236}">
                    <a16:creationId xmlns:a16="http://schemas.microsoft.com/office/drawing/2014/main" id="{2E5B2C83-CD65-C102-320E-4F2116304CDB}"/>
                  </a:ext>
                </a:extLst>
              </p:cNvPr>
              <p:cNvGrpSpPr/>
              <p:nvPr/>
            </p:nvGrpSpPr>
            <p:grpSpPr>
              <a:xfrm>
                <a:off x="7055124" y="5618926"/>
                <a:ext cx="39751" cy="148239"/>
                <a:chOff x="7055124" y="5618926"/>
                <a:chExt cx="39751" cy="148239"/>
              </a:xfrm>
              <a:grpFill/>
            </p:grpSpPr>
            <p:sp>
              <p:nvSpPr>
                <p:cNvPr id="4757" name="Freeform 4727">
                  <a:extLst>
                    <a:ext uri="{FF2B5EF4-FFF2-40B4-BE49-F238E27FC236}">
                      <a16:creationId xmlns:a16="http://schemas.microsoft.com/office/drawing/2014/main" id="{898850AF-5AA9-0D71-C811-3E030887E9D2}"/>
                    </a:ext>
                  </a:extLst>
                </p:cNvPr>
                <p:cNvSpPr/>
                <p:nvPr/>
              </p:nvSpPr>
              <p:spPr>
                <a:xfrm>
                  <a:off x="7064704" y="5639672"/>
                  <a:ext cx="6844" cy="51940"/>
                </a:xfrm>
                <a:custGeom>
                  <a:avLst/>
                  <a:gdLst>
                    <a:gd name="connsiteX0" fmla="*/ 954 w 6844"/>
                    <a:gd name="connsiteY0" fmla="*/ 0 h 51940"/>
                    <a:gd name="connsiteX1" fmla="*/ 954 w 6844"/>
                    <a:gd name="connsiteY1" fmla="*/ 18808 h 51940"/>
                    <a:gd name="connsiteX2" fmla="*/ 6186 w 6844"/>
                    <a:gd name="connsiteY2" fmla="*/ 35499 h 51940"/>
                    <a:gd name="connsiteX3" fmla="*/ 5812 w 684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43" h="51940">
                      <a:moveTo>
                        <a:pt x="954" y="0"/>
                      </a:moveTo>
                      <a:cubicBezTo>
                        <a:pt x="-665" y="8221"/>
                        <a:pt x="82" y="14573"/>
                        <a:pt x="954" y="18808"/>
                      </a:cubicBezTo>
                      <a:cubicBezTo>
                        <a:pt x="2449" y="25659"/>
                        <a:pt x="4940" y="28399"/>
                        <a:pt x="6186" y="35499"/>
                      </a:cubicBezTo>
                      <a:cubicBezTo>
                        <a:pt x="7432" y="42350"/>
                        <a:pt x="6684" y="48079"/>
                        <a:pt x="581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8" name="Freeform 4728">
                  <a:extLst>
                    <a:ext uri="{FF2B5EF4-FFF2-40B4-BE49-F238E27FC236}">
                      <a16:creationId xmlns:a16="http://schemas.microsoft.com/office/drawing/2014/main" id="{9E8AFDB2-427D-89B1-B717-9E67A2BD204A}"/>
                    </a:ext>
                  </a:extLst>
                </p:cNvPr>
                <p:cNvSpPr/>
                <p:nvPr/>
              </p:nvSpPr>
              <p:spPr>
                <a:xfrm>
                  <a:off x="7072136" y="5633818"/>
                  <a:ext cx="6227" cy="51816"/>
                </a:xfrm>
                <a:custGeom>
                  <a:avLst/>
                  <a:gdLst>
                    <a:gd name="connsiteX0" fmla="*/ 6228 w 6227"/>
                    <a:gd name="connsiteY0" fmla="*/ 51816 h 51816"/>
                    <a:gd name="connsiteX1" fmla="*/ 2242 w 6227"/>
                    <a:gd name="connsiteY1" fmla="*/ 33381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1"/>
                      </a:cubicBezTo>
                      <a:cubicBezTo>
                        <a:pt x="2242"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9" name="Freeform 4729">
                  <a:extLst>
                    <a:ext uri="{FF2B5EF4-FFF2-40B4-BE49-F238E27FC236}">
                      <a16:creationId xmlns:a16="http://schemas.microsoft.com/office/drawing/2014/main" id="{6610DD6C-FBD5-9C7A-6CE2-BAFF9B50B8C1}"/>
                    </a:ext>
                  </a:extLst>
                </p:cNvPr>
                <p:cNvSpPr/>
                <p:nvPr/>
              </p:nvSpPr>
              <p:spPr>
                <a:xfrm>
                  <a:off x="7055124" y="5618926"/>
                  <a:ext cx="26672" cy="26546"/>
                </a:xfrm>
                <a:custGeom>
                  <a:avLst/>
                  <a:gdLst>
                    <a:gd name="connsiteX0" fmla="*/ 26602 w 26672"/>
                    <a:gd name="connsiteY0" fmla="*/ 11902 h 26546"/>
                    <a:gd name="connsiteX1" fmla="*/ 14769 w 26672"/>
                    <a:gd name="connsiteY1" fmla="*/ 26476 h 26546"/>
                    <a:gd name="connsiteX2" fmla="*/ 71 w 26672"/>
                    <a:gd name="connsiteY2" fmla="*/ 14643 h 26546"/>
                    <a:gd name="connsiteX3" fmla="*/ 11904 w 26672"/>
                    <a:gd name="connsiteY3" fmla="*/ 70 h 26546"/>
                    <a:gd name="connsiteX4" fmla="*/ 26602 w 26672"/>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5">
                      <a:moveTo>
                        <a:pt x="26602" y="11902"/>
                      </a:moveTo>
                      <a:cubicBezTo>
                        <a:pt x="27349" y="19127"/>
                        <a:pt x="22118" y="25728"/>
                        <a:pt x="14769" y="26476"/>
                      </a:cubicBezTo>
                      <a:cubicBezTo>
                        <a:pt x="7420" y="27223"/>
                        <a:pt x="943" y="21992"/>
                        <a:pt x="71" y="14643"/>
                      </a:cubicBezTo>
                      <a:cubicBezTo>
                        <a:pt x="-676" y="7418"/>
                        <a:pt x="4556" y="817"/>
                        <a:pt x="11904" y="70"/>
                      </a:cubicBezTo>
                      <a:cubicBezTo>
                        <a:pt x="19253" y="-678"/>
                        <a:pt x="25855" y="4678"/>
                        <a:pt x="26602"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0" name="Freeform 4730">
                  <a:extLst>
                    <a:ext uri="{FF2B5EF4-FFF2-40B4-BE49-F238E27FC236}">
                      <a16:creationId xmlns:a16="http://schemas.microsoft.com/office/drawing/2014/main" id="{B00C47AE-76CE-F404-8B2D-B58612D217EB}"/>
                    </a:ext>
                  </a:extLst>
                </p:cNvPr>
                <p:cNvSpPr/>
                <p:nvPr/>
              </p:nvSpPr>
              <p:spPr>
                <a:xfrm>
                  <a:off x="7078576" y="5694602"/>
                  <a:ext cx="6845" cy="51940"/>
                </a:xfrm>
                <a:custGeom>
                  <a:avLst/>
                  <a:gdLst>
                    <a:gd name="connsiteX0" fmla="*/ 5891 w 6845"/>
                    <a:gd name="connsiteY0" fmla="*/ 51940 h 51940"/>
                    <a:gd name="connsiteX1" fmla="*/ 5891 w 6845"/>
                    <a:gd name="connsiteY1" fmla="*/ 33132 h 51940"/>
                    <a:gd name="connsiteX2" fmla="*/ 659 w 6845"/>
                    <a:gd name="connsiteY2" fmla="*/ 16441 h 51940"/>
                    <a:gd name="connsiteX3" fmla="*/ 1033 w 6845"/>
                    <a:gd name="connsiteY3" fmla="*/ 0 h 51940"/>
                  </a:gdLst>
                  <a:ahLst/>
                  <a:cxnLst>
                    <a:cxn ang="0">
                      <a:pos x="connsiteX0" y="connsiteY0"/>
                    </a:cxn>
                    <a:cxn ang="0">
                      <a:pos x="connsiteX1" y="connsiteY1"/>
                    </a:cxn>
                    <a:cxn ang="0">
                      <a:pos x="connsiteX2" y="connsiteY2"/>
                    </a:cxn>
                    <a:cxn ang="0">
                      <a:pos x="connsiteX3" y="connsiteY3"/>
                    </a:cxn>
                  </a:cxnLst>
                  <a:rect l="l" t="t" r="r" b="b"/>
                  <a:pathLst>
                    <a:path w="6845" h="51940">
                      <a:moveTo>
                        <a:pt x="5891" y="51940"/>
                      </a:moveTo>
                      <a:cubicBezTo>
                        <a:pt x="7510" y="43719"/>
                        <a:pt x="6763" y="37367"/>
                        <a:pt x="5891" y="33132"/>
                      </a:cubicBezTo>
                      <a:cubicBezTo>
                        <a:pt x="4396" y="26281"/>
                        <a:pt x="1905" y="23541"/>
                        <a:pt x="659" y="16441"/>
                      </a:cubicBezTo>
                      <a:cubicBezTo>
                        <a:pt x="-586" y="9591"/>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1" name="Freeform 4731">
                  <a:extLst>
                    <a:ext uri="{FF2B5EF4-FFF2-40B4-BE49-F238E27FC236}">
                      <a16:creationId xmlns:a16="http://schemas.microsoft.com/office/drawing/2014/main" id="{51E6F195-7EF9-5E8E-6746-A165C2F81B30}"/>
                    </a:ext>
                  </a:extLst>
                </p:cNvPr>
                <p:cNvSpPr/>
                <p:nvPr/>
              </p:nvSpPr>
              <p:spPr>
                <a:xfrm>
                  <a:off x="7071762" y="5700456"/>
                  <a:ext cx="6352" cy="51815"/>
                </a:xfrm>
                <a:custGeom>
                  <a:avLst/>
                  <a:gdLst>
                    <a:gd name="connsiteX0" fmla="*/ 0 w 6352"/>
                    <a:gd name="connsiteY0" fmla="*/ 0 h 51815"/>
                    <a:gd name="connsiteX1" fmla="*/ 3986 w 6352"/>
                    <a:gd name="connsiteY1" fmla="*/ 18434 h 51815"/>
                    <a:gd name="connsiteX2" fmla="*/ 2491 w 6352"/>
                    <a:gd name="connsiteY2" fmla="*/ 35748 h 51815"/>
                    <a:gd name="connsiteX3" fmla="*/ 6353 w 635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352" h="51815">
                      <a:moveTo>
                        <a:pt x="0" y="0"/>
                      </a:moveTo>
                      <a:cubicBezTo>
                        <a:pt x="3363" y="7723"/>
                        <a:pt x="3986" y="14075"/>
                        <a:pt x="3986" y="18434"/>
                      </a:cubicBezTo>
                      <a:cubicBezTo>
                        <a:pt x="3986" y="25409"/>
                        <a:pt x="2117" y="28648"/>
                        <a:pt x="2491" y="35748"/>
                      </a:cubicBezTo>
                      <a:cubicBezTo>
                        <a:pt x="2740" y="42599"/>
                        <a:pt x="4733" y="48204"/>
                        <a:pt x="635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2" name="Freeform 4732">
                  <a:extLst>
                    <a:ext uri="{FF2B5EF4-FFF2-40B4-BE49-F238E27FC236}">
                      <a16:creationId xmlns:a16="http://schemas.microsoft.com/office/drawing/2014/main" id="{FE405B00-03FE-B2C8-8FA7-882690D54D8A}"/>
                    </a:ext>
                  </a:extLst>
                </p:cNvPr>
                <p:cNvSpPr/>
                <p:nvPr/>
              </p:nvSpPr>
              <p:spPr>
                <a:xfrm>
                  <a:off x="7068452" y="5740618"/>
                  <a:ext cx="26423" cy="26546"/>
                </a:xfrm>
                <a:custGeom>
                  <a:avLst/>
                  <a:gdLst>
                    <a:gd name="connsiteX0" fmla="*/ 71 w 26423"/>
                    <a:gd name="connsiteY0" fmla="*/ 14643 h 26546"/>
                    <a:gd name="connsiteX1" fmla="*/ 11780 w 26423"/>
                    <a:gd name="connsiteY1" fmla="*/ 70 h 26546"/>
                    <a:gd name="connsiteX2" fmla="*/ 26353 w 26423"/>
                    <a:gd name="connsiteY2" fmla="*/ 11903 h 26546"/>
                    <a:gd name="connsiteX3" fmla="*/ 14644 w 26423"/>
                    <a:gd name="connsiteY3" fmla="*/ 26476 h 26546"/>
                    <a:gd name="connsiteX4" fmla="*/ 71 w 26423"/>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545">
                      <a:moveTo>
                        <a:pt x="71" y="14643"/>
                      </a:moveTo>
                      <a:cubicBezTo>
                        <a:pt x="-676" y="7418"/>
                        <a:pt x="4555" y="817"/>
                        <a:pt x="11780" y="70"/>
                      </a:cubicBezTo>
                      <a:cubicBezTo>
                        <a:pt x="19004" y="-678"/>
                        <a:pt x="25481" y="4678"/>
                        <a:pt x="26353" y="11903"/>
                      </a:cubicBezTo>
                      <a:cubicBezTo>
                        <a:pt x="27100" y="19127"/>
                        <a:pt x="21869" y="25728"/>
                        <a:pt x="14644" y="26476"/>
                      </a:cubicBezTo>
                      <a:cubicBezTo>
                        <a:pt x="7296" y="27223"/>
                        <a:pt x="818" y="21992"/>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8" name="Graphic 2987">
                <a:extLst>
                  <a:ext uri="{FF2B5EF4-FFF2-40B4-BE49-F238E27FC236}">
                    <a16:creationId xmlns:a16="http://schemas.microsoft.com/office/drawing/2014/main" id="{E4D42F23-42A1-79CE-8379-DAC4122C1F53}"/>
                  </a:ext>
                </a:extLst>
              </p:cNvPr>
              <p:cNvGrpSpPr/>
              <p:nvPr/>
            </p:nvGrpSpPr>
            <p:grpSpPr>
              <a:xfrm>
                <a:off x="7084769" y="5615935"/>
                <a:ext cx="39253" cy="148239"/>
                <a:chOff x="7084769" y="5615935"/>
                <a:chExt cx="39253" cy="148239"/>
              </a:xfrm>
              <a:grpFill/>
            </p:grpSpPr>
            <p:sp>
              <p:nvSpPr>
                <p:cNvPr id="4751" name="Freeform 4734">
                  <a:extLst>
                    <a:ext uri="{FF2B5EF4-FFF2-40B4-BE49-F238E27FC236}">
                      <a16:creationId xmlns:a16="http://schemas.microsoft.com/office/drawing/2014/main" id="{B351E727-B3C9-CB60-4637-C636E0724616}"/>
                    </a:ext>
                  </a:extLst>
                </p:cNvPr>
                <p:cNvSpPr/>
                <p:nvPr/>
              </p:nvSpPr>
              <p:spPr>
                <a:xfrm>
                  <a:off x="7094184" y="5636558"/>
                  <a:ext cx="6852" cy="51940"/>
                </a:xfrm>
                <a:custGeom>
                  <a:avLst/>
                  <a:gdLst>
                    <a:gd name="connsiteX0" fmla="*/ 995 w 6852"/>
                    <a:gd name="connsiteY0" fmla="*/ 0 h 51940"/>
                    <a:gd name="connsiteX1" fmla="*/ 995 w 6852"/>
                    <a:gd name="connsiteY1" fmla="*/ 18808 h 51940"/>
                    <a:gd name="connsiteX2" fmla="*/ 6226 w 6852"/>
                    <a:gd name="connsiteY2" fmla="*/ 35499 h 51940"/>
                    <a:gd name="connsiteX3" fmla="*/ 5852 w 685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51" h="51940">
                      <a:moveTo>
                        <a:pt x="995" y="0"/>
                      </a:moveTo>
                      <a:cubicBezTo>
                        <a:pt x="-625" y="8221"/>
                        <a:pt x="-2" y="14573"/>
                        <a:pt x="995" y="18808"/>
                      </a:cubicBezTo>
                      <a:cubicBezTo>
                        <a:pt x="2489" y="25659"/>
                        <a:pt x="4980" y="28399"/>
                        <a:pt x="6226" y="35499"/>
                      </a:cubicBezTo>
                      <a:cubicBezTo>
                        <a:pt x="7472" y="42350"/>
                        <a:pt x="6600" y="48079"/>
                        <a:pt x="585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2" name="Freeform 4735">
                  <a:extLst>
                    <a:ext uri="{FF2B5EF4-FFF2-40B4-BE49-F238E27FC236}">
                      <a16:creationId xmlns:a16="http://schemas.microsoft.com/office/drawing/2014/main" id="{76A09D9D-E093-F15D-715C-94ACA17D0514}"/>
                    </a:ext>
                  </a:extLst>
                </p:cNvPr>
                <p:cNvSpPr/>
                <p:nvPr/>
              </p:nvSpPr>
              <p:spPr>
                <a:xfrm>
                  <a:off x="7101531" y="5630828"/>
                  <a:ext cx="6227" cy="51816"/>
                </a:xfrm>
                <a:custGeom>
                  <a:avLst/>
                  <a:gdLst>
                    <a:gd name="connsiteX0" fmla="*/ 6228 w 6227"/>
                    <a:gd name="connsiteY0" fmla="*/ 51816 h 51816"/>
                    <a:gd name="connsiteX1" fmla="*/ 2242 w 6227"/>
                    <a:gd name="connsiteY1" fmla="*/ 33382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2"/>
                      </a:cubicBezTo>
                      <a:cubicBezTo>
                        <a:pt x="2242" y="26407"/>
                        <a:pt x="4110" y="23168"/>
                        <a:pt x="3861"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3" name="Freeform 4736">
                  <a:extLst>
                    <a:ext uri="{FF2B5EF4-FFF2-40B4-BE49-F238E27FC236}">
                      <a16:creationId xmlns:a16="http://schemas.microsoft.com/office/drawing/2014/main" id="{79065BA3-7337-FBE2-13D6-438FF62C1772}"/>
                    </a:ext>
                  </a:extLst>
                </p:cNvPr>
                <p:cNvSpPr/>
                <p:nvPr/>
              </p:nvSpPr>
              <p:spPr>
                <a:xfrm>
                  <a:off x="7084769" y="5615935"/>
                  <a:ext cx="26548" cy="26548"/>
                </a:xfrm>
                <a:custGeom>
                  <a:avLst/>
                  <a:gdLst>
                    <a:gd name="connsiteX0" fmla="*/ 26477 w 26548"/>
                    <a:gd name="connsiteY0" fmla="*/ 11904 h 26548"/>
                    <a:gd name="connsiteX1" fmla="*/ 14644 w 26548"/>
                    <a:gd name="connsiteY1" fmla="*/ 26477 h 26548"/>
                    <a:gd name="connsiteX2" fmla="*/ 71 w 26548"/>
                    <a:gd name="connsiteY2" fmla="*/ 14644 h 26548"/>
                    <a:gd name="connsiteX3" fmla="*/ 11904 w 26548"/>
                    <a:gd name="connsiteY3" fmla="*/ 71 h 26548"/>
                    <a:gd name="connsiteX4" fmla="*/ 26477 w 26548"/>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8" h="26548">
                      <a:moveTo>
                        <a:pt x="26477" y="11904"/>
                      </a:moveTo>
                      <a:cubicBezTo>
                        <a:pt x="27225" y="19128"/>
                        <a:pt x="21993" y="25730"/>
                        <a:pt x="14644" y="26477"/>
                      </a:cubicBezTo>
                      <a:cubicBezTo>
                        <a:pt x="7296" y="27225"/>
                        <a:pt x="818" y="21993"/>
                        <a:pt x="71" y="14644"/>
                      </a:cubicBezTo>
                      <a:cubicBezTo>
                        <a:pt x="-676" y="7420"/>
                        <a:pt x="4555" y="818"/>
                        <a:pt x="11904" y="71"/>
                      </a:cubicBezTo>
                      <a:cubicBezTo>
                        <a:pt x="19253" y="-677"/>
                        <a:pt x="25730" y="4555"/>
                        <a:pt x="26477"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4" name="Freeform 4737">
                  <a:extLst>
                    <a:ext uri="{FF2B5EF4-FFF2-40B4-BE49-F238E27FC236}">
                      <a16:creationId xmlns:a16="http://schemas.microsoft.com/office/drawing/2014/main" id="{7A36A312-E79B-7E31-8894-C1E3FF33E2D7}"/>
                    </a:ext>
                  </a:extLst>
                </p:cNvPr>
                <p:cNvSpPr/>
                <p:nvPr/>
              </p:nvSpPr>
              <p:spPr>
                <a:xfrm>
                  <a:off x="7107879" y="5691612"/>
                  <a:ext cx="6812" cy="51940"/>
                </a:xfrm>
                <a:custGeom>
                  <a:avLst/>
                  <a:gdLst>
                    <a:gd name="connsiteX0" fmla="*/ 5858 w 6812"/>
                    <a:gd name="connsiteY0" fmla="*/ 51941 h 51940"/>
                    <a:gd name="connsiteX1" fmla="*/ 5858 w 6812"/>
                    <a:gd name="connsiteY1" fmla="*/ 33132 h 51940"/>
                    <a:gd name="connsiteX2" fmla="*/ 627 w 6812"/>
                    <a:gd name="connsiteY2" fmla="*/ 16442 h 51940"/>
                    <a:gd name="connsiteX3" fmla="*/ 1000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51941"/>
                      </a:moveTo>
                      <a:cubicBezTo>
                        <a:pt x="7477" y="43720"/>
                        <a:pt x="6730" y="37367"/>
                        <a:pt x="5858" y="33132"/>
                      </a:cubicBezTo>
                      <a:cubicBezTo>
                        <a:pt x="4364" y="26282"/>
                        <a:pt x="1872" y="23542"/>
                        <a:pt x="627" y="16442"/>
                      </a:cubicBezTo>
                      <a:cubicBezTo>
                        <a:pt x="-619" y="9591"/>
                        <a:pt x="253" y="3737"/>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5" name="Freeform 4738">
                  <a:extLst>
                    <a:ext uri="{FF2B5EF4-FFF2-40B4-BE49-F238E27FC236}">
                      <a16:creationId xmlns:a16="http://schemas.microsoft.com/office/drawing/2014/main" id="{B3672193-6ED6-A42D-B56D-DF0D59D3D6C0}"/>
                    </a:ext>
                  </a:extLst>
                </p:cNvPr>
                <p:cNvSpPr/>
                <p:nvPr/>
              </p:nvSpPr>
              <p:spPr>
                <a:xfrm>
                  <a:off x="7101157" y="5697467"/>
                  <a:ext cx="6227" cy="51816"/>
                </a:xfrm>
                <a:custGeom>
                  <a:avLst/>
                  <a:gdLst>
                    <a:gd name="connsiteX0" fmla="*/ 0 w 6227"/>
                    <a:gd name="connsiteY0" fmla="*/ 0 h 51816"/>
                    <a:gd name="connsiteX1" fmla="*/ 3986 w 6227"/>
                    <a:gd name="connsiteY1" fmla="*/ 18435 h 51816"/>
                    <a:gd name="connsiteX2" fmla="*/ 2367 w 6227"/>
                    <a:gd name="connsiteY2" fmla="*/ 35748 h 51816"/>
                    <a:gd name="connsiteX3" fmla="*/ 6228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6" name="Freeform 4739">
                  <a:extLst>
                    <a:ext uri="{FF2B5EF4-FFF2-40B4-BE49-F238E27FC236}">
                      <a16:creationId xmlns:a16="http://schemas.microsoft.com/office/drawing/2014/main" id="{5628CFE8-EDB9-D4DC-CAC8-47D5F791A49F}"/>
                    </a:ext>
                  </a:extLst>
                </p:cNvPr>
                <p:cNvSpPr/>
                <p:nvPr/>
              </p:nvSpPr>
              <p:spPr>
                <a:xfrm>
                  <a:off x="7097723" y="5737629"/>
                  <a:ext cx="26298" cy="26545"/>
                </a:xfrm>
                <a:custGeom>
                  <a:avLst/>
                  <a:gdLst>
                    <a:gd name="connsiteX0" fmla="*/ 71 w 26298"/>
                    <a:gd name="connsiteY0" fmla="*/ 14643 h 26545"/>
                    <a:gd name="connsiteX1" fmla="*/ 11780 w 26298"/>
                    <a:gd name="connsiteY1" fmla="*/ 70 h 26545"/>
                    <a:gd name="connsiteX2" fmla="*/ 26228 w 26298"/>
                    <a:gd name="connsiteY2" fmla="*/ 11903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3" y="-678"/>
                        <a:pt x="25481" y="4678"/>
                        <a:pt x="26228" y="11903"/>
                      </a:cubicBezTo>
                      <a:cubicBezTo>
                        <a:pt x="26975" y="19127"/>
                        <a:pt x="21744" y="25728"/>
                        <a:pt x="14519" y="26476"/>
                      </a:cubicBezTo>
                      <a:cubicBezTo>
                        <a:pt x="7295"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9" name="Graphic 2987">
                <a:extLst>
                  <a:ext uri="{FF2B5EF4-FFF2-40B4-BE49-F238E27FC236}">
                    <a16:creationId xmlns:a16="http://schemas.microsoft.com/office/drawing/2014/main" id="{6C981F73-E2A1-C6EB-BD4B-810C9A646395}"/>
                  </a:ext>
                </a:extLst>
              </p:cNvPr>
              <p:cNvGrpSpPr/>
              <p:nvPr/>
            </p:nvGrpSpPr>
            <p:grpSpPr>
              <a:xfrm>
                <a:off x="7114415" y="5612822"/>
                <a:ext cx="38877" cy="148362"/>
                <a:chOff x="7114415" y="5612822"/>
                <a:chExt cx="38877" cy="148362"/>
              </a:xfrm>
              <a:grpFill/>
            </p:grpSpPr>
            <p:sp>
              <p:nvSpPr>
                <p:cNvPr id="4745" name="Freeform 4741">
                  <a:extLst>
                    <a:ext uri="{FF2B5EF4-FFF2-40B4-BE49-F238E27FC236}">
                      <a16:creationId xmlns:a16="http://schemas.microsoft.com/office/drawing/2014/main" id="{C18E7554-E35C-5BB4-6F37-DDE9D4F802CB}"/>
                    </a:ext>
                  </a:extLst>
                </p:cNvPr>
                <p:cNvSpPr/>
                <p:nvPr/>
              </p:nvSpPr>
              <p:spPr>
                <a:xfrm>
                  <a:off x="7123704" y="5633568"/>
                  <a:ext cx="6722" cy="51940"/>
                </a:xfrm>
                <a:custGeom>
                  <a:avLst/>
                  <a:gdLst>
                    <a:gd name="connsiteX0" fmla="*/ 995 w 6722"/>
                    <a:gd name="connsiteY0" fmla="*/ 0 h 51940"/>
                    <a:gd name="connsiteX1" fmla="*/ 995 w 6722"/>
                    <a:gd name="connsiteY1" fmla="*/ 18808 h 51940"/>
                    <a:gd name="connsiteX2" fmla="*/ 6101 w 6722"/>
                    <a:gd name="connsiteY2" fmla="*/ 35499 h 51940"/>
                    <a:gd name="connsiteX3" fmla="*/ 5603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995" y="0"/>
                      </a:moveTo>
                      <a:cubicBezTo>
                        <a:pt x="-625" y="8221"/>
                        <a:pt x="-2" y="14573"/>
                        <a:pt x="995" y="18808"/>
                      </a:cubicBezTo>
                      <a:cubicBezTo>
                        <a:pt x="2489" y="25659"/>
                        <a:pt x="4980" y="28399"/>
                        <a:pt x="6101" y="35499"/>
                      </a:cubicBezTo>
                      <a:cubicBezTo>
                        <a:pt x="7347" y="42350"/>
                        <a:pt x="6475" y="48204"/>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6" name="Freeform 4742">
                  <a:extLst>
                    <a:ext uri="{FF2B5EF4-FFF2-40B4-BE49-F238E27FC236}">
                      <a16:creationId xmlns:a16="http://schemas.microsoft.com/office/drawing/2014/main" id="{D5BF9381-5237-D4F0-4303-A07FB18CA5E5}"/>
                    </a:ext>
                  </a:extLst>
                </p:cNvPr>
                <p:cNvSpPr/>
                <p:nvPr/>
              </p:nvSpPr>
              <p:spPr>
                <a:xfrm>
                  <a:off x="7131176" y="5627839"/>
                  <a:ext cx="6103" cy="51816"/>
                </a:xfrm>
                <a:custGeom>
                  <a:avLst/>
                  <a:gdLst>
                    <a:gd name="connsiteX0" fmla="*/ 6103 w 6103"/>
                    <a:gd name="connsiteY0" fmla="*/ 51816 h 51816"/>
                    <a:gd name="connsiteX1" fmla="*/ 2242 w 6103"/>
                    <a:gd name="connsiteY1" fmla="*/ 33381 h 51816"/>
                    <a:gd name="connsiteX2" fmla="*/ 3861 w 6103"/>
                    <a:gd name="connsiteY2" fmla="*/ 16068 h 51816"/>
                    <a:gd name="connsiteX3" fmla="*/ 0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51816"/>
                      </a:moveTo>
                      <a:cubicBezTo>
                        <a:pt x="2865" y="44094"/>
                        <a:pt x="2242" y="37741"/>
                        <a:pt x="2242" y="33381"/>
                      </a:cubicBezTo>
                      <a:cubicBezTo>
                        <a:pt x="2367"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7" name="Freeform 4743">
                  <a:extLst>
                    <a:ext uri="{FF2B5EF4-FFF2-40B4-BE49-F238E27FC236}">
                      <a16:creationId xmlns:a16="http://schemas.microsoft.com/office/drawing/2014/main" id="{5DDD8D29-1C20-285C-B204-3C6CBC50FCE5}"/>
                    </a:ext>
                  </a:extLst>
                </p:cNvPr>
                <p:cNvSpPr/>
                <p:nvPr/>
              </p:nvSpPr>
              <p:spPr>
                <a:xfrm>
                  <a:off x="7114415" y="5612822"/>
                  <a:ext cx="26545" cy="26546"/>
                </a:xfrm>
                <a:custGeom>
                  <a:avLst/>
                  <a:gdLst>
                    <a:gd name="connsiteX0" fmla="*/ 26476 w 26545"/>
                    <a:gd name="connsiteY0" fmla="*/ 11902 h 26546"/>
                    <a:gd name="connsiteX1" fmla="*/ 14643 w 26545"/>
                    <a:gd name="connsiteY1" fmla="*/ 26476 h 26546"/>
                    <a:gd name="connsiteX2" fmla="*/ 70 w 26545"/>
                    <a:gd name="connsiteY2" fmla="*/ 14643 h 26546"/>
                    <a:gd name="connsiteX3" fmla="*/ 11903 w 26545"/>
                    <a:gd name="connsiteY3" fmla="*/ 70 h 26546"/>
                    <a:gd name="connsiteX4" fmla="*/ 26476 w 26545"/>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476" y="11902"/>
                      </a:moveTo>
                      <a:cubicBezTo>
                        <a:pt x="27223" y="19127"/>
                        <a:pt x="21867" y="25729"/>
                        <a:pt x="14643" y="26476"/>
                      </a:cubicBezTo>
                      <a:cubicBezTo>
                        <a:pt x="7294" y="27223"/>
                        <a:pt x="817" y="21992"/>
                        <a:pt x="70" y="14643"/>
                      </a:cubicBezTo>
                      <a:cubicBezTo>
                        <a:pt x="-678" y="7294"/>
                        <a:pt x="4678" y="817"/>
                        <a:pt x="11903" y="70"/>
                      </a:cubicBezTo>
                      <a:cubicBezTo>
                        <a:pt x="19127" y="-678"/>
                        <a:pt x="25728" y="4678"/>
                        <a:pt x="26476"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8" name="Freeform 4744">
                  <a:extLst>
                    <a:ext uri="{FF2B5EF4-FFF2-40B4-BE49-F238E27FC236}">
                      <a16:creationId xmlns:a16="http://schemas.microsoft.com/office/drawing/2014/main" id="{5EA7BA0E-1F75-0D91-FD43-5FA40F6CF683}"/>
                    </a:ext>
                  </a:extLst>
                </p:cNvPr>
                <p:cNvSpPr/>
                <p:nvPr/>
              </p:nvSpPr>
              <p:spPr>
                <a:xfrm>
                  <a:off x="7137281" y="5688498"/>
                  <a:ext cx="6721" cy="51940"/>
                </a:xfrm>
                <a:custGeom>
                  <a:avLst/>
                  <a:gdLst>
                    <a:gd name="connsiteX0" fmla="*/ 5727 w 6721"/>
                    <a:gd name="connsiteY0" fmla="*/ 51941 h 51940"/>
                    <a:gd name="connsiteX1" fmla="*/ 5727 w 6721"/>
                    <a:gd name="connsiteY1" fmla="*/ 33132 h 51940"/>
                    <a:gd name="connsiteX2" fmla="*/ 621 w 6721"/>
                    <a:gd name="connsiteY2" fmla="*/ 16442 h 51940"/>
                    <a:gd name="connsiteX3" fmla="*/ 1118 w 6721"/>
                    <a:gd name="connsiteY3" fmla="*/ 0 h 51940"/>
                  </a:gdLst>
                  <a:ahLst/>
                  <a:cxnLst>
                    <a:cxn ang="0">
                      <a:pos x="connsiteX0" y="connsiteY0"/>
                    </a:cxn>
                    <a:cxn ang="0">
                      <a:pos x="connsiteX1" y="connsiteY1"/>
                    </a:cxn>
                    <a:cxn ang="0">
                      <a:pos x="connsiteX2" y="connsiteY2"/>
                    </a:cxn>
                    <a:cxn ang="0">
                      <a:pos x="connsiteX3" y="connsiteY3"/>
                    </a:cxn>
                  </a:cxnLst>
                  <a:rect l="l" t="t" r="r" b="b"/>
                  <a:pathLst>
                    <a:path w="6721" h="51940">
                      <a:moveTo>
                        <a:pt x="5727" y="51941"/>
                      </a:moveTo>
                      <a:cubicBezTo>
                        <a:pt x="7346" y="43720"/>
                        <a:pt x="6724" y="37367"/>
                        <a:pt x="5727" y="33132"/>
                      </a:cubicBezTo>
                      <a:cubicBezTo>
                        <a:pt x="4232" y="26282"/>
                        <a:pt x="1866" y="23542"/>
                        <a:pt x="621" y="16442"/>
                      </a:cubicBezTo>
                      <a:cubicBezTo>
                        <a:pt x="-625" y="9591"/>
                        <a:pt x="247" y="3737"/>
                        <a:pt x="11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9" name="Freeform 4745">
                  <a:extLst>
                    <a:ext uri="{FF2B5EF4-FFF2-40B4-BE49-F238E27FC236}">
                      <a16:creationId xmlns:a16="http://schemas.microsoft.com/office/drawing/2014/main" id="{F72CDDBE-8BBD-DC41-56CC-3FA72A4DD7CB}"/>
                    </a:ext>
                  </a:extLst>
                </p:cNvPr>
                <p:cNvSpPr/>
                <p:nvPr/>
              </p:nvSpPr>
              <p:spPr>
                <a:xfrm>
                  <a:off x="7130552" y="5694477"/>
                  <a:ext cx="6103" cy="51816"/>
                </a:xfrm>
                <a:custGeom>
                  <a:avLst/>
                  <a:gdLst>
                    <a:gd name="connsiteX0" fmla="*/ 0 w 6103"/>
                    <a:gd name="connsiteY0" fmla="*/ 0 h 51816"/>
                    <a:gd name="connsiteX1" fmla="*/ 3862 w 6103"/>
                    <a:gd name="connsiteY1" fmla="*/ 18435 h 51816"/>
                    <a:gd name="connsiteX2" fmla="*/ 2243 w 6103"/>
                    <a:gd name="connsiteY2" fmla="*/ 35748 h 51816"/>
                    <a:gd name="connsiteX3" fmla="*/ 6104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0" y="0"/>
                      </a:moveTo>
                      <a:cubicBezTo>
                        <a:pt x="3239" y="7723"/>
                        <a:pt x="3862" y="14075"/>
                        <a:pt x="3862" y="18435"/>
                      </a:cubicBezTo>
                      <a:cubicBezTo>
                        <a:pt x="3862" y="25410"/>
                        <a:pt x="1993" y="28648"/>
                        <a:pt x="2243" y="35748"/>
                      </a:cubicBezTo>
                      <a:cubicBezTo>
                        <a:pt x="2491" y="42599"/>
                        <a:pt x="4485" y="48204"/>
                        <a:pt x="6104"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0" name="Freeform 4746">
                  <a:extLst>
                    <a:ext uri="{FF2B5EF4-FFF2-40B4-BE49-F238E27FC236}">
                      <a16:creationId xmlns:a16="http://schemas.microsoft.com/office/drawing/2014/main" id="{86403CB3-BEF2-D671-33D5-70CBB3D41B63}"/>
                    </a:ext>
                  </a:extLst>
                </p:cNvPr>
                <p:cNvSpPr/>
                <p:nvPr/>
              </p:nvSpPr>
              <p:spPr>
                <a:xfrm>
                  <a:off x="7126994" y="5734640"/>
                  <a:ext cx="26298" cy="26545"/>
                </a:xfrm>
                <a:custGeom>
                  <a:avLst/>
                  <a:gdLst>
                    <a:gd name="connsiteX0" fmla="*/ 71 w 26298"/>
                    <a:gd name="connsiteY0" fmla="*/ 14643 h 26545"/>
                    <a:gd name="connsiteX1" fmla="*/ 11780 w 26298"/>
                    <a:gd name="connsiteY1" fmla="*/ 70 h 26545"/>
                    <a:gd name="connsiteX2" fmla="*/ 26228 w 26298"/>
                    <a:gd name="connsiteY2" fmla="*/ 11902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4" y="-678"/>
                        <a:pt x="25481" y="4678"/>
                        <a:pt x="26228" y="11902"/>
                      </a:cubicBezTo>
                      <a:cubicBezTo>
                        <a:pt x="26975" y="19127"/>
                        <a:pt x="21744" y="25728"/>
                        <a:pt x="14519"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0" name="Graphic 2987">
                <a:extLst>
                  <a:ext uri="{FF2B5EF4-FFF2-40B4-BE49-F238E27FC236}">
                    <a16:creationId xmlns:a16="http://schemas.microsoft.com/office/drawing/2014/main" id="{EE413127-49EE-3BA2-C940-60E0695B378E}"/>
                  </a:ext>
                </a:extLst>
              </p:cNvPr>
              <p:cNvGrpSpPr/>
              <p:nvPr/>
            </p:nvGrpSpPr>
            <p:grpSpPr>
              <a:xfrm>
                <a:off x="7143811" y="5609833"/>
                <a:ext cx="38877" cy="148362"/>
                <a:chOff x="7143811" y="5609833"/>
                <a:chExt cx="38877" cy="148362"/>
              </a:xfrm>
              <a:grpFill/>
            </p:grpSpPr>
            <p:sp>
              <p:nvSpPr>
                <p:cNvPr id="4739" name="Freeform 4748">
                  <a:extLst>
                    <a:ext uri="{FF2B5EF4-FFF2-40B4-BE49-F238E27FC236}">
                      <a16:creationId xmlns:a16="http://schemas.microsoft.com/office/drawing/2014/main" id="{8710AAC3-02D8-B124-0027-B9882789C18A}"/>
                    </a:ext>
                  </a:extLst>
                </p:cNvPr>
                <p:cNvSpPr/>
                <p:nvPr/>
              </p:nvSpPr>
              <p:spPr>
                <a:xfrm>
                  <a:off x="7153338" y="5630454"/>
                  <a:ext cx="6553" cy="51940"/>
                </a:xfrm>
                <a:custGeom>
                  <a:avLst/>
                  <a:gdLst>
                    <a:gd name="connsiteX0" fmla="*/ 1006 w 6553"/>
                    <a:gd name="connsiteY0" fmla="*/ 0 h 51940"/>
                    <a:gd name="connsiteX1" fmla="*/ 881 w 6553"/>
                    <a:gd name="connsiteY1" fmla="*/ 18808 h 51940"/>
                    <a:gd name="connsiteX2" fmla="*/ 5988 w 6553"/>
                    <a:gd name="connsiteY2" fmla="*/ 35499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0"/>
                      </a:moveTo>
                      <a:cubicBezTo>
                        <a:pt x="-614" y="8221"/>
                        <a:pt x="9" y="14573"/>
                        <a:pt x="881" y="18808"/>
                      </a:cubicBezTo>
                      <a:cubicBezTo>
                        <a:pt x="2376" y="25659"/>
                        <a:pt x="4742" y="28399"/>
                        <a:pt x="5988" y="35499"/>
                      </a:cubicBezTo>
                      <a:cubicBezTo>
                        <a:pt x="7109" y="42350"/>
                        <a:pt x="6362" y="48204"/>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0" name="Freeform 4749">
                  <a:extLst>
                    <a:ext uri="{FF2B5EF4-FFF2-40B4-BE49-F238E27FC236}">
                      <a16:creationId xmlns:a16="http://schemas.microsoft.com/office/drawing/2014/main" id="{0CE53B6C-C97C-5F45-8D4B-D2AC646D6692}"/>
                    </a:ext>
                  </a:extLst>
                </p:cNvPr>
                <p:cNvSpPr/>
                <p:nvPr/>
              </p:nvSpPr>
              <p:spPr>
                <a:xfrm>
                  <a:off x="7160821" y="5624725"/>
                  <a:ext cx="5853" cy="51816"/>
                </a:xfrm>
                <a:custGeom>
                  <a:avLst/>
                  <a:gdLst>
                    <a:gd name="connsiteX0" fmla="*/ 5854 w 5853"/>
                    <a:gd name="connsiteY0" fmla="*/ 51816 h 51816"/>
                    <a:gd name="connsiteX1" fmla="*/ 1993 w 5853"/>
                    <a:gd name="connsiteY1" fmla="*/ 33381 h 51816"/>
                    <a:gd name="connsiteX2" fmla="*/ 3737 w 5853"/>
                    <a:gd name="connsiteY2" fmla="*/ 16068 h 51816"/>
                    <a:gd name="connsiteX3" fmla="*/ 0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51816"/>
                      </a:moveTo>
                      <a:cubicBezTo>
                        <a:pt x="2615" y="44094"/>
                        <a:pt x="1993" y="37741"/>
                        <a:pt x="1993" y="33381"/>
                      </a:cubicBezTo>
                      <a:cubicBezTo>
                        <a:pt x="2117" y="26406"/>
                        <a:pt x="3861" y="23168"/>
                        <a:pt x="3737"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1" name="Freeform 4750">
                  <a:extLst>
                    <a:ext uri="{FF2B5EF4-FFF2-40B4-BE49-F238E27FC236}">
                      <a16:creationId xmlns:a16="http://schemas.microsoft.com/office/drawing/2014/main" id="{2A70F4F4-1CF8-0807-37C9-F099FFFEB00C}"/>
                    </a:ext>
                  </a:extLst>
                </p:cNvPr>
                <p:cNvSpPr/>
                <p:nvPr/>
              </p:nvSpPr>
              <p:spPr>
                <a:xfrm>
                  <a:off x="7143811" y="5609833"/>
                  <a:ext cx="26670" cy="26546"/>
                </a:xfrm>
                <a:custGeom>
                  <a:avLst/>
                  <a:gdLst>
                    <a:gd name="connsiteX0" fmla="*/ 26600 w 26670"/>
                    <a:gd name="connsiteY0" fmla="*/ 11903 h 26546"/>
                    <a:gd name="connsiteX1" fmla="*/ 14643 w 26670"/>
                    <a:gd name="connsiteY1" fmla="*/ 26476 h 26546"/>
                    <a:gd name="connsiteX2" fmla="*/ 70 w 26670"/>
                    <a:gd name="connsiteY2" fmla="*/ 14643 h 26546"/>
                    <a:gd name="connsiteX3" fmla="*/ 12027 w 26670"/>
                    <a:gd name="connsiteY3" fmla="*/ 70 h 26546"/>
                    <a:gd name="connsiteX4" fmla="*/ 26600 w 26670"/>
                    <a:gd name="connsiteY4" fmla="*/ 1190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00" y="11903"/>
                      </a:moveTo>
                      <a:cubicBezTo>
                        <a:pt x="27348" y="19127"/>
                        <a:pt x="21992" y="25728"/>
                        <a:pt x="14643" y="26476"/>
                      </a:cubicBezTo>
                      <a:cubicBezTo>
                        <a:pt x="7294" y="27223"/>
                        <a:pt x="817" y="21992"/>
                        <a:pt x="70" y="14643"/>
                      </a:cubicBezTo>
                      <a:cubicBezTo>
                        <a:pt x="-678" y="7418"/>
                        <a:pt x="4678" y="817"/>
                        <a:pt x="12027" y="70"/>
                      </a:cubicBezTo>
                      <a:cubicBezTo>
                        <a:pt x="19377" y="-678"/>
                        <a:pt x="25853" y="4678"/>
                        <a:pt x="26600" y="119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2" name="Freeform 4751">
                  <a:extLst>
                    <a:ext uri="{FF2B5EF4-FFF2-40B4-BE49-F238E27FC236}">
                      <a16:creationId xmlns:a16="http://schemas.microsoft.com/office/drawing/2014/main" id="{4D1BFDFF-DBB1-7605-CA17-70718F59D623}"/>
                    </a:ext>
                  </a:extLst>
                </p:cNvPr>
                <p:cNvSpPr/>
                <p:nvPr/>
              </p:nvSpPr>
              <p:spPr>
                <a:xfrm>
                  <a:off x="7166856" y="5685509"/>
                  <a:ext cx="6553" cy="51940"/>
                </a:xfrm>
                <a:custGeom>
                  <a:avLst/>
                  <a:gdLst>
                    <a:gd name="connsiteX0" fmla="*/ 5548 w 6553"/>
                    <a:gd name="connsiteY0" fmla="*/ 51941 h 51940"/>
                    <a:gd name="connsiteX1" fmla="*/ 5673 w 6553"/>
                    <a:gd name="connsiteY1" fmla="*/ 33132 h 51940"/>
                    <a:gd name="connsiteX2" fmla="*/ 565 w 6553"/>
                    <a:gd name="connsiteY2" fmla="*/ 16442 h 51940"/>
                    <a:gd name="connsiteX3" fmla="*/ 1063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3" y="33132"/>
                      </a:cubicBezTo>
                      <a:cubicBezTo>
                        <a:pt x="4177" y="26281"/>
                        <a:pt x="1811" y="23417"/>
                        <a:pt x="565" y="16442"/>
                      </a:cubicBezTo>
                      <a:cubicBezTo>
                        <a:pt x="-555" y="9591"/>
                        <a:pt x="192" y="3737"/>
                        <a:pt x="10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3" name="Freeform 4752">
                  <a:extLst>
                    <a:ext uri="{FF2B5EF4-FFF2-40B4-BE49-F238E27FC236}">
                      <a16:creationId xmlns:a16="http://schemas.microsoft.com/office/drawing/2014/main" id="{45DA9E47-4488-8208-0349-F42A8FBA0C1F}"/>
                    </a:ext>
                  </a:extLst>
                </p:cNvPr>
                <p:cNvSpPr/>
                <p:nvPr/>
              </p:nvSpPr>
              <p:spPr>
                <a:xfrm>
                  <a:off x="7159949" y="5691363"/>
                  <a:ext cx="5978" cy="51816"/>
                </a:xfrm>
                <a:custGeom>
                  <a:avLst/>
                  <a:gdLst>
                    <a:gd name="connsiteX0" fmla="*/ 0 w 5978"/>
                    <a:gd name="connsiteY0" fmla="*/ 0 h 51816"/>
                    <a:gd name="connsiteX1" fmla="*/ 3861 w 5978"/>
                    <a:gd name="connsiteY1" fmla="*/ 18435 h 51816"/>
                    <a:gd name="connsiteX2" fmla="*/ 2242 w 5978"/>
                    <a:gd name="connsiteY2" fmla="*/ 35748 h 51816"/>
                    <a:gd name="connsiteX3" fmla="*/ 5979 w 5978"/>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978" h="51816">
                      <a:moveTo>
                        <a:pt x="0" y="0"/>
                      </a:moveTo>
                      <a:cubicBezTo>
                        <a:pt x="3239" y="7723"/>
                        <a:pt x="3861" y="14075"/>
                        <a:pt x="3861" y="18435"/>
                      </a:cubicBezTo>
                      <a:cubicBezTo>
                        <a:pt x="3737" y="25410"/>
                        <a:pt x="1993" y="28648"/>
                        <a:pt x="2242" y="35748"/>
                      </a:cubicBezTo>
                      <a:cubicBezTo>
                        <a:pt x="2491" y="42599"/>
                        <a:pt x="4359" y="48204"/>
                        <a:pt x="5979"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4" name="Freeform 4753">
                  <a:extLst>
                    <a:ext uri="{FF2B5EF4-FFF2-40B4-BE49-F238E27FC236}">
                      <a16:creationId xmlns:a16="http://schemas.microsoft.com/office/drawing/2014/main" id="{55F297B8-0542-51F8-8EF5-8171D5135CF3}"/>
                    </a:ext>
                  </a:extLst>
                </p:cNvPr>
                <p:cNvSpPr/>
                <p:nvPr/>
              </p:nvSpPr>
              <p:spPr>
                <a:xfrm>
                  <a:off x="7156265" y="5731650"/>
                  <a:ext cx="26422" cy="26545"/>
                </a:xfrm>
                <a:custGeom>
                  <a:avLst/>
                  <a:gdLst>
                    <a:gd name="connsiteX0" fmla="*/ 71 w 26422"/>
                    <a:gd name="connsiteY0" fmla="*/ 14643 h 26545"/>
                    <a:gd name="connsiteX1" fmla="*/ 11904 w 26422"/>
                    <a:gd name="connsiteY1" fmla="*/ 70 h 26545"/>
                    <a:gd name="connsiteX2" fmla="*/ 26353 w 26422"/>
                    <a:gd name="connsiteY2" fmla="*/ 11903 h 26545"/>
                    <a:gd name="connsiteX3" fmla="*/ 14520 w 26422"/>
                    <a:gd name="connsiteY3" fmla="*/ 26476 h 26545"/>
                    <a:gd name="connsiteX4" fmla="*/ 71 w 26422"/>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71" y="14643"/>
                      </a:moveTo>
                      <a:cubicBezTo>
                        <a:pt x="-676" y="7418"/>
                        <a:pt x="4556" y="817"/>
                        <a:pt x="11904" y="70"/>
                      </a:cubicBezTo>
                      <a:cubicBezTo>
                        <a:pt x="19129" y="-678"/>
                        <a:pt x="25606" y="4678"/>
                        <a:pt x="26353" y="11903"/>
                      </a:cubicBezTo>
                      <a:cubicBezTo>
                        <a:pt x="27101" y="19127"/>
                        <a:pt x="21745" y="25728"/>
                        <a:pt x="14520"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1" name="Graphic 2987">
                <a:extLst>
                  <a:ext uri="{FF2B5EF4-FFF2-40B4-BE49-F238E27FC236}">
                    <a16:creationId xmlns:a16="http://schemas.microsoft.com/office/drawing/2014/main" id="{8BB14749-EF66-C96E-D503-B2FC255ABF4A}"/>
                  </a:ext>
                </a:extLst>
              </p:cNvPr>
              <p:cNvGrpSpPr/>
              <p:nvPr/>
            </p:nvGrpSpPr>
            <p:grpSpPr>
              <a:xfrm>
                <a:off x="7173455" y="5606842"/>
                <a:ext cx="38503" cy="148241"/>
                <a:chOff x="7173455" y="5606842"/>
                <a:chExt cx="38503" cy="148241"/>
              </a:xfrm>
              <a:grpFill/>
            </p:grpSpPr>
            <p:sp>
              <p:nvSpPr>
                <p:cNvPr id="4733" name="Freeform 4755">
                  <a:extLst>
                    <a:ext uri="{FF2B5EF4-FFF2-40B4-BE49-F238E27FC236}">
                      <a16:creationId xmlns:a16="http://schemas.microsoft.com/office/drawing/2014/main" id="{A2DB376F-12B7-0048-DCF8-D48F34A7B8B8}"/>
                    </a:ext>
                  </a:extLst>
                </p:cNvPr>
                <p:cNvSpPr/>
                <p:nvPr/>
              </p:nvSpPr>
              <p:spPr>
                <a:xfrm>
                  <a:off x="7182807" y="5627465"/>
                  <a:ext cx="6604" cy="52065"/>
                </a:xfrm>
                <a:custGeom>
                  <a:avLst/>
                  <a:gdLst>
                    <a:gd name="connsiteX0" fmla="*/ 1057 w 6604"/>
                    <a:gd name="connsiteY0" fmla="*/ 0 h 52065"/>
                    <a:gd name="connsiteX1" fmla="*/ 932 w 6604"/>
                    <a:gd name="connsiteY1" fmla="*/ 18808 h 52065"/>
                    <a:gd name="connsiteX2" fmla="*/ 6039 w 6604"/>
                    <a:gd name="connsiteY2" fmla="*/ 35499 h 52065"/>
                    <a:gd name="connsiteX3" fmla="*/ 5541 w 660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04" h="52065">
                      <a:moveTo>
                        <a:pt x="1057" y="0"/>
                      </a:moveTo>
                      <a:cubicBezTo>
                        <a:pt x="-687" y="8221"/>
                        <a:pt x="60" y="14573"/>
                        <a:pt x="932" y="18808"/>
                      </a:cubicBezTo>
                      <a:cubicBezTo>
                        <a:pt x="2427" y="25659"/>
                        <a:pt x="4793" y="28524"/>
                        <a:pt x="6039" y="35499"/>
                      </a:cubicBezTo>
                      <a:cubicBezTo>
                        <a:pt x="7160" y="42350"/>
                        <a:pt x="6413" y="48204"/>
                        <a:pt x="554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4" name="Freeform 4756">
                  <a:extLst>
                    <a:ext uri="{FF2B5EF4-FFF2-40B4-BE49-F238E27FC236}">
                      <a16:creationId xmlns:a16="http://schemas.microsoft.com/office/drawing/2014/main" id="{BEA17D82-1B24-3904-64B3-21C75745E326}"/>
                    </a:ext>
                  </a:extLst>
                </p:cNvPr>
                <p:cNvSpPr/>
                <p:nvPr/>
              </p:nvSpPr>
              <p:spPr>
                <a:xfrm>
                  <a:off x="7190465" y="5621736"/>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4094"/>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5" name="Freeform 4757">
                  <a:extLst>
                    <a:ext uri="{FF2B5EF4-FFF2-40B4-BE49-F238E27FC236}">
                      <a16:creationId xmlns:a16="http://schemas.microsoft.com/office/drawing/2014/main" id="{00F85F73-B57C-5EB9-8212-6515BC54F4B4}"/>
                    </a:ext>
                  </a:extLst>
                </p:cNvPr>
                <p:cNvSpPr/>
                <p:nvPr/>
              </p:nvSpPr>
              <p:spPr>
                <a:xfrm>
                  <a:off x="7173455" y="5606842"/>
                  <a:ext cx="26670" cy="26548"/>
                </a:xfrm>
                <a:custGeom>
                  <a:avLst/>
                  <a:gdLst>
                    <a:gd name="connsiteX0" fmla="*/ 26600 w 26670"/>
                    <a:gd name="connsiteY0" fmla="*/ 11904 h 26548"/>
                    <a:gd name="connsiteX1" fmla="*/ 14643 w 26670"/>
                    <a:gd name="connsiteY1" fmla="*/ 26477 h 26548"/>
                    <a:gd name="connsiteX2" fmla="*/ 70 w 26670"/>
                    <a:gd name="connsiteY2" fmla="*/ 14644 h 26548"/>
                    <a:gd name="connsiteX3" fmla="*/ 12027 w 26670"/>
                    <a:gd name="connsiteY3" fmla="*/ 71 h 26548"/>
                    <a:gd name="connsiteX4" fmla="*/ 26600 w 26670"/>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8">
                      <a:moveTo>
                        <a:pt x="26600" y="11904"/>
                      </a:moveTo>
                      <a:cubicBezTo>
                        <a:pt x="27348" y="19128"/>
                        <a:pt x="21992" y="25730"/>
                        <a:pt x="14643" y="26477"/>
                      </a:cubicBezTo>
                      <a:cubicBezTo>
                        <a:pt x="7294" y="27225"/>
                        <a:pt x="817" y="21993"/>
                        <a:pt x="70" y="14644"/>
                      </a:cubicBezTo>
                      <a:cubicBezTo>
                        <a:pt x="-678" y="7420"/>
                        <a:pt x="4678" y="818"/>
                        <a:pt x="12027" y="71"/>
                      </a:cubicBezTo>
                      <a:cubicBezTo>
                        <a:pt x="19376" y="-676"/>
                        <a:pt x="25853" y="4555"/>
                        <a:pt x="26600"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6" name="Freeform 4758">
                  <a:extLst>
                    <a:ext uri="{FF2B5EF4-FFF2-40B4-BE49-F238E27FC236}">
                      <a16:creationId xmlns:a16="http://schemas.microsoft.com/office/drawing/2014/main" id="{98B283AF-60AE-F38E-6C1E-E721DEC66C07}"/>
                    </a:ext>
                  </a:extLst>
                </p:cNvPr>
                <p:cNvSpPr/>
                <p:nvPr/>
              </p:nvSpPr>
              <p:spPr>
                <a:xfrm>
                  <a:off x="7196127" y="5682395"/>
                  <a:ext cx="6553" cy="52065"/>
                </a:xfrm>
                <a:custGeom>
                  <a:avLst/>
                  <a:gdLst>
                    <a:gd name="connsiteX0" fmla="*/ 5548 w 6553"/>
                    <a:gd name="connsiteY0" fmla="*/ 52065 h 52065"/>
                    <a:gd name="connsiteX1" fmla="*/ 5672 w 6553"/>
                    <a:gd name="connsiteY1" fmla="*/ 33257 h 52065"/>
                    <a:gd name="connsiteX2" fmla="*/ 566 w 6553"/>
                    <a:gd name="connsiteY2" fmla="*/ 16566 h 52065"/>
                    <a:gd name="connsiteX3" fmla="*/ 1064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52065"/>
                      </a:moveTo>
                      <a:cubicBezTo>
                        <a:pt x="7167" y="43844"/>
                        <a:pt x="6544" y="37492"/>
                        <a:pt x="5672" y="33257"/>
                      </a:cubicBezTo>
                      <a:cubicBezTo>
                        <a:pt x="4178" y="26406"/>
                        <a:pt x="1811" y="23542"/>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7" name="Freeform 4759">
                  <a:extLst>
                    <a:ext uri="{FF2B5EF4-FFF2-40B4-BE49-F238E27FC236}">
                      <a16:creationId xmlns:a16="http://schemas.microsoft.com/office/drawing/2014/main" id="{A76D3BAC-7B2E-DA05-5533-2F0872B99216}"/>
                    </a:ext>
                  </a:extLst>
                </p:cNvPr>
                <p:cNvSpPr/>
                <p:nvPr/>
              </p:nvSpPr>
              <p:spPr>
                <a:xfrm>
                  <a:off x="7189344" y="5688374"/>
                  <a:ext cx="5729" cy="51816"/>
                </a:xfrm>
                <a:custGeom>
                  <a:avLst/>
                  <a:gdLst>
                    <a:gd name="connsiteX0" fmla="*/ 0 w 5729"/>
                    <a:gd name="connsiteY0" fmla="*/ 0 h 51816"/>
                    <a:gd name="connsiteX1" fmla="*/ 3737 w 5729"/>
                    <a:gd name="connsiteY1" fmla="*/ 18434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4"/>
                      </a:cubicBezTo>
                      <a:cubicBezTo>
                        <a:pt x="3612" y="25409"/>
                        <a:pt x="1869" y="28648"/>
                        <a:pt x="1993" y="35748"/>
                      </a:cubicBezTo>
                      <a:cubicBezTo>
                        <a:pt x="2242"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8" name="Freeform 4760">
                  <a:extLst>
                    <a:ext uri="{FF2B5EF4-FFF2-40B4-BE49-F238E27FC236}">
                      <a16:creationId xmlns:a16="http://schemas.microsoft.com/office/drawing/2014/main" id="{69B22C79-5FF5-C7CA-F345-A8BD5977B2D4}"/>
                    </a:ext>
                  </a:extLst>
                </p:cNvPr>
                <p:cNvSpPr/>
                <p:nvPr/>
              </p:nvSpPr>
              <p:spPr>
                <a:xfrm>
                  <a:off x="7185538" y="5728536"/>
                  <a:ext cx="26420" cy="26546"/>
                </a:xfrm>
                <a:custGeom>
                  <a:avLst/>
                  <a:gdLst>
                    <a:gd name="connsiteX0" fmla="*/ 70 w 26420"/>
                    <a:gd name="connsiteY0" fmla="*/ 14643 h 26546"/>
                    <a:gd name="connsiteX1" fmla="*/ 11903 w 26420"/>
                    <a:gd name="connsiteY1" fmla="*/ 70 h 26546"/>
                    <a:gd name="connsiteX2" fmla="*/ 26351 w 26420"/>
                    <a:gd name="connsiteY2" fmla="*/ 11903 h 26546"/>
                    <a:gd name="connsiteX3" fmla="*/ 14518 w 26420"/>
                    <a:gd name="connsiteY3" fmla="*/ 26476 h 26546"/>
                    <a:gd name="connsiteX4" fmla="*/ 70 w 26420"/>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70" y="14643"/>
                      </a:moveTo>
                      <a:cubicBezTo>
                        <a:pt x="-678" y="7418"/>
                        <a:pt x="4678" y="817"/>
                        <a:pt x="11903" y="70"/>
                      </a:cubicBezTo>
                      <a:cubicBezTo>
                        <a:pt x="19127" y="-678"/>
                        <a:pt x="25604" y="4678"/>
                        <a:pt x="26351" y="11903"/>
                      </a:cubicBezTo>
                      <a:cubicBezTo>
                        <a:pt x="27098" y="19127"/>
                        <a:pt x="21743" y="25728"/>
                        <a:pt x="14518" y="26476"/>
                      </a:cubicBezTo>
                      <a:cubicBezTo>
                        <a:pt x="7293" y="27223"/>
                        <a:pt x="817" y="21992"/>
                        <a:pt x="70"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2" name="Graphic 2987">
                <a:extLst>
                  <a:ext uri="{FF2B5EF4-FFF2-40B4-BE49-F238E27FC236}">
                    <a16:creationId xmlns:a16="http://schemas.microsoft.com/office/drawing/2014/main" id="{691E0ACD-F463-DB05-D53B-3866C8382F3A}"/>
                  </a:ext>
                </a:extLst>
              </p:cNvPr>
              <p:cNvGrpSpPr/>
              <p:nvPr/>
            </p:nvGrpSpPr>
            <p:grpSpPr>
              <a:xfrm>
                <a:off x="7203100" y="5603854"/>
                <a:ext cx="38129" cy="148343"/>
                <a:chOff x="7203100" y="5603854"/>
                <a:chExt cx="38129" cy="148343"/>
              </a:xfrm>
              <a:grpFill/>
            </p:grpSpPr>
            <p:sp>
              <p:nvSpPr>
                <p:cNvPr id="4727" name="Freeform 4762">
                  <a:extLst>
                    <a:ext uri="{FF2B5EF4-FFF2-40B4-BE49-F238E27FC236}">
                      <a16:creationId xmlns:a16="http://schemas.microsoft.com/office/drawing/2014/main" id="{25F7B49B-B203-00A2-8DFF-D502B59ABE56}"/>
                    </a:ext>
                  </a:extLst>
                </p:cNvPr>
                <p:cNvSpPr/>
                <p:nvPr/>
              </p:nvSpPr>
              <p:spPr>
                <a:xfrm>
                  <a:off x="7212285" y="5624476"/>
                  <a:ext cx="6486" cy="51940"/>
                </a:xfrm>
                <a:custGeom>
                  <a:avLst/>
                  <a:gdLst>
                    <a:gd name="connsiteX0" fmla="*/ 1098 w 6486"/>
                    <a:gd name="connsiteY0" fmla="*/ 0 h 51940"/>
                    <a:gd name="connsiteX1" fmla="*/ 973 w 6486"/>
                    <a:gd name="connsiteY1" fmla="*/ 18808 h 51940"/>
                    <a:gd name="connsiteX2" fmla="*/ 5956 w 6486"/>
                    <a:gd name="connsiteY2" fmla="*/ 35499 h 51940"/>
                    <a:gd name="connsiteX3" fmla="*/ 5333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1098" y="0"/>
                      </a:moveTo>
                      <a:cubicBezTo>
                        <a:pt x="-646" y="8221"/>
                        <a:pt x="-22" y="14573"/>
                        <a:pt x="973" y="18808"/>
                      </a:cubicBezTo>
                      <a:cubicBezTo>
                        <a:pt x="2468" y="25659"/>
                        <a:pt x="4835" y="28524"/>
                        <a:pt x="5956" y="35499"/>
                      </a:cubicBezTo>
                      <a:cubicBezTo>
                        <a:pt x="7077" y="42350"/>
                        <a:pt x="6205" y="48079"/>
                        <a:pt x="53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8" name="Freeform 4763">
                  <a:extLst>
                    <a:ext uri="{FF2B5EF4-FFF2-40B4-BE49-F238E27FC236}">
                      <a16:creationId xmlns:a16="http://schemas.microsoft.com/office/drawing/2014/main" id="{3A91F584-D51B-8F5E-C9D5-D3167269203E}"/>
                    </a:ext>
                  </a:extLst>
                </p:cNvPr>
                <p:cNvSpPr/>
                <p:nvPr/>
              </p:nvSpPr>
              <p:spPr>
                <a:xfrm>
                  <a:off x="7219861" y="5618871"/>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3969"/>
                        <a:pt x="1868" y="37741"/>
                        <a:pt x="1993" y="33381"/>
                      </a:cubicBezTo>
                      <a:cubicBezTo>
                        <a:pt x="2117" y="26406"/>
                        <a:pt x="3986" y="23168"/>
                        <a:pt x="3737"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9" name="Freeform 4764">
                  <a:extLst>
                    <a:ext uri="{FF2B5EF4-FFF2-40B4-BE49-F238E27FC236}">
                      <a16:creationId xmlns:a16="http://schemas.microsoft.com/office/drawing/2014/main" id="{CB729925-92C0-489C-DA6C-6A4C01917CE3}"/>
                    </a:ext>
                  </a:extLst>
                </p:cNvPr>
                <p:cNvSpPr/>
                <p:nvPr/>
              </p:nvSpPr>
              <p:spPr>
                <a:xfrm>
                  <a:off x="7203100" y="5603854"/>
                  <a:ext cx="26544" cy="26401"/>
                </a:xfrm>
                <a:custGeom>
                  <a:avLst/>
                  <a:gdLst>
                    <a:gd name="connsiteX0" fmla="*/ 26476 w 26544"/>
                    <a:gd name="connsiteY0" fmla="*/ 12027 h 26401"/>
                    <a:gd name="connsiteX1" fmla="*/ 14519 w 26544"/>
                    <a:gd name="connsiteY1" fmla="*/ 26351 h 26401"/>
                    <a:gd name="connsiteX2" fmla="*/ 70 w 26544"/>
                    <a:gd name="connsiteY2" fmla="*/ 14518 h 26401"/>
                    <a:gd name="connsiteX3" fmla="*/ 12027 w 26544"/>
                    <a:gd name="connsiteY3" fmla="*/ 70 h 26401"/>
                    <a:gd name="connsiteX4" fmla="*/ 26476 w 26544"/>
                    <a:gd name="connsiteY4" fmla="*/ 12027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4" h="26401">
                      <a:moveTo>
                        <a:pt x="26476" y="12027"/>
                      </a:moveTo>
                      <a:cubicBezTo>
                        <a:pt x="27223" y="19376"/>
                        <a:pt x="21743" y="25728"/>
                        <a:pt x="14519" y="26351"/>
                      </a:cubicBezTo>
                      <a:cubicBezTo>
                        <a:pt x="7169" y="26974"/>
                        <a:pt x="692" y="21743"/>
                        <a:pt x="70" y="14518"/>
                      </a:cubicBezTo>
                      <a:cubicBezTo>
                        <a:pt x="-678" y="7294"/>
                        <a:pt x="4678" y="692"/>
                        <a:pt x="12027" y="70"/>
                      </a:cubicBezTo>
                      <a:cubicBezTo>
                        <a:pt x="19376" y="-678"/>
                        <a:pt x="25853" y="4678"/>
                        <a:pt x="26476"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0" name="Freeform 4765">
                  <a:extLst>
                    <a:ext uri="{FF2B5EF4-FFF2-40B4-BE49-F238E27FC236}">
                      <a16:creationId xmlns:a16="http://schemas.microsoft.com/office/drawing/2014/main" id="{9C09CFA4-5451-13A6-BFF3-FD2F232CB5DD}"/>
                    </a:ext>
                  </a:extLst>
                </p:cNvPr>
                <p:cNvSpPr/>
                <p:nvPr/>
              </p:nvSpPr>
              <p:spPr>
                <a:xfrm>
                  <a:off x="7225558" y="5679655"/>
                  <a:ext cx="6486" cy="51940"/>
                </a:xfrm>
                <a:custGeom>
                  <a:avLst/>
                  <a:gdLst>
                    <a:gd name="connsiteX0" fmla="*/ 5389 w 6486"/>
                    <a:gd name="connsiteY0" fmla="*/ 51941 h 51940"/>
                    <a:gd name="connsiteX1" fmla="*/ 5513 w 6486"/>
                    <a:gd name="connsiteY1" fmla="*/ 33132 h 51940"/>
                    <a:gd name="connsiteX2" fmla="*/ 531 w 6486"/>
                    <a:gd name="connsiteY2" fmla="*/ 16442 h 51940"/>
                    <a:gd name="connsiteX3" fmla="*/ 1153 w 6486"/>
                    <a:gd name="connsiteY3" fmla="*/ 0 h 51940"/>
                  </a:gdLst>
                  <a:ahLst/>
                  <a:cxnLst>
                    <a:cxn ang="0">
                      <a:pos x="connsiteX0" y="connsiteY0"/>
                    </a:cxn>
                    <a:cxn ang="0">
                      <a:pos x="connsiteX1" y="connsiteY1"/>
                    </a:cxn>
                    <a:cxn ang="0">
                      <a:pos x="connsiteX2" y="connsiteY2"/>
                    </a:cxn>
                    <a:cxn ang="0">
                      <a:pos x="connsiteX3" y="connsiteY3"/>
                    </a:cxn>
                  </a:cxnLst>
                  <a:rect l="l" t="t" r="r" b="b"/>
                  <a:pathLst>
                    <a:path w="6486" h="51940">
                      <a:moveTo>
                        <a:pt x="5389" y="51941"/>
                      </a:moveTo>
                      <a:cubicBezTo>
                        <a:pt x="7132" y="43720"/>
                        <a:pt x="6509" y="37367"/>
                        <a:pt x="5513" y="33132"/>
                      </a:cubicBezTo>
                      <a:cubicBezTo>
                        <a:pt x="4143" y="26282"/>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1" name="Freeform 4766">
                  <a:extLst>
                    <a:ext uri="{FF2B5EF4-FFF2-40B4-BE49-F238E27FC236}">
                      <a16:creationId xmlns:a16="http://schemas.microsoft.com/office/drawing/2014/main" id="{65CCEF1C-5C77-A310-EFE7-CE2A73AB09B3}"/>
                    </a:ext>
                  </a:extLst>
                </p:cNvPr>
                <p:cNvSpPr/>
                <p:nvPr/>
              </p:nvSpPr>
              <p:spPr>
                <a:xfrm>
                  <a:off x="7218864" y="5685384"/>
                  <a:ext cx="5729" cy="51816"/>
                </a:xfrm>
                <a:custGeom>
                  <a:avLst/>
                  <a:gdLst>
                    <a:gd name="connsiteX0" fmla="*/ 0 w 5729"/>
                    <a:gd name="connsiteY0" fmla="*/ 0 h 51816"/>
                    <a:gd name="connsiteX1" fmla="*/ 3737 w 5729"/>
                    <a:gd name="connsiteY1" fmla="*/ 18435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5"/>
                      </a:cubicBezTo>
                      <a:cubicBezTo>
                        <a:pt x="3612" y="25410"/>
                        <a:pt x="1869"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2" name="Freeform 4767">
                  <a:extLst>
                    <a:ext uri="{FF2B5EF4-FFF2-40B4-BE49-F238E27FC236}">
                      <a16:creationId xmlns:a16="http://schemas.microsoft.com/office/drawing/2014/main" id="{6B59BA07-B139-46B8-DAE4-B023F2D4D3FC}"/>
                    </a:ext>
                  </a:extLst>
                </p:cNvPr>
                <p:cNvSpPr/>
                <p:nvPr/>
              </p:nvSpPr>
              <p:spPr>
                <a:xfrm>
                  <a:off x="7214933" y="5725692"/>
                  <a:ext cx="26296" cy="26505"/>
                </a:xfrm>
                <a:custGeom>
                  <a:avLst/>
                  <a:gdLst>
                    <a:gd name="connsiteX0" fmla="*/ 70 w 26296"/>
                    <a:gd name="connsiteY0" fmla="*/ 14498 h 26505"/>
                    <a:gd name="connsiteX1" fmla="*/ 11903 w 26296"/>
                    <a:gd name="connsiteY1" fmla="*/ 49 h 26505"/>
                    <a:gd name="connsiteX2" fmla="*/ 26226 w 26296"/>
                    <a:gd name="connsiteY2" fmla="*/ 12131 h 26505"/>
                    <a:gd name="connsiteX3" fmla="*/ 14394 w 26296"/>
                    <a:gd name="connsiteY3" fmla="*/ 26455 h 26505"/>
                    <a:gd name="connsiteX4" fmla="*/ 70 w 26296"/>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4498"/>
                      </a:moveTo>
                      <a:cubicBezTo>
                        <a:pt x="-678" y="7273"/>
                        <a:pt x="4678" y="672"/>
                        <a:pt x="11903" y="49"/>
                      </a:cubicBezTo>
                      <a:cubicBezTo>
                        <a:pt x="19127" y="-574"/>
                        <a:pt x="25604" y="4782"/>
                        <a:pt x="26226" y="12131"/>
                      </a:cubicBezTo>
                      <a:cubicBezTo>
                        <a:pt x="26974" y="19480"/>
                        <a:pt x="21618" y="25832"/>
                        <a:pt x="14394" y="26455"/>
                      </a:cubicBezTo>
                      <a:cubicBezTo>
                        <a:pt x="7170" y="27078"/>
                        <a:pt x="692" y="21847"/>
                        <a:pt x="7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3" name="Graphic 2987">
                <a:extLst>
                  <a:ext uri="{FF2B5EF4-FFF2-40B4-BE49-F238E27FC236}">
                    <a16:creationId xmlns:a16="http://schemas.microsoft.com/office/drawing/2014/main" id="{174552E7-28B6-C21E-1FFB-F5EB2C40F22C}"/>
                  </a:ext>
                </a:extLst>
              </p:cNvPr>
              <p:cNvGrpSpPr/>
              <p:nvPr/>
            </p:nvGrpSpPr>
            <p:grpSpPr>
              <a:xfrm>
                <a:off x="7232622" y="5601238"/>
                <a:ext cx="37859" cy="148342"/>
                <a:chOff x="7232622" y="5601238"/>
                <a:chExt cx="37859" cy="148342"/>
              </a:xfrm>
              <a:grpFill/>
            </p:grpSpPr>
            <p:sp>
              <p:nvSpPr>
                <p:cNvPr id="4721" name="Freeform 4769">
                  <a:extLst>
                    <a:ext uri="{FF2B5EF4-FFF2-40B4-BE49-F238E27FC236}">
                      <a16:creationId xmlns:a16="http://schemas.microsoft.com/office/drawing/2014/main" id="{F2646B29-063A-D077-8047-84E2126DED09}"/>
                    </a:ext>
                  </a:extLst>
                </p:cNvPr>
                <p:cNvSpPr/>
                <p:nvPr/>
              </p:nvSpPr>
              <p:spPr>
                <a:xfrm>
                  <a:off x="7241918" y="562173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2" y="25659"/>
                        <a:pt x="4722" y="28524"/>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2" name="Freeform 4770">
                  <a:extLst>
                    <a:ext uri="{FF2B5EF4-FFF2-40B4-BE49-F238E27FC236}">
                      <a16:creationId xmlns:a16="http://schemas.microsoft.com/office/drawing/2014/main" id="{3BE97DB4-94F3-814A-40FB-B81CE266940F}"/>
                    </a:ext>
                  </a:extLst>
                </p:cNvPr>
                <p:cNvSpPr/>
                <p:nvPr/>
              </p:nvSpPr>
              <p:spPr>
                <a:xfrm>
                  <a:off x="7249630" y="5616130"/>
                  <a:ext cx="5479" cy="51816"/>
                </a:xfrm>
                <a:custGeom>
                  <a:avLst/>
                  <a:gdLst>
                    <a:gd name="connsiteX0" fmla="*/ 5480 w 5479"/>
                    <a:gd name="connsiteY0" fmla="*/ 51816 h 51816"/>
                    <a:gd name="connsiteX1" fmla="*/ 1743 w 5479"/>
                    <a:gd name="connsiteY1" fmla="*/ 33381 h 51816"/>
                    <a:gd name="connsiteX2" fmla="*/ 3612 w 5479"/>
                    <a:gd name="connsiteY2" fmla="*/ 16068 h 51816"/>
                    <a:gd name="connsiteX3" fmla="*/ 0 w 5479"/>
                    <a:gd name="connsiteY3" fmla="*/ 0 h 51816"/>
                  </a:gdLst>
                  <a:ahLst/>
                  <a:cxnLst>
                    <a:cxn ang="0">
                      <a:pos x="connsiteX0" y="connsiteY0"/>
                    </a:cxn>
                    <a:cxn ang="0">
                      <a:pos x="connsiteX1" y="connsiteY1"/>
                    </a:cxn>
                    <a:cxn ang="0">
                      <a:pos x="connsiteX2" y="connsiteY2"/>
                    </a:cxn>
                    <a:cxn ang="0">
                      <a:pos x="connsiteX3" y="connsiteY3"/>
                    </a:cxn>
                  </a:cxnLst>
                  <a:rect l="l" t="t" r="r" b="b"/>
                  <a:pathLst>
                    <a:path w="5479" h="51816">
                      <a:moveTo>
                        <a:pt x="5480" y="51816"/>
                      </a:moveTo>
                      <a:cubicBezTo>
                        <a:pt x="2242" y="43969"/>
                        <a:pt x="1743" y="37741"/>
                        <a:pt x="1743" y="33381"/>
                      </a:cubicBezTo>
                      <a:cubicBezTo>
                        <a:pt x="1868" y="26406"/>
                        <a:pt x="3737" y="23168"/>
                        <a:pt x="3612" y="16068"/>
                      </a:cubicBezTo>
                      <a:cubicBezTo>
                        <a:pt x="3487" y="9218"/>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3" name="Freeform 4771">
                  <a:extLst>
                    <a:ext uri="{FF2B5EF4-FFF2-40B4-BE49-F238E27FC236}">
                      <a16:creationId xmlns:a16="http://schemas.microsoft.com/office/drawing/2014/main" id="{ED4574E2-1AC5-834F-9E2C-569CBFB72048}"/>
                    </a:ext>
                  </a:extLst>
                </p:cNvPr>
                <p:cNvSpPr/>
                <p:nvPr/>
              </p:nvSpPr>
              <p:spPr>
                <a:xfrm>
                  <a:off x="7232622" y="5601238"/>
                  <a:ext cx="26648" cy="26400"/>
                </a:xfrm>
                <a:custGeom>
                  <a:avLst/>
                  <a:gdLst>
                    <a:gd name="connsiteX0" fmla="*/ 26599 w 26648"/>
                    <a:gd name="connsiteY0" fmla="*/ 12027 h 26400"/>
                    <a:gd name="connsiteX1" fmla="*/ 14517 w 26648"/>
                    <a:gd name="connsiteY1" fmla="*/ 26351 h 26400"/>
                    <a:gd name="connsiteX2" fmla="*/ 68 w 26648"/>
                    <a:gd name="connsiteY2" fmla="*/ 14394 h 26400"/>
                    <a:gd name="connsiteX3" fmla="*/ 12026 w 26648"/>
                    <a:gd name="connsiteY3" fmla="*/ 70 h 26400"/>
                    <a:gd name="connsiteX4" fmla="*/ 26599 w 26648"/>
                    <a:gd name="connsiteY4" fmla="*/ 12027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400">
                      <a:moveTo>
                        <a:pt x="26599" y="12027"/>
                      </a:moveTo>
                      <a:cubicBezTo>
                        <a:pt x="27222" y="19376"/>
                        <a:pt x="21866" y="25728"/>
                        <a:pt x="14517" y="26351"/>
                      </a:cubicBezTo>
                      <a:cubicBezTo>
                        <a:pt x="7168" y="26974"/>
                        <a:pt x="691" y="21618"/>
                        <a:pt x="68" y="14394"/>
                      </a:cubicBezTo>
                      <a:cubicBezTo>
                        <a:pt x="-679" y="7045"/>
                        <a:pt x="4802" y="693"/>
                        <a:pt x="12026" y="70"/>
                      </a:cubicBezTo>
                      <a:cubicBezTo>
                        <a:pt x="19499" y="-678"/>
                        <a:pt x="25976" y="4678"/>
                        <a:pt x="26599"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4" name="Freeform 4772">
                  <a:extLst>
                    <a:ext uri="{FF2B5EF4-FFF2-40B4-BE49-F238E27FC236}">
                      <a16:creationId xmlns:a16="http://schemas.microsoft.com/office/drawing/2014/main" id="{667FAAA2-5755-3116-8CED-33EA0A9C8D17}"/>
                    </a:ext>
                  </a:extLst>
                </p:cNvPr>
                <p:cNvSpPr/>
                <p:nvPr/>
              </p:nvSpPr>
              <p:spPr>
                <a:xfrm>
                  <a:off x="7255078" y="5677039"/>
                  <a:ext cx="6374" cy="51940"/>
                </a:xfrm>
                <a:custGeom>
                  <a:avLst/>
                  <a:gdLst>
                    <a:gd name="connsiteX0" fmla="*/ 5264 w 6374"/>
                    <a:gd name="connsiteY0" fmla="*/ 51940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5" name="Freeform 4773">
                  <a:extLst>
                    <a:ext uri="{FF2B5EF4-FFF2-40B4-BE49-F238E27FC236}">
                      <a16:creationId xmlns:a16="http://schemas.microsoft.com/office/drawing/2014/main" id="{4C6E4D20-6F15-5583-E921-E13B1B8441EC}"/>
                    </a:ext>
                  </a:extLst>
                </p:cNvPr>
                <p:cNvSpPr/>
                <p:nvPr/>
              </p:nvSpPr>
              <p:spPr>
                <a:xfrm>
                  <a:off x="7248260" y="5682644"/>
                  <a:ext cx="5605" cy="51816"/>
                </a:xfrm>
                <a:custGeom>
                  <a:avLst/>
                  <a:gdLst>
                    <a:gd name="connsiteX0" fmla="*/ 0 w 5605"/>
                    <a:gd name="connsiteY0" fmla="*/ 0 h 51816"/>
                    <a:gd name="connsiteX1" fmla="*/ 3737 w 5605"/>
                    <a:gd name="connsiteY1" fmla="*/ 18435 h 51816"/>
                    <a:gd name="connsiteX2" fmla="*/ 1993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737" y="14075"/>
                        <a:pt x="3737" y="18435"/>
                      </a:cubicBezTo>
                      <a:cubicBezTo>
                        <a:pt x="3613" y="25410"/>
                        <a:pt x="1744" y="28648"/>
                        <a:pt x="1993" y="35748"/>
                      </a:cubicBezTo>
                      <a:cubicBezTo>
                        <a:pt x="2118" y="42599"/>
                        <a:pt x="4111"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6" name="Freeform 4774">
                  <a:extLst>
                    <a:ext uri="{FF2B5EF4-FFF2-40B4-BE49-F238E27FC236}">
                      <a16:creationId xmlns:a16="http://schemas.microsoft.com/office/drawing/2014/main" id="{079E9C44-6DD3-A88D-0486-9564AAC1CB8F}"/>
                    </a:ext>
                  </a:extLst>
                </p:cNvPr>
                <p:cNvSpPr/>
                <p:nvPr/>
              </p:nvSpPr>
              <p:spPr>
                <a:xfrm>
                  <a:off x="7244204" y="5723076"/>
                  <a:ext cx="26277" cy="26504"/>
                </a:xfrm>
                <a:custGeom>
                  <a:avLst/>
                  <a:gdLst>
                    <a:gd name="connsiteX0" fmla="*/ 70 w 26277"/>
                    <a:gd name="connsiteY0" fmla="*/ 14374 h 26504"/>
                    <a:gd name="connsiteX1" fmla="*/ 11903 w 26277"/>
                    <a:gd name="connsiteY1" fmla="*/ 49 h 26504"/>
                    <a:gd name="connsiteX2" fmla="*/ 26227 w 26277"/>
                    <a:gd name="connsiteY2" fmla="*/ 12131 h 26504"/>
                    <a:gd name="connsiteX3" fmla="*/ 14394 w 26277"/>
                    <a:gd name="connsiteY3" fmla="*/ 26456 h 26504"/>
                    <a:gd name="connsiteX4" fmla="*/ 70 w 26277"/>
                    <a:gd name="connsiteY4" fmla="*/ 1437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504">
                      <a:moveTo>
                        <a:pt x="70" y="14374"/>
                      </a:moveTo>
                      <a:cubicBezTo>
                        <a:pt x="-678" y="7024"/>
                        <a:pt x="4678" y="672"/>
                        <a:pt x="11903" y="49"/>
                      </a:cubicBezTo>
                      <a:cubicBezTo>
                        <a:pt x="19127" y="-573"/>
                        <a:pt x="25605" y="4782"/>
                        <a:pt x="26227" y="12131"/>
                      </a:cubicBezTo>
                      <a:cubicBezTo>
                        <a:pt x="26850" y="19480"/>
                        <a:pt x="21619" y="25833"/>
                        <a:pt x="14394" y="26456"/>
                      </a:cubicBezTo>
                      <a:cubicBezTo>
                        <a:pt x="7170" y="27078"/>
                        <a:pt x="693" y="21723"/>
                        <a:pt x="70" y="143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4" name="Graphic 2987">
                <a:extLst>
                  <a:ext uri="{FF2B5EF4-FFF2-40B4-BE49-F238E27FC236}">
                    <a16:creationId xmlns:a16="http://schemas.microsoft.com/office/drawing/2014/main" id="{714143AA-B9A6-7F5C-74DE-901A0006855E}"/>
                  </a:ext>
                </a:extLst>
              </p:cNvPr>
              <p:cNvGrpSpPr/>
              <p:nvPr/>
            </p:nvGrpSpPr>
            <p:grpSpPr>
              <a:xfrm>
                <a:off x="7262285" y="5598519"/>
                <a:ext cx="37590" cy="148446"/>
                <a:chOff x="7262285" y="5598519"/>
                <a:chExt cx="37590" cy="148446"/>
              </a:xfrm>
              <a:grpFill/>
            </p:grpSpPr>
            <p:sp>
              <p:nvSpPr>
                <p:cNvPr id="4715" name="Freeform 4776">
                  <a:extLst>
                    <a:ext uri="{FF2B5EF4-FFF2-40B4-BE49-F238E27FC236}">
                      <a16:creationId xmlns:a16="http://schemas.microsoft.com/office/drawing/2014/main" id="{B64D1CFC-CC5F-1E61-4279-E131A5508DC6}"/>
                    </a:ext>
                  </a:extLst>
                </p:cNvPr>
                <p:cNvSpPr/>
                <p:nvPr/>
              </p:nvSpPr>
              <p:spPr>
                <a:xfrm>
                  <a:off x="7271563" y="5619120"/>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0"/>
                        <a:pt x="-11" y="14573"/>
                        <a:pt x="861" y="18808"/>
                      </a:cubicBezTo>
                      <a:cubicBezTo>
                        <a:pt x="2231" y="25659"/>
                        <a:pt x="4722" y="28523"/>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6" name="Freeform 4777">
                  <a:extLst>
                    <a:ext uri="{FF2B5EF4-FFF2-40B4-BE49-F238E27FC236}">
                      <a16:creationId xmlns:a16="http://schemas.microsoft.com/office/drawing/2014/main" id="{DDBACB17-DB69-2BF6-CA54-FBECB954EA8A}"/>
                    </a:ext>
                  </a:extLst>
                </p:cNvPr>
                <p:cNvSpPr/>
                <p:nvPr/>
              </p:nvSpPr>
              <p:spPr>
                <a:xfrm>
                  <a:off x="7279274" y="5613515"/>
                  <a:ext cx="5356" cy="51816"/>
                </a:xfrm>
                <a:custGeom>
                  <a:avLst/>
                  <a:gdLst>
                    <a:gd name="connsiteX0" fmla="*/ 5357 w 5356"/>
                    <a:gd name="connsiteY0" fmla="*/ 51816 h 51816"/>
                    <a:gd name="connsiteX1" fmla="*/ 1744 w 5356"/>
                    <a:gd name="connsiteY1" fmla="*/ 33381 h 51816"/>
                    <a:gd name="connsiteX2" fmla="*/ 3613 w 5356"/>
                    <a:gd name="connsiteY2" fmla="*/ 16068 h 51816"/>
                    <a:gd name="connsiteX3" fmla="*/ 0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5357" y="51816"/>
                      </a:moveTo>
                      <a:cubicBezTo>
                        <a:pt x="2118" y="43969"/>
                        <a:pt x="1619" y="37741"/>
                        <a:pt x="1744" y="33381"/>
                      </a:cubicBezTo>
                      <a:cubicBezTo>
                        <a:pt x="1869" y="26406"/>
                        <a:pt x="3737" y="23168"/>
                        <a:pt x="3613"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7" name="Freeform 4778">
                  <a:extLst>
                    <a:ext uri="{FF2B5EF4-FFF2-40B4-BE49-F238E27FC236}">
                      <a16:creationId xmlns:a16="http://schemas.microsoft.com/office/drawing/2014/main" id="{9118F058-D3D1-9010-68B3-07928A262004}"/>
                    </a:ext>
                  </a:extLst>
                </p:cNvPr>
                <p:cNvSpPr/>
                <p:nvPr/>
              </p:nvSpPr>
              <p:spPr>
                <a:xfrm>
                  <a:off x="7262285" y="5598519"/>
                  <a:ext cx="26629" cy="26380"/>
                </a:xfrm>
                <a:custGeom>
                  <a:avLst/>
                  <a:gdLst>
                    <a:gd name="connsiteX0" fmla="*/ 26580 w 26629"/>
                    <a:gd name="connsiteY0" fmla="*/ 12007 h 26380"/>
                    <a:gd name="connsiteX1" fmla="*/ 14498 w 26629"/>
                    <a:gd name="connsiteY1" fmla="*/ 26331 h 26380"/>
                    <a:gd name="connsiteX2" fmla="*/ 49 w 26629"/>
                    <a:gd name="connsiteY2" fmla="*/ 14374 h 26380"/>
                    <a:gd name="connsiteX3" fmla="*/ 12132 w 26629"/>
                    <a:gd name="connsiteY3" fmla="*/ 49 h 26380"/>
                    <a:gd name="connsiteX4" fmla="*/ 26580 w 26629"/>
                    <a:gd name="connsiteY4" fmla="*/ 12007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380">
                      <a:moveTo>
                        <a:pt x="26580" y="12007"/>
                      </a:moveTo>
                      <a:cubicBezTo>
                        <a:pt x="27203" y="19356"/>
                        <a:pt x="21847" y="25708"/>
                        <a:pt x="14498" y="26331"/>
                      </a:cubicBezTo>
                      <a:cubicBezTo>
                        <a:pt x="7149" y="26954"/>
                        <a:pt x="672" y="21598"/>
                        <a:pt x="49" y="14374"/>
                      </a:cubicBezTo>
                      <a:cubicBezTo>
                        <a:pt x="-573" y="7024"/>
                        <a:pt x="4782" y="672"/>
                        <a:pt x="12132" y="49"/>
                      </a:cubicBezTo>
                      <a:cubicBezTo>
                        <a:pt x="19480" y="-573"/>
                        <a:pt x="25957" y="4782"/>
                        <a:pt x="2658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8" name="Freeform 4779">
                  <a:extLst>
                    <a:ext uri="{FF2B5EF4-FFF2-40B4-BE49-F238E27FC236}">
                      <a16:creationId xmlns:a16="http://schemas.microsoft.com/office/drawing/2014/main" id="{2D39A902-4D74-3C0A-1CD7-653582146A91}"/>
                    </a:ext>
                  </a:extLst>
                </p:cNvPr>
                <p:cNvSpPr/>
                <p:nvPr/>
              </p:nvSpPr>
              <p:spPr>
                <a:xfrm>
                  <a:off x="7284349" y="5674299"/>
                  <a:ext cx="6374" cy="51940"/>
                </a:xfrm>
                <a:custGeom>
                  <a:avLst/>
                  <a:gdLst>
                    <a:gd name="connsiteX0" fmla="*/ 5264 w 6374"/>
                    <a:gd name="connsiteY0" fmla="*/ 51940 h 51940"/>
                    <a:gd name="connsiteX1" fmla="*/ 5513 w 6374"/>
                    <a:gd name="connsiteY1" fmla="*/ 33132 h 51940"/>
                    <a:gd name="connsiteX2" fmla="*/ 530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776" y="23417"/>
                        <a:pt x="530" y="16442"/>
                      </a:cubicBezTo>
                      <a:cubicBezTo>
                        <a:pt x="-590" y="9591"/>
                        <a:pt x="282"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9" name="Freeform 4780">
                  <a:extLst>
                    <a:ext uri="{FF2B5EF4-FFF2-40B4-BE49-F238E27FC236}">
                      <a16:creationId xmlns:a16="http://schemas.microsoft.com/office/drawing/2014/main" id="{A970C273-DEB9-E8BF-E7C8-962E61A461B2}"/>
                    </a:ext>
                  </a:extLst>
                </p:cNvPr>
                <p:cNvSpPr/>
                <p:nvPr/>
              </p:nvSpPr>
              <p:spPr>
                <a:xfrm>
                  <a:off x="7277656" y="5680029"/>
                  <a:ext cx="5355" cy="51816"/>
                </a:xfrm>
                <a:custGeom>
                  <a:avLst/>
                  <a:gdLst>
                    <a:gd name="connsiteX0" fmla="*/ 0 w 5355"/>
                    <a:gd name="connsiteY0" fmla="*/ 0 h 51816"/>
                    <a:gd name="connsiteX1" fmla="*/ 3612 w 5355"/>
                    <a:gd name="connsiteY1" fmla="*/ 18435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5"/>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0" name="Freeform 4781">
                  <a:extLst>
                    <a:ext uri="{FF2B5EF4-FFF2-40B4-BE49-F238E27FC236}">
                      <a16:creationId xmlns:a16="http://schemas.microsoft.com/office/drawing/2014/main" id="{7BFDD8BF-9E50-76A1-C98C-B9F8F455E2A5}"/>
                    </a:ext>
                  </a:extLst>
                </p:cNvPr>
                <p:cNvSpPr/>
                <p:nvPr/>
              </p:nvSpPr>
              <p:spPr>
                <a:xfrm>
                  <a:off x="7273495" y="5720461"/>
                  <a:ext cx="26380" cy="26504"/>
                </a:xfrm>
                <a:custGeom>
                  <a:avLst/>
                  <a:gdLst>
                    <a:gd name="connsiteX0" fmla="*/ 50 w 26380"/>
                    <a:gd name="connsiteY0" fmla="*/ 14373 h 26504"/>
                    <a:gd name="connsiteX1" fmla="*/ 12007 w 26380"/>
                    <a:gd name="connsiteY1" fmla="*/ 49 h 26504"/>
                    <a:gd name="connsiteX2" fmla="*/ 26332 w 26380"/>
                    <a:gd name="connsiteY2" fmla="*/ 12131 h 26504"/>
                    <a:gd name="connsiteX3" fmla="*/ 14374 w 26380"/>
                    <a:gd name="connsiteY3" fmla="*/ 26455 h 26504"/>
                    <a:gd name="connsiteX4" fmla="*/ 50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50" y="14373"/>
                      </a:moveTo>
                      <a:cubicBezTo>
                        <a:pt x="-572" y="7024"/>
                        <a:pt x="4659" y="672"/>
                        <a:pt x="12007" y="49"/>
                      </a:cubicBezTo>
                      <a:cubicBezTo>
                        <a:pt x="19232" y="-573"/>
                        <a:pt x="25709" y="4782"/>
                        <a:pt x="26332" y="12131"/>
                      </a:cubicBezTo>
                      <a:cubicBezTo>
                        <a:pt x="26954" y="19480"/>
                        <a:pt x="21598" y="25833"/>
                        <a:pt x="14374" y="26455"/>
                      </a:cubicBezTo>
                      <a:cubicBezTo>
                        <a:pt x="7150" y="27078"/>
                        <a:pt x="798" y="21722"/>
                        <a:pt x="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5" name="Graphic 2987">
                <a:extLst>
                  <a:ext uri="{FF2B5EF4-FFF2-40B4-BE49-F238E27FC236}">
                    <a16:creationId xmlns:a16="http://schemas.microsoft.com/office/drawing/2014/main" id="{7232CA3B-F297-F50F-9C3F-8C61E036DA7E}"/>
                  </a:ext>
                </a:extLst>
              </p:cNvPr>
              <p:cNvGrpSpPr/>
              <p:nvPr/>
            </p:nvGrpSpPr>
            <p:grpSpPr>
              <a:xfrm>
                <a:off x="7291930" y="5595884"/>
                <a:ext cx="37341" cy="148465"/>
                <a:chOff x="7291930" y="5595884"/>
                <a:chExt cx="37341" cy="148465"/>
              </a:xfrm>
              <a:grpFill/>
            </p:grpSpPr>
            <p:sp>
              <p:nvSpPr>
                <p:cNvPr id="4709" name="Freeform 4783">
                  <a:extLst>
                    <a:ext uri="{FF2B5EF4-FFF2-40B4-BE49-F238E27FC236}">
                      <a16:creationId xmlns:a16="http://schemas.microsoft.com/office/drawing/2014/main" id="{FDE0EA65-D0B5-F3A4-701D-9E19939EDD6F}"/>
                    </a:ext>
                  </a:extLst>
                </p:cNvPr>
                <p:cNvSpPr/>
                <p:nvPr/>
              </p:nvSpPr>
              <p:spPr>
                <a:xfrm>
                  <a:off x="7301070" y="5616504"/>
                  <a:ext cx="6133" cy="51940"/>
                </a:xfrm>
                <a:custGeom>
                  <a:avLst/>
                  <a:gdLst>
                    <a:gd name="connsiteX0" fmla="*/ 1124 w 6133"/>
                    <a:gd name="connsiteY0" fmla="*/ 0 h 51940"/>
                    <a:gd name="connsiteX1" fmla="*/ 750 w 6133"/>
                    <a:gd name="connsiteY1" fmla="*/ 18808 h 51940"/>
                    <a:gd name="connsiteX2" fmla="*/ 5607 w 6133"/>
                    <a:gd name="connsiteY2" fmla="*/ 35499 h 51940"/>
                    <a:gd name="connsiteX3" fmla="*/ 4860 w 613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33" h="51940">
                      <a:moveTo>
                        <a:pt x="1124" y="0"/>
                      </a:moveTo>
                      <a:cubicBezTo>
                        <a:pt x="-620" y="8221"/>
                        <a:pt x="2" y="14573"/>
                        <a:pt x="750" y="18808"/>
                      </a:cubicBezTo>
                      <a:cubicBezTo>
                        <a:pt x="2120" y="25659"/>
                        <a:pt x="4487" y="28524"/>
                        <a:pt x="5607" y="35499"/>
                      </a:cubicBezTo>
                      <a:cubicBezTo>
                        <a:pt x="6729" y="42350"/>
                        <a:pt x="5857" y="48204"/>
                        <a:pt x="486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0" name="Freeform 4784">
                  <a:extLst>
                    <a:ext uri="{FF2B5EF4-FFF2-40B4-BE49-F238E27FC236}">
                      <a16:creationId xmlns:a16="http://schemas.microsoft.com/office/drawing/2014/main" id="{72F17D29-3800-54E4-7CF2-7537D8946BA0}"/>
                    </a:ext>
                  </a:extLst>
                </p:cNvPr>
                <p:cNvSpPr/>
                <p:nvPr/>
              </p:nvSpPr>
              <p:spPr>
                <a:xfrm>
                  <a:off x="7308795" y="5610899"/>
                  <a:ext cx="5355" cy="51816"/>
                </a:xfrm>
                <a:custGeom>
                  <a:avLst/>
                  <a:gdLst>
                    <a:gd name="connsiteX0" fmla="*/ 5356 w 5355"/>
                    <a:gd name="connsiteY0" fmla="*/ 51816 h 51816"/>
                    <a:gd name="connsiteX1" fmla="*/ 1743 w 5355"/>
                    <a:gd name="connsiteY1" fmla="*/ 33381 h 51816"/>
                    <a:gd name="connsiteX2" fmla="*/ 3612 w 5355"/>
                    <a:gd name="connsiteY2" fmla="*/ 16068 h 51816"/>
                    <a:gd name="connsiteX3" fmla="*/ 0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51816"/>
                      </a:moveTo>
                      <a:cubicBezTo>
                        <a:pt x="2242" y="43969"/>
                        <a:pt x="1619" y="37741"/>
                        <a:pt x="1743" y="33381"/>
                      </a:cubicBezTo>
                      <a:cubicBezTo>
                        <a:pt x="1868"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1" name="Freeform 4785">
                  <a:extLst>
                    <a:ext uri="{FF2B5EF4-FFF2-40B4-BE49-F238E27FC236}">
                      <a16:creationId xmlns:a16="http://schemas.microsoft.com/office/drawing/2014/main" id="{52F313B1-88A4-868E-26E0-EEF760BEE123}"/>
                    </a:ext>
                  </a:extLst>
                </p:cNvPr>
                <p:cNvSpPr/>
                <p:nvPr/>
              </p:nvSpPr>
              <p:spPr>
                <a:xfrm>
                  <a:off x="7291930" y="5595884"/>
                  <a:ext cx="26629" cy="26523"/>
                </a:xfrm>
                <a:custGeom>
                  <a:avLst/>
                  <a:gdLst>
                    <a:gd name="connsiteX0" fmla="*/ 26580 w 26629"/>
                    <a:gd name="connsiteY0" fmla="*/ 12026 h 26523"/>
                    <a:gd name="connsiteX1" fmla="*/ 14498 w 26629"/>
                    <a:gd name="connsiteY1" fmla="*/ 26474 h 26523"/>
                    <a:gd name="connsiteX2" fmla="*/ 49 w 26629"/>
                    <a:gd name="connsiteY2" fmla="*/ 14517 h 26523"/>
                    <a:gd name="connsiteX3" fmla="*/ 12132 w 26629"/>
                    <a:gd name="connsiteY3" fmla="*/ 68 h 26523"/>
                    <a:gd name="connsiteX4" fmla="*/ 26580 w 26629"/>
                    <a:gd name="connsiteY4" fmla="*/ 12026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23">
                      <a:moveTo>
                        <a:pt x="26580" y="12026"/>
                      </a:moveTo>
                      <a:cubicBezTo>
                        <a:pt x="27203" y="19375"/>
                        <a:pt x="21847" y="25727"/>
                        <a:pt x="14498" y="26474"/>
                      </a:cubicBezTo>
                      <a:cubicBezTo>
                        <a:pt x="7149" y="27097"/>
                        <a:pt x="672" y="21741"/>
                        <a:pt x="49" y="14517"/>
                      </a:cubicBezTo>
                      <a:cubicBezTo>
                        <a:pt x="-573" y="7168"/>
                        <a:pt x="4782" y="816"/>
                        <a:pt x="12132" y="68"/>
                      </a:cubicBezTo>
                      <a:cubicBezTo>
                        <a:pt x="19480" y="-679"/>
                        <a:pt x="25957" y="4802"/>
                        <a:pt x="26580" y="120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2" name="Freeform 4786">
                  <a:extLst>
                    <a:ext uri="{FF2B5EF4-FFF2-40B4-BE49-F238E27FC236}">
                      <a16:creationId xmlns:a16="http://schemas.microsoft.com/office/drawing/2014/main" id="{FD04D791-BAA3-18A2-36D1-07211EE4B82C}"/>
                    </a:ext>
                  </a:extLst>
                </p:cNvPr>
                <p:cNvSpPr/>
                <p:nvPr/>
              </p:nvSpPr>
              <p:spPr>
                <a:xfrm>
                  <a:off x="7313999" y="5671683"/>
                  <a:ext cx="6133" cy="51940"/>
                </a:xfrm>
                <a:custGeom>
                  <a:avLst/>
                  <a:gdLst>
                    <a:gd name="connsiteX0" fmla="*/ 5010 w 6133"/>
                    <a:gd name="connsiteY0" fmla="*/ 51940 h 51940"/>
                    <a:gd name="connsiteX1" fmla="*/ 5384 w 6133"/>
                    <a:gd name="connsiteY1" fmla="*/ 33132 h 51940"/>
                    <a:gd name="connsiteX2" fmla="*/ 526 w 6133"/>
                    <a:gd name="connsiteY2" fmla="*/ 16441 h 51940"/>
                    <a:gd name="connsiteX3" fmla="*/ 1273 w 6133"/>
                    <a:gd name="connsiteY3" fmla="*/ 0 h 51940"/>
                  </a:gdLst>
                  <a:ahLst/>
                  <a:cxnLst>
                    <a:cxn ang="0">
                      <a:pos x="connsiteX0" y="connsiteY0"/>
                    </a:cxn>
                    <a:cxn ang="0">
                      <a:pos x="connsiteX1" y="connsiteY1"/>
                    </a:cxn>
                    <a:cxn ang="0">
                      <a:pos x="connsiteX2" y="connsiteY2"/>
                    </a:cxn>
                    <a:cxn ang="0">
                      <a:pos x="connsiteX3" y="connsiteY3"/>
                    </a:cxn>
                  </a:cxnLst>
                  <a:rect l="l" t="t" r="r" b="b"/>
                  <a:pathLst>
                    <a:path w="6133" h="51940">
                      <a:moveTo>
                        <a:pt x="5010" y="51940"/>
                      </a:moveTo>
                      <a:cubicBezTo>
                        <a:pt x="6754" y="43719"/>
                        <a:pt x="6131" y="37367"/>
                        <a:pt x="5384" y="33132"/>
                      </a:cubicBezTo>
                      <a:cubicBezTo>
                        <a:pt x="4014" y="26281"/>
                        <a:pt x="1647" y="23417"/>
                        <a:pt x="526" y="16441"/>
                      </a:cubicBezTo>
                      <a:cubicBezTo>
                        <a:pt x="-595" y="9591"/>
                        <a:pt x="276"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3" name="Freeform 4787">
                  <a:extLst>
                    <a:ext uri="{FF2B5EF4-FFF2-40B4-BE49-F238E27FC236}">
                      <a16:creationId xmlns:a16="http://schemas.microsoft.com/office/drawing/2014/main" id="{A6A41F06-6025-8413-3428-16446B00BFD8}"/>
                    </a:ext>
                  </a:extLst>
                </p:cNvPr>
                <p:cNvSpPr/>
                <p:nvPr/>
              </p:nvSpPr>
              <p:spPr>
                <a:xfrm>
                  <a:off x="7307176" y="5677413"/>
                  <a:ext cx="5355" cy="51816"/>
                </a:xfrm>
                <a:custGeom>
                  <a:avLst/>
                  <a:gdLst>
                    <a:gd name="connsiteX0" fmla="*/ 0 w 5355"/>
                    <a:gd name="connsiteY0" fmla="*/ 0 h 51816"/>
                    <a:gd name="connsiteX1" fmla="*/ 3612 w 5355"/>
                    <a:gd name="connsiteY1" fmla="*/ 18434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4"/>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4" name="Freeform 4788">
                  <a:extLst>
                    <a:ext uri="{FF2B5EF4-FFF2-40B4-BE49-F238E27FC236}">
                      <a16:creationId xmlns:a16="http://schemas.microsoft.com/office/drawing/2014/main" id="{1C6D8CA5-DD3A-4EF2-DF70-201459B918CB}"/>
                    </a:ext>
                  </a:extLst>
                </p:cNvPr>
                <p:cNvSpPr/>
                <p:nvPr/>
              </p:nvSpPr>
              <p:spPr>
                <a:xfrm>
                  <a:off x="7302891" y="5717845"/>
                  <a:ext cx="26379" cy="26504"/>
                </a:xfrm>
                <a:custGeom>
                  <a:avLst/>
                  <a:gdLst>
                    <a:gd name="connsiteX0" fmla="*/ 49 w 26379"/>
                    <a:gd name="connsiteY0" fmla="*/ 14373 h 26504"/>
                    <a:gd name="connsiteX1" fmla="*/ 12007 w 26379"/>
                    <a:gd name="connsiteY1" fmla="*/ 49 h 26504"/>
                    <a:gd name="connsiteX2" fmla="*/ 26331 w 26379"/>
                    <a:gd name="connsiteY2" fmla="*/ 12131 h 26504"/>
                    <a:gd name="connsiteX3" fmla="*/ 14374 w 26379"/>
                    <a:gd name="connsiteY3" fmla="*/ 26455 h 26504"/>
                    <a:gd name="connsiteX4" fmla="*/ 49 w 2637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9" h="26504">
                      <a:moveTo>
                        <a:pt x="49" y="14373"/>
                      </a:moveTo>
                      <a:cubicBezTo>
                        <a:pt x="-573" y="7024"/>
                        <a:pt x="4782" y="672"/>
                        <a:pt x="12007" y="49"/>
                      </a:cubicBezTo>
                      <a:cubicBezTo>
                        <a:pt x="19231" y="-574"/>
                        <a:pt x="25708" y="4783"/>
                        <a:pt x="26331" y="12131"/>
                      </a:cubicBezTo>
                      <a:cubicBezTo>
                        <a:pt x="26953" y="19480"/>
                        <a:pt x="21597" y="25833"/>
                        <a:pt x="14374"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6" name="Graphic 2987">
                <a:extLst>
                  <a:ext uri="{FF2B5EF4-FFF2-40B4-BE49-F238E27FC236}">
                    <a16:creationId xmlns:a16="http://schemas.microsoft.com/office/drawing/2014/main" id="{4389D734-AE42-7AE3-7C4D-E46215DC3BCF}"/>
                  </a:ext>
                </a:extLst>
              </p:cNvPr>
              <p:cNvGrpSpPr/>
              <p:nvPr/>
            </p:nvGrpSpPr>
            <p:grpSpPr>
              <a:xfrm>
                <a:off x="7321575" y="5593163"/>
                <a:ext cx="36826" cy="148571"/>
                <a:chOff x="7321575" y="5593163"/>
                <a:chExt cx="36826" cy="148571"/>
              </a:xfrm>
              <a:grpFill/>
            </p:grpSpPr>
            <p:sp>
              <p:nvSpPr>
                <p:cNvPr id="4703" name="Freeform 4790">
                  <a:extLst>
                    <a:ext uri="{FF2B5EF4-FFF2-40B4-BE49-F238E27FC236}">
                      <a16:creationId xmlns:a16="http://schemas.microsoft.com/office/drawing/2014/main" id="{EAD5FA40-7E41-AC42-5BFD-46891D0E4A05}"/>
                    </a:ext>
                  </a:extLst>
                </p:cNvPr>
                <p:cNvSpPr/>
                <p:nvPr/>
              </p:nvSpPr>
              <p:spPr>
                <a:xfrm>
                  <a:off x="7330670" y="5613888"/>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4" name="Freeform 4791">
                  <a:extLst>
                    <a:ext uri="{FF2B5EF4-FFF2-40B4-BE49-F238E27FC236}">
                      <a16:creationId xmlns:a16="http://schemas.microsoft.com/office/drawing/2014/main" id="{D18155A5-5FE0-B21E-52A2-243AACF8767B}"/>
                    </a:ext>
                  </a:extLst>
                </p:cNvPr>
                <p:cNvSpPr/>
                <p:nvPr/>
              </p:nvSpPr>
              <p:spPr>
                <a:xfrm>
                  <a:off x="7338315" y="5608283"/>
                  <a:ext cx="5231" cy="51816"/>
                </a:xfrm>
                <a:custGeom>
                  <a:avLst/>
                  <a:gdLst>
                    <a:gd name="connsiteX0" fmla="*/ 5231 w 5231"/>
                    <a:gd name="connsiteY0" fmla="*/ 51816 h 51816"/>
                    <a:gd name="connsiteX1" fmla="*/ 1619 w 5231"/>
                    <a:gd name="connsiteY1" fmla="*/ 33382 h 51816"/>
                    <a:gd name="connsiteX2" fmla="*/ 3612 w 5231"/>
                    <a:gd name="connsiteY2" fmla="*/ 16068 h 51816"/>
                    <a:gd name="connsiteX3" fmla="*/ 0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51816"/>
                      </a:moveTo>
                      <a:cubicBezTo>
                        <a:pt x="2117" y="43969"/>
                        <a:pt x="1495" y="37741"/>
                        <a:pt x="1619" y="33382"/>
                      </a:cubicBezTo>
                      <a:cubicBezTo>
                        <a:pt x="1743" y="26407"/>
                        <a:pt x="3612" y="23168"/>
                        <a:pt x="3612" y="16068"/>
                      </a:cubicBezTo>
                      <a:cubicBezTo>
                        <a:pt x="3487"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5" name="Freeform 4792">
                  <a:extLst>
                    <a:ext uri="{FF2B5EF4-FFF2-40B4-BE49-F238E27FC236}">
                      <a16:creationId xmlns:a16="http://schemas.microsoft.com/office/drawing/2014/main" id="{CC40D268-A2DD-3867-C98D-C23786705719}"/>
                    </a:ext>
                  </a:extLst>
                </p:cNvPr>
                <p:cNvSpPr/>
                <p:nvPr/>
              </p:nvSpPr>
              <p:spPr>
                <a:xfrm>
                  <a:off x="7321575" y="5593163"/>
                  <a:ext cx="26628" cy="26629"/>
                </a:xfrm>
                <a:custGeom>
                  <a:avLst/>
                  <a:gdLst>
                    <a:gd name="connsiteX0" fmla="*/ 26580 w 26628"/>
                    <a:gd name="connsiteY0" fmla="*/ 12131 h 26629"/>
                    <a:gd name="connsiteX1" fmla="*/ 14498 w 26628"/>
                    <a:gd name="connsiteY1" fmla="*/ 26580 h 26629"/>
                    <a:gd name="connsiteX2" fmla="*/ 49 w 26628"/>
                    <a:gd name="connsiteY2" fmla="*/ 14498 h 26629"/>
                    <a:gd name="connsiteX3" fmla="*/ 12132 w 26628"/>
                    <a:gd name="connsiteY3" fmla="*/ 49 h 26629"/>
                    <a:gd name="connsiteX4" fmla="*/ 26580 w 26628"/>
                    <a:gd name="connsiteY4" fmla="*/ 12131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29">
                      <a:moveTo>
                        <a:pt x="26580" y="12131"/>
                      </a:moveTo>
                      <a:cubicBezTo>
                        <a:pt x="27203" y="19480"/>
                        <a:pt x="21722" y="25833"/>
                        <a:pt x="14498" y="26580"/>
                      </a:cubicBezTo>
                      <a:cubicBezTo>
                        <a:pt x="7149" y="27203"/>
                        <a:pt x="797" y="21847"/>
                        <a:pt x="49" y="14498"/>
                      </a:cubicBezTo>
                      <a:cubicBezTo>
                        <a:pt x="-573" y="7149"/>
                        <a:pt x="4782" y="797"/>
                        <a:pt x="12132" y="49"/>
                      </a:cubicBezTo>
                      <a:cubicBezTo>
                        <a:pt x="19480" y="-573"/>
                        <a:pt x="25957" y="4782"/>
                        <a:pt x="26580"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6" name="Freeform 4793">
                  <a:extLst>
                    <a:ext uri="{FF2B5EF4-FFF2-40B4-BE49-F238E27FC236}">
                      <a16:creationId xmlns:a16="http://schemas.microsoft.com/office/drawing/2014/main" id="{AB86D068-E234-4B11-CFDB-3E2EDC90566F}"/>
                    </a:ext>
                  </a:extLst>
                </p:cNvPr>
                <p:cNvSpPr/>
                <p:nvPr/>
              </p:nvSpPr>
              <p:spPr>
                <a:xfrm>
                  <a:off x="7343421" y="5669067"/>
                  <a:ext cx="6151" cy="51940"/>
                </a:xfrm>
                <a:custGeom>
                  <a:avLst/>
                  <a:gdLst>
                    <a:gd name="connsiteX0" fmla="*/ 4984 w 6151"/>
                    <a:gd name="connsiteY0" fmla="*/ 51941 h 51940"/>
                    <a:gd name="connsiteX1" fmla="*/ 5357 w 6151"/>
                    <a:gd name="connsiteY1" fmla="*/ 33132 h 51940"/>
                    <a:gd name="connsiteX2" fmla="*/ 499 w 6151"/>
                    <a:gd name="connsiteY2" fmla="*/ 16442 h 51940"/>
                    <a:gd name="connsiteX3" fmla="*/ 1246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51941"/>
                      </a:moveTo>
                      <a:cubicBezTo>
                        <a:pt x="6727" y="43720"/>
                        <a:pt x="6229" y="37367"/>
                        <a:pt x="5357" y="33132"/>
                      </a:cubicBezTo>
                      <a:cubicBezTo>
                        <a:pt x="3987" y="26282"/>
                        <a:pt x="1620" y="23417"/>
                        <a:pt x="499" y="16442"/>
                      </a:cubicBezTo>
                      <a:cubicBezTo>
                        <a:pt x="-622" y="9591"/>
                        <a:pt x="375" y="3737"/>
                        <a:pt x="12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7" name="Freeform 4794">
                  <a:extLst>
                    <a:ext uri="{FF2B5EF4-FFF2-40B4-BE49-F238E27FC236}">
                      <a16:creationId xmlns:a16="http://schemas.microsoft.com/office/drawing/2014/main" id="{74E44064-C01E-4643-29E1-86973C9F75A3}"/>
                    </a:ext>
                  </a:extLst>
                </p:cNvPr>
                <p:cNvSpPr/>
                <p:nvPr/>
              </p:nvSpPr>
              <p:spPr>
                <a:xfrm>
                  <a:off x="7336571" y="5674797"/>
                  <a:ext cx="5231" cy="51815"/>
                </a:xfrm>
                <a:custGeom>
                  <a:avLst/>
                  <a:gdLst>
                    <a:gd name="connsiteX0" fmla="*/ 0 w 5231"/>
                    <a:gd name="connsiteY0" fmla="*/ 0 h 51815"/>
                    <a:gd name="connsiteX1" fmla="*/ 3612 w 5231"/>
                    <a:gd name="connsiteY1" fmla="*/ 18434 h 51815"/>
                    <a:gd name="connsiteX2" fmla="*/ 1744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4"/>
                      </a:cubicBezTo>
                      <a:cubicBezTo>
                        <a:pt x="3487" y="25409"/>
                        <a:pt x="1619" y="28648"/>
                        <a:pt x="1744" y="35748"/>
                      </a:cubicBezTo>
                      <a:cubicBezTo>
                        <a:pt x="1868" y="42599"/>
                        <a:pt x="3737"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8" name="Freeform 4795">
                  <a:extLst>
                    <a:ext uri="{FF2B5EF4-FFF2-40B4-BE49-F238E27FC236}">
                      <a16:creationId xmlns:a16="http://schemas.microsoft.com/office/drawing/2014/main" id="{870E2F51-D0AB-4AE6-9A6B-FEC974FD2E30}"/>
                    </a:ext>
                  </a:extLst>
                </p:cNvPr>
                <p:cNvSpPr/>
                <p:nvPr/>
              </p:nvSpPr>
              <p:spPr>
                <a:xfrm>
                  <a:off x="7332162" y="5715229"/>
                  <a:ext cx="26239" cy="26504"/>
                </a:xfrm>
                <a:custGeom>
                  <a:avLst/>
                  <a:gdLst>
                    <a:gd name="connsiteX0" fmla="*/ 49 w 26239"/>
                    <a:gd name="connsiteY0" fmla="*/ 14373 h 26504"/>
                    <a:gd name="connsiteX1" fmla="*/ 12007 w 26239"/>
                    <a:gd name="connsiteY1" fmla="*/ 49 h 26504"/>
                    <a:gd name="connsiteX2" fmla="*/ 26207 w 26239"/>
                    <a:gd name="connsiteY2" fmla="*/ 12131 h 26504"/>
                    <a:gd name="connsiteX3" fmla="*/ 14249 w 26239"/>
                    <a:gd name="connsiteY3" fmla="*/ 26455 h 26504"/>
                    <a:gd name="connsiteX4" fmla="*/ 49 w 2623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504">
                      <a:moveTo>
                        <a:pt x="49" y="14373"/>
                      </a:moveTo>
                      <a:cubicBezTo>
                        <a:pt x="-573" y="7024"/>
                        <a:pt x="4782" y="672"/>
                        <a:pt x="12007" y="49"/>
                      </a:cubicBezTo>
                      <a:cubicBezTo>
                        <a:pt x="19232" y="-574"/>
                        <a:pt x="25708" y="4782"/>
                        <a:pt x="26207" y="12131"/>
                      </a:cubicBezTo>
                      <a:cubicBezTo>
                        <a:pt x="26705" y="19480"/>
                        <a:pt x="21474" y="25832"/>
                        <a:pt x="14249" y="26455"/>
                      </a:cubicBezTo>
                      <a:cubicBezTo>
                        <a:pt x="7149"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7" name="Graphic 2987">
                <a:extLst>
                  <a:ext uri="{FF2B5EF4-FFF2-40B4-BE49-F238E27FC236}">
                    <a16:creationId xmlns:a16="http://schemas.microsoft.com/office/drawing/2014/main" id="{07455128-4473-170A-BF27-2F969207F4C8}"/>
                  </a:ext>
                </a:extLst>
              </p:cNvPr>
              <p:cNvGrpSpPr/>
              <p:nvPr/>
            </p:nvGrpSpPr>
            <p:grpSpPr>
              <a:xfrm>
                <a:off x="7351096" y="5590547"/>
                <a:ext cx="36717" cy="148571"/>
                <a:chOff x="7351096" y="5590547"/>
                <a:chExt cx="36717" cy="148571"/>
              </a:xfrm>
              <a:grpFill/>
            </p:grpSpPr>
            <p:sp>
              <p:nvSpPr>
                <p:cNvPr id="4697" name="Freeform 4797">
                  <a:extLst>
                    <a:ext uri="{FF2B5EF4-FFF2-40B4-BE49-F238E27FC236}">
                      <a16:creationId xmlns:a16="http://schemas.microsoft.com/office/drawing/2014/main" id="{077B4FF2-DE95-ABF1-FFAD-E32776812D7D}"/>
                    </a:ext>
                  </a:extLst>
                </p:cNvPr>
                <p:cNvSpPr/>
                <p:nvPr/>
              </p:nvSpPr>
              <p:spPr>
                <a:xfrm>
                  <a:off x="7360314" y="5611148"/>
                  <a:ext cx="6151" cy="51940"/>
                </a:xfrm>
                <a:custGeom>
                  <a:avLst/>
                  <a:gdLst>
                    <a:gd name="connsiteX0" fmla="*/ 1169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0"/>
                      </a:moveTo>
                      <a:cubicBezTo>
                        <a:pt x="-575" y="8221"/>
                        <a:pt x="-77" y="14573"/>
                        <a:pt x="795"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8" name="Freeform 4798">
                  <a:extLst>
                    <a:ext uri="{FF2B5EF4-FFF2-40B4-BE49-F238E27FC236}">
                      <a16:creationId xmlns:a16="http://schemas.microsoft.com/office/drawing/2014/main" id="{6C1258F5-9877-D5C4-2A38-13100C229E97}"/>
                    </a:ext>
                  </a:extLst>
                </p:cNvPr>
                <p:cNvSpPr/>
                <p:nvPr/>
              </p:nvSpPr>
              <p:spPr>
                <a:xfrm>
                  <a:off x="7368084" y="5605668"/>
                  <a:ext cx="4982" cy="51816"/>
                </a:xfrm>
                <a:custGeom>
                  <a:avLst/>
                  <a:gdLst>
                    <a:gd name="connsiteX0" fmla="*/ 4983 w 4982"/>
                    <a:gd name="connsiteY0" fmla="*/ 51816 h 51816"/>
                    <a:gd name="connsiteX1" fmla="*/ 1495 w 4982"/>
                    <a:gd name="connsiteY1" fmla="*/ 33381 h 51816"/>
                    <a:gd name="connsiteX2" fmla="*/ 3488 w 4982"/>
                    <a:gd name="connsiteY2" fmla="*/ 16068 h 51816"/>
                    <a:gd name="connsiteX3" fmla="*/ 0 w 4982"/>
                    <a:gd name="connsiteY3" fmla="*/ 0 h 51816"/>
                  </a:gdLst>
                  <a:ahLst/>
                  <a:cxnLst>
                    <a:cxn ang="0">
                      <a:pos x="connsiteX0" y="connsiteY0"/>
                    </a:cxn>
                    <a:cxn ang="0">
                      <a:pos x="connsiteX1" y="connsiteY1"/>
                    </a:cxn>
                    <a:cxn ang="0">
                      <a:pos x="connsiteX2" y="connsiteY2"/>
                    </a:cxn>
                    <a:cxn ang="0">
                      <a:pos x="connsiteX3" y="connsiteY3"/>
                    </a:cxn>
                  </a:cxnLst>
                  <a:rect l="l" t="t" r="r" b="b"/>
                  <a:pathLst>
                    <a:path w="4982" h="51816">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9" name="Freeform 4799">
                  <a:extLst>
                    <a:ext uri="{FF2B5EF4-FFF2-40B4-BE49-F238E27FC236}">
                      <a16:creationId xmlns:a16="http://schemas.microsoft.com/office/drawing/2014/main" id="{D9EA6066-E726-6891-CB76-8B681A6065AB}"/>
                    </a:ext>
                  </a:extLst>
                </p:cNvPr>
                <p:cNvSpPr/>
                <p:nvPr/>
              </p:nvSpPr>
              <p:spPr>
                <a:xfrm>
                  <a:off x="7351096" y="5590547"/>
                  <a:ext cx="26627" cy="26648"/>
                </a:xfrm>
                <a:custGeom>
                  <a:avLst/>
                  <a:gdLst>
                    <a:gd name="connsiteX0" fmla="*/ 26579 w 26627"/>
                    <a:gd name="connsiteY0" fmla="*/ 12131 h 26648"/>
                    <a:gd name="connsiteX1" fmla="*/ 14373 w 26627"/>
                    <a:gd name="connsiteY1" fmla="*/ 26580 h 26648"/>
                    <a:gd name="connsiteX2" fmla="*/ 48 w 26627"/>
                    <a:gd name="connsiteY2" fmla="*/ 14498 h 26648"/>
                    <a:gd name="connsiteX3" fmla="*/ 12255 w 26627"/>
                    <a:gd name="connsiteY3" fmla="*/ 49 h 26648"/>
                    <a:gd name="connsiteX4" fmla="*/ 26579 w 26627"/>
                    <a:gd name="connsiteY4" fmla="*/ 12131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48">
                      <a:moveTo>
                        <a:pt x="26579" y="12131"/>
                      </a:moveTo>
                      <a:cubicBezTo>
                        <a:pt x="27202" y="19480"/>
                        <a:pt x="21721" y="25833"/>
                        <a:pt x="14373" y="26580"/>
                      </a:cubicBezTo>
                      <a:cubicBezTo>
                        <a:pt x="7023" y="27327"/>
                        <a:pt x="671" y="21847"/>
                        <a:pt x="48" y="14498"/>
                      </a:cubicBezTo>
                      <a:cubicBezTo>
                        <a:pt x="-574" y="7149"/>
                        <a:pt x="4906" y="797"/>
                        <a:pt x="12255" y="49"/>
                      </a:cubicBezTo>
                      <a:cubicBezTo>
                        <a:pt x="19604" y="-574"/>
                        <a:pt x="26081" y="4783"/>
                        <a:pt x="2657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0" name="Freeform 4800">
                  <a:extLst>
                    <a:ext uri="{FF2B5EF4-FFF2-40B4-BE49-F238E27FC236}">
                      <a16:creationId xmlns:a16="http://schemas.microsoft.com/office/drawing/2014/main" id="{2135B7FB-22D0-790B-D909-2BB64982ADF5}"/>
                    </a:ext>
                  </a:extLst>
                </p:cNvPr>
                <p:cNvSpPr/>
                <p:nvPr/>
              </p:nvSpPr>
              <p:spPr>
                <a:xfrm>
                  <a:off x="7372692" y="5666452"/>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1"/>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1" name="Freeform 4801">
                  <a:extLst>
                    <a:ext uri="{FF2B5EF4-FFF2-40B4-BE49-F238E27FC236}">
                      <a16:creationId xmlns:a16="http://schemas.microsoft.com/office/drawing/2014/main" id="{125B78D6-34E9-5F72-8385-2C2211939B55}"/>
                    </a:ext>
                  </a:extLst>
                </p:cNvPr>
                <p:cNvSpPr/>
                <p:nvPr/>
              </p:nvSpPr>
              <p:spPr>
                <a:xfrm>
                  <a:off x="7366091" y="5672181"/>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495"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2" name="Freeform 4802">
                  <a:extLst>
                    <a:ext uri="{FF2B5EF4-FFF2-40B4-BE49-F238E27FC236}">
                      <a16:creationId xmlns:a16="http://schemas.microsoft.com/office/drawing/2014/main" id="{299F2D86-B576-5061-A6FC-4F5D68FC471A}"/>
                    </a:ext>
                  </a:extLst>
                </p:cNvPr>
                <p:cNvSpPr/>
                <p:nvPr/>
              </p:nvSpPr>
              <p:spPr>
                <a:xfrm>
                  <a:off x="7361558" y="5712613"/>
                  <a:ext cx="26255" cy="26504"/>
                </a:xfrm>
                <a:custGeom>
                  <a:avLst/>
                  <a:gdLst>
                    <a:gd name="connsiteX0" fmla="*/ 49 w 26255"/>
                    <a:gd name="connsiteY0" fmla="*/ 14373 h 26504"/>
                    <a:gd name="connsiteX1" fmla="*/ 12006 w 26255"/>
                    <a:gd name="connsiteY1" fmla="*/ 49 h 26504"/>
                    <a:gd name="connsiteX2" fmla="*/ 26206 w 26255"/>
                    <a:gd name="connsiteY2" fmla="*/ 12131 h 26504"/>
                    <a:gd name="connsiteX3" fmla="*/ 14248 w 26255"/>
                    <a:gd name="connsiteY3" fmla="*/ 26455 h 26504"/>
                    <a:gd name="connsiteX4" fmla="*/ 49 w 2625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04">
                      <a:moveTo>
                        <a:pt x="49" y="14373"/>
                      </a:moveTo>
                      <a:cubicBezTo>
                        <a:pt x="-574" y="7024"/>
                        <a:pt x="4783" y="672"/>
                        <a:pt x="12006" y="49"/>
                      </a:cubicBezTo>
                      <a:cubicBezTo>
                        <a:pt x="19231" y="-573"/>
                        <a:pt x="25584" y="4782"/>
                        <a:pt x="26206" y="12131"/>
                      </a:cubicBezTo>
                      <a:cubicBezTo>
                        <a:pt x="26829" y="19480"/>
                        <a:pt x="21473" y="25833"/>
                        <a:pt x="14248" y="26455"/>
                      </a:cubicBezTo>
                      <a:cubicBezTo>
                        <a:pt x="7025" y="27078"/>
                        <a:pt x="672" y="21723"/>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8" name="Graphic 2987">
                <a:extLst>
                  <a:ext uri="{FF2B5EF4-FFF2-40B4-BE49-F238E27FC236}">
                    <a16:creationId xmlns:a16="http://schemas.microsoft.com/office/drawing/2014/main" id="{F5911EEB-B734-AE91-0CF5-BAAD244B1970}"/>
                  </a:ext>
                </a:extLst>
              </p:cNvPr>
              <p:cNvGrpSpPr/>
              <p:nvPr/>
            </p:nvGrpSpPr>
            <p:grpSpPr>
              <a:xfrm>
                <a:off x="7380741" y="5588198"/>
                <a:ext cx="36467" cy="148428"/>
                <a:chOff x="7380741" y="5588198"/>
                <a:chExt cx="36467" cy="148428"/>
              </a:xfrm>
              <a:grpFill/>
            </p:grpSpPr>
            <p:sp>
              <p:nvSpPr>
                <p:cNvPr id="4691" name="Freeform 4804">
                  <a:extLst>
                    <a:ext uri="{FF2B5EF4-FFF2-40B4-BE49-F238E27FC236}">
                      <a16:creationId xmlns:a16="http://schemas.microsoft.com/office/drawing/2014/main" id="{EE7FD3CF-0CD7-EBD2-98F9-41513C7E674E}"/>
                    </a:ext>
                  </a:extLst>
                </p:cNvPr>
                <p:cNvSpPr/>
                <p:nvPr/>
              </p:nvSpPr>
              <p:spPr>
                <a:xfrm>
                  <a:off x="7389772" y="5608782"/>
                  <a:ext cx="6029" cy="52065"/>
                </a:xfrm>
                <a:custGeom>
                  <a:avLst/>
                  <a:gdLst>
                    <a:gd name="connsiteX0" fmla="*/ 1231 w 6029"/>
                    <a:gd name="connsiteY0" fmla="*/ 0 h 52065"/>
                    <a:gd name="connsiteX1" fmla="*/ 733 w 6029"/>
                    <a:gd name="connsiteY1" fmla="*/ 18808 h 52065"/>
                    <a:gd name="connsiteX2" fmla="*/ 5590 w 6029"/>
                    <a:gd name="connsiteY2" fmla="*/ 35624 h 52065"/>
                    <a:gd name="connsiteX3" fmla="*/ 4718 w 602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029" h="52065">
                      <a:moveTo>
                        <a:pt x="1231" y="0"/>
                      </a:moveTo>
                      <a:cubicBezTo>
                        <a:pt x="-638" y="8221"/>
                        <a:pt x="-15" y="14573"/>
                        <a:pt x="733" y="18808"/>
                      </a:cubicBezTo>
                      <a:cubicBezTo>
                        <a:pt x="2103" y="25659"/>
                        <a:pt x="4469" y="28524"/>
                        <a:pt x="5590" y="35624"/>
                      </a:cubicBezTo>
                      <a:cubicBezTo>
                        <a:pt x="6586" y="42474"/>
                        <a:pt x="5714" y="48328"/>
                        <a:pt x="471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2" name="Freeform 4805">
                  <a:extLst>
                    <a:ext uri="{FF2B5EF4-FFF2-40B4-BE49-F238E27FC236}">
                      <a16:creationId xmlns:a16="http://schemas.microsoft.com/office/drawing/2014/main" id="{19270FBA-C8A4-3027-0765-9C9080657008}"/>
                    </a:ext>
                  </a:extLst>
                </p:cNvPr>
                <p:cNvSpPr/>
                <p:nvPr/>
              </p:nvSpPr>
              <p:spPr>
                <a:xfrm>
                  <a:off x="7397604" y="5603177"/>
                  <a:ext cx="4982" cy="51940"/>
                </a:xfrm>
                <a:custGeom>
                  <a:avLst/>
                  <a:gdLst>
                    <a:gd name="connsiteX0" fmla="*/ 4983 w 4982"/>
                    <a:gd name="connsiteY0" fmla="*/ 51940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0"/>
                      </a:moveTo>
                      <a:cubicBezTo>
                        <a:pt x="1869" y="44093"/>
                        <a:pt x="1371" y="37741"/>
                        <a:pt x="1495" y="33506"/>
                      </a:cubicBezTo>
                      <a:cubicBezTo>
                        <a:pt x="1744" y="26530"/>
                        <a:pt x="3613" y="23292"/>
                        <a:pt x="3488" y="16192"/>
                      </a:cubicBezTo>
                      <a:cubicBezTo>
                        <a:pt x="3363"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3" name="Freeform 4806">
                  <a:extLst>
                    <a:ext uri="{FF2B5EF4-FFF2-40B4-BE49-F238E27FC236}">
                      <a16:creationId xmlns:a16="http://schemas.microsoft.com/office/drawing/2014/main" id="{970AE808-D11C-F6DB-5DE8-E3AE0C04E936}"/>
                    </a:ext>
                  </a:extLst>
                </p:cNvPr>
                <p:cNvSpPr/>
                <p:nvPr/>
              </p:nvSpPr>
              <p:spPr>
                <a:xfrm>
                  <a:off x="7380741" y="5588198"/>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8"/>
                        <a:pt x="21721" y="25940"/>
                        <a:pt x="14373" y="26438"/>
                      </a:cubicBezTo>
                      <a:cubicBezTo>
                        <a:pt x="7023" y="26937"/>
                        <a:pt x="671" y="21581"/>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4" name="Freeform 4807">
                  <a:extLst>
                    <a:ext uri="{FF2B5EF4-FFF2-40B4-BE49-F238E27FC236}">
                      <a16:creationId xmlns:a16="http://schemas.microsoft.com/office/drawing/2014/main" id="{E02098E3-70DC-378C-E5F3-6ECCF8AF9780}"/>
                    </a:ext>
                  </a:extLst>
                </p:cNvPr>
                <p:cNvSpPr/>
                <p:nvPr/>
              </p:nvSpPr>
              <p:spPr>
                <a:xfrm>
                  <a:off x="7402396" y="5663961"/>
                  <a:ext cx="5905" cy="52065"/>
                </a:xfrm>
                <a:custGeom>
                  <a:avLst/>
                  <a:gdLst>
                    <a:gd name="connsiteX0" fmla="*/ 4675 w 5905"/>
                    <a:gd name="connsiteY0" fmla="*/ 52065 h 52065"/>
                    <a:gd name="connsiteX1" fmla="*/ 5173 w 5905"/>
                    <a:gd name="connsiteY1" fmla="*/ 33257 h 52065"/>
                    <a:gd name="connsiteX2" fmla="*/ 440 w 5905"/>
                    <a:gd name="connsiteY2" fmla="*/ 16442 h 52065"/>
                    <a:gd name="connsiteX3" fmla="*/ 1312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52065"/>
                      </a:moveTo>
                      <a:cubicBezTo>
                        <a:pt x="6543" y="43845"/>
                        <a:pt x="5921" y="37492"/>
                        <a:pt x="5173" y="33257"/>
                      </a:cubicBezTo>
                      <a:cubicBezTo>
                        <a:pt x="3803" y="26407"/>
                        <a:pt x="1436"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5" name="Freeform 4808">
                  <a:extLst>
                    <a:ext uri="{FF2B5EF4-FFF2-40B4-BE49-F238E27FC236}">
                      <a16:creationId xmlns:a16="http://schemas.microsoft.com/office/drawing/2014/main" id="{53ECE052-4158-EA4D-852A-609730F75AA2}"/>
                    </a:ext>
                  </a:extLst>
                </p:cNvPr>
                <p:cNvSpPr/>
                <p:nvPr/>
              </p:nvSpPr>
              <p:spPr>
                <a:xfrm>
                  <a:off x="7395612" y="5669690"/>
                  <a:ext cx="4982" cy="51940"/>
                </a:xfrm>
                <a:custGeom>
                  <a:avLst/>
                  <a:gdLst>
                    <a:gd name="connsiteX0" fmla="*/ 0 w 4982"/>
                    <a:gd name="connsiteY0" fmla="*/ 0 h 51940"/>
                    <a:gd name="connsiteX1" fmla="*/ 3488 w 4982"/>
                    <a:gd name="connsiteY1" fmla="*/ 18434 h 51940"/>
                    <a:gd name="connsiteX2" fmla="*/ 1495 w 4982"/>
                    <a:gd name="connsiteY2" fmla="*/ 35748 h 51940"/>
                    <a:gd name="connsiteX3" fmla="*/ 4983 w 498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2" y="14199"/>
                        <a:pt x="3488" y="18434"/>
                      </a:cubicBezTo>
                      <a:cubicBezTo>
                        <a:pt x="3239" y="25409"/>
                        <a:pt x="1370" y="28648"/>
                        <a:pt x="1495" y="35748"/>
                      </a:cubicBezTo>
                      <a:cubicBezTo>
                        <a:pt x="1619" y="42599"/>
                        <a:pt x="3363" y="48204"/>
                        <a:pt x="498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6" name="Freeform 4809">
                  <a:extLst>
                    <a:ext uri="{FF2B5EF4-FFF2-40B4-BE49-F238E27FC236}">
                      <a16:creationId xmlns:a16="http://schemas.microsoft.com/office/drawing/2014/main" id="{279DF887-DDE2-BC2C-1007-8DA815A596B7}"/>
                    </a:ext>
                  </a:extLst>
                </p:cNvPr>
                <p:cNvSpPr/>
                <p:nvPr/>
              </p:nvSpPr>
              <p:spPr>
                <a:xfrm>
                  <a:off x="7390830" y="5710140"/>
                  <a:ext cx="26378" cy="26486"/>
                </a:xfrm>
                <a:custGeom>
                  <a:avLst/>
                  <a:gdLst>
                    <a:gd name="connsiteX0" fmla="*/ 48 w 26378"/>
                    <a:gd name="connsiteY0" fmla="*/ 14231 h 26486"/>
                    <a:gd name="connsiteX1" fmla="*/ 12131 w 26378"/>
                    <a:gd name="connsiteY1" fmla="*/ 32 h 26486"/>
                    <a:gd name="connsiteX2" fmla="*/ 26330 w 26378"/>
                    <a:gd name="connsiteY2" fmla="*/ 12239 h 26486"/>
                    <a:gd name="connsiteX3" fmla="*/ 14248 w 26378"/>
                    <a:gd name="connsiteY3" fmla="*/ 26438 h 26486"/>
                    <a:gd name="connsiteX4" fmla="*/ 48 w 26378"/>
                    <a:gd name="connsiteY4" fmla="*/ 14231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86">
                      <a:moveTo>
                        <a:pt x="48" y="14231"/>
                      </a:moveTo>
                      <a:cubicBezTo>
                        <a:pt x="-574" y="6883"/>
                        <a:pt x="4906" y="530"/>
                        <a:pt x="12131" y="32"/>
                      </a:cubicBezTo>
                      <a:cubicBezTo>
                        <a:pt x="19355" y="-466"/>
                        <a:pt x="25707" y="4890"/>
                        <a:pt x="26330" y="12239"/>
                      </a:cubicBezTo>
                      <a:cubicBezTo>
                        <a:pt x="26953" y="19587"/>
                        <a:pt x="21473" y="25940"/>
                        <a:pt x="14248" y="26438"/>
                      </a:cubicBezTo>
                      <a:cubicBezTo>
                        <a:pt x="7023" y="27061"/>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9" name="Graphic 2987">
                <a:extLst>
                  <a:ext uri="{FF2B5EF4-FFF2-40B4-BE49-F238E27FC236}">
                    <a16:creationId xmlns:a16="http://schemas.microsoft.com/office/drawing/2014/main" id="{CB41B02D-40CB-8654-52AF-78A89011AA2C}"/>
                  </a:ext>
                </a:extLst>
              </p:cNvPr>
              <p:cNvGrpSpPr/>
              <p:nvPr/>
            </p:nvGrpSpPr>
            <p:grpSpPr>
              <a:xfrm>
                <a:off x="7410386" y="5585956"/>
                <a:ext cx="36218" cy="148412"/>
                <a:chOff x="7410386" y="5585956"/>
                <a:chExt cx="36218" cy="148412"/>
              </a:xfrm>
              <a:grpFill/>
            </p:grpSpPr>
            <p:sp>
              <p:nvSpPr>
                <p:cNvPr id="4685" name="Freeform 4811">
                  <a:extLst>
                    <a:ext uri="{FF2B5EF4-FFF2-40B4-BE49-F238E27FC236}">
                      <a16:creationId xmlns:a16="http://schemas.microsoft.com/office/drawing/2014/main" id="{2B51BF1E-7878-CF37-FB91-0E6C581D4EB8}"/>
                    </a:ext>
                  </a:extLst>
                </p:cNvPr>
                <p:cNvSpPr/>
                <p:nvPr/>
              </p:nvSpPr>
              <p:spPr>
                <a:xfrm>
                  <a:off x="7419371" y="5606415"/>
                  <a:ext cx="5951" cy="52065"/>
                </a:xfrm>
                <a:custGeom>
                  <a:avLst/>
                  <a:gdLst>
                    <a:gd name="connsiteX0" fmla="*/ 1277 w 5951"/>
                    <a:gd name="connsiteY0" fmla="*/ 0 h 52065"/>
                    <a:gd name="connsiteX1" fmla="*/ 778 w 5951"/>
                    <a:gd name="connsiteY1" fmla="*/ 18808 h 52065"/>
                    <a:gd name="connsiteX2" fmla="*/ 5511 w 5951"/>
                    <a:gd name="connsiteY2" fmla="*/ 35624 h 52065"/>
                    <a:gd name="connsiteX3" fmla="*/ 4640 w 595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51" h="52065">
                      <a:moveTo>
                        <a:pt x="1277" y="0"/>
                      </a:moveTo>
                      <a:cubicBezTo>
                        <a:pt x="-592" y="8221"/>
                        <a:pt x="-93" y="14573"/>
                        <a:pt x="778" y="18808"/>
                      </a:cubicBezTo>
                      <a:cubicBezTo>
                        <a:pt x="2149" y="25659"/>
                        <a:pt x="4515" y="28524"/>
                        <a:pt x="5511" y="35624"/>
                      </a:cubicBezTo>
                      <a:cubicBezTo>
                        <a:pt x="6508" y="42474"/>
                        <a:pt x="5636" y="48328"/>
                        <a:pt x="46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6" name="Freeform 4812">
                  <a:extLst>
                    <a:ext uri="{FF2B5EF4-FFF2-40B4-BE49-F238E27FC236}">
                      <a16:creationId xmlns:a16="http://schemas.microsoft.com/office/drawing/2014/main" id="{75AD7C70-5AC2-4CEF-EC0E-ADDEA9151037}"/>
                    </a:ext>
                  </a:extLst>
                </p:cNvPr>
                <p:cNvSpPr/>
                <p:nvPr/>
              </p:nvSpPr>
              <p:spPr>
                <a:xfrm>
                  <a:off x="7427249" y="5600934"/>
                  <a:ext cx="4857" cy="51940"/>
                </a:xfrm>
                <a:custGeom>
                  <a:avLst/>
                  <a:gdLst>
                    <a:gd name="connsiteX0" fmla="*/ 4858 w 4857"/>
                    <a:gd name="connsiteY0" fmla="*/ 51941 h 51940"/>
                    <a:gd name="connsiteX1" fmla="*/ 1371 w 4857"/>
                    <a:gd name="connsiteY1" fmla="*/ 33506 h 51940"/>
                    <a:gd name="connsiteX2" fmla="*/ 3488 w 4857"/>
                    <a:gd name="connsiteY2" fmla="*/ 16193 h 51940"/>
                    <a:gd name="connsiteX3" fmla="*/ 0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51941"/>
                      </a:moveTo>
                      <a:cubicBezTo>
                        <a:pt x="1744" y="44094"/>
                        <a:pt x="1246" y="37741"/>
                        <a:pt x="1371" y="33506"/>
                      </a:cubicBezTo>
                      <a:cubicBezTo>
                        <a:pt x="1619" y="26531"/>
                        <a:pt x="3488" y="23292"/>
                        <a:pt x="3488" y="16193"/>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7" name="Freeform 4813">
                  <a:extLst>
                    <a:ext uri="{FF2B5EF4-FFF2-40B4-BE49-F238E27FC236}">
                      <a16:creationId xmlns:a16="http://schemas.microsoft.com/office/drawing/2014/main" id="{05CEB21E-82A3-8165-3D5D-7943937C5D41}"/>
                    </a:ext>
                  </a:extLst>
                </p:cNvPr>
                <p:cNvSpPr/>
                <p:nvPr/>
              </p:nvSpPr>
              <p:spPr>
                <a:xfrm>
                  <a:off x="7410386" y="5585956"/>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7"/>
                        <a:pt x="21721" y="25940"/>
                        <a:pt x="14373" y="26438"/>
                      </a:cubicBezTo>
                      <a:cubicBezTo>
                        <a:pt x="7023" y="26937"/>
                        <a:pt x="671" y="21580"/>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8" name="Freeform 4814">
                  <a:extLst>
                    <a:ext uri="{FF2B5EF4-FFF2-40B4-BE49-F238E27FC236}">
                      <a16:creationId xmlns:a16="http://schemas.microsoft.com/office/drawing/2014/main" id="{A2519138-73FB-6444-D597-5077B5261E4E}"/>
                    </a:ext>
                  </a:extLst>
                </p:cNvPr>
                <p:cNvSpPr/>
                <p:nvPr/>
              </p:nvSpPr>
              <p:spPr>
                <a:xfrm>
                  <a:off x="7431791" y="5661719"/>
                  <a:ext cx="5951" cy="52065"/>
                </a:xfrm>
                <a:custGeom>
                  <a:avLst/>
                  <a:gdLst>
                    <a:gd name="connsiteX0" fmla="*/ 4675 w 5951"/>
                    <a:gd name="connsiteY0" fmla="*/ 52065 h 52065"/>
                    <a:gd name="connsiteX1" fmla="*/ 5173 w 5951"/>
                    <a:gd name="connsiteY1" fmla="*/ 33257 h 52065"/>
                    <a:gd name="connsiteX2" fmla="*/ 440 w 5951"/>
                    <a:gd name="connsiteY2" fmla="*/ 16442 h 52065"/>
                    <a:gd name="connsiteX3" fmla="*/ 1312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4675" y="52065"/>
                      </a:moveTo>
                      <a:cubicBezTo>
                        <a:pt x="6543" y="43844"/>
                        <a:pt x="6045" y="37492"/>
                        <a:pt x="5173" y="33257"/>
                      </a:cubicBezTo>
                      <a:cubicBezTo>
                        <a:pt x="3803" y="26406"/>
                        <a:pt x="1561"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9" name="Freeform 4815">
                  <a:extLst>
                    <a:ext uri="{FF2B5EF4-FFF2-40B4-BE49-F238E27FC236}">
                      <a16:creationId xmlns:a16="http://schemas.microsoft.com/office/drawing/2014/main" id="{7F66EB88-E97C-1704-5D62-4B87763C3B87}"/>
                    </a:ext>
                  </a:extLst>
                </p:cNvPr>
                <p:cNvSpPr/>
                <p:nvPr/>
              </p:nvSpPr>
              <p:spPr>
                <a:xfrm>
                  <a:off x="7425007" y="5667448"/>
                  <a:ext cx="4982" cy="51940"/>
                </a:xfrm>
                <a:custGeom>
                  <a:avLst/>
                  <a:gdLst>
                    <a:gd name="connsiteX0" fmla="*/ 0 w 4982"/>
                    <a:gd name="connsiteY0" fmla="*/ 0 h 51940"/>
                    <a:gd name="connsiteX1" fmla="*/ 3488 w 4982"/>
                    <a:gd name="connsiteY1" fmla="*/ 18435 h 51940"/>
                    <a:gd name="connsiteX2" fmla="*/ 1495 w 4982"/>
                    <a:gd name="connsiteY2" fmla="*/ 35748 h 51940"/>
                    <a:gd name="connsiteX3" fmla="*/ 4983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3" y="14200"/>
                        <a:pt x="3488" y="18435"/>
                      </a:cubicBezTo>
                      <a:cubicBezTo>
                        <a:pt x="3239" y="25410"/>
                        <a:pt x="1370" y="28648"/>
                        <a:pt x="1495" y="35748"/>
                      </a:cubicBezTo>
                      <a:cubicBezTo>
                        <a:pt x="1495" y="42599"/>
                        <a:pt x="3363" y="48204"/>
                        <a:pt x="498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0" name="Freeform 4816">
                  <a:extLst>
                    <a:ext uri="{FF2B5EF4-FFF2-40B4-BE49-F238E27FC236}">
                      <a16:creationId xmlns:a16="http://schemas.microsoft.com/office/drawing/2014/main" id="{13B3776B-3DD9-6FF2-F2B9-616B9D2F1E67}"/>
                    </a:ext>
                  </a:extLst>
                </p:cNvPr>
                <p:cNvSpPr/>
                <p:nvPr/>
              </p:nvSpPr>
              <p:spPr>
                <a:xfrm>
                  <a:off x="7420226" y="5707897"/>
                  <a:ext cx="26378" cy="26470"/>
                </a:xfrm>
                <a:custGeom>
                  <a:avLst/>
                  <a:gdLst>
                    <a:gd name="connsiteX0" fmla="*/ 48 w 26378"/>
                    <a:gd name="connsiteY0" fmla="*/ 14232 h 26470"/>
                    <a:gd name="connsiteX1" fmla="*/ 12131 w 26378"/>
                    <a:gd name="connsiteY1" fmla="*/ 32 h 26470"/>
                    <a:gd name="connsiteX2" fmla="*/ 26330 w 26378"/>
                    <a:gd name="connsiteY2" fmla="*/ 12239 h 26470"/>
                    <a:gd name="connsiteX3" fmla="*/ 14248 w 26378"/>
                    <a:gd name="connsiteY3" fmla="*/ 26439 h 26470"/>
                    <a:gd name="connsiteX4" fmla="*/ 48 w 26378"/>
                    <a:gd name="connsiteY4" fmla="*/ 14232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70">
                      <a:moveTo>
                        <a:pt x="48" y="14232"/>
                      </a:moveTo>
                      <a:cubicBezTo>
                        <a:pt x="-574" y="6883"/>
                        <a:pt x="4906" y="530"/>
                        <a:pt x="12131" y="32"/>
                      </a:cubicBezTo>
                      <a:cubicBezTo>
                        <a:pt x="19355" y="-466"/>
                        <a:pt x="25707" y="4890"/>
                        <a:pt x="26330" y="12239"/>
                      </a:cubicBezTo>
                      <a:cubicBezTo>
                        <a:pt x="26953" y="19588"/>
                        <a:pt x="21473" y="25940"/>
                        <a:pt x="14248" y="26439"/>
                      </a:cubicBezTo>
                      <a:cubicBezTo>
                        <a:pt x="7023" y="26937"/>
                        <a:pt x="547" y="21581"/>
                        <a:pt x="48" y="14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0" name="Graphic 2987">
                <a:extLst>
                  <a:ext uri="{FF2B5EF4-FFF2-40B4-BE49-F238E27FC236}">
                    <a16:creationId xmlns:a16="http://schemas.microsoft.com/office/drawing/2014/main" id="{4B855206-9E5D-4EC4-DC2A-6BFB5D4CE33D}"/>
                  </a:ext>
                </a:extLst>
              </p:cNvPr>
              <p:cNvGrpSpPr/>
              <p:nvPr/>
            </p:nvGrpSpPr>
            <p:grpSpPr>
              <a:xfrm>
                <a:off x="7440156" y="5583590"/>
                <a:ext cx="35702" cy="148536"/>
                <a:chOff x="7440156" y="5583590"/>
                <a:chExt cx="35702" cy="148536"/>
              </a:xfrm>
              <a:grpFill/>
            </p:grpSpPr>
            <p:sp>
              <p:nvSpPr>
                <p:cNvPr id="4679" name="Freeform 4818">
                  <a:extLst>
                    <a:ext uri="{FF2B5EF4-FFF2-40B4-BE49-F238E27FC236}">
                      <a16:creationId xmlns:a16="http://schemas.microsoft.com/office/drawing/2014/main" id="{0289893B-5E5A-CA2F-F375-51B2752AF23E}"/>
                    </a:ext>
                  </a:extLst>
                </p:cNvPr>
                <p:cNvSpPr/>
                <p:nvPr/>
              </p:nvSpPr>
              <p:spPr>
                <a:xfrm>
                  <a:off x="7449016" y="5604173"/>
                  <a:ext cx="5927" cy="52065"/>
                </a:xfrm>
                <a:custGeom>
                  <a:avLst/>
                  <a:gdLst>
                    <a:gd name="connsiteX0" fmla="*/ 1277 w 5927"/>
                    <a:gd name="connsiteY0" fmla="*/ 0 h 52065"/>
                    <a:gd name="connsiteX1" fmla="*/ 778 w 5927"/>
                    <a:gd name="connsiteY1" fmla="*/ 18808 h 52065"/>
                    <a:gd name="connsiteX2" fmla="*/ 5511 w 5927"/>
                    <a:gd name="connsiteY2" fmla="*/ 35623 h 52065"/>
                    <a:gd name="connsiteX3" fmla="*/ 4639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1277" y="0"/>
                      </a:moveTo>
                      <a:cubicBezTo>
                        <a:pt x="-592" y="8221"/>
                        <a:pt x="-93" y="14573"/>
                        <a:pt x="778" y="18808"/>
                      </a:cubicBezTo>
                      <a:cubicBezTo>
                        <a:pt x="2149" y="25659"/>
                        <a:pt x="4391" y="28524"/>
                        <a:pt x="5511" y="35623"/>
                      </a:cubicBezTo>
                      <a:cubicBezTo>
                        <a:pt x="6508" y="42474"/>
                        <a:pt x="5511" y="48328"/>
                        <a:pt x="463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0" name="Freeform 4819">
                  <a:extLst>
                    <a:ext uri="{FF2B5EF4-FFF2-40B4-BE49-F238E27FC236}">
                      <a16:creationId xmlns:a16="http://schemas.microsoft.com/office/drawing/2014/main" id="{97450D1C-34E4-0C8C-07CF-50FA5E879921}"/>
                    </a:ext>
                  </a:extLst>
                </p:cNvPr>
                <p:cNvSpPr/>
                <p:nvPr/>
              </p:nvSpPr>
              <p:spPr>
                <a:xfrm>
                  <a:off x="7457018" y="5598568"/>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3"/>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1" name="Freeform 4820">
                  <a:extLst>
                    <a:ext uri="{FF2B5EF4-FFF2-40B4-BE49-F238E27FC236}">
                      <a16:creationId xmlns:a16="http://schemas.microsoft.com/office/drawing/2014/main" id="{E748BD41-8E7E-CC4F-17DA-1087D41C39CF}"/>
                    </a:ext>
                  </a:extLst>
                </p:cNvPr>
                <p:cNvSpPr/>
                <p:nvPr/>
              </p:nvSpPr>
              <p:spPr>
                <a:xfrm>
                  <a:off x="7440156" y="5583590"/>
                  <a:ext cx="26609" cy="26469"/>
                </a:xfrm>
                <a:custGeom>
                  <a:avLst/>
                  <a:gdLst>
                    <a:gd name="connsiteX0" fmla="*/ 26578 w 26609"/>
                    <a:gd name="connsiteY0" fmla="*/ 12238 h 26469"/>
                    <a:gd name="connsiteX1" fmla="*/ 14371 w 26609"/>
                    <a:gd name="connsiteY1" fmla="*/ 26438 h 26469"/>
                    <a:gd name="connsiteX2" fmla="*/ 47 w 26609"/>
                    <a:gd name="connsiteY2" fmla="*/ 14231 h 26469"/>
                    <a:gd name="connsiteX3" fmla="*/ 12254 w 26609"/>
                    <a:gd name="connsiteY3" fmla="*/ 31 h 26469"/>
                    <a:gd name="connsiteX4" fmla="*/ 26578 w 26609"/>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9" h="26469">
                      <a:moveTo>
                        <a:pt x="26578" y="12238"/>
                      </a:moveTo>
                      <a:cubicBezTo>
                        <a:pt x="27076" y="19587"/>
                        <a:pt x="21596" y="25939"/>
                        <a:pt x="14371" y="26438"/>
                      </a:cubicBezTo>
                      <a:cubicBezTo>
                        <a:pt x="7022" y="26936"/>
                        <a:pt x="670" y="21580"/>
                        <a:pt x="47" y="14231"/>
                      </a:cubicBezTo>
                      <a:cubicBezTo>
                        <a:pt x="-575" y="6882"/>
                        <a:pt x="5029" y="529"/>
                        <a:pt x="12254" y="31"/>
                      </a:cubicBezTo>
                      <a:cubicBezTo>
                        <a:pt x="19603" y="-467"/>
                        <a:pt x="25955" y="5014"/>
                        <a:pt x="26578"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2" name="Freeform 4821">
                  <a:extLst>
                    <a:ext uri="{FF2B5EF4-FFF2-40B4-BE49-F238E27FC236}">
                      <a16:creationId xmlns:a16="http://schemas.microsoft.com/office/drawing/2014/main" id="{5158BC1F-AD20-D16D-D0A6-296B5C3195A4}"/>
                    </a:ext>
                  </a:extLst>
                </p:cNvPr>
                <p:cNvSpPr/>
                <p:nvPr/>
              </p:nvSpPr>
              <p:spPr>
                <a:xfrm>
                  <a:off x="7461087" y="5659601"/>
                  <a:ext cx="5927" cy="52065"/>
                </a:xfrm>
                <a:custGeom>
                  <a:avLst/>
                  <a:gdLst>
                    <a:gd name="connsiteX0" fmla="*/ 4651 w 5927"/>
                    <a:gd name="connsiteY0" fmla="*/ 52065 h 52065"/>
                    <a:gd name="connsiteX1" fmla="*/ 5149 w 5927"/>
                    <a:gd name="connsiteY1" fmla="*/ 33257 h 52065"/>
                    <a:gd name="connsiteX2" fmla="*/ 416 w 5927"/>
                    <a:gd name="connsiteY2" fmla="*/ 16441 h 52065"/>
                    <a:gd name="connsiteX3" fmla="*/ 1288 w 5927"/>
                    <a:gd name="connsiteY3" fmla="*/ 0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52065"/>
                      </a:moveTo>
                      <a:cubicBezTo>
                        <a:pt x="6520" y="43844"/>
                        <a:pt x="6021" y="37492"/>
                        <a:pt x="5149" y="33257"/>
                      </a:cubicBezTo>
                      <a:cubicBezTo>
                        <a:pt x="3904" y="26406"/>
                        <a:pt x="1537" y="23541"/>
                        <a:pt x="416" y="16441"/>
                      </a:cubicBezTo>
                      <a:cubicBezTo>
                        <a:pt x="-580"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3" name="Freeform 4822">
                  <a:extLst>
                    <a:ext uri="{FF2B5EF4-FFF2-40B4-BE49-F238E27FC236}">
                      <a16:creationId xmlns:a16="http://schemas.microsoft.com/office/drawing/2014/main" id="{3B051937-8FB0-4515-7B33-56B868B8C60E}"/>
                    </a:ext>
                  </a:extLst>
                </p:cNvPr>
                <p:cNvSpPr/>
                <p:nvPr/>
              </p:nvSpPr>
              <p:spPr>
                <a:xfrm>
                  <a:off x="7454527" y="5665206"/>
                  <a:ext cx="4608" cy="51940"/>
                </a:xfrm>
                <a:custGeom>
                  <a:avLst/>
                  <a:gdLst>
                    <a:gd name="connsiteX0" fmla="*/ 0 w 4608"/>
                    <a:gd name="connsiteY0" fmla="*/ 0 h 51940"/>
                    <a:gd name="connsiteX1" fmla="*/ 3363 w 4608"/>
                    <a:gd name="connsiteY1" fmla="*/ 18435 h 51940"/>
                    <a:gd name="connsiteX2" fmla="*/ 1246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200"/>
                        <a:pt x="3363" y="18435"/>
                      </a:cubicBezTo>
                      <a:cubicBezTo>
                        <a:pt x="3114" y="25410"/>
                        <a:pt x="1246" y="28648"/>
                        <a:pt x="1246" y="35748"/>
                      </a:cubicBezTo>
                      <a:cubicBezTo>
                        <a:pt x="1246"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4" name="Freeform 4823">
                  <a:extLst>
                    <a:ext uri="{FF2B5EF4-FFF2-40B4-BE49-F238E27FC236}">
                      <a16:creationId xmlns:a16="http://schemas.microsoft.com/office/drawing/2014/main" id="{EC5480A2-5828-8ED2-7D2D-6BCBB3EBDE1D}"/>
                    </a:ext>
                  </a:extLst>
                </p:cNvPr>
                <p:cNvSpPr/>
                <p:nvPr/>
              </p:nvSpPr>
              <p:spPr>
                <a:xfrm>
                  <a:off x="7449497" y="5705656"/>
                  <a:ext cx="26361" cy="26469"/>
                </a:xfrm>
                <a:custGeom>
                  <a:avLst/>
                  <a:gdLst>
                    <a:gd name="connsiteX0" fmla="*/ 48 w 26361"/>
                    <a:gd name="connsiteY0" fmla="*/ 14231 h 26469"/>
                    <a:gd name="connsiteX1" fmla="*/ 12130 w 26361"/>
                    <a:gd name="connsiteY1" fmla="*/ 31 h 26469"/>
                    <a:gd name="connsiteX2" fmla="*/ 26330 w 26361"/>
                    <a:gd name="connsiteY2" fmla="*/ 12238 h 26469"/>
                    <a:gd name="connsiteX3" fmla="*/ 14247 w 26361"/>
                    <a:gd name="connsiteY3" fmla="*/ 26438 h 26469"/>
                    <a:gd name="connsiteX4" fmla="*/ 48 w 26361"/>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469">
                      <a:moveTo>
                        <a:pt x="48" y="14231"/>
                      </a:moveTo>
                      <a:cubicBezTo>
                        <a:pt x="-574" y="6882"/>
                        <a:pt x="4905" y="530"/>
                        <a:pt x="12130" y="31"/>
                      </a:cubicBezTo>
                      <a:cubicBezTo>
                        <a:pt x="19355" y="-467"/>
                        <a:pt x="25707" y="5014"/>
                        <a:pt x="26330" y="12238"/>
                      </a:cubicBezTo>
                      <a:cubicBezTo>
                        <a:pt x="26828" y="19587"/>
                        <a:pt x="21472" y="25940"/>
                        <a:pt x="14247" y="26438"/>
                      </a:cubicBezTo>
                      <a:cubicBezTo>
                        <a:pt x="7023" y="26936"/>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1" name="Graphic 2987">
                <a:extLst>
                  <a:ext uri="{FF2B5EF4-FFF2-40B4-BE49-F238E27FC236}">
                    <a16:creationId xmlns:a16="http://schemas.microsoft.com/office/drawing/2014/main" id="{D12AC9A9-66FC-67B9-058E-C18ED4D890DA}"/>
                  </a:ext>
                </a:extLst>
              </p:cNvPr>
              <p:cNvGrpSpPr/>
              <p:nvPr/>
            </p:nvGrpSpPr>
            <p:grpSpPr>
              <a:xfrm>
                <a:off x="7469817" y="5581348"/>
                <a:ext cx="35437" cy="148660"/>
                <a:chOff x="7469817" y="5581348"/>
                <a:chExt cx="35437" cy="148660"/>
              </a:xfrm>
              <a:grpFill/>
            </p:grpSpPr>
            <p:sp>
              <p:nvSpPr>
                <p:cNvPr id="4673" name="Freeform 4825">
                  <a:extLst>
                    <a:ext uri="{FF2B5EF4-FFF2-40B4-BE49-F238E27FC236}">
                      <a16:creationId xmlns:a16="http://schemas.microsoft.com/office/drawing/2014/main" id="{D0EC4C6C-0B8F-FCE7-8BD3-601287986353}"/>
                    </a:ext>
                  </a:extLst>
                </p:cNvPr>
                <p:cNvSpPr/>
                <p:nvPr/>
              </p:nvSpPr>
              <p:spPr>
                <a:xfrm>
                  <a:off x="7478644" y="5601931"/>
                  <a:ext cx="5815" cy="52065"/>
                </a:xfrm>
                <a:custGeom>
                  <a:avLst/>
                  <a:gdLst>
                    <a:gd name="connsiteX0" fmla="*/ 1293 w 5815"/>
                    <a:gd name="connsiteY0" fmla="*/ 0 h 52065"/>
                    <a:gd name="connsiteX1" fmla="*/ 670 w 5815"/>
                    <a:gd name="connsiteY1" fmla="*/ 18808 h 52065"/>
                    <a:gd name="connsiteX2" fmla="*/ 5403 w 5815"/>
                    <a:gd name="connsiteY2" fmla="*/ 35623 h 52065"/>
                    <a:gd name="connsiteX3" fmla="*/ 4407 w 581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815" h="52065">
                      <a:moveTo>
                        <a:pt x="1293" y="0"/>
                      </a:moveTo>
                      <a:cubicBezTo>
                        <a:pt x="-575" y="8221"/>
                        <a:pt x="-77" y="14573"/>
                        <a:pt x="670" y="18808"/>
                      </a:cubicBezTo>
                      <a:cubicBezTo>
                        <a:pt x="1916" y="25659"/>
                        <a:pt x="4283" y="28523"/>
                        <a:pt x="5403" y="35623"/>
                      </a:cubicBezTo>
                      <a:cubicBezTo>
                        <a:pt x="6400" y="42474"/>
                        <a:pt x="5403" y="48328"/>
                        <a:pt x="440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4" name="Freeform 4826">
                  <a:extLst>
                    <a:ext uri="{FF2B5EF4-FFF2-40B4-BE49-F238E27FC236}">
                      <a16:creationId xmlns:a16="http://schemas.microsoft.com/office/drawing/2014/main" id="{87A3E296-9CB5-B0CD-7AEE-27EA2481104F}"/>
                    </a:ext>
                  </a:extLst>
                </p:cNvPr>
                <p:cNvSpPr/>
                <p:nvPr/>
              </p:nvSpPr>
              <p:spPr>
                <a:xfrm>
                  <a:off x="7486539" y="5596326"/>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5" name="Freeform 4827">
                  <a:extLst>
                    <a:ext uri="{FF2B5EF4-FFF2-40B4-BE49-F238E27FC236}">
                      <a16:creationId xmlns:a16="http://schemas.microsoft.com/office/drawing/2014/main" id="{27109BC0-159B-DF16-E229-1D4C111E2EC8}"/>
                    </a:ext>
                  </a:extLst>
                </p:cNvPr>
                <p:cNvSpPr/>
                <p:nvPr/>
              </p:nvSpPr>
              <p:spPr>
                <a:xfrm>
                  <a:off x="7469817" y="5581348"/>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39"/>
                        <a:pt x="14231" y="26438"/>
                      </a:cubicBezTo>
                      <a:cubicBezTo>
                        <a:pt x="6882" y="26936"/>
                        <a:pt x="529" y="21580"/>
                        <a:pt x="32" y="14231"/>
                      </a:cubicBezTo>
                      <a:cubicBezTo>
                        <a:pt x="-467" y="6882"/>
                        <a:pt x="5013" y="529"/>
                        <a:pt x="12363" y="31"/>
                      </a:cubicBezTo>
                      <a:cubicBezTo>
                        <a:pt x="19711" y="-467"/>
                        <a:pt x="25939"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6" name="Freeform 4828">
                  <a:extLst>
                    <a:ext uri="{FF2B5EF4-FFF2-40B4-BE49-F238E27FC236}">
                      <a16:creationId xmlns:a16="http://schemas.microsoft.com/office/drawing/2014/main" id="{E7B59D73-D186-4407-9C2A-E3E94006EF87}"/>
                    </a:ext>
                  </a:extLst>
                </p:cNvPr>
                <p:cNvSpPr/>
                <p:nvPr/>
              </p:nvSpPr>
              <p:spPr>
                <a:xfrm>
                  <a:off x="7490735" y="5657359"/>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5"/>
                        <a:pt x="5768" y="37492"/>
                        <a:pt x="5021" y="33257"/>
                      </a:cubicBezTo>
                      <a:cubicBezTo>
                        <a:pt x="3776" y="26406"/>
                        <a:pt x="1409" y="23542"/>
                        <a:pt x="413" y="16442"/>
                      </a:cubicBezTo>
                      <a:cubicBezTo>
                        <a:pt x="-583"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7" name="Freeform 4829">
                  <a:extLst>
                    <a:ext uri="{FF2B5EF4-FFF2-40B4-BE49-F238E27FC236}">
                      <a16:creationId xmlns:a16="http://schemas.microsoft.com/office/drawing/2014/main" id="{1836CAF1-0222-BCFB-DEC3-7376D62490FA}"/>
                    </a:ext>
                  </a:extLst>
                </p:cNvPr>
                <p:cNvSpPr/>
                <p:nvPr/>
              </p:nvSpPr>
              <p:spPr>
                <a:xfrm>
                  <a:off x="7484047" y="5662964"/>
                  <a:ext cx="4608" cy="52065"/>
                </a:xfrm>
                <a:custGeom>
                  <a:avLst/>
                  <a:gdLst>
                    <a:gd name="connsiteX0" fmla="*/ 0 w 4608"/>
                    <a:gd name="connsiteY0" fmla="*/ 0 h 52065"/>
                    <a:gd name="connsiteX1" fmla="*/ 3363 w 4608"/>
                    <a:gd name="connsiteY1" fmla="*/ 18559 h 52065"/>
                    <a:gd name="connsiteX2" fmla="*/ 1246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3114" y="7847"/>
                        <a:pt x="3488" y="14199"/>
                        <a:pt x="3363" y="18559"/>
                      </a:cubicBezTo>
                      <a:cubicBezTo>
                        <a:pt x="3114" y="25534"/>
                        <a:pt x="1246" y="28773"/>
                        <a:pt x="1246" y="35873"/>
                      </a:cubicBezTo>
                      <a:cubicBezTo>
                        <a:pt x="1246" y="42723"/>
                        <a:pt x="3114" y="48328"/>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8" name="Freeform 4830">
                  <a:extLst>
                    <a:ext uri="{FF2B5EF4-FFF2-40B4-BE49-F238E27FC236}">
                      <a16:creationId xmlns:a16="http://schemas.microsoft.com/office/drawing/2014/main" id="{9E96946D-83B1-0576-C733-97275637DC77}"/>
                    </a:ext>
                  </a:extLst>
                </p:cNvPr>
                <p:cNvSpPr/>
                <p:nvPr/>
              </p:nvSpPr>
              <p:spPr>
                <a:xfrm>
                  <a:off x="7478909" y="5703539"/>
                  <a:ext cx="26345" cy="26469"/>
                </a:xfrm>
                <a:custGeom>
                  <a:avLst/>
                  <a:gdLst>
                    <a:gd name="connsiteX0" fmla="*/ 32 w 26345"/>
                    <a:gd name="connsiteY0" fmla="*/ 14231 h 26469"/>
                    <a:gd name="connsiteX1" fmla="*/ 12238 w 26345"/>
                    <a:gd name="connsiteY1" fmla="*/ 31 h 26469"/>
                    <a:gd name="connsiteX2" fmla="*/ 26314 w 26345"/>
                    <a:gd name="connsiteY2" fmla="*/ 12238 h 26469"/>
                    <a:gd name="connsiteX3" fmla="*/ 14107 w 26345"/>
                    <a:gd name="connsiteY3" fmla="*/ 26438 h 26469"/>
                    <a:gd name="connsiteX4" fmla="*/ 32 w 26345"/>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2" y="14231"/>
                      </a:moveTo>
                      <a:cubicBezTo>
                        <a:pt x="-466" y="6882"/>
                        <a:pt x="4890" y="529"/>
                        <a:pt x="12238" y="31"/>
                      </a:cubicBezTo>
                      <a:cubicBezTo>
                        <a:pt x="19588" y="-467"/>
                        <a:pt x="25816" y="5014"/>
                        <a:pt x="26314" y="12238"/>
                      </a:cubicBezTo>
                      <a:cubicBezTo>
                        <a:pt x="26812" y="19587"/>
                        <a:pt x="21456" y="25939"/>
                        <a:pt x="14107" y="26438"/>
                      </a:cubicBezTo>
                      <a:cubicBezTo>
                        <a:pt x="6883" y="26936"/>
                        <a:pt x="655"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2" name="Graphic 2987">
                <a:extLst>
                  <a:ext uri="{FF2B5EF4-FFF2-40B4-BE49-F238E27FC236}">
                    <a16:creationId xmlns:a16="http://schemas.microsoft.com/office/drawing/2014/main" id="{E8C64CB5-C401-67DC-2CC6-2BDA520A8894}"/>
                  </a:ext>
                </a:extLst>
              </p:cNvPr>
              <p:cNvGrpSpPr/>
              <p:nvPr/>
            </p:nvGrpSpPr>
            <p:grpSpPr>
              <a:xfrm>
                <a:off x="7499462" y="5579105"/>
                <a:ext cx="35187" cy="148660"/>
                <a:chOff x="7499462" y="5579105"/>
                <a:chExt cx="35187" cy="148660"/>
              </a:xfrm>
              <a:grpFill/>
            </p:grpSpPr>
            <p:sp>
              <p:nvSpPr>
                <p:cNvPr id="4667" name="Freeform 4832">
                  <a:extLst>
                    <a:ext uri="{FF2B5EF4-FFF2-40B4-BE49-F238E27FC236}">
                      <a16:creationId xmlns:a16="http://schemas.microsoft.com/office/drawing/2014/main" id="{18FD8974-5F96-D731-54E6-FDE0723DFE6A}"/>
                    </a:ext>
                  </a:extLst>
                </p:cNvPr>
                <p:cNvSpPr/>
                <p:nvPr/>
              </p:nvSpPr>
              <p:spPr>
                <a:xfrm>
                  <a:off x="7508289" y="5599689"/>
                  <a:ext cx="5691" cy="52065"/>
                </a:xfrm>
                <a:custGeom>
                  <a:avLst/>
                  <a:gdLst>
                    <a:gd name="connsiteX0" fmla="*/ 1293 w 5691"/>
                    <a:gd name="connsiteY0" fmla="*/ 0 h 52065"/>
                    <a:gd name="connsiteX1" fmla="*/ 670 w 5691"/>
                    <a:gd name="connsiteY1" fmla="*/ 18808 h 52065"/>
                    <a:gd name="connsiteX2" fmla="*/ 5278 w 5691"/>
                    <a:gd name="connsiteY2" fmla="*/ 35624 h 52065"/>
                    <a:gd name="connsiteX3" fmla="*/ 4283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0"/>
                      </a:moveTo>
                      <a:cubicBezTo>
                        <a:pt x="-575" y="8221"/>
                        <a:pt x="-77" y="14573"/>
                        <a:pt x="670" y="18808"/>
                      </a:cubicBezTo>
                      <a:cubicBezTo>
                        <a:pt x="1916" y="25659"/>
                        <a:pt x="4283" y="28524"/>
                        <a:pt x="5278" y="35624"/>
                      </a:cubicBezTo>
                      <a:cubicBezTo>
                        <a:pt x="6275" y="42474"/>
                        <a:pt x="5278" y="48328"/>
                        <a:pt x="42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8" name="Freeform 4833">
                  <a:extLst>
                    <a:ext uri="{FF2B5EF4-FFF2-40B4-BE49-F238E27FC236}">
                      <a16:creationId xmlns:a16="http://schemas.microsoft.com/office/drawing/2014/main" id="{4E345849-032F-0BFF-475C-6E36C20828CD}"/>
                    </a:ext>
                  </a:extLst>
                </p:cNvPr>
                <p:cNvSpPr/>
                <p:nvPr/>
              </p:nvSpPr>
              <p:spPr>
                <a:xfrm>
                  <a:off x="7516183" y="5594084"/>
                  <a:ext cx="4483" cy="52065"/>
                </a:xfrm>
                <a:custGeom>
                  <a:avLst/>
                  <a:gdLst>
                    <a:gd name="connsiteX0" fmla="*/ 4484 w 4483"/>
                    <a:gd name="connsiteY0" fmla="*/ 52065 h 52065"/>
                    <a:gd name="connsiteX1" fmla="*/ 1121 w 4483"/>
                    <a:gd name="connsiteY1" fmla="*/ 33506 h 52065"/>
                    <a:gd name="connsiteX2" fmla="*/ 3363 w 4483"/>
                    <a:gd name="connsiteY2" fmla="*/ 16192 h 52065"/>
                    <a:gd name="connsiteX3" fmla="*/ 0 w 4483"/>
                    <a:gd name="connsiteY3" fmla="*/ 0 h 52065"/>
                  </a:gdLst>
                  <a:ahLst/>
                  <a:cxnLst>
                    <a:cxn ang="0">
                      <a:pos x="connsiteX0" y="connsiteY0"/>
                    </a:cxn>
                    <a:cxn ang="0">
                      <a:pos x="connsiteX1" y="connsiteY1"/>
                    </a:cxn>
                    <a:cxn ang="0">
                      <a:pos x="connsiteX2" y="connsiteY2"/>
                    </a:cxn>
                    <a:cxn ang="0">
                      <a:pos x="connsiteX3" y="connsiteY3"/>
                    </a:cxn>
                  </a:cxnLst>
                  <a:rect l="l" t="t" r="r" b="b"/>
                  <a:pathLst>
                    <a:path w="4483" h="52065">
                      <a:moveTo>
                        <a:pt x="4484" y="52065"/>
                      </a:moveTo>
                      <a:cubicBezTo>
                        <a:pt x="1495" y="44218"/>
                        <a:pt x="997" y="37866"/>
                        <a:pt x="1121" y="33506"/>
                      </a:cubicBezTo>
                      <a:cubicBezTo>
                        <a:pt x="1370" y="26531"/>
                        <a:pt x="3363" y="23292"/>
                        <a:pt x="3363" y="16192"/>
                      </a:cubicBezTo>
                      <a:cubicBezTo>
                        <a:pt x="3363" y="9342"/>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9" name="Freeform 4834">
                  <a:extLst>
                    <a:ext uri="{FF2B5EF4-FFF2-40B4-BE49-F238E27FC236}">
                      <a16:creationId xmlns:a16="http://schemas.microsoft.com/office/drawing/2014/main" id="{D65B2840-C381-DBEC-4402-E5DF09086FE2}"/>
                    </a:ext>
                  </a:extLst>
                </p:cNvPr>
                <p:cNvSpPr/>
                <p:nvPr/>
              </p:nvSpPr>
              <p:spPr>
                <a:xfrm>
                  <a:off x="7499462" y="5579105"/>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40"/>
                        <a:pt x="14231" y="26438"/>
                      </a:cubicBezTo>
                      <a:cubicBezTo>
                        <a:pt x="6882" y="26936"/>
                        <a:pt x="529" y="21580"/>
                        <a:pt x="32" y="14231"/>
                      </a:cubicBezTo>
                      <a:cubicBezTo>
                        <a:pt x="-467" y="6882"/>
                        <a:pt x="5013" y="530"/>
                        <a:pt x="12363" y="31"/>
                      </a:cubicBezTo>
                      <a:cubicBezTo>
                        <a:pt x="19711" y="-467"/>
                        <a:pt x="26064"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0" name="Freeform 4835">
                  <a:extLst>
                    <a:ext uri="{FF2B5EF4-FFF2-40B4-BE49-F238E27FC236}">
                      <a16:creationId xmlns:a16="http://schemas.microsoft.com/office/drawing/2014/main" id="{1A086E05-1E03-3707-8B67-12C32459CDEC}"/>
                    </a:ext>
                  </a:extLst>
                </p:cNvPr>
                <p:cNvSpPr/>
                <p:nvPr/>
              </p:nvSpPr>
              <p:spPr>
                <a:xfrm>
                  <a:off x="7520130" y="5655117"/>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4"/>
                        <a:pt x="5769" y="37492"/>
                        <a:pt x="5021" y="33257"/>
                      </a:cubicBezTo>
                      <a:cubicBezTo>
                        <a:pt x="3775" y="26406"/>
                        <a:pt x="1409" y="23542"/>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1" name="Freeform 4836">
                  <a:extLst>
                    <a:ext uri="{FF2B5EF4-FFF2-40B4-BE49-F238E27FC236}">
                      <a16:creationId xmlns:a16="http://schemas.microsoft.com/office/drawing/2014/main" id="{237D7A65-421F-77A8-9A0C-DD180BA2DB76}"/>
                    </a:ext>
                  </a:extLst>
                </p:cNvPr>
                <p:cNvSpPr/>
                <p:nvPr/>
              </p:nvSpPr>
              <p:spPr>
                <a:xfrm>
                  <a:off x="7513443" y="5660722"/>
                  <a:ext cx="4608" cy="52065"/>
                </a:xfrm>
                <a:custGeom>
                  <a:avLst/>
                  <a:gdLst>
                    <a:gd name="connsiteX0" fmla="*/ 0 w 4608"/>
                    <a:gd name="connsiteY0" fmla="*/ 0 h 52065"/>
                    <a:gd name="connsiteX1" fmla="*/ 3363 w 4608"/>
                    <a:gd name="connsiteY1" fmla="*/ 18559 h 52065"/>
                    <a:gd name="connsiteX2" fmla="*/ 1245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2989" y="7847"/>
                        <a:pt x="3487" y="14199"/>
                        <a:pt x="3363" y="18559"/>
                      </a:cubicBezTo>
                      <a:cubicBezTo>
                        <a:pt x="3114" y="25534"/>
                        <a:pt x="1245" y="28773"/>
                        <a:pt x="1245" y="35873"/>
                      </a:cubicBezTo>
                      <a:cubicBezTo>
                        <a:pt x="1245" y="42723"/>
                        <a:pt x="3114" y="48453"/>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2" name="Freeform 4837">
                  <a:extLst>
                    <a:ext uri="{FF2B5EF4-FFF2-40B4-BE49-F238E27FC236}">
                      <a16:creationId xmlns:a16="http://schemas.microsoft.com/office/drawing/2014/main" id="{A274C57D-1AA8-7062-9B65-45A8E82241B2}"/>
                    </a:ext>
                  </a:extLst>
                </p:cNvPr>
                <p:cNvSpPr/>
                <p:nvPr/>
              </p:nvSpPr>
              <p:spPr>
                <a:xfrm>
                  <a:off x="7508305" y="5701296"/>
                  <a:ext cx="26344" cy="26469"/>
                </a:xfrm>
                <a:custGeom>
                  <a:avLst/>
                  <a:gdLst>
                    <a:gd name="connsiteX0" fmla="*/ 31 w 26344"/>
                    <a:gd name="connsiteY0" fmla="*/ 14231 h 26469"/>
                    <a:gd name="connsiteX1" fmla="*/ 12239 w 26344"/>
                    <a:gd name="connsiteY1" fmla="*/ 31 h 26469"/>
                    <a:gd name="connsiteX2" fmla="*/ 26313 w 26344"/>
                    <a:gd name="connsiteY2" fmla="*/ 12238 h 26469"/>
                    <a:gd name="connsiteX3" fmla="*/ 14106 w 26344"/>
                    <a:gd name="connsiteY3" fmla="*/ 26438 h 26469"/>
                    <a:gd name="connsiteX4" fmla="*/ 31 w 26344"/>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1" y="14231"/>
                      </a:moveTo>
                      <a:cubicBezTo>
                        <a:pt x="-467" y="6882"/>
                        <a:pt x="5014" y="530"/>
                        <a:pt x="12239" y="31"/>
                      </a:cubicBezTo>
                      <a:cubicBezTo>
                        <a:pt x="19462" y="-467"/>
                        <a:pt x="25815" y="5014"/>
                        <a:pt x="26313" y="12238"/>
                      </a:cubicBezTo>
                      <a:cubicBezTo>
                        <a:pt x="26812" y="19587"/>
                        <a:pt x="21331" y="25940"/>
                        <a:pt x="14106" y="26438"/>
                      </a:cubicBezTo>
                      <a:cubicBezTo>
                        <a:pt x="6882" y="26936"/>
                        <a:pt x="530" y="21455"/>
                        <a:pt x="31"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3" name="Graphic 2987">
                <a:extLst>
                  <a:ext uri="{FF2B5EF4-FFF2-40B4-BE49-F238E27FC236}">
                    <a16:creationId xmlns:a16="http://schemas.microsoft.com/office/drawing/2014/main" id="{71A9DECC-60CD-6526-3B50-0FC14B9DC6F4}"/>
                  </a:ext>
                </a:extLst>
              </p:cNvPr>
              <p:cNvGrpSpPr/>
              <p:nvPr/>
            </p:nvGrpSpPr>
            <p:grpSpPr>
              <a:xfrm>
                <a:off x="7529106" y="5576972"/>
                <a:ext cx="34814" cy="148551"/>
                <a:chOff x="7529106" y="5576972"/>
                <a:chExt cx="34814" cy="148551"/>
              </a:xfrm>
              <a:grpFill/>
            </p:grpSpPr>
            <p:sp>
              <p:nvSpPr>
                <p:cNvPr id="4661" name="Freeform 4839">
                  <a:extLst>
                    <a:ext uri="{FF2B5EF4-FFF2-40B4-BE49-F238E27FC236}">
                      <a16:creationId xmlns:a16="http://schemas.microsoft.com/office/drawing/2014/main" id="{B6C7E6CA-4108-CD29-C3EA-B5330AEA5EE3}"/>
                    </a:ext>
                  </a:extLst>
                </p:cNvPr>
                <p:cNvSpPr/>
                <p:nvPr/>
              </p:nvSpPr>
              <p:spPr>
                <a:xfrm>
                  <a:off x="7537885" y="5597447"/>
                  <a:ext cx="5739" cy="52065"/>
                </a:xfrm>
                <a:custGeom>
                  <a:avLst/>
                  <a:gdLst>
                    <a:gd name="connsiteX0" fmla="*/ 1342 w 5739"/>
                    <a:gd name="connsiteY0" fmla="*/ 0 h 52065"/>
                    <a:gd name="connsiteX1" fmla="*/ 718 w 5739"/>
                    <a:gd name="connsiteY1" fmla="*/ 18808 h 52065"/>
                    <a:gd name="connsiteX2" fmla="*/ 5327 w 5739"/>
                    <a:gd name="connsiteY2" fmla="*/ 35624 h 52065"/>
                    <a:gd name="connsiteX3" fmla="*/ 4331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2" y="0"/>
                      </a:moveTo>
                      <a:cubicBezTo>
                        <a:pt x="-527" y="8221"/>
                        <a:pt x="-154" y="14573"/>
                        <a:pt x="718" y="18808"/>
                      </a:cubicBezTo>
                      <a:cubicBezTo>
                        <a:pt x="1964" y="25659"/>
                        <a:pt x="4331" y="28524"/>
                        <a:pt x="5327" y="35624"/>
                      </a:cubicBezTo>
                      <a:cubicBezTo>
                        <a:pt x="6323" y="42474"/>
                        <a:pt x="5327" y="48328"/>
                        <a:pt x="43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2" name="Freeform 4840">
                  <a:extLst>
                    <a:ext uri="{FF2B5EF4-FFF2-40B4-BE49-F238E27FC236}">
                      <a16:creationId xmlns:a16="http://schemas.microsoft.com/office/drawing/2014/main" id="{DAF89C54-477C-D6EA-B394-1B5DED04192F}"/>
                    </a:ext>
                  </a:extLst>
                </p:cNvPr>
                <p:cNvSpPr/>
                <p:nvPr/>
              </p:nvSpPr>
              <p:spPr>
                <a:xfrm>
                  <a:off x="7545953" y="5591842"/>
                  <a:ext cx="4234" cy="52065"/>
                </a:xfrm>
                <a:custGeom>
                  <a:avLst/>
                  <a:gdLst>
                    <a:gd name="connsiteX0" fmla="*/ 4235 w 4234"/>
                    <a:gd name="connsiteY0" fmla="*/ 52065 h 52065"/>
                    <a:gd name="connsiteX1" fmla="*/ 997 w 4234"/>
                    <a:gd name="connsiteY1" fmla="*/ 33506 h 52065"/>
                    <a:gd name="connsiteX2" fmla="*/ 3239 w 4234"/>
                    <a:gd name="connsiteY2" fmla="*/ 16192 h 52065"/>
                    <a:gd name="connsiteX3" fmla="*/ 0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52065"/>
                      </a:moveTo>
                      <a:cubicBezTo>
                        <a:pt x="1245" y="44218"/>
                        <a:pt x="747" y="37865"/>
                        <a:pt x="997" y="33506"/>
                      </a:cubicBezTo>
                      <a:cubicBezTo>
                        <a:pt x="1245" y="26530"/>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3" name="Freeform 4841">
                  <a:extLst>
                    <a:ext uri="{FF2B5EF4-FFF2-40B4-BE49-F238E27FC236}">
                      <a16:creationId xmlns:a16="http://schemas.microsoft.com/office/drawing/2014/main" id="{AE1BE654-29D1-93F6-5106-86A098C75FE4}"/>
                    </a:ext>
                  </a:extLst>
                </p:cNvPr>
                <p:cNvSpPr/>
                <p:nvPr/>
              </p:nvSpPr>
              <p:spPr>
                <a:xfrm>
                  <a:off x="7529106" y="5576972"/>
                  <a:ext cx="26593" cy="26485"/>
                </a:xfrm>
                <a:custGeom>
                  <a:avLst/>
                  <a:gdLst>
                    <a:gd name="connsiteX0" fmla="*/ 26562 w 26593"/>
                    <a:gd name="connsiteY0" fmla="*/ 12378 h 26485"/>
                    <a:gd name="connsiteX1" fmla="*/ 14231 w 26593"/>
                    <a:gd name="connsiteY1" fmla="*/ 26453 h 26485"/>
                    <a:gd name="connsiteX2" fmla="*/ 31 w 26593"/>
                    <a:gd name="connsiteY2" fmla="*/ 14247 h 26485"/>
                    <a:gd name="connsiteX3" fmla="*/ 12363 w 26593"/>
                    <a:gd name="connsiteY3" fmla="*/ 47 h 26485"/>
                    <a:gd name="connsiteX4" fmla="*/ 26562 w 26593"/>
                    <a:gd name="connsiteY4" fmla="*/ 12378 h 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85">
                      <a:moveTo>
                        <a:pt x="26562" y="12378"/>
                      </a:moveTo>
                      <a:cubicBezTo>
                        <a:pt x="27061" y="19727"/>
                        <a:pt x="21580" y="25955"/>
                        <a:pt x="14231" y="26453"/>
                      </a:cubicBezTo>
                      <a:cubicBezTo>
                        <a:pt x="6883" y="26952"/>
                        <a:pt x="530" y="21596"/>
                        <a:pt x="31" y="14247"/>
                      </a:cubicBezTo>
                      <a:cubicBezTo>
                        <a:pt x="-467" y="6898"/>
                        <a:pt x="5014" y="545"/>
                        <a:pt x="12363" y="47"/>
                      </a:cubicBezTo>
                      <a:cubicBezTo>
                        <a:pt x="19712" y="-576"/>
                        <a:pt x="26064" y="5030"/>
                        <a:pt x="26562" y="123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4" name="Freeform 4842">
                  <a:extLst>
                    <a:ext uri="{FF2B5EF4-FFF2-40B4-BE49-F238E27FC236}">
                      <a16:creationId xmlns:a16="http://schemas.microsoft.com/office/drawing/2014/main" id="{5566A774-118D-2E76-5EB0-A52A80B08B87}"/>
                    </a:ext>
                  </a:extLst>
                </p:cNvPr>
                <p:cNvSpPr/>
                <p:nvPr/>
              </p:nvSpPr>
              <p:spPr>
                <a:xfrm>
                  <a:off x="7549526" y="5652875"/>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09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5" y="26406"/>
                        <a:pt x="1409" y="23417"/>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5" name="Freeform 4843">
                  <a:extLst>
                    <a:ext uri="{FF2B5EF4-FFF2-40B4-BE49-F238E27FC236}">
                      <a16:creationId xmlns:a16="http://schemas.microsoft.com/office/drawing/2014/main" id="{AB8E9F97-0F73-87E2-CC64-660EDD482B29}"/>
                    </a:ext>
                  </a:extLst>
                </p:cNvPr>
                <p:cNvSpPr/>
                <p:nvPr/>
              </p:nvSpPr>
              <p:spPr>
                <a:xfrm>
                  <a:off x="7542964" y="5658480"/>
                  <a:ext cx="4234" cy="52065"/>
                </a:xfrm>
                <a:custGeom>
                  <a:avLst/>
                  <a:gdLst>
                    <a:gd name="connsiteX0" fmla="*/ 0 w 4234"/>
                    <a:gd name="connsiteY0" fmla="*/ 0 h 52065"/>
                    <a:gd name="connsiteX1" fmla="*/ 3239 w 4234"/>
                    <a:gd name="connsiteY1" fmla="*/ 18559 h 52065"/>
                    <a:gd name="connsiteX2" fmla="*/ 996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487" y="14200"/>
                        <a:pt x="3239" y="18559"/>
                      </a:cubicBezTo>
                      <a:cubicBezTo>
                        <a:pt x="2989" y="25535"/>
                        <a:pt x="996" y="28773"/>
                        <a:pt x="996" y="35873"/>
                      </a:cubicBezTo>
                      <a:cubicBezTo>
                        <a:pt x="996" y="42724"/>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6" name="Freeform 4844">
                  <a:extLst>
                    <a:ext uri="{FF2B5EF4-FFF2-40B4-BE49-F238E27FC236}">
                      <a16:creationId xmlns:a16="http://schemas.microsoft.com/office/drawing/2014/main" id="{E8B9F294-2D16-42EF-CBAA-B08BAAC2C2A4}"/>
                    </a:ext>
                  </a:extLst>
                </p:cNvPr>
                <p:cNvSpPr/>
                <p:nvPr/>
              </p:nvSpPr>
              <p:spPr>
                <a:xfrm>
                  <a:off x="7537576" y="5699055"/>
                  <a:ext cx="26344" cy="26468"/>
                </a:xfrm>
                <a:custGeom>
                  <a:avLst/>
                  <a:gdLst>
                    <a:gd name="connsiteX0" fmla="*/ 32 w 26344"/>
                    <a:gd name="connsiteY0" fmla="*/ 14231 h 26468"/>
                    <a:gd name="connsiteX1" fmla="*/ 12238 w 26344"/>
                    <a:gd name="connsiteY1" fmla="*/ 31 h 26468"/>
                    <a:gd name="connsiteX2" fmla="*/ 26313 w 26344"/>
                    <a:gd name="connsiteY2" fmla="*/ 12362 h 26468"/>
                    <a:gd name="connsiteX3" fmla="*/ 14107 w 26344"/>
                    <a:gd name="connsiteY3" fmla="*/ 26437 h 26468"/>
                    <a:gd name="connsiteX4" fmla="*/ 32 w 26344"/>
                    <a:gd name="connsiteY4" fmla="*/ 14231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8">
                      <a:moveTo>
                        <a:pt x="32" y="14231"/>
                      </a:moveTo>
                      <a:cubicBezTo>
                        <a:pt x="-467" y="6882"/>
                        <a:pt x="5013" y="529"/>
                        <a:pt x="12238" y="31"/>
                      </a:cubicBezTo>
                      <a:cubicBezTo>
                        <a:pt x="19462" y="-468"/>
                        <a:pt x="25814" y="5138"/>
                        <a:pt x="26313" y="12362"/>
                      </a:cubicBezTo>
                      <a:cubicBezTo>
                        <a:pt x="26811" y="19711"/>
                        <a:pt x="21330" y="25939"/>
                        <a:pt x="14107" y="26437"/>
                      </a:cubicBezTo>
                      <a:cubicBezTo>
                        <a:pt x="6882" y="26935"/>
                        <a:pt x="654"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4" name="Graphic 2987">
                <a:extLst>
                  <a:ext uri="{FF2B5EF4-FFF2-40B4-BE49-F238E27FC236}">
                    <a16:creationId xmlns:a16="http://schemas.microsoft.com/office/drawing/2014/main" id="{57AC5C84-05B2-A63B-28B2-33E02988BBFE}"/>
                  </a:ext>
                </a:extLst>
              </p:cNvPr>
              <p:cNvGrpSpPr/>
              <p:nvPr/>
            </p:nvGrpSpPr>
            <p:grpSpPr>
              <a:xfrm>
                <a:off x="7558627" y="5574996"/>
                <a:ext cx="34688" cy="148770"/>
                <a:chOff x="7558627" y="5574996"/>
                <a:chExt cx="34688" cy="148770"/>
              </a:xfrm>
              <a:grpFill/>
            </p:grpSpPr>
            <p:sp>
              <p:nvSpPr>
                <p:cNvPr id="4655" name="Freeform 4846">
                  <a:extLst>
                    <a:ext uri="{FF2B5EF4-FFF2-40B4-BE49-F238E27FC236}">
                      <a16:creationId xmlns:a16="http://schemas.microsoft.com/office/drawing/2014/main" id="{4F2524D1-60E2-185E-C0CE-7262D12FAD3A}"/>
                    </a:ext>
                  </a:extLst>
                </p:cNvPr>
                <p:cNvSpPr/>
                <p:nvPr/>
              </p:nvSpPr>
              <p:spPr>
                <a:xfrm>
                  <a:off x="7567468" y="5595578"/>
                  <a:ext cx="5653" cy="52065"/>
                </a:xfrm>
                <a:custGeom>
                  <a:avLst/>
                  <a:gdLst>
                    <a:gd name="connsiteX0" fmla="*/ 1403 w 5653"/>
                    <a:gd name="connsiteY0" fmla="*/ 0 h 52065"/>
                    <a:gd name="connsiteX1" fmla="*/ 656 w 5653"/>
                    <a:gd name="connsiteY1" fmla="*/ 18808 h 52065"/>
                    <a:gd name="connsiteX2" fmla="*/ 5265 w 5653"/>
                    <a:gd name="connsiteY2" fmla="*/ 35624 h 52065"/>
                    <a:gd name="connsiteX3" fmla="*/ 4144 w 56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3" h="52065">
                      <a:moveTo>
                        <a:pt x="1403" y="0"/>
                      </a:moveTo>
                      <a:cubicBezTo>
                        <a:pt x="-589" y="8221"/>
                        <a:pt x="-91" y="14449"/>
                        <a:pt x="656" y="18808"/>
                      </a:cubicBezTo>
                      <a:cubicBezTo>
                        <a:pt x="1902" y="25659"/>
                        <a:pt x="4269" y="28648"/>
                        <a:pt x="5265" y="35624"/>
                      </a:cubicBezTo>
                      <a:cubicBezTo>
                        <a:pt x="6261" y="42474"/>
                        <a:pt x="5141" y="48328"/>
                        <a:pt x="414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6" name="Freeform 4847">
                  <a:extLst>
                    <a:ext uri="{FF2B5EF4-FFF2-40B4-BE49-F238E27FC236}">
                      <a16:creationId xmlns:a16="http://schemas.microsoft.com/office/drawing/2014/main" id="{ACAD4521-DEAD-2101-B4E5-7CC6A397F551}"/>
                    </a:ext>
                  </a:extLst>
                </p:cNvPr>
                <p:cNvSpPr/>
                <p:nvPr/>
              </p:nvSpPr>
              <p:spPr>
                <a:xfrm>
                  <a:off x="7575473" y="5590098"/>
                  <a:ext cx="4235" cy="52065"/>
                </a:xfrm>
                <a:custGeom>
                  <a:avLst/>
                  <a:gdLst>
                    <a:gd name="connsiteX0" fmla="*/ 4235 w 4235"/>
                    <a:gd name="connsiteY0" fmla="*/ 52065 h 52065"/>
                    <a:gd name="connsiteX1" fmla="*/ 997 w 4235"/>
                    <a:gd name="connsiteY1" fmla="*/ 33506 h 52065"/>
                    <a:gd name="connsiteX2" fmla="*/ 3239 w 4235"/>
                    <a:gd name="connsiteY2" fmla="*/ 16193 h 52065"/>
                    <a:gd name="connsiteX3" fmla="*/ 0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4235" y="52065"/>
                      </a:moveTo>
                      <a:cubicBezTo>
                        <a:pt x="1245" y="44218"/>
                        <a:pt x="872" y="37866"/>
                        <a:pt x="997" y="33506"/>
                      </a:cubicBezTo>
                      <a:cubicBezTo>
                        <a:pt x="1370" y="26531"/>
                        <a:pt x="3239"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7" name="Freeform 4848">
                  <a:extLst>
                    <a:ext uri="{FF2B5EF4-FFF2-40B4-BE49-F238E27FC236}">
                      <a16:creationId xmlns:a16="http://schemas.microsoft.com/office/drawing/2014/main" id="{5C4DA3CF-2EC3-F7B3-BEEE-95152C642123}"/>
                    </a:ext>
                  </a:extLst>
                </p:cNvPr>
                <p:cNvSpPr/>
                <p:nvPr/>
              </p:nvSpPr>
              <p:spPr>
                <a:xfrm>
                  <a:off x="7558627" y="5574996"/>
                  <a:ext cx="26716" cy="26592"/>
                </a:xfrm>
                <a:custGeom>
                  <a:avLst/>
                  <a:gdLst>
                    <a:gd name="connsiteX0" fmla="*/ 26686 w 26716"/>
                    <a:gd name="connsiteY0" fmla="*/ 12487 h 26592"/>
                    <a:gd name="connsiteX1" fmla="*/ 14230 w 26716"/>
                    <a:gd name="connsiteY1" fmla="*/ 26562 h 26592"/>
                    <a:gd name="connsiteX2" fmla="*/ 31 w 26716"/>
                    <a:gd name="connsiteY2" fmla="*/ 14106 h 26592"/>
                    <a:gd name="connsiteX3" fmla="*/ 12487 w 26716"/>
                    <a:gd name="connsiteY3" fmla="*/ 31 h 26592"/>
                    <a:gd name="connsiteX4" fmla="*/ 26686 w 26716"/>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92">
                      <a:moveTo>
                        <a:pt x="26686" y="12487"/>
                      </a:moveTo>
                      <a:cubicBezTo>
                        <a:pt x="27184" y="19835"/>
                        <a:pt x="21579" y="26063"/>
                        <a:pt x="14230" y="26562"/>
                      </a:cubicBezTo>
                      <a:cubicBezTo>
                        <a:pt x="6881" y="27060"/>
                        <a:pt x="529" y="21455"/>
                        <a:pt x="31" y="14106"/>
                      </a:cubicBezTo>
                      <a:cubicBezTo>
                        <a:pt x="-468" y="6757"/>
                        <a:pt x="5137" y="529"/>
                        <a:pt x="12487" y="31"/>
                      </a:cubicBezTo>
                      <a:cubicBezTo>
                        <a:pt x="19835" y="-468"/>
                        <a:pt x="26188" y="5138"/>
                        <a:pt x="26686"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8" name="Freeform 4849">
                  <a:extLst>
                    <a:ext uri="{FF2B5EF4-FFF2-40B4-BE49-F238E27FC236}">
                      <a16:creationId xmlns:a16="http://schemas.microsoft.com/office/drawing/2014/main" id="{03455506-01C8-0957-075C-1AB00E389D56}"/>
                    </a:ext>
                  </a:extLst>
                </p:cNvPr>
                <p:cNvSpPr/>
                <p:nvPr/>
              </p:nvSpPr>
              <p:spPr>
                <a:xfrm>
                  <a:off x="7579195" y="5651131"/>
                  <a:ext cx="5484" cy="52065"/>
                </a:xfrm>
                <a:custGeom>
                  <a:avLst/>
                  <a:gdLst>
                    <a:gd name="connsiteX0" fmla="*/ 4125 w 5484"/>
                    <a:gd name="connsiteY0" fmla="*/ 52065 h 52065"/>
                    <a:gd name="connsiteX1" fmla="*/ 4872 w 5484"/>
                    <a:gd name="connsiteY1" fmla="*/ 33257 h 52065"/>
                    <a:gd name="connsiteX2" fmla="*/ 388 w 5484"/>
                    <a:gd name="connsiteY2" fmla="*/ 16442 h 52065"/>
                    <a:gd name="connsiteX3" fmla="*/ 1509 w 5484"/>
                    <a:gd name="connsiteY3" fmla="*/ 0 h 52065"/>
                  </a:gdLst>
                  <a:ahLst/>
                  <a:cxnLst>
                    <a:cxn ang="0">
                      <a:pos x="connsiteX0" y="connsiteY0"/>
                    </a:cxn>
                    <a:cxn ang="0">
                      <a:pos x="connsiteX1" y="connsiteY1"/>
                    </a:cxn>
                    <a:cxn ang="0">
                      <a:pos x="connsiteX2" y="connsiteY2"/>
                    </a:cxn>
                    <a:cxn ang="0">
                      <a:pos x="connsiteX3" y="connsiteY3"/>
                    </a:cxn>
                  </a:cxnLst>
                  <a:rect l="l" t="t" r="r" b="b"/>
                  <a:pathLst>
                    <a:path w="5484" h="52065">
                      <a:moveTo>
                        <a:pt x="4125" y="52065"/>
                      </a:moveTo>
                      <a:cubicBezTo>
                        <a:pt x="5993" y="43845"/>
                        <a:pt x="5620" y="37617"/>
                        <a:pt x="4872" y="33257"/>
                      </a:cubicBezTo>
                      <a:cubicBezTo>
                        <a:pt x="3627" y="26406"/>
                        <a:pt x="1260" y="23417"/>
                        <a:pt x="388" y="16442"/>
                      </a:cubicBezTo>
                      <a:cubicBezTo>
                        <a:pt x="-608" y="9591"/>
                        <a:pt x="513" y="3737"/>
                        <a:pt x="1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9" name="Freeform 4850">
                  <a:extLst>
                    <a:ext uri="{FF2B5EF4-FFF2-40B4-BE49-F238E27FC236}">
                      <a16:creationId xmlns:a16="http://schemas.microsoft.com/office/drawing/2014/main" id="{2200E8AB-E815-FDF4-8A77-EF4FA054B7B9}"/>
                    </a:ext>
                  </a:extLst>
                </p:cNvPr>
                <p:cNvSpPr/>
                <p:nvPr/>
              </p:nvSpPr>
              <p:spPr>
                <a:xfrm>
                  <a:off x="7572484" y="5656612"/>
                  <a:ext cx="4234" cy="52065"/>
                </a:xfrm>
                <a:custGeom>
                  <a:avLst/>
                  <a:gdLst>
                    <a:gd name="connsiteX0" fmla="*/ 0 w 4234"/>
                    <a:gd name="connsiteY0" fmla="*/ 0 h 52065"/>
                    <a:gd name="connsiteX1" fmla="*/ 3239 w 4234"/>
                    <a:gd name="connsiteY1" fmla="*/ 18559 h 52065"/>
                    <a:gd name="connsiteX2" fmla="*/ 997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363" y="14200"/>
                        <a:pt x="3239" y="18559"/>
                      </a:cubicBezTo>
                      <a:cubicBezTo>
                        <a:pt x="2989" y="25535"/>
                        <a:pt x="997" y="28773"/>
                        <a:pt x="997" y="35873"/>
                      </a:cubicBezTo>
                      <a:cubicBezTo>
                        <a:pt x="997" y="42723"/>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0" name="Freeform 4851">
                  <a:extLst>
                    <a:ext uri="{FF2B5EF4-FFF2-40B4-BE49-F238E27FC236}">
                      <a16:creationId xmlns:a16="http://schemas.microsoft.com/office/drawing/2014/main" id="{C26EB9DC-7369-5423-EF45-D1E368A68BBC}"/>
                    </a:ext>
                  </a:extLst>
                </p:cNvPr>
                <p:cNvSpPr/>
                <p:nvPr/>
              </p:nvSpPr>
              <p:spPr>
                <a:xfrm>
                  <a:off x="7566972" y="5697187"/>
                  <a:ext cx="26344" cy="26579"/>
                </a:xfrm>
                <a:custGeom>
                  <a:avLst/>
                  <a:gdLst>
                    <a:gd name="connsiteX0" fmla="*/ 32 w 26344"/>
                    <a:gd name="connsiteY0" fmla="*/ 14106 h 26579"/>
                    <a:gd name="connsiteX1" fmla="*/ 12238 w 26344"/>
                    <a:gd name="connsiteY1" fmla="*/ 31 h 26579"/>
                    <a:gd name="connsiteX2" fmla="*/ 26313 w 26344"/>
                    <a:gd name="connsiteY2" fmla="*/ 12487 h 26579"/>
                    <a:gd name="connsiteX3" fmla="*/ 14107 w 26344"/>
                    <a:gd name="connsiteY3" fmla="*/ 26562 h 26579"/>
                    <a:gd name="connsiteX4" fmla="*/ 32 w 26344"/>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79">
                      <a:moveTo>
                        <a:pt x="32" y="14106"/>
                      </a:moveTo>
                      <a:cubicBezTo>
                        <a:pt x="-467" y="6757"/>
                        <a:pt x="5013" y="529"/>
                        <a:pt x="12238" y="31"/>
                      </a:cubicBezTo>
                      <a:cubicBezTo>
                        <a:pt x="19462" y="-468"/>
                        <a:pt x="25815" y="5138"/>
                        <a:pt x="26313" y="12487"/>
                      </a:cubicBezTo>
                      <a:cubicBezTo>
                        <a:pt x="26811" y="19835"/>
                        <a:pt x="21330" y="26063"/>
                        <a:pt x="14107" y="26562"/>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5" name="Graphic 2987">
                <a:extLst>
                  <a:ext uri="{FF2B5EF4-FFF2-40B4-BE49-F238E27FC236}">
                    <a16:creationId xmlns:a16="http://schemas.microsoft.com/office/drawing/2014/main" id="{C96DDBCA-7DAC-A332-1582-1052B731C490}"/>
                  </a:ext>
                </a:extLst>
              </p:cNvPr>
              <p:cNvGrpSpPr/>
              <p:nvPr/>
            </p:nvGrpSpPr>
            <p:grpSpPr>
              <a:xfrm>
                <a:off x="7588396" y="5573140"/>
                <a:ext cx="34302" cy="148770"/>
                <a:chOff x="7588396" y="5573140"/>
                <a:chExt cx="34302" cy="148770"/>
              </a:xfrm>
              <a:grpFill/>
            </p:grpSpPr>
            <p:sp>
              <p:nvSpPr>
                <p:cNvPr id="4649" name="Freeform 4853">
                  <a:extLst>
                    <a:ext uri="{FF2B5EF4-FFF2-40B4-BE49-F238E27FC236}">
                      <a16:creationId xmlns:a16="http://schemas.microsoft.com/office/drawing/2014/main" id="{1AB66F04-C81C-5C34-3233-E637A1A173C3}"/>
                    </a:ext>
                  </a:extLst>
                </p:cNvPr>
                <p:cNvSpPr/>
                <p:nvPr/>
              </p:nvSpPr>
              <p:spPr>
                <a:xfrm>
                  <a:off x="7597112" y="5593710"/>
                  <a:ext cx="5474" cy="52065"/>
                </a:xfrm>
                <a:custGeom>
                  <a:avLst/>
                  <a:gdLst>
                    <a:gd name="connsiteX0" fmla="*/ 1403 w 5474"/>
                    <a:gd name="connsiteY0" fmla="*/ 0 h 52065"/>
                    <a:gd name="connsiteX1" fmla="*/ 656 w 5474"/>
                    <a:gd name="connsiteY1" fmla="*/ 18808 h 52065"/>
                    <a:gd name="connsiteX2" fmla="*/ 5141 w 5474"/>
                    <a:gd name="connsiteY2" fmla="*/ 35623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3" y="0"/>
                      </a:moveTo>
                      <a:cubicBezTo>
                        <a:pt x="-589" y="8221"/>
                        <a:pt x="-91" y="14449"/>
                        <a:pt x="656" y="18808"/>
                      </a:cubicBezTo>
                      <a:cubicBezTo>
                        <a:pt x="1902" y="25659"/>
                        <a:pt x="4269" y="28648"/>
                        <a:pt x="5141" y="35623"/>
                      </a:cubicBezTo>
                      <a:cubicBezTo>
                        <a:pt x="6012"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0" name="Freeform 4854">
                  <a:extLst>
                    <a:ext uri="{FF2B5EF4-FFF2-40B4-BE49-F238E27FC236}">
                      <a16:creationId xmlns:a16="http://schemas.microsoft.com/office/drawing/2014/main" id="{4AFBFDBB-EE58-0B16-874C-B7D8E33A65D0}"/>
                    </a:ext>
                  </a:extLst>
                </p:cNvPr>
                <p:cNvSpPr/>
                <p:nvPr/>
              </p:nvSpPr>
              <p:spPr>
                <a:xfrm>
                  <a:off x="7605367" y="5588230"/>
                  <a:ext cx="3985" cy="52065"/>
                </a:xfrm>
                <a:custGeom>
                  <a:avLst/>
                  <a:gdLst>
                    <a:gd name="connsiteX0" fmla="*/ 3985 w 3985"/>
                    <a:gd name="connsiteY0" fmla="*/ 52065 h 52065"/>
                    <a:gd name="connsiteX1" fmla="*/ 871 w 3985"/>
                    <a:gd name="connsiteY1" fmla="*/ 33506 h 52065"/>
                    <a:gd name="connsiteX2" fmla="*/ 3238 w 3985"/>
                    <a:gd name="connsiteY2" fmla="*/ 16192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5" y="52065"/>
                      </a:moveTo>
                      <a:cubicBezTo>
                        <a:pt x="996" y="44218"/>
                        <a:pt x="623" y="37866"/>
                        <a:pt x="871" y="33506"/>
                      </a:cubicBezTo>
                      <a:cubicBezTo>
                        <a:pt x="1245" y="26531"/>
                        <a:pt x="3114" y="23292"/>
                        <a:pt x="3238"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1" name="Freeform 4855">
                  <a:extLst>
                    <a:ext uri="{FF2B5EF4-FFF2-40B4-BE49-F238E27FC236}">
                      <a16:creationId xmlns:a16="http://schemas.microsoft.com/office/drawing/2014/main" id="{7F6F5479-44D2-247D-2AA1-164FE0298C1A}"/>
                    </a:ext>
                  </a:extLst>
                </p:cNvPr>
                <p:cNvSpPr/>
                <p:nvPr/>
              </p:nvSpPr>
              <p:spPr>
                <a:xfrm>
                  <a:off x="7588396" y="5573140"/>
                  <a:ext cx="26592" cy="26579"/>
                </a:xfrm>
                <a:custGeom>
                  <a:avLst/>
                  <a:gdLst>
                    <a:gd name="connsiteX0" fmla="*/ 26562 w 26592"/>
                    <a:gd name="connsiteY0" fmla="*/ 12474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4"/>
                      </a:moveTo>
                      <a:cubicBezTo>
                        <a:pt x="27060" y="19823"/>
                        <a:pt x="21455" y="26051"/>
                        <a:pt x="14106" y="26548"/>
                      </a:cubicBezTo>
                      <a:cubicBezTo>
                        <a:pt x="6757" y="27047"/>
                        <a:pt x="405" y="21442"/>
                        <a:pt x="31" y="14093"/>
                      </a:cubicBezTo>
                      <a:cubicBezTo>
                        <a:pt x="-467" y="6744"/>
                        <a:pt x="5138" y="516"/>
                        <a:pt x="12487" y="18"/>
                      </a:cubicBezTo>
                      <a:cubicBezTo>
                        <a:pt x="19836" y="-356"/>
                        <a:pt x="26188" y="5125"/>
                        <a:pt x="26562"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2" name="Freeform 4856">
                  <a:extLst>
                    <a:ext uri="{FF2B5EF4-FFF2-40B4-BE49-F238E27FC236}">
                      <a16:creationId xmlns:a16="http://schemas.microsoft.com/office/drawing/2014/main" id="{401B39A5-F9B3-3C2E-2383-4BE81F696E46}"/>
                    </a:ext>
                  </a:extLst>
                </p:cNvPr>
                <p:cNvSpPr/>
                <p:nvPr/>
              </p:nvSpPr>
              <p:spPr>
                <a:xfrm>
                  <a:off x="7608645" y="5649263"/>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5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331" y="23417"/>
                        <a:pt x="334" y="16442"/>
                      </a:cubicBezTo>
                      <a:cubicBezTo>
                        <a:pt x="-538" y="9591"/>
                        <a:pt x="459" y="3737"/>
                        <a:pt x="1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3" name="Freeform 4857">
                  <a:extLst>
                    <a:ext uri="{FF2B5EF4-FFF2-40B4-BE49-F238E27FC236}">
                      <a16:creationId xmlns:a16="http://schemas.microsoft.com/office/drawing/2014/main" id="{A35E26EE-AF1B-0D28-3B39-82E26B1410EB}"/>
                    </a:ext>
                  </a:extLst>
                </p:cNvPr>
                <p:cNvSpPr/>
                <p:nvPr/>
              </p:nvSpPr>
              <p:spPr>
                <a:xfrm>
                  <a:off x="7602004" y="5654743"/>
                  <a:ext cx="4110" cy="52065"/>
                </a:xfrm>
                <a:custGeom>
                  <a:avLst/>
                  <a:gdLst>
                    <a:gd name="connsiteX0" fmla="*/ 0 w 4110"/>
                    <a:gd name="connsiteY0" fmla="*/ 0 h 52065"/>
                    <a:gd name="connsiteX1" fmla="*/ 3114 w 4110"/>
                    <a:gd name="connsiteY1" fmla="*/ 18559 h 52065"/>
                    <a:gd name="connsiteX2" fmla="*/ 872 w 4110"/>
                    <a:gd name="connsiteY2" fmla="*/ 35873 h 52065"/>
                    <a:gd name="connsiteX3" fmla="*/ 4111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0" y="0"/>
                      </a:moveTo>
                      <a:cubicBezTo>
                        <a:pt x="2989" y="7847"/>
                        <a:pt x="3363" y="14200"/>
                        <a:pt x="3114" y="18559"/>
                      </a:cubicBezTo>
                      <a:cubicBezTo>
                        <a:pt x="2740" y="25534"/>
                        <a:pt x="872" y="28773"/>
                        <a:pt x="872" y="35873"/>
                      </a:cubicBezTo>
                      <a:cubicBezTo>
                        <a:pt x="872" y="42723"/>
                        <a:pt x="2616" y="48453"/>
                        <a:pt x="411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4" name="Freeform 4858">
                  <a:extLst>
                    <a:ext uri="{FF2B5EF4-FFF2-40B4-BE49-F238E27FC236}">
                      <a16:creationId xmlns:a16="http://schemas.microsoft.com/office/drawing/2014/main" id="{E526618B-0944-0E69-2FB7-28DF2C419FFB}"/>
                    </a:ext>
                  </a:extLst>
                </p:cNvPr>
                <p:cNvSpPr/>
                <p:nvPr/>
              </p:nvSpPr>
              <p:spPr>
                <a:xfrm>
                  <a:off x="7596367" y="5695318"/>
                  <a:ext cx="26330" cy="26592"/>
                </a:xfrm>
                <a:custGeom>
                  <a:avLst/>
                  <a:gdLst>
                    <a:gd name="connsiteX0" fmla="*/ 31 w 26330"/>
                    <a:gd name="connsiteY0" fmla="*/ 14106 h 26592"/>
                    <a:gd name="connsiteX1" fmla="*/ 12362 w 26330"/>
                    <a:gd name="connsiteY1" fmla="*/ 31 h 26592"/>
                    <a:gd name="connsiteX2" fmla="*/ 26313 w 26330"/>
                    <a:gd name="connsiteY2" fmla="*/ 12487 h 26592"/>
                    <a:gd name="connsiteX3" fmla="*/ 13982 w 26330"/>
                    <a:gd name="connsiteY3" fmla="*/ 26562 h 26592"/>
                    <a:gd name="connsiteX4" fmla="*/ 31 w 26330"/>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92">
                      <a:moveTo>
                        <a:pt x="31" y="14106"/>
                      </a:moveTo>
                      <a:cubicBezTo>
                        <a:pt x="-467" y="6757"/>
                        <a:pt x="5014" y="529"/>
                        <a:pt x="12362" y="31"/>
                      </a:cubicBezTo>
                      <a:cubicBezTo>
                        <a:pt x="19587" y="-468"/>
                        <a:pt x="25940" y="5138"/>
                        <a:pt x="26313" y="12487"/>
                      </a:cubicBezTo>
                      <a:cubicBezTo>
                        <a:pt x="26687" y="19835"/>
                        <a:pt x="21206" y="26063"/>
                        <a:pt x="13982" y="26562"/>
                      </a:cubicBezTo>
                      <a:cubicBezTo>
                        <a:pt x="6757"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6" name="Graphic 2987">
                <a:extLst>
                  <a:ext uri="{FF2B5EF4-FFF2-40B4-BE49-F238E27FC236}">
                    <a16:creationId xmlns:a16="http://schemas.microsoft.com/office/drawing/2014/main" id="{3711F662-BE24-B6DA-C37A-56F3435480CA}"/>
                  </a:ext>
                </a:extLst>
              </p:cNvPr>
              <p:cNvGrpSpPr/>
              <p:nvPr/>
            </p:nvGrpSpPr>
            <p:grpSpPr>
              <a:xfrm>
                <a:off x="7618165" y="5571272"/>
                <a:ext cx="33941" cy="148770"/>
                <a:chOff x="7618165" y="5571272"/>
                <a:chExt cx="33941" cy="148770"/>
              </a:xfrm>
              <a:grpFill/>
            </p:grpSpPr>
            <p:sp>
              <p:nvSpPr>
                <p:cNvPr id="4643" name="Freeform 4860">
                  <a:extLst>
                    <a:ext uri="{FF2B5EF4-FFF2-40B4-BE49-F238E27FC236}">
                      <a16:creationId xmlns:a16="http://schemas.microsoft.com/office/drawing/2014/main" id="{DBCD4538-DF55-C146-D4B5-83299539E525}"/>
                    </a:ext>
                  </a:extLst>
                </p:cNvPr>
                <p:cNvSpPr/>
                <p:nvPr/>
              </p:nvSpPr>
              <p:spPr>
                <a:xfrm>
                  <a:off x="7626688" y="5591842"/>
                  <a:ext cx="5419" cy="52065"/>
                </a:xfrm>
                <a:custGeom>
                  <a:avLst/>
                  <a:gdLst>
                    <a:gd name="connsiteX0" fmla="*/ 1472 w 5419"/>
                    <a:gd name="connsiteY0" fmla="*/ 0 h 52065"/>
                    <a:gd name="connsiteX1" fmla="*/ 600 w 5419"/>
                    <a:gd name="connsiteY1" fmla="*/ 18808 h 52065"/>
                    <a:gd name="connsiteX2" fmla="*/ 5085 w 5419"/>
                    <a:gd name="connsiteY2" fmla="*/ 35623 h 52065"/>
                    <a:gd name="connsiteX3" fmla="*/ 3963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1472" y="0"/>
                      </a:moveTo>
                      <a:cubicBezTo>
                        <a:pt x="-520" y="8221"/>
                        <a:pt x="-147" y="14449"/>
                        <a:pt x="600" y="18808"/>
                      </a:cubicBezTo>
                      <a:cubicBezTo>
                        <a:pt x="1846" y="25659"/>
                        <a:pt x="4088" y="28648"/>
                        <a:pt x="5085" y="35623"/>
                      </a:cubicBezTo>
                      <a:cubicBezTo>
                        <a:pt x="5957"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4" name="Freeform 4861">
                  <a:extLst>
                    <a:ext uri="{FF2B5EF4-FFF2-40B4-BE49-F238E27FC236}">
                      <a16:creationId xmlns:a16="http://schemas.microsoft.com/office/drawing/2014/main" id="{910890C7-F62C-D871-B200-7951807EC826}"/>
                    </a:ext>
                  </a:extLst>
                </p:cNvPr>
                <p:cNvSpPr/>
                <p:nvPr/>
              </p:nvSpPr>
              <p:spPr>
                <a:xfrm>
                  <a:off x="7635011" y="5586361"/>
                  <a:ext cx="3862" cy="52065"/>
                </a:xfrm>
                <a:custGeom>
                  <a:avLst/>
                  <a:gdLst>
                    <a:gd name="connsiteX0" fmla="*/ 3862 w 3862"/>
                    <a:gd name="connsiteY0" fmla="*/ 52065 h 52065"/>
                    <a:gd name="connsiteX1" fmla="*/ 748 w 3862"/>
                    <a:gd name="connsiteY1" fmla="*/ 33506 h 52065"/>
                    <a:gd name="connsiteX2" fmla="*/ 3114 w 3862"/>
                    <a:gd name="connsiteY2" fmla="*/ 16192 h 52065"/>
                    <a:gd name="connsiteX3" fmla="*/ 0 w 3862"/>
                    <a:gd name="connsiteY3" fmla="*/ 0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52065"/>
                      </a:moveTo>
                      <a:cubicBezTo>
                        <a:pt x="872" y="44218"/>
                        <a:pt x="499" y="37865"/>
                        <a:pt x="748" y="33506"/>
                      </a:cubicBezTo>
                      <a:cubicBezTo>
                        <a:pt x="1121"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5" name="Freeform 4862">
                  <a:extLst>
                    <a:ext uri="{FF2B5EF4-FFF2-40B4-BE49-F238E27FC236}">
                      <a16:creationId xmlns:a16="http://schemas.microsoft.com/office/drawing/2014/main" id="{67993D45-E2A3-547A-E50C-B569314AAB7F}"/>
                    </a:ext>
                  </a:extLst>
                </p:cNvPr>
                <p:cNvSpPr/>
                <p:nvPr/>
              </p:nvSpPr>
              <p:spPr>
                <a:xfrm>
                  <a:off x="7618165" y="5571272"/>
                  <a:ext cx="26592" cy="26579"/>
                </a:xfrm>
                <a:custGeom>
                  <a:avLst/>
                  <a:gdLst>
                    <a:gd name="connsiteX0" fmla="*/ 26562 w 26592"/>
                    <a:gd name="connsiteY0" fmla="*/ 12473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3"/>
                      </a:moveTo>
                      <a:cubicBezTo>
                        <a:pt x="27060" y="19823"/>
                        <a:pt x="21455" y="26051"/>
                        <a:pt x="14106" y="26548"/>
                      </a:cubicBezTo>
                      <a:cubicBezTo>
                        <a:pt x="6757" y="27047"/>
                        <a:pt x="529" y="21442"/>
                        <a:pt x="31" y="14093"/>
                      </a:cubicBezTo>
                      <a:cubicBezTo>
                        <a:pt x="-467" y="6744"/>
                        <a:pt x="5138" y="516"/>
                        <a:pt x="12487" y="18"/>
                      </a:cubicBezTo>
                      <a:cubicBezTo>
                        <a:pt x="19836" y="-356"/>
                        <a:pt x="26064"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6" name="Freeform 4863">
                  <a:extLst>
                    <a:ext uri="{FF2B5EF4-FFF2-40B4-BE49-F238E27FC236}">
                      <a16:creationId xmlns:a16="http://schemas.microsoft.com/office/drawing/2014/main" id="{94228A6A-3945-32DB-7CA9-CBA6859E3CBE}"/>
                    </a:ext>
                  </a:extLst>
                </p:cNvPr>
                <p:cNvSpPr/>
                <p:nvPr/>
              </p:nvSpPr>
              <p:spPr>
                <a:xfrm>
                  <a:off x="7638165" y="5647395"/>
                  <a:ext cx="5418" cy="52065"/>
                </a:xfrm>
                <a:custGeom>
                  <a:avLst/>
                  <a:gdLst>
                    <a:gd name="connsiteX0" fmla="*/ 3946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6"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7" name="Freeform 4864">
                  <a:extLst>
                    <a:ext uri="{FF2B5EF4-FFF2-40B4-BE49-F238E27FC236}">
                      <a16:creationId xmlns:a16="http://schemas.microsoft.com/office/drawing/2014/main" id="{E3B697A4-957A-0FEC-DBF0-DE8BF3794DA4}"/>
                    </a:ext>
                  </a:extLst>
                </p:cNvPr>
                <p:cNvSpPr/>
                <p:nvPr/>
              </p:nvSpPr>
              <p:spPr>
                <a:xfrm>
                  <a:off x="7631524" y="5653000"/>
                  <a:ext cx="3861" cy="52065"/>
                </a:xfrm>
                <a:custGeom>
                  <a:avLst/>
                  <a:gdLst>
                    <a:gd name="connsiteX0" fmla="*/ 0 w 3861"/>
                    <a:gd name="connsiteY0" fmla="*/ 0 h 52065"/>
                    <a:gd name="connsiteX1" fmla="*/ 3114 w 3861"/>
                    <a:gd name="connsiteY1" fmla="*/ 18559 h 52065"/>
                    <a:gd name="connsiteX2" fmla="*/ 747 w 3861"/>
                    <a:gd name="connsiteY2" fmla="*/ 35872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199"/>
                        <a:pt x="3114" y="18559"/>
                      </a:cubicBezTo>
                      <a:cubicBezTo>
                        <a:pt x="2740" y="25534"/>
                        <a:pt x="872" y="28773"/>
                        <a:pt x="747" y="35872"/>
                      </a:cubicBezTo>
                      <a:cubicBezTo>
                        <a:pt x="747" y="42723"/>
                        <a:pt x="2491"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8" name="Freeform 4865">
                  <a:extLst>
                    <a:ext uri="{FF2B5EF4-FFF2-40B4-BE49-F238E27FC236}">
                      <a16:creationId xmlns:a16="http://schemas.microsoft.com/office/drawing/2014/main" id="{84717B50-4279-F3DB-6999-416F39B4056C}"/>
                    </a:ext>
                  </a:extLst>
                </p:cNvPr>
                <p:cNvSpPr/>
                <p:nvPr/>
              </p:nvSpPr>
              <p:spPr>
                <a:xfrm>
                  <a:off x="7625763" y="5693450"/>
                  <a:ext cx="26343" cy="26592"/>
                </a:xfrm>
                <a:custGeom>
                  <a:avLst/>
                  <a:gdLst>
                    <a:gd name="connsiteX0" fmla="*/ 31 w 26343"/>
                    <a:gd name="connsiteY0" fmla="*/ 14106 h 26592"/>
                    <a:gd name="connsiteX1" fmla="*/ 12362 w 26343"/>
                    <a:gd name="connsiteY1" fmla="*/ 31 h 26592"/>
                    <a:gd name="connsiteX2" fmla="*/ 26313 w 26343"/>
                    <a:gd name="connsiteY2" fmla="*/ 12487 h 26592"/>
                    <a:gd name="connsiteX3" fmla="*/ 13981 w 26343"/>
                    <a:gd name="connsiteY3" fmla="*/ 26561 h 26592"/>
                    <a:gd name="connsiteX4" fmla="*/ 31 w 2634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92">
                      <a:moveTo>
                        <a:pt x="31" y="14106"/>
                      </a:moveTo>
                      <a:cubicBezTo>
                        <a:pt x="-467" y="6757"/>
                        <a:pt x="5138" y="529"/>
                        <a:pt x="12362" y="31"/>
                      </a:cubicBezTo>
                      <a:cubicBezTo>
                        <a:pt x="19586" y="-468"/>
                        <a:pt x="25939" y="5137"/>
                        <a:pt x="26313" y="12487"/>
                      </a:cubicBezTo>
                      <a:cubicBezTo>
                        <a:pt x="26811" y="19835"/>
                        <a:pt x="21206" y="26063"/>
                        <a:pt x="13981" y="26561"/>
                      </a:cubicBezTo>
                      <a:cubicBezTo>
                        <a:pt x="6757" y="27060"/>
                        <a:pt x="529" y="21454"/>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7" name="Graphic 2987">
                <a:extLst>
                  <a:ext uri="{FF2B5EF4-FFF2-40B4-BE49-F238E27FC236}">
                    <a16:creationId xmlns:a16="http://schemas.microsoft.com/office/drawing/2014/main" id="{A77EB43E-C2A8-64AA-7662-3BC6C7C66221}"/>
                  </a:ext>
                </a:extLst>
              </p:cNvPr>
              <p:cNvGrpSpPr/>
              <p:nvPr/>
            </p:nvGrpSpPr>
            <p:grpSpPr>
              <a:xfrm>
                <a:off x="7647810" y="5569404"/>
                <a:ext cx="33679" cy="148881"/>
                <a:chOff x="7647810" y="5569404"/>
                <a:chExt cx="33679" cy="148881"/>
              </a:xfrm>
              <a:grpFill/>
            </p:grpSpPr>
            <p:sp>
              <p:nvSpPr>
                <p:cNvPr id="4637" name="Freeform 4867">
                  <a:extLst>
                    <a:ext uri="{FF2B5EF4-FFF2-40B4-BE49-F238E27FC236}">
                      <a16:creationId xmlns:a16="http://schemas.microsoft.com/office/drawing/2014/main" id="{DB8E9EED-9AF1-4035-7E5A-DF76622069BE}"/>
                    </a:ext>
                  </a:extLst>
                </p:cNvPr>
                <p:cNvSpPr/>
                <p:nvPr/>
              </p:nvSpPr>
              <p:spPr>
                <a:xfrm>
                  <a:off x="7656458" y="5590098"/>
                  <a:ext cx="5418" cy="52065"/>
                </a:xfrm>
                <a:custGeom>
                  <a:avLst/>
                  <a:gdLst>
                    <a:gd name="connsiteX0" fmla="*/ 1472 w 5418"/>
                    <a:gd name="connsiteY0" fmla="*/ 0 h 52065"/>
                    <a:gd name="connsiteX1" fmla="*/ 600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0" y="8221"/>
                        <a:pt x="-147" y="14449"/>
                        <a:pt x="600"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8" name="Freeform 4868">
                  <a:extLst>
                    <a:ext uri="{FF2B5EF4-FFF2-40B4-BE49-F238E27FC236}">
                      <a16:creationId xmlns:a16="http://schemas.microsoft.com/office/drawing/2014/main" id="{25C39473-4455-D85E-8A96-E4A3563A2642}"/>
                    </a:ext>
                  </a:extLst>
                </p:cNvPr>
                <p:cNvSpPr/>
                <p:nvPr/>
              </p:nvSpPr>
              <p:spPr>
                <a:xfrm>
                  <a:off x="7664532" y="5584493"/>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1" y="44218"/>
                        <a:pt x="498" y="37865"/>
                        <a:pt x="747" y="33506"/>
                      </a:cubicBezTo>
                      <a:cubicBezTo>
                        <a:pt x="1121" y="26530"/>
                        <a:pt x="3114" y="23292"/>
                        <a:pt x="3114"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9" name="Freeform 4869">
                  <a:extLst>
                    <a:ext uri="{FF2B5EF4-FFF2-40B4-BE49-F238E27FC236}">
                      <a16:creationId xmlns:a16="http://schemas.microsoft.com/office/drawing/2014/main" id="{516ED61E-CBE4-BA02-402F-6C46FDF45BAF}"/>
                    </a:ext>
                  </a:extLst>
                </p:cNvPr>
                <p:cNvSpPr/>
                <p:nvPr/>
              </p:nvSpPr>
              <p:spPr>
                <a:xfrm>
                  <a:off x="7647810" y="5569404"/>
                  <a:ext cx="26579" cy="26579"/>
                </a:xfrm>
                <a:custGeom>
                  <a:avLst/>
                  <a:gdLst>
                    <a:gd name="connsiteX0" fmla="*/ 26562 w 26579"/>
                    <a:gd name="connsiteY0" fmla="*/ 12473 h 26579"/>
                    <a:gd name="connsiteX1" fmla="*/ 14106 w 26579"/>
                    <a:gd name="connsiteY1" fmla="*/ 26548 h 26579"/>
                    <a:gd name="connsiteX2" fmla="*/ 31 w 26579"/>
                    <a:gd name="connsiteY2" fmla="*/ 14093 h 26579"/>
                    <a:gd name="connsiteX3" fmla="*/ 12487 w 26579"/>
                    <a:gd name="connsiteY3" fmla="*/ 18 h 26579"/>
                    <a:gd name="connsiteX4" fmla="*/ 26562 w 26579"/>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9" h="26579">
                      <a:moveTo>
                        <a:pt x="26562" y="12473"/>
                      </a:moveTo>
                      <a:cubicBezTo>
                        <a:pt x="26935" y="19822"/>
                        <a:pt x="21330" y="26050"/>
                        <a:pt x="14106" y="26548"/>
                      </a:cubicBezTo>
                      <a:cubicBezTo>
                        <a:pt x="6881" y="27047"/>
                        <a:pt x="529" y="21442"/>
                        <a:pt x="31" y="14093"/>
                      </a:cubicBezTo>
                      <a:cubicBezTo>
                        <a:pt x="-467" y="6744"/>
                        <a:pt x="5137" y="516"/>
                        <a:pt x="12487" y="18"/>
                      </a:cubicBezTo>
                      <a:cubicBezTo>
                        <a:pt x="19836" y="-356"/>
                        <a:pt x="26188"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0" name="Freeform 4870">
                  <a:extLst>
                    <a:ext uri="{FF2B5EF4-FFF2-40B4-BE49-F238E27FC236}">
                      <a16:creationId xmlns:a16="http://schemas.microsoft.com/office/drawing/2014/main" id="{1095678F-C16B-095C-59EE-44DAA93CC1D2}"/>
                    </a:ext>
                  </a:extLst>
                </p:cNvPr>
                <p:cNvSpPr/>
                <p:nvPr/>
              </p:nvSpPr>
              <p:spPr>
                <a:xfrm>
                  <a:off x="7667687" y="5645651"/>
                  <a:ext cx="5292" cy="52065"/>
                </a:xfrm>
                <a:custGeom>
                  <a:avLst/>
                  <a:gdLst>
                    <a:gd name="connsiteX0" fmla="*/ 3820 w 5292"/>
                    <a:gd name="connsiteY0" fmla="*/ 52065 h 52065"/>
                    <a:gd name="connsiteX1" fmla="*/ 4691 w 5292"/>
                    <a:gd name="connsiteY1" fmla="*/ 33257 h 52065"/>
                    <a:gd name="connsiteX2" fmla="*/ 332 w 5292"/>
                    <a:gd name="connsiteY2" fmla="*/ 16442 h 52065"/>
                    <a:gd name="connsiteX3" fmla="*/ 1577 w 5292"/>
                    <a:gd name="connsiteY3" fmla="*/ 0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52065"/>
                      </a:moveTo>
                      <a:cubicBezTo>
                        <a:pt x="5813" y="43845"/>
                        <a:pt x="5439" y="37617"/>
                        <a:pt x="4691" y="33257"/>
                      </a:cubicBezTo>
                      <a:cubicBezTo>
                        <a:pt x="3571" y="26407"/>
                        <a:pt x="1204" y="23417"/>
                        <a:pt x="332" y="16442"/>
                      </a:cubicBezTo>
                      <a:cubicBezTo>
                        <a:pt x="-540" y="9591"/>
                        <a:pt x="457" y="3737"/>
                        <a:pt x="1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1" name="Freeform 4871">
                  <a:extLst>
                    <a:ext uri="{FF2B5EF4-FFF2-40B4-BE49-F238E27FC236}">
                      <a16:creationId xmlns:a16="http://schemas.microsoft.com/office/drawing/2014/main" id="{D32157C7-3A09-81F4-82B5-276C517E902E}"/>
                    </a:ext>
                  </a:extLst>
                </p:cNvPr>
                <p:cNvSpPr/>
                <p:nvPr/>
              </p:nvSpPr>
              <p:spPr>
                <a:xfrm>
                  <a:off x="7661044" y="5651131"/>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5"/>
                        <a:pt x="872" y="28773"/>
                        <a:pt x="747" y="35873"/>
                      </a:cubicBezTo>
                      <a:cubicBezTo>
                        <a:pt x="623" y="42724"/>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2" name="Freeform 4872">
                  <a:extLst>
                    <a:ext uri="{FF2B5EF4-FFF2-40B4-BE49-F238E27FC236}">
                      <a16:creationId xmlns:a16="http://schemas.microsoft.com/office/drawing/2014/main" id="{C77F147A-8BF7-6386-9A7F-F5C2E4B7E4DA}"/>
                    </a:ext>
                  </a:extLst>
                </p:cNvPr>
                <p:cNvSpPr/>
                <p:nvPr/>
              </p:nvSpPr>
              <p:spPr>
                <a:xfrm>
                  <a:off x="7655159" y="5691706"/>
                  <a:ext cx="26330" cy="26579"/>
                </a:xfrm>
                <a:custGeom>
                  <a:avLst/>
                  <a:gdLst>
                    <a:gd name="connsiteX0" fmla="*/ 31 w 26330"/>
                    <a:gd name="connsiteY0" fmla="*/ 14106 h 26579"/>
                    <a:gd name="connsiteX1" fmla="*/ 12362 w 26330"/>
                    <a:gd name="connsiteY1" fmla="*/ 31 h 26579"/>
                    <a:gd name="connsiteX2" fmla="*/ 26312 w 26330"/>
                    <a:gd name="connsiteY2" fmla="*/ 12487 h 26579"/>
                    <a:gd name="connsiteX3" fmla="*/ 13981 w 26330"/>
                    <a:gd name="connsiteY3" fmla="*/ 26562 h 26579"/>
                    <a:gd name="connsiteX4" fmla="*/ 31 w 2633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79">
                      <a:moveTo>
                        <a:pt x="31" y="14106"/>
                      </a:moveTo>
                      <a:cubicBezTo>
                        <a:pt x="-468" y="6757"/>
                        <a:pt x="5137" y="529"/>
                        <a:pt x="12362" y="31"/>
                      </a:cubicBezTo>
                      <a:cubicBezTo>
                        <a:pt x="19586" y="-468"/>
                        <a:pt x="25814" y="5138"/>
                        <a:pt x="26312" y="12487"/>
                      </a:cubicBezTo>
                      <a:cubicBezTo>
                        <a:pt x="26686" y="19835"/>
                        <a:pt x="21205" y="26063"/>
                        <a:pt x="13981" y="26562"/>
                      </a:cubicBezTo>
                      <a:cubicBezTo>
                        <a:pt x="6757"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8" name="Graphic 2987">
                <a:extLst>
                  <a:ext uri="{FF2B5EF4-FFF2-40B4-BE49-F238E27FC236}">
                    <a16:creationId xmlns:a16="http://schemas.microsoft.com/office/drawing/2014/main" id="{97FE90F3-5CD5-0108-FD28-D894B4489D55}"/>
                  </a:ext>
                </a:extLst>
              </p:cNvPr>
              <p:cNvGrpSpPr/>
              <p:nvPr/>
            </p:nvGrpSpPr>
            <p:grpSpPr>
              <a:xfrm>
                <a:off x="7677343" y="5567647"/>
                <a:ext cx="33666" cy="148770"/>
                <a:chOff x="7677343" y="5567647"/>
                <a:chExt cx="33666" cy="148770"/>
              </a:xfrm>
              <a:grpFill/>
            </p:grpSpPr>
            <p:sp>
              <p:nvSpPr>
                <p:cNvPr id="4631" name="Freeform 4874">
                  <a:extLst>
                    <a:ext uri="{FF2B5EF4-FFF2-40B4-BE49-F238E27FC236}">
                      <a16:creationId xmlns:a16="http://schemas.microsoft.com/office/drawing/2014/main" id="{059232F9-E2E8-61AA-9FA4-61A9993DD2F7}"/>
                    </a:ext>
                  </a:extLst>
                </p:cNvPr>
                <p:cNvSpPr/>
                <p:nvPr/>
              </p:nvSpPr>
              <p:spPr>
                <a:xfrm>
                  <a:off x="7686103" y="5588230"/>
                  <a:ext cx="5272" cy="52065"/>
                </a:xfrm>
                <a:custGeom>
                  <a:avLst/>
                  <a:gdLst>
                    <a:gd name="connsiteX0" fmla="*/ 1472 w 5272"/>
                    <a:gd name="connsiteY0" fmla="*/ 0 h 52065"/>
                    <a:gd name="connsiteX1" fmla="*/ 600 w 5272"/>
                    <a:gd name="connsiteY1" fmla="*/ 18808 h 52065"/>
                    <a:gd name="connsiteX2" fmla="*/ 4959 w 5272"/>
                    <a:gd name="connsiteY2" fmla="*/ 35623 h 52065"/>
                    <a:gd name="connsiteX3" fmla="*/ 3714 w 527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2" h="52065">
                      <a:moveTo>
                        <a:pt x="1472" y="0"/>
                      </a:moveTo>
                      <a:cubicBezTo>
                        <a:pt x="-520" y="8221"/>
                        <a:pt x="-147" y="14573"/>
                        <a:pt x="600" y="18808"/>
                      </a:cubicBezTo>
                      <a:cubicBezTo>
                        <a:pt x="1722" y="25659"/>
                        <a:pt x="4088" y="28648"/>
                        <a:pt x="4959" y="35623"/>
                      </a:cubicBezTo>
                      <a:cubicBezTo>
                        <a:pt x="5831"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2" name="Freeform 4875">
                  <a:extLst>
                    <a:ext uri="{FF2B5EF4-FFF2-40B4-BE49-F238E27FC236}">
                      <a16:creationId xmlns:a16="http://schemas.microsoft.com/office/drawing/2014/main" id="{84D91A56-286B-547C-C3A1-360F54545EA0}"/>
                    </a:ext>
                  </a:extLst>
                </p:cNvPr>
                <p:cNvSpPr/>
                <p:nvPr/>
              </p:nvSpPr>
              <p:spPr>
                <a:xfrm>
                  <a:off x="7694301" y="5582749"/>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747" y="44218"/>
                        <a:pt x="374" y="37866"/>
                        <a:pt x="623" y="33506"/>
                      </a:cubicBezTo>
                      <a:cubicBezTo>
                        <a:pt x="997" y="26531"/>
                        <a:pt x="2989"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3" name="Freeform 4876">
                  <a:extLst>
                    <a:ext uri="{FF2B5EF4-FFF2-40B4-BE49-F238E27FC236}">
                      <a16:creationId xmlns:a16="http://schemas.microsoft.com/office/drawing/2014/main" id="{3887CB4D-D2E8-B498-427C-8D20077F47F9}"/>
                    </a:ext>
                  </a:extLst>
                </p:cNvPr>
                <p:cNvSpPr/>
                <p:nvPr/>
              </p:nvSpPr>
              <p:spPr>
                <a:xfrm>
                  <a:off x="7677343" y="5567647"/>
                  <a:ext cx="26690" cy="26592"/>
                </a:xfrm>
                <a:custGeom>
                  <a:avLst/>
                  <a:gdLst>
                    <a:gd name="connsiteX0" fmla="*/ 26673 w 26690"/>
                    <a:gd name="connsiteY0" fmla="*/ 12487 h 26592"/>
                    <a:gd name="connsiteX1" fmla="*/ 14093 w 26690"/>
                    <a:gd name="connsiteY1" fmla="*/ 26562 h 26592"/>
                    <a:gd name="connsiteX2" fmla="*/ 18 w 26690"/>
                    <a:gd name="connsiteY2" fmla="*/ 14106 h 26592"/>
                    <a:gd name="connsiteX3" fmla="*/ 12598 w 26690"/>
                    <a:gd name="connsiteY3" fmla="*/ 31 h 26592"/>
                    <a:gd name="connsiteX4" fmla="*/ 26673 w 26690"/>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2">
                      <a:moveTo>
                        <a:pt x="26673" y="12487"/>
                      </a:moveTo>
                      <a:cubicBezTo>
                        <a:pt x="27046" y="19835"/>
                        <a:pt x="21442" y="26063"/>
                        <a:pt x="14093" y="26562"/>
                      </a:cubicBezTo>
                      <a:cubicBezTo>
                        <a:pt x="6743" y="27060"/>
                        <a:pt x="516" y="21455"/>
                        <a:pt x="18" y="14106"/>
                      </a:cubicBezTo>
                      <a:cubicBezTo>
                        <a:pt x="-356" y="6757"/>
                        <a:pt x="5249" y="529"/>
                        <a:pt x="12598" y="31"/>
                      </a:cubicBezTo>
                      <a:cubicBezTo>
                        <a:pt x="19947" y="-468"/>
                        <a:pt x="26299" y="5138"/>
                        <a:pt x="2667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4" name="Freeform 4877">
                  <a:extLst>
                    <a:ext uri="{FF2B5EF4-FFF2-40B4-BE49-F238E27FC236}">
                      <a16:creationId xmlns:a16="http://schemas.microsoft.com/office/drawing/2014/main" id="{A3B6DE8B-6984-0AA1-5577-CF30911F3BB0}"/>
                    </a:ext>
                  </a:extLst>
                </p:cNvPr>
                <p:cNvSpPr/>
                <p:nvPr/>
              </p:nvSpPr>
              <p:spPr>
                <a:xfrm>
                  <a:off x="7697101" y="5643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5"/>
                        <a:pt x="5421" y="37492"/>
                        <a:pt x="4673" y="33257"/>
                      </a:cubicBezTo>
                      <a:cubicBezTo>
                        <a:pt x="3552" y="26406"/>
                        <a:pt x="1185" y="23417"/>
                        <a:pt x="313" y="16442"/>
                      </a:cubicBezTo>
                      <a:cubicBezTo>
                        <a:pt x="-559" y="9591"/>
                        <a:pt x="563"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5" name="Freeform 4878">
                  <a:extLst>
                    <a:ext uri="{FF2B5EF4-FFF2-40B4-BE49-F238E27FC236}">
                      <a16:creationId xmlns:a16="http://schemas.microsoft.com/office/drawing/2014/main" id="{84327C64-B14E-7608-D981-CCD8831068B6}"/>
                    </a:ext>
                  </a:extLst>
                </p:cNvPr>
                <p:cNvSpPr/>
                <p:nvPr/>
              </p:nvSpPr>
              <p:spPr>
                <a:xfrm>
                  <a:off x="7690564" y="5649263"/>
                  <a:ext cx="3736" cy="52065"/>
                </a:xfrm>
                <a:custGeom>
                  <a:avLst/>
                  <a:gdLst>
                    <a:gd name="connsiteX0" fmla="*/ 0 w 3736"/>
                    <a:gd name="connsiteY0" fmla="*/ 0 h 52065"/>
                    <a:gd name="connsiteX1" fmla="*/ 2989 w 3736"/>
                    <a:gd name="connsiteY1" fmla="*/ 18559 h 52065"/>
                    <a:gd name="connsiteX2" fmla="*/ 623 w 3736"/>
                    <a:gd name="connsiteY2" fmla="*/ 35873 h 52065"/>
                    <a:gd name="connsiteX3" fmla="*/ 3737 w 373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36" h="52065">
                      <a:moveTo>
                        <a:pt x="0" y="0"/>
                      </a:moveTo>
                      <a:cubicBezTo>
                        <a:pt x="2989" y="7847"/>
                        <a:pt x="3239" y="14200"/>
                        <a:pt x="2989" y="18559"/>
                      </a:cubicBezTo>
                      <a:cubicBezTo>
                        <a:pt x="2616" y="25535"/>
                        <a:pt x="623" y="28773"/>
                        <a:pt x="623" y="35873"/>
                      </a:cubicBezTo>
                      <a:cubicBezTo>
                        <a:pt x="498" y="42723"/>
                        <a:pt x="2242" y="48453"/>
                        <a:pt x="373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6" name="Freeform 4879">
                  <a:extLst>
                    <a:ext uri="{FF2B5EF4-FFF2-40B4-BE49-F238E27FC236}">
                      <a16:creationId xmlns:a16="http://schemas.microsoft.com/office/drawing/2014/main" id="{AC292791-7E65-EAB3-326C-6F34807FAB99}"/>
                    </a:ext>
                  </a:extLst>
                </p:cNvPr>
                <p:cNvSpPr/>
                <p:nvPr/>
              </p:nvSpPr>
              <p:spPr>
                <a:xfrm>
                  <a:off x="7684567" y="5689838"/>
                  <a:ext cx="26442" cy="26579"/>
                </a:xfrm>
                <a:custGeom>
                  <a:avLst/>
                  <a:gdLst>
                    <a:gd name="connsiteX0" fmla="*/ 18 w 26442"/>
                    <a:gd name="connsiteY0" fmla="*/ 14106 h 26579"/>
                    <a:gd name="connsiteX1" fmla="*/ 12474 w 26442"/>
                    <a:gd name="connsiteY1" fmla="*/ 31 h 26579"/>
                    <a:gd name="connsiteX2" fmla="*/ 26424 w 26442"/>
                    <a:gd name="connsiteY2" fmla="*/ 12487 h 26579"/>
                    <a:gd name="connsiteX3" fmla="*/ 13968 w 26442"/>
                    <a:gd name="connsiteY3" fmla="*/ 26562 h 26579"/>
                    <a:gd name="connsiteX4" fmla="*/ 18 w 2644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79">
                      <a:moveTo>
                        <a:pt x="18" y="14106"/>
                      </a:moveTo>
                      <a:cubicBezTo>
                        <a:pt x="-356" y="6757"/>
                        <a:pt x="5125" y="529"/>
                        <a:pt x="12474" y="31"/>
                      </a:cubicBezTo>
                      <a:cubicBezTo>
                        <a:pt x="19822" y="-468"/>
                        <a:pt x="25926" y="5138"/>
                        <a:pt x="26424" y="12487"/>
                      </a:cubicBezTo>
                      <a:cubicBezTo>
                        <a:pt x="26797" y="19835"/>
                        <a:pt x="21317" y="26063"/>
                        <a:pt x="13968" y="26562"/>
                      </a:cubicBezTo>
                      <a:cubicBezTo>
                        <a:pt x="6619"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9" name="Graphic 2987">
                <a:extLst>
                  <a:ext uri="{FF2B5EF4-FFF2-40B4-BE49-F238E27FC236}">
                    <a16:creationId xmlns:a16="http://schemas.microsoft.com/office/drawing/2014/main" id="{87CCFEB5-3BE1-096A-8DCF-EF2C621B6C61}"/>
                  </a:ext>
                </a:extLst>
              </p:cNvPr>
              <p:cNvGrpSpPr/>
              <p:nvPr/>
            </p:nvGrpSpPr>
            <p:grpSpPr>
              <a:xfrm>
                <a:off x="7707237" y="5566041"/>
                <a:ext cx="33042" cy="148632"/>
                <a:chOff x="7707237" y="5566041"/>
                <a:chExt cx="33042" cy="148632"/>
              </a:xfrm>
              <a:grpFill/>
            </p:grpSpPr>
            <p:sp>
              <p:nvSpPr>
                <p:cNvPr id="4625" name="Freeform 4881">
                  <a:extLst>
                    <a:ext uri="{FF2B5EF4-FFF2-40B4-BE49-F238E27FC236}">
                      <a16:creationId xmlns:a16="http://schemas.microsoft.com/office/drawing/2014/main" id="{2BC4E6E1-F7A0-F89B-BF40-485BCB655322}"/>
                    </a:ext>
                  </a:extLst>
                </p:cNvPr>
                <p:cNvSpPr/>
                <p:nvPr/>
              </p:nvSpPr>
              <p:spPr>
                <a:xfrm>
                  <a:off x="7715726" y="5586486"/>
                  <a:ext cx="5170" cy="52189"/>
                </a:xfrm>
                <a:custGeom>
                  <a:avLst/>
                  <a:gdLst>
                    <a:gd name="connsiteX0" fmla="*/ 1494 w 5170"/>
                    <a:gd name="connsiteY0" fmla="*/ 0 h 52189"/>
                    <a:gd name="connsiteX1" fmla="*/ 497 w 5170"/>
                    <a:gd name="connsiteY1" fmla="*/ 18808 h 52189"/>
                    <a:gd name="connsiteX2" fmla="*/ 4857 w 5170"/>
                    <a:gd name="connsiteY2" fmla="*/ 35748 h 52189"/>
                    <a:gd name="connsiteX3" fmla="*/ 3611 w 5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70" h="52189">
                      <a:moveTo>
                        <a:pt x="1494" y="0"/>
                      </a:moveTo>
                      <a:cubicBezTo>
                        <a:pt x="-500" y="8097"/>
                        <a:pt x="-126" y="14449"/>
                        <a:pt x="497" y="18808"/>
                      </a:cubicBezTo>
                      <a:cubicBezTo>
                        <a:pt x="1618" y="25659"/>
                        <a:pt x="3985" y="28648"/>
                        <a:pt x="4857" y="35748"/>
                      </a:cubicBezTo>
                      <a:cubicBezTo>
                        <a:pt x="5728" y="42599"/>
                        <a:pt x="4608" y="48453"/>
                        <a:pt x="361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6" name="Freeform 4882">
                  <a:extLst>
                    <a:ext uri="{FF2B5EF4-FFF2-40B4-BE49-F238E27FC236}">
                      <a16:creationId xmlns:a16="http://schemas.microsoft.com/office/drawing/2014/main" id="{530D6769-804E-4CEE-7BE7-6114DFE99B08}"/>
                    </a:ext>
                  </a:extLst>
                </p:cNvPr>
                <p:cNvSpPr/>
                <p:nvPr/>
              </p:nvSpPr>
              <p:spPr>
                <a:xfrm>
                  <a:off x="7724070" y="5581254"/>
                  <a:ext cx="3487" cy="51940"/>
                </a:xfrm>
                <a:custGeom>
                  <a:avLst/>
                  <a:gdLst>
                    <a:gd name="connsiteX0" fmla="*/ 3488 w 3487"/>
                    <a:gd name="connsiteY0" fmla="*/ 51940 h 51940"/>
                    <a:gd name="connsiteX1" fmla="*/ 498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8" y="33381"/>
                      </a:cubicBezTo>
                      <a:cubicBezTo>
                        <a:pt x="872" y="26406"/>
                        <a:pt x="2865" y="23292"/>
                        <a:pt x="2989"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7" name="Freeform 4883">
                  <a:extLst>
                    <a:ext uri="{FF2B5EF4-FFF2-40B4-BE49-F238E27FC236}">
                      <a16:creationId xmlns:a16="http://schemas.microsoft.com/office/drawing/2014/main" id="{8DD17C9A-69A7-C6B3-99AA-589050B240C6}"/>
                    </a:ext>
                  </a:extLst>
                </p:cNvPr>
                <p:cNvSpPr/>
                <p:nvPr/>
              </p:nvSpPr>
              <p:spPr>
                <a:xfrm>
                  <a:off x="7707237" y="5566041"/>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8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8" y="18"/>
                      </a:cubicBezTo>
                      <a:cubicBezTo>
                        <a:pt x="19822"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8" name="Freeform 4884">
                  <a:extLst>
                    <a:ext uri="{FF2B5EF4-FFF2-40B4-BE49-F238E27FC236}">
                      <a16:creationId xmlns:a16="http://schemas.microsoft.com/office/drawing/2014/main" id="{6AF16189-24BD-AAB8-269D-626FEA0CBD5D}"/>
                    </a:ext>
                  </a:extLst>
                </p:cNvPr>
                <p:cNvSpPr/>
                <p:nvPr/>
              </p:nvSpPr>
              <p:spPr>
                <a:xfrm>
                  <a:off x="7726622" y="5642039"/>
                  <a:ext cx="5170" cy="52189"/>
                </a:xfrm>
                <a:custGeom>
                  <a:avLst/>
                  <a:gdLst>
                    <a:gd name="connsiteX0" fmla="*/ 3676 w 5170"/>
                    <a:gd name="connsiteY0" fmla="*/ 52190 h 52189"/>
                    <a:gd name="connsiteX1" fmla="*/ 4673 w 5170"/>
                    <a:gd name="connsiteY1" fmla="*/ 33381 h 52189"/>
                    <a:gd name="connsiteX2" fmla="*/ 313 w 5170"/>
                    <a:gd name="connsiteY2" fmla="*/ 16441 h 52189"/>
                    <a:gd name="connsiteX3" fmla="*/ 1559 w 5170"/>
                    <a:gd name="connsiteY3" fmla="*/ 0 h 52189"/>
                  </a:gdLst>
                  <a:ahLst/>
                  <a:cxnLst>
                    <a:cxn ang="0">
                      <a:pos x="connsiteX0" y="connsiteY0"/>
                    </a:cxn>
                    <a:cxn ang="0">
                      <a:pos x="connsiteX1" y="connsiteY1"/>
                    </a:cxn>
                    <a:cxn ang="0">
                      <a:pos x="connsiteX2" y="connsiteY2"/>
                    </a:cxn>
                    <a:cxn ang="0">
                      <a:pos x="connsiteX3" y="connsiteY3"/>
                    </a:cxn>
                  </a:cxnLst>
                  <a:rect l="l" t="t" r="r" b="b"/>
                  <a:pathLst>
                    <a:path w="5170" h="52189">
                      <a:moveTo>
                        <a:pt x="3676" y="52190"/>
                      </a:moveTo>
                      <a:cubicBezTo>
                        <a:pt x="5670" y="44093"/>
                        <a:pt x="5296" y="37741"/>
                        <a:pt x="4673" y="33381"/>
                      </a:cubicBezTo>
                      <a:cubicBezTo>
                        <a:pt x="3552" y="26531"/>
                        <a:pt x="1185" y="23541"/>
                        <a:pt x="313" y="16441"/>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9" name="Freeform 4885">
                  <a:extLst>
                    <a:ext uri="{FF2B5EF4-FFF2-40B4-BE49-F238E27FC236}">
                      <a16:creationId xmlns:a16="http://schemas.microsoft.com/office/drawing/2014/main" id="{2F78B77B-B37A-E64C-4D68-CCDA2BF6BCD3}"/>
                    </a:ext>
                  </a:extLst>
                </p:cNvPr>
                <p:cNvSpPr/>
                <p:nvPr/>
              </p:nvSpPr>
              <p:spPr>
                <a:xfrm>
                  <a:off x="7720084" y="564751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1"/>
                        <a:pt x="3239" y="14199"/>
                        <a:pt x="2989" y="18559"/>
                      </a:cubicBezTo>
                      <a:cubicBezTo>
                        <a:pt x="2616" y="25534"/>
                        <a:pt x="623" y="28648"/>
                        <a:pt x="499" y="35748"/>
                      </a:cubicBezTo>
                      <a:cubicBezTo>
                        <a:pt x="374" y="42599"/>
                        <a:pt x="2117" y="48328"/>
                        <a:pt x="3488"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0" name="Freeform 4886">
                  <a:extLst>
                    <a:ext uri="{FF2B5EF4-FFF2-40B4-BE49-F238E27FC236}">
                      <a16:creationId xmlns:a16="http://schemas.microsoft.com/office/drawing/2014/main" id="{4DD62181-87B9-0B24-977D-D8C8B62C0D95}"/>
                    </a:ext>
                  </a:extLst>
                </p:cNvPr>
                <p:cNvSpPr/>
                <p:nvPr/>
              </p:nvSpPr>
              <p:spPr>
                <a:xfrm>
                  <a:off x="7713963" y="5688241"/>
                  <a:ext cx="26317" cy="26431"/>
                </a:xfrm>
                <a:custGeom>
                  <a:avLst/>
                  <a:gdLst>
                    <a:gd name="connsiteX0" fmla="*/ 18 w 26317"/>
                    <a:gd name="connsiteY0" fmla="*/ 13834 h 26431"/>
                    <a:gd name="connsiteX1" fmla="*/ 12474 w 26317"/>
                    <a:gd name="connsiteY1" fmla="*/ 8 h 26431"/>
                    <a:gd name="connsiteX2" fmla="*/ 26299 w 26317"/>
                    <a:gd name="connsiteY2" fmla="*/ 12589 h 26431"/>
                    <a:gd name="connsiteX3" fmla="*/ 13844 w 26317"/>
                    <a:gd name="connsiteY3" fmla="*/ 26414 h 26431"/>
                    <a:gd name="connsiteX4" fmla="*/ 18 w 26317"/>
                    <a:gd name="connsiteY4" fmla="*/ 1383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5" y="6485"/>
                        <a:pt x="5125" y="257"/>
                        <a:pt x="12474" y="8"/>
                      </a:cubicBezTo>
                      <a:cubicBezTo>
                        <a:pt x="19823" y="-241"/>
                        <a:pt x="25926" y="5240"/>
                        <a:pt x="26299" y="12589"/>
                      </a:cubicBezTo>
                      <a:cubicBezTo>
                        <a:pt x="26674" y="19937"/>
                        <a:pt x="21068" y="26165"/>
                        <a:pt x="13844" y="26414"/>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0" name="Graphic 2987">
                <a:extLst>
                  <a:ext uri="{FF2B5EF4-FFF2-40B4-BE49-F238E27FC236}">
                    <a16:creationId xmlns:a16="http://schemas.microsoft.com/office/drawing/2014/main" id="{54A3D3DE-F1E1-CBF7-F528-D47472AE22C7}"/>
                  </a:ext>
                </a:extLst>
              </p:cNvPr>
              <p:cNvGrpSpPr/>
              <p:nvPr/>
            </p:nvGrpSpPr>
            <p:grpSpPr>
              <a:xfrm>
                <a:off x="7736882" y="5564546"/>
                <a:ext cx="32794" cy="148757"/>
                <a:chOff x="7736882" y="5564546"/>
                <a:chExt cx="32794" cy="148757"/>
              </a:xfrm>
              <a:grpFill/>
            </p:grpSpPr>
            <p:sp>
              <p:nvSpPr>
                <p:cNvPr id="4619" name="Freeform 4888">
                  <a:extLst>
                    <a:ext uri="{FF2B5EF4-FFF2-40B4-BE49-F238E27FC236}">
                      <a16:creationId xmlns:a16="http://schemas.microsoft.com/office/drawing/2014/main" id="{E1A2837D-7CEF-9049-63A7-2BD5009A7996}"/>
                    </a:ext>
                  </a:extLst>
                </p:cNvPr>
                <p:cNvSpPr/>
                <p:nvPr/>
              </p:nvSpPr>
              <p:spPr>
                <a:xfrm>
                  <a:off x="7745279" y="5584991"/>
                  <a:ext cx="5261" cy="52189"/>
                </a:xfrm>
                <a:custGeom>
                  <a:avLst/>
                  <a:gdLst>
                    <a:gd name="connsiteX0" fmla="*/ 1586 w 5261"/>
                    <a:gd name="connsiteY0" fmla="*/ 0 h 52189"/>
                    <a:gd name="connsiteX1" fmla="*/ 589 w 5261"/>
                    <a:gd name="connsiteY1" fmla="*/ 18808 h 52189"/>
                    <a:gd name="connsiteX2" fmla="*/ 4948 w 5261"/>
                    <a:gd name="connsiteY2" fmla="*/ 35748 h 52189"/>
                    <a:gd name="connsiteX3" fmla="*/ 3703 w 526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261" h="52189">
                      <a:moveTo>
                        <a:pt x="1586" y="0"/>
                      </a:moveTo>
                      <a:cubicBezTo>
                        <a:pt x="-532" y="8096"/>
                        <a:pt x="-158" y="14449"/>
                        <a:pt x="589" y="18808"/>
                      </a:cubicBezTo>
                      <a:cubicBezTo>
                        <a:pt x="1710" y="25659"/>
                        <a:pt x="4077" y="28648"/>
                        <a:pt x="4948" y="35748"/>
                      </a:cubicBezTo>
                      <a:cubicBezTo>
                        <a:pt x="5820" y="42599"/>
                        <a:pt x="4700" y="48453"/>
                        <a:pt x="37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0" name="Freeform 4889">
                  <a:extLst>
                    <a:ext uri="{FF2B5EF4-FFF2-40B4-BE49-F238E27FC236}">
                      <a16:creationId xmlns:a16="http://schemas.microsoft.com/office/drawing/2014/main" id="{8F44EB81-95B9-6E0D-9F44-68996A7D4DDD}"/>
                    </a:ext>
                  </a:extLst>
                </p:cNvPr>
                <p:cNvSpPr/>
                <p:nvPr/>
              </p:nvSpPr>
              <p:spPr>
                <a:xfrm>
                  <a:off x="7753590" y="5579760"/>
                  <a:ext cx="3487" cy="51940"/>
                </a:xfrm>
                <a:custGeom>
                  <a:avLst/>
                  <a:gdLst>
                    <a:gd name="connsiteX0" fmla="*/ 3488 w 3487"/>
                    <a:gd name="connsiteY0" fmla="*/ 51940 h 51940"/>
                    <a:gd name="connsiteX1" fmla="*/ 499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9" y="33381"/>
                      </a:cubicBezTo>
                      <a:cubicBezTo>
                        <a:pt x="872" y="26406"/>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1" name="Freeform 4890">
                  <a:extLst>
                    <a:ext uri="{FF2B5EF4-FFF2-40B4-BE49-F238E27FC236}">
                      <a16:creationId xmlns:a16="http://schemas.microsoft.com/office/drawing/2014/main" id="{7F83D55D-04C2-7C41-8CD9-AF7FD6DC6BA4}"/>
                    </a:ext>
                  </a:extLst>
                </p:cNvPr>
                <p:cNvSpPr/>
                <p:nvPr/>
              </p:nvSpPr>
              <p:spPr>
                <a:xfrm>
                  <a:off x="7736882" y="5564546"/>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7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7" y="18"/>
                      </a:cubicBezTo>
                      <a:cubicBezTo>
                        <a:pt x="19947"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2" name="Freeform 4891">
                  <a:extLst>
                    <a:ext uri="{FF2B5EF4-FFF2-40B4-BE49-F238E27FC236}">
                      <a16:creationId xmlns:a16="http://schemas.microsoft.com/office/drawing/2014/main" id="{632C2E41-18AA-DCF8-C680-9D35EEF29DFD}"/>
                    </a:ext>
                  </a:extLst>
                </p:cNvPr>
                <p:cNvSpPr/>
                <p:nvPr/>
              </p:nvSpPr>
              <p:spPr>
                <a:xfrm>
                  <a:off x="7756144" y="5640668"/>
                  <a:ext cx="5095" cy="52189"/>
                </a:xfrm>
                <a:custGeom>
                  <a:avLst/>
                  <a:gdLst>
                    <a:gd name="connsiteX0" fmla="*/ 3550 w 5095"/>
                    <a:gd name="connsiteY0" fmla="*/ 52190 h 52189"/>
                    <a:gd name="connsiteX1" fmla="*/ 4546 w 5095"/>
                    <a:gd name="connsiteY1" fmla="*/ 33381 h 52189"/>
                    <a:gd name="connsiteX2" fmla="*/ 311 w 5095"/>
                    <a:gd name="connsiteY2" fmla="*/ 16442 h 52189"/>
                    <a:gd name="connsiteX3" fmla="*/ 1682 w 5095"/>
                    <a:gd name="connsiteY3" fmla="*/ 0 h 52189"/>
                  </a:gdLst>
                  <a:ahLst/>
                  <a:cxnLst>
                    <a:cxn ang="0">
                      <a:pos x="connsiteX0" y="connsiteY0"/>
                    </a:cxn>
                    <a:cxn ang="0">
                      <a:pos x="connsiteX1" y="connsiteY1"/>
                    </a:cxn>
                    <a:cxn ang="0">
                      <a:pos x="connsiteX2" y="connsiteY2"/>
                    </a:cxn>
                    <a:cxn ang="0">
                      <a:pos x="connsiteX3" y="connsiteY3"/>
                    </a:cxn>
                  </a:cxnLst>
                  <a:rect l="l" t="t" r="r" b="b"/>
                  <a:pathLst>
                    <a:path w="5095" h="52189">
                      <a:moveTo>
                        <a:pt x="3550" y="52190"/>
                      </a:moveTo>
                      <a:cubicBezTo>
                        <a:pt x="5543" y="44094"/>
                        <a:pt x="5294" y="37741"/>
                        <a:pt x="4546" y="33381"/>
                      </a:cubicBezTo>
                      <a:cubicBezTo>
                        <a:pt x="3425" y="26531"/>
                        <a:pt x="1183" y="23542"/>
                        <a:pt x="311" y="16442"/>
                      </a:cubicBezTo>
                      <a:cubicBezTo>
                        <a:pt x="-560" y="9591"/>
                        <a:pt x="560" y="3737"/>
                        <a:pt x="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3" name="Freeform 4892">
                  <a:extLst>
                    <a:ext uri="{FF2B5EF4-FFF2-40B4-BE49-F238E27FC236}">
                      <a16:creationId xmlns:a16="http://schemas.microsoft.com/office/drawing/2014/main" id="{53173B24-431B-49EB-15AE-0F1D9DC9C6A8}"/>
                    </a:ext>
                  </a:extLst>
                </p:cNvPr>
                <p:cNvSpPr/>
                <p:nvPr/>
              </p:nvSpPr>
              <p:spPr>
                <a:xfrm>
                  <a:off x="7749604" y="564614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2"/>
                        <a:pt x="3239" y="14200"/>
                        <a:pt x="2989" y="18559"/>
                      </a:cubicBezTo>
                      <a:cubicBezTo>
                        <a:pt x="2616" y="25535"/>
                        <a:pt x="623" y="28648"/>
                        <a:pt x="499" y="35748"/>
                      </a:cubicBezTo>
                      <a:cubicBezTo>
                        <a:pt x="374" y="42599"/>
                        <a:pt x="2118" y="48328"/>
                        <a:pt x="34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4" name="Freeform 4893">
                  <a:extLst>
                    <a:ext uri="{FF2B5EF4-FFF2-40B4-BE49-F238E27FC236}">
                      <a16:creationId xmlns:a16="http://schemas.microsoft.com/office/drawing/2014/main" id="{23270D88-0A19-0BA4-7B57-F3F32BFE4D45}"/>
                    </a:ext>
                  </a:extLst>
                </p:cNvPr>
                <p:cNvSpPr/>
                <p:nvPr/>
              </p:nvSpPr>
              <p:spPr>
                <a:xfrm>
                  <a:off x="7743359" y="5686871"/>
                  <a:ext cx="26317" cy="26432"/>
                </a:xfrm>
                <a:custGeom>
                  <a:avLst/>
                  <a:gdLst>
                    <a:gd name="connsiteX0" fmla="*/ 18 w 26317"/>
                    <a:gd name="connsiteY0" fmla="*/ 13834 h 26432"/>
                    <a:gd name="connsiteX1" fmla="*/ 12473 w 26317"/>
                    <a:gd name="connsiteY1" fmla="*/ 8 h 26432"/>
                    <a:gd name="connsiteX2" fmla="*/ 26300 w 26317"/>
                    <a:gd name="connsiteY2" fmla="*/ 12589 h 26432"/>
                    <a:gd name="connsiteX3" fmla="*/ 13844 w 26317"/>
                    <a:gd name="connsiteY3" fmla="*/ 26415 h 26432"/>
                    <a:gd name="connsiteX4" fmla="*/ 18 w 26317"/>
                    <a:gd name="connsiteY4" fmla="*/ 1383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6" y="6485"/>
                        <a:pt x="5250" y="258"/>
                        <a:pt x="12473" y="8"/>
                      </a:cubicBezTo>
                      <a:cubicBezTo>
                        <a:pt x="19698" y="-241"/>
                        <a:pt x="25926" y="5240"/>
                        <a:pt x="26300" y="12589"/>
                      </a:cubicBezTo>
                      <a:cubicBezTo>
                        <a:pt x="26673" y="19937"/>
                        <a:pt x="21068" y="26165"/>
                        <a:pt x="13844" y="26415"/>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1" name="Graphic 2987">
                <a:extLst>
                  <a:ext uri="{FF2B5EF4-FFF2-40B4-BE49-F238E27FC236}">
                    <a16:creationId xmlns:a16="http://schemas.microsoft.com/office/drawing/2014/main" id="{00E7EEDD-12A9-7536-CB6F-219352847CEE}"/>
                  </a:ext>
                </a:extLst>
              </p:cNvPr>
              <p:cNvGrpSpPr/>
              <p:nvPr/>
            </p:nvGrpSpPr>
            <p:grpSpPr>
              <a:xfrm>
                <a:off x="7766651" y="5563061"/>
                <a:ext cx="32420" cy="148737"/>
                <a:chOff x="7766651" y="5563061"/>
                <a:chExt cx="32420" cy="148737"/>
              </a:xfrm>
              <a:grpFill/>
            </p:grpSpPr>
            <p:sp>
              <p:nvSpPr>
                <p:cNvPr id="4613" name="Freeform 4895">
                  <a:extLst>
                    <a:ext uri="{FF2B5EF4-FFF2-40B4-BE49-F238E27FC236}">
                      <a16:creationId xmlns:a16="http://schemas.microsoft.com/office/drawing/2014/main" id="{DD1EFDBC-A5FF-3487-0F21-FD4A6E5E4F6A}"/>
                    </a:ext>
                  </a:extLst>
                </p:cNvPr>
                <p:cNvSpPr/>
                <p:nvPr/>
              </p:nvSpPr>
              <p:spPr>
                <a:xfrm>
                  <a:off x="7775048" y="5583621"/>
                  <a:ext cx="5135" cy="52189"/>
                </a:xfrm>
                <a:custGeom>
                  <a:avLst/>
                  <a:gdLst>
                    <a:gd name="connsiteX0" fmla="*/ 1586 w 5135"/>
                    <a:gd name="connsiteY0" fmla="*/ 0 h 52189"/>
                    <a:gd name="connsiteX1" fmla="*/ 589 w 5135"/>
                    <a:gd name="connsiteY1" fmla="*/ 18808 h 52189"/>
                    <a:gd name="connsiteX2" fmla="*/ 4824 w 5135"/>
                    <a:gd name="connsiteY2" fmla="*/ 35748 h 52189"/>
                    <a:gd name="connsiteX3" fmla="*/ 3454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0"/>
                      </a:moveTo>
                      <a:cubicBezTo>
                        <a:pt x="-532" y="8096"/>
                        <a:pt x="-158" y="14449"/>
                        <a:pt x="589" y="18808"/>
                      </a:cubicBezTo>
                      <a:cubicBezTo>
                        <a:pt x="1710" y="25659"/>
                        <a:pt x="3953" y="28648"/>
                        <a:pt x="4824" y="35748"/>
                      </a:cubicBezTo>
                      <a:cubicBezTo>
                        <a:pt x="5696" y="42599"/>
                        <a:pt x="4575" y="48453"/>
                        <a:pt x="34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4" name="Freeform 4896">
                  <a:extLst>
                    <a:ext uri="{FF2B5EF4-FFF2-40B4-BE49-F238E27FC236}">
                      <a16:creationId xmlns:a16="http://schemas.microsoft.com/office/drawing/2014/main" id="{B652524E-3DC1-00F8-E7CA-97EB381B7E3D}"/>
                    </a:ext>
                  </a:extLst>
                </p:cNvPr>
                <p:cNvSpPr/>
                <p:nvPr/>
              </p:nvSpPr>
              <p:spPr>
                <a:xfrm>
                  <a:off x="7783360" y="5578389"/>
                  <a:ext cx="3238" cy="51940"/>
                </a:xfrm>
                <a:custGeom>
                  <a:avLst/>
                  <a:gdLst>
                    <a:gd name="connsiteX0" fmla="*/ 3239 w 3238"/>
                    <a:gd name="connsiteY0" fmla="*/ 51941 h 51940"/>
                    <a:gd name="connsiteX1" fmla="*/ 373 w 3238"/>
                    <a:gd name="connsiteY1" fmla="*/ 33381 h 51940"/>
                    <a:gd name="connsiteX2" fmla="*/ 2989 w 3238"/>
                    <a:gd name="connsiteY2" fmla="*/ 16193 h 51940"/>
                    <a:gd name="connsiteX3" fmla="*/ 0 w 3238"/>
                    <a:gd name="connsiteY3" fmla="*/ 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51941"/>
                      </a:moveTo>
                      <a:cubicBezTo>
                        <a:pt x="373" y="43969"/>
                        <a:pt x="125" y="37741"/>
                        <a:pt x="373" y="33381"/>
                      </a:cubicBezTo>
                      <a:cubicBezTo>
                        <a:pt x="872" y="26406"/>
                        <a:pt x="2740" y="23292"/>
                        <a:pt x="2989" y="16193"/>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5" name="Freeform 4897">
                  <a:extLst>
                    <a:ext uri="{FF2B5EF4-FFF2-40B4-BE49-F238E27FC236}">
                      <a16:creationId xmlns:a16="http://schemas.microsoft.com/office/drawing/2014/main" id="{3C731432-7018-80FD-B6BD-62A0F39E3F4F}"/>
                    </a:ext>
                  </a:extLst>
                </p:cNvPr>
                <p:cNvSpPr/>
                <p:nvPr/>
              </p:nvSpPr>
              <p:spPr>
                <a:xfrm>
                  <a:off x="7766651" y="5563061"/>
                  <a:ext cx="26565" cy="26431"/>
                </a:xfrm>
                <a:custGeom>
                  <a:avLst/>
                  <a:gdLst>
                    <a:gd name="connsiteX0" fmla="*/ 26548 w 26565"/>
                    <a:gd name="connsiteY0" fmla="*/ 12588 h 26431"/>
                    <a:gd name="connsiteX1" fmla="*/ 13968 w 26565"/>
                    <a:gd name="connsiteY1" fmla="*/ 26414 h 26431"/>
                    <a:gd name="connsiteX2" fmla="*/ 18 w 26565"/>
                    <a:gd name="connsiteY2" fmla="*/ 13834 h 26431"/>
                    <a:gd name="connsiteX3" fmla="*/ 12598 w 26565"/>
                    <a:gd name="connsiteY3" fmla="*/ 8 h 26431"/>
                    <a:gd name="connsiteX4" fmla="*/ 26548 w 26565"/>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431">
                      <a:moveTo>
                        <a:pt x="26548" y="12588"/>
                      </a:moveTo>
                      <a:cubicBezTo>
                        <a:pt x="26922" y="19937"/>
                        <a:pt x="21193" y="26165"/>
                        <a:pt x="13968" y="26414"/>
                      </a:cubicBezTo>
                      <a:cubicBezTo>
                        <a:pt x="6620" y="26788"/>
                        <a:pt x="392" y="21183"/>
                        <a:pt x="18" y="13834"/>
                      </a:cubicBezTo>
                      <a:cubicBezTo>
                        <a:pt x="-356" y="6485"/>
                        <a:pt x="5250" y="257"/>
                        <a:pt x="12598" y="8"/>
                      </a:cubicBezTo>
                      <a:cubicBezTo>
                        <a:pt x="19947" y="-241"/>
                        <a:pt x="26175" y="5364"/>
                        <a:pt x="26548"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6" name="Freeform 4898">
                  <a:extLst>
                    <a:ext uri="{FF2B5EF4-FFF2-40B4-BE49-F238E27FC236}">
                      <a16:creationId xmlns:a16="http://schemas.microsoft.com/office/drawing/2014/main" id="{579D4586-75C7-FC32-7C49-B429D3B9B9BC}"/>
                    </a:ext>
                  </a:extLst>
                </p:cNvPr>
                <p:cNvSpPr/>
                <p:nvPr/>
              </p:nvSpPr>
              <p:spPr>
                <a:xfrm>
                  <a:off x="7785664" y="5639174"/>
                  <a:ext cx="5135" cy="52189"/>
                </a:xfrm>
                <a:custGeom>
                  <a:avLst/>
                  <a:gdLst>
                    <a:gd name="connsiteX0" fmla="*/ 3549 w 5135"/>
                    <a:gd name="connsiteY0" fmla="*/ 52190 h 52189"/>
                    <a:gd name="connsiteX1" fmla="*/ 4546 w 5135"/>
                    <a:gd name="connsiteY1" fmla="*/ 33381 h 52189"/>
                    <a:gd name="connsiteX2" fmla="*/ 312 w 5135"/>
                    <a:gd name="connsiteY2" fmla="*/ 16442 h 52189"/>
                    <a:gd name="connsiteX3" fmla="*/ 1681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52190"/>
                      </a:moveTo>
                      <a:cubicBezTo>
                        <a:pt x="5667" y="44094"/>
                        <a:pt x="5293" y="37741"/>
                        <a:pt x="4546" y="33381"/>
                      </a:cubicBezTo>
                      <a:cubicBezTo>
                        <a:pt x="3425" y="26531"/>
                        <a:pt x="1183" y="23542"/>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7" name="Freeform 4899">
                  <a:extLst>
                    <a:ext uri="{FF2B5EF4-FFF2-40B4-BE49-F238E27FC236}">
                      <a16:creationId xmlns:a16="http://schemas.microsoft.com/office/drawing/2014/main" id="{D2392C4B-D4E4-F014-BC62-7A0B95511FE7}"/>
                    </a:ext>
                  </a:extLst>
                </p:cNvPr>
                <p:cNvSpPr/>
                <p:nvPr/>
              </p:nvSpPr>
              <p:spPr>
                <a:xfrm>
                  <a:off x="7779124" y="5644654"/>
                  <a:ext cx="3363" cy="51940"/>
                </a:xfrm>
                <a:custGeom>
                  <a:avLst/>
                  <a:gdLst>
                    <a:gd name="connsiteX0" fmla="*/ 0 w 3363"/>
                    <a:gd name="connsiteY0" fmla="*/ 0 h 51940"/>
                    <a:gd name="connsiteX1" fmla="*/ 2865 w 3363"/>
                    <a:gd name="connsiteY1" fmla="*/ 18559 h 51940"/>
                    <a:gd name="connsiteX2" fmla="*/ 374 w 3363"/>
                    <a:gd name="connsiteY2" fmla="*/ 35748 h 51940"/>
                    <a:gd name="connsiteX3" fmla="*/ 3363 w 336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362" h="51940">
                      <a:moveTo>
                        <a:pt x="0" y="0"/>
                      </a:moveTo>
                      <a:cubicBezTo>
                        <a:pt x="2865" y="7971"/>
                        <a:pt x="3114" y="14199"/>
                        <a:pt x="2865" y="18559"/>
                      </a:cubicBezTo>
                      <a:cubicBezTo>
                        <a:pt x="2491" y="25534"/>
                        <a:pt x="499" y="28648"/>
                        <a:pt x="374" y="35748"/>
                      </a:cubicBezTo>
                      <a:cubicBezTo>
                        <a:pt x="249" y="42599"/>
                        <a:pt x="1869" y="48328"/>
                        <a:pt x="336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8" name="Freeform 4900">
                  <a:extLst>
                    <a:ext uri="{FF2B5EF4-FFF2-40B4-BE49-F238E27FC236}">
                      <a16:creationId xmlns:a16="http://schemas.microsoft.com/office/drawing/2014/main" id="{C1F429CC-08D2-82B4-6E7B-C4D6E01F86E4}"/>
                    </a:ext>
                  </a:extLst>
                </p:cNvPr>
                <p:cNvSpPr/>
                <p:nvPr/>
              </p:nvSpPr>
              <p:spPr>
                <a:xfrm>
                  <a:off x="7772755" y="5685367"/>
                  <a:ext cx="26316" cy="26431"/>
                </a:xfrm>
                <a:custGeom>
                  <a:avLst/>
                  <a:gdLst>
                    <a:gd name="connsiteX0" fmla="*/ 18 w 26316"/>
                    <a:gd name="connsiteY0" fmla="*/ 13844 h 26431"/>
                    <a:gd name="connsiteX1" fmla="*/ 12473 w 26316"/>
                    <a:gd name="connsiteY1" fmla="*/ 18 h 26431"/>
                    <a:gd name="connsiteX2" fmla="*/ 26299 w 26316"/>
                    <a:gd name="connsiteY2" fmla="*/ 12598 h 26431"/>
                    <a:gd name="connsiteX3" fmla="*/ 13843 w 26316"/>
                    <a:gd name="connsiteY3" fmla="*/ 26424 h 26431"/>
                    <a:gd name="connsiteX4" fmla="*/ 18 w 26316"/>
                    <a:gd name="connsiteY4" fmla="*/ 1384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31">
                      <a:moveTo>
                        <a:pt x="18" y="13844"/>
                      </a:moveTo>
                      <a:cubicBezTo>
                        <a:pt x="-356" y="6495"/>
                        <a:pt x="5249" y="267"/>
                        <a:pt x="12473" y="18"/>
                      </a:cubicBezTo>
                      <a:cubicBezTo>
                        <a:pt x="19697" y="-356"/>
                        <a:pt x="25925" y="5249"/>
                        <a:pt x="26299" y="12598"/>
                      </a:cubicBezTo>
                      <a:cubicBezTo>
                        <a:pt x="26672" y="19947"/>
                        <a:pt x="21067" y="26175"/>
                        <a:pt x="13843" y="26424"/>
                      </a:cubicBezTo>
                      <a:cubicBezTo>
                        <a:pt x="6619" y="26673"/>
                        <a:pt x="391" y="21193"/>
                        <a:pt x="18" y="138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2" name="Graphic 2987">
                <a:extLst>
                  <a:ext uri="{FF2B5EF4-FFF2-40B4-BE49-F238E27FC236}">
                    <a16:creationId xmlns:a16="http://schemas.microsoft.com/office/drawing/2014/main" id="{CDB507FD-2A65-B724-F6FB-CD92D56E7784}"/>
                  </a:ext>
                </a:extLst>
              </p:cNvPr>
              <p:cNvGrpSpPr/>
              <p:nvPr/>
            </p:nvGrpSpPr>
            <p:grpSpPr>
              <a:xfrm>
                <a:off x="7796171" y="5561681"/>
                <a:ext cx="32420" cy="148747"/>
                <a:chOff x="7796171" y="5561681"/>
                <a:chExt cx="32420" cy="148747"/>
              </a:xfrm>
              <a:grpFill/>
            </p:grpSpPr>
            <p:sp>
              <p:nvSpPr>
                <p:cNvPr id="4607" name="Freeform 4902">
                  <a:extLst>
                    <a:ext uri="{FF2B5EF4-FFF2-40B4-BE49-F238E27FC236}">
                      <a16:creationId xmlns:a16="http://schemas.microsoft.com/office/drawing/2014/main" id="{FD8EC17A-4E7C-0AC9-4622-CC3ED93EF662}"/>
                    </a:ext>
                  </a:extLst>
                </p:cNvPr>
                <p:cNvSpPr/>
                <p:nvPr/>
              </p:nvSpPr>
              <p:spPr>
                <a:xfrm>
                  <a:off x="7804670" y="5582126"/>
                  <a:ext cx="5016" cy="52189"/>
                </a:xfrm>
                <a:custGeom>
                  <a:avLst/>
                  <a:gdLst>
                    <a:gd name="connsiteX0" fmla="*/ 1608 w 5016"/>
                    <a:gd name="connsiteY0" fmla="*/ 0 h 52189"/>
                    <a:gd name="connsiteX1" fmla="*/ 487 w 5016"/>
                    <a:gd name="connsiteY1" fmla="*/ 18808 h 52189"/>
                    <a:gd name="connsiteX2" fmla="*/ 4722 w 5016"/>
                    <a:gd name="connsiteY2" fmla="*/ 35748 h 52189"/>
                    <a:gd name="connsiteX3" fmla="*/ 3352 w 501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0"/>
                      </a:moveTo>
                      <a:cubicBezTo>
                        <a:pt x="-510" y="8096"/>
                        <a:pt x="-136" y="14448"/>
                        <a:pt x="487" y="18808"/>
                      </a:cubicBezTo>
                      <a:cubicBezTo>
                        <a:pt x="1608" y="25783"/>
                        <a:pt x="3850" y="28648"/>
                        <a:pt x="4722" y="35748"/>
                      </a:cubicBezTo>
                      <a:cubicBezTo>
                        <a:pt x="5594" y="42599"/>
                        <a:pt x="4348" y="48453"/>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8" name="Freeform 4903">
                  <a:extLst>
                    <a:ext uri="{FF2B5EF4-FFF2-40B4-BE49-F238E27FC236}">
                      <a16:creationId xmlns:a16="http://schemas.microsoft.com/office/drawing/2014/main" id="{1695BE97-DC97-FA40-7B8D-2EE339767B0F}"/>
                    </a:ext>
                  </a:extLst>
                </p:cNvPr>
                <p:cNvSpPr/>
                <p:nvPr/>
              </p:nvSpPr>
              <p:spPr>
                <a:xfrm>
                  <a:off x="7813129" y="5576895"/>
                  <a:ext cx="3113" cy="51940"/>
                </a:xfrm>
                <a:custGeom>
                  <a:avLst/>
                  <a:gdLst>
                    <a:gd name="connsiteX0" fmla="*/ 3114 w 3113"/>
                    <a:gd name="connsiteY0" fmla="*/ 51941 h 51940"/>
                    <a:gd name="connsiteX1" fmla="*/ 249 w 3113"/>
                    <a:gd name="connsiteY1" fmla="*/ 33381 h 51940"/>
                    <a:gd name="connsiteX2" fmla="*/ 2865 w 3113"/>
                    <a:gd name="connsiteY2" fmla="*/ 16192 h 51940"/>
                    <a:gd name="connsiteX3" fmla="*/ 0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51941"/>
                      </a:moveTo>
                      <a:cubicBezTo>
                        <a:pt x="249" y="43969"/>
                        <a:pt x="0" y="37741"/>
                        <a:pt x="249" y="33381"/>
                      </a:cubicBezTo>
                      <a:cubicBezTo>
                        <a:pt x="747" y="26406"/>
                        <a:pt x="2740" y="23292"/>
                        <a:pt x="2865" y="16192"/>
                      </a:cubicBezTo>
                      <a:cubicBezTo>
                        <a:pt x="298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9" name="Freeform 4904">
                  <a:extLst>
                    <a:ext uri="{FF2B5EF4-FFF2-40B4-BE49-F238E27FC236}">
                      <a16:creationId xmlns:a16="http://schemas.microsoft.com/office/drawing/2014/main" id="{BC67F916-2E10-C8E4-308D-26926497D803}"/>
                    </a:ext>
                  </a:extLst>
                </p:cNvPr>
                <p:cNvSpPr/>
                <p:nvPr/>
              </p:nvSpPr>
              <p:spPr>
                <a:xfrm>
                  <a:off x="7796171" y="5561681"/>
                  <a:ext cx="26690" cy="26441"/>
                </a:xfrm>
                <a:custGeom>
                  <a:avLst/>
                  <a:gdLst>
                    <a:gd name="connsiteX0" fmla="*/ 26673 w 26690"/>
                    <a:gd name="connsiteY0" fmla="*/ 12598 h 26441"/>
                    <a:gd name="connsiteX1" fmla="*/ 13968 w 26690"/>
                    <a:gd name="connsiteY1" fmla="*/ 26424 h 26441"/>
                    <a:gd name="connsiteX2" fmla="*/ 17 w 26690"/>
                    <a:gd name="connsiteY2" fmla="*/ 13844 h 26441"/>
                    <a:gd name="connsiteX3" fmla="*/ 12722 w 26690"/>
                    <a:gd name="connsiteY3" fmla="*/ 18 h 26441"/>
                    <a:gd name="connsiteX4" fmla="*/ 26673 w 26690"/>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41">
                      <a:moveTo>
                        <a:pt x="26673" y="12598"/>
                      </a:moveTo>
                      <a:cubicBezTo>
                        <a:pt x="27047" y="19947"/>
                        <a:pt x="21317" y="26175"/>
                        <a:pt x="13968" y="26424"/>
                      </a:cubicBezTo>
                      <a:cubicBezTo>
                        <a:pt x="6619" y="26797"/>
                        <a:pt x="391" y="21193"/>
                        <a:pt x="17" y="13844"/>
                      </a:cubicBezTo>
                      <a:cubicBezTo>
                        <a:pt x="-356" y="6495"/>
                        <a:pt x="5374" y="267"/>
                        <a:pt x="12722" y="18"/>
                      </a:cubicBezTo>
                      <a:cubicBezTo>
                        <a:pt x="20196" y="-356"/>
                        <a:pt x="26424" y="5249"/>
                        <a:pt x="26673"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0" name="Freeform 4905">
                  <a:extLst>
                    <a:ext uri="{FF2B5EF4-FFF2-40B4-BE49-F238E27FC236}">
                      <a16:creationId xmlns:a16="http://schemas.microsoft.com/office/drawing/2014/main" id="{3042D78F-4891-0025-8744-E178917B4D92}"/>
                    </a:ext>
                  </a:extLst>
                </p:cNvPr>
                <p:cNvSpPr/>
                <p:nvPr/>
              </p:nvSpPr>
              <p:spPr>
                <a:xfrm>
                  <a:off x="7815201" y="5637804"/>
                  <a:ext cx="5016" cy="52189"/>
                </a:xfrm>
                <a:custGeom>
                  <a:avLst/>
                  <a:gdLst>
                    <a:gd name="connsiteX0" fmla="*/ 3409 w 5016"/>
                    <a:gd name="connsiteY0" fmla="*/ 52189 h 52189"/>
                    <a:gd name="connsiteX1" fmla="*/ 4529 w 5016"/>
                    <a:gd name="connsiteY1" fmla="*/ 33381 h 52189"/>
                    <a:gd name="connsiteX2" fmla="*/ 295 w 5016"/>
                    <a:gd name="connsiteY2" fmla="*/ 16441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89"/>
                      </a:moveTo>
                      <a:cubicBezTo>
                        <a:pt x="5526" y="44093"/>
                        <a:pt x="5152" y="37741"/>
                        <a:pt x="4529" y="33381"/>
                      </a:cubicBezTo>
                      <a:cubicBezTo>
                        <a:pt x="3409" y="26406"/>
                        <a:pt x="1167" y="23541"/>
                        <a:pt x="295" y="16441"/>
                      </a:cubicBezTo>
                      <a:cubicBezTo>
                        <a:pt x="-577" y="9591"/>
                        <a:pt x="668" y="3737"/>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1" name="Freeform 4906">
                  <a:extLst>
                    <a:ext uri="{FF2B5EF4-FFF2-40B4-BE49-F238E27FC236}">
                      <a16:creationId xmlns:a16="http://schemas.microsoft.com/office/drawing/2014/main" id="{73C6B4F4-0189-F41A-4130-2C9FCBE5EABE}"/>
                    </a:ext>
                  </a:extLst>
                </p:cNvPr>
                <p:cNvSpPr/>
                <p:nvPr/>
              </p:nvSpPr>
              <p:spPr>
                <a:xfrm>
                  <a:off x="7808644" y="5643284"/>
                  <a:ext cx="3113" cy="51940"/>
                </a:xfrm>
                <a:custGeom>
                  <a:avLst/>
                  <a:gdLst>
                    <a:gd name="connsiteX0" fmla="*/ 0 w 3113"/>
                    <a:gd name="connsiteY0" fmla="*/ 0 h 51940"/>
                    <a:gd name="connsiteX1" fmla="*/ 2865 w 3113"/>
                    <a:gd name="connsiteY1" fmla="*/ 18559 h 51940"/>
                    <a:gd name="connsiteX2" fmla="*/ 249 w 3113"/>
                    <a:gd name="connsiteY2" fmla="*/ 35748 h 51940"/>
                    <a:gd name="connsiteX3" fmla="*/ 3114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0" y="0"/>
                      </a:moveTo>
                      <a:cubicBezTo>
                        <a:pt x="2865" y="7972"/>
                        <a:pt x="3114" y="14200"/>
                        <a:pt x="2865" y="18559"/>
                      </a:cubicBezTo>
                      <a:cubicBezTo>
                        <a:pt x="2367" y="25535"/>
                        <a:pt x="499" y="28648"/>
                        <a:pt x="249" y="35748"/>
                      </a:cubicBezTo>
                      <a:cubicBezTo>
                        <a:pt x="125" y="42599"/>
                        <a:pt x="1744" y="48328"/>
                        <a:pt x="311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2" name="Freeform 4907">
                  <a:extLst>
                    <a:ext uri="{FF2B5EF4-FFF2-40B4-BE49-F238E27FC236}">
                      <a16:creationId xmlns:a16="http://schemas.microsoft.com/office/drawing/2014/main" id="{924F5B6D-3187-8402-E97A-4A71BB8A9749}"/>
                    </a:ext>
                  </a:extLst>
                </p:cNvPr>
                <p:cNvSpPr/>
                <p:nvPr/>
              </p:nvSpPr>
              <p:spPr>
                <a:xfrm>
                  <a:off x="7802150" y="5683997"/>
                  <a:ext cx="26441" cy="26431"/>
                </a:xfrm>
                <a:custGeom>
                  <a:avLst/>
                  <a:gdLst>
                    <a:gd name="connsiteX0" fmla="*/ 18 w 26441"/>
                    <a:gd name="connsiteY0" fmla="*/ 13843 h 26431"/>
                    <a:gd name="connsiteX1" fmla="*/ 12598 w 26441"/>
                    <a:gd name="connsiteY1" fmla="*/ 18 h 26431"/>
                    <a:gd name="connsiteX2" fmla="*/ 26424 w 26441"/>
                    <a:gd name="connsiteY2" fmla="*/ 12598 h 26431"/>
                    <a:gd name="connsiteX3" fmla="*/ 13843 w 26441"/>
                    <a:gd name="connsiteY3" fmla="*/ 26424 h 26431"/>
                    <a:gd name="connsiteX4" fmla="*/ 18 w 26441"/>
                    <a:gd name="connsiteY4" fmla="*/ 13843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431">
                      <a:moveTo>
                        <a:pt x="18" y="13843"/>
                      </a:moveTo>
                      <a:cubicBezTo>
                        <a:pt x="-356" y="6495"/>
                        <a:pt x="5249" y="267"/>
                        <a:pt x="12598" y="18"/>
                      </a:cubicBezTo>
                      <a:cubicBezTo>
                        <a:pt x="19822" y="-356"/>
                        <a:pt x="26050" y="5249"/>
                        <a:pt x="26424" y="12598"/>
                      </a:cubicBezTo>
                      <a:cubicBezTo>
                        <a:pt x="26797" y="19947"/>
                        <a:pt x="21193" y="26175"/>
                        <a:pt x="13843" y="26424"/>
                      </a:cubicBezTo>
                      <a:cubicBezTo>
                        <a:pt x="6494" y="26673"/>
                        <a:pt x="391" y="21192"/>
                        <a:pt x="18"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3" name="Graphic 2987">
                <a:extLst>
                  <a:ext uri="{FF2B5EF4-FFF2-40B4-BE49-F238E27FC236}">
                    <a16:creationId xmlns:a16="http://schemas.microsoft.com/office/drawing/2014/main" id="{E720A6FC-0F41-3B91-C9E4-8E18F2C2E1EB}"/>
                  </a:ext>
                </a:extLst>
              </p:cNvPr>
              <p:cNvGrpSpPr/>
              <p:nvPr/>
            </p:nvGrpSpPr>
            <p:grpSpPr>
              <a:xfrm>
                <a:off x="7826075" y="5560196"/>
                <a:ext cx="31787" cy="148747"/>
                <a:chOff x="7826075" y="5560196"/>
                <a:chExt cx="31787" cy="148747"/>
              </a:xfrm>
              <a:grpFill/>
            </p:grpSpPr>
            <p:sp>
              <p:nvSpPr>
                <p:cNvPr id="4601" name="Freeform 4909">
                  <a:extLst>
                    <a:ext uri="{FF2B5EF4-FFF2-40B4-BE49-F238E27FC236}">
                      <a16:creationId xmlns:a16="http://schemas.microsoft.com/office/drawing/2014/main" id="{F83E6CEA-B1C9-93BA-6C27-07E299FD71B1}"/>
                    </a:ext>
                  </a:extLst>
                </p:cNvPr>
                <p:cNvSpPr/>
                <p:nvPr/>
              </p:nvSpPr>
              <p:spPr>
                <a:xfrm>
                  <a:off x="7834262" y="5580756"/>
                  <a:ext cx="5017" cy="52189"/>
                </a:xfrm>
                <a:custGeom>
                  <a:avLst/>
                  <a:gdLst>
                    <a:gd name="connsiteX0" fmla="*/ 1660 w 5017"/>
                    <a:gd name="connsiteY0" fmla="*/ 0 h 52189"/>
                    <a:gd name="connsiteX1" fmla="*/ 540 w 5017"/>
                    <a:gd name="connsiteY1" fmla="*/ 18808 h 52189"/>
                    <a:gd name="connsiteX2" fmla="*/ 4774 w 5017"/>
                    <a:gd name="connsiteY2" fmla="*/ 35748 h 52189"/>
                    <a:gd name="connsiteX3" fmla="*/ 3404 w 501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7" h="52189">
                      <a:moveTo>
                        <a:pt x="1660" y="0"/>
                      </a:moveTo>
                      <a:cubicBezTo>
                        <a:pt x="-457" y="8096"/>
                        <a:pt x="-208" y="14449"/>
                        <a:pt x="540" y="18808"/>
                      </a:cubicBezTo>
                      <a:cubicBezTo>
                        <a:pt x="1660" y="25784"/>
                        <a:pt x="3903" y="28648"/>
                        <a:pt x="4774" y="35748"/>
                      </a:cubicBezTo>
                      <a:cubicBezTo>
                        <a:pt x="5522" y="42599"/>
                        <a:pt x="4401" y="48453"/>
                        <a:pt x="340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2" name="Freeform 4910">
                  <a:extLst>
                    <a:ext uri="{FF2B5EF4-FFF2-40B4-BE49-F238E27FC236}">
                      <a16:creationId xmlns:a16="http://schemas.microsoft.com/office/drawing/2014/main" id="{D45A60A0-2957-6C6A-4DAF-069C0B95CE66}"/>
                    </a:ext>
                  </a:extLst>
                </p:cNvPr>
                <p:cNvSpPr/>
                <p:nvPr/>
              </p:nvSpPr>
              <p:spPr>
                <a:xfrm>
                  <a:off x="7842774" y="5575525"/>
                  <a:ext cx="2989" cy="51940"/>
                </a:xfrm>
                <a:custGeom>
                  <a:avLst/>
                  <a:gdLst>
                    <a:gd name="connsiteX0" fmla="*/ 2989 w 2989"/>
                    <a:gd name="connsiteY0" fmla="*/ 51940 h 51940"/>
                    <a:gd name="connsiteX1" fmla="*/ 249 w 2989"/>
                    <a:gd name="connsiteY1" fmla="*/ 33381 h 51940"/>
                    <a:gd name="connsiteX2" fmla="*/ 2865 w 2989"/>
                    <a:gd name="connsiteY2" fmla="*/ 16192 h 51940"/>
                    <a:gd name="connsiteX3" fmla="*/ 0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51940"/>
                      </a:moveTo>
                      <a:cubicBezTo>
                        <a:pt x="124" y="43969"/>
                        <a:pt x="-125" y="37741"/>
                        <a:pt x="249" y="33381"/>
                      </a:cubicBezTo>
                      <a:cubicBezTo>
                        <a:pt x="747" y="26406"/>
                        <a:pt x="2740" y="23292"/>
                        <a:pt x="2865"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3" name="Freeform 4911">
                  <a:extLst>
                    <a:ext uri="{FF2B5EF4-FFF2-40B4-BE49-F238E27FC236}">
                      <a16:creationId xmlns:a16="http://schemas.microsoft.com/office/drawing/2014/main" id="{A8B54543-8F27-B880-8FCC-70E41F6844AD}"/>
                    </a:ext>
                  </a:extLst>
                </p:cNvPr>
                <p:cNvSpPr/>
                <p:nvPr/>
              </p:nvSpPr>
              <p:spPr>
                <a:xfrm>
                  <a:off x="7826075" y="5560196"/>
                  <a:ext cx="26556" cy="26431"/>
                </a:xfrm>
                <a:custGeom>
                  <a:avLst/>
                  <a:gdLst>
                    <a:gd name="connsiteX0" fmla="*/ 26539 w 26556"/>
                    <a:gd name="connsiteY0" fmla="*/ 12588 h 26431"/>
                    <a:gd name="connsiteX1" fmla="*/ 13834 w 26556"/>
                    <a:gd name="connsiteY1" fmla="*/ 26414 h 26431"/>
                    <a:gd name="connsiteX2" fmla="*/ 8 w 26556"/>
                    <a:gd name="connsiteY2" fmla="*/ 13834 h 26431"/>
                    <a:gd name="connsiteX3" fmla="*/ 12713 w 26556"/>
                    <a:gd name="connsiteY3" fmla="*/ 8 h 26431"/>
                    <a:gd name="connsiteX4" fmla="*/ 26539 w 26556"/>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431">
                      <a:moveTo>
                        <a:pt x="26539" y="12588"/>
                      </a:moveTo>
                      <a:cubicBezTo>
                        <a:pt x="26912" y="19937"/>
                        <a:pt x="21183" y="26165"/>
                        <a:pt x="13834" y="26414"/>
                      </a:cubicBezTo>
                      <a:cubicBezTo>
                        <a:pt x="6485" y="26788"/>
                        <a:pt x="257" y="21183"/>
                        <a:pt x="8" y="13834"/>
                      </a:cubicBezTo>
                      <a:cubicBezTo>
                        <a:pt x="-241" y="6485"/>
                        <a:pt x="5364" y="257"/>
                        <a:pt x="12713" y="8"/>
                      </a:cubicBezTo>
                      <a:cubicBezTo>
                        <a:pt x="20062" y="-241"/>
                        <a:pt x="26165" y="5364"/>
                        <a:pt x="26539"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4" name="Freeform 4912">
                  <a:extLst>
                    <a:ext uri="{FF2B5EF4-FFF2-40B4-BE49-F238E27FC236}">
                      <a16:creationId xmlns:a16="http://schemas.microsoft.com/office/drawing/2014/main" id="{B743B50A-24E6-3779-D953-E52814127CA0}"/>
                    </a:ext>
                  </a:extLst>
                </p:cNvPr>
                <p:cNvSpPr/>
                <p:nvPr/>
              </p:nvSpPr>
              <p:spPr>
                <a:xfrm>
                  <a:off x="7844774" y="5636309"/>
                  <a:ext cx="4891" cy="52189"/>
                </a:xfrm>
                <a:custGeom>
                  <a:avLst/>
                  <a:gdLst>
                    <a:gd name="connsiteX0" fmla="*/ 3231 w 4891"/>
                    <a:gd name="connsiteY0" fmla="*/ 52190 h 52189"/>
                    <a:gd name="connsiteX1" fmla="*/ 4352 w 4891"/>
                    <a:gd name="connsiteY1" fmla="*/ 33382 h 52189"/>
                    <a:gd name="connsiteX2" fmla="*/ 242 w 4891"/>
                    <a:gd name="connsiteY2" fmla="*/ 16442 h 52189"/>
                    <a:gd name="connsiteX3" fmla="*/ 1737 w 4891"/>
                    <a:gd name="connsiteY3" fmla="*/ 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52190"/>
                      </a:moveTo>
                      <a:cubicBezTo>
                        <a:pt x="5349" y="44094"/>
                        <a:pt x="5099" y="37741"/>
                        <a:pt x="4352" y="33382"/>
                      </a:cubicBezTo>
                      <a:cubicBezTo>
                        <a:pt x="3231" y="26407"/>
                        <a:pt x="989" y="23542"/>
                        <a:pt x="242" y="16442"/>
                      </a:cubicBezTo>
                      <a:cubicBezTo>
                        <a:pt x="-505" y="9591"/>
                        <a:pt x="615" y="3737"/>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5" name="Freeform 4913">
                  <a:extLst>
                    <a:ext uri="{FF2B5EF4-FFF2-40B4-BE49-F238E27FC236}">
                      <a16:creationId xmlns:a16="http://schemas.microsoft.com/office/drawing/2014/main" id="{D9070B40-4DA3-A9A7-AB8B-FE45AC1F38A1}"/>
                    </a:ext>
                  </a:extLst>
                </p:cNvPr>
                <p:cNvSpPr/>
                <p:nvPr/>
              </p:nvSpPr>
              <p:spPr>
                <a:xfrm>
                  <a:off x="7838289" y="5641789"/>
                  <a:ext cx="2990" cy="51940"/>
                </a:xfrm>
                <a:custGeom>
                  <a:avLst/>
                  <a:gdLst>
                    <a:gd name="connsiteX0" fmla="*/ 0 w 2990"/>
                    <a:gd name="connsiteY0" fmla="*/ 0 h 51940"/>
                    <a:gd name="connsiteX1" fmla="*/ 2741 w 2990"/>
                    <a:gd name="connsiteY1" fmla="*/ 18559 h 51940"/>
                    <a:gd name="connsiteX2" fmla="*/ 125 w 2990"/>
                    <a:gd name="connsiteY2" fmla="*/ 35748 h 51940"/>
                    <a:gd name="connsiteX3" fmla="*/ 2990 w 299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90" h="51940">
                      <a:moveTo>
                        <a:pt x="0" y="0"/>
                      </a:moveTo>
                      <a:cubicBezTo>
                        <a:pt x="2865" y="7972"/>
                        <a:pt x="3114" y="14200"/>
                        <a:pt x="2741" y="18559"/>
                      </a:cubicBezTo>
                      <a:cubicBezTo>
                        <a:pt x="2242" y="25535"/>
                        <a:pt x="249" y="28648"/>
                        <a:pt x="125" y="35748"/>
                      </a:cubicBezTo>
                      <a:cubicBezTo>
                        <a:pt x="0" y="42599"/>
                        <a:pt x="1619" y="48328"/>
                        <a:pt x="29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6" name="Freeform 4914">
                  <a:extLst>
                    <a:ext uri="{FF2B5EF4-FFF2-40B4-BE49-F238E27FC236}">
                      <a16:creationId xmlns:a16="http://schemas.microsoft.com/office/drawing/2014/main" id="{EA8C371A-6E5C-A035-D456-D3573ADDBE59}"/>
                    </a:ext>
                  </a:extLst>
                </p:cNvPr>
                <p:cNvSpPr/>
                <p:nvPr/>
              </p:nvSpPr>
              <p:spPr>
                <a:xfrm>
                  <a:off x="7831546" y="5682502"/>
                  <a:ext cx="26316" cy="26441"/>
                </a:xfrm>
                <a:custGeom>
                  <a:avLst/>
                  <a:gdLst>
                    <a:gd name="connsiteX0" fmla="*/ 17 w 26316"/>
                    <a:gd name="connsiteY0" fmla="*/ 13843 h 26441"/>
                    <a:gd name="connsiteX1" fmla="*/ 12598 w 26316"/>
                    <a:gd name="connsiteY1" fmla="*/ 18 h 26441"/>
                    <a:gd name="connsiteX2" fmla="*/ 26299 w 26316"/>
                    <a:gd name="connsiteY2" fmla="*/ 12598 h 26441"/>
                    <a:gd name="connsiteX3" fmla="*/ 13718 w 26316"/>
                    <a:gd name="connsiteY3" fmla="*/ 26424 h 26441"/>
                    <a:gd name="connsiteX4" fmla="*/ 17 w 26316"/>
                    <a:gd name="connsiteY4" fmla="*/ 13843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41">
                      <a:moveTo>
                        <a:pt x="17" y="13843"/>
                      </a:moveTo>
                      <a:cubicBezTo>
                        <a:pt x="-357" y="6495"/>
                        <a:pt x="5373" y="267"/>
                        <a:pt x="12598" y="18"/>
                      </a:cubicBezTo>
                      <a:cubicBezTo>
                        <a:pt x="19822" y="-356"/>
                        <a:pt x="26050" y="5249"/>
                        <a:pt x="26299" y="12598"/>
                      </a:cubicBezTo>
                      <a:cubicBezTo>
                        <a:pt x="26673" y="19947"/>
                        <a:pt x="20943" y="26174"/>
                        <a:pt x="13718" y="26424"/>
                      </a:cubicBezTo>
                      <a:cubicBezTo>
                        <a:pt x="6495" y="26797"/>
                        <a:pt x="391" y="21192"/>
                        <a:pt x="17"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4" name="Graphic 2987">
                <a:extLst>
                  <a:ext uri="{FF2B5EF4-FFF2-40B4-BE49-F238E27FC236}">
                    <a16:creationId xmlns:a16="http://schemas.microsoft.com/office/drawing/2014/main" id="{65F1021F-8E12-480F-6692-1B599CC1E186}"/>
                  </a:ext>
                </a:extLst>
              </p:cNvPr>
              <p:cNvGrpSpPr/>
              <p:nvPr/>
            </p:nvGrpSpPr>
            <p:grpSpPr>
              <a:xfrm>
                <a:off x="7855720" y="5558826"/>
                <a:ext cx="31528" cy="148862"/>
                <a:chOff x="7855720" y="5558826"/>
                <a:chExt cx="31528" cy="148862"/>
              </a:xfrm>
              <a:grpFill/>
            </p:grpSpPr>
            <p:sp>
              <p:nvSpPr>
                <p:cNvPr id="4595" name="Freeform 4916">
                  <a:extLst>
                    <a:ext uri="{FF2B5EF4-FFF2-40B4-BE49-F238E27FC236}">
                      <a16:creationId xmlns:a16="http://schemas.microsoft.com/office/drawing/2014/main" id="{BDE8B97A-88BA-0DE2-469E-7BEA1117F6A3}"/>
                    </a:ext>
                  </a:extLst>
                </p:cNvPr>
                <p:cNvSpPr/>
                <p:nvPr/>
              </p:nvSpPr>
              <p:spPr>
                <a:xfrm>
                  <a:off x="7864006" y="5579261"/>
                  <a:ext cx="4792" cy="52189"/>
                </a:xfrm>
                <a:custGeom>
                  <a:avLst/>
                  <a:gdLst>
                    <a:gd name="connsiteX0" fmla="*/ 1686 w 4792"/>
                    <a:gd name="connsiteY0" fmla="*/ 0 h 52189"/>
                    <a:gd name="connsiteX1" fmla="*/ 440 w 4792"/>
                    <a:gd name="connsiteY1" fmla="*/ 18808 h 52189"/>
                    <a:gd name="connsiteX2" fmla="*/ 4550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4"/>
                        <a:pt x="3803" y="28648"/>
                        <a:pt x="4550" y="35748"/>
                      </a:cubicBezTo>
                      <a:cubicBezTo>
                        <a:pt x="5298" y="42599"/>
                        <a:pt x="4177" y="48453"/>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6" name="Freeform 4917">
                  <a:extLst>
                    <a:ext uri="{FF2B5EF4-FFF2-40B4-BE49-F238E27FC236}">
                      <a16:creationId xmlns:a16="http://schemas.microsoft.com/office/drawing/2014/main" id="{9A091856-361F-5B0F-F4F6-16B7093A0B9F}"/>
                    </a:ext>
                  </a:extLst>
                </p:cNvPr>
                <p:cNvSpPr/>
                <p:nvPr/>
              </p:nvSpPr>
              <p:spPr>
                <a:xfrm>
                  <a:off x="7872532" y="5573906"/>
                  <a:ext cx="2900" cy="52065"/>
                </a:xfrm>
                <a:custGeom>
                  <a:avLst/>
                  <a:gdLst>
                    <a:gd name="connsiteX0" fmla="*/ 2875 w 2900"/>
                    <a:gd name="connsiteY0" fmla="*/ 52065 h 52065"/>
                    <a:gd name="connsiteX1" fmla="*/ 135 w 2900"/>
                    <a:gd name="connsiteY1" fmla="*/ 33506 h 52065"/>
                    <a:gd name="connsiteX2" fmla="*/ 2875 w 2900"/>
                    <a:gd name="connsiteY2" fmla="*/ 16317 h 52065"/>
                    <a:gd name="connsiteX3" fmla="*/ 10 w 2900"/>
                    <a:gd name="connsiteY3" fmla="*/ 0 h 52065"/>
                  </a:gdLst>
                  <a:ahLst/>
                  <a:cxnLst>
                    <a:cxn ang="0">
                      <a:pos x="connsiteX0" y="connsiteY0"/>
                    </a:cxn>
                    <a:cxn ang="0">
                      <a:pos x="connsiteX1" y="connsiteY1"/>
                    </a:cxn>
                    <a:cxn ang="0">
                      <a:pos x="connsiteX2" y="connsiteY2"/>
                    </a:cxn>
                    <a:cxn ang="0">
                      <a:pos x="connsiteX3" y="connsiteY3"/>
                    </a:cxn>
                  </a:cxnLst>
                  <a:rect l="l" t="t" r="r" b="b"/>
                  <a:pathLst>
                    <a:path w="2900" h="52065">
                      <a:moveTo>
                        <a:pt x="2875" y="52065"/>
                      </a:moveTo>
                      <a:cubicBezTo>
                        <a:pt x="10" y="44093"/>
                        <a:pt x="-238" y="37741"/>
                        <a:pt x="135" y="33506"/>
                      </a:cubicBezTo>
                      <a:cubicBezTo>
                        <a:pt x="634" y="26531"/>
                        <a:pt x="2626" y="23417"/>
                        <a:pt x="2875" y="16317"/>
                      </a:cubicBezTo>
                      <a:cubicBezTo>
                        <a:pt x="3124" y="9466"/>
                        <a:pt x="1505"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7" name="Freeform 4918">
                  <a:extLst>
                    <a:ext uri="{FF2B5EF4-FFF2-40B4-BE49-F238E27FC236}">
                      <a16:creationId xmlns:a16="http://schemas.microsoft.com/office/drawing/2014/main" id="{524FEE68-1343-B3AB-4981-5216D30DCBA8}"/>
                    </a:ext>
                  </a:extLst>
                </p:cNvPr>
                <p:cNvSpPr/>
                <p:nvPr/>
              </p:nvSpPr>
              <p:spPr>
                <a:xfrm>
                  <a:off x="7855720" y="5558826"/>
                  <a:ext cx="26546" cy="26432"/>
                </a:xfrm>
                <a:custGeom>
                  <a:avLst/>
                  <a:gdLst>
                    <a:gd name="connsiteX0" fmla="*/ 26539 w 26546"/>
                    <a:gd name="connsiteY0" fmla="*/ 12713 h 26432"/>
                    <a:gd name="connsiteX1" fmla="*/ 13834 w 26546"/>
                    <a:gd name="connsiteY1" fmla="*/ 26415 h 26432"/>
                    <a:gd name="connsiteX2" fmla="*/ 8 w 26546"/>
                    <a:gd name="connsiteY2" fmla="*/ 13834 h 26432"/>
                    <a:gd name="connsiteX3" fmla="*/ 12713 w 26546"/>
                    <a:gd name="connsiteY3" fmla="*/ 8 h 26432"/>
                    <a:gd name="connsiteX4" fmla="*/ 26539 w 26546"/>
                    <a:gd name="connsiteY4" fmla="*/ 12713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431">
                      <a:moveTo>
                        <a:pt x="26539" y="12713"/>
                      </a:moveTo>
                      <a:cubicBezTo>
                        <a:pt x="26788" y="20062"/>
                        <a:pt x="21183" y="26165"/>
                        <a:pt x="13834" y="26415"/>
                      </a:cubicBezTo>
                      <a:cubicBezTo>
                        <a:pt x="6485" y="26788"/>
                        <a:pt x="257" y="21183"/>
                        <a:pt x="8" y="13834"/>
                      </a:cubicBezTo>
                      <a:cubicBezTo>
                        <a:pt x="-241" y="6485"/>
                        <a:pt x="5364" y="257"/>
                        <a:pt x="12713" y="8"/>
                      </a:cubicBezTo>
                      <a:cubicBezTo>
                        <a:pt x="20062" y="-241"/>
                        <a:pt x="26289" y="5364"/>
                        <a:pt x="26539" y="12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8" name="Freeform 4919">
                  <a:extLst>
                    <a:ext uri="{FF2B5EF4-FFF2-40B4-BE49-F238E27FC236}">
                      <a16:creationId xmlns:a16="http://schemas.microsoft.com/office/drawing/2014/main" id="{45CE8048-A2F3-04B9-A342-B4A57AD0ACE7}"/>
                    </a:ext>
                  </a:extLst>
                </p:cNvPr>
                <p:cNvSpPr/>
                <p:nvPr/>
              </p:nvSpPr>
              <p:spPr>
                <a:xfrm>
                  <a:off x="7874294" y="5634939"/>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9" name="Freeform 4920">
                  <a:extLst>
                    <a:ext uri="{FF2B5EF4-FFF2-40B4-BE49-F238E27FC236}">
                      <a16:creationId xmlns:a16="http://schemas.microsoft.com/office/drawing/2014/main" id="{981DF2C8-EFDB-4487-E346-B13770575036}"/>
                    </a:ext>
                  </a:extLst>
                </p:cNvPr>
                <p:cNvSpPr/>
                <p:nvPr/>
              </p:nvSpPr>
              <p:spPr>
                <a:xfrm>
                  <a:off x="7867786" y="5640419"/>
                  <a:ext cx="2899" cy="51940"/>
                </a:xfrm>
                <a:custGeom>
                  <a:avLst/>
                  <a:gdLst>
                    <a:gd name="connsiteX0" fmla="*/ 24 w 2899"/>
                    <a:gd name="connsiteY0" fmla="*/ 0 h 51940"/>
                    <a:gd name="connsiteX1" fmla="*/ 2765 w 2899"/>
                    <a:gd name="connsiteY1" fmla="*/ 18559 h 51940"/>
                    <a:gd name="connsiteX2" fmla="*/ 24 w 2899"/>
                    <a:gd name="connsiteY2" fmla="*/ 35748 h 51940"/>
                    <a:gd name="connsiteX3" fmla="*/ 2889 w 289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2899" h="51940">
                      <a:moveTo>
                        <a:pt x="24" y="0"/>
                      </a:moveTo>
                      <a:cubicBezTo>
                        <a:pt x="2889" y="7971"/>
                        <a:pt x="3138" y="14199"/>
                        <a:pt x="2765" y="18559"/>
                      </a:cubicBezTo>
                      <a:cubicBezTo>
                        <a:pt x="2267" y="25534"/>
                        <a:pt x="273" y="28648"/>
                        <a:pt x="24" y="35748"/>
                      </a:cubicBezTo>
                      <a:cubicBezTo>
                        <a:pt x="-225" y="42599"/>
                        <a:pt x="1519" y="48328"/>
                        <a:pt x="2889"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0" name="Freeform 4921">
                  <a:extLst>
                    <a:ext uri="{FF2B5EF4-FFF2-40B4-BE49-F238E27FC236}">
                      <a16:creationId xmlns:a16="http://schemas.microsoft.com/office/drawing/2014/main" id="{4836DA61-E80E-346C-6FA7-FCC4B5A5100F}"/>
                    </a:ext>
                  </a:extLst>
                </p:cNvPr>
                <p:cNvSpPr/>
                <p:nvPr/>
              </p:nvSpPr>
              <p:spPr>
                <a:xfrm>
                  <a:off x="7860942" y="5681142"/>
                  <a:ext cx="26306" cy="26546"/>
                </a:xfrm>
                <a:custGeom>
                  <a:avLst/>
                  <a:gdLst>
                    <a:gd name="connsiteX0" fmla="*/ 17 w 26306"/>
                    <a:gd name="connsiteY0" fmla="*/ 13834 h 26546"/>
                    <a:gd name="connsiteX1" fmla="*/ 12598 w 26306"/>
                    <a:gd name="connsiteY1" fmla="*/ 8 h 26546"/>
                    <a:gd name="connsiteX2" fmla="*/ 26299 w 26306"/>
                    <a:gd name="connsiteY2" fmla="*/ 12837 h 26546"/>
                    <a:gd name="connsiteX3" fmla="*/ 13719 w 26306"/>
                    <a:gd name="connsiteY3" fmla="*/ 26539 h 26546"/>
                    <a:gd name="connsiteX4" fmla="*/ 17 w 26306"/>
                    <a:gd name="connsiteY4" fmla="*/ 13834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17" y="13834"/>
                      </a:moveTo>
                      <a:cubicBezTo>
                        <a:pt x="-356" y="6485"/>
                        <a:pt x="5373" y="257"/>
                        <a:pt x="12598" y="8"/>
                      </a:cubicBezTo>
                      <a:cubicBezTo>
                        <a:pt x="19822" y="-241"/>
                        <a:pt x="26050" y="5488"/>
                        <a:pt x="26299" y="12837"/>
                      </a:cubicBezTo>
                      <a:cubicBezTo>
                        <a:pt x="26548" y="20186"/>
                        <a:pt x="20943" y="26290"/>
                        <a:pt x="13719" y="26539"/>
                      </a:cubicBezTo>
                      <a:cubicBezTo>
                        <a:pt x="6495" y="26788"/>
                        <a:pt x="391" y="21183"/>
                        <a:pt x="17"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5" name="Graphic 2987">
                <a:extLst>
                  <a:ext uri="{FF2B5EF4-FFF2-40B4-BE49-F238E27FC236}">
                    <a16:creationId xmlns:a16="http://schemas.microsoft.com/office/drawing/2014/main" id="{FDFB093A-E1BD-1A02-5E50-417A2738BBBF}"/>
                  </a:ext>
                </a:extLst>
              </p:cNvPr>
              <p:cNvGrpSpPr/>
              <p:nvPr/>
            </p:nvGrpSpPr>
            <p:grpSpPr>
              <a:xfrm>
                <a:off x="7885365" y="5557705"/>
                <a:ext cx="31404" cy="148862"/>
                <a:chOff x="7885365" y="5557705"/>
                <a:chExt cx="31404" cy="148862"/>
              </a:xfrm>
              <a:grpFill/>
            </p:grpSpPr>
            <p:sp>
              <p:nvSpPr>
                <p:cNvPr id="4589" name="Freeform 4923">
                  <a:extLst>
                    <a:ext uri="{FF2B5EF4-FFF2-40B4-BE49-F238E27FC236}">
                      <a16:creationId xmlns:a16="http://schemas.microsoft.com/office/drawing/2014/main" id="{FC698D14-69E3-012A-1FA5-782A08940E5B}"/>
                    </a:ext>
                  </a:extLst>
                </p:cNvPr>
                <p:cNvSpPr/>
                <p:nvPr/>
              </p:nvSpPr>
              <p:spPr>
                <a:xfrm>
                  <a:off x="7893651" y="5578140"/>
                  <a:ext cx="4792" cy="52189"/>
                </a:xfrm>
                <a:custGeom>
                  <a:avLst/>
                  <a:gdLst>
                    <a:gd name="connsiteX0" fmla="*/ 1686 w 4792"/>
                    <a:gd name="connsiteY0" fmla="*/ 0 h 52189"/>
                    <a:gd name="connsiteX1" fmla="*/ 441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1" y="8096"/>
                        <a:pt x="-183" y="14449"/>
                        <a:pt x="441" y="18808"/>
                      </a:cubicBezTo>
                      <a:cubicBezTo>
                        <a:pt x="1437" y="25784"/>
                        <a:pt x="3803"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0" name="Freeform 4924">
                  <a:extLst>
                    <a:ext uri="{FF2B5EF4-FFF2-40B4-BE49-F238E27FC236}">
                      <a16:creationId xmlns:a16="http://schemas.microsoft.com/office/drawing/2014/main" id="{0AA293D9-8F9B-E807-D995-0AB5884EA398}"/>
                    </a:ext>
                  </a:extLst>
                </p:cNvPr>
                <p:cNvSpPr/>
                <p:nvPr/>
              </p:nvSpPr>
              <p:spPr>
                <a:xfrm>
                  <a:off x="7902113" y="5572909"/>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4"/>
                        <a:pt x="-174" y="37741"/>
                        <a:pt x="74" y="33506"/>
                      </a:cubicBezTo>
                      <a:cubicBezTo>
                        <a:pt x="573" y="26531"/>
                        <a:pt x="2566" y="23417"/>
                        <a:pt x="2815" y="16317"/>
                      </a:cubicBezTo>
                      <a:cubicBezTo>
                        <a:pt x="3064" y="9467"/>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1" name="Freeform 4925">
                  <a:extLst>
                    <a:ext uri="{FF2B5EF4-FFF2-40B4-BE49-F238E27FC236}">
                      <a16:creationId xmlns:a16="http://schemas.microsoft.com/office/drawing/2014/main" id="{05FCC8AE-1428-7C39-180D-A01866956634}"/>
                    </a:ext>
                  </a:extLst>
                </p:cNvPr>
                <p:cNvSpPr/>
                <p:nvPr/>
              </p:nvSpPr>
              <p:spPr>
                <a:xfrm>
                  <a:off x="7885365" y="5557705"/>
                  <a:ext cx="26671" cy="26546"/>
                </a:xfrm>
                <a:custGeom>
                  <a:avLst/>
                  <a:gdLst>
                    <a:gd name="connsiteX0" fmla="*/ 26663 w 26671"/>
                    <a:gd name="connsiteY0" fmla="*/ 12837 h 26546"/>
                    <a:gd name="connsiteX1" fmla="*/ 13834 w 26671"/>
                    <a:gd name="connsiteY1" fmla="*/ 26539 h 26546"/>
                    <a:gd name="connsiteX2" fmla="*/ 8 w 26671"/>
                    <a:gd name="connsiteY2" fmla="*/ 13709 h 26546"/>
                    <a:gd name="connsiteX3" fmla="*/ 12837 w 26671"/>
                    <a:gd name="connsiteY3" fmla="*/ 8 h 26546"/>
                    <a:gd name="connsiteX4" fmla="*/ 26663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2837"/>
                      </a:moveTo>
                      <a:cubicBezTo>
                        <a:pt x="26912" y="20186"/>
                        <a:pt x="21183" y="26290"/>
                        <a:pt x="13834" y="26539"/>
                      </a:cubicBezTo>
                      <a:cubicBezTo>
                        <a:pt x="6485" y="26788"/>
                        <a:pt x="257"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2" name="Freeform 4926">
                  <a:extLst>
                    <a:ext uri="{FF2B5EF4-FFF2-40B4-BE49-F238E27FC236}">
                      <a16:creationId xmlns:a16="http://schemas.microsoft.com/office/drawing/2014/main" id="{CCF20ADE-E018-EE49-70A6-75423C04E4BB}"/>
                    </a:ext>
                  </a:extLst>
                </p:cNvPr>
                <p:cNvSpPr/>
                <p:nvPr/>
              </p:nvSpPr>
              <p:spPr>
                <a:xfrm>
                  <a:off x="7903814" y="5633942"/>
                  <a:ext cx="4792" cy="52189"/>
                </a:xfrm>
                <a:custGeom>
                  <a:avLst/>
                  <a:gdLst>
                    <a:gd name="connsiteX0" fmla="*/ 3107 w 4792"/>
                    <a:gd name="connsiteY0" fmla="*/ 52190 h 52189"/>
                    <a:gd name="connsiteX1" fmla="*/ 4353 w 4792"/>
                    <a:gd name="connsiteY1" fmla="*/ 33382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2"/>
                      </a:cubicBezTo>
                      <a:cubicBezTo>
                        <a:pt x="3356" y="26407"/>
                        <a:pt x="1114" y="23542"/>
                        <a:pt x="242" y="16442"/>
                      </a:cubicBezTo>
                      <a:cubicBezTo>
                        <a:pt x="-505" y="9591"/>
                        <a:pt x="615" y="3862"/>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3" name="Freeform 4927">
                  <a:extLst>
                    <a:ext uri="{FF2B5EF4-FFF2-40B4-BE49-F238E27FC236}">
                      <a16:creationId xmlns:a16="http://schemas.microsoft.com/office/drawing/2014/main" id="{D5CDD9FC-F82D-A338-2791-FE4CBCDD393E}"/>
                    </a:ext>
                  </a:extLst>
                </p:cNvPr>
                <p:cNvSpPr/>
                <p:nvPr/>
              </p:nvSpPr>
              <p:spPr>
                <a:xfrm>
                  <a:off x="7897305" y="563929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1"/>
                        <a:pt x="3015" y="14324"/>
                        <a:pt x="2766" y="18559"/>
                      </a:cubicBezTo>
                      <a:cubicBezTo>
                        <a:pt x="2268" y="25534"/>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4" name="Freeform 4928">
                  <a:extLst>
                    <a:ext uri="{FF2B5EF4-FFF2-40B4-BE49-F238E27FC236}">
                      <a16:creationId xmlns:a16="http://schemas.microsoft.com/office/drawing/2014/main" id="{917A161C-BD12-4A4D-AF54-EBE332C0E9EB}"/>
                    </a:ext>
                  </a:extLst>
                </p:cNvPr>
                <p:cNvSpPr/>
                <p:nvPr/>
              </p:nvSpPr>
              <p:spPr>
                <a:xfrm>
                  <a:off x="7890346" y="5680021"/>
                  <a:ext cx="26422" cy="26546"/>
                </a:xfrm>
                <a:custGeom>
                  <a:avLst/>
                  <a:gdLst>
                    <a:gd name="connsiteX0" fmla="*/ 8 w 26422"/>
                    <a:gd name="connsiteY0" fmla="*/ 13709 h 26546"/>
                    <a:gd name="connsiteX1" fmla="*/ 12713 w 26422"/>
                    <a:gd name="connsiteY1" fmla="*/ 8 h 26546"/>
                    <a:gd name="connsiteX2" fmla="*/ 26415 w 26422"/>
                    <a:gd name="connsiteY2" fmla="*/ 12837 h 26546"/>
                    <a:gd name="connsiteX3" fmla="*/ 13710 w 26422"/>
                    <a:gd name="connsiteY3" fmla="*/ 26539 h 26546"/>
                    <a:gd name="connsiteX4" fmla="*/ 8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3709"/>
                      </a:moveTo>
                      <a:cubicBezTo>
                        <a:pt x="-241" y="6360"/>
                        <a:pt x="5365" y="257"/>
                        <a:pt x="12713" y="8"/>
                      </a:cubicBezTo>
                      <a:cubicBezTo>
                        <a:pt x="19938" y="-241"/>
                        <a:pt x="26166" y="5488"/>
                        <a:pt x="26415" y="12837"/>
                      </a:cubicBezTo>
                      <a:cubicBezTo>
                        <a:pt x="26663" y="20186"/>
                        <a:pt x="21058" y="26290"/>
                        <a:pt x="13710"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6" name="Graphic 2987">
                <a:extLst>
                  <a:ext uri="{FF2B5EF4-FFF2-40B4-BE49-F238E27FC236}">
                    <a16:creationId xmlns:a16="http://schemas.microsoft.com/office/drawing/2014/main" id="{F3E0FAB3-6BDE-D4A0-42C3-FCDAEFD51FB8}"/>
                  </a:ext>
                </a:extLst>
              </p:cNvPr>
              <p:cNvGrpSpPr/>
              <p:nvPr/>
            </p:nvGrpSpPr>
            <p:grpSpPr>
              <a:xfrm>
                <a:off x="7915134" y="5556709"/>
                <a:ext cx="31039" cy="148861"/>
                <a:chOff x="7915134" y="5556709"/>
                <a:chExt cx="31039" cy="148861"/>
              </a:xfrm>
              <a:grpFill/>
            </p:grpSpPr>
            <p:sp>
              <p:nvSpPr>
                <p:cNvPr id="4583" name="Freeform 4930">
                  <a:extLst>
                    <a:ext uri="{FF2B5EF4-FFF2-40B4-BE49-F238E27FC236}">
                      <a16:creationId xmlns:a16="http://schemas.microsoft.com/office/drawing/2014/main" id="{3184EE5B-FECD-D735-1469-A93138560590}"/>
                    </a:ext>
                  </a:extLst>
                </p:cNvPr>
                <p:cNvSpPr/>
                <p:nvPr/>
              </p:nvSpPr>
              <p:spPr>
                <a:xfrm>
                  <a:off x="7923330" y="5577144"/>
                  <a:ext cx="4869" cy="52189"/>
                </a:xfrm>
                <a:custGeom>
                  <a:avLst/>
                  <a:gdLst>
                    <a:gd name="connsiteX0" fmla="*/ 1776 w 4869"/>
                    <a:gd name="connsiteY0" fmla="*/ 0 h 52189"/>
                    <a:gd name="connsiteX1" fmla="*/ 530 w 4869"/>
                    <a:gd name="connsiteY1" fmla="*/ 18808 h 52189"/>
                    <a:gd name="connsiteX2" fmla="*/ 4641 w 4869"/>
                    <a:gd name="connsiteY2" fmla="*/ 35748 h 52189"/>
                    <a:gd name="connsiteX3" fmla="*/ 3146 w 48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69" h="52189">
                      <a:moveTo>
                        <a:pt x="1776" y="0"/>
                      </a:moveTo>
                      <a:cubicBezTo>
                        <a:pt x="-465" y="8097"/>
                        <a:pt x="-217" y="14449"/>
                        <a:pt x="530" y="18808"/>
                      </a:cubicBezTo>
                      <a:cubicBezTo>
                        <a:pt x="1527" y="25784"/>
                        <a:pt x="3769" y="28648"/>
                        <a:pt x="4641" y="35748"/>
                      </a:cubicBezTo>
                      <a:cubicBezTo>
                        <a:pt x="5388" y="42599"/>
                        <a:pt x="4143" y="48328"/>
                        <a:pt x="31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4" name="Freeform 4931">
                  <a:extLst>
                    <a:ext uri="{FF2B5EF4-FFF2-40B4-BE49-F238E27FC236}">
                      <a16:creationId xmlns:a16="http://schemas.microsoft.com/office/drawing/2014/main" id="{012F6367-6EB1-B2D3-1E05-01B6E3BC5CE3}"/>
                    </a:ext>
                  </a:extLst>
                </p:cNvPr>
                <p:cNvSpPr/>
                <p:nvPr/>
              </p:nvSpPr>
              <p:spPr>
                <a:xfrm>
                  <a:off x="7931821" y="5571913"/>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4"/>
                        <a:pt x="-237" y="37741"/>
                        <a:pt x="136" y="33506"/>
                      </a:cubicBezTo>
                      <a:cubicBezTo>
                        <a:pt x="634" y="26531"/>
                        <a:pt x="2628" y="23417"/>
                        <a:pt x="2877" y="16317"/>
                      </a:cubicBezTo>
                      <a:cubicBezTo>
                        <a:pt x="3125" y="9467"/>
                        <a:pt x="1506"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5" name="Freeform 4932">
                  <a:extLst>
                    <a:ext uri="{FF2B5EF4-FFF2-40B4-BE49-F238E27FC236}">
                      <a16:creationId xmlns:a16="http://schemas.microsoft.com/office/drawing/2014/main" id="{971C45AD-A30F-B9C6-B852-EA945CEB8142}"/>
                    </a:ext>
                  </a:extLst>
                </p:cNvPr>
                <p:cNvSpPr/>
                <p:nvPr/>
              </p:nvSpPr>
              <p:spPr>
                <a:xfrm>
                  <a:off x="7915134" y="5556709"/>
                  <a:ext cx="26670" cy="26546"/>
                </a:xfrm>
                <a:custGeom>
                  <a:avLst/>
                  <a:gdLst>
                    <a:gd name="connsiteX0" fmla="*/ 26663 w 26670"/>
                    <a:gd name="connsiteY0" fmla="*/ 12837 h 26546"/>
                    <a:gd name="connsiteX1" fmla="*/ 13834 w 26670"/>
                    <a:gd name="connsiteY1" fmla="*/ 26539 h 26546"/>
                    <a:gd name="connsiteX2" fmla="*/ 8 w 26670"/>
                    <a:gd name="connsiteY2" fmla="*/ 13709 h 26546"/>
                    <a:gd name="connsiteX3" fmla="*/ 12837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2" y="20186"/>
                        <a:pt x="21182" y="26289"/>
                        <a:pt x="13834" y="26539"/>
                      </a:cubicBezTo>
                      <a:cubicBezTo>
                        <a:pt x="6484" y="26788"/>
                        <a:pt x="381"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6" name="Freeform 4933">
                  <a:extLst>
                    <a:ext uri="{FF2B5EF4-FFF2-40B4-BE49-F238E27FC236}">
                      <a16:creationId xmlns:a16="http://schemas.microsoft.com/office/drawing/2014/main" id="{0657F68E-0EF3-4A17-3337-48108E5EDABB}"/>
                    </a:ext>
                  </a:extLst>
                </p:cNvPr>
                <p:cNvSpPr/>
                <p:nvPr/>
              </p:nvSpPr>
              <p:spPr>
                <a:xfrm>
                  <a:off x="7933348" y="5632946"/>
                  <a:ext cx="4654" cy="52189"/>
                </a:xfrm>
                <a:custGeom>
                  <a:avLst/>
                  <a:gdLst>
                    <a:gd name="connsiteX0" fmla="*/ 2968 w 4654"/>
                    <a:gd name="connsiteY0" fmla="*/ 52190 h 52189"/>
                    <a:gd name="connsiteX1" fmla="*/ 4214 w 4654"/>
                    <a:gd name="connsiteY1" fmla="*/ 33381 h 52189"/>
                    <a:gd name="connsiteX2" fmla="*/ 228 w 4654"/>
                    <a:gd name="connsiteY2" fmla="*/ 16442 h 52189"/>
                    <a:gd name="connsiteX3" fmla="*/ 1723 w 4654"/>
                    <a:gd name="connsiteY3" fmla="*/ 0 h 52189"/>
                  </a:gdLst>
                  <a:ahLst/>
                  <a:cxnLst>
                    <a:cxn ang="0">
                      <a:pos x="connsiteX0" y="connsiteY0"/>
                    </a:cxn>
                    <a:cxn ang="0">
                      <a:pos x="connsiteX1" y="connsiteY1"/>
                    </a:cxn>
                    <a:cxn ang="0">
                      <a:pos x="connsiteX2" y="connsiteY2"/>
                    </a:cxn>
                    <a:cxn ang="0">
                      <a:pos x="connsiteX3" y="connsiteY3"/>
                    </a:cxn>
                  </a:cxnLst>
                  <a:rect l="l" t="t" r="r" b="b"/>
                  <a:pathLst>
                    <a:path w="4654" h="52189">
                      <a:moveTo>
                        <a:pt x="2968" y="52190"/>
                      </a:moveTo>
                      <a:cubicBezTo>
                        <a:pt x="5086" y="44094"/>
                        <a:pt x="4837" y="37741"/>
                        <a:pt x="4214" y="33381"/>
                      </a:cubicBezTo>
                      <a:cubicBezTo>
                        <a:pt x="3217" y="26406"/>
                        <a:pt x="975" y="23542"/>
                        <a:pt x="228" y="16442"/>
                      </a:cubicBezTo>
                      <a:cubicBezTo>
                        <a:pt x="-519" y="9591"/>
                        <a:pt x="726" y="3861"/>
                        <a:pt x="1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7" name="Freeform 4934">
                  <a:extLst>
                    <a:ext uri="{FF2B5EF4-FFF2-40B4-BE49-F238E27FC236}">
                      <a16:creationId xmlns:a16="http://schemas.microsoft.com/office/drawing/2014/main" id="{4C1A8705-8496-ECDD-D73B-8C46E09CEE80}"/>
                    </a:ext>
                  </a:extLst>
                </p:cNvPr>
                <p:cNvSpPr/>
                <p:nvPr/>
              </p:nvSpPr>
              <p:spPr>
                <a:xfrm>
                  <a:off x="7926700" y="5638302"/>
                  <a:ext cx="2902" cy="52065"/>
                </a:xfrm>
                <a:custGeom>
                  <a:avLst/>
                  <a:gdLst>
                    <a:gd name="connsiteX0" fmla="*/ 150 w 2902"/>
                    <a:gd name="connsiteY0" fmla="*/ 0 h 52065"/>
                    <a:gd name="connsiteX1" fmla="*/ 2766 w 2902"/>
                    <a:gd name="connsiteY1" fmla="*/ 18559 h 52065"/>
                    <a:gd name="connsiteX2" fmla="*/ 26 w 2902"/>
                    <a:gd name="connsiteY2" fmla="*/ 35748 h 52065"/>
                    <a:gd name="connsiteX3" fmla="*/ 276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150" y="0"/>
                      </a:moveTo>
                      <a:cubicBezTo>
                        <a:pt x="2890" y="7972"/>
                        <a:pt x="3140" y="14324"/>
                        <a:pt x="2766" y="18559"/>
                      </a:cubicBezTo>
                      <a:cubicBezTo>
                        <a:pt x="2268" y="25535"/>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8" name="Freeform 4935">
                  <a:extLst>
                    <a:ext uri="{FF2B5EF4-FFF2-40B4-BE49-F238E27FC236}">
                      <a16:creationId xmlns:a16="http://schemas.microsoft.com/office/drawing/2014/main" id="{7437DB7E-284A-D6EE-4751-F2CEE477978B}"/>
                    </a:ext>
                  </a:extLst>
                </p:cNvPr>
                <p:cNvSpPr/>
                <p:nvPr/>
              </p:nvSpPr>
              <p:spPr>
                <a:xfrm>
                  <a:off x="7919742" y="5679024"/>
                  <a:ext cx="26431" cy="26546"/>
                </a:xfrm>
                <a:custGeom>
                  <a:avLst/>
                  <a:gdLst>
                    <a:gd name="connsiteX0" fmla="*/ 8 w 26431"/>
                    <a:gd name="connsiteY0" fmla="*/ 13709 h 26546"/>
                    <a:gd name="connsiteX1" fmla="*/ 12712 w 26431"/>
                    <a:gd name="connsiteY1" fmla="*/ 8 h 26546"/>
                    <a:gd name="connsiteX2" fmla="*/ 26414 w 26431"/>
                    <a:gd name="connsiteY2" fmla="*/ 12837 h 26546"/>
                    <a:gd name="connsiteX3" fmla="*/ 13709 w 26431"/>
                    <a:gd name="connsiteY3" fmla="*/ 26538 h 26546"/>
                    <a:gd name="connsiteX4" fmla="*/ 8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8" y="13709"/>
                      </a:moveTo>
                      <a:cubicBezTo>
                        <a:pt x="-241" y="6360"/>
                        <a:pt x="5364" y="257"/>
                        <a:pt x="12712" y="8"/>
                      </a:cubicBezTo>
                      <a:cubicBezTo>
                        <a:pt x="19937" y="-242"/>
                        <a:pt x="26040" y="5488"/>
                        <a:pt x="26414" y="12837"/>
                      </a:cubicBezTo>
                      <a:cubicBezTo>
                        <a:pt x="26787" y="20186"/>
                        <a:pt x="21058" y="26289"/>
                        <a:pt x="13709" y="26538"/>
                      </a:cubicBezTo>
                      <a:cubicBezTo>
                        <a:pt x="6484"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7" name="Graphic 2987">
                <a:extLst>
                  <a:ext uri="{FF2B5EF4-FFF2-40B4-BE49-F238E27FC236}">
                    <a16:creationId xmlns:a16="http://schemas.microsoft.com/office/drawing/2014/main" id="{E8D08EFB-F511-0AEA-B4FA-CE784EF01F99}"/>
                  </a:ext>
                </a:extLst>
              </p:cNvPr>
              <p:cNvGrpSpPr/>
              <p:nvPr/>
            </p:nvGrpSpPr>
            <p:grpSpPr>
              <a:xfrm>
                <a:off x="7944903" y="5555594"/>
                <a:ext cx="30532" cy="148980"/>
                <a:chOff x="7944903" y="5555594"/>
                <a:chExt cx="30532" cy="148980"/>
              </a:xfrm>
              <a:grpFill/>
            </p:grpSpPr>
            <p:sp>
              <p:nvSpPr>
                <p:cNvPr id="4577" name="Freeform 4937">
                  <a:extLst>
                    <a:ext uri="{FF2B5EF4-FFF2-40B4-BE49-F238E27FC236}">
                      <a16:creationId xmlns:a16="http://schemas.microsoft.com/office/drawing/2014/main" id="{AF3F6161-9F62-9818-C43D-41B77C897AF9}"/>
                    </a:ext>
                  </a:extLst>
                </p:cNvPr>
                <p:cNvSpPr/>
                <p:nvPr/>
              </p:nvSpPr>
              <p:spPr>
                <a:xfrm>
                  <a:off x="7952948" y="5576148"/>
                  <a:ext cx="4644" cy="52189"/>
                </a:xfrm>
                <a:custGeom>
                  <a:avLst/>
                  <a:gdLst>
                    <a:gd name="connsiteX0" fmla="*/ 1803 w 4644"/>
                    <a:gd name="connsiteY0" fmla="*/ 0 h 52189"/>
                    <a:gd name="connsiteX1" fmla="*/ 433 w 4644"/>
                    <a:gd name="connsiteY1" fmla="*/ 18808 h 52189"/>
                    <a:gd name="connsiteX2" fmla="*/ 4418 w 4644"/>
                    <a:gd name="connsiteY2" fmla="*/ 35748 h 52189"/>
                    <a:gd name="connsiteX3" fmla="*/ 2799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1803" y="0"/>
                      </a:moveTo>
                      <a:cubicBezTo>
                        <a:pt x="-439" y="8096"/>
                        <a:pt x="-190" y="14449"/>
                        <a:pt x="433" y="18808"/>
                      </a:cubicBezTo>
                      <a:cubicBezTo>
                        <a:pt x="1429" y="25784"/>
                        <a:pt x="3671" y="28648"/>
                        <a:pt x="4418" y="35748"/>
                      </a:cubicBezTo>
                      <a:cubicBezTo>
                        <a:pt x="5165"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8" name="Freeform 4938">
                  <a:extLst>
                    <a:ext uri="{FF2B5EF4-FFF2-40B4-BE49-F238E27FC236}">
                      <a16:creationId xmlns:a16="http://schemas.microsoft.com/office/drawing/2014/main" id="{FB96671B-35CF-0AD5-F38F-194B95CFD21D}"/>
                    </a:ext>
                  </a:extLst>
                </p:cNvPr>
                <p:cNvSpPr/>
                <p:nvPr/>
              </p:nvSpPr>
              <p:spPr>
                <a:xfrm>
                  <a:off x="7961341" y="557091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4"/>
                        <a:pt x="-237" y="37741"/>
                        <a:pt x="136" y="33506"/>
                      </a:cubicBezTo>
                      <a:cubicBezTo>
                        <a:pt x="634" y="26531"/>
                        <a:pt x="2752" y="23417"/>
                        <a:pt x="3001" y="16317"/>
                      </a:cubicBezTo>
                      <a:cubicBezTo>
                        <a:pt x="3250" y="9467"/>
                        <a:pt x="1631"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9" name="Freeform 4939">
                  <a:extLst>
                    <a:ext uri="{FF2B5EF4-FFF2-40B4-BE49-F238E27FC236}">
                      <a16:creationId xmlns:a16="http://schemas.microsoft.com/office/drawing/2014/main" id="{B7013333-BA3B-2530-0B12-1F651BCAEF2E}"/>
                    </a:ext>
                  </a:extLst>
                </p:cNvPr>
                <p:cNvSpPr/>
                <p:nvPr/>
              </p:nvSpPr>
              <p:spPr>
                <a:xfrm>
                  <a:off x="7944903" y="5555594"/>
                  <a:ext cx="26546" cy="26540"/>
                </a:xfrm>
                <a:custGeom>
                  <a:avLst/>
                  <a:gdLst>
                    <a:gd name="connsiteX0" fmla="*/ 26539 w 26546"/>
                    <a:gd name="connsiteY0" fmla="*/ 12831 h 26540"/>
                    <a:gd name="connsiteX1" fmla="*/ 13710 w 26546"/>
                    <a:gd name="connsiteY1" fmla="*/ 26533 h 26540"/>
                    <a:gd name="connsiteX2" fmla="*/ 8 w 26546"/>
                    <a:gd name="connsiteY2" fmla="*/ 13703 h 26540"/>
                    <a:gd name="connsiteX3" fmla="*/ 12838 w 26546"/>
                    <a:gd name="connsiteY3" fmla="*/ 2 h 26540"/>
                    <a:gd name="connsiteX4" fmla="*/ 26539 w 26546"/>
                    <a:gd name="connsiteY4" fmla="*/ 1283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0">
                      <a:moveTo>
                        <a:pt x="26539" y="12831"/>
                      </a:moveTo>
                      <a:cubicBezTo>
                        <a:pt x="26788" y="20180"/>
                        <a:pt x="21058" y="26284"/>
                        <a:pt x="13710" y="26533"/>
                      </a:cubicBezTo>
                      <a:cubicBezTo>
                        <a:pt x="6360" y="26782"/>
                        <a:pt x="257" y="21052"/>
                        <a:pt x="8" y="13703"/>
                      </a:cubicBezTo>
                      <a:cubicBezTo>
                        <a:pt x="-241" y="6354"/>
                        <a:pt x="5488" y="251"/>
                        <a:pt x="12838" y="2"/>
                      </a:cubicBezTo>
                      <a:cubicBezTo>
                        <a:pt x="20186" y="-123"/>
                        <a:pt x="26290" y="5483"/>
                        <a:pt x="26539" y="128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0" name="Freeform 4940">
                  <a:extLst>
                    <a:ext uri="{FF2B5EF4-FFF2-40B4-BE49-F238E27FC236}">
                      <a16:creationId xmlns:a16="http://schemas.microsoft.com/office/drawing/2014/main" id="{C34E76B3-7BAC-67F3-2764-AEAB59FF0D7F}"/>
                    </a:ext>
                  </a:extLst>
                </p:cNvPr>
                <p:cNvSpPr/>
                <p:nvPr/>
              </p:nvSpPr>
              <p:spPr>
                <a:xfrm>
                  <a:off x="7962870" y="5631825"/>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1" name="Freeform 4941">
                  <a:extLst>
                    <a:ext uri="{FF2B5EF4-FFF2-40B4-BE49-F238E27FC236}">
                      <a16:creationId xmlns:a16="http://schemas.microsoft.com/office/drawing/2014/main" id="{067FDA4A-519C-6A65-9F60-49456E7BD1DE}"/>
                    </a:ext>
                  </a:extLst>
                </p:cNvPr>
                <p:cNvSpPr/>
                <p:nvPr/>
              </p:nvSpPr>
              <p:spPr>
                <a:xfrm>
                  <a:off x="7956095" y="5637181"/>
                  <a:ext cx="3026" cy="52065"/>
                </a:xfrm>
                <a:custGeom>
                  <a:avLst/>
                  <a:gdLst>
                    <a:gd name="connsiteX0" fmla="*/ 275 w 3026"/>
                    <a:gd name="connsiteY0" fmla="*/ 0 h 52065"/>
                    <a:gd name="connsiteX1" fmla="*/ 2890 w 3026"/>
                    <a:gd name="connsiteY1" fmla="*/ 18559 h 52065"/>
                    <a:gd name="connsiteX2" fmla="*/ 26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0" y="18559"/>
                      </a:cubicBezTo>
                      <a:cubicBezTo>
                        <a:pt x="2392" y="25535"/>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2" name="Freeform 4942">
                  <a:extLst>
                    <a:ext uri="{FF2B5EF4-FFF2-40B4-BE49-F238E27FC236}">
                      <a16:creationId xmlns:a16="http://schemas.microsoft.com/office/drawing/2014/main" id="{CF30F242-E2D7-5910-BEDB-B722133620AF}"/>
                    </a:ext>
                  </a:extLst>
                </p:cNvPr>
                <p:cNvSpPr/>
                <p:nvPr/>
              </p:nvSpPr>
              <p:spPr>
                <a:xfrm>
                  <a:off x="7949138" y="5678028"/>
                  <a:ext cx="26297" cy="26546"/>
                </a:xfrm>
                <a:custGeom>
                  <a:avLst/>
                  <a:gdLst>
                    <a:gd name="connsiteX0" fmla="*/ 8 w 26297"/>
                    <a:gd name="connsiteY0" fmla="*/ 13709 h 26546"/>
                    <a:gd name="connsiteX1" fmla="*/ 12713 w 26297"/>
                    <a:gd name="connsiteY1" fmla="*/ 8 h 26546"/>
                    <a:gd name="connsiteX2" fmla="*/ 26289 w 26297"/>
                    <a:gd name="connsiteY2" fmla="*/ 12837 h 26546"/>
                    <a:gd name="connsiteX3" fmla="*/ 13585 w 26297"/>
                    <a:gd name="connsiteY3" fmla="*/ 26539 h 26546"/>
                    <a:gd name="connsiteX4" fmla="*/ 8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3709"/>
                      </a:moveTo>
                      <a:cubicBezTo>
                        <a:pt x="-242" y="6360"/>
                        <a:pt x="5488" y="257"/>
                        <a:pt x="12713" y="8"/>
                      </a:cubicBezTo>
                      <a:cubicBezTo>
                        <a:pt x="19937" y="-241"/>
                        <a:pt x="26041" y="5488"/>
                        <a:pt x="26289" y="12837"/>
                      </a:cubicBezTo>
                      <a:cubicBezTo>
                        <a:pt x="26539" y="20186"/>
                        <a:pt x="20809" y="26290"/>
                        <a:pt x="13585" y="26539"/>
                      </a:cubicBezTo>
                      <a:cubicBezTo>
                        <a:pt x="6360"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8" name="Graphic 2987">
                <a:extLst>
                  <a:ext uri="{FF2B5EF4-FFF2-40B4-BE49-F238E27FC236}">
                    <a16:creationId xmlns:a16="http://schemas.microsoft.com/office/drawing/2014/main" id="{2C2DBF08-1B4C-4850-D6C8-7C606FBAAE81}"/>
                  </a:ext>
                </a:extLst>
              </p:cNvPr>
              <p:cNvGrpSpPr/>
              <p:nvPr/>
            </p:nvGrpSpPr>
            <p:grpSpPr>
              <a:xfrm>
                <a:off x="7974672" y="5554591"/>
                <a:ext cx="30283" cy="148981"/>
                <a:chOff x="7974672" y="5554591"/>
                <a:chExt cx="30283" cy="148981"/>
              </a:xfrm>
              <a:grpFill/>
            </p:grpSpPr>
            <p:sp>
              <p:nvSpPr>
                <p:cNvPr id="4571" name="Freeform 4944">
                  <a:extLst>
                    <a:ext uri="{FF2B5EF4-FFF2-40B4-BE49-F238E27FC236}">
                      <a16:creationId xmlns:a16="http://schemas.microsoft.com/office/drawing/2014/main" id="{10817F26-AAD6-0CA6-3769-E670B6780B88}"/>
                    </a:ext>
                  </a:extLst>
                </p:cNvPr>
                <p:cNvSpPr/>
                <p:nvPr/>
              </p:nvSpPr>
              <p:spPr>
                <a:xfrm>
                  <a:off x="7982717" y="5575027"/>
                  <a:ext cx="4645" cy="52189"/>
                </a:xfrm>
                <a:custGeom>
                  <a:avLst/>
                  <a:gdLst>
                    <a:gd name="connsiteX0" fmla="*/ 1803 w 4645"/>
                    <a:gd name="connsiteY0" fmla="*/ 0 h 52189"/>
                    <a:gd name="connsiteX1" fmla="*/ 433 w 4645"/>
                    <a:gd name="connsiteY1" fmla="*/ 18808 h 52189"/>
                    <a:gd name="connsiteX2" fmla="*/ 4418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4"/>
                        <a:pt x="3671" y="28648"/>
                        <a:pt x="4418" y="35748"/>
                      </a:cubicBezTo>
                      <a:cubicBezTo>
                        <a:pt x="5166" y="42599"/>
                        <a:pt x="3921"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2" name="Freeform 4945">
                  <a:extLst>
                    <a:ext uri="{FF2B5EF4-FFF2-40B4-BE49-F238E27FC236}">
                      <a16:creationId xmlns:a16="http://schemas.microsoft.com/office/drawing/2014/main" id="{97C64500-E667-F338-9303-10724E80EDDA}"/>
                    </a:ext>
                  </a:extLst>
                </p:cNvPr>
                <p:cNvSpPr/>
                <p:nvPr/>
              </p:nvSpPr>
              <p:spPr>
                <a:xfrm>
                  <a:off x="7991035" y="5569671"/>
                  <a:ext cx="2978" cy="52189"/>
                </a:xfrm>
                <a:custGeom>
                  <a:avLst/>
                  <a:gdLst>
                    <a:gd name="connsiteX0" fmla="*/ 2703 w 2978"/>
                    <a:gd name="connsiteY0" fmla="*/ 52190 h 52189"/>
                    <a:gd name="connsiteX1" fmla="*/ 87 w 2978"/>
                    <a:gd name="connsiteY1" fmla="*/ 33506 h 52189"/>
                    <a:gd name="connsiteX2" fmla="*/ 2951 w 2978"/>
                    <a:gd name="connsiteY2" fmla="*/ 16317 h 52189"/>
                    <a:gd name="connsiteX3" fmla="*/ 336 w 2978"/>
                    <a:gd name="connsiteY3" fmla="*/ 0 h 52189"/>
                  </a:gdLst>
                  <a:ahLst/>
                  <a:cxnLst>
                    <a:cxn ang="0">
                      <a:pos x="connsiteX0" y="connsiteY0"/>
                    </a:cxn>
                    <a:cxn ang="0">
                      <a:pos x="connsiteX1" y="connsiteY1"/>
                    </a:cxn>
                    <a:cxn ang="0">
                      <a:pos x="connsiteX2" y="connsiteY2"/>
                    </a:cxn>
                    <a:cxn ang="0">
                      <a:pos x="connsiteX3" y="connsiteY3"/>
                    </a:cxn>
                  </a:cxnLst>
                  <a:rect l="l" t="t" r="r" b="b"/>
                  <a:pathLst>
                    <a:path w="2978" h="52189">
                      <a:moveTo>
                        <a:pt x="2703" y="52190"/>
                      </a:moveTo>
                      <a:cubicBezTo>
                        <a:pt x="-38" y="44218"/>
                        <a:pt x="-162" y="37865"/>
                        <a:pt x="87" y="33506"/>
                      </a:cubicBezTo>
                      <a:cubicBezTo>
                        <a:pt x="585" y="26530"/>
                        <a:pt x="2703" y="23417"/>
                        <a:pt x="2951" y="16317"/>
                      </a:cubicBezTo>
                      <a:cubicBezTo>
                        <a:pt x="3201" y="9466"/>
                        <a:pt x="1706" y="3737"/>
                        <a:pt x="3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3" name="Freeform 4946">
                  <a:extLst>
                    <a:ext uri="{FF2B5EF4-FFF2-40B4-BE49-F238E27FC236}">
                      <a16:creationId xmlns:a16="http://schemas.microsoft.com/office/drawing/2014/main" id="{AE2D2119-81CF-CADE-88AD-A806BE3A725F}"/>
                    </a:ext>
                  </a:extLst>
                </p:cNvPr>
                <p:cNvSpPr/>
                <p:nvPr/>
              </p:nvSpPr>
              <p:spPr>
                <a:xfrm>
                  <a:off x="7974672" y="5554591"/>
                  <a:ext cx="26546" cy="26546"/>
                </a:xfrm>
                <a:custGeom>
                  <a:avLst/>
                  <a:gdLst>
                    <a:gd name="connsiteX0" fmla="*/ 26539 w 26546"/>
                    <a:gd name="connsiteY0" fmla="*/ 12837 h 26546"/>
                    <a:gd name="connsiteX1" fmla="*/ 13710 w 26546"/>
                    <a:gd name="connsiteY1" fmla="*/ 26539 h 26546"/>
                    <a:gd name="connsiteX2" fmla="*/ 8 w 26546"/>
                    <a:gd name="connsiteY2" fmla="*/ 13709 h 26546"/>
                    <a:gd name="connsiteX3" fmla="*/ 12838 w 26546"/>
                    <a:gd name="connsiteY3" fmla="*/ 8 h 26546"/>
                    <a:gd name="connsiteX4" fmla="*/ 26539 w 2654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2837"/>
                      </a:moveTo>
                      <a:cubicBezTo>
                        <a:pt x="26788" y="20186"/>
                        <a:pt x="20933" y="26290"/>
                        <a:pt x="13710" y="26539"/>
                      </a:cubicBezTo>
                      <a:cubicBezTo>
                        <a:pt x="6360" y="26788"/>
                        <a:pt x="257" y="21058"/>
                        <a:pt x="8" y="13709"/>
                      </a:cubicBezTo>
                      <a:cubicBezTo>
                        <a:pt x="-242" y="6360"/>
                        <a:pt x="5488" y="257"/>
                        <a:pt x="12838" y="8"/>
                      </a:cubicBezTo>
                      <a:cubicBezTo>
                        <a:pt x="20186" y="-241"/>
                        <a:pt x="26289" y="5488"/>
                        <a:pt x="26539"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4" name="Freeform 4947">
                  <a:extLst>
                    <a:ext uri="{FF2B5EF4-FFF2-40B4-BE49-F238E27FC236}">
                      <a16:creationId xmlns:a16="http://schemas.microsoft.com/office/drawing/2014/main" id="{852304EE-EB96-83A2-0259-05F2A5BC9848}"/>
                    </a:ext>
                  </a:extLst>
                </p:cNvPr>
                <p:cNvSpPr/>
                <p:nvPr/>
              </p:nvSpPr>
              <p:spPr>
                <a:xfrm>
                  <a:off x="7992265" y="5630828"/>
                  <a:ext cx="4645" cy="52189"/>
                </a:xfrm>
                <a:custGeom>
                  <a:avLst/>
                  <a:gdLst>
                    <a:gd name="connsiteX0" fmla="*/ 2843 w 4645"/>
                    <a:gd name="connsiteY0" fmla="*/ 52190 h 52189"/>
                    <a:gd name="connsiteX1" fmla="*/ 4213 w 4645"/>
                    <a:gd name="connsiteY1" fmla="*/ 33382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2"/>
                      </a:cubicBezTo>
                      <a:cubicBezTo>
                        <a:pt x="3216" y="26407"/>
                        <a:pt x="974" y="23542"/>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5" name="Freeform 4948">
                  <a:extLst>
                    <a:ext uri="{FF2B5EF4-FFF2-40B4-BE49-F238E27FC236}">
                      <a16:creationId xmlns:a16="http://schemas.microsoft.com/office/drawing/2014/main" id="{A5A19732-801C-FE58-7E8B-4002D7E624CF}"/>
                    </a:ext>
                  </a:extLst>
                </p:cNvPr>
                <p:cNvSpPr/>
                <p:nvPr/>
              </p:nvSpPr>
              <p:spPr>
                <a:xfrm>
                  <a:off x="7985738" y="5636184"/>
                  <a:ext cx="2978" cy="52189"/>
                </a:xfrm>
                <a:custGeom>
                  <a:avLst/>
                  <a:gdLst>
                    <a:gd name="connsiteX0" fmla="*/ 277 w 2978"/>
                    <a:gd name="connsiteY0" fmla="*/ 0 h 52189"/>
                    <a:gd name="connsiteX1" fmla="*/ 2892 w 2978"/>
                    <a:gd name="connsiteY1" fmla="*/ 18684 h 52189"/>
                    <a:gd name="connsiteX2" fmla="*/ 27 w 2978"/>
                    <a:gd name="connsiteY2" fmla="*/ 35873 h 52189"/>
                    <a:gd name="connsiteX3" fmla="*/ 2643 w 29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2978" h="52189">
                      <a:moveTo>
                        <a:pt x="277" y="0"/>
                      </a:moveTo>
                      <a:cubicBezTo>
                        <a:pt x="3017" y="7971"/>
                        <a:pt x="3141" y="14324"/>
                        <a:pt x="2892" y="18684"/>
                      </a:cubicBezTo>
                      <a:cubicBezTo>
                        <a:pt x="2394" y="25659"/>
                        <a:pt x="277"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6" name="Freeform 4949">
                  <a:extLst>
                    <a:ext uri="{FF2B5EF4-FFF2-40B4-BE49-F238E27FC236}">
                      <a16:creationId xmlns:a16="http://schemas.microsoft.com/office/drawing/2014/main" id="{23BBB97D-8B50-DB70-3F38-2FFCEAC33248}"/>
                    </a:ext>
                  </a:extLst>
                </p:cNvPr>
                <p:cNvSpPr/>
                <p:nvPr/>
              </p:nvSpPr>
              <p:spPr>
                <a:xfrm>
                  <a:off x="7978658" y="5677031"/>
                  <a:ext cx="26297" cy="26540"/>
                </a:xfrm>
                <a:custGeom>
                  <a:avLst/>
                  <a:gdLst>
                    <a:gd name="connsiteX0" fmla="*/ 8 w 26297"/>
                    <a:gd name="connsiteY0" fmla="*/ 13709 h 26540"/>
                    <a:gd name="connsiteX1" fmla="*/ 12713 w 26297"/>
                    <a:gd name="connsiteY1" fmla="*/ 8 h 26540"/>
                    <a:gd name="connsiteX2" fmla="*/ 26289 w 26297"/>
                    <a:gd name="connsiteY2" fmla="*/ 12837 h 26540"/>
                    <a:gd name="connsiteX3" fmla="*/ 13585 w 26297"/>
                    <a:gd name="connsiteY3" fmla="*/ 26539 h 26540"/>
                    <a:gd name="connsiteX4" fmla="*/ 8 w 26297"/>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0">
                      <a:moveTo>
                        <a:pt x="8" y="13709"/>
                      </a:moveTo>
                      <a:cubicBezTo>
                        <a:pt x="-242" y="6360"/>
                        <a:pt x="5488" y="257"/>
                        <a:pt x="12713" y="8"/>
                      </a:cubicBezTo>
                      <a:cubicBezTo>
                        <a:pt x="19937" y="-242"/>
                        <a:pt x="26041" y="5488"/>
                        <a:pt x="26289" y="12837"/>
                      </a:cubicBezTo>
                      <a:cubicBezTo>
                        <a:pt x="26539" y="20186"/>
                        <a:pt x="20809" y="26289"/>
                        <a:pt x="13585" y="26539"/>
                      </a:cubicBezTo>
                      <a:cubicBezTo>
                        <a:pt x="6236" y="26663"/>
                        <a:pt x="257" y="20933"/>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9" name="Graphic 2987">
                <a:extLst>
                  <a:ext uri="{FF2B5EF4-FFF2-40B4-BE49-F238E27FC236}">
                    <a16:creationId xmlns:a16="http://schemas.microsoft.com/office/drawing/2014/main" id="{FE15B3DD-0058-6739-A5A2-38ED8EC217D8}"/>
                  </a:ext>
                </a:extLst>
              </p:cNvPr>
              <p:cNvGrpSpPr/>
              <p:nvPr/>
            </p:nvGrpSpPr>
            <p:grpSpPr>
              <a:xfrm>
                <a:off x="8004317" y="5553595"/>
                <a:ext cx="30158" cy="148861"/>
                <a:chOff x="8004317" y="5553595"/>
                <a:chExt cx="30158" cy="148861"/>
              </a:xfrm>
              <a:grpFill/>
            </p:grpSpPr>
            <p:sp>
              <p:nvSpPr>
                <p:cNvPr id="4565" name="Freeform 4951">
                  <a:extLst>
                    <a:ext uri="{FF2B5EF4-FFF2-40B4-BE49-F238E27FC236}">
                      <a16:creationId xmlns:a16="http://schemas.microsoft.com/office/drawing/2014/main" id="{44A9F61C-990C-736C-BFF3-1271B45C8ED3}"/>
                    </a:ext>
                  </a:extLst>
                </p:cNvPr>
                <p:cNvSpPr/>
                <p:nvPr/>
              </p:nvSpPr>
              <p:spPr>
                <a:xfrm>
                  <a:off x="8012362" y="5574030"/>
                  <a:ext cx="4520" cy="52189"/>
                </a:xfrm>
                <a:custGeom>
                  <a:avLst/>
                  <a:gdLst>
                    <a:gd name="connsiteX0" fmla="*/ 1803 w 4520"/>
                    <a:gd name="connsiteY0" fmla="*/ 0 h 52189"/>
                    <a:gd name="connsiteX1" fmla="*/ 433 w 4520"/>
                    <a:gd name="connsiteY1" fmla="*/ 18808 h 52189"/>
                    <a:gd name="connsiteX2" fmla="*/ 4294 w 4520"/>
                    <a:gd name="connsiteY2" fmla="*/ 35748 h 52189"/>
                    <a:gd name="connsiteX3" fmla="*/ 2675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1803" y="0"/>
                      </a:moveTo>
                      <a:cubicBezTo>
                        <a:pt x="-439" y="8097"/>
                        <a:pt x="-190" y="14449"/>
                        <a:pt x="433" y="18808"/>
                      </a:cubicBezTo>
                      <a:cubicBezTo>
                        <a:pt x="1429" y="25784"/>
                        <a:pt x="3671" y="28648"/>
                        <a:pt x="4294" y="35748"/>
                      </a:cubicBezTo>
                      <a:cubicBezTo>
                        <a:pt x="5041" y="42599"/>
                        <a:pt x="3796" y="48453"/>
                        <a:pt x="267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6" name="Freeform 4952">
                  <a:extLst>
                    <a:ext uri="{FF2B5EF4-FFF2-40B4-BE49-F238E27FC236}">
                      <a16:creationId xmlns:a16="http://schemas.microsoft.com/office/drawing/2014/main" id="{34684011-B239-F49D-768D-645841400889}"/>
                    </a:ext>
                  </a:extLst>
                </p:cNvPr>
                <p:cNvSpPr/>
                <p:nvPr/>
              </p:nvSpPr>
              <p:spPr>
                <a:xfrm>
                  <a:off x="8020613" y="5568674"/>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5" y="44218"/>
                        <a:pt x="-220" y="37866"/>
                        <a:pt x="154" y="33506"/>
                      </a:cubicBezTo>
                      <a:cubicBezTo>
                        <a:pt x="777" y="26531"/>
                        <a:pt x="2770" y="23417"/>
                        <a:pt x="3143" y="16317"/>
                      </a:cubicBezTo>
                      <a:cubicBezTo>
                        <a:pt x="3393"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7" name="Freeform 4953">
                  <a:extLst>
                    <a:ext uri="{FF2B5EF4-FFF2-40B4-BE49-F238E27FC236}">
                      <a16:creationId xmlns:a16="http://schemas.microsoft.com/office/drawing/2014/main" id="{6C55FABD-E569-029D-D7DE-D7071A0D5964}"/>
                    </a:ext>
                  </a:extLst>
                </p:cNvPr>
                <p:cNvSpPr/>
                <p:nvPr/>
              </p:nvSpPr>
              <p:spPr>
                <a:xfrm>
                  <a:off x="8004317" y="5553595"/>
                  <a:ext cx="26670" cy="26546"/>
                </a:xfrm>
                <a:custGeom>
                  <a:avLst/>
                  <a:gdLst>
                    <a:gd name="connsiteX0" fmla="*/ 26663 w 26670"/>
                    <a:gd name="connsiteY0" fmla="*/ 12837 h 26546"/>
                    <a:gd name="connsiteX1" fmla="*/ 13709 w 26670"/>
                    <a:gd name="connsiteY1" fmla="*/ 26539 h 26546"/>
                    <a:gd name="connsiteX2" fmla="*/ 8 w 26670"/>
                    <a:gd name="connsiteY2" fmla="*/ 13709 h 26546"/>
                    <a:gd name="connsiteX3" fmla="*/ 12961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3" y="20186"/>
                        <a:pt x="21058" y="26289"/>
                        <a:pt x="13709" y="26539"/>
                      </a:cubicBezTo>
                      <a:cubicBezTo>
                        <a:pt x="6360" y="26788"/>
                        <a:pt x="257" y="21058"/>
                        <a:pt x="8" y="13709"/>
                      </a:cubicBezTo>
                      <a:cubicBezTo>
                        <a:pt x="-242" y="6360"/>
                        <a:pt x="5613" y="257"/>
                        <a:pt x="12961" y="8"/>
                      </a:cubicBezTo>
                      <a:cubicBezTo>
                        <a:pt x="20311"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8" name="Freeform 4954">
                  <a:extLst>
                    <a:ext uri="{FF2B5EF4-FFF2-40B4-BE49-F238E27FC236}">
                      <a16:creationId xmlns:a16="http://schemas.microsoft.com/office/drawing/2014/main" id="{5989BB4E-924F-FE0F-3DD3-40A9B5E9DBF2}"/>
                    </a:ext>
                  </a:extLst>
                </p:cNvPr>
                <p:cNvSpPr/>
                <p:nvPr/>
              </p:nvSpPr>
              <p:spPr>
                <a:xfrm>
                  <a:off x="8021911" y="5629832"/>
                  <a:ext cx="4519" cy="52189"/>
                </a:xfrm>
                <a:custGeom>
                  <a:avLst/>
                  <a:gdLst>
                    <a:gd name="connsiteX0" fmla="*/ 2717 w 4519"/>
                    <a:gd name="connsiteY0" fmla="*/ 52190 h 52189"/>
                    <a:gd name="connsiteX1" fmla="*/ 4087 w 4519"/>
                    <a:gd name="connsiteY1" fmla="*/ 33381 h 52189"/>
                    <a:gd name="connsiteX2" fmla="*/ 226 w 4519"/>
                    <a:gd name="connsiteY2" fmla="*/ 16442 h 52189"/>
                    <a:gd name="connsiteX3" fmla="*/ 1970 w 4519"/>
                    <a:gd name="connsiteY3" fmla="*/ 0 h 52189"/>
                  </a:gdLst>
                  <a:ahLst/>
                  <a:cxnLst>
                    <a:cxn ang="0">
                      <a:pos x="connsiteX0" y="connsiteY0"/>
                    </a:cxn>
                    <a:cxn ang="0">
                      <a:pos x="connsiteX1" y="connsiteY1"/>
                    </a:cxn>
                    <a:cxn ang="0">
                      <a:pos x="connsiteX2" y="connsiteY2"/>
                    </a:cxn>
                    <a:cxn ang="0">
                      <a:pos x="connsiteX3" y="connsiteY3"/>
                    </a:cxn>
                  </a:cxnLst>
                  <a:rect l="l" t="t" r="r" b="b"/>
                  <a:pathLst>
                    <a:path w="4519" h="52189">
                      <a:moveTo>
                        <a:pt x="2717" y="52190"/>
                      </a:moveTo>
                      <a:cubicBezTo>
                        <a:pt x="4959" y="44094"/>
                        <a:pt x="4709" y="37741"/>
                        <a:pt x="4087" y="33381"/>
                      </a:cubicBezTo>
                      <a:cubicBezTo>
                        <a:pt x="3091" y="26406"/>
                        <a:pt x="848" y="23542"/>
                        <a:pt x="226" y="16442"/>
                      </a:cubicBezTo>
                      <a:cubicBezTo>
                        <a:pt x="-522" y="9591"/>
                        <a:pt x="724"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9" name="Freeform 4955">
                  <a:extLst>
                    <a:ext uri="{FF2B5EF4-FFF2-40B4-BE49-F238E27FC236}">
                      <a16:creationId xmlns:a16="http://schemas.microsoft.com/office/drawing/2014/main" id="{E89E69B7-453C-EAD2-4F06-EA895C31EA2F}"/>
                    </a:ext>
                  </a:extLst>
                </p:cNvPr>
                <p:cNvSpPr/>
                <p:nvPr/>
              </p:nvSpPr>
              <p:spPr>
                <a:xfrm>
                  <a:off x="8015134" y="5635188"/>
                  <a:ext cx="3046" cy="52189"/>
                </a:xfrm>
                <a:custGeom>
                  <a:avLst/>
                  <a:gdLst>
                    <a:gd name="connsiteX0" fmla="*/ 401 w 3046"/>
                    <a:gd name="connsiteY0" fmla="*/ 0 h 52189"/>
                    <a:gd name="connsiteX1" fmla="*/ 2892 w 3046"/>
                    <a:gd name="connsiteY1" fmla="*/ 18684 h 52189"/>
                    <a:gd name="connsiteX2" fmla="*/ 27 w 3046"/>
                    <a:gd name="connsiteY2" fmla="*/ 35873 h 52189"/>
                    <a:gd name="connsiteX3" fmla="*/ 264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0"/>
                      </a:moveTo>
                      <a:cubicBezTo>
                        <a:pt x="3141" y="7972"/>
                        <a:pt x="3266" y="14324"/>
                        <a:pt x="2892" y="18684"/>
                      </a:cubicBezTo>
                      <a:cubicBezTo>
                        <a:pt x="2269" y="25659"/>
                        <a:pt x="277" y="28773"/>
                        <a:pt x="27" y="35873"/>
                      </a:cubicBezTo>
                      <a:cubicBezTo>
                        <a:pt x="-222" y="42724"/>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0" name="Freeform 4956">
                  <a:extLst>
                    <a:ext uri="{FF2B5EF4-FFF2-40B4-BE49-F238E27FC236}">
                      <a16:creationId xmlns:a16="http://schemas.microsoft.com/office/drawing/2014/main" id="{51F9979F-9C1D-9D1A-2734-2016BE487382}"/>
                    </a:ext>
                  </a:extLst>
                </p:cNvPr>
                <p:cNvSpPr/>
                <p:nvPr/>
              </p:nvSpPr>
              <p:spPr>
                <a:xfrm>
                  <a:off x="8008054" y="5675911"/>
                  <a:ext cx="26421" cy="26546"/>
                </a:xfrm>
                <a:custGeom>
                  <a:avLst/>
                  <a:gdLst>
                    <a:gd name="connsiteX0" fmla="*/ 8 w 26421"/>
                    <a:gd name="connsiteY0" fmla="*/ 13709 h 26546"/>
                    <a:gd name="connsiteX1" fmla="*/ 12838 w 26421"/>
                    <a:gd name="connsiteY1" fmla="*/ 8 h 26546"/>
                    <a:gd name="connsiteX2" fmla="*/ 26414 w 26421"/>
                    <a:gd name="connsiteY2" fmla="*/ 12837 h 26546"/>
                    <a:gd name="connsiteX3" fmla="*/ 13585 w 26421"/>
                    <a:gd name="connsiteY3" fmla="*/ 26538 h 26546"/>
                    <a:gd name="connsiteX4" fmla="*/ 8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8" y="13709"/>
                      </a:moveTo>
                      <a:cubicBezTo>
                        <a:pt x="-241" y="6360"/>
                        <a:pt x="5488" y="257"/>
                        <a:pt x="12838" y="8"/>
                      </a:cubicBezTo>
                      <a:cubicBezTo>
                        <a:pt x="20062" y="-242"/>
                        <a:pt x="26165" y="5488"/>
                        <a:pt x="26414" y="12837"/>
                      </a:cubicBezTo>
                      <a:cubicBezTo>
                        <a:pt x="26663" y="20186"/>
                        <a:pt x="20933" y="26289"/>
                        <a:pt x="13585" y="26538"/>
                      </a:cubicBezTo>
                      <a:cubicBezTo>
                        <a:pt x="6236"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0" name="Graphic 2987">
                <a:extLst>
                  <a:ext uri="{FF2B5EF4-FFF2-40B4-BE49-F238E27FC236}">
                    <a16:creationId xmlns:a16="http://schemas.microsoft.com/office/drawing/2014/main" id="{A4185512-9E26-48AD-8C52-00F7CCD754BD}"/>
                  </a:ext>
                </a:extLst>
              </p:cNvPr>
              <p:cNvGrpSpPr/>
              <p:nvPr/>
            </p:nvGrpSpPr>
            <p:grpSpPr>
              <a:xfrm>
                <a:off x="8033962" y="5552848"/>
                <a:ext cx="29903" cy="148855"/>
                <a:chOff x="8033962" y="5552848"/>
                <a:chExt cx="29903" cy="148855"/>
              </a:xfrm>
              <a:grpFill/>
            </p:grpSpPr>
            <p:sp>
              <p:nvSpPr>
                <p:cNvPr id="4559" name="Freeform 4958">
                  <a:extLst>
                    <a:ext uri="{FF2B5EF4-FFF2-40B4-BE49-F238E27FC236}">
                      <a16:creationId xmlns:a16="http://schemas.microsoft.com/office/drawing/2014/main" id="{B724C43B-F5EA-91B5-D20B-41DA036C9974}"/>
                    </a:ext>
                  </a:extLst>
                </p:cNvPr>
                <p:cNvSpPr/>
                <p:nvPr/>
              </p:nvSpPr>
              <p:spPr>
                <a:xfrm>
                  <a:off x="8042048" y="5573158"/>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631"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0" name="Freeform 4959">
                  <a:extLst>
                    <a:ext uri="{FF2B5EF4-FFF2-40B4-BE49-F238E27FC236}">
                      <a16:creationId xmlns:a16="http://schemas.microsoft.com/office/drawing/2014/main" id="{0AC972AD-DE26-CC66-8044-AD260CABB16C}"/>
                    </a:ext>
                  </a:extLst>
                </p:cNvPr>
                <p:cNvSpPr/>
                <p:nvPr/>
              </p:nvSpPr>
              <p:spPr>
                <a:xfrm>
                  <a:off x="8050257" y="5567927"/>
                  <a:ext cx="3197" cy="52189"/>
                </a:xfrm>
                <a:custGeom>
                  <a:avLst/>
                  <a:gdLst>
                    <a:gd name="connsiteX0" fmla="*/ 2645 w 3197"/>
                    <a:gd name="connsiteY0" fmla="*/ 52190 h 52189"/>
                    <a:gd name="connsiteX1" fmla="*/ 154 w 3197"/>
                    <a:gd name="connsiteY1" fmla="*/ 33506 h 52189"/>
                    <a:gd name="connsiteX2" fmla="*/ 3143 w 3197"/>
                    <a:gd name="connsiteY2" fmla="*/ 16317 h 52189"/>
                    <a:gd name="connsiteX3" fmla="*/ 527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2645" y="52190"/>
                      </a:moveTo>
                      <a:cubicBezTo>
                        <a:pt x="-95" y="44218"/>
                        <a:pt x="-220" y="37866"/>
                        <a:pt x="154" y="33506"/>
                      </a:cubicBezTo>
                      <a:cubicBezTo>
                        <a:pt x="777" y="26531"/>
                        <a:pt x="2770" y="23417"/>
                        <a:pt x="3143" y="16317"/>
                      </a:cubicBezTo>
                      <a:cubicBezTo>
                        <a:pt x="3517"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1" name="Freeform 4960">
                  <a:extLst>
                    <a:ext uri="{FF2B5EF4-FFF2-40B4-BE49-F238E27FC236}">
                      <a16:creationId xmlns:a16="http://schemas.microsoft.com/office/drawing/2014/main" id="{760D1673-CB37-3E35-D65C-65916489D496}"/>
                    </a:ext>
                  </a:extLst>
                </p:cNvPr>
                <p:cNvSpPr/>
                <p:nvPr/>
              </p:nvSpPr>
              <p:spPr>
                <a:xfrm>
                  <a:off x="8033962" y="5552848"/>
                  <a:ext cx="26665" cy="26546"/>
                </a:xfrm>
                <a:custGeom>
                  <a:avLst/>
                  <a:gdLst>
                    <a:gd name="connsiteX0" fmla="*/ 26663 w 26665"/>
                    <a:gd name="connsiteY0" fmla="*/ 12962 h 26546"/>
                    <a:gd name="connsiteX1" fmla="*/ 13709 w 26665"/>
                    <a:gd name="connsiteY1" fmla="*/ 26539 h 26546"/>
                    <a:gd name="connsiteX2" fmla="*/ 8 w 26665"/>
                    <a:gd name="connsiteY2" fmla="*/ 13584 h 26546"/>
                    <a:gd name="connsiteX3" fmla="*/ 12961 w 26665"/>
                    <a:gd name="connsiteY3" fmla="*/ 8 h 26546"/>
                    <a:gd name="connsiteX4" fmla="*/ 26663 w 26665"/>
                    <a:gd name="connsiteY4" fmla="*/ 1296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63" y="12962"/>
                      </a:moveTo>
                      <a:cubicBezTo>
                        <a:pt x="26788" y="20311"/>
                        <a:pt x="21058" y="26289"/>
                        <a:pt x="13709" y="26539"/>
                      </a:cubicBezTo>
                      <a:cubicBezTo>
                        <a:pt x="6360" y="26788"/>
                        <a:pt x="257" y="20933"/>
                        <a:pt x="8" y="13584"/>
                      </a:cubicBezTo>
                      <a:cubicBezTo>
                        <a:pt x="-242" y="6236"/>
                        <a:pt x="5613" y="257"/>
                        <a:pt x="12961" y="8"/>
                      </a:cubicBezTo>
                      <a:cubicBezTo>
                        <a:pt x="20435" y="-242"/>
                        <a:pt x="26539" y="5613"/>
                        <a:pt x="2666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2" name="Freeform 4961">
                  <a:extLst>
                    <a:ext uri="{FF2B5EF4-FFF2-40B4-BE49-F238E27FC236}">
                      <a16:creationId xmlns:a16="http://schemas.microsoft.com/office/drawing/2014/main" id="{78412652-4F85-B9D4-B324-5AE27B39EF64}"/>
                    </a:ext>
                  </a:extLst>
                </p:cNvPr>
                <p:cNvSpPr/>
                <p:nvPr/>
              </p:nvSpPr>
              <p:spPr>
                <a:xfrm>
                  <a:off x="8051490" y="5629085"/>
                  <a:ext cx="4419" cy="52189"/>
                </a:xfrm>
                <a:custGeom>
                  <a:avLst/>
                  <a:gdLst>
                    <a:gd name="connsiteX0" fmla="*/ 2533 w 4419"/>
                    <a:gd name="connsiteY0" fmla="*/ 52190 h 52189"/>
                    <a:gd name="connsiteX1" fmla="*/ 4028 w 4419"/>
                    <a:gd name="connsiteY1" fmla="*/ 33506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4"/>
                        <a:pt x="4651" y="37741"/>
                        <a:pt x="4028" y="33506"/>
                      </a:cubicBezTo>
                      <a:cubicBezTo>
                        <a:pt x="3032"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3" name="Freeform 4962">
                  <a:extLst>
                    <a:ext uri="{FF2B5EF4-FFF2-40B4-BE49-F238E27FC236}">
                      <a16:creationId xmlns:a16="http://schemas.microsoft.com/office/drawing/2014/main" id="{E6C88C00-508D-1305-0024-8C8CC294D479}"/>
                    </a:ext>
                  </a:extLst>
                </p:cNvPr>
                <p:cNvSpPr/>
                <p:nvPr/>
              </p:nvSpPr>
              <p:spPr>
                <a:xfrm>
                  <a:off x="8044529" y="5634316"/>
                  <a:ext cx="3170" cy="52189"/>
                </a:xfrm>
                <a:custGeom>
                  <a:avLst/>
                  <a:gdLst>
                    <a:gd name="connsiteX0" fmla="*/ 526 w 3170"/>
                    <a:gd name="connsiteY0" fmla="*/ 0 h 52189"/>
                    <a:gd name="connsiteX1" fmla="*/ 3017 w 3170"/>
                    <a:gd name="connsiteY1" fmla="*/ 18684 h 52189"/>
                    <a:gd name="connsiteX2" fmla="*/ 27 w 3170"/>
                    <a:gd name="connsiteY2" fmla="*/ 35872 h 52189"/>
                    <a:gd name="connsiteX3" fmla="*/ 2643 w 3170"/>
                    <a:gd name="connsiteY3" fmla="*/ 52189 h 52189"/>
                  </a:gdLst>
                  <a:ahLst/>
                  <a:cxnLst>
                    <a:cxn ang="0">
                      <a:pos x="connsiteX0" y="connsiteY0"/>
                    </a:cxn>
                    <a:cxn ang="0">
                      <a:pos x="connsiteX1" y="connsiteY1"/>
                    </a:cxn>
                    <a:cxn ang="0">
                      <a:pos x="connsiteX2" y="connsiteY2"/>
                    </a:cxn>
                    <a:cxn ang="0">
                      <a:pos x="connsiteX3" y="connsiteY3"/>
                    </a:cxn>
                  </a:cxnLst>
                  <a:rect l="l" t="t" r="r" b="b"/>
                  <a:pathLst>
                    <a:path w="3170" h="52189">
                      <a:moveTo>
                        <a:pt x="526" y="0"/>
                      </a:moveTo>
                      <a:cubicBezTo>
                        <a:pt x="3266" y="7971"/>
                        <a:pt x="3391" y="14324"/>
                        <a:pt x="3017" y="18684"/>
                      </a:cubicBezTo>
                      <a:cubicBezTo>
                        <a:pt x="2394" y="25659"/>
                        <a:pt x="401" y="28773"/>
                        <a:pt x="27" y="35872"/>
                      </a:cubicBezTo>
                      <a:cubicBezTo>
                        <a:pt x="-221" y="42723"/>
                        <a:pt x="1273" y="48453"/>
                        <a:pt x="2643"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4" name="Freeform 4963">
                  <a:extLst>
                    <a:ext uri="{FF2B5EF4-FFF2-40B4-BE49-F238E27FC236}">
                      <a16:creationId xmlns:a16="http://schemas.microsoft.com/office/drawing/2014/main" id="{F89EAC0A-85C8-C36E-73D6-97FED2EA11C8}"/>
                    </a:ext>
                  </a:extLst>
                </p:cNvPr>
                <p:cNvSpPr/>
                <p:nvPr/>
              </p:nvSpPr>
              <p:spPr>
                <a:xfrm>
                  <a:off x="8037450" y="5675169"/>
                  <a:ext cx="26415" cy="26534"/>
                </a:xfrm>
                <a:custGeom>
                  <a:avLst/>
                  <a:gdLst>
                    <a:gd name="connsiteX0" fmla="*/ 8 w 26415"/>
                    <a:gd name="connsiteY0" fmla="*/ 13579 h 26534"/>
                    <a:gd name="connsiteX1" fmla="*/ 12837 w 26415"/>
                    <a:gd name="connsiteY1" fmla="*/ 2 h 26534"/>
                    <a:gd name="connsiteX2" fmla="*/ 26414 w 26415"/>
                    <a:gd name="connsiteY2" fmla="*/ 12956 h 26534"/>
                    <a:gd name="connsiteX3" fmla="*/ 13584 w 26415"/>
                    <a:gd name="connsiteY3" fmla="*/ 26532 h 26534"/>
                    <a:gd name="connsiteX4" fmla="*/ 8 w 2641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4">
                      <a:moveTo>
                        <a:pt x="8" y="13579"/>
                      </a:moveTo>
                      <a:cubicBezTo>
                        <a:pt x="-242" y="6230"/>
                        <a:pt x="5488" y="251"/>
                        <a:pt x="12837" y="2"/>
                      </a:cubicBezTo>
                      <a:cubicBezTo>
                        <a:pt x="20061" y="-123"/>
                        <a:pt x="26165" y="5607"/>
                        <a:pt x="26414" y="12956"/>
                      </a:cubicBezTo>
                      <a:cubicBezTo>
                        <a:pt x="26538" y="20305"/>
                        <a:pt x="20809" y="26283"/>
                        <a:pt x="13584" y="26532"/>
                      </a:cubicBezTo>
                      <a:cubicBezTo>
                        <a:pt x="6236" y="26657"/>
                        <a:pt x="256" y="20803"/>
                        <a:pt x="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1" name="Graphic 2987">
                <a:extLst>
                  <a:ext uri="{FF2B5EF4-FFF2-40B4-BE49-F238E27FC236}">
                    <a16:creationId xmlns:a16="http://schemas.microsoft.com/office/drawing/2014/main" id="{AD64E0B2-AF09-84AA-3B83-33030AB6270A}"/>
                  </a:ext>
                </a:extLst>
              </p:cNvPr>
              <p:cNvGrpSpPr/>
              <p:nvPr/>
            </p:nvGrpSpPr>
            <p:grpSpPr>
              <a:xfrm>
                <a:off x="8063862" y="5552225"/>
                <a:ext cx="29274" cy="148856"/>
                <a:chOff x="8063862" y="5552225"/>
                <a:chExt cx="29274" cy="148856"/>
              </a:xfrm>
              <a:grpFill/>
            </p:grpSpPr>
            <p:sp>
              <p:nvSpPr>
                <p:cNvPr id="4553" name="Freeform 4965">
                  <a:extLst>
                    <a:ext uri="{FF2B5EF4-FFF2-40B4-BE49-F238E27FC236}">
                      <a16:creationId xmlns:a16="http://schemas.microsoft.com/office/drawing/2014/main" id="{73154339-AA6C-6995-0CB0-36A263BDB504}"/>
                    </a:ext>
                  </a:extLst>
                </p:cNvPr>
                <p:cNvSpPr/>
                <p:nvPr/>
              </p:nvSpPr>
              <p:spPr>
                <a:xfrm>
                  <a:off x="8071817" y="5572535"/>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506"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4" name="Freeform 4966">
                  <a:extLst>
                    <a:ext uri="{FF2B5EF4-FFF2-40B4-BE49-F238E27FC236}">
                      <a16:creationId xmlns:a16="http://schemas.microsoft.com/office/drawing/2014/main" id="{A1C54B68-8248-13BC-AAF9-FA7E8CA5B59F}"/>
                    </a:ext>
                  </a:extLst>
                </p:cNvPr>
                <p:cNvSpPr/>
                <p:nvPr/>
              </p:nvSpPr>
              <p:spPr>
                <a:xfrm>
                  <a:off x="8080025" y="5567304"/>
                  <a:ext cx="3199" cy="52189"/>
                </a:xfrm>
                <a:custGeom>
                  <a:avLst/>
                  <a:gdLst>
                    <a:gd name="connsiteX0" fmla="*/ 2523 w 3199"/>
                    <a:gd name="connsiteY0" fmla="*/ 52190 h 52189"/>
                    <a:gd name="connsiteX1" fmla="*/ 156 w 3199"/>
                    <a:gd name="connsiteY1" fmla="*/ 33506 h 52189"/>
                    <a:gd name="connsiteX2" fmla="*/ 3145 w 3199"/>
                    <a:gd name="connsiteY2" fmla="*/ 16317 h 52189"/>
                    <a:gd name="connsiteX3" fmla="*/ 654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2523" y="52190"/>
                      </a:moveTo>
                      <a:cubicBezTo>
                        <a:pt x="-93" y="44218"/>
                        <a:pt x="-218" y="37865"/>
                        <a:pt x="156" y="33506"/>
                      </a:cubicBezTo>
                      <a:cubicBezTo>
                        <a:pt x="779" y="26531"/>
                        <a:pt x="2896" y="23417"/>
                        <a:pt x="3145" y="16317"/>
                      </a:cubicBezTo>
                      <a:cubicBezTo>
                        <a:pt x="3518"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5" name="Freeform 4967">
                  <a:extLst>
                    <a:ext uri="{FF2B5EF4-FFF2-40B4-BE49-F238E27FC236}">
                      <a16:creationId xmlns:a16="http://schemas.microsoft.com/office/drawing/2014/main" id="{746E5FFE-C3C6-2454-1007-228B3CEB4796}"/>
                    </a:ext>
                  </a:extLst>
                </p:cNvPr>
                <p:cNvSpPr/>
                <p:nvPr/>
              </p:nvSpPr>
              <p:spPr>
                <a:xfrm>
                  <a:off x="8063862" y="5552225"/>
                  <a:ext cx="26534" cy="26540"/>
                </a:xfrm>
                <a:custGeom>
                  <a:avLst/>
                  <a:gdLst>
                    <a:gd name="connsiteX0" fmla="*/ 26533 w 26534"/>
                    <a:gd name="connsiteY0" fmla="*/ 12962 h 26540"/>
                    <a:gd name="connsiteX1" fmla="*/ 13578 w 26534"/>
                    <a:gd name="connsiteY1" fmla="*/ 26539 h 26540"/>
                    <a:gd name="connsiteX2" fmla="*/ 2 w 26534"/>
                    <a:gd name="connsiteY2" fmla="*/ 13585 h 26540"/>
                    <a:gd name="connsiteX3" fmla="*/ 12956 w 26534"/>
                    <a:gd name="connsiteY3" fmla="*/ 8 h 26540"/>
                    <a:gd name="connsiteX4" fmla="*/ 26533 w 26534"/>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40">
                      <a:moveTo>
                        <a:pt x="26533" y="12962"/>
                      </a:moveTo>
                      <a:cubicBezTo>
                        <a:pt x="26657" y="20311"/>
                        <a:pt x="20928" y="26290"/>
                        <a:pt x="13578" y="26539"/>
                      </a:cubicBezTo>
                      <a:cubicBezTo>
                        <a:pt x="6230" y="26663"/>
                        <a:pt x="126" y="20934"/>
                        <a:pt x="2" y="13585"/>
                      </a:cubicBezTo>
                      <a:cubicBezTo>
                        <a:pt x="-123" y="6236"/>
                        <a:pt x="5606" y="257"/>
                        <a:pt x="12956" y="8"/>
                      </a:cubicBezTo>
                      <a:cubicBezTo>
                        <a:pt x="20305" y="-241"/>
                        <a:pt x="26408" y="5613"/>
                        <a:pt x="2653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6" name="Freeform 4968">
                  <a:extLst>
                    <a:ext uri="{FF2B5EF4-FFF2-40B4-BE49-F238E27FC236}">
                      <a16:creationId xmlns:a16="http://schemas.microsoft.com/office/drawing/2014/main" id="{87A1E80D-EE9A-F654-B0B6-34B7B26D836F}"/>
                    </a:ext>
                  </a:extLst>
                </p:cNvPr>
                <p:cNvSpPr/>
                <p:nvPr/>
              </p:nvSpPr>
              <p:spPr>
                <a:xfrm>
                  <a:off x="8081010" y="5628462"/>
                  <a:ext cx="4419" cy="52189"/>
                </a:xfrm>
                <a:custGeom>
                  <a:avLst/>
                  <a:gdLst>
                    <a:gd name="connsiteX0" fmla="*/ 2533 w 4419"/>
                    <a:gd name="connsiteY0" fmla="*/ 52189 h 52189"/>
                    <a:gd name="connsiteX1" fmla="*/ 4028 w 4419"/>
                    <a:gd name="connsiteY1" fmla="*/ 33506 h 52189"/>
                    <a:gd name="connsiteX2" fmla="*/ 166 w 4419"/>
                    <a:gd name="connsiteY2" fmla="*/ 16441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89"/>
                      </a:moveTo>
                      <a:cubicBezTo>
                        <a:pt x="4775" y="44093"/>
                        <a:pt x="4651" y="37741"/>
                        <a:pt x="4028" y="33506"/>
                      </a:cubicBezTo>
                      <a:cubicBezTo>
                        <a:pt x="3032" y="26530"/>
                        <a:pt x="914" y="23541"/>
                        <a:pt x="166" y="16441"/>
                      </a:cubicBezTo>
                      <a:cubicBezTo>
                        <a:pt x="-456" y="9591"/>
                        <a:pt x="790"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7" name="Freeform 4969">
                  <a:extLst>
                    <a:ext uri="{FF2B5EF4-FFF2-40B4-BE49-F238E27FC236}">
                      <a16:creationId xmlns:a16="http://schemas.microsoft.com/office/drawing/2014/main" id="{CD0C25AC-4340-9BB7-1AD1-CF55A5432138}"/>
                    </a:ext>
                  </a:extLst>
                </p:cNvPr>
                <p:cNvSpPr/>
                <p:nvPr/>
              </p:nvSpPr>
              <p:spPr>
                <a:xfrm>
                  <a:off x="8074022" y="5633693"/>
                  <a:ext cx="3200" cy="52189"/>
                </a:xfrm>
                <a:custGeom>
                  <a:avLst/>
                  <a:gdLst>
                    <a:gd name="connsiteX0" fmla="*/ 678 w 3200"/>
                    <a:gd name="connsiteY0" fmla="*/ 0 h 52189"/>
                    <a:gd name="connsiteX1" fmla="*/ 3045 w 3200"/>
                    <a:gd name="connsiteY1" fmla="*/ 18684 h 52189"/>
                    <a:gd name="connsiteX2" fmla="*/ 55 w 3200"/>
                    <a:gd name="connsiteY2" fmla="*/ 35873 h 52189"/>
                    <a:gd name="connsiteX3" fmla="*/ 2546 w 320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0" h="52189">
                      <a:moveTo>
                        <a:pt x="678" y="0"/>
                      </a:moveTo>
                      <a:cubicBezTo>
                        <a:pt x="3293" y="7972"/>
                        <a:pt x="3418" y="14324"/>
                        <a:pt x="3045" y="18684"/>
                      </a:cubicBezTo>
                      <a:cubicBezTo>
                        <a:pt x="2421" y="25659"/>
                        <a:pt x="429" y="28773"/>
                        <a:pt x="55" y="35873"/>
                      </a:cubicBezTo>
                      <a:cubicBezTo>
                        <a:pt x="-319" y="42723"/>
                        <a:pt x="1301" y="48453"/>
                        <a:pt x="25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8" name="Freeform 4970">
                  <a:extLst>
                    <a:ext uri="{FF2B5EF4-FFF2-40B4-BE49-F238E27FC236}">
                      <a16:creationId xmlns:a16="http://schemas.microsoft.com/office/drawing/2014/main" id="{59B48053-A775-1EF4-367E-27128294D57A}"/>
                    </a:ext>
                  </a:extLst>
                </p:cNvPr>
                <p:cNvSpPr/>
                <p:nvPr/>
              </p:nvSpPr>
              <p:spPr>
                <a:xfrm>
                  <a:off x="8066851" y="5674546"/>
                  <a:ext cx="26285" cy="26534"/>
                </a:xfrm>
                <a:custGeom>
                  <a:avLst/>
                  <a:gdLst>
                    <a:gd name="connsiteX0" fmla="*/ 2 w 26285"/>
                    <a:gd name="connsiteY0" fmla="*/ 13579 h 26534"/>
                    <a:gd name="connsiteX1" fmla="*/ 12831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1" y="2"/>
                      </a:cubicBezTo>
                      <a:cubicBezTo>
                        <a:pt x="20056" y="-123"/>
                        <a:pt x="26159" y="5607"/>
                        <a:pt x="26283" y="12956"/>
                      </a:cubicBezTo>
                      <a:cubicBezTo>
                        <a:pt x="26408" y="20305"/>
                        <a:pt x="20678" y="26284"/>
                        <a:pt x="13454" y="26533"/>
                      </a:cubicBezTo>
                      <a:cubicBezTo>
                        <a:pt x="6230" y="26658"/>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2" name="Graphic 2987">
                <a:extLst>
                  <a:ext uri="{FF2B5EF4-FFF2-40B4-BE49-F238E27FC236}">
                    <a16:creationId xmlns:a16="http://schemas.microsoft.com/office/drawing/2014/main" id="{845DD2BF-F82A-9A67-89E1-C7E1AABDE6D7}"/>
                  </a:ext>
                </a:extLst>
              </p:cNvPr>
              <p:cNvGrpSpPr/>
              <p:nvPr/>
            </p:nvGrpSpPr>
            <p:grpSpPr>
              <a:xfrm>
                <a:off x="8093507" y="5551602"/>
                <a:ext cx="29025" cy="148856"/>
                <a:chOff x="8093507" y="5551602"/>
                <a:chExt cx="29025" cy="148856"/>
              </a:xfrm>
              <a:grpFill/>
            </p:grpSpPr>
            <p:sp>
              <p:nvSpPr>
                <p:cNvPr id="4547" name="Freeform 4972">
                  <a:extLst>
                    <a:ext uri="{FF2B5EF4-FFF2-40B4-BE49-F238E27FC236}">
                      <a16:creationId xmlns:a16="http://schemas.microsoft.com/office/drawing/2014/main" id="{CD24DC48-E0AA-9A9E-637E-C789B7041036}"/>
                    </a:ext>
                  </a:extLst>
                </p:cNvPr>
                <p:cNvSpPr/>
                <p:nvPr/>
              </p:nvSpPr>
              <p:spPr>
                <a:xfrm>
                  <a:off x="8101398" y="5571913"/>
                  <a:ext cx="4233" cy="52189"/>
                </a:xfrm>
                <a:custGeom>
                  <a:avLst/>
                  <a:gdLst>
                    <a:gd name="connsiteX0" fmla="*/ 1950 w 4233"/>
                    <a:gd name="connsiteY0" fmla="*/ 0 h 52189"/>
                    <a:gd name="connsiteX1" fmla="*/ 331 w 4233"/>
                    <a:gd name="connsiteY1" fmla="*/ 18684 h 52189"/>
                    <a:gd name="connsiteX2" fmla="*/ 4067 w 4233"/>
                    <a:gd name="connsiteY2" fmla="*/ 35748 h 52189"/>
                    <a:gd name="connsiteX3" fmla="*/ 2323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0"/>
                      </a:moveTo>
                      <a:cubicBezTo>
                        <a:pt x="-417" y="8096"/>
                        <a:pt x="-167" y="14449"/>
                        <a:pt x="331" y="18684"/>
                      </a:cubicBezTo>
                      <a:cubicBezTo>
                        <a:pt x="1203" y="25659"/>
                        <a:pt x="3445" y="28648"/>
                        <a:pt x="4067" y="35748"/>
                      </a:cubicBezTo>
                      <a:cubicBezTo>
                        <a:pt x="4690" y="42599"/>
                        <a:pt x="3445" y="48328"/>
                        <a:pt x="23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8" name="Freeform 4973">
                  <a:extLst>
                    <a:ext uri="{FF2B5EF4-FFF2-40B4-BE49-F238E27FC236}">
                      <a16:creationId xmlns:a16="http://schemas.microsoft.com/office/drawing/2014/main" id="{25C4A707-ECB4-4BE7-86B1-0F8611FC6D41}"/>
                    </a:ext>
                  </a:extLst>
                </p:cNvPr>
                <p:cNvSpPr/>
                <p:nvPr/>
              </p:nvSpPr>
              <p:spPr>
                <a:xfrm>
                  <a:off x="8109545" y="5566681"/>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9" name="Freeform 4974">
                  <a:extLst>
                    <a:ext uri="{FF2B5EF4-FFF2-40B4-BE49-F238E27FC236}">
                      <a16:creationId xmlns:a16="http://schemas.microsoft.com/office/drawing/2014/main" id="{358F1402-8AE8-C59D-E3A7-BC9C7D558D85}"/>
                    </a:ext>
                  </a:extLst>
                </p:cNvPr>
                <p:cNvSpPr/>
                <p:nvPr/>
              </p:nvSpPr>
              <p:spPr>
                <a:xfrm>
                  <a:off x="8093507" y="5551602"/>
                  <a:ext cx="26658" cy="26540"/>
                </a:xfrm>
                <a:custGeom>
                  <a:avLst/>
                  <a:gdLst>
                    <a:gd name="connsiteX0" fmla="*/ 26657 w 26658"/>
                    <a:gd name="connsiteY0" fmla="*/ 12962 h 26540"/>
                    <a:gd name="connsiteX1" fmla="*/ 13578 w 26658"/>
                    <a:gd name="connsiteY1" fmla="*/ 26539 h 26540"/>
                    <a:gd name="connsiteX2" fmla="*/ 2 w 26658"/>
                    <a:gd name="connsiteY2" fmla="*/ 13584 h 26540"/>
                    <a:gd name="connsiteX3" fmla="*/ 13080 w 26658"/>
                    <a:gd name="connsiteY3" fmla="*/ 8 h 26540"/>
                    <a:gd name="connsiteX4" fmla="*/ 26657 w 26658"/>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40">
                      <a:moveTo>
                        <a:pt x="26657" y="12962"/>
                      </a:moveTo>
                      <a:cubicBezTo>
                        <a:pt x="26781" y="20311"/>
                        <a:pt x="20928" y="26289"/>
                        <a:pt x="13578" y="26539"/>
                      </a:cubicBezTo>
                      <a:cubicBezTo>
                        <a:pt x="6230" y="26663"/>
                        <a:pt x="126" y="20933"/>
                        <a:pt x="2" y="13584"/>
                      </a:cubicBezTo>
                      <a:cubicBezTo>
                        <a:pt x="-123" y="6236"/>
                        <a:pt x="5606" y="257"/>
                        <a:pt x="13080" y="8"/>
                      </a:cubicBezTo>
                      <a:cubicBezTo>
                        <a:pt x="20429" y="-241"/>
                        <a:pt x="26532"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0" name="Freeform 4975">
                  <a:extLst>
                    <a:ext uri="{FF2B5EF4-FFF2-40B4-BE49-F238E27FC236}">
                      <a16:creationId xmlns:a16="http://schemas.microsoft.com/office/drawing/2014/main" id="{64E30293-177B-9620-30C5-56DFE859C9F5}"/>
                    </a:ext>
                  </a:extLst>
                </p:cNvPr>
                <p:cNvSpPr/>
                <p:nvPr/>
              </p:nvSpPr>
              <p:spPr>
                <a:xfrm>
                  <a:off x="8110656" y="5627839"/>
                  <a:ext cx="4202" cy="52189"/>
                </a:xfrm>
                <a:custGeom>
                  <a:avLst/>
                  <a:gdLst>
                    <a:gd name="connsiteX0" fmla="*/ 2284 w 4202"/>
                    <a:gd name="connsiteY0" fmla="*/ 52190 h 52189"/>
                    <a:gd name="connsiteX1" fmla="*/ 3902 w 4202"/>
                    <a:gd name="connsiteY1" fmla="*/ 33506 h 52189"/>
                    <a:gd name="connsiteX2" fmla="*/ 166 w 4202"/>
                    <a:gd name="connsiteY2" fmla="*/ 16442 h 52189"/>
                    <a:gd name="connsiteX3" fmla="*/ 2034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2284" y="52190"/>
                      </a:moveTo>
                      <a:cubicBezTo>
                        <a:pt x="4526" y="44094"/>
                        <a:pt x="4401" y="37741"/>
                        <a:pt x="3902" y="33506"/>
                      </a:cubicBezTo>
                      <a:cubicBezTo>
                        <a:pt x="3031" y="26531"/>
                        <a:pt x="788" y="23542"/>
                        <a:pt x="166" y="16442"/>
                      </a:cubicBezTo>
                      <a:cubicBezTo>
                        <a:pt x="-457" y="9591"/>
                        <a:pt x="788"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1" name="Freeform 4976">
                  <a:extLst>
                    <a:ext uri="{FF2B5EF4-FFF2-40B4-BE49-F238E27FC236}">
                      <a16:creationId xmlns:a16="http://schemas.microsoft.com/office/drawing/2014/main" id="{608EC29A-26D2-C794-F73C-2C668C99C83B}"/>
                    </a:ext>
                  </a:extLst>
                </p:cNvPr>
                <p:cNvSpPr/>
                <p:nvPr/>
              </p:nvSpPr>
              <p:spPr>
                <a:xfrm>
                  <a:off x="8103539" y="5633070"/>
                  <a:ext cx="3203" cy="52189"/>
                </a:xfrm>
                <a:custGeom>
                  <a:avLst/>
                  <a:gdLst>
                    <a:gd name="connsiteX0" fmla="*/ 681 w 3203"/>
                    <a:gd name="connsiteY0" fmla="*/ 0 h 52189"/>
                    <a:gd name="connsiteX1" fmla="*/ 3048 w 3203"/>
                    <a:gd name="connsiteY1" fmla="*/ 18684 h 52189"/>
                    <a:gd name="connsiteX2" fmla="*/ 58 w 3203"/>
                    <a:gd name="connsiteY2" fmla="*/ 35873 h 52189"/>
                    <a:gd name="connsiteX3" fmla="*/ 2549 w 3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0"/>
                      </a:moveTo>
                      <a:cubicBezTo>
                        <a:pt x="3296" y="7971"/>
                        <a:pt x="3421" y="14324"/>
                        <a:pt x="3048" y="18684"/>
                      </a:cubicBezTo>
                      <a:cubicBezTo>
                        <a:pt x="2425" y="25659"/>
                        <a:pt x="307" y="28773"/>
                        <a:pt x="58" y="35873"/>
                      </a:cubicBezTo>
                      <a:cubicBezTo>
                        <a:pt x="-316" y="42723"/>
                        <a:pt x="1179" y="48453"/>
                        <a:pt x="254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2" name="Freeform 4977">
                  <a:extLst>
                    <a:ext uri="{FF2B5EF4-FFF2-40B4-BE49-F238E27FC236}">
                      <a16:creationId xmlns:a16="http://schemas.microsoft.com/office/drawing/2014/main" id="{FB6C5CB7-4402-2422-31CB-D2AAD7C3FFEF}"/>
                    </a:ext>
                  </a:extLst>
                </p:cNvPr>
                <p:cNvSpPr/>
                <p:nvPr/>
              </p:nvSpPr>
              <p:spPr>
                <a:xfrm>
                  <a:off x="8096247" y="5673923"/>
                  <a:ext cx="26285" cy="26534"/>
                </a:xfrm>
                <a:custGeom>
                  <a:avLst/>
                  <a:gdLst>
                    <a:gd name="connsiteX0" fmla="*/ 2 w 26285"/>
                    <a:gd name="connsiteY0" fmla="*/ 13579 h 26534"/>
                    <a:gd name="connsiteX1" fmla="*/ 12832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2" y="2"/>
                      </a:cubicBezTo>
                      <a:cubicBezTo>
                        <a:pt x="20056" y="-123"/>
                        <a:pt x="26159" y="5607"/>
                        <a:pt x="26283" y="12956"/>
                      </a:cubicBezTo>
                      <a:cubicBezTo>
                        <a:pt x="26408" y="20305"/>
                        <a:pt x="20678" y="26283"/>
                        <a:pt x="13454" y="26533"/>
                      </a:cubicBezTo>
                      <a:cubicBezTo>
                        <a:pt x="6230" y="26657"/>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3" name="Graphic 2987">
                <a:extLst>
                  <a:ext uri="{FF2B5EF4-FFF2-40B4-BE49-F238E27FC236}">
                    <a16:creationId xmlns:a16="http://schemas.microsoft.com/office/drawing/2014/main" id="{4F5D0E9F-73DA-5157-F87A-8FC096D5BF6C}"/>
                  </a:ext>
                </a:extLst>
              </p:cNvPr>
              <p:cNvGrpSpPr/>
              <p:nvPr/>
            </p:nvGrpSpPr>
            <p:grpSpPr>
              <a:xfrm>
                <a:off x="8123275" y="5550979"/>
                <a:ext cx="28901" cy="148855"/>
                <a:chOff x="8123275" y="5550979"/>
                <a:chExt cx="28901" cy="148855"/>
              </a:xfrm>
              <a:grpFill/>
            </p:grpSpPr>
            <p:sp>
              <p:nvSpPr>
                <p:cNvPr id="4541" name="Freeform 4979">
                  <a:extLst>
                    <a:ext uri="{FF2B5EF4-FFF2-40B4-BE49-F238E27FC236}">
                      <a16:creationId xmlns:a16="http://schemas.microsoft.com/office/drawing/2014/main" id="{1DA4E26C-A1C7-4A50-1DD2-5B52FFE71A45}"/>
                    </a:ext>
                  </a:extLst>
                </p:cNvPr>
                <p:cNvSpPr/>
                <p:nvPr/>
              </p:nvSpPr>
              <p:spPr>
                <a:xfrm>
                  <a:off x="8131113" y="5571290"/>
                  <a:ext cx="4288" cy="52189"/>
                </a:xfrm>
                <a:custGeom>
                  <a:avLst/>
                  <a:gdLst>
                    <a:gd name="connsiteX0" fmla="*/ 2005 w 4288"/>
                    <a:gd name="connsiteY0" fmla="*/ 0 h 52189"/>
                    <a:gd name="connsiteX1" fmla="*/ 386 w 4288"/>
                    <a:gd name="connsiteY1" fmla="*/ 18684 h 52189"/>
                    <a:gd name="connsiteX2" fmla="*/ 4122 w 4288"/>
                    <a:gd name="connsiteY2" fmla="*/ 35748 h 52189"/>
                    <a:gd name="connsiteX3" fmla="*/ 225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7"/>
                        <a:pt x="-237" y="14449"/>
                        <a:pt x="386" y="18684"/>
                      </a:cubicBezTo>
                      <a:cubicBezTo>
                        <a:pt x="1258" y="25659"/>
                        <a:pt x="3500" y="28648"/>
                        <a:pt x="4122" y="35748"/>
                      </a:cubicBezTo>
                      <a:cubicBezTo>
                        <a:pt x="4745" y="42599"/>
                        <a:pt x="3500"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2" name="Freeform 4980">
                  <a:extLst>
                    <a:ext uri="{FF2B5EF4-FFF2-40B4-BE49-F238E27FC236}">
                      <a16:creationId xmlns:a16="http://schemas.microsoft.com/office/drawing/2014/main" id="{CB9C2B4C-451C-3B60-F836-45244511D619}"/>
                    </a:ext>
                  </a:extLst>
                </p:cNvPr>
                <p:cNvSpPr/>
                <p:nvPr/>
              </p:nvSpPr>
              <p:spPr>
                <a:xfrm>
                  <a:off x="8139190" y="5566058"/>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3" name="Freeform 4981">
                  <a:extLst>
                    <a:ext uri="{FF2B5EF4-FFF2-40B4-BE49-F238E27FC236}">
                      <a16:creationId xmlns:a16="http://schemas.microsoft.com/office/drawing/2014/main" id="{86015C20-D5F0-8A00-E16C-5121A15937E0}"/>
                    </a:ext>
                  </a:extLst>
                </p:cNvPr>
                <p:cNvSpPr/>
                <p:nvPr/>
              </p:nvSpPr>
              <p:spPr>
                <a:xfrm>
                  <a:off x="8123275" y="5550979"/>
                  <a:ext cx="26659" cy="26540"/>
                </a:xfrm>
                <a:custGeom>
                  <a:avLst/>
                  <a:gdLst>
                    <a:gd name="connsiteX0" fmla="*/ 26657 w 26659"/>
                    <a:gd name="connsiteY0" fmla="*/ 12961 h 26540"/>
                    <a:gd name="connsiteX1" fmla="*/ 13579 w 26659"/>
                    <a:gd name="connsiteY1" fmla="*/ 26538 h 26540"/>
                    <a:gd name="connsiteX2" fmla="*/ 2 w 26659"/>
                    <a:gd name="connsiteY2" fmla="*/ 13584 h 26540"/>
                    <a:gd name="connsiteX3" fmla="*/ 13080 w 26659"/>
                    <a:gd name="connsiteY3" fmla="*/ 8 h 26540"/>
                    <a:gd name="connsiteX4" fmla="*/ 26657 w 26659"/>
                    <a:gd name="connsiteY4" fmla="*/ 1296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1"/>
                      </a:moveTo>
                      <a:cubicBezTo>
                        <a:pt x="26782" y="20310"/>
                        <a:pt x="20928" y="26289"/>
                        <a:pt x="13579" y="26538"/>
                      </a:cubicBezTo>
                      <a:cubicBezTo>
                        <a:pt x="6230" y="26663"/>
                        <a:pt x="127" y="20933"/>
                        <a:pt x="2" y="13584"/>
                      </a:cubicBezTo>
                      <a:cubicBezTo>
                        <a:pt x="-123" y="6236"/>
                        <a:pt x="5732" y="257"/>
                        <a:pt x="13080" y="8"/>
                      </a:cubicBezTo>
                      <a:cubicBezTo>
                        <a:pt x="20430" y="-242"/>
                        <a:pt x="26533" y="5613"/>
                        <a:pt x="26657" y="129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4" name="Freeform 4982">
                  <a:extLst>
                    <a:ext uri="{FF2B5EF4-FFF2-40B4-BE49-F238E27FC236}">
                      <a16:creationId xmlns:a16="http://schemas.microsoft.com/office/drawing/2014/main" id="{E2C1488F-D4DC-B720-941C-75A9981072BD}"/>
                    </a:ext>
                  </a:extLst>
                </p:cNvPr>
                <p:cNvSpPr/>
                <p:nvPr/>
              </p:nvSpPr>
              <p:spPr>
                <a:xfrm>
                  <a:off x="8140052" y="5627216"/>
                  <a:ext cx="4288" cy="52189"/>
                </a:xfrm>
                <a:custGeom>
                  <a:avLst/>
                  <a:gdLst>
                    <a:gd name="connsiteX0" fmla="*/ 2283 w 4288"/>
                    <a:gd name="connsiteY0" fmla="*/ 52190 h 52189"/>
                    <a:gd name="connsiteX1" fmla="*/ 3902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2" y="33506"/>
                      </a:cubicBezTo>
                      <a:cubicBezTo>
                        <a:pt x="3030" y="26531"/>
                        <a:pt x="789" y="23541"/>
                        <a:pt x="166" y="16442"/>
                      </a:cubicBezTo>
                      <a:cubicBezTo>
                        <a:pt x="-458"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5" name="Freeform 4983">
                  <a:extLst>
                    <a:ext uri="{FF2B5EF4-FFF2-40B4-BE49-F238E27FC236}">
                      <a16:creationId xmlns:a16="http://schemas.microsoft.com/office/drawing/2014/main" id="{0E7F3EBA-7914-693B-B29A-538383B59B20}"/>
                    </a:ext>
                  </a:extLst>
                </p:cNvPr>
                <p:cNvSpPr/>
                <p:nvPr/>
              </p:nvSpPr>
              <p:spPr>
                <a:xfrm>
                  <a:off x="8132935" y="5632447"/>
                  <a:ext cx="3327" cy="52189"/>
                </a:xfrm>
                <a:custGeom>
                  <a:avLst/>
                  <a:gdLst>
                    <a:gd name="connsiteX0" fmla="*/ 806 w 3327"/>
                    <a:gd name="connsiteY0" fmla="*/ 0 h 52189"/>
                    <a:gd name="connsiteX1" fmla="*/ 3172 w 3327"/>
                    <a:gd name="connsiteY1" fmla="*/ 18684 h 52189"/>
                    <a:gd name="connsiteX2" fmla="*/ 58 w 3327"/>
                    <a:gd name="connsiteY2" fmla="*/ 35873 h 52189"/>
                    <a:gd name="connsiteX3" fmla="*/ 2550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806" y="0"/>
                      </a:moveTo>
                      <a:cubicBezTo>
                        <a:pt x="3421" y="7972"/>
                        <a:pt x="3546" y="14324"/>
                        <a:pt x="3172" y="18684"/>
                      </a:cubicBezTo>
                      <a:cubicBezTo>
                        <a:pt x="2550" y="25659"/>
                        <a:pt x="432" y="28773"/>
                        <a:pt x="58" y="35873"/>
                      </a:cubicBezTo>
                      <a:cubicBezTo>
                        <a:pt x="-316" y="42724"/>
                        <a:pt x="1179" y="48453"/>
                        <a:pt x="255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6" name="Freeform 4984">
                  <a:extLst>
                    <a:ext uri="{FF2B5EF4-FFF2-40B4-BE49-F238E27FC236}">
                      <a16:creationId xmlns:a16="http://schemas.microsoft.com/office/drawing/2014/main" id="{2C6AD811-4856-C484-4684-DB8EE9BA2B3C}"/>
                    </a:ext>
                  </a:extLst>
                </p:cNvPr>
                <p:cNvSpPr/>
                <p:nvPr/>
              </p:nvSpPr>
              <p:spPr>
                <a:xfrm>
                  <a:off x="8125767" y="5673300"/>
                  <a:ext cx="26410" cy="26534"/>
                </a:xfrm>
                <a:custGeom>
                  <a:avLst/>
                  <a:gdLst>
                    <a:gd name="connsiteX0" fmla="*/ 2 w 26410"/>
                    <a:gd name="connsiteY0" fmla="*/ 13579 h 26534"/>
                    <a:gd name="connsiteX1" fmla="*/ 12956 w 26410"/>
                    <a:gd name="connsiteY1" fmla="*/ 2 h 26534"/>
                    <a:gd name="connsiteX2" fmla="*/ 26408 w 26410"/>
                    <a:gd name="connsiteY2" fmla="*/ 12956 h 26534"/>
                    <a:gd name="connsiteX3" fmla="*/ 13454 w 26410"/>
                    <a:gd name="connsiteY3" fmla="*/ 26533 h 26534"/>
                    <a:gd name="connsiteX4" fmla="*/ 2 w 2641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3579"/>
                      </a:moveTo>
                      <a:cubicBezTo>
                        <a:pt x="-123" y="6230"/>
                        <a:pt x="5607" y="251"/>
                        <a:pt x="12956" y="2"/>
                      </a:cubicBezTo>
                      <a:cubicBezTo>
                        <a:pt x="20180" y="-122"/>
                        <a:pt x="26283" y="5607"/>
                        <a:pt x="26408" y="12956"/>
                      </a:cubicBezTo>
                      <a:cubicBezTo>
                        <a:pt x="26533" y="20305"/>
                        <a:pt x="20803" y="26284"/>
                        <a:pt x="13454" y="26533"/>
                      </a:cubicBezTo>
                      <a:cubicBezTo>
                        <a:pt x="6105" y="26658"/>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4" name="Graphic 2987">
                <a:extLst>
                  <a:ext uri="{FF2B5EF4-FFF2-40B4-BE49-F238E27FC236}">
                    <a16:creationId xmlns:a16="http://schemas.microsoft.com/office/drawing/2014/main" id="{D60F6932-7D85-4C04-E83E-E2543287BC71}"/>
                  </a:ext>
                </a:extLst>
              </p:cNvPr>
              <p:cNvGrpSpPr/>
              <p:nvPr/>
            </p:nvGrpSpPr>
            <p:grpSpPr>
              <a:xfrm>
                <a:off x="8153045" y="5550356"/>
                <a:ext cx="28401" cy="148856"/>
                <a:chOff x="8153045" y="5550356"/>
                <a:chExt cx="28401" cy="148856"/>
              </a:xfrm>
              <a:grpFill/>
            </p:grpSpPr>
            <p:sp>
              <p:nvSpPr>
                <p:cNvPr id="4535" name="Freeform 4986">
                  <a:extLst>
                    <a:ext uri="{FF2B5EF4-FFF2-40B4-BE49-F238E27FC236}">
                      <a16:creationId xmlns:a16="http://schemas.microsoft.com/office/drawing/2014/main" id="{940442B3-4B34-FDDE-1843-DA42110C2459}"/>
                    </a:ext>
                  </a:extLst>
                </p:cNvPr>
                <p:cNvSpPr/>
                <p:nvPr/>
              </p:nvSpPr>
              <p:spPr>
                <a:xfrm>
                  <a:off x="8160757" y="5570667"/>
                  <a:ext cx="4278" cy="52189"/>
                </a:xfrm>
                <a:custGeom>
                  <a:avLst/>
                  <a:gdLst>
                    <a:gd name="connsiteX0" fmla="*/ 2006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6" y="0"/>
                      </a:moveTo>
                      <a:cubicBezTo>
                        <a:pt x="-361" y="8096"/>
                        <a:pt x="-237" y="14449"/>
                        <a:pt x="386" y="18684"/>
                      </a:cubicBezTo>
                      <a:cubicBezTo>
                        <a:pt x="1258" y="25659"/>
                        <a:pt x="3500" y="28648"/>
                        <a:pt x="4123" y="35748"/>
                      </a:cubicBezTo>
                      <a:cubicBezTo>
                        <a:pt x="4745" y="42599"/>
                        <a:pt x="3375"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6" name="Freeform 4987">
                  <a:extLst>
                    <a:ext uri="{FF2B5EF4-FFF2-40B4-BE49-F238E27FC236}">
                      <a16:creationId xmlns:a16="http://schemas.microsoft.com/office/drawing/2014/main" id="{088F41BD-FE6A-9E60-D4B3-7052318AB4D3}"/>
                    </a:ext>
                  </a:extLst>
                </p:cNvPr>
                <p:cNvSpPr/>
                <p:nvPr/>
              </p:nvSpPr>
              <p:spPr>
                <a:xfrm>
                  <a:off x="8168884" y="5565435"/>
                  <a:ext cx="3403" cy="52189"/>
                </a:xfrm>
                <a:custGeom>
                  <a:avLst/>
                  <a:gdLst>
                    <a:gd name="connsiteX0" fmla="*/ 2474 w 3403"/>
                    <a:gd name="connsiteY0" fmla="*/ 52190 h 52189"/>
                    <a:gd name="connsiteX1" fmla="*/ 231 w 3403"/>
                    <a:gd name="connsiteY1" fmla="*/ 33506 h 52189"/>
                    <a:gd name="connsiteX2" fmla="*/ 3345 w 3403"/>
                    <a:gd name="connsiteY2" fmla="*/ 16317 h 52189"/>
                    <a:gd name="connsiteX3" fmla="*/ 978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2474" y="52190"/>
                      </a:moveTo>
                      <a:cubicBezTo>
                        <a:pt x="-142" y="44218"/>
                        <a:pt x="-267" y="37866"/>
                        <a:pt x="231" y="33506"/>
                      </a:cubicBezTo>
                      <a:cubicBezTo>
                        <a:pt x="854" y="26531"/>
                        <a:pt x="2971" y="23417"/>
                        <a:pt x="3345" y="16317"/>
                      </a:cubicBezTo>
                      <a:cubicBezTo>
                        <a:pt x="3719" y="9467"/>
                        <a:pt x="2224" y="3737"/>
                        <a:pt x="9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7" name="Freeform 4988">
                  <a:extLst>
                    <a:ext uri="{FF2B5EF4-FFF2-40B4-BE49-F238E27FC236}">
                      <a16:creationId xmlns:a16="http://schemas.microsoft.com/office/drawing/2014/main" id="{92986AE6-B161-D528-BD41-3B753C439FFB}"/>
                    </a:ext>
                  </a:extLst>
                </p:cNvPr>
                <p:cNvSpPr/>
                <p:nvPr/>
              </p:nvSpPr>
              <p:spPr>
                <a:xfrm>
                  <a:off x="8153045" y="5550356"/>
                  <a:ext cx="26659" cy="26540"/>
                </a:xfrm>
                <a:custGeom>
                  <a:avLst/>
                  <a:gdLst>
                    <a:gd name="connsiteX0" fmla="*/ 26657 w 26659"/>
                    <a:gd name="connsiteY0" fmla="*/ 12962 h 26540"/>
                    <a:gd name="connsiteX1" fmla="*/ 13579 w 26659"/>
                    <a:gd name="connsiteY1" fmla="*/ 26539 h 26540"/>
                    <a:gd name="connsiteX2" fmla="*/ 2 w 26659"/>
                    <a:gd name="connsiteY2" fmla="*/ 13584 h 26540"/>
                    <a:gd name="connsiteX3" fmla="*/ 13080 w 26659"/>
                    <a:gd name="connsiteY3" fmla="*/ 8 h 26540"/>
                    <a:gd name="connsiteX4" fmla="*/ 26657 w 26659"/>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2"/>
                      </a:moveTo>
                      <a:cubicBezTo>
                        <a:pt x="26782" y="20311"/>
                        <a:pt x="20928" y="26290"/>
                        <a:pt x="13579" y="26539"/>
                      </a:cubicBezTo>
                      <a:cubicBezTo>
                        <a:pt x="6230" y="26663"/>
                        <a:pt x="127" y="20933"/>
                        <a:pt x="2" y="13584"/>
                      </a:cubicBezTo>
                      <a:cubicBezTo>
                        <a:pt x="-123" y="6236"/>
                        <a:pt x="5732" y="257"/>
                        <a:pt x="13080" y="8"/>
                      </a:cubicBezTo>
                      <a:cubicBezTo>
                        <a:pt x="20430" y="-241"/>
                        <a:pt x="26533"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8" name="Freeform 4989">
                  <a:extLst>
                    <a:ext uri="{FF2B5EF4-FFF2-40B4-BE49-F238E27FC236}">
                      <a16:creationId xmlns:a16="http://schemas.microsoft.com/office/drawing/2014/main" id="{2A7FE280-E82A-B509-75A1-5451CB3079B2}"/>
                    </a:ext>
                  </a:extLst>
                </p:cNvPr>
                <p:cNvSpPr/>
                <p:nvPr/>
              </p:nvSpPr>
              <p:spPr>
                <a:xfrm>
                  <a:off x="8169706" y="5626593"/>
                  <a:ext cx="4154" cy="52189"/>
                </a:xfrm>
                <a:custGeom>
                  <a:avLst/>
                  <a:gdLst>
                    <a:gd name="connsiteX0" fmla="*/ 2149 w 4154"/>
                    <a:gd name="connsiteY0" fmla="*/ 52190 h 52189"/>
                    <a:gd name="connsiteX1" fmla="*/ 3769 w 4154"/>
                    <a:gd name="connsiteY1" fmla="*/ 33506 h 52189"/>
                    <a:gd name="connsiteX2" fmla="*/ 156 w 4154"/>
                    <a:gd name="connsiteY2" fmla="*/ 16442 h 52189"/>
                    <a:gd name="connsiteX3" fmla="*/ 2025 w 4154"/>
                    <a:gd name="connsiteY3" fmla="*/ 0 h 52189"/>
                  </a:gdLst>
                  <a:ahLst/>
                  <a:cxnLst>
                    <a:cxn ang="0">
                      <a:pos x="connsiteX0" y="connsiteY0"/>
                    </a:cxn>
                    <a:cxn ang="0">
                      <a:pos x="connsiteX1" y="connsiteY1"/>
                    </a:cxn>
                    <a:cxn ang="0">
                      <a:pos x="connsiteX2" y="connsiteY2"/>
                    </a:cxn>
                    <a:cxn ang="0">
                      <a:pos x="connsiteX3" y="connsiteY3"/>
                    </a:cxn>
                  </a:cxnLst>
                  <a:rect l="l" t="t" r="r" b="b"/>
                  <a:pathLst>
                    <a:path w="4154" h="52189">
                      <a:moveTo>
                        <a:pt x="2149" y="52190"/>
                      </a:moveTo>
                      <a:cubicBezTo>
                        <a:pt x="4516" y="44094"/>
                        <a:pt x="4391" y="37741"/>
                        <a:pt x="3769" y="33506"/>
                      </a:cubicBezTo>
                      <a:cubicBezTo>
                        <a:pt x="2897" y="26531"/>
                        <a:pt x="655" y="23542"/>
                        <a:pt x="156" y="16442"/>
                      </a:cubicBezTo>
                      <a:cubicBezTo>
                        <a:pt x="-467" y="9591"/>
                        <a:pt x="903" y="3861"/>
                        <a:pt x="20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9" name="Freeform 4990">
                  <a:extLst>
                    <a:ext uri="{FF2B5EF4-FFF2-40B4-BE49-F238E27FC236}">
                      <a16:creationId xmlns:a16="http://schemas.microsoft.com/office/drawing/2014/main" id="{0030270E-9E72-AC8B-2AF4-7A299DA5F820}"/>
                    </a:ext>
                  </a:extLst>
                </p:cNvPr>
                <p:cNvSpPr/>
                <p:nvPr/>
              </p:nvSpPr>
              <p:spPr>
                <a:xfrm>
                  <a:off x="8162455" y="5631825"/>
                  <a:ext cx="3403" cy="52189"/>
                </a:xfrm>
                <a:custGeom>
                  <a:avLst/>
                  <a:gdLst>
                    <a:gd name="connsiteX0" fmla="*/ 930 w 3403"/>
                    <a:gd name="connsiteY0" fmla="*/ 0 h 52189"/>
                    <a:gd name="connsiteX1" fmla="*/ 3172 w 3403"/>
                    <a:gd name="connsiteY1" fmla="*/ 18684 h 52189"/>
                    <a:gd name="connsiteX2" fmla="*/ 58 w 3403"/>
                    <a:gd name="connsiteY2" fmla="*/ 35873 h 52189"/>
                    <a:gd name="connsiteX3" fmla="*/ 2425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0"/>
                      </a:moveTo>
                      <a:cubicBezTo>
                        <a:pt x="3546" y="7971"/>
                        <a:pt x="3670" y="14324"/>
                        <a:pt x="3172" y="18684"/>
                      </a:cubicBezTo>
                      <a:cubicBezTo>
                        <a:pt x="2550" y="25659"/>
                        <a:pt x="432" y="28773"/>
                        <a:pt x="58" y="35873"/>
                      </a:cubicBezTo>
                      <a:cubicBezTo>
                        <a:pt x="-316" y="42723"/>
                        <a:pt x="1179" y="48453"/>
                        <a:pt x="242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0" name="Freeform 4991">
                  <a:extLst>
                    <a:ext uri="{FF2B5EF4-FFF2-40B4-BE49-F238E27FC236}">
                      <a16:creationId xmlns:a16="http://schemas.microsoft.com/office/drawing/2014/main" id="{97979893-B1AA-50F4-EBC4-D1E77D130E89}"/>
                    </a:ext>
                  </a:extLst>
                </p:cNvPr>
                <p:cNvSpPr/>
                <p:nvPr/>
              </p:nvSpPr>
              <p:spPr>
                <a:xfrm>
                  <a:off x="8155162" y="5672678"/>
                  <a:ext cx="26284" cy="26534"/>
                </a:xfrm>
                <a:custGeom>
                  <a:avLst/>
                  <a:gdLst>
                    <a:gd name="connsiteX0" fmla="*/ 2 w 26284"/>
                    <a:gd name="connsiteY0" fmla="*/ 13579 h 26534"/>
                    <a:gd name="connsiteX1" fmla="*/ 12956 w 26284"/>
                    <a:gd name="connsiteY1" fmla="*/ 2 h 26534"/>
                    <a:gd name="connsiteX2" fmla="*/ 26284 w 26284"/>
                    <a:gd name="connsiteY2" fmla="*/ 12956 h 26534"/>
                    <a:gd name="connsiteX3" fmla="*/ 13330 w 26284"/>
                    <a:gd name="connsiteY3" fmla="*/ 26533 h 26534"/>
                    <a:gd name="connsiteX4" fmla="*/ 2 w 26284"/>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732" y="251"/>
                        <a:pt x="12956" y="2"/>
                      </a:cubicBezTo>
                      <a:cubicBezTo>
                        <a:pt x="20180" y="-123"/>
                        <a:pt x="26284" y="5607"/>
                        <a:pt x="26284" y="12956"/>
                      </a:cubicBezTo>
                      <a:cubicBezTo>
                        <a:pt x="26284" y="20305"/>
                        <a:pt x="20554" y="26283"/>
                        <a:pt x="13330" y="26533"/>
                      </a:cubicBezTo>
                      <a:cubicBezTo>
                        <a:pt x="6105" y="26657"/>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5" name="Graphic 2987">
                <a:extLst>
                  <a:ext uri="{FF2B5EF4-FFF2-40B4-BE49-F238E27FC236}">
                    <a16:creationId xmlns:a16="http://schemas.microsoft.com/office/drawing/2014/main" id="{464DD6BA-5F8E-8C44-A0F7-B48BF74CA16D}"/>
                  </a:ext>
                </a:extLst>
              </p:cNvPr>
              <p:cNvGrpSpPr/>
              <p:nvPr/>
            </p:nvGrpSpPr>
            <p:grpSpPr>
              <a:xfrm>
                <a:off x="8182814" y="5549741"/>
                <a:ext cx="28029" cy="148970"/>
                <a:chOff x="8182814" y="5549741"/>
                <a:chExt cx="28029" cy="148970"/>
              </a:xfrm>
              <a:grpFill/>
            </p:grpSpPr>
            <p:sp>
              <p:nvSpPr>
                <p:cNvPr id="4529" name="Freeform 4993">
                  <a:extLst>
                    <a:ext uri="{FF2B5EF4-FFF2-40B4-BE49-F238E27FC236}">
                      <a16:creationId xmlns:a16="http://schemas.microsoft.com/office/drawing/2014/main" id="{D7029BD8-1AB0-876C-7AE3-3851926A9F4A}"/>
                    </a:ext>
                  </a:extLst>
                </p:cNvPr>
                <p:cNvSpPr/>
                <p:nvPr/>
              </p:nvSpPr>
              <p:spPr>
                <a:xfrm>
                  <a:off x="8190492" y="5570169"/>
                  <a:ext cx="4062" cy="52065"/>
                </a:xfrm>
                <a:custGeom>
                  <a:avLst/>
                  <a:gdLst>
                    <a:gd name="connsiteX0" fmla="*/ 2039 w 4062"/>
                    <a:gd name="connsiteY0" fmla="*/ 0 h 52065"/>
                    <a:gd name="connsiteX1" fmla="*/ 296 w 4062"/>
                    <a:gd name="connsiteY1" fmla="*/ 18684 h 52065"/>
                    <a:gd name="connsiteX2" fmla="*/ 3908 w 4062"/>
                    <a:gd name="connsiteY2" fmla="*/ 35748 h 52065"/>
                    <a:gd name="connsiteX3" fmla="*/ 1914 w 40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0"/>
                      </a:moveTo>
                      <a:cubicBezTo>
                        <a:pt x="-328" y="8097"/>
                        <a:pt x="-203" y="14449"/>
                        <a:pt x="296" y="18684"/>
                      </a:cubicBezTo>
                      <a:cubicBezTo>
                        <a:pt x="1167" y="25659"/>
                        <a:pt x="3410" y="28648"/>
                        <a:pt x="3908" y="35748"/>
                      </a:cubicBezTo>
                      <a:cubicBezTo>
                        <a:pt x="4530" y="42599"/>
                        <a:pt x="3160" y="48328"/>
                        <a:pt x="19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0" name="Freeform 4994">
                  <a:extLst>
                    <a:ext uri="{FF2B5EF4-FFF2-40B4-BE49-F238E27FC236}">
                      <a16:creationId xmlns:a16="http://schemas.microsoft.com/office/drawing/2014/main" id="{8E01C1EC-35AF-B74F-8471-2D6C78A5A5D2}"/>
                    </a:ext>
                  </a:extLst>
                </p:cNvPr>
                <p:cNvSpPr/>
                <p:nvPr/>
              </p:nvSpPr>
              <p:spPr>
                <a:xfrm>
                  <a:off x="8198458" y="5565062"/>
                  <a:ext cx="3473" cy="52065"/>
                </a:xfrm>
                <a:custGeom>
                  <a:avLst/>
                  <a:gdLst>
                    <a:gd name="connsiteX0" fmla="*/ 2419 w 3473"/>
                    <a:gd name="connsiteY0" fmla="*/ 52065 h 52065"/>
                    <a:gd name="connsiteX1" fmla="*/ 177 w 3473"/>
                    <a:gd name="connsiteY1" fmla="*/ 33382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4"/>
                        <a:pt x="-197" y="37741"/>
                        <a:pt x="177" y="33382"/>
                      </a:cubicBezTo>
                      <a:cubicBezTo>
                        <a:pt x="925" y="26407"/>
                        <a:pt x="2917" y="23417"/>
                        <a:pt x="3415" y="16317"/>
                      </a:cubicBezTo>
                      <a:cubicBezTo>
                        <a:pt x="3789" y="9467"/>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1" name="Freeform 4995">
                  <a:extLst>
                    <a:ext uri="{FF2B5EF4-FFF2-40B4-BE49-F238E27FC236}">
                      <a16:creationId xmlns:a16="http://schemas.microsoft.com/office/drawing/2014/main" id="{60E68F64-8613-2A6A-DC0F-0340236681EB}"/>
                    </a:ext>
                  </a:extLst>
                </p:cNvPr>
                <p:cNvSpPr/>
                <p:nvPr/>
              </p:nvSpPr>
              <p:spPr>
                <a:xfrm>
                  <a:off x="8182814" y="5549741"/>
                  <a:ext cx="26534" cy="26530"/>
                </a:xfrm>
                <a:custGeom>
                  <a:avLst/>
                  <a:gdLst>
                    <a:gd name="connsiteX0" fmla="*/ 26533 w 26534"/>
                    <a:gd name="connsiteY0" fmla="*/ 13203 h 26530"/>
                    <a:gd name="connsiteX1" fmla="*/ 13454 w 26534"/>
                    <a:gd name="connsiteY1" fmla="*/ 26531 h 26530"/>
                    <a:gd name="connsiteX2" fmla="*/ 2 w 26534"/>
                    <a:gd name="connsiteY2" fmla="*/ 13452 h 26530"/>
                    <a:gd name="connsiteX3" fmla="*/ 13080 w 26534"/>
                    <a:gd name="connsiteY3" fmla="*/ 0 h 26530"/>
                    <a:gd name="connsiteX4" fmla="*/ 26533 w 26534"/>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203"/>
                      </a:moveTo>
                      <a:cubicBezTo>
                        <a:pt x="26657" y="20552"/>
                        <a:pt x="20803" y="26531"/>
                        <a:pt x="13454" y="26531"/>
                      </a:cubicBezTo>
                      <a:cubicBezTo>
                        <a:pt x="6105" y="26531"/>
                        <a:pt x="127" y="20801"/>
                        <a:pt x="2" y="13452"/>
                      </a:cubicBezTo>
                      <a:cubicBezTo>
                        <a:pt x="-123" y="6103"/>
                        <a:pt x="5731" y="0"/>
                        <a:pt x="13080" y="0"/>
                      </a:cubicBezTo>
                      <a:cubicBezTo>
                        <a:pt x="20430" y="0"/>
                        <a:pt x="26533" y="5854"/>
                        <a:pt x="26533"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2" name="Freeform 4996">
                  <a:extLst>
                    <a:ext uri="{FF2B5EF4-FFF2-40B4-BE49-F238E27FC236}">
                      <a16:creationId xmlns:a16="http://schemas.microsoft.com/office/drawing/2014/main" id="{C254D484-E752-D54A-CDDB-F17C91BE425B}"/>
                    </a:ext>
                  </a:extLst>
                </p:cNvPr>
                <p:cNvSpPr/>
                <p:nvPr/>
              </p:nvSpPr>
              <p:spPr>
                <a:xfrm>
                  <a:off x="8199227" y="5626220"/>
                  <a:ext cx="4062" cy="52065"/>
                </a:xfrm>
                <a:custGeom>
                  <a:avLst/>
                  <a:gdLst>
                    <a:gd name="connsiteX0" fmla="*/ 2023 w 4062"/>
                    <a:gd name="connsiteY0" fmla="*/ 52065 h 52065"/>
                    <a:gd name="connsiteX1" fmla="*/ 3767 w 4062"/>
                    <a:gd name="connsiteY1" fmla="*/ 33382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7"/>
                        <a:pt x="3767" y="33382"/>
                      </a:cubicBezTo>
                      <a:cubicBezTo>
                        <a:pt x="2895" y="26406"/>
                        <a:pt x="778" y="23417"/>
                        <a:pt x="155" y="16317"/>
                      </a:cubicBezTo>
                      <a:cubicBezTo>
                        <a:pt x="-468"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3" name="Freeform 4997">
                  <a:extLst>
                    <a:ext uri="{FF2B5EF4-FFF2-40B4-BE49-F238E27FC236}">
                      <a16:creationId xmlns:a16="http://schemas.microsoft.com/office/drawing/2014/main" id="{91F82AE4-F9FD-E2B4-AAD7-349B800EBDC8}"/>
                    </a:ext>
                  </a:extLst>
                </p:cNvPr>
                <p:cNvSpPr/>
                <p:nvPr/>
              </p:nvSpPr>
              <p:spPr>
                <a:xfrm>
                  <a:off x="8191975" y="5631202"/>
                  <a:ext cx="3349" cy="52065"/>
                </a:xfrm>
                <a:custGeom>
                  <a:avLst/>
                  <a:gdLst>
                    <a:gd name="connsiteX0" fmla="*/ 930 w 3349"/>
                    <a:gd name="connsiteY0" fmla="*/ 0 h 52065"/>
                    <a:gd name="connsiteX1" fmla="*/ 3172 w 3349"/>
                    <a:gd name="connsiteY1" fmla="*/ 18684 h 52065"/>
                    <a:gd name="connsiteX2" fmla="*/ 58 w 3349"/>
                    <a:gd name="connsiteY2" fmla="*/ 35748 h 52065"/>
                    <a:gd name="connsiteX3" fmla="*/ 2425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930" y="0"/>
                      </a:moveTo>
                      <a:cubicBezTo>
                        <a:pt x="3546" y="7971"/>
                        <a:pt x="3546" y="14324"/>
                        <a:pt x="3172" y="18684"/>
                      </a:cubicBezTo>
                      <a:cubicBezTo>
                        <a:pt x="2550" y="25659"/>
                        <a:pt x="432" y="28648"/>
                        <a:pt x="58" y="35748"/>
                      </a:cubicBezTo>
                      <a:cubicBezTo>
                        <a:pt x="-316" y="42599"/>
                        <a:pt x="1180"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4" name="Freeform 4998">
                  <a:extLst>
                    <a:ext uri="{FF2B5EF4-FFF2-40B4-BE49-F238E27FC236}">
                      <a16:creationId xmlns:a16="http://schemas.microsoft.com/office/drawing/2014/main" id="{5DCAFB7C-39D1-26B7-9EDD-FC3FC8E00925}"/>
                    </a:ext>
                  </a:extLst>
                </p:cNvPr>
                <p:cNvSpPr/>
                <p:nvPr/>
              </p:nvSpPr>
              <p:spPr>
                <a:xfrm>
                  <a:off x="8184558" y="5672181"/>
                  <a:ext cx="26285" cy="26530"/>
                </a:xfrm>
                <a:custGeom>
                  <a:avLst/>
                  <a:gdLst>
                    <a:gd name="connsiteX0" fmla="*/ 2 w 26285"/>
                    <a:gd name="connsiteY0" fmla="*/ 13452 h 26530"/>
                    <a:gd name="connsiteX1" fmla="*/ 12956 w 26285"/>
                    <a:gd name="connsiteY1" fmla="*/ 0 h 26530"/>
                    <a:gd name="connsiteX2" fmla="*/ 26283 w 26285"/>
                    <a:gd name="connsiteY2" fmla="*/ 13203 h 26530"/>
                    <a:gd name="connsiteX3" fmla="*/ 13329 w 26285"/>
                    <a:gd name="connsiteY3" fmla="*/ 26531 h 26530"/>
                    <a:gd name="connsiteX4" fmla="*/ 2 w 26285"/>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0">
                      <a:moveTo>
                        <a:pt x="2" y="13452"/>
                      </a:moveTo>
                      <a:cubicBezTo>
                        <a:pt x="-123" y="6104"/>
                        <a:pt x="5731" y="0"/>
                        <a:pt x="12956" y="0"/>
                      </a:cubicBezTo>
                      <a:cubicBezTo>
                        <a:pt x="20180" y="0"/>
                        <a:pt x="26159" y="5854"/>
                        <a:pt x="26283" y="13203"/>
                      </a:cubicBezTo>
                      <a:cubicBezTo>
                        <a:pt x="26408" y="20552"/>
                        <a:pt x="20554" y="26531"/>
                        <a:pt x="13329" y="26531"/>
                      </a:cubicBezTo>
                      <a:cubicBezTo>
                        <a:pt x="6105" y="26531"/>
                        <a:pt x="126" y="20677"/>
                        <a:pt x="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6" name="Graphic 2987">
                <a:extLst>
                  <a:ext uri="{FF2B5EF4-FFF2-40B4-BE49-F238E27FC236}">
                    <a16:creationId xmlns:a16="http://schemas.microsoft.com/office/drawing/2014/main" id="{219FAAE9-BAF8-5DD9-1FC7-4891849F01A4}"/>
                  </a:ext>
                </a:extLst>
              </p:cNvPr>
              <p:cNvGrpSpPr/>
              <p:nvPr/>
            </p:nvGrpSpPr>
            <p:grpSpPr>
              <a:xfrm>
                <a:off x="8212459" y="5549492"/>
                <a:ext cx="27904" cy="148971"/>
                <a:chOff x="8212459" y="5549492"/>
                <a:chExt cx="27904" cy="148971"/>
              </a:xfrm>
              <a:grpFill/>
            </p:grpSpPr>
            <p:sp>
              <p:nvSpPr>
                <p:cNvPr id="4523" name="Freeform 5000">
                  <a:extLst>
                    <a:ext uri="{FF2B5EF4-FFF2-40B4-BE49-F238E27FC236}">
                      <a16:creationId xmlns:a16="http://schemas.microsoft.com/office/drawing/2014/main" id="{97CE43A8-F6D1-D839-1754-F32BA16C37AF}"/>
                    </a:ext>
                  </a:extLst>
                </p:cNvPr>
                <p:cNvSpPr/>
                <p:nvPr/>
              </p:nvSpPr>
              <p:spPr>
                <a:xfrm>
                  <a:off x="8220206" y="5569920"/>
                  <a:ext cx="4118" cy="52065"/>
                </a:xfrm>
                <a:custGeom>
                  <a:avLst/>
                  <a:gdLst>
                    <a:gd name="connsiteX0" fmla="*/ 2095 w 4118"/>
                    <a:gd name="connsiteY0" fmla="*/ 0 h 52065"/>
                    <a:gd name="connsiteX1" fmla="*/ 351 w 4118"/>
                    <a:gd name="connsiteY1" fmla="*/ 18684 h 52065"/>
                    <a:gd name="connsiteX2" fmla="*/ 3963 w 4118"/>
                    <a:gd name="connsiteY2" fmla="*/ 35748 h 52065"/>
                    <a:gd name="connsiteX3" fmla="*/ 1970 w 41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0"/>
                      </a:moveTo>
                      <a:cubicBezTo>
                        <a:pt x="-272" y="8096"/>
                        <a:pt x="-272" y="14449"/>
                        <a:pt x="351" y="18684"/>
                      </a:cubicBezTo>
                      <a:cubicBezTo>
                        <a:pt x="1223" y="25659"/>
                        <a:pt x="3340" y="28648"/>
                        <a:pt x="3963" y="35748"/>
                      </a:cubicBezTo>
                      <a:cubicBezTo>
                        <a:pt x="4586" y="42599"/>
                        <a:pt x="3216" y="48328"/>
                        <a:pt x="197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4" name="Freeform 5001">
                  <a:extLst>
                    <a:ext uri="{FF2B5EF4-FFF2-40B4-BE49-F238E27FC236}">
                      <a16:creationId xmlns:a16="http://schemas.microsoft.com/office/drawing/2014/main" id="{A11CF3D4-B3EB-BCFA-788D-491E44B07B8B}"/>
                    </a:ext>
                  </a:extLst>
                </p:cNvPr>
                <p:cNvSpPr/>
                <p:nvPr/>
              </p:nvSpPr>
              <p:spPr>
                <a:xfrm>
                  <a:off x="8228147" y="5564937"/>
                  <a:ext cx="3557" cy="52065"/>
                </a:xfrm>
                <a:custGeom>
                  <a:avLst/>
                  <a:gdLst>
                    <a:gd name="connsiteX0" fmla="*/ 2375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52065"/>
                      </a:moveTo>
                      <a:cubicBezTo>
                        <a:pt x="-241" y="44093"/>
                        <a:pt x="-241" y="37741"/>
                        <a:pt x="257" y="33381"/>
                      </a:cubicBezTo>
                      <a:cubicBezTo>
                        <a:pt x="1004" y="26406"/>
                        <a:pt x="3122" y="23417"/>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5" name="Freeform 5002">
                  <a:extLst>
                    <a:ext uri="{FF2B5EF4-FFF2-40B4-BE49-F238E27FC236}">
                      <a16:creationId xmlns:a16="http://schemas.microsoft.com/office/drawing/2014/main" id="{593B968E-72AD-9EDF-F7AA-2300A4307C75}"/>
                    </a:ext>
                  </a:extLst>
                </p:cNvPr>
                <p:cNvSpPr/>
                <p:nvPr/>
              </p:nvSpPr>
              <p:spPr>
                <a:xfrm>
                  <a:off x="8212459" y="5549492"/>
                  <a:ext cx="26658" cy="26530"/>
                </a:xfrm>
                <a:custGeom>
                  <a:avLst/>
                  <a:gdLst>
                    <a:gd name="connsiteX0" fmla="*/ 26657 w 26658"/>
                    <a:gd name="connsiteY0" fmla="*/ 13203 h 26530"/>
                    <a:gd name="connsiteX1" fmla="*/ 13454 w 26658"/>
                    <a:gd name="connsiteY1" fmla="*/ 26531 h 26530"/>
                    <a:gd name="connsiteX2" fmla="*/ 2 w 26658"/>
                    <a:gd name="connsiteY2" fmla="*/ 13328 h 26530"/>
                    <a:gd name="connsiteX3" fmla="*/ 13205 w 26658"/>
                    <a:gd name="connsiteY3" fmla="*/ 0 h 26530"/>
                    <a:gd name="connsiteX4" fmla="*/ 26657 w 26658"/>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0">
                      <a:moveTo>
                        <a:pt x="26657" y="13203"/>
                      </a:moveTo>
                      <a:cubicBezTo>
                        <a:pt x="26781" y="20552"/>
                        <a:pt x="20803" y="26531"/>
                        <a:pt x="13454" y="26531"/>
                      </a:cubicBezTo>
                      <a:cubicBezTo>
                        <a:pt x="6105" y="26531"/>
                        <a:pt x="127" y="20677"/>
                        <a:pt x="2" y="13328"/>
                      </a:cubicBezTo>
                      <a:cubicBezTo>
                        <a:pt x="-123" y="5979"/>
                        <a:pt x="5856" y="0"/>
                        <a:pt x="13205" y="0"/>
                      </a:cubicBezTo>
                      <a:cubicBezTo>
                        <a:pt x="20553" y="0"/>
                        <a:pt x="26657" y="5854"/>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6" name="Freeform 5003">
                  <a:extLst>
                    <a:ext uri="{FF2B5EF4-FFF2-40B4-BE49-F238E27FC236}">
                      <a16:creationId xmlns:a16="http://schemas.microsoft.com/office/drawing/2014/main" id="{A734304E-9F53-0C8D-F681-9AB2BA20973A}"/>
                    </a:ext>
                  </a:extLst>
                </p:cNvPr>
                <p:cNvSpPr/>
                <p:nvPr/>
              </p:nvSpPr>
              <p:spPr>
                <a:xfrm>
                  <a:off x="8228623" y="5625971"/>
                  <a:ext cx="4062" cy="52065"/>
                </a:xfrm>
                <a:custGeom>
                  <a:avLst/>
                  <a:gdLst>
                    <a:gd name="connsiteX0" fmla="*/ 2023 w 4062"/>
                    <a:gd name="connsiteY0" fmla="*/ 52065 h 52065"/>
                    <a:gd name="connsiteX1" fmla="*/ 3767 w 4062"/>
                    <a:gd name="connsiteY1" fmla="*/ 33381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6"/>
                        <a:pt x="3767" y="33381"/>
                      </a:cubicBezTo>
                      <a:cubicBezTo>
                        <a:pt x="2895" y="26406"/>
                        <a:pt x="778" y="23417"/>
                        <a:pt x="155" y="16317"/>
                      </a:cubicBezTo>
                      <a:cubicBezTo>
                        <a:pt x="-467"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7" name="Freeform 5004">
                  <a:extLst>
                    <a:ext uri="{FF2B5EF4-FFF2-40B4-BE49-F238E27FC236}">
                      <a16:creationId xmlns:a16="http://schemas.microsoft.com/office/drawing/2014/main" id="{874C3186-715A-40C3-0A75-6D509666C026}"/>
                    </a:ext>
                  </a:extLst>
                </p:cNvPr>
                <p:cNvSpPr/>
                <p:nvPr/>
              </p:nvSpPr>
              <p:spPr>
                <a:xfrm>
                  <a:off x="8221367" y="5631078"/>
                  <a:ext cx="3477" cy="52065"/>
                </a:xfrm>
                <a:custGeom>
                  <a:avLst/>
                  <a:gdLst>
                    <a:gd name="connsiteX0" fmla="*/ 1059 w 3477"/>
                    <a:gd name="connsiteY0" fmla="*/ 0 h 52065"/>
                    <a:gd name="connsiteX1" fmla="*/ 3301 w 3477"/>
                    <a:gd name="connsiteY1" fmla="*/ 18684 h 52065"/>
                    <a:gd name="connsiteX2" fmla="*/ 62 w 3477"/>
                    <a:gd name="connsiteY2" fmla="*/ 35748 h 52065"/>
                    <a:gd name="connsiteX3" fmla="*/ 2429 w 347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0"/>
                      </a:moveTo>
                      <a:cubicBezTo>
                        <a:pt x="3675" y="7971"/>
                        <a:pt x="3675" y="14324"/>
                        <a:pt x="3301" y="18684"/>
                      </a:cubicBezTo>
                      <a:cubicBezTo>
                        <a:pt x="2554" y="25659"/>
                        <a:pt x="561" y="28648"/>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8" name="Freeform 5005">
                  <a:extLst>
                    <a:ext uri="{FF2B5EF4-FFF2-40B4-BE49-F238E27FC236}">
                      <a16:creationId xmlns:a16="http://schemas.microsoft.com/office/drawing/2014/main" id="{CCE63FB2-0D06-F618-AFA3-4801C55C3715}"/>
                    </a:ext>
                  </a:extLst>
                </p:cNvPr>
                <p:cNvSpPr/>
                <p:nvPr/>
              </p:nvSpPr>
              <p:spPr>
                <a:xfrm>
                  <a:off x="8213954" y="5671932"/>
                  <a:ext cx="26410" cy="26530"/>
                </a:xfrm>
                <a:custGeom>
                  <a:avLst/>
                  <a:gdLst>
                    <a:gd name="connsiteX0" fmla="*/ 2 w 26410"/>
                    <a:gd name="connsiteY0" fmla="*/ 13328 h 26530"/>
                    <a:gd name="connsiteX1" fmla="*/ 13080 w 26410"/>
                    <a:gd name="connsiteY1" fmla="*/ 0 h 26530"/>
                    <a:gd name="connsiteX2" fmla="*/ 26408 w 26410"/>
                    <a:gd name="connsiteY2" fmla="*/ 13203 h 26530"/>
                    <a:gd name="connsiteX3" fmla="*/ 13330 w 26410"/>
                    <a:gd name="connsiteY3" fmla="*/ 26531 h 26530"/>
                    <a:gd name="connsiteX4" fmla="*/ 2 w 26410"/>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 y="13328"/>
                      </a:moveTo>
                      <a:cubicBezTo>
                        <a:pt x="-123" y="5979"/>
                        <a:pt x="5731" y="0"/>
                        <a:pt x="13080" y="0"/>
                      </a:cubicBezTo>
                      <a:cubicBezTo>
                        <a:pt x="20305" y="0"/>
                        <a:pt x="26283" y="5854"/>
                        <a:pt x="26408" y="13203"/>
                      </a:cubicBezTo>
                      <a:cubicBezTo>
                        <a:pt x="26533" y="20552"/>
                        <a:pt x="20678" y="26531"/>
                        <a:pt x="13330" y="26531"/>
                      </a:cubicBezTo>
                      <a:cubicBezTo>
                        <a:pt x="6105" y="26531"/>
                        <a:pt x="127" y="20677"/>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7" name="Graphic 2987">
                <a:extLst>
                  <a:ext uri="{FF2B5EF4-FFF2-40B4-BE49-F238E27FC236}">
                    <a16:creationId xmlns:a16="http://schemas.microsoft.com/office/drawing/2014/main" id="{71B39427-6DCA-ECEC-F2EE-1C2DB4A8CD53}"/>
                  </a:ext>
                </a:extLst>
              </p:cNvPr>
              <p:cNvGrpSpPr/>
              <p:nvPr/>
            </p:nvGrpSpPr>
            <p:grpSpPr>
              <a:xfrm>
                <a:off x="8242228" y="5549243"/>
                <a:ext cx="27654" cy="149095"/>
                <a:chOff x="8242228" y="5549243"/>
                <a:chExt cx="27654" cy="149095"/>
              </a:xfrm>
              <a:grpFill/>
            </p:grpSpPr>
            <p:sp>
              <p:nvSpPr>
                <p:cNvPr id="4517" name="Freeform 5007">
                  <a:extLst>
                    <a:ext uri="{FF2B5EF4-FFF2-40B4-BE49-F238E27FC236}">
                      <a16:creationId xmlns:a16="http://schemas.microsoft.com/office/drawing/2014/main" id="{356314EF-4777-DDED-7B0E-F3D2187C8544}"/>
                    </a:ext>
                  </a:extLst>
                </p:cNvPr>
                <p:cNvSpPr/>
                <p:nvPr/>
              </p:nvSpPr>
              <p:spPr>
                <a:xfrm>
                  <a:off x="8249813" y="5569671"/>
                  <a:ext cx="3988" cy="52065"/>
                </a:xfrm>
                <a:custGeom>
                  <a:avLst/>
                  <a:gdLst>
                    <a:gd name="connsiteX0" fmla="*/ 2133 w 3988"/>
                    <a:gd name="connsiteY0" fmla="*/ 0 h 52065"/>
                    <a:gd name="connsiteX1" fmla="*/ 264 w 3988"/>
                    <a:gd name="connsiteY1" fmla="*/ 18684 h 52065"/>
                    <a:gd name="connsiteX2" fmla="*/ 3877 w 3988"/>
                    <a:gd name="connsiteY2" fmla="*/ 35748 h 52065"/>
                    <a:gd name="connsiteX3" fmla="*/ 1883 w 398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8" h="52065">
                      <a:moveTo>
                        <a:pt x="2133" y="0"/>
                      </a:moveTo>
                      <a:cubicBezTo>
                        <a:pt x="-234" y="8096"/>
                        <a:pt x="-234" y="14448"/>
                        <a:pt x="264" y="18684"/>
                      </a:cubicBezTo>
                      <a:cubicBezTo>
                        <a:pt x="1136" y="25659"/>
                        <a:pt x="3254" y="28648"/>
                        <a:pt x="3877" y="35748"/>
                      </a:cubicBezTo>
                      <a:cubicBezTo>
                        <a:pt x="4375" y="42599"/>
                        <a:pt x="3129" y="48328"/>
                        <a:pt x="18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8" name="Freeform 5008">
                  <a:extLst>
                    <a:ext uri="{FF2B5EF4-FFF2-40B4-BE49-F238E27FC236}">
                      <a16:creationId xmlns:a16="http://schemas.microsoft.com/office/drawing/2014/main" id="{00DDAEC3-6398-71DE-5761-B118A5FA8569}"/>
                    </a:ext>
                  </a:extLst>
                </p:cNvPr>
                <p:cNvSpPr/>
                <p:nvPr/>
              </p:nvSpPr>
              <p:spPr>
                <a:xfrm>
                  <a:off x="8257815" y="5564688"/>
                  <a:ext cx="3570" cy="52065"/>
                </a:xfrm>
                <a:custGeom>
                  <a:avLst/>
                  <a:gdLst>
                    <a:gd name="connsiteX0" fmla="*/ 2351 w 3570"/>
                    <a:gd name="connsiteY0" fmla="*/ 52065 h 52065"/>
                    <a:gd name="connsiteX1" fmla="*/ 234 w 3570"/>
                    <a:gd name="connsiteY1" fmla="*/ 33382 h 52065"/>
                    <a:gd name="connsiteX2" fmla="*/ 3472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52065"/>
                      </a:moveTo>
                      <a:cubicBezTo>
                        <a:pt x="-140" y="44094"/>
                        <a:pt x="-264" y="37741"/>
                        <a:pt x="234" y="33382"/>
                      </a:cubicBezTo>
                      <a:cubicBezTo>
                        <a:pt x="981" y="26407"/>
                        <a:pt x="3098" y="23417"/>
                        <a:pt x="3472" y="16317"/>
                      </a:cubicBezTo>
                      <a:cubicBezTo>
                        <a:pt x="3970" y="9467"/>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9" name="Freeform 5009">
                  <a:extLst>
                    <a:ext uri="{FF2B5EF4-FFF2-40B4-BE49-F238E27FC236}">
                      <a16:creationId xmlns:a16="http://schemas.microsoft.com/office/drawing/2014/main" id="{33B26D16-70D7-7A76-F382-2C39847E259D}"/>
                    </a:ext>
                  </a:extLst>
                </p:cNvPr>
                <p:cNvSpPr/>
                <p:nvPr/>
              </p:nvSpPr>
              <p:spPr>
                <a:xfrm>
                  <a:off x="8242228" y="5549243"/>
                  <a:ext cx="26657" cy="26530"/>
                </a:xfrm>
                <a:custGeom>
                  <a:avLst/>
                  <a:gdLst>
                    <a:gd name="connsiteX0" fmla="*/ 26657 w 26657"/>
                    <a:gd name="connsiteY0" fmla="*/ 13203 h 26530"/>
                    <a:gd name="connsiteX1" fmla="*/ 13454 w 26657"/>
                    <a:gd name="connsiteY1" fmla="*/ 26531 h 26530"/>
                    <a:gd name="connsiteX2" fmla="*/ 2 w 26657"/>
                    <a:gd name="connsiteY2" fmla="*/ 13328 h 26530"/>
                    <a:gd name="connsiteX3" fmla="*/ 13206 w 26657"/>
                    <a:gd name="connsiteY3" fmla="*/ 0 h 26530"/>
                    <a:gd name="connsiteX4" fmla="*/ 26657 w 26657"/>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7" y="13203"/>
                      </a:moveTo>
                      <a:cubicBezTo>
                        <a:pt x="26657" y="20552"/>
                        <a:pt x="20804" y="26531"/>
                        <a:pt x="13454" y="26531"/>
                      </a:cubicBezTo>
                      <a:cubicBezTo>
                        <a:pt x="6106" y="26531"/>
                        <a:pt x="127" y="20677"/>
                        <a:pt x="2" y="13328"/>
                      </a:cubicBezTo>
                      <a:cubicBezTo>
                        <a:pt x="-122" y="5979"/>
                        <a:pt x="5856" y="0"/>
                        <a:pt x="13206" y="0"/>
                      </a:cubicBezTo>
                      <a:cubicBezTo>
                        <a:pt x="20554" y="0"/>
                        <a:pt x="26657" y="5979"/>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0" name="Freeform 5010">
                  <a:extLst>
                    <a:ext uri="{FF2B5EF4-FFF2-40B4-BE49-F238E27FC236}">
                      <a16:creationId xmlns:a16="http://schemas.microsoft.com/office/drawing/2014/main" id="{A3578CEC-24AC-E99B-DCD6-B316DB5C5F6E}"/>
                    </a:ext>
                  </a:extLst>
                </p:cNvPr>
                <p:cNvSpPr/>
                <p:nvPr/>
              </p:nvSpPr>
              <p:spPr>
                <a:xfrm>
                  <a:off x="8258435" y="5625846"/>
                  <a:ext cx="3863" cy="52065"/>
                </a:xfrm>
                <a:custGeom>
                  <a:avLst/>
                  <a:gdLst>
                    <a:gd name="connsiteX0" fmla="*/ 1731 w 3863"/>
                    <a:gd name="connsiteY0" fmla="*/ 52065 h 52065"/>
                    <a:gd name="connsiteX1" fmla="*/ 3600 w 3863"/>
                    <a:gd name="connsiteY1" fmla="*/ 33382 h 52065"/>
                    <a:gd name="connsiteX2" fmla="*/ 113 w 3863"/>
                    <a:gd name="connsiteY2" fmla="*/ 16317 h 52065"/>
                    <a:gd name="connsiteX3" fmla="*/ 2105 w 3863"/>
                    <a:gd name="connsiteY3" fmla="*/ 0 h 52065"/>
                  </a:gdLst>
                  <a:ahLst/>
                  <a:cxnLst>
                    <a:cxn ang="0">
                      <a:pos x="connsiteX0" y="connsiteY0"/>
                    </a:cxn>
                    <a:cxn ang="0">
                      <a:pos x="connsiteX1" y="connsiteY1"/>
                    </a:cxn>
                    <a:cxn ang="0">
                      <a:pos x="connsiteX2" y="connsiteY2"/>
                    </a:cxn>
                    <a:cxn ang="0">
                      <a:pos x="connsiteX3" y="connsiteY3"/>
                    </a:cxn>
                  </a:cxnLst>
                  <a:rect l="l" t="t" r="r" b="b"/>
                  <a:pathLst>
                    <a:path w="3863" h="52065">
                      <a:moveTo>
                        <a:pt x="1731" y="52065"/>
                      </a:moveTo>
                      <a:cubicBezTo>
                        <a:pt x="4098" y="43969"/>
                        <a:pt x="4098" y="37617"/>
                        <a:pt x="3600" y="33382"/>
                      </a:cubicBezTo>
                      <a:cubicBezTo>
                        <a:pt x="2728" y="26406"/>
                        <a:pt x="611" y="23417"/>
                        <a:pt x="113" y="16317"/>
                      </a:cubicBezTo>
                      <a:cubicBezTo>
                        <a:pt x="-386" y="9467"/>
                        <a:pt x="860" y="3737"/>
                        <a:pt x="2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1" name="Freeform 5011">
                  <a:extLst>
                    <a:ext uri="{FF2B5EF4-FFF2-40B4-BE49-F238E27FC236}">
                      <a16:creationId xmlns:a16="http://schemas.microsoft.com/office/drawing/2014/main" id="{1DFCC04D-E731-0587-6EA5-0BB70842963C}"/>
                    </a:ext>
                  </a:extLst>
                </p:cNvPr>
                <p:cNvSpPr/>
                <p:nvPr/>
              </p:nvSpPr>
              <p:spPr>
                <a:xfrm>
                  <a:off x="8250886" y="5630828"/>
                  <a:ext cx="3534" cy="52065"/>
                </a:xfrm>
                <a:custGeom>
                  <a:avLst/>
                  <a:gdLst>
                    <a:gd name="connsiteX0" fmla="*/ 1184 w 3534"/>
                    <a:gd name="connsiteY0" fmla="*/ 0 h 52065"/>
                    <a:gd name="connsiteX1" fmla="*/ 3301 w 3534"/>
                    <a:gd name="connsiteY1" fmla="*/ 18684 h 52065"/>
                    <a:gd name="connsiteX2" fmla="*/ 62 w 3534"/>
                    <a:gd name="connsiteY2" fmla="*/ 35748 h 52065"/>
                    <a:gd name="connsiteX3" fmla="*/ 2304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0"/>
                      </a:moveTo>
                      <a:cubicBezTo>
                        <a:pt x="3675" y="7972"/>
                        <a:pt x="3799" y="14324"/>
                        <a:pt x="3301" y="18684"/>
                      </a:cubicBezTo>
                      <a:cubicBezTo>
                        <a:pt x="2554" y="25659"/>
                        <a:pt x="437" y="28648"/>
                        <a:pt x="62" y="35748"/>
                      </a:cubicBezTo>
                      <a:cubicBezTo>
                        <a:pt x="-311" y="42599"/>
                        <a:pt x="1059" y="48328"/>
                        <a:pt x="230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2" name="Freeform 5012">
                  <a:extLst>
                    <a:ext uri="{FF2B5EF4-FFF2-40B4-BE49-F238E27FC236}">
                      <a16:creationId xmlns:a16="http://schemas.microsoft.com/office/drawing/2014/main" id="{06A72305-FD57-6695-0FEA-EDA0E4C53B39}"/>
                    </a:ext>
                  </a:extLst>
                </p:cNvPr>
                <p:cNvSpPr/>
                <p:nvPr/>
              </p:nvSpPr>
              <p:spPr>
                <a:xfrm>
                  <a:off x="8243474" y="5671808"/>
                  <a:ext cx="26408" cy="26530"/>
                </a:xfrm>
                <a:custGeom>
                  <a:avLst/>
                  <a:gdLst>
                    <a:gd name="connsiteX0" fmla="*/ 2 w 26408"/>
                    <a:gd name="connsiteY0" fmla="*/ 13328 h 26530"/>
                    <a:gd name="connsiteX1" fmla="*/ 13080 w 26408"/>
                    <a:gd name="connsiteY1" fmla="*/ 0 h 26530"/>
                    <a:gd name="connsiteX2" fmla="*/ 26408 w 26408"/>
                    <a:gd name="connsiteY2" fmla="*/ 13203 h 26530"/>
                    <a:gd name="connsiteX3" fmla="*/ 13330 w 26408"/>
                    <a:gd name="connsiteY3" fmla="*/ 26531 h 26530"/>
                    <a:gd name="connsiteX4" fmla="*/ 2 w 26408"/>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0">
                      <a:moveTo>
                        <a:pt x="2" y="13328"/>
                      </a:moveTo>
                      <a:cubicBezTo>
                        <a:pt x="-123" y="5979"/>
                        <a:pt x="5732" y="0"/>
                        <a:pt x="13080" y="0"/>
                      </a:cubicBezTo>
                      <a:cubicBezTo>
                        <a:pt x="20305" y="0"/>
                        <a:pt x="26283" y="5854"/>
                        <a:pt x="26408" y="13203"/>
                      </a:cubicBezTo>
                      <a:cubicBezTo>
                        <a:pt x="26408" y="20552"/>
                        <a:pt x="20554" y="26531"/>
                        <a:pt x="13330" y="26531"/>
                      </a:cubicBezTo>
                      <a:cubicBezTo>
                        <a:pt x="6105" y="26531"/>
                        <a:pt x="2" y="20552"/>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8" name="Graphic 2987">
                <a:extLst>
                  <a:ext uri="{FF2B5EF4-FFF2-40B4-BE49-F238E27FC236}">
                    <a16:creationId xmlns:a16="http://schemas.microsoft.com/office/drawing/2014/main" id="{614ED344-9B75-70AC-E8D8-C13B2A379409}"/>
                  </a:ext>
                </a:extLst>
              </p:cNvPr>
              <p:cNvGrpSpPr/>
              <p:nvPr/>
            </p:nvGrpSpPr>
            <p:grpSpPr>
              <a:xfrm>
                <a:off x="8272124" y="5549118"/>
                <a:ext cx="27028" cy="148971"/>
                <a:chOff x="8272124" y="5549118"/>
                <a:chExt cx="27028" cy="148971"/>
              </a:xfrm>
              <a:grpFill/>
            </p:grpSpPr>
            <p:sp>
              <p:nvSpPr>
                <p:cNvPr id="4511" name="Freeform 5014">
                  <a:extLst>
                    <a:ext uri="{FF2B5EF4-FFF2-40B4-BE49-F238E27FC236}">
                      <a16:creationId xmlns:a16="http://schemas.microsoft.com/office/drawing/2014/main" id="{C41F2377-1841-F657-E016-D30EE928F3E0}"/>
                    </a:ext>
                  </a:extLst>
                </p:cNvPr>
                <p:cNvSpPr/>
                <p:nvPr/>
              </p:nvSpPr>
              <p:spPr>
                <a:xfrm>
                  <a:off x="8279556" y="5569421"/>
                  <a:ext cx="3883" cy="52065"/>
                </a:xfrm>
                <a:custGeom>
                  <a:avLst/>
                  <a:gdLst>
                    <a:gd name="connsiteX0" fmla="*/ 2159 w 3883"/>
                    <a:gd name="connsiteY0" fmla="*/ 0 h 52065"/>
                    <a:gd name="connsiteX1" fmla="*/ 290 w 3883"/>
                    <a:gd name="connsiteY1" fmla="*/ 18684 h 52065"/>
                    <a:gd name="connsiteX2" fmla="*/ 3778 w 3883"/>
                    <a:gd name="connsiteY2" fmla="*/ 35748 h 52065"/>
                    <a:gd name="connsiteX3" fmla="*/ 1660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0"/>
                      </a:moveTo>
                      <a:cubicBezTo>
                        <a:pt x="-332" y="8096"/>
                        <a:pt x="-207" y="14449"/>
                        <a:pt x="290" y="18684"/>
                      </a:cubicBezTo>
                      <a:cubicBezTo>
                        <a:pt x="1162"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2" name="Freeform 5015">
                  <a:extLst>
                    <a:ext uri="{FF2B5EF4-FFF2-40B4-BE49-F238E27FC236}">
                      <a16:creationId xmlns:a16="http://schemas.microsoft.com/office/drawing/2014/main" id="{C572A99D-A083-6EAD-8859-2228DBF23104}"/>
                    </a:ext>
                  </a:extLst>
                </p:cNvPr>
                <p:cNvSpPr/>
                <p:nvPr/>
              </p:nvSpPr>
              <p:spPr>
                <a:xfrm>
                  <a:off x="8287390" y="5564439"/>
                  <a:ext cx="3640" cy="52065"/>
                </a:xfrm>
                <a:custGeom>
                  <a:avLst/>
                  <a:gdLst>
                    <a:gd name="connsiteX0" fmla="*/ 2297 w 3640"/>
                    <a:gd name="connsiteY0" fmla="*/ 52065 h 52065"/>
                    <a:gd name="connsiteX1" fmla="*/ 179 w 3640"/>
                    <a:gd name="connsiteY1" fmla="*/ 33381 h 52065"/>
                    <a:gd name="connsiteX2" fmla="*/ 3543 w 3640"/>
                    <a:gd name="connsiteY2" fmla="*/ 16317 h 52065"/>
                    <a:gd name="connsiteX3" fmla="*/ 1301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4"/>
                        <a:pt x="-194" y="37741"/>
                        <a:pt x="179" y="33381"/>
                      </a:cubicBezTo>
                      <a:cubicBezTo>
                        <a:pt x="927" y="26406"/>
                        <a:pt x="3045" y="23417"/>
                        <a:pt x="3543" y="16317"/>
                      </a:cubicBezTo>
                      <a:cubicBezTo>
                        <a:pt x="4041" y="9467"/>
                        <a:pt x="2546" y="3737"/>
                        <a:pt x="13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3" name="Freeform 5016">
                  <a:extLst>
                    <a:ext uri="{FF2B5EF4-FFF2-40B4-BE49-F238E27FC236}">
                      <a16:creationId xmlns:a16="http://schemas.microsoft.com/office/drawing/2014/main" id="{4FA3CCB8-D192-8BC0-F803-8E60D8CBE1BD}"/>
                    </a:ext>
                  </a:extLst>
                </p:cNvPr>
                <p:cNvSpPr/>
                <p:nvPr/>
              </p:nvSpPr>
              <p:spPr>
                <a:xfrm>
                  <a:off x="8272124" y="5549118"/>
                  <a:ext cx="26530" cy="26530"/>
                </a:xfrm>
                <a:custGeom>
                  <a:avLst/>
                  <a:gdLst>
                    <a:gd name="connsiteX0" fmla="*/ 26531 w 26530"/>
                    <a:gd name="connsiteY0" fmla="*/ 13203 h 26530"/>
                    <a:gd name="connsiteX1" fmla="*/ 13328 w 26530"/>
                    <a:gd name="connsiteY1" fmla="*/ 26531 h 26530"/>
                    <a:gd name="connsiteX2" fmla="*/ 0 w 26530"/>
                    <a:gd name="connsiteY2" fmla="*/ 13328 h 26530"/>
                    <a:gd name="connsiteX3" fmla="*/ 13203 w 26530"/>
                    <a:gd name="connsiteY3" fmla="*/ 0 h 26530"/>
                    <a:gd name="connsiteX4" fmla="*/ 26531 w 26530"/>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0">
                      <a:moveTo>
                        <a:pt x="26531" y="13203"/>
                      </a:moveTo>
                      <a:cubicBezTo>
                        <a:pt x="26531" y="20552"/>
                        <a:pt x="20677" y="26531"/>
                        <a:pt x="13328" y="26531"/>
                      </a:cubicBezTo>
                      <a:cubicBezTo>
                        <a:pt x="5979" y="26531"/>
                        <a:pt x="0" y="20677"/>
                        <a:pt x="0" y="13328"/>
                      </a:cubicBezTo>
                      <a:cubicBezTo>
                        <a:pt x="0" y="5979"/>
                        <a:pt x="5855" y="0"/>
                        <a:pt x="13203" y="0"/>
                      </a:cubicBezTo>
                      <a:cubicBezTo>
                        <a:pt x="20552" y="0"/>
                        <a:pt x="26531" y="5854"/>
                        <a:pt x="26531"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4" name="Freeform 5017">
                  <a:extLst>
                    <a:ext uri="{FF2B5EF4-FFF2-40B4-BE49-F238E27FC236}">
                      <a16:creationId xmlns:a16="http://schemas.microsoft.com/office/drawing/2014/main" id="{35F28FCE-EF6D-DBA0-F85C-F48D980B2B85}"/>
                    </a:ext>
                  </a:extLst>
                </p:cNvPr>
                <p:cNvSpPr/>
                <p:nvPr/>
              </p:nvSpPr>
              <p:spPr>
                <a:xfrm>
                  <a:off x="8287838" y="5625597"/>
                  <a:ext cx="3856" cy="52065"/>
                </a:xfrm>
                <a:custGeom>
                  <a:avLst/>
                  <a:gdLst>
                    <a:gd name="connsiteX0" fmla="*/ 1724 w 3856"/>
                    <a:gd name="connsiteY0" fmla="*/ 52065 h 52065"/>
                    <a:gd name="connsiteX1" fmla="*/ 3592 w 3856"/>
                    <a:gd name="connsiteY1" fmla="*/ 33381 h 52065"/>
                    <a:gd name="connsiteX2" fmla="*/ 105 w 3856"/>
                    <a:gd name="connsiteY2" fmla="*/ 16317 h 52065"/>
                    <a:gd name="connsiteX3" fmla="*/ 2222 w 3856"/>
                    <a:gd name="connsiteY3" fmla="*/ 0 h 52065"/>
                  </a:gdLst>
                  <a:ahLst/>
                  <a:cxnLst>
                    <a:cxn ang="0">
                      <a:pos x="connsiteX0" y="connsiteY0"/>
                    </a:cxn>
                    <a:cxn ang="0">
                      <a:pos x="connsiteX1" y="connsiteY1"/>
                    </a:cxn>
                    <a:cxn ang="0">
                      <a:pos x="connsiteX2" y="connsiteY2"/>
                    </a:cxn>
                    <a:cxn ang="0">
                      <a:pos x="connsiteX3" y="connsiteY3"/>
                    </a:cxn>
                  </a:cxnLst>
                  <a:rect l="l" t="t" r="r" b="b"/>
                  <a:pathLst>
                    <a:path w="3856" h="52065">
                      <a:moveTo>
                        <a:pt x="1724" y="52065"/>
                      </a:moveTo>
                      <a:cubicBezTo>
                        <a:pt x="4091" y="43969"/>
                        <a:pt x="4091" y="37616"/>
                        <a:pt x="3592"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5" name="Freeform 5018">
                  <a:extLst>
                    <a:ext uri="{FF2B5EF4-FFF2-40B4-BE49-F238E27FC236}">
                      <a16:creationId xmlns:a16="http://schemas.microsoft.com/office/drawing/2014/main" id="{58332109-F21B-AF4C-BD10-65350731FAE6}"/>
                    </a:ext>
                  </a:extLst>
                </p:cNvPr>
                <p:cNvSpPr/>
                <p:nvPr/>
              </p:nvSpPr>
              <p:spPr>
                <a:xfrm>
                  <a:off x="8280371" y="5630579"/>
                  <a:ext cx="3516" cy="52065"/>
                </a:xfrm>
                <a:custGeom>
                  <a:avLst/>
                  <a:gdLst>
                    <a:gd name="connsiteX0" fmla="*/ 1220 w 3516"/>
                    <a:gd name="connsiteY0" fmla="*/ 0 h 52065"/>
                    <a:gd name="connsiteX1" fmla="*/ 3337 w 3516"/>
                    <a:gd name="connsiteY1" fmla="*/ 18684 h 52065"/>
                    <a:gd name="connsiteX2" fmla="*/ 98 w 3516"/>
                    <a:gd name="connsiteY2" fmla="*/ 35748 h 52065"/>
                    <a:gd name="connsiteX3" fmla="*/ 2340 w 351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16" h="52065">
                      <a:moveTo>
                        <a:pt x="1220" y="0"/>
                      </a:moveTo>
                      <a:cubicBezTo>
                        <a:pt x="3711" y="7972"/>
                        <a:pt x="3711" y="14324"/>
                        <a:pt x="3337" y="18684"/>
                      </a:cubicBezTo>
                      <a:cubicBezTo>
                        <a:pt x="2590" y="25659"/>
                        <a:pt x="472" y="28648"/>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6" name="Freeform 5019">
                  <a:extLst>
                    <a:ext uri="{FF2B5EF4-FFF2-40B4-BE49-F238E27FC236}">
                      <a16:creationId xmlns:a16="http://schemas.microsoft.com/office/drawing/2014/main" id="{5F9CCF0C-F18F-DADA-D024-88F2978E6DC8}"/>
                    </a:ext>
                  </a:extLst>
                </p:cNvPr>
                <p:cNvSpPr/>
                <p:nvPr/>
              </p:nvSpPr>
              <p:spPr>
                <a:xfrm>
                  <a:off x="8272871" y="5671559"/>
                  <a:ext cx="26281" cy="26530"/>
                </a:xfrm>
                <a:custGeom>
                  <a:avLst/>
                  <a:gdLst>
                    <a:gd name="connsiteX0" fmla="*/ 0 w 26281"/>
                    <a:gd name="connsiteY0" fmla="*/ 13328 h 26530"/>
                    <a:gd name="connsiteX1" fmla="*/ 13078 w 26281"/>
                    <a:gd name="connsiteY1" fmla="*/ 0 h 26530"/>
                    <a:gd name="connsiteX2" fmla="*/ 26281 w 26281"/>
                    <a:gd name="connsiteY2" fmla="*/ 13203 h 26530"/>
                    <a:gd name="connsiteX3" fmla="*/ 13203 w 26281"/>
                    <a:gd name="connsiteY3" fmla="*/ 26531 h 26530"/>
                    <a:gd name="connsiteX4" fmla="*/ 0 w 26281"/>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530">
                      <a:moveTo>
                        <a:pt x="0" y="13328"/>
                      </a:moveTo>
                      <a:cubicBezTo>
                        <a:pt x="0" y="5979"/>
                        <a:pt x="5855" y="0"/>
                        <a:pt x="13078" y="0"/>
                      </a:cubicBezTo>
                      <a:cubicBezTo>
                        <a:pt x="20303" y="0"/>
                        <a:pt x="26281" y="5854"/>
                        <a:pt x="26281" y="13203"/>
                      </a:cubicBezTo>
                      <a:cubicBezTo>
                        <a:pt x="26281"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9" name="Graphic 2987">
                <a:extLst>
                  <a:ext uri="{FF2B5EF4-FFF2-40B4-BE49-F238E27FC236}">
                    <a16:creationId xmlns:a16="http://schemas.microsoft.com/office/drawing/2014/main" id="{44FA575B-344D-FF34-F7E6-3347D8CE2A50}"/>
                  </a:ext>
                </a:extLst>
              </p:cNvPr>
              <p:cNvGrpSpPr/>
              <p:nvPr/>
            </p:nvGrpSpPr>
            <p:grpSpPr>
              <a:xfrm>
                <a:off x="8301769" y="5548869"/>
                <a:ext cx="26780" cy="148970"/>
                <a:chOff x="8301769" y="5548869"/>
                <a:chExt cx="26780" cy="148970"/>
              </a:xfrm>
              <a:grpFill/>
            </p:grpSpPr>
            <p:sp>
              <p:nvSpPr>
                <p:cNvPr id="4505" name="Freeform 5021">
                  <a:extLst>
                    <a:ext uri="{FF2B5EF4-FFF2-40B4-BE49-F238E27FC236}">
                      <a16:creationId xmlns:a16="http://schemas.microsoft.com/office/drawing/2014/main" id="{F358B875-2239-21F3-F6AC-1AA711F371E9}"/>
                    </a:ext>
                  </a:extLst>
                </p:cNvPr>
                <p:cNvSpPr/>
                <p:nvPr/>
              </p:nvSpPr>
              <p:spPr>
                <a:xfrm>
                  <a:off x="8309325" y="5569297"/>
                  <a:ext cx="3882" cy="52065"/>
                </a:xfrm>
                <a:custGeom>
                  <a:avLst/>
                  <a:gdLst>
                    <a:gd name="connsiteX0" fmla="*/ 2159 w 3882"/>
                    <a:gd name="connsiteY0" fmla="*/ 0 h 52065"/>
                    <a:gd name="connsiteX1" fmla="*/ 290 w 3882"/>
                    <a:gd name="connsiteY1" fmla="*/ 18684 h 52065"/>
                    <a:gd name="connsiteX2" fmla="*/ 3778 w 3882"/>
                    <a:gd name="connsiteY2" fmla="*/ 35748 h 52065"/>
                    <a:gd name="connsiteX3" fmla="*/ 1660 w 388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2" h="52065">
                      <a:moveTo>
                        <a:pt x="2159" y="0"/>
                      </a:moveTo>
                      <a:cubicBezTo>
                        <a:pt x="-332" y="8096"/>
                        <a:pt x="-207" y="14448"/>
                        <a:pt x="290" y="18684"/>
                      </a:cubicBezTo>
                      <a:cubicBezTo>
                        <a:pt x="1038"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6" name="Freeform 5022">
                  <a:extLst>
                    <a:ext uri="{FF2B5EF4-FFF2-40B4-BE49-F238E27FC236}">
                      <a16:creationId xmlns:a16="http://schemas.microsoft.com/office/drawing/2014/main" id="{420102A9-69F5-96E4-2020-CDFCEA02E8E2}"/>
                    </a:ext>
                  </a:extLst>
                </p:cNvPr>
                <p:cNvSpPr/>
                <p:nvPr/>
              </p:nvSpPr>
              <p:spPr>
                <a:xfrm>
                  <a:off x="8317078" y="5564314"/>
                  <a:ext cx="3721" cy="52065"/>
                </a:xfrm>
                <a:custGeom>
                  <a:avLst/>
                  <a:gdLst>
                    <a:gd name="connsiteX0" fmla="*/ 2253 w 3721"/>
                    <a:gd name="connsiteY0" fmla="*/ 52065 h 52065"/>
                    <a:gd name="connsiteX1" fmla="*/ 260 w 3721"/>
                    <a:gd name="connsiteY1" fmla="*/ 33382 h 52065"/>
                    <a:gd name="connsiteX2" fmla="*/ 3623 w 3721"/>
                    <a:gd name="connsiteY2" fmla="*/ 16317 h 52065"/>
                    <a:gd name="connsiteX3" fmla="*/ 1382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4"/>
                        <a:pt x="-238" y="37741"/>
                        <a:pt x="260" y="33382"/>
                      </a:cubicBezTo>
                      <a:cubicBezTo>
                        <a:pt x="1007" y="26407"/>
                        <a:pt x="3125" y="23417"/>
                        <a:pt x="3623" y="16317"/>
                      </a:cubicBezTo>
                      <a:cubicBezTo>
                        <a:pt x="4121" y="9467"/>
                        <a:pt x="2627" y="3737"/>
                        <a:pt x="13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7" name="Freeform 5023">
                  <a:extLst>
                    <a:ext uri="{FF2B5EF4-FFF2-40B4-BE49-F238E27FC236}">
                      <a16:creationId xmlns:a16="http://schemas.microsoft.com/office/drawing/2014/main" id="{9EDE54CF-B395-E311-5FA0-61E5D7B2CB8C}"/>
                    </a:ext>
                  </a:extLst>
                </p:cNvPr>
                <p:cNvSpPr/>
                <p:nvPr/>
              </p:nvSpPr>
              <p:spPr>
                <a:xfrm>
                  <a:off x="8301769" y="5548869"/>
                  <a:ext cx="26655" cy="26530"/>
                </a:xfrm>
                <a:custGeom>
                  <a:avLst/>
                  <a:gdLst>
                    <a:gd name="connsiteX0" fmla="*/ 26656 w 26655"/>
                    <a:gd name="connsiteY0" fmla="*/ 13203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203"/>
                      </a:moveTo>
                      <a:cubicBezTo>
                        <a:pt x="26656" y="20552"/>
                        <a:pt x="20676" y="26531"/>
                        <a:pt x="13328" y="26531"/>
                      </a:cubicBezTo>
                      <a:cubicBezTo>
                        <a:pt x="5979" y="26531"/>
                        <a:pt x="0" y="20677"/>
                        <a:pt x="0" y="13328"/>
                      </a:cubicBezTo>
                      <a:cubicBezTo>
                        <a:pt x="0" y="5979"/>
                        <a:pt x="5854" y="0"/>
                        <a:pt x="13328" y="0"/>
                      </a:cubicBezTo>
                      <a:cubicBezTo>
                        <a:pt x="20676" y="0"/>
                        <a:pt x="26656" y="5854"/>
                        <a:pt x="26656"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8" name="Freeform 5024">
                  <a:extLst>
                    <a:ext uri="{FF2B5EF4-FFF2-40B4-BE49-F238E27FC236}">
                      <a16:creationId xmlns:a16="http://schemas.microsoft.com/office/drawing/2014/main" id="{8B61D16E-1899-521D-A61C-4E141EFC461B}"/>
                    </a:ext>
                  </a:extLst>
                </p:cNvPr>
                <p:cNvSpPr/>
                <p:nvPr/>
              </p:nvSpPr>
              <p:spPr>
                <a:xfrm>
                  <a:off x="8317358" y="5625348"/>
                  <a:ext cx="3883" cy="52065"/>
                </a:xfrm>
                <a:custGeom>
                  <a:avLst/>
                  <a:gdLst>
                    <a:gd name="connsiteX0" fmla="*/ 1724 w 3883"/>
                    <a:gd name="connsiteY0" fmla="*/ 52065 h 52065"/>
                    <a:gd name="connsiteX1" fmla="*/ 3592 w 3883"/>
                    <a:gd name="connsiteY1" fmla="*/ 33381 h 52065"/>
                    <a:gd name="connsiteX2" fmla="*/ 105 w 3883"/>
                    <a:gd name="connsiteY2" fmla="*/ 16317 h 52065"/>
                    <a:gd name="connsiteX3" fmla="*/ 2222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52065"/>
                      </a:moveTo>
                      <a:cubicBezTo>
                        <a:pt x="4216" y="43969"/>
                        <a:pt x="4091" y="37616"/>
                        <a:pt x="3592" y="33381"/>
                      </a:cubicBezTo>
                      <a:cubicBezTo>
                        <a:pt x="2845" y="26406"/>
                        <a:pt x="728" y="23417"/>
                        <a:pt x="105" y="16317"/>
                      </a:cubicBezTo>
                      <a:cubicBezTo>
                        <a:pt x="-394" y="9466"/>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9" name="Freeform 5025">
                  <a:extLst>
                    <a:ext uri="{FF2B5EF4-FFF2-40B4-BE49-F238E27FC236}">
                      <a16:creationId xmlns:a16="http://schemas.microsoft.com/office/drawing/2014/main" id="{B0A76A4E-5502-C12A-73A2-37163C54232D}"/>
                    </a:ext>
                  </a:extLst>
                </p:cNvPr>
                <p:cNvSpPr/>
                <p:nvPr/>
              </p:nvSpPr>
              <p:spPr>
                <a:xfrm>
                  <a:off x="8309767" y="5630454"/>
                  <a:ext cx="3721" cy="52065"/>
                </a:xfrm>
                <a:custGeom>
                  <a:avLst/>
                  <a:gdLst>
                    <a:gd name="connsiteX0" fmla="*/ 1468 w 3721"/>
                    <a:gd name="connsiteY0" fmla="*/ 0 h 52065"/>
                    <a:gd name="connsiteX1" fmla="*/ 3461 w 3721"/>
                    <a:gd name="connsiteY1" fmla="*/ 18684 h 52065"/>
                    <a:gd name="connsiteX2" fmla="*/ 99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0"/>
                      </a:moveTo>
                      <a:cubicBezTo>
                        <a:pt x="3960" y="7972"/>
                        <a:pt x="3960" y="14324"/>
                        <a:pt x="3461" y="18684"/>
                      </a:cubicBezTo>
                      <a:cubicBezTo>
                        <a:pt x="2714" y="25659"/>
                        <a:pt x="596" y="28648"/>
                        <a:pt x="99" y="35748"/>
                      </a:cubicBezTo>
                      <a:cubicBezTo>
                        <a:pt x="-400" y="42599"/>
                        <a:pt x="1094"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0" name="Freeform 5026">
                  <a:extLst>
                    <a:ext uri="{FF2B5EF4-FFF2-40B4-BE49-F238E27FC236}">
                      <a16:creationId xmlns:a16="http://schemas.microsoft.com/office/drawing/2014/main" id="{4AC8A4B5-27FC-FBFB-CECE-47E22B39C749}"/>
                    </a:ext>
                  </a:extLst>
                </p:cNvPr>
                <p:cNvSpPr/>
                <p:nvPr/>
              </p:nvSpPr>
              <p:spPr>
                <a:xfrm>
                  <a:off x="8302267" y="5671309"/>
                  <a:ext cx="26282" cy="26530"/>
                </a:xfrm>
                <a:custGeom>
                  <a:avLst/>
                  <a:gdLst>
                    <a:gd name="connsiteX0" fmla="*/ 0 w 26282"/>
                    <a:gd name="connsiteY0" fmla="*/ 13328 h 26530"/>
                    <a:gd name="connsiteX1" fmla="*/ 13079 w 26282"/>
                    <a:gd name="connsiteY1" fmla="*/ 0 h 26530"/>
                    <a:gd name="connsiteX2" fmla="*/ 26282 w 26282"/>
                    <a:gd name="connsiteY2" fmla="*/ 13203 h 26530"/>
                    <a:gd name="connsiteX3" fmla="*/ 13203 w 26282"/>
                    <a:gd name="connsiteY3" fmla="*/ 26531 h 26530"/>
                    <a:gd name="connsiteX4" fmla="*/ 0 w 26282"/>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30">
                      <a:moveTo>
                        <a:pt x="0" y="13328"/>
                      </a:moveTo>
                      <a:cubicBezTo>
                        <a:pt x="0" y="5979"/>
                        <a:pt x="5855" y="0"/>
                        <a:pt x="13079" y="0"/>
                      </a:cubicBezTo>
                      <a:cubicBezTo>
                        <a:pt x="20303" y="0"/>
                        <a:pt x="26282" y="5854"/>
                        <a:pt x="26282" y="13203"/>
                      </a:cubicBezTo>
                      <a:cubicBezTo>
                        <a:pt x="26282"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0" name="Graphic 2987">
                <a:extLst>
                  <a:ext uri="{FF2B5EF4-FFF2-40B4-BE49-F238E27FC236}">
                    <a16:creationId xmlns:a16="http://schemas.microsoft.com/office/drawing/2014/main" id="{C6B7CED8-C13B-DB8F-2EC3-58341DD3B6A2}"/>
                  </a:ext>
                </a:extLst>
              </p:cNvPr>
              <p:cNvGrpSpPr/>
              <p:nvPr/>
            </p:nvGrpSpPr>
            <p:grpSpPr>
              <a:xfrm>
                <a:off x="8331538" y="5548745"/>
                <a:ext cx="26655" cy="148848"/>
                <a:chOff x="8331538" y="5548745"/>
                <a:chExt cx="26655" cy="148848"/>
              </a:xfrm>
              <a:grpFill/>
            </p:grpSpPr>
            <p:sp>
              <p:nvSpPr>
                <p:cNvPr id="4499" name="Freeform 5028">
                  <a:extLst>
                    <a:ext uri="{FF2B5EF4-FFF2-40B4-BE49-F238E27FC236}">
                      <a16:creationId xmlns:a16="http://schemas.microsoft.com/office/drawing/2014/main" id="{48B082AD-5B0B-3514-EFBF-F3BF6048CFD5}"/>
                    </a:ext>
                  </a:extLst>
                </p:cNvPr>
                <p:cNvSpPr/>
                <p:nvPr/>
              </p:nvSpPr>
              <p:spPr>
                <a:xfrm>
                  <a:off x="8339000" y="5569048"/>
                  <a:ext cx="3852" cy="52065"/>
                </a:xfrm>
                <a:custGeom>
                  <a:avLst/>
                  <a:gdLst>
                    <a:gd name="connsiteX0" fmla="*/ 2253 w 3852"/>
                    <a:gd name="connsiteY0" fmla="*/ 0 h 52065"/>
                    <a:gd name="connsiteX1" fmla="*/ 261 w 3852"/>
                    <a:gd name="connsiteY1" fmla="*/ 18684 h 52065"/>
                    <a:gd name="connsiteX2" fmla="*/ 3748 w 3852"/>
                    <a:gd name="connsiteY2" fmla="*/ 35748 h 52065"/>
                    <a:gd name="connsiteX3" fmla="*/ 1631 w 38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2" h="52065">
                      <a:moveTo>
                        <a:pt x="2253" y="0"/>
                      </a:moveTo>
                      <a:cubicBezTo>
                        <a:pt x="-238" y="8096"/>
                        <a:pt x="-238" y="14449"/>
                        <a:pt x="261" y="18684"/>
                      </a:cubicBezTo>
                      <a:cubicBezTo>
                        <a:pt x="1008" y="25659"/>
                        <a:pt x="3125" y="28648"/>
                        <a:pt x="3748" y="35748"/>
                      </a:cubicBezTo>
                      <a:cubicBezTo>
                        <a:pt x="4247" y="42599"/>
                        <a:pt x="2876" y="48328"/>
                        <a:pt x="16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0" name="Freeform 5029">
                  <a:extLst>
                    <a:ext uri="{FF2B5EF4-FFF2-40B4-BE49-F238E27FC236}">
                      <a16:creationId xmlns:a16="http://schemas.microsoft.com/office/drawing/2014/main" id="{C86F185B-6427-C69F-760E-46FDD73B954F}"/>
                    </a:ext>
                  </a:extLst>
                </p:cNvPr>
                <p:cNvSpPr/>
                <p:nvPr/>
              </p:nvSpPr>
              <p:spPr>
                <a:xfrm>
                  <a:off x="8346723" y="5564065"/>
                  <a:ext cx="3728" cy="52065"/>
                </a:xfrm>
                <a:custGeom>
                  <a:avLst/>
                  <a:gdLst>
                    <a:gd name="connsiteX0" fmla="*/ 2253 w 3728"/>
                    <a:gd name="connsiteY0" fmla="*/ 52065 h 52065"/>
                    <a:gd name="connsiteX1" fmla="*/ 260 w 3728"/>
                    <a:gd name="connsiteY1" fmla="*/ 33381 h 52065"/>
                    <a:gd name="connsiteX2" fmla="*/ 3623 w 3728"/>
                    <a:gd name="connsiteY2" fmla="*/ 16317 h 52065"/>
                    <a:gd name="connsiteX3" fmla="*/ 1505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3969"/>
                        <a:pt x="-238" y="37616"/>
                        <a:pt x="260" y="33381"/>
                      </a:cubicBezTo>
                      <a:cubicBezTo>
                        <a:pt x="1007" y="26406"/>
                        <a:pt x="3125" y="23417"/>
                        <a:pt x="3623" y="16317"/>
                      </a:cubicBezTo>
                      <a:cubicBezTo>
                        <a:pt x="4121" y="9467"/>
                        <a:pt x="2751" y="3737"/>
                        <a:pt x="15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1" name="Freeform 5030">
                  <a:extLst>
                    <a:ext uri="{FF2B5EF4-FFF2-40B4-BE49-F238E27FC236}">
                      <a16:creationId xmlns:a16="http://schemas.microsoft.com/office/drawing/2014/main" id="{ED9F8B28-13DA-492A-32BE-27A87B6DC0E6}"/>
                    </a:ext>
                  </a:extLst>
                </p:cNvPr>
                <p:cNvSpPr/>
                <p:nvPr/>
              </p:nvSpPr>
              <p:spPr>
                <a:xfrm>
                  <a:off x="8331538" y="5548745"/>
                  <a:ext cx="26655" cy="26530"/>
                </a:xfrm>
                <a:custGeom>
                  <a:avLst/>
                  <a:gdLst>
                    <a:gd name="connsiteX0" fmla="*/ 26656 w 26655"/>
                    <a:gd name="connsiteY0" fmla="*/ 13328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328"/>
                      </a:moveTo>
                      <a:cubicBezTo>
                        <a:pt x="26656" y="20677"/>
                        <a:pt x="20676" y="26531"/>
                        <a:pt x="13328" y="26531"/>
                      </a:cubicBezTo>
                      <a:cubicBezTo>
                        <a:pt x="5979" y="26531"/>
                        <a:pt x="0" y="20677"/>
                        <a:pt x="0" y="13328"/>
                      </a:cubicBezTo>
                      <a:cubicBezTo>
                        <a:pt x="0" y="5979"/>
                        <a:pt x="5979" y="0"/>
                        <a:pt x="13328" y="0"/>
                      </a:cubicBezTo>
                      <a:cubicBezTo>
                        <a:pt x="20676" y="0"/>
                        <a:pt x="26656"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2" name="Freeform 5031">
                  <a:extLst>
                    <a:ext uri="{FF2B5EF4-FFF2-40B4-BE49-F238E27FC236}">
                      <a16:creationId xmlns:a16="http://schemas.microsoft.com/office/drawing/2014/main" id="{9402C5FC-CA13-C7CD-FA7A-85EFF3AA6C74}"/>
                    </a:ext>
                  </a:extLst>
                </p:cNvPr>
                <p:cNvSpPr/>
                <p:nvPr/>
              </p:nvSpPr>
              <p:spPr>
                <a:xfrm>
                  <a:off x="8347003" y="5625223"/>
                  <a:ext cx="3728" cy="52065"/>
                </a:xfrm>
                <a:custGeom>
                  <a:avLst/>
                  <a:gdLst>
                    <a:gd name="connsiteX0" fmla="*/ 1475 w 3728"/>
                    <a:gd name="connsiteY0" fmla="*/ 52065 h 52065"/>
                    <a:gd name="connsiteX1" fmla="*/ 3468 w 3728"/>
                    <a:gd name="connsiteY1" fmla="*/ 33381 h 52065"/>
                    <a:gd name="connsiteX2" fmla="*/ 105 w 3728"/>
                    <a:gd name="connsiteY2" fmla="*/ 16317 h 52065"/>
                    <a:gd name="connsiteX3" fmla="*/ 2222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52065"/>
                      </a:moveTo>
                      <a:cubicBezTo>
                        <a:pt x="3966" y="44094"/>
                        <a:pt x="3966" y="37741"/>
                        <a:pt x="3468"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3" name="Freeform 5032">
                  <a:extLst>
                    <a:ext uri="{FF2B5EF4-FFF2-40B4-BE49-F238E27FC236}">
                      <a16:creationId xmlns:a16="http://schemas.microsoft.com/office/drawing/2014/main" id="{B5182944-0D7D-1336-ACDF-C1FAB2841764}"/>
                    </a:ext>
                  </a:extLst>
                </p:cNvPr>
                <p:cNvSpPr/>
                <p:nvPr/>
              </p:nvSpPr>
              <p:spPr>
                <a:xfrm>
                  <a:off x="8339280" y="5630206"/>
                  <a:ext cx="3728" cy="52065"/>
                </a:xfrm>
                <a:custGeom>
                  <a:avLst/>
                  <a:gdLst>
                    <a:gd name="connsiteX0" fmla="*/ 1475 w 3728"/>
                    <a:gd name="connsiteY0" fmla="*/ 0 h 52065"/>
                    <a:gd name="connsiteX1" fmla="*/ 3468 w 3728"/>
                    <a:gd name="connsiteY1" fmla="*/ 18684 h 52065"/>
                    <a:gd name="connsiteX2" fmla="*/ 105 w 3728"/>
                    <a:gd name="connsiteY2" fmla="*/ 35748 h 52065"/>
                    <a:gd name="connsiteX3" fmla="*/ 2222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0"/>
                      </a:moveTo>
                      <a:cubicBezTo>
                        <a:pt x="3966" y="7972"/>
                        <a:pt x="3966" y="14324"/>
                        <a:pt x="3468" y="18684"/>
                      </a:cubicBezTo>
                      <a:cubicBezTo>
                        <a:pt x="2720" y="25659"/>
                        <a:pt x="603" y="28648"/>
                        <a:pt x="105" y="35748"/>
                      </a:cubicBezTo>
                      <a:cubicBezTo>
                        <a:pt x="-394"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4" name="Freeform 5033">
                  <a:extLst>
                    <a:ext uri="{FF2B5EF4-FFF2-40B4-BE49-F238E27FC236}">
                      <a16:creationId xmlns:a16="http://schemas.microsoft.com/office/drawing/2014/main" id="{D598C914-F93B-297E-8759-C381E64EC394}"/>
                    </a:ext>
                  </a:extLst>
                </p:cNvPr>
                <p:cNvSpPr/>
                <p:nvPr/>
              </p:nvSpPr>
              <p:spPr>
                <a:xfrm>
                  <a:off x="8331663" y="5671060"/>
                  <a:ext cx="26406" cy="26532"/>
                </a:xfrm>
                <a:custGeom>
                  <a:avLst/>
                  <a:gdLst>
                    <a:gd name="connsiteX0" fmla="*/ 0 w 26406"/>
                    <a:gd name="connsiteY0" fmla="*/ 13328 h 26532"/>
                    <a:gd name="connsiteX1" fmla="*/ 13203 w 26406"/>
                    <a:gd name="connsiteY1" fmla="*/ 0 h 26532"/>
                    <a:gd name="connsiteX2" fmla="*/ 26406 w 26406"/>
                    <a:gd name="connsiteY2" fmla="*/ 13328 h 26532"/>
                    <a:gd name="connsiteX3" fmla="*/ 13203 w 26406"/>
                    <a:gd name="connsiteY3" fmla="*/ 26531 h 26532"/>
                    <a:gd name="connsiteX4" fmla="*/ 0 w 26406"/>
                    <a:gd name="connsiteY4" fmla="*/ 13328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1">
                      <a:moveTo>
                        <a:pt x="0" y="13328"/>
                      </a:moveTo>
                      <a:cubicBezTo>
                        <a:pt x="0" y="5979"/>
                        <a:pt x="5854" y="0"/>
                        <a:pt x="13203" y="0"/>
                      </a:cubicBezTo>
                      <a:cubicBezTo>
                        <a:pt x="20427" y="0"/>
                        <a:pt x="26406" y="5979"/>
                        <a:pt x="26406" y="13328"/>
                      </a:cubicBezTo>
                      <a:cubicBezTo>
                        <a:pt x="26406" y="20677"/>
                        <a:pt x="20552" y="26531"/>
                        <a:pt x="13203" y="26531"/>
                      </a:cubicBezTo>
                      <a:cubicBezTo>
                        <a:pt x="5979" y="26656"/>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1" name="Graphic 2987">
                <a:extLst>
                  <a:ext uri="{FF2B5EF4-FFF2-40B4-BE49-F238E27FC236}">
                    <a16:creationId xmlns:a16="http://schemas.microsoft.com/office/drawing/2014/main" id="{DBAB1DD5-7B5D-0C1D-CE6E-331E69094A2B}"/>
                  </a:ext>
                </a:extLst>
              </p:cNvPr>
              <p:cNvGrpSpPr/>
              <p:nvPr/>
            </p:nvGrpSpPr>
            <p:grpSpPr>
              <a:xfrm>
                <a:off x="8361183" y="5548869"/>
                <a:ext cx="26779" cy="148846"/>
                <a:chOff x="8361183" y="5548869"/>
                <a:chExt cx="26779" cy="148846"/>
              </a:xfrm>
              <a:grpFill/>
            </p:grpSpPr>
            <p:sp>
              <p:nvSpPr>
                <p:cNvPr id="4493" name="Freeform 5035">
                  <a:extLst>
                    <a:ext uri="{FF2B5EF4-FFF2-40B4-BE49-F238E27FC236}">
                      <a16:creationId xmlns:a16="http://schemas.microsoft.com/office/drawing/2014/main" id="{BDC15270-2AD8-E7BA-A4C7-380292DA2687}"/>
                    </a:ext>
                  </a:extLst>
                </p:cNvPr>
                <p:cNvSpPr/>
                <p:nvPr/>
              </p:nvSpPr>
              <p:spPr>
                <a:xfrm>
                  <a:off x="8368645" y="5569172"/>
                  <a:ext cx="3721" cy="52065"/>
                </a:xfrm>
                <a:custGeom>
                  <a:avLst/>
                  <a:gdLst>
                    <a:gd name="connsiteX0" fmla="*/ 2253 w 3721"/>
                    <a:gd name="connsiteY0" fmla="*/ 0 h 52065"/>
                    <a:gd name="connsiteX1" fmla="*/ 261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1"/>
                        <a:pt x="-238" y="14324"/>
                        <a:pt x="261" y="18684"/>
                      </a:cubicBezTo>
                      <a:cubicBezTo>
                        <a:pt x="1008" y="25659"/>
                        <a:pt x="3125" y="28648"/>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4" name="Freeform 5036">
                  <a:extLst>
                    <a:ext uri="{FF2B5EF4-FFF2-40B4-BE49-F238E27FC236}">
                      <a16:creationId xmlns:a16="http://schemas.microsoft.com/office/drawing/2014/main" id="{BBF6E584-8566-5105-7EAE-A95C9F13A887}"/>
                    </a:ext>
                  </a:extLst>
                </p:cNvPr>
                <p:cNvSpPr/>
                <p:nvPr/>
              </p:nvSpPr>
              <p:spPr>
                <a:xfrm>
                  <a:off x="8376462" y="5564314"/>
                  <a:ext cx="3883" cy="52065"/>
                </a:xfrm>
                <a:custGeom>
                  <a:avLst/>
                  <a:gdLst>
                    <a:gd name="connsiteX0" fmla="*/ 2159 w 3883"/>
                    <a:gd name="connsiteY0" fmla="*/ 52065 h 52065"/>
                    <a:gd name="connsiteX1" fmla="*/ 291 w 3883"/>
                    <a:gd name="connsiteY1" fmla="*/ 33382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7"/>
                        <a:pt x="291" y="33382"/>
                      </a:cubicBezTo>
                      <a:cubicBezTo>
                        <a:pt x="1038" y="26407"/>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5" name="Freeform 5037">
                  <a:extLst>
                    <a:ext uri="{FF2B5EF4-FFF2-40B4-BE49-F238E27FC236}">
                      <a16:creationId xmlns:a16="http://schemas.microsoft.com/office/drawing/2014/main" id="{AB20658A-5776-7F5D-5690-F9095D715B0F}"/>
                    </a:ext>
                  </a:extLst>
                </p:cNvPr>
                <p:cNvSpPr/>
                <p:nvPr/>
              </p:nvSpPr>
              <p:spPr>
                <a:xfrm>
                  <a:off x="8361308" y="5548869"/>
                  <a:ext cx="26654" cy="26530"/>
                </a:xfrm>
                <a:custGeom>
                  <a:avLst/>
                  <a:gdLst>
                    <a:gd name="connsiteX0" fmla="*/ 26655 w 26654"/>
                    <a:gd name="connsiteY0" fmla="*/ 13328 h 26530"/>
                    <a:gd name="connsiteX1" fmla="*/ 13327 w 26654"/>
                    <a:gd name="connsiteY1" fmla="*/ 26531 h 26530"/>
                    <a:gd name="connsiteX2" fmla="*/ 0 w 26654"/>
                    <a:gd name="connsiteY2" fmla="*/ 13203 h 26530"/>
                    <a:gd name="connsiteX3" fmla="*/ 13327 w 26654"/>
                    <a:gd name="connsiteY3" fmla="*/ 0 h 26530"/>
                    <a:gd name="connsiteX4" fmla="*/ 26655 w 2665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26655" y="13328"/>
                      </a:moveTo>
                      <a:cubicBezTo>
                        <a:pt x="26655" y="20677"/>
                        <a:pt x="20676" y="26531"/>
                        <a:pt x="13327" y="26531"/>
                      </a:cubicBezTo>
                      <a:cubicBezTo>
                        <a:pt x="5979" y="26531"/>
                        <a:pt x="0" y="20552"/>
                        <a:pt x="0" y="13203"/>
                      </a:cubicBezTo>
                      <a:cubicBezTo>
                        <a:pt x="0" y="5854"/>
                        <a:pt x="5979" y="0"/>
                        <a:pt x="13327" y="0"/>
                      </a:cubicBezTo>
                      <a:cubicBezTo>
                        <a:pt x="20676" y="0"/>
                        <a:pt x="26655" y="5979"/>
                        <a:pt x="26655"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6" name="Freeform 5038">
                  <a:extLst>
                    <a:ext uri="{FF2B5EF4-FFF2-40B4-BE49-F238E27FC236}">
                      <a16:creationId xmlns:a16="http://schemas.microsoft.com/office/drawing/2014/main" id="{01AE47CC-22EE-41AF-0217-3D1801DEFF5A}"/>
                    </a:ext>
                  </a:extLst>
                </p:cNvPr>
                <p:cNvSpPr/>
                <p:nvPr/>
              </p:nvSpPr>
              <p:spPr>
                <a:xfrm>
                  <a:off x="8376405" y="5625472"/>
                  <a:ext cx="3721" cy="52065"/>
                </a:xfrm>
                <a:custGeom>
                  <a:avLst/>
                  <a:gdLst>
                    <a:gd name="connsiteX0" fmla="*/ 1468 w 3721"/>
                    <a:gd name="connsiteY0" fmla="*/ 52065 h 52065"/>
                    <a:gd name="connsiteX1" fmla="*/ 3462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52065"/>
                      </a:moveTo>
                      <a:cubicBezTo>
                        <a:pt x="3960" y="44094"/>
                        <a:pt x="3960"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7" name="Freeform 5039">
                  <a:extLst>
                    <a:ext uri="{FF2B5EF4-FFF2-40B4-BE49-F238E27FC236}">
                      <a16:creationId xmlns:a16="http://schemas.microsoft.com/office/drawing/2014/main" id="{18801A2F-3370-D937-385C-C387A9C0EC93}"/>
                    </a:ext>
                  </a:extLst>
                </p:cNvPr>
                <p:cNvSpPr/>
                <p:nvPr/>
              </p:nvSpPr>
              <p:spPr>
                <a:xfrm>
                  <a:off x="8368676" y="5630330"/>
                  <a:ext cx="3797" cy="52065"/>
                </a:xfrm>
                <a:custGeom>
                  <a:avLst/>
                  <a:gdLst>
                    <a:gd name="connsiteX0" fmla="*/ 1600 w 3797"/>
                    <a:gd name="connsiteY0" fmla="*/ 0 h 52065"/>
                    <a:gd name="connsiteX1" fmla="*/ 3592 w 3797"/>
                    <a:gd name="connsiteY1" fmla="*/ 18684 h 52065"/>
                    <a:gd name="connsiteX2" fmla="*/ 105 w 3797"/>
                    <a:gd name="connsiteY2" fmla="*/ 35748 h 52065"/>
                    <a:gd name="connsiteX3" fmla="*/ 2222 w 379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97" h="52065">
                      <a:moveTo>
                        <a:pt x="1600" y="0"/>
                      </a:moveTo>
                      <a:cubicBezTo>
                        <a:pt x="4091" y="8096"/>
                        <a:pt x="3966" y="14449"/>
                        <a:pt x="3592" y="18684"/>
                      </a:cubicBezTo>
                      <a:cubicBezTo>
                        <a:pt x="2845" y="25659"/>
                        <a:pt x="728"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8" name="Freeform 5040">
                  <a:extLst>
                    <a:ext uri="{FF2B5EF4-FFF2-40B4-BE49-F238E27FC236}">
                      <a16:creationId xmlns:a16="http://schemas.microsoft.com/office/drawing/2014/main" id="{2E61F52E-C2AF-F030-4E46-153E68D65645}"/>
                    </a:ext>
                  </a:extLst>
                </p:cNvPr>
                <p:cNvSpPr/>
                <p:nvPr/>
              </p:nvSpPr>
              <p:spPr>
                <a:xfrm>
                  <a:off x="8361183" y="5671185"/>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854" y="0"/>
                        <a:pt x="13203" y="0"/>
                      </a:cubicBezTo>
                      <a:cubicBezTo>
                        <a:pt x="20427"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2" name="Graphic 2987">
                <a:extLst>
                  <a:ext uri="{FF2B5EF4-FFF2-40B4-BE49-F238E27FC236}">
                    <a16:creationId xmlns:a16="http://schemas.microsoft.com/office/drawing/2014/main" id="{D4F5AB75-0557-E6A3-A536-DCE9C816A5BF}"/>
                  </a:ext>
                </a:extLst>
              </p:cNvPr>
              <p:cNvGrpSpPr/>
              <p:nvPr/>
            </p:nvGrpSpPr>
            <p:grpSpPr>
              <a:xfrm>
                <a:off x="8390578" y="5549118"/>
                <a:ext cx="27030" cy="148846"/>
                <a:chOff x="8390578" y="5549118"/>
                <a:chExt cx="27030" cy="148846"/>
              </a:xfrm>
              <a:grpFill/>
            </p:grpSpPr>
            <p:sp>
              <p:nvSpPr>
                <p:cNvPr id="4487" name="Freeform 5042">
                  <a:extLst>
                    <a:ext uri="{FF2B5EF4-FFF2-40B4-BE49-F238E27FC236}">
                      <a16:creationId xmlns:a16="http://schemas.microsoft.com/office/drawing/2014/main" id="{D00AD297-4E07-2EAD-D031-6096A7879A7E}"/>
                    </a:ext>
                  </a:extLst>
                </p:cNvPr>
                <p:cNvSpPr/>
                <p:nvPr/>
              </p:nvSpPr>
              <p:spPr>
                <a:xfrm>
                  <a:off x="8398370" y="5569421"/>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648"/>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8" name="Freeform 5043">
                  <a:extLst>
                    <a:ext uri="{FF2B5EF4-FFF2-40B4-BE49-F238E27FC236}">
                      <a16:creationId xmlns:a16="http://schemas.microsoft.com/office/drawing/2014/main" id="{060575C6-F172-29D8-B132-9218D7A2EC7B}"/>
                    </a:ext>
                  </a:extLst>
                </p:cNvPr>
                <p:cNvSpPr/>
                <p:nvPr/>
              </p:nvSpPr>
              <p:spPr>
                <a:xfrm>
                  <a:off x="8405982" y="5564439"/>
                  <a:ext cx="3883" cy="52065"/>
                </a:xfrm>
                <a:custGeom>
                  <a:avLst/>
                  <a:gdLst>
                    <a:gd name="connsiteX0" fmla="*/ 2159 w 3883"/>
                    <a:gd name="connsiteY0" fmla="*/ 52065 h 52065"/>
                    <a:gd name="connsiteX1" fmla="*/ 291 w 3883"/>
                    <a:gd name="connsiteY1" fmla="*/ 33381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6"/>
                        <a:pt x="291" y="33381"/>
                      </a:cubicBezTo>
                      <a:cubicBezTo>
                        <a:pt x="1163" y="26406"/>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9" name="Freeform 5044">
                  <a:extLst>
                    <a:ext uri="{FF2B5EF4-FFF2-40B4-BE49-F238E27FC236}">
                      <a16:creationId xmlns:a16="http://schemas.microsoft.com/office/drawing/2014/main" id="{DCFAE2A0-9987-55AA-29AF-146A066AE3A4}"/>
                    </a:ext>
                  </a:extLst>
                </p:cNvPr>
                <p:cNvSpPr/>
                <p:nvPr/>
              </p:nvSpPr>
              <p:spPr>
                <a:xfrm>
                  <a:off x="8391074" y="5549118"/>
                  <a:ext cx="26534" cy="26530"/>
                </a:xfrm>
                <a:custGeom>
                  <a:avLst/>
                  <a:gdLst>
                    <a:gd name="connsiteX0" fmla="*/ 26533 w 26534"/>
                    <a:gd name="connsiteY0" fmla="*/ 13328 h 26530"/>
                    <a:gd name="connsiteX1" fmla="*/ 13205 w 26534"/>
                    <a:gd name="connsiteY1" fmla="*/ 26531 h 26530"/>
                    <a:gd name="connsiteX2" fmla="*/ 2 w 26534"/>
                    <a:gd name="connsiteY2" fmla="*/ 13203 h 26530"/>
                    <a:gd name="connsiteX3" fmla="*/ 13330 w 26534"/>
                    <a:gd name="connsiteY3" fmla="*/ 0 h 26530"/>
                    <a:gd name="connsiteX4" fmla="*/ 26533 w 2653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328"/>
                      </a:moveTo>
                      <a:cubicBezTo>
                        <a:pt x="26533" y="20677"/>
                        <a:pt x="20554" y="26531"/>
                        <a:pt x="13205" y="26531"/>
                      </a:cubicBezTo>
                      <a:cubicBezTo>
                        <a:pt x="5857" y="26531"/>
                        <a:pt x="-123" y="20552"/>
                        <a:pt x="2" y="13203"/>
                      </a:cubicBezTo>
                      <a:cubicBezTo>
                        <a:pt x="127" y="5854"/>
                        <a:pt x="5981" y="0"/>
                        <a:pt x="13330" y="0"/>
                      </a:cubicBezTo>
                      <a:cubicBezTo>
                        <a:pt x="20679" y="0"/>
                        <a:pt x="26657" y="5979"/>
                        <a:pt x="26533"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0" name="Freeform 5045">
                  <a:extLst>
                    <a:ext uri="{FF2B5EF4-FFF2-40B4-BE49-F238E27FC236}">
                      <a16:creationId xmlns:a16="http://schemas.microsoft.com/office/drawing/2014/main" id="{4EA6D7F3-F1FC-5D30-F9E3-53B6A046966C}"/>
                    </a:ext>
                  </a:extLst>
                </p:cNvPr>
                <p:cNvSpPr/>
                <p:nvPr/>
              </p:nvSpPr>
              <p:spPr>
                <a:xfrm>
                  <a:off x="8406050" y="5625597"/>
                  <a:ext cx="3640" cy="52065"/>
                </a:xfrm>
                <a:custGeom>
                  <a:avLst/>
                  <a:gdLst>
                    <a:gd name="connsiteX0" fmla="*/ 1344 w 3640"/>
                    <a:gd name="connsiteY0" fmla="*/ 52065 h 52065"/>
                    <a:gd name="connsiteX1" fmla="*/ 3462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4"/>
                        <a:pt x="3835"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1" name="Freeform 5046">
                  <a:extLst>
                    <a:ext uri="{FF2B5EF4-FFF2-40B4-BE49-F238E27FC236}">
                      <a16:creationId xmlns:a16="http://schemas.microsoft.com/office/drawing/2014/main" id="{5BAEC069-549F-D961-D564-2BEAA563A407}"/>
                    </a:ext>
                  </a:extLst>
                </p:cNvPr>
                <p:cNvSpPr/>
                <p:nvPr/>
              </p:nvSpPr>
              <p:spPr>
                <a:xfrm>
                  <a:off x="8398196" y="5630454"/>
                  <a:ext cx="3883" cy="52065"/>
                </a:xfrm>
                <a:custGeom>
                  <a:avLst/>
                  <a:gdLst>
                    <a:gd name="connsiteX0" fmla="*/ 1724 w 3883"/>
                    <a:gd name="connsiteY0" fmla="*/ 0 h 52065"/>
                    <a:gd name="connsiteX1" fmla="*/ 3593 w 3883"/>
                    <a:gd name="connsiteY1" fmla="*/ 18684 h 52065"/>
                    <a:gd name="connsiteX2" fmla="*/ 105 w 3883"/>
                    <a:gd name="connsiteY2" fmla="*/ 35748 h 52065"/>
                    <a:gd name="connsiteX3" fmla="*/ 2222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0"/>
                      </a:moveTo>
                      <a:cubicBezTo>
                        <a:pt x="4215" y="8097"/>
                        <a:pt x="4091" y="14449"/>
                        <a:pt x="3593" y="18684"/>
                      </a:cubicBezTo>
                      <a:cubicBezTo>
                        <a:pt x="2721" y="25659"/>
                        <a:pt x="603"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2" name="Freeform 5047">
                  <a:extLst>
                    <a:ext uri="{FF2B5EF4-FFF2-40B4-BE49-F238E27FC236}">
                      <a16:creationId xmlns:a16="http://schemas.microsoft.com/office/drawing/2014/main" id="{236B4293-1262-D3B9-5DD9-CBA95DE63F41}"/>
                    </a:ext>
                  </a:extLst>
                </p:cNvPr>
                <p:cNvSpPr/>
                <p:nvPr/>
              </p:nvSpPr>
              <p:spPr>
                <a:xfrm>
                  <a:off x="8390578" y="5671434"/>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979" y="0"/>
                        <a:pt x="13203" y="0"/>
                      </a:cubicBezTo>
                      <a:cubicBezTo>
                        <a:pt x="20428"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3" name="Graphic 2987">
                <a:extLst>
                  <a:ext uri="{FF2B5EF4-FFF2-40B4-BE49-F238E27FC236}">
                    <a16:creationId xmlns:a16="http://schemas.microsoft.com/office/drawing/2014/main" id="{8337769B-701F-E27D-059A-C0B8D4496029}"/>
                  </a:ext>
                </a:extLst>
              </p:cNvPr>
              <p:cNvGrpSpPr/>
              <p:nvPr/>
            </p:nvGrpSpPr>
            <p:grpSpPr>
              <a:xfrm>
                <a:off x="8419974" y="5549243"/>
                <a:ext cx="27404" cy="148970"/>
                <a:chOff x="8419974" y="5549243"/>
                <a:chExt cx="27404" cy="148970"/>
              </a:xfrm>
              <a:grpFill/>
            </p:grpSpPr>
            <p:sp>
              <p:nvSpPr>
                <p:cNvPr id="4481" name="Freeform 5049">
                  <a:extLst>
                    <a:ext uri="{FF2B5EF4-FFF2-40B4-BE49-F238E27FC236}">
                      <a16:creationId xmlns:a16="http://schemas.microsoft.com/office/drawing/2014/main" id="{14EA95EB-6C35-C995-65B2-A1FDCFFF5168}"/>
                    </a:ext>
                  </a:extLst>
                </p:cNvPr>
                <p:cNvSpPr/>
                <p:nvPr/>
              </p:nvSpPr>
              <p:spPr>
                <a:xfrm>
                  <a:off x="8428085" y="5569546"/>
                  <a:ext cx="3570" cy="52065"/>
                </a:xfrm>
                <a:custGeom>
                  <a:avLst/>
                  <a:gdLst>
                    <a:gd name="connsiteX0" fmla="*/ 2352 w 3570"/>
                    <a:gd name="connsiteY0" fmla="*/ 0 h 52065"/>
                    <a:gd name="connsiteX1" fmla="*/ 234 w 3570"/>
                    <a:gd name="connsiteY1" fmla="*/ 18684 h 52065"/>
                    <a:gd name="connsiteX2" fmla="*/ 3472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0"/>
                      </a:moveTo>
                      <a:cubicBezTo>
                        <a:pt x="-140" y="7971"/>
                        <a:pt x="-264" y="14324"/>
                        <a:pt x="234" y="18684"/>
                      </a:cubicBezTo>
                      <a:cubicBezTo>
                        <a:pt x="981" y="25659"/>
                        <a:pt x="3099" y="28648"/>
                        <a:pt x="3472" y="35748"/>
                      </a:cubicBezTo>
                      <a:cubicBezTo>
                        <a:pt x="3971"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2" name="Freeform 5050">
                  <a:extLst>
                    <a:ext uri="{FF2B5EF4-FFF2-40B4-BE49-F238E27FC236}">
                      <a16:creationId xmlns:a16="http://schemas.microsoft.com/office/drawing/2014/main" id="{274471FB-D595-3954-2D6D-FFDA1AFAB90D}"/>
                    </a:ext>
                  </a:extLst>
                </p:cNvPr>
                <p:cNvSpPr/>
                <p:nvPr/>
              </p:nvSpPr>
              <p:spPr>
                <a:xfrm>
                  <a:off x="8435653" y="5564688"/>
                  <a:ext cx="3988" cy="52065"/>
                </a:xfrm>
                <a:custGeom>
                  <a:avLst/>
                  <a:gdLst>
                    <a:gd name="connsiteX0" fmla="*/ 2132 w 3988"/>
                    <a:gd name="connsiteY0" fmla="*/ 52065 h 52065"/>
                    <a:gd name="connsiteX1" fmla="*/ 264 w 3988"/>
                    <a:gd name="connsiteY1" fmla="*/ 33382 h 52065"/>
                    <a:gd name="connsiteX2" fmla="*/ 3876 w 3988"/>
                    <a:gd name="connsiteY2" fmla="*/ 16317 h 52065"/>
                    <a:gd name="connsiteX3" fmla="*/ 1884 w 3988"/>
                    <a:gd name="connsiteY3" fmla="*/ 0 h 52065"/>
                  </a:gdLst>
                  <a:ahLst/>
                  <a:cxnLst>
                    <a:cxn ang="0">
                      <a:pos x="connsiteX0" y="connsiteY0"/>
                    </a:cxn>
                    <a:cxn ang="0">
                      <a:pos x="connsiteX1" y="connsiteY1"/>
                    </a:cxn>
                    <a:cxn ang="0">
                      <a:pos x="connsiteX2" y="connsiteY2"/>
                    </a:cxn>
                    <a:cxn ang="0">
                      <a:pos x="connsiteX3" y="connsiteY3"/>
                    </a:cxn>
                  </a:cxnLst>
                  <a:rect l="l" t="t" r="r" b="b"/>
                  <a:pathLst>
                    <a:path w="3988" h="52065">
                      <a:moveTo>
                        <a:pt x="2132" y="52065"/>
                      </a:moveTo>
                      <a:cubicBezTo>
                        <a:pt x="-234" y="43969"/>
                        <a:pt x="-234" y="37617"/>
                        <a:pt x="264" y="33382"/>
                      </a:cubicBezTo>
                      <a:cubicBezTo>
                        <a:pt x="1136" y="26407"/>
                        <a:pt x="3254" y="23417"/>
                        <a:pt x="3876" y="16317"/>
                      </a:cubicBezTo>
                      <a:cubicBezTo>
                        <a:pt x="4374" y="9467"/>
                        <a:pt x="3129" y="3737"/>
                        <a:pt x="18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3" name="Freeform 5051">
                  <a:extLst>
                    <a:ext uri="{FF2B5EF4-FFF2-40B4-BE49-F238E27FC236}">
                      <a16:creationId xmlns:a16="http://schemas.microsoft.com/office/drawing/2014/main" id="{C03A0714-EF20-7F53-C64F-B0B0D8027032}"/>
                    </a:ext>
                  </a:extLst>
                </p:cNvPr>
                <p:cNvSpPr/>
                <p:nvPr/>
              </p:nvSpPr>
              <p:spPr>
                <a:xfrm>
                  <a:off x="8420721" y="5549243"/>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5" y="26531"/>
                        <a:pt x="0" y="20552"/>
                        <a:pt x="0" y="13203"/>
                      </a:cubicBezTo>
                      <a:cubicBezTo>
                        <a:pt x="0" y="5854"/>
                        <a:pt x="6103" y="0"/>
                        <a:pt x="13452" y="0"/>
                      </a:cubicBezTo>
                      <a:cubicBezTo>
                        <a:pt x="20801" y="125"/>
                        <a:pt x="26780" y="6103"/>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4" name="Freeform 5052">
                  <a:extLst>
                    <a:ext uri="{FF2B5EF4-FFF2-40B4-BE49-F238E27FC236}">
                      <a16:creationId xmlns:a16="http://schemas.microsoft.com/office/drawing/2014/main" id="{E56DA2F5-5404-4367-406E-7E11FEAB2638}"/>
                    </a:ext>
                  </a:extLst>
                </p:cNvPr>
                <p:cNvSpPr/>
                <p:nvPr/>
              </p:nvSpPr>
              <p:spPr>
                <a:xfrm>
                  <a:off x="8435570" y="5625846"/>
                  <a:ext cx="3570" cy="52065"/>
                </a:xfrm>
                <a:custGeom>
                  <a:avLst/>
                  <a:gdLst>
                    <a:gd name="connsiteX0" fmla="*/ 1220 w 3570"/>
                    <a:gd name="connsiteY0" fmla="*/ 52065 h 52065"/>
                    <a:gd name="connsiteX1" fmla="*/ 3337 w 3570"/>
                    <a:gd name="connsiteY1" fmla="*/ 33382 h 52065"/>
                    <a:gd name="connsiteX2" fmla="*/ 98 w 3570"/>
                    <a:gd name="connsiteY2" fmla="*/ 16317 h 52065"/>
                    <a:gd name="connsiteX3" fmla="*/ 234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1220" y="52065"/>
                      </a:moveTo>
                      <a:cubicBezTo>
                        <a:pt x="3710" y="44094"/>
                        <a:pt x="3835" y="37741"/>
                        <a:pt x="3337" y="33382"/>
                      </a:cubicBezTo>
                      <a:cubicBezTo>
                        <a:pt x="2590" y="26406"/>
                        <a:pt x="472"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5" name="Freeform 5053">
                  <a:extLst>
                    <a:ext uri="{FF2B5EF4-FFF2-40B4-BE49-F238E27FC236}">
                      <a16:creationId xmlns:a16="http://schemas.microsoft.com/office/drawing/2014/main" id="{8B79D1DF-5CB1-FAC4-F45F-194F6D434397}"/>
                    </a:ext>
                  </a:extLst>
                </p:cNvPr>
                <p:cNvSpPr/>
                <p:nvPr/>
              </p:nvSpPr>
              <p:spPr>
                <a:xfrm>
                  <a:off x="8427716" y="5630704"/>
                  <a:ext cx="3857" cy="52065"/>
                </a:xfrm>
                <a:custGeom>
                  <a:avLst/>
                  <a:gdLst>
                    <a:gd name="connsiteX0" fmla="*/ 1725 w 3857"/>
                    <a:gd name="connsiteY0" fmla="*/ 0 h 52065"/>
                    <a:gd name="connsiteX1" fmla="*/ 3593 w 3857"/>
                    <a:gd name="connsiteY1" fmla="*/ 18684 h 52065"/>
                    <a:gd name="connsiteX2" fmla="*/ 105 w 3857"/>
                    <a:gd name="connsiteY2" fmla="*/ 35748 h 52065"/>
                    <a:gd name="connsiteX3" fmla="*/ 2099 w 38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7" h="52065">
                      <a:moveTo>
                        <a:pt x="1725" y="0"/>
                      </a:moveTo>
                      <a:cubicBezTo>
                        <a:pt x="4091" y="8096"/>
                        <a:pt x="4091" y="14449"/>
                        <a:pt x="3593" y="18684"/>
                      </a:cubicBezTo>
                      <a:cubicBezTo>
                        <a:pt x="2721" y="25659"/>
                        <a:pt x="603" y="28648"/>
                        <a:pt x="105" y="35748"/>
                      </a:cubicBezTo>
                      <a:cubicBezTo>
                        <a:pt x="-393" y="42599"/>
                        <a:pt x="977" y="48328"/>
                        <a:pt x="209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6" name="Freeform 5054">
                  <a:extLst>
                    <a:ext uri="{FF2B5EF4-FFF2-40B4-BE49-F238E27FC236}">
                      <a16:creationId xmlns:a16="http://schemas.microsoft.com/office/drawing/2014/main" id="{47AFEEBB-0060-0CA2-C344-BD7AE246E6F0}"/>
                    </a:ext>
                  </a:extLst>
                </p:cNvPr>
                <p:cNvSpPr/>
                <p:nvPr/>
              </p:nvSpPr>
              <p:spPr>
                <a:xfrm>
                  <a:off x="8419974" y="5671683"/>
                  <a:ext cx="26406" cy="26530"/>
                </a:xfrm>
                <a:custGeom>
                  <a:avLst/>
                  <a:gdLst>
                    <a:gd name="connsiteX0" fmla="*/ 0 w 26406"/>
                    <a:gd name="connsiteY0" fmla="*/ 13203 h 26530"/>
                    <a:gd name="connsiteX1" fmla="*/ 13328 w 26406"/>
                    <a:gd name="connsiteY1" fmla="*/ 0 h 26530"/>
                    <a:gd name="connsiteX2" fmla="*/ 26406 w 26406"/>
                    <a:gd name="connsiteY2" fmla="*/ 13327 h 26530"/>
                    <a:gd name="connsiteX3" fmla="*/ 13078 w 26406"/>
                    <a:gd name="connsiteY3" fmla="*/ 26530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0" y="5854"/>
                        <a:pt x="5979" y="0"/>
                        <a:pt x="13328" y="0"/>
                      </a:cubicBezTo>
                      <a:cubicBezTo>
                        <a:pt x="20677" y="0"/>
                        <a:pt x="26406" y="5979"/>
                        <a:pt x="26406" y="13327"/>
                      </a:cubicBezTo>
                      <a:cubicBezTo>
                        <a:pt x="26281" y="20676"/>
                        <a:pt x="20428" y="26530"/>
                        <a:pt x="13078" y="26530"/>
                      </a:cubicBezTo>
                      <a:cubicBezTo>
                        <a:pt x="5855" y="26406"/>
                        <a:pt x="0" y="20427"/>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4" name="Graphic 2987">
                <a:extLst>
                  <a:ext uri="{FF2B5EF4-FFF2-40B4-BE49-F238E27FC236}">
                    <a16:creationId xmlns:a16="http://schemas.microsoft.com/office/drawing/2014/main" id="{043611CA-EDDB-933A-873E-B424136693F9}"/>
                  </a:ext>
                </a:extLst>
              </p:cNvPr>
              <p:cNvGrpSpPr/>
              <p:nvPr/>
            </p:nvGrpSpPr>
            <p:grpSpPr>
              <a:xfrm>
                <a:off x="8449369" y="5549492"/>
                <a:ext cx="27778" cy="148846"/>
                <a:chOff x="8449369" y="5549492"/>
                <a:chExt cx="27778" cy="148846"/>
              </a:xfrm>
              <a:grpFill/>
            </p:grpSpPr>
            <p:sp>
              <p:nvSpPr>
                <p:cNvPr id="4475" name="Freeform 5056">
                  <a:extLst>
                    <a:ext uri="{FF2B5EF4-FFF2-40B4-BE49-F238E27FC236}">
                      <a16:creationId xmlns:a16="http://schemas.microsoft.com/office/drawing/2014/main" id="{85BDBFD8-99C0-05B2-7056-C9650B5104A8}"/>
                    </a:ext>
                  </a:extLst>
                </p:cNvPr>
                <p:cNvSpPr/>
                <p:nvPr/>
              </p:nvSpPr>
              <p:spPr>
                <a:xfrm>
                  <a:off x="8457707" y="5569795"/>
                  <a:ext cx="3557" cy="52065"/>
                </a:xfrm>
                <a:custGeom>
                  <a:avLst/>
                  <a:gdLst>
                    <a:gd name="connsiteX0" fmla="*/ 2375 w 3557"/>
                    <a:gd name="connsiteY0" fmla="*/ 0 h 52065"/>
                    <a:gd name="connsiteX1" fmla="*/ 257 w 3557"/>
                    <a:gd name="connsiteY1" fmla="*/ 18684 h 52065"/>
                    <a:gd name="connsiteX2" fmla="*/ 3495 w 3557"/>
                    <a:gd name="connsiteY2" fmla="*/ 35748 h 52065"/>
                    <a:gd name="connsiteX3" fmla="*/ 11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0"/>
                      </a:moveTo>
                      <a:cubicBezTo>
                        <a:pt x="-241" y="7972"/>
                        <a:pt x="-241" y="14324"/>
                        <a:pt x="257" y="18684"/>
                      </a:cubicBezTo>
                      <a:cubicBezTo>
                        <a:pt x="1004" y="25659"/>
                        <a:pt x="3122" y="28648"/>
                        <a:pt x="3495" y="35748"/>
                      </a:cubicBezTo>
                      <a:cubicBezTo>
                        <a:pt x="3869" y="42599"/>
                        <a:pt x="2499" y="48328"/>
                        <a:pt x="11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6" name="Freeform 5057">
                  <a:extLst>
                    <a:ext uri="{FF2B5EF4-FFF2-40B4-BE49-F238E27FC236}">
                      <a16:creationId xmlns:a16="http://schemas.microsoft.com/office/drawing/2014/main" id="{46FBA709-1959-9F81-3B71-BCE0E1D50AE9}"/>
                    </a:ext>
                  </a:extLst>
                </p:cNvPr>
                <p:cNvSpPr/>
                <p:nvPr/>
              </p:nvSpPr>
              <p:spPr>
                <a:xfrm>
                  <a:off x="8465336" y="5564937"/>
                  <a:ext cx="4118" cy="52065"/>
                </a:xfrm>
                <a:custGeom>
                  <a:avLst/>
                  <a:gdLst>
                    <a:gd name="connsiteX0" fmla="*/ 2095 w 4118"/>
                    <a:gd name="connsiteY0" fmla="*/ 52065 h 52065"/>
                    <a:gd name="connsiteX1" fmla="*/ 351 w 4118"/>
                    <a:gd name="connsiteY1" fmla="*/ 33381 h 52065"/>
                    <a:gd name="connsiteX2" fmla="*/ 3963 w 4118"/>
                    <a:gd name="connsiteY2" fmla="*/ 16317 h 52065"/>
                    <a:gd name="connsiteX3" fmla="*/ 1970 w 4118"/>
                    <a:gd name="connsiteY3" fmla="*/ 0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52065"/>
                      </a:moveTo>
                      <a:cubicBezTo>
                        <a:pt x="-272" y="43969"/>
                        <a:pt x="-272" y="37616"/>
                        <a:pt x="351" y="33381"/>
                      </a:cubicBezTo>
                      <a:cubicBezTo>
                        <a:pt x="1223" y="26406"/>
                        <a:pt x="3341" y="23417"/>
                        <a:pt x="3963" y="16317"/>
                      </a:cubicBezTo>
                      <a:cubicBezTo>
                        <a:pt x="4586" y="9466"/>
                        <a:pt x="3216"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7" name="Freeform 5058">
                  <a:extLst>
                    <a:ext uri="{FF2B5EF4-FFF2-40B4-BE49-F238E27FC236}">
                      <a16:creationId xmlns:a16="http://schemas.microsoft.com/office/drawing/2014/main" id="{C25AA109-FF94-ACE7-EAE2-921215C66302}"/>
                    </a:ext>
                  </a:extLst>
                </p:cNvPr>
                <p:cNvSpPr/>
                <p:nvPr/>
              </p:nvSpPr>
              <p:spPr>
                <a:xfrm>
                  <a:off x="8450491" y="5549492"/>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4" y="26531"/>
                        <a:pt x="0" y="20552"/>
                        <a:pt x="0" y="13203"/>
                      </a:cubicBezTo>
                      <a:cubicBezTo>
                        <a:pt x="0" y="5854"/>
                        <a:pt x="6103" y="0"/>
                        <a:pt x="13452" y="0"/>
                      </a:cubicBezTo>
                      <a:cubicBezTo>
                        <a:pt x="20801" y="0"/>
                        <a:pt x="26780"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8" name="Freeform 5059">
                  <a:extLst>
                    <a:ext uri="{FF2B5EF4-FFF2-40B4-BE49-F238E27FC236}">
                      <a16:creationId xmlns:a16="http://schemas.microsoft.com/office/drawing/2014/main" id="{ABF24FE9-49DD-402D-3701-067FFBA3D69B}"/>
                    </a:ext>
                  </a:extLst>
                </p:cNvPr>
                <p:cNvSpPr/>
                <p:nvPr/>
              </p:nvSpPr>
              <p:spPr>
                <a:xfrm>
                  <a:off x="8465126" y="5625971"/>
                  <a:ext cx="3534" cy="52065"/>
                </a:xfrm>
                <a:custGeom>
                  <a:avLst/>
                  <a:gdLst>
                    <a:gd name="connsiteX0" fmla="*/ 1184 w 3534"/>
                    <a:gd name="connsiteY0" fmla="*/ 52065 h 52065"/>
                    <a:gd name="connsiteX1" fmla="*/ 3301 w 3534"/>
                    <a:gd name="connsiteY1" fmla="*/ 33381 h 52065"/>
                    <a:gd name="connsiteX2" fmla="*/ 62 w 3534"/>
                    <a:gd name="connsiteY2" fmla="*/ 16317 h 52065"/>
                    <a:gd name="connsiteX3" fmla="*/ 2429 w 3534"/>
                    <a:gd name="connsiteY3" fmla="*/ 0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52065"/>
                      </a:moveTo>
                      <a:cubicBezTo>
                        <a:pt x="3674" y="44094"/>
                        <a:pt x="3799" y="37741"/>
                        <a:pt x="3301" y="33381"/>
                      </a:cubicBezTo>
                      <a:cubicBezTo>
                        <a:pt x="2554" y="26406"/>
                        <a:pt x="560" y="23417"/>
                        <a:pt x="62" y="16317"/>
                      </a:cubicBezTo>
                      <a:cubicBezTo>
                        <a:pt x="-311" y="9467"/>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9" name="Freeform 5060">
                  <a:extLst>
                    <a:ext uri="{FF2B5EF4-FFF2-40B4-BE49-F238E27FC236}">
                      <a16:creationId xmlns:a16="http://schemas.microsoft.com/office/drawing/2014/main" id="{4150A916-3DC9-2E1A-1E07-AD256B3B1DF9}"/>
                    </a:ext>
                  </a:extLst>
                </p:cNvPr>
                <p:cNvSpPr/>
                <p:nvPr/>
              </p:nvSpPr>
              <p:spPr>
                <a:xfrm>
                  <a:off x="8457104" y="5630953"/>
                  <a:ext cx="4075" cy="52065"/>
                </a:xfrm>
                <a:custGeom>
                  <a:avLst/>
                  <a:gdLst>
                    <a:gd name="connsiteX0" fmla="*/ 1981 w 4075"/>
                    <a:gd name="connsiteY0" fmla="*/ 0 h 52065"/>
                    <a:gd name="connsiteX1" fmla="*/ 3725 w 4075"/>
                    <a:gd name="connsiteY1" fmla="*/ 18684 h 52065"/>
                    <a:gd name="connsiteX2" fmla="*/ 112 w 4075"/>
                    <a:gd name="connsiteY2" fmla="*/ 35748 h 52065"/>
                    <a:gd name="connsiteX3" fmla="*/ 2106 w 407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75" h="52065">
                      <a:moveTo>
                        <a:pt x="1981" y="0"/>
                      </a:moveTo>
                      <a:cubicBezTo>
                        <a:pt x="4348" y="8096"/>
                        <a:pt x="4348" y="14449"/>
                        <a:pt x="3725" y="18684"/>
                      </a:cubicBezTo>
                      <a:cubicBezTo>
                        <a:pt x="2853" y="25659"/>
                        <a:pt x="736" y="28648"/>
                        <a:pt x="112" y="35748"/>
                      </a:cubicBezTo>
                      <a:cubicBezTo>
                        <a:pt x="-386" y="42599"/>
                        <a:pt x="860" y="48328"/>
                        <a:pt x="2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0" name="Freeform 5061">
                  <a:extLst>
                    <a:ext uri="{FF2B5EF4-FFF2-40B4-BE49-F238E27FC236}">
                      <a16:creationId xmlns:a16="http://schemas.microsoft.com/office/drawing/2014/main" id="{78C78B38-8B38-D41E-6C4A-15B0779E13C1}"/>
                    </a:ext>
                  </a:extLst>
                </p:cNvPr>
                <p:cNvSpPr/>
                <p:nvPr/>
              </p:nvSpPr>
              <p:spPr>
                <a:xfrm>
                  <a:off x="8449369" y="5671808"/>
                  <a:ext cx="26406" cy="26530"/>
                </a:xfrm>
                <a:custGeom>
                  <a:avLst/>
                  <a:gdLst>
                    <a:gd name="connsiteX0" fmla="*/ 0 w 26406"/>
                    <a:gd name="connsiteY0" fmla="*/ 13203 h 26530"/>
                    <a:gd name="connsiteX1" fmla="*/ 13328 w 26406"/>
                    <a:gd name="connsiteY1" fmla="*/ 0 h 26530"/>
                    <a:gd name="connsiteX2" fmla="*/ 26406 w 26406"/>
                    <a:gd name="connsiteY2" fmla="*/ 13328 h 26530"/>
                    <a:gd name="connsiteX3" fmla="*/ 13079 w 26406"/>
                    <a:gd name="connsiteY3" fmla="*/ 26531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125" y="5854"/>
                        <a:pt x="5979" y="0"/>
                        <a:pt x="13328" y="0"/>
                      </a:cubicBezTo>
                      <a:cubicBezTo>
                        <a:pt x="20552" y="0"/>
                        <a:pt x="26406" y="5979"/>
                        <a:pt x="26406" y="13328"/>
                      </a:cubicBezTo>
                      <a:cubicBezTo>
                        <a:pt x="26282" y="20677"/>
                        <a:pt x="20303" y="26531"/>
                        <a:pt x="13079" y="26531"/>
                      </a:cubicBezTo>
                      <a:cubicBezTo>
                        <a:pt x="5855"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5" name="Graphic 2987">
                <a:extLst>
                  <a:ext uri="{FF2B5EF4-FFF2-40B4-BE49-F238E27FC236}">
                    <a16:creationId xmlns:a16="http://schemas.microsoft.com/office/drawing/2014/main" id="{C4A48EC2-3BAD-7494-44F7-E04CCE430D28}"/>
                  </a:ext>
                </a:extLst>
              </p:cNvPr>
              <p:cNvGrpSpPr/>
              <p:nvPr/>
            </p:nvGrpSpPr>
            <p:grpSpPr>
              <a:xfrm>
                <a:off x="8478887" y="5549617"/>
                <a:ext cx="28029" cy="148970"/>
                <a:chOff x="8478887" y="5549617"/>
                <a:chExt cx="28029" cy="148970"/>
              </a:xfrm>
              <a:grpFill/>
            </p:grpSpPr>
            <p:sp>
              <p:nvSpPr>
                <p:cNvPr id="4469" name="Freeform 5063">
                  <a:extLst>
                    <a:ext uri="{FF2B5EF4-FFF2-40B4-BE49-F238E27FC236}">
                      <a16:creationId xmlns:a16="http://schemas.microsoft.com/office/drawing/2014/main" id="{AE526273-E863-1C1F-A228-A1D9F0ED786E}"/>
                    </a:ext>
                  </a:extLst>
                </p:cNvPr>
                <p:cNvSpPr/>
                <p:nvPr/>
              </p:nvSpPr>
              <p:spPr>
                <a:xfrm>
                  <a:off x="8487432" y="5570044"/>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1"/>
                        <a:pt x="-197" y="14324"/>
                        <a:pt x="177" y="18684"/>
                      </a:cubicBezTo>
                      <a:cubicBezTo>
                        <a:pt x="924" y="25659"/>
                        <a:pt x="2917" y="28648"/>
                        <a:pt x="3415" y="35748"/>
                      </a:cubicBezTo>
                      <a:cubicBezTo>
                        <a:pt x="3789" y="42599"/>
                        <a:pt x="2295"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0" name="Freeform 5064">
                  <a:extLst>
                    <a:ext uri="{FF2B5EF4-FFF2-40B4-BE49-F238E27FC236}">
                      <a16:creationId xmlns:a16="http://schemas.microsoft.com/office/drawing/2014/main" id="{0A25D732-C70B-0DED-A644-0EE5A8F01B92}"/>
                    </a:ext>
                  </a:extLst>
                </p:cNvPr>
                <p:cNvSpPr/>
                <p:nvPr/>
              </p:nvSpPr>
              <p:spPr>
                <a:xfrm>
                  <a:off x="8494911" y="5565062"/>
                  <a:ext cx="4062" cy="52065"/>
                </a:xfrm>
                <a:custGeom>
                  <a:avLst/>
                  <a:gdLst>
                    <a:gd name="connsiteX0" fmla="*/ 2039 w 4062"/>
                    <a:gd name="connsiteY0" fmla="*/ 52065 h 52065"/>
                    <a:gd name="connsiteX1" fmla="*/ 296 w 4062"/>
                    <a:gd name="connsiteY1" fmla="*/ 33382 h 52065"/>
                    <a:gd name="connsiteX2" fmla="*/ 3908 w 4062"/>
                    <a:gd name="connsiteY2" fmla="*/ 16317 h 52065"/>
                    <a:gd name="connsiteX3" fmla="*/ 1914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52065"/>
                      </a:moveTo>
                      <a:cubicBezTo>
                        <a:pt x="-328" y="43969"/>
                        <a:pt x="-203" y="37617"/>
                        <a:pt x="296" y="33382"/>
                      </a:cubicBezTo>
                      <a:cubicBezTo>
                        <a:pt x="1167" y="26407"/>
                        <a:pt x="3285" y="23417"/>
                        <a:pt x="3908" y="16317"/>
                      </a:cubicBezTo>
                      <a:cubicBezTo>
                        <a:pt x="4530" y="9467"/>
                        <a:pt x="3160" y="3737"/>
                        <a:pt x="19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1" name="Freeform 5065">
                  <a:extLst>
                    <a:ext uri="{FF2B5EF4-FFF2-40B4-BE49-F238E27FC236}">
                      <a16:creationId xmlns:a16="http://schemas.microsoft.com/office/drawing/2014/main" id="{146EC63F-08D5-575C-E992-61A76D996926}"/>
                    </a:ext>
                  </a:extLst>
                </p:cNvPr>
                <p:cNvSpPr/>
                <p:nvPr/>
              </p:nvSpPr>
              <p:spPr>
                <a:xfrm>
                  <a:off x="8480383" y="5549617"/>
                  <a:ext cx="26533" cy="26530"/>
                </a:xfrm>
                <a:custGeom>
                  <a:avLst/>
                  <a:gdLst>
                    <a:gd name="connsiteX0" fmla="*/ 26532 w 26533"/>
                    <a:gd name="connsiteY0" fmla="*/ 13452 h 26530"/>
                    <a:gd name="connsiteX1" fmla="*/ 13080 w 26533"/>
                    <a:gd name="connsiteY1" fmla="*/ 26531 h 26530"/>
                    <a:gd name="connsiteX2" fmla="*/ 2 w 26533"/>
                    <a:gd name="connsiteY2" fmla="*/ 13203 h 26530"/>
                    <a:gd name="connsiteX3" fmla="*/ 13454 w 26533"/>
                    <a:gd name="connsiteY3" fmla="*/ 0 h 26530"/>
                    <a:gd name="connsiteX4" fmla="*/ 26532 w 26533"/>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3" h="26530">
                      <a:moveTo>
                        <a:pt x="26532" y="13452"/>
                      </a:moveTo>
                      <a:cubicBezTo>
                        <a:pt x="26408" y="20801"/>
                        <a:pt x="20429" y="26531"/>
                        <a:pt x="13080" y="26531"/>
                      </a:cubicBezTo>
                      <a:cubicBezTo>
                        <a:pt x="5731" y="26531"/>
                        <a:pt x="-123" y="20552"/>
                        <a:pt x="2" y="13203"/>
                      </a:cubicBezTo>
                      <a:cubicBezTo>
                        <a:pt x="126" y="5854"/>
                        <a:pt x="6105" y="0"/>
                        <a:pt x="13454" y="0"/>
                      </a:cubicBezTo>
                      <a:cubicBezTo>
                        <a:pt x="20803" y="125"/>
                        <a:pt x="26657" y="6103"/>
                        <a:pt x="2653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2" name="Freeform 5066">
                  <a:extLst>
                    <a:ext uri="{FF2B5EF4-FFF2-40B4-BE49-F238E27FC236}">
                      <a16:creationId xmlns:a16="http://schemas.microsoft.com/office/drawing/2014/main" id="{2352C0EE-2887-24BE-DB5A-F23A2CC24BDC}"/>
                    </a:ext>
                  </a:extLst>
                </p:cNvPr>
                <p:cNvSpPr/>
                <p:nvPr/>
              </p:nvSpPr>
              <p:spPr>
                <a:xfrm>
                  <a:off x="8494775" y="5626220"/>
                  <a:ext cx="3349" cy="52065"/>
                </a:xfrm>
                <a:custGeom>
                  <a:avLst/>
                  <a:gdLst>
                    <a:gd name="connsiteX0" fmla="*/ 930 w 3349"/>
                    <a:gd name="connsiteY0" fmla="*/ 52065 h 52065"/>
                    <a:gd name="connsiteX1" fmla="*/ 3172 w 3349"/>
                    <a:gd name="connsiteY1" fmla="*/ 33382 h 52065"/>
                    <a:gd name="connsiteX2" fmla="*/ 58 w 3349"/>
                    <a:gd name="connsiteY2" fmla="*/ 16317 h 52065"/>
                    <a:gd name="connsiteX3" fmla="*/ 2425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930" y="52065"/>
                      </a:moveTo>
                      <a:cubicBezTo>
                        <a:pt x="3546" y="44094"/>
                        <a:pt x="3546" y="37741"/>
                        <a:pt x="3172" y="33382"/>
                      </a:cubicBezTo>
                      <a:cubicBezTo>
                        <a:pt x="2550" y="26406"/>
                        <a:pt x="432" y="23417"/>
                        <a:pt x="58" y="16317"/>
                      </a:cubicBezTo>
                      <a:cubicBezTo>
                        <a:pt x="-316"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3" name="Freeform 5067">
                  <a:extLst>
                    <a:ext uri="{FF2B5EF4-FFF2-40B4-BE49-F238E27FC236}">
                      <a16:creationId xmlns:a16="http://schemas.microsoft.com/office/drawing/2014/main" id="{58029CD3-3A98-3DA4-4622-3A5EC2C51076}"/>
                    </a:ext>
                  </a:extLst>
                </p:cNvPr>
                <p:cNvSpPr/>
                <p:nvPr/>
              </p:nvSpPr>
              <p:spPr>
                <a:xfrm>
                  <a:off x="8486581" y="5631078"/>
                  <a:ext cx="4063" cy="52065"/>
                </a:xfrm>
                <a:custGeom>
                  <a:avLst/>
                  <a:gdLst>
                    <a:gd name="connsiteX0" fmla="*/ 2024 w 4063"/>
                    <a:gd name="connsiteY0" fmla="*/ 0 h 52065"/>
                    <a:gd name="connsiteX1" fmla="*/ 3768 w 4063"/>
                    <a:gd name="connsiteY1" fmla="*/ 18684 h 52065"/>
                    <a:gd name="connsiteX2" fmla="*/ 155 w 4063"/>
                    <a:gd name="connsiteY2" fmla="*/ 35748 h 52065"/>
                    <a:gd name="connsiteX3" fmla="*/ 2149 w 40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3" h="52065">
                      <a:moveTo>
                        <a:pt x="2024" y="0"/>
                      </a:moveTo>
                      <a:cubicBezTo>
                        <a:pt x="4390" y="8096"/>
                        <a:pt x="4266" y="14449"/>
                        <a:pt x="3768" y="18684"/>
                      </a:cubicBezTo>
                      <a:cubicBezTo>
                        <a:pt x="2896" y="25659"/>
                        <a:pt x="779" y="28648"/>
                        <a:pt x="155" y="35748"/>
                      </a:cubicBezTo>
                      <a:cubicBezTo>
                        <a:pt x="-467" y="42599"/>
                        <a:pt x="903" y="48328"/>
                        <a:pt x="21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4" name="Freeform 5068">
                  <a:extLst>
                    <a:ext uri="{FF2B5EF4-FFF2-40B4-BE49-F238E27FC236}">
                      <a16:creationId xmlns:a16="http://schemas.microsoft.com/office/drawing/2014/main" id="{0D0DDDC3-4C26-EE8A-7E01-D3693758DBFC}"/>
                    </a:ext>
                  </a:extLst>
                </p:cNvPr>
                <p:cNvSpPr/>
                <p:nvPr/>
              </p:nvSpPr>
              <p:spPr>
                <a:xfrm>
                  <a:off x="8478887" y="5672057"/>
                  <a:ext cx="26286" cy="26530"/>
                </a:xfrm>
                <a:custGeom>
                  <a:avLst/>
                  <a:gdLst>
                    <a:gd name="connsiteX0" fmla="*/ 2 w 26286"/>
                    <a:gd name="connsiteY0" fmla="*/ 13203 h 26530"/>
                    <a:gd name="connsiteX1" fmla="*/ 13330 w 26286"/>
                    <a:gd name="connsiteY1" fmla="*/ 0 h 26530"/>
                    <a:gd name="connsiteX2" fmla="*/ 26284 w 26286"/>
                    <a:gd name="connsiteY2" fmla="*/ 13452 h 26530"/>
                    <a:gd name="connsiteX3" fmla="*/ 12956 w 26286"/>
                    <a:gd name="connsiteY3" fmla="*/ 26530 h 26530"/>
                    <a:gd name="connsiteX4" fmla="*/ 2 w 2628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30">
                      <a:moveTo>
                        <a:pt x="2" y="13203"/>
                      </a:moveTo>
                      <a:cubicBezTo>
                        <a:pt x="127" y="5854"/>
                        <a:pt x="6106" y="0"/>
                        <a:pt x="13330" y="0"/>
                      </a:cubicBezTo>
                      <a:cubicBezTo>
                        <a:pt x="20554" y="0"/>
                        <a:pt x="26409" y="6103"/>
                        <a:pt x="26284" y="13452"/>
                      </a:cubicBezTo>
                      <a:cubicBezTo>
                        <a:pt x="26160" y="20801"/>
                        <a:pt x="20181" y="26530"/>
                        <a:pt x="12956" y="26530"/>
                      </a:cubicBezTo>
                      <a:cubicBezTo>
                        <a:pt x="5732" y="26530"/>
                        <a:pt x="-122" y="20552"/>
                        <a:pt x="2"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6" name="Graphic 2987">
                <a:extLst>
                  <a:ext uri="{FF2B5EF4-FFF2-40B4-BE49-F238E27FC236}">
                    <a16:creationId xmlns:a16="http://schemas.microsoft.com/office/drawing/2014/main" id="{751B4F20-34CE-0052-ED45-DAF92AD42750}"/>
                  </a:ext>
                </a:extLst>
              </p:cNvPr>
              <p:cNvGrpSpPr/>
              <p:nvPr/>
            </p:nvGrpSpPr>
            <p:grpSpPr>
              <a:xfrm>
                <a:off x="8508284" y="5550113"/>
                <a:ext cx="28402" cy="148974"/>
                <a:chOff x="8508284" y="5550113"/>
                <a:chExt cx="28402" cy="148974"/>
              </a:xfrm>
              <a:grpFill/>
            </p:grpSpPr>
            <p:sp>
              <p:nvSpPr>
                <p:cNvPr id="4463" name="Freeform 5070">
                  <a:extLst>
                    <a:ext uri="{FF2B5EF4-FFF2-40B4-BE49-F238E27FC236}">
                      <a16:creationId xmlns:a16="http://schemas.microsoft.com/office/drawing/2014/main" id="{74334D86-434E-3C61-707B-F864ACCC785E}"/>
                    </a:ext>
                  </a:extLst>
                </p:cNvPr>
                <p:cNvSpPr/>
                <p:nvPr/>
              </p:nvSpPr>
              <p:spPr>
                <a:xfrm>
                  <a:off x="8517147" y="5570418"/>
                  <a:ext cx="3403" cy="52189"/>
                </a:xfrm>
                <a:custGeom>
                  <a:avLst/>
                  <a:gdLst>
                    <a:gd name="connsiteX0" fmla="*/ 2473 w 3403"/>
                    <a:gd name="connsiteY0" fmla="*/ 0 h 52189"/>
                    <a:gd name="connsiteX1" fmla="*/ 231 w 3403"/>
                    <a:gd name="connsiteY1" fmla="*/ 18684 h 52189"/>
                    <a:gd name="connsiteX2" fmla="*/ 3345 w 3403"/>
                    <a:gd name="connsiteY2" fmla="*/ 35873 h 52189"/>
                    <a:gd name="connsiteX3" fmla="*/ 978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2473" y="0"/>
                      </a:moveTo>
                      <a:cubicBezTo>
                        <a:pt x="-142" y="7971"/>
                        <a:pt x="-267" y="14324"/>
                        <a:pt x="231" y="18684"/>
                      </a:cubicBezTo>
                      <a:cubicBezTo>
                        <a:pt x="853" y="25659"/>
                        <a:pt x="2972" y="28773"/>
                        <a:pt x="3345" y="35873"/>
                      </a:cubicBezTo>
                      <a:cubicBezTo>
                        <a:pt x="3719" y="42723"/>
                        <a:pt x="2223" y="48453"/>
                        <a:pt x="97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4" name="Freeform 5071">
                  <a:extLst>
                    <a:ext uri="{FF2B5EF4-FFF2-40B4-BE49-F238E27FC236}">
                      <a16:creationId xmlns:a16="http://schemas.microsoft.com/office/drawing/2014/main" id="{68A1EBF2-8EEF-A360-1004-F8F98D088A23}"/>
                    </a:ext>
                  </a:extLst>
                </p:cNvPr>
                <p:cNvSpPr/>
                <p:nvPr/>
              </p:nvSpPr>
              <p:spPr>
                <a:xfrm>
                  <a:off x="8524590" y="5565560"/>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5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4"/>
                        <a:pt x="-237" y="37741"/>
                        <a:pt x="386" y="33506"/>
                      </a:cubicBezTo>
                      <a:cubicBezTo>
                        <a:pt x="1258" y="26531"/>
                        <a:pt x="3500" y="23542"/>
                        <a:pt x="4122" y="16442"/>
                      </a:cubicBezTo>
                      <a:cubicBezTo>
                        <a:pt x="4746" y="9591"/>
                        <a:pt x="3375"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5" name="Freeform 5072">
                  <a:extLst>
                    <a:ext uri="{FF2B5EF4-FFF2-40B4-BE49-F238E27FC236}">
                      <a16:creationId xmlns:a16="http://schemas.microsoft.com/office/drawing/2014/main" id="{D3E492B5-0AB2-6EA1-823F-2745F3A4E228}"/>
                    </a:ext>
                  </a:extLst>
                </p:cNvPr>
                <p:cNvSpPr/>
                <p:nvPr/>
              </p:nvSpPr>
              <p:spPr>
                <a:xfrm>
                  <a:off x="8510027" y="5550113"/>
                  <a:ext cx="26659" cy="26534"/>
                </a:xfrm>
                <a:custGeom>
                  <a:avLst/>
                  <a:gdLst>
                    <a:gd name="connsiteX0" fmla="*/ 26657 w 26659"/>
                    <a:gd name="connsiteY0" fmla="*/ 13579 h 26534"/>
                    <a:gd name="connsiteX1" fmla="*/ 13081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1" y="26533"/>
                      </a:cubicBezTo>
                      <a:cubicBezTo>
                        <a:pt x="5732" y="26408"/>
                        <a:pt x="-122" y="20305"/>
                        <a:pt x="2" y="12956"/>
                      </a:cubicBezTo>
                      <a:cubicBezTo>
                        <a:pt x="127" y="5607"/>
                        <a:pt x="6106" y="-123"/>
                        <a:pt x="13579" y="2"/>
                      </a:cubicBezTo>
                      <a:cubicBezTo>
                        <a:pt x="20928" y="251"/>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6" name="Freeform 5073">
                  <a:extLst>
                    <a:ext uri="{FF2B5EF4-FFF2-40B4-BE49-F238E27FC236}">
                      <a16:creationId xmlns:a16="http://schemas.microsoft.com/office/drawing/2014/main" id="{35BF0BE9-2019-30C4-DC90-D305E5F87603}"/>
                    </a:ext>
                  </a:extLst>
                </p:cNvPr>
                <p:cNvSpPr/>
                <p:nvPr/>
              </p:nvSpPr>
              <p:spPr>
                <a:xfrm>
                  <a:off x="8524170" y="5626593"/>
                  <a:ext cx="3403" cy="52189"/>
                </a:xfrm>
                <a:custGeom>
                  <a:avLst/>
                  <a:gdLst>
                    <a:gd name="connsiteX0" fmla="*/ 930 w 3403"/>
                    <a:gd name="connsiteY0" fmla="*/ 52190 h 52189"/>
                    <a:gd name="connsiteX1" fmla="*/ 3172 w 3403"/>
                    <a:gd name="connsiteY1" fmla="*/ 33506 h 52189"/>
                    <a:gd name="connsiteX2" fmla="*/ 58 w 3403"/>
                    <a:gd name="connsiteY2" fmla="*/ 16317 h 52189"/>
                    <a:gd name="connsiteX3" fmla="*/ 2425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52190"/>
                      </a:moveTo>
                      <a:cubicBezTo>
                        <a:pt x="3546" y="44218"/>
                        <a:pt x="3671" y="37866"/>
                        <a:pt x="3172" y="33506"/>
                      </a:cubicBezTo>
                      <a:cubicBezTo>
                        <a:pt x="2550" y="26531"/>
                        <a:pt x="432" y="23417"/>
                        <a:pt x="58" y="16317"/>
                      </a:cubicBezTo>
                      <a:cubicBezTo>
                        <a:pt x="-315"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7" name="Freeform 5074">
                  <a:extLst>
                    <a:ext uri="{FF2B5EF4-FFF2-40B4-BE49-F238E27FC236}">
                      <a16:creationId xmlns:a16="http://schemas.microsoft.com/office/drawing/2014/main" id="{2004E26F-69D7-43CE-5E25-51A9B37E726E}"/>
                    </a:ext>
                  </a:extLst>
                </p:cNvPr>
                <p:cNvSpPr/>
                <p:nvPr/>
              </p:nvSpPr>
              <p:spPr>
                <a:xfrm>
                  <a:off x="8515977" y="5631576"/>
                  <a:ext cx="4153" cy="52189"/>
                </a:xfrm>
                <a:custGeom>
                  <a:avLst/>
                  <a:gdLst>
                    <a:gd name="connsiteX0" fmla="*/ 2149 w 4153"/>
                    <a:gd name="connsiteY0" fmla="*/ 0 h 52189"/>
                    <a:gd name="connsiteX1" fmla="*/ 3768 w 4153"/>
                    <a:gd name="connsiteY1" fmla="*/ 18684 h 52189"/>
                    <a:gd name="connsiteX2" fmla="*/ 156 w 4153"/>
                    <a:gd name="connsiteY2" fmla="*/ 35748 h 52189"/>
                    <a:gd name="connsiteX3" fmla="*/ 2024 w 4153"/>
                    <a:gd name="connsiteY3" fmla="*/ 52189 h 52189"/>
                  </a:gdLst>
                  <a:ahLst/>
                  <a:cxnLst>
                    <a:cxn ang="0">
                      <a:pos x="connsiteX0" y="connsiteY0"/>
                    </a:cxn>
                    <a:cxn ang="0">
                      <a:pos x="connsiteX1" y="connsiteY1"/>
                    </a:cxn>
                    <a:cxn ang="0">
                      <a:pos x="connsiteX2" y="connsiteY2"/>
                    </a:cxn>
                    <a:cxn ang="0">
                      <a:pos x="connsiteX3" y="connsiteY3"/>
                    </a:cxn>
                  </a:cxnLst>
                  <a:rect l="l" t="t" r="r" b="b"/>
                  <a:pathLst>
                    <a:path w="4153" h="52189">
                      <a:moveTo>
                        <a:pt x="2149" y="0"/>
                      </a:moveTo>
                      <a:cubicBezTo>
                        <a:pt x="4515" y="8096"/>
                        <a:pt x="4391" y="14448"/>
                        <a:pt x="3768" y="18684"/>
                      </a:cubicBezTo>
                      <a:cubicBezTo>
                        <a:pt x="2896" y="25659"/>
                        <a:pt x="654" y="28648"/>
                        <a:pt x="156" y="35748"/>
                      </a:cubicBezTo>
                      <a:cubicBezTo>
                        <a:pt x="-467" y="42599"/>
                        <a:pt x="903" y="48328"/>
                        <a:pt x="2024"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8" name="Freeform 5075">
                  <a:extLst>
                    <a:ext uri="{FF2B5EF4-FFF2-40B4-BE49-F238E27FC236}">
                      <a16:creationId xmlns:a16="http://schemas.microsoft.com/office/drawing/2014/main" id="{974310AE-29DB-A61F-18B6-2936DF6AAAF8}"/>
                    </a:ext>
                  </a:extLst>
                </p:cNvPr>
                <p:cNvSpPr/>
                <p:nvPr/>
              </p:nvSpPr>
              <p:spPr>
                <a:xfrm>
                  <a:off x="8508284" y="5672553"/>
                  <a:ext cx="26285" cy="26534"/>
                </a:xfrm>
                <a:custGeom>
                  <a:avLst/>
                  <a:gdLst>
                    <a:gd name="connsiteX0" fmla="*/ 2 w 26285"/>
                    <a:gd name="connsiteY0" fmla="*/ 12956 h 26534"/>
                    <a:gd name="connsiteX1" fmla="*/ 13330 w 26285"/>
                    <a:gd name="connsiteY1" fmla="*/ 2 h 26534"/>
                    <a:gd name="connsiteX2" fmla="*/ 26283 w 26285"/>
                    <a:gd name="connsiteY2" fmla="*/ 13579 h 26534"/>
                    <a:gd name="connsiteX3" fmla="*/ 12956 w 26285"/>
                    <a:gd name="connsiteY3" fmla="*/ 26533 h 26534"/>
                    <a:gd name="connsiteX4" fmla="*/ 2 w 26285"/>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2956"/>
                      </a:moveTo>
                      <a:cubicBezTo>
                        <a:pt x="127" y="5607"/>
                        <a:pt x="6105" y="-122"/>
                        <a:pt x="13330" y="2"/>
                      </a:cubicBezTo>
                      <a:cubicBezTo>
                        <a:pt x="20554" y="127"/>
                        <a:pt x="26408" y="6230"/>
                        <a:pt x="26283" y="13579"/>
                      </a:cubicBezTo>
                      <a:cubicBezTo>
                        <a:pt x="26159" y="20928"/>
                        <a:pt x="20180" y="26658"/>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7" name="Graphic 2987">
                <a:extLst>
                  <a:ext uri="{FF2B5EF4-FFF2-40B4-BE49-F238E27FC236}">
                    <a16:creationId xmlns:a16="http://schemas.microsoft.com/office/drawing/2014/main" id="{05648554-9E21-942A-B2B0-2E1E15EA2793}"/>
                  </a:ext>
                </a:extLst>
              </p:cNvPr>
              <p:cNvGrpSpPr/>
              <p:nvPr/>
            </p:nvGrpSpPr>
            <p:grpSpPr>
              <a:xfrm>
                <a:off x="8537679" y="5550736"/>
                <a:ext cx="28776" cy="148975"/>
                <a:chOff x="8537679" y="5550736"/>
                <a:chExt cx="28776" cy="148975"/>
              </a:xfrm>
              <a:grpFill/>
            </p:grpSpPr>
            <p:sp>
              <p:nvSpPr>
                <p:cNvPr id="4457" name="Freeform 5077">
                  <a:extLst>
                    <a:ext uri="{FF2B5EF4-FFF2-40B4-BE49-F238E27FC236}">
                      <a16:creationId xmlns:a16="http://schemas.microsoft.com/office/drawing/2014/main" id="{C935512E-3975-7043-0333-ED2D3520D669}"/>
                    </a:ext>
                  </a:extLst>
                </p:cNvPr>
                <p:cNvSpPr/>
                <p:nvPr/>
              </p:nvSpPr>
              <p:spPr>
                <a:xfrm>
                  <a:off x="8546867" y="5571041"/>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3"/>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8" name="Freeform 5078">
                  <a:extLst>
                    <a:ext uri="{FF2B5EF4-FFF2-40B4-BE49-F238E27FC236}">
                      <a16:creationId xmlns:a16="http://schemas.microsoft.com/office/drawing/2014/main" id="{99161D5B-9B96-5FAE-1BFF-033379CF2C79}"/>
                    </a:ext>
                  </a:extLst>
                </p:cNvPr>
                <p:cNvSpPr/>
                <p:nvPr/>
              </p:nvSpPr>
              <p:spPr>
                <a:xfrm>
                  <a:off x="8554235" y="5566183"/>
                  <a:ext cx="4288" cy="52189"/>
                </a:xfrm>
                <a:custGeom>
                  <a:avLst/>
                  <a:gdLst>
                    <a:gd name="connsiteX0" fmla="*/ 2005 w 4288"/>
                    <a:gd name="connsiteY0" fmla="*/ 52189 h 52189"/>
                    <a:gd name="connsiteX1" fmla="*/ 386 w 4288"/>
                    <a:gd name="connsiteY1" fmla="*/ 33506 h 52189"/>
                    <a:gd name="connsiteX2" fmla="*/ 4122 w 4288"/>
                    <a:gd name="connsiteY2" fmla="*/ 16441 h 52189"/>
                    <a:gd name="connsiteX3" fmla="*/ 2255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89"/>
                      </a:moveTo>
                      <a:cubicBezTo>
                        <a:pt x="-361" y="44093"/>
                        <a:pt x="-237" y="37741"/>
                        <a:pt x="386" y="33506"/>
                      </a:cubicBezTo>
                      <a:cubicBezTo>
                        <a:pt x="1258" y="26530"/>
                        <a:pt x="3500" y="23541"/>
                        <a:pt x="4122" y="16441"/>
                      </a:cubicBezTo>
                      <a:cubicBezTo>
                        <a:pt x="4746" y="9591"/>
                        <a:pt x="3500"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9" name="Freeform 5079">
                  <a:extLst>
                    <a:ext uri="{FF2B5EF4-FFF2-40B4-BE49-F238E27FC236}">
                      <a16:creationId xmlns:a16="http://schemas.microsoft.com/office/drawing/2014/main" id="{79C24240-7B86-2879-8A2F-314CF70AA7AA}"/>
                    </a:ext>
                  </a:extLst>
                </p:cNvPr>
                <p:cNvSpPr/>
                <p:nvPr/>
              </p:nvSpPr>
              <p:spPr>
                <a:xfrm>
                  <a:off x="8539796" y="5550736"/>
                  <a:ext cx="26659" cy="26534"/>
                </a:xfrm>
                <a:custGeom>
                  <a:avLst/>
                  <a:gdLst>
                    <a:gd name="connsiteX0" fmla="*/ 26657 w 26659"/>
                    <a:gd name="connsiteY0" fmla="*/ 13579 h 26534"/>
                    <a:gd name="connsiteX1" fmla="*/ 13080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8"/>
                        <a:pt x="13080" y="26533"/>
                      </a:cubicBezTo>
                      <a:cubicBezTo>
                        <a:pt x="5732" y="26408"/>
                        <a:pt x="-123" y="20305"/>
                        <a:pt x="2" y="12956"/>
                      </a:cubicBezTo>
                      <a:cubicBezTo>
                        <a:pt x="127" y="5607"/>
                        <a:pt x="6230" y="-122"/>
                        <a:pt x="13579" y="2"/>
                      </a:cubicBezTo>
                      <a:cubicBezTo>
                        <a:pt x="20928" y="127"/>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0" name="Freeform 5080">
                  <a:extLst>
                    <a:ext uri="{FF2B5EF4-FFF2-40B4-BE49-F238E27FC236}">
                      <a16:creationId xmlns:a16="http://schemas.microsoft.com/office/drawing/2014/main" id="{C2117375-97EC-18AE-4524-6094FA648EF4}"/>
                    </a:ext>
                  </a:extLst>
                </p:cNvPr>
                <p:cNvSpPr/>
                <p:nvPr/>
              </p:nvSpPr>
              <p:spPr>
                <a:xfrm>
                  <a:off x="8553815" y="5627216"/>
                  <a:ext cx="3327" cy="52189"/>
                </a:xfrm>
                <a:custGeom>
                  <a:avLst/>
                  <a:gdLst>
                    <a:gd name="connsiteX0" fmla="*/ 805 w 3327"/>
                    <a:gd name="connsiteY0" fmla="*/ 52190 h 52189"/>
                    <a:gd name="connsiteX1" fmla="*/ 3172 w 3327"/>
                    <a:gd name="connsiteY1" fmla="*/ 33506 h 52189"/>
                    <a:gd name="connsiteX2" fmla="*/ 58 w 3327"/>
                    <a:gd name="connsiteY2" fmla="*/ 16317 h 52189"/>
                    <a:gd name="connsiteX3" fmla="*/ 254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805" y="52190"/>
                      </a:moveTo>
                      <a:cubicBezTo>
                        <a:pt x="3421" y="44218"/>
                        <a:pt x="3546" y="37865"/>
                        <a:pt x="3172" y="33506"/>
                      </a:cubicBezTo>
                      <a:cubicBezTo>
                        <a:pt x="2549" y="26531"/>
                        <a:pt x="432" y="23417"/>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1" name="Freeform 5081">
                  <a:extLst>
                    <a:ext uri="{FF2B5EF4-FFF2-40B4-BE49-F238E27FC236}">
                      <a16:creationId xmlns:a16="http://schemas.microsoft.com/office/drawing/2014/main" id="{732A0CB7-645B-DA7F-7157-EAF4A40169B7}"/>
                    </a:ext>
                  </a:extLst>
                </p:cNvPr>
                <p:cNvSpPr/>
                <p:nvPr/>
              </p:nvSpPr>
              <p:spPr>
                <a:xfrm>
                  <a:off x="8545487" y="5632198"/>
                  <a:ext cx="4288" cy="52189"/>
                </a:xfrm>
                <a:custGeom>
                  <a:avLst/>
                  <a:gdLst>
                    <a:gd name="connsiteX0" fmla="*/ 2283 w 4288"/>
                    <a:gd name="connsiteY0" fmla="*/ 0 h 52189"/>
                    <a:gd name="connsiteX1" fmla="*/ 3902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2" name="Freeform 5082">
                  <a:extLst>
                    <a:ext uri="{FF2B5EF4-FFF2-40B4-BE49-F238E27FC236}">
                      <a16:creationId xmlns:a16="http://schemas.microsoft.com/office/drawing/2014/main" id="{BD491D26-BB79-821E-E0C6-50EA360D0C37}"/>
                    </a:ext>
                  </a:extLst>
                </p:cNvPr>
                <p:cNvSpPr/>
                <p:nvPr/>
              </p:nvSpPr>
              <p:spPr>
                <a:xfrm>
                  <a:off x="8537679" y="5673176"/>
                  <a:ext cx="26410" cy="26534"/>
                </a:xfrm>
                <a:custGeom>
                  <a:avLst/>
                  <a:gdLst>
                    <a:gd name="connsiteX0" fmla="*/ 2 w 26410"/>
                    <a:gd name="connsiteY0" fmla="*/ 12956 h 26534"/>
                    <a:gd name="connsiteX1" fmla="*/ 13454 w 26410"/>
                    <a:gd name="connsiteY1" fmla="*/ 2 h 26534"/>
                    <a:gd name="connsiteX2" fmla="*/ 26408 w 26410"/>
                    <a:gd name="connsiteY2" fmla="*/ 13579 h 26534"/>
                    <a:gd name="connsiteX3" fmla="*/ 12956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127" y="5607"/>
                        <a:pt x="6105" y="-123"/>
                        <a:pt x="13454" y="2"/>
                      </a:cubicBezTo>
                      <a:cubicBezTo>
                        <a:pt x="20803" y="126"/>
                        <a:pt x="26533" y="6230"/>
                        <a:pt x="26408" y="13579"/>
                      </a:cubicBezTo>
                      <a:cubicBezTo>
                        <a:pt x="26283" y="20928"/>
                        <a:pt x="20305" y="26657"/>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8" name="Graphic 2987">
                <a:extLst>
                  <a:ext uri="{FF2B5EF4-FFF2-40B4-BE49-F238E27FC236}">
                    <a16:creationId xmlns:a16="http://schemas.microsoft.com/office/drawing/2014/main" id="{B429DCFB-8CBB-A7CB-60F7-6E4DDF9B1C64}"/>
                  </a:ext>
                </a:extLst>
              </p:cNvPr>
              <p:cNvGrpSpPr/>
              <p:nvPr/>
            </p:nvGrpSpPr>
            <p:grpSpPr>
              <a:xfrm>
                <a:off x="8567074" y="5551359"/>
                <a:ext cx="29150" cy="148974"/>
                <a:chOff x="8567074" y="5551359"/>
                <a:chExt cx="29150" cy="148974"/>
              </a:xfrm>
              <a:grpFill/>
            </p:grpSpPr>
            <p:sp>
              <p:nvSpPr>
                <p:cNvPr id="4451" name="Freeform 5084">
                  <a:extLst>
                    <a:ext uri="{FF2B5EF4-FFF2-40B4-BE49-F238E27FC236}">
                      <a16:creationId xmlns:a16="http://schemas.microsoft.com/office/drawing/2014/main" id="{C27114F7-D95F-585E-6384-484C4039148D}"/>
                    </a:ext>
                  </a:extLst>
                </p:cNvPr>
                <p:cNvSpPr/>
                <p:nvPr/>
              </p:nvSpPr>
              <p:spPr>
                <a:xfrm>
                  <a:off x="8576512" y="5571663"/>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4"/>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2" name="Freeform 5085">
                  <a:extLst>
                    <a:ext uri="{FF2B5EF4-FFF2-40B4-BE49-F238E27FC236}">
                      <a16:creationId xmlns:a16="http://schemas.microsoft.com/office/drawing/2014/main" id="{8892B333-F994-6401-BB94-AB06929A9784}"/>
                    </a:ext>
                  </a:extLst>
                </p:cNvPr>
                <p:cNvSpPr/>
                <p:nvPr/>
              </p:nvSpPr>
              <p:spPr>
                <a:xfrm>
                  <a:off x="8583840" y="5566806"/>
                  <a:ext cx="4202" cy="52189"/>
                </a:xfrm>
                <a:custGeom>
                  <a:avLst/>
                  <a:gdLst>
                    <a:gd name="connsiteX0" fmla="*/ 1920 w 4202"/>
                    <a:gd name="connsiteY0" fmla="*/ 52190 h 52189"/>
                    <a:gd name="connsiteX1" fmla="*/ 300 w 4202"/>
                    <a:gd name="connsiteY1" fmla="*/ 33506 h 52189"/>
                    <a:gd name="connsiteX2" fmla="*/ 4037 w 4202"/>
                    <a:gd name="connsiteY2" fmla="*/ 16442 h 52189"/>
                    <a:gd name="connsiteX3" fmla="*/ 2169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1920" y="52190"/>
                      </a:moveTo>
                      <a:cubicBezTo>
                        <a:pt x="-322" y="44094"/>
                        <a:pt x="-198" y="37741"/>
                        <a:pt x="300" y="33506"/>
                      </a:cubicBezTo>
                      <a:cubicBezTo>
                        <a:pt x="1172" y="26531"/>
                        <a:pt x="3414" y="23541"/>
                        <a:pt x="4037" y="16442"/>
                      </a:cubicBezTo>
                      <a:cubicBezTo>
                        <a:pt x="4660" y="9591"/>
                        <a:pt x="3414" y="3861"/>
                        <a:pt x="21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3" name="Freeform 5086">
                  <a:extLst>
                    <a:ext uri="{FF2B5EF4-FFF2-40B4-BE49-F238E27FC236}">
                      <a16:creationId xmlns:a16="http://schemas.microsoft.com/office/drawing/2014/main" id="{BEFFD8D7-AD14-D38D-6D4F-ED8D607AAC17}"/>
                    </a:ext>
                  </a:extLst>
                </p:cNvPr>
                <p:cNvSpPr/>
                <p:nvPr/>
              </p:nvSpPr>
              <p:spPr>
                <a:xfrm>
                  <a:off x="8569566" y="5551359"/>
                  <a:ext cx="26659" cy="26534"/>
                </a:xfrm>
                <a:custGeom>
                  <a:avLst/>
                  <a:gdLst>
                    <a:gd name="connsiteX0" fmla="*/ 26657 w 26659"/>
                    <a:gd name="connsiteY0" fmla="*/ 13579 h 26534"/>
                    <a:gd name="connsiteX1" fmla="*/ 13080 w 26659"/>
                    <a:gd name="connsiteY1" fmla="*/ 26532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0" y="26532"/>
                      </a:cubicBezTo>
                      <a:cubicBezTo>
                        <a:pt x="5732" y="26408"/>
                        <a:pt x="-123" y="20305"/>
                        <a:pt x="2" y="12956"/>
                      </a:cubicBezTo>
                      <a:cubicBezTo>
                        <a:pt x="127" y="5607"/>
                        <a:pt x="6230" y="-123"/>
                        <a:pt x="13579" y="2"/>
                      </a:cubicBezTo>
                      <a:cubicBezTo>
                        <a:pt x="20928" y="251"/>
                        <a:pt x="26782" y="6354"/>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4" name="Freeform 5087">
                  <a:extLst>
                    <a:ext uri="{FF2B5EF4-FFF2-40B4-BE49-F238E27FC236}">
                      <a16:creationId xmlns:a16="http://schemas.microsoft.com/office/drawing/2014/main" id="{024916AB-8A3F-2FEC-D5E5-760143FA4A83}"/>
                    </a:ext>
                  </a:extLst>
                </p:cNvPr>
                <p:cNvSpPr/>
                <p:nvPr/>
              </p:nvSpPr>
              <p:spPr>
                <a:xfrm>
                  <a:off x="8583335" y="5627839"/>
                  <a:ext cx="3203" cy="52189"/>
                </a:xfrm>
                <a:custGeom>
                  <a:avLst/>
                  <a:gdLst>
                    <a:gd name="connsiteX0" fmla="*/ 681 w 3203"/>
                    <a:gd name="connsiteY0" fmla="*/ 52190 h 52189"/>
                    <a:gd name="connsiteX1" fmla="*/ 3047 w 3203"/>
                    <a:gd name="connsiteY1" fmla="*/ 33506 h 52189"/>
                    <a:gd name="connsiteX2" fmla="*/ 58 w 3203"/>
                    <a:gd name="connsiteY2" fmla="*/ 16317 h 52189"/>
                    <a:gd name="connsiteX3" fmla="*/ 2549 w 3203"/>
                    <a:gd name="connsiteY3" fmla="*/ 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52190"/>
                      </a:moveTo>
                      <a:cubicBezTo>
                        <a:pt x="3297" y="44218"/>
                        <a:pt x="3421" y="37866"/>
                        <a:pt x="3047" y="33506"/>
                      </a:cubicBezTo>
                      <a:cubicBezTo>
                        <a:pt x="2425" y="26531"/>
                        <a:pt x="307" y="23417"/>
                        <a:pt x="58" y="16317"/>
                      </a:cubicBezTo>
                      <a:cubicBezTo>
                        <a:pt x="-315" y="9467"/>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5" name="Freeform 5088">
                  <a:extLst>
                    <a:ext uri="{FF2B5EF4-FFF2-40B4-BE49-F238E27FC236}">
                      <a16:creationId xmlns:a16="http://schemas.microsoft.com/office/drawing/2014/main" id="{27B8E828-CE0B-D288-DBDC-F89DB4B2E62C}"/>
                    </a:ext>
                  </a:extLst>
                </p:cNvPr>
                <p:cNvSpPr/>
                <p:nvPr/>
              </p:nvSpPr>
              <p:spPr>
                <a:xfrm>
                  <a:off x="8575007" y="5632821"/>
                  <a:ext cx="4203" cy="52189"/>
                </a:xfrm>
                <a:custGeom>
                  <a:avLst/>
                  <a:gdLst>
                    <a:gd name="connsiteX0" fmla="*/ 2284 w 4203"/>
                    <a:gd name="connsiteY0" fmla="*/ 0 h 52189"/>
                    <a:gd name="connsiteX1" fmla="*/ 3903 w 4203"/>
                    <a:gd name="connsiteY1" fmla="*/ 18684 h 52189"/>
                    <a:gd name="connsiteX2" fmla="*/ 166 w 4203"/>
                    <a:gd name="connsiteY2" fmla="*/ 35748 h 52189"/>
                    <a:gd name="connsiteX3" fmla="*/ 1910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2284" y="0"/>
                      </a:moveTo>
                      <a:cubicBezTo>
                        <a:pt x="4526" y="8097"/>
                        <a:pt x="4401" y="14449"/>
                        <a:pt x="3903" y="18684"/>
                      </a:cubicBezTo>
                      <a:cubicBezTo>
                        <a:pt x="3031" y="25659"/>
                        <a:pt x="789"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6" name="Freeform 5089">
                  <a:extLst>
                    <a:ext uri="{FF2B5EF4-FFF2-40B4-BE49-F238E27FC236}">
                      <a16:creationId xmlns:a16="http://schemas.microsoft.com/office/drawing/2014/main" id="{BA89C31C-2234-CCE7-9C03-4C7DCB126D04}"/>
                    </a:ext>
                  </a:extLst>
                </p:cNvPr>
                <p:cNvSpPr/>
                <p:nvPr/>
              </p:nvSpPr>
              <p:spPr>
                <a:xfrm>
                  <a:off x="8567074" y="5673799"/>
                  <a:ext cx="26291" cy="26534"/>
                </a:xfrm>
                <a:custGeom>
                  <a:avLst/>
                  <a:gdLst>
                    <a:gd name="connsiteX0" fmla="*/ 2 w 26291"/>
                    <a:gd name="connsiteY0" fmla="*/ 12956 h 26534"/>
                    <a:gd name="connsiteX1" fmla="*/ 13454 w 26291"/>
                    <a:gd name="connsiteY1" fmla="*/ 2 h 26534"/>
                    <a:gd name="connsiteX2" fmla="*/ 26283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3"/>
                        <a:pt x="13454" y="2"/>
                      </a:cubicBezTo>
                      <a:cubicBezTo>
                        <a:pt x="20679" y="127"/>
                        <a:pt x="26533" y="6230"/>
                        <a:pt x="26283" y="13579"/>
                      </a:cubicBezTo>
                      <a:cubicBezTo>
                        <a:pt x="26160" y="20928"/>
                        <a:pt x="20056" y="26658"/>
                        <a:pt x="12832"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9" name="Graphic 2987">
                <a:extLst>
                  <a:ext uri="{FF2B5EF4-FFF2-40B4-BE49-F238E27FC236}">
                    <a16:creationId xmlns:a16="http://schemas.microsoft.com/office/drawing/2014/main" id="{EB539AF9-31F0-B227-A775-70D8F67F61AA}"/>
                  </a:ext>
                </a:extLst>
              </p:cNvPr>
              <p:cNvGrpSpPr/>
              <p:nvPr/>
            </p:nvGrpSpPr>
            <p:grpSpPr>
              <a:xfrm>
                <a:off x="8596470" y="5551981"/>
                <a:ext cx="29405" cy="148974"/>
                <a:chOff x="8596470" y="5551981"/>
                <a:chExt cx="29405" cy="148974"/>
              </a:xfrm>
              <a:grpFill/>
            </p:grpSpPr>
            <p:sp>
              <p:nvSpPr>
                <p:cNvPr id="4445" name="Freeform 5091">
                  <a:extLst>
                    <a:ext uri="{FF2B5EF4-FFF2-40B4-BE49-F238E27FC236}">
                      <a16:creationId xmlns:a16="http://schemas.microsoft.com/office/drawing/2014/main" id="{B9AD4993-F292-DE17-F3AC-120957C68A7A}"/>
                    </a:ext>
                  </a:extLst>
                </p:cNvPr>
                <p:cNvSpPr/>
                <p:nvPr/>
              </p:nvSpPr>
              <p:spPr>
                <a:xfrm>
                  <a:off x="8606208" y="5572286"/>
                  <a:ext cx="3272" cy="52189"/>
                </a:xfrm>
                <a:custGeom>
                  <a:avLst/>
                  <a:gdLst>
                    <a:gd name="connsiteX0" fmla="*/ 2595 w 3272"/>
                    <a:gd name="connsiteY0" fmla="*/ 0 h 52189"/>
                    <a:gd name="connsiteX1" fmla="*/ 229 w 3272"/>
                    <a:gd name="connsiteY1" fmla="*/ 18684 h 52189"/>
                    <a:gd name="connsiteX2" fmla="*/ 3218 w 3272"/>
                    <a:gd name="connsiteY2" fmla="*/ 35873 h 52189"/>
                    <a:gd name="connsiteX3" fmla="*/ 727 w 327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72" h="52189">
                      <a:moveTo>
                        <a:pt x="2595" y="0"/>
                      </a:moveTo>
                      <a:cubicBezTo>
                        <a:pt x="-145" y="7971"/>
                        <a:pt x="-270" y="14324"/>
                        <a:pt x="229" y="18684"/>
                      </a:cubicBezTo>
                      <a:cubicBezTo>
                        <a:pt x="851" y="25659"/>
                        <a:pt x="2844" y="28773"/>
                        <a:pt x="3218" y="35873"/>
                      </a:cubicBezTo>
                      <a:cubicBezTo>
                        <a:pt x="3591" y="42723"/>
                        <a:pt x="1972" y="48453"/>
                        <a:pt x="7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6" name="Freeform 5092">
                  <a:extLst>
                    <a:ext uri="{FF2B5EF4-FFF2-40B4-BE49-F238E27FC236}">
                      <a16:creationId xmlns:a16="http://schemas.microsoft.com/office/drawing/2014/main" id="{0E8A63DC-6753-087B-3B94-B3AEC042C090}"/>
                    </a:ext>
                  </a:extLst>
                </p:cNvPr>
                <p:cNvSpPr/>
                <p:nvPr/>
              </p:nvSpPr>
              <p:spPr>
                <a:xfrm>
                  <a:off x="8613518" y="5567428"/>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4"/>
                        <a:pt x="-231" y="37741"/>
                        <a:pt x="392" y="33506"/>
                      </a:cubicBezTo>
                      <a:cubicBezTo>
                        <a:pt x="1389" y="26531"/>
                        <a:pt x="3506" y="23542"/>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7" name="Freeform 5093">
                  <a:extLst>
                    <a:ext uri="{FF2B5EF4-FFF2-40B4-BE49-F238E27FC236}">
                      <a16:creationId xmlns:a16="http://schemas.microsoft.com/office/drawing/2014/main" id="{5A94514D-EC51-6AF6-6611-E6F8CE7E0BA7}"/>
                    </a:ext>
                  </a:extLst>
                </p:cNvPr>
                <p:cNvSpPr/>
                <p:nvPr/>
              </p:nvSpPr>
              <p:spPr>
                <a:xfrm>
                  <a:off x="8599330" y="5551981"/>
                  <a:ext cx="26546" cy="26534"/>
                </a:xfrm>
                <a:custGeom>
                  <a:avLst/>
                  <a:gdLst>
                    <a:gd name="connsiteX0" fmla="*/ 26538 w 26546"/>
                    <a:gd name="connsiteY0" fmla="*/ 13579 h 26534"/>
                    <a:gd name="connsiteX1" fmla="*/ 12961 w 26546"/>
                    <a:gd name="connsiteY1" fmla="*/ 26533 h 26534"/>
                    <a:gd name="connsiteX2" fmla="*/ 8 w 26546"/>
                    <a:gd name="connsiteY2" fmla="*/ 12956 h 26534"/>
                    <a:gd name="connsiteX3" fmla="*/ 13584 w 26546"/>
                    <a:gd name="connsiteY3" fmla="*/ 2 h 26534"/>
                    <a:gd name="connsiteX4" fmla="*/ 26538 w 26546"/>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34">
                      <a:moveTo>
                        <a:pt x="26538" y="13579"/>
                      </a:moveTo>
                      <a:cubicBezTo>
                        <a:pt x="26289" y="20928"/>
                        <a:pt x="20186" y="26658"/>
                        <a:pt x="12961" y="26533"/>
                      </a:cubicBezTo>
                      <a:cubicBezTo>
                        <a:pt x="5737" y="26408"/>
                        <a:pt x="-242" y="20305"/>
                        <a:pt x="8" y="12956"/>
                      </a:cubicBezTo>
                      <a:cubicBezTo>
                        <a:pt x="256" y="5607"/>
                        <a:pt x="6235" y="-123"/>
                        <a:pt x="13584" y="2"/>
                      </a:cubicBezTo>
                      <a:cubicBezTo>
                        <a:pt x="20933" y="127"/>
                        <a:pt x="26787" y="6355"/>
                        <a:pt x="2653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8" name="Freeform 5094">
                  <a:extLst>
                    <a:ext uri="{FF2B5EF4-FFF2-40B4-BE49-F238E27FC236}">
                      <a16:creationId xmlns:a16="http://schemas.microsoft.com/office/drawing/2014/main" id="{CD45B936-4DBC-1877-6A42-399570E1904F}"/>
                    </a:ext>
                  </a:extLst>
                </p:cNvPr>
                <p:cNvSpPr/>
                <p:nvPr/>
              </p:nvSpPr>
              <p:spPr>
                <a:xfrm>
                  <a:off x="8612734" y="5628462"/>
                  <a:ext cx="3199" cy="52189"/>
                </a:xfrm>
                <a:custGeom>
                  <a:avLst/>
                  <a:gdLst>
                    <a:gd name="connsiteX0" fmla="*/ 678 w 3199"/>
                    <a:gd name="connsiteY0" fmla="*/ 52189 h 52189"/>
                    <a:gd name="connsiteX1" fmla="*/ 3044 w 3199"/>
                    <a:gd name="connsiteY1" fmla="*/ 33506 h 52189"/>
                    <a:gd name="connsiteX2" fmla="*/ 54 w 3199"/>
                    <a:gd name="connsiteY2" fmla="*/ 16317 h 52189"/>
                    <a:gd name="connsiteX3" fmla="*/ 2670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678" y="52189"/>
                      </a:moveTo>
                      <a:cubicBezTo>
                        <a:pt x="3293" y="44218"/>
                        <a:pt x="3418" y="37865"/>
                        <a:pt x="3044" y="33506"/>
                      </a:cubicBezTo>
                      <a:cubicBezTo>
                        <a:pt x="2421" y="26530"/>
                        <a:pt x="428" y="23417"/>
                        <a:pt x="54" y="16317"/>
                      </a:cubicBezTo>
                      <a:cubicBezTo>
                        <a:pt x="-319" y="9466"/>
                        <a:pt x="1300" y="3737"/>
                        <a:pt x="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9" name="Freeform 5095">
                  <a:extLst>
                    <a:ext uri="{FF2B5EF4-FFF2-40B4-BE49-F238E27FC236}">
                      <a16:creationId xmlns:a16="http://schemas.microsoft.com/office/drawing/2014/main" id="{7D9C5051-C1E1-8FCA-2AFB-9F8D5F7687FE}"/>
                    </a:ext>
                  </a:extLst>
                </p:cNvPr>
                <p:cNvSpPr/>
                <p:nvPr/>
              </p:nvSpPr>
              <p:spPr>
                <a:xfrm>
                  <a:off x="8604277" y="5633444"/>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2"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0" name="Freeform 5096">
                  <a:extLst>
                    <a:ext uri="{FF2B5EF4-FFF2-40B4-BE49-F238E27FC236}">
                      <a16:creationId xmlns:a16="http://schemas.microsoft.com/office/drawing/2014/main" id="{92872E12-D646-E37C-B240-903751902DE6}"/>
                    </a:ext>
                  </a:extLst>
                </p:cNvPr>
                <p:cNvSpPr/>
                <p:nvPr/>
              </p:nvSpPr>
              <p:spPr>
                <a:xfrm>
                  <a:off x="8596470" y="5674421"/>
                  <a:ext cx="26291" cy="26534"/>
                </a:xfrm>
                <a:custGeom>
                  <a:avLst/>
                  <a:gdLst>
                    <a:gd name="connsiteX0" fmla="*/ 2 w 26291"/>
                    <a:gd name="connsiteY0" fmla="*/ 12956 h 26534"/>
                    <a:gd name="connsiteX1" fmla="*/ 13454 w 26291"/>
                    <a:gd name="connsiteY1" fmla="*/ 2 h 26534"/>
                    <a:gd name="connsiteX2" fmla="*/ 26284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2"/>
                        <a:pt x="13454" y="2"/>
                      </a:cubicBezTo>
                      <a:cubicBezTo>
                        <a:pt x="20679" y="127"/>
                        <a:pt x="26533" y="6230"/>
                        <a:pt x="26284" y="13579"/>
                      </a:cubicBezTo>
                      <a:cubicBezTo>
                        <a:pt x="26035" y="20928"/>
                        <a:pt x="20056" y="26658"/>
                        <a:pt x="12832" y="26533"/>
                      </a:cubicBezTo>
                      <a:cubicBezTo>
                        <a:pt x="5607" y="26409"/>
                        <a:pt x="-122"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0" name="Graphic 2987">
                <a:extLst>
                  <a:ext uri="{FF2B5EF4-FFF2-40B4-BE49-F238E27FC236}">
                    <a16:creationId xmlns:a16="http://schemas.microsoft.com/office/drawing/2014/main" id="{8419D656-4ED1-6EA2-61BB-B2AB44A6146B}"/>
                  </a:ext>
                </a:extLst>
              </p:cNvPr>
              <p:cNvGrpSpPr/>
              <p:nvPr/>
            </p:nvGrpSpPr>
            <p:grpSpPr>
              <a:xfrm>
                <a:off x="8625866" y="5552604"/>
                <a:ext cx="29778" cy="148975"/>
                <a:chOff x="8625866" y="5552604"/>
                <a:chExt cx="29778" cy="148975"/>
              </a:xfrm>
              <a:grpFill/>
            </p:grpSpPr>
            <p:sp>
              <p:nvSpPr>
                <p:cNvPr id="4439" name="Freeform 5098">
                  <a:extLst>
                    <a:ext uri="{FF2B5EF4-FFF2-40B4-BE49-F238E27FC236}">
                      <a16:creationId xmlns:a16="http://schemas.microsoft.com/office/drawing/2014/main" id="{BE18FF17-E6D4-1CF5-CB50-E39C19A031C1}"/>
                    </a:ext>
                  </a:extLst>
                </p:cNvPr>
                <p:cNvSpPr/>
                <p:nvPr/>
              </p:nvSpPr>
              <p:spPr>
                <a:xfrm>
                  <a:off x="8635928" y="5572909"/>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5" y="7972"/>
                        <a:pt x="-220" y="14324"/>
                        <a:pt x="154" y="18684"/>
                      </a:cubicBezTo>
                      <a:cubicBezTo>
                        <a:pt x="777" y="25659"/>
                        <a:pt x="2769" y="28773"/>
                        <a:pt x="3143" y="35873"/>
                      </a:cubicBezTo>
                      <a:cubicBezTo>
                        <a:pt x="3392" y="42724"/>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0" name="Freeform 5099">
                  <a:extLst>
                    <a:ext uri="{FF2B5EF4-FFF2-40B4-BE49-F238E27FC236}">
                      <a16:creationId xmlns:a16="http://schemas.microsoft.com/office/drawing/2014/main" id="{68EF9102-1923-52B3-1E81-BC681ACB2E32}"/>
                    </a:ext>
                  </a:extLst>
                </p:cNvPr>
                <p:cNvSpPr/>
                <p:nvPr/>
              </p:nvSpPr>
              <p:spPr>
                <a:xfrm>
                  <a:off x="8643163" y="5568051"/>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631" y="23541"/>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1" name="Freeform 5100">
                  <a:extLst>
                    <a:ext uri="{FF2B5EF4-FFF2-40B4-BE49-F238E27FC236}">
                      <a16:creationId xmlns:a16="http://schemas.microsoft.com/office/drawing/2014/main" id="{C8799E21-D8E3-7818-831D-0C90ADF390CE}"/>
                    </a:ext>
                  </a:extLst>
                </p:cNvPr>
                <p:cNvSpPr/>
                <p:nvPr/>
              </p:nvSpPr>
              <p:spPr>
                <a:xfrm>
                  <a:off x="8628974" y="5552604"/>
                  <a:ext cx="26670" cy="26534"/>
                </a:xfrm>
                <a:custGeom>
                  <a:avLst/>
                  <a:gdLst>
                    <a:gd name="connsiteX0" fmla="*/ 26662 w 26670"/>
                    <a:gd name="connsiteY0" fmla="*/ 13579 h 26534"/>
                    <a:gd name="connsiteX1" fmla="*/ 12961 w 26670"/>
                    <a:gd name="connsiteY1" fmla="*/ 26533 h 26534"/>
                    <a:gd name="connsiteX2" fmla="*/ 8 w 26670"/>
                    <a:gd name="connsiteY2" fmla="*/ 12956 h 26534"/>
                    <a:gd name="connsiteX3" fmla="*/ 13709 w 26670"/>
                    <a:gd name="connsiteY3" fmla="*/ 2 h 26534"/>
                    <a:gd name="connsiteX4" fmla="*/ 26662 w 2667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34">
                      <a:moveTo>
                        <a:pt x="26662" y="13579"/>
                      </a:moveTo>
                      <a:cubicBezTo>
                        <a:pt x="26414" y="20928"/>
                        <a:pt x="20311" y="26658"/>
                        <a:pt x="12961" y="26533"/>
                      </a:cubicBezTo>
                      <a:cubicBezTo>
                        <a:pt x="5612" y="26409"/>
                        <a:pt x="-242" y="20305"/>
                        <a:pt x="8" y="12956"/>
                      </a:cubicBezTo>
                      <a:cubicBezTo>
                        <a:pt x="256" y="5607"/>
                        <a:pt x="6360" y="-122"/>
                        <a:pt x="13709" y="2"/>
                      </a:cubicBezTo>
                      <a:cubicBezTo>
                        <a:pt x="21058" y="251"/>
                        <a:pt x="26912" y="6355"/>
                        <a:pt x="2666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2" name="Freeform 5101">
                  <a:extLst>
                    <a:ext uri="{FF2B5EF4-FFF2-40B4-BE49-F238E27FC236}">
                      <a16:creationId xmlns:a16="http://schemas.microsoft.com/office/drawing/2014/main" id="{63D3D2D7-E69D-ADEB-EC3B-7E7520060906}"/>
                    </a:ext>
                  </a:extLst>
                </p:cNvPr>
                <p:cNvSpPr/>
                <p:nvPr/>
              </p:nvSpPr>
              <p:spPr>
                <a:xfrm>
                  <a:off x="8642282" y="562908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5" y="44218"/>
                        <a:pt x="3390" y="37866"/>
                        <a:pt x="3017" y="33506"/>
                      </a:cubicBezTo>
                      <a:cubicBezTo>
                        <a:pt x="2394" y="26531"/>
                        <a:pt x="401" y="23417"/>
                        <a:pt x="27" y="16317"/>
                      </a:cubicBezTo>
                      <a:cubicBezTo>
                        <a:pt x="-222"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3" name="Freeform 5102">
                  <a:extLst>
                    <a:ext uri="{FF2B5EF4-FFF2-40B4-BE49-F238E27FC236}">
                      <a16:creationId xmlns:a16="http://schemas.microsoft.com/office/drawing/2014/main" id="{855F7798-57E9-BD65-53E8-AD9A9FA9AA17}"/>
                    </a:ext>
                  </a:extLst>
                </p:cNvPr>
                <p:cNvSpPr/>
                <p:nvPr/>
              </p:nvSpPr>
              <p:spPr>
                <a:xfrm>
                  <a:off x="8633922" y="5634067"/>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1"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4" name="Freeform 5103">
                  <a:extLst>
                    <a:ext uri="{FF2B5EF4-FFF2-40B4-BE49-F238E27FC236}">
                      <a16:creationId xmlns:a16="http://schemas.microsoft.com/office/drawing/2014/main" id="{5A29A5AE-6087-D520-D2B9-980F226DD273}"/>
                    </a:ext>
                  </a:extLst>
                </p:cNvPr>
                <p:cNvSpPr/>
                <p:nvPr/>
              </p:nvSpPr>
              <p:spPr>
                <a:xfrm>
                  <a:off x="8625866" y="5675044"/>
                  <a:ext cx="26410" cy="26534"/>
                </a:xfrm>
                <a:custGeom>
                  <a:avLst/>
                  <a:gdLst>
                    <a:gd name="connsiteX0" fmla="*/ 2 w 26410"/>
                    <a:gd name="connsiteY0" fmla="*/ 12956 h 26534"/>
                    <a:gd name="connsiteX1" fmla="*/ 13578 w 26410"/>
                    <a:gd name="connsiteY1" fmla="*/ 2 h 26534"/>
                    <a:gd name="connsiteX2" fmla="*/ 26408 w 26410"/>
                    <a:gd name="connsiteY2" fmla="*/ 13579 h 26534"/>
                    <a:gd name="connsiteX3" fmla="*/ 12831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251" y="5607"/>
                        <a:pt x="6230" y="-123"/>
                        <a:pt x="13578" y="2"/>
                      </a:cubicBezTo>
                      <a:cubicBezTo>
                        <a:pt x="20803" y="127"/>
                        <a:pt x="26533" y="6230"/>
                        <a:pt x="26408" y="13579"/>
                      </a:cubicBezTo>
                      <a:cubicBezTo>
                        <a:pt x="26159" y="20928"/>
                        <a:pt x="20180" y="26657"/>
                        <a:pt x="12831" y="26533"/>
                      </a:cubicBezTo>
                      <a:cubicBezTo>
                        <a:pt x="5606"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1" name="Graphic 2987">
                <a:extLst>
                  <a:ext uri="{FF2B5EF4-FFF2-40B4-BE49-F238E27FC236}">
                    <a16:creationId xmlns:a16="http://schemas.microsoft.com/office/drawing/2014/main" id="{F8E352CF-E5A9-14F5-7EC9-99614AEB8746}"/>
                  </a:ext>
                </a:extLst>
              </p:cNvPr>
              <p:cNvGrpSpPr/>
              <p:nvPr/>
            </p:nvGrpSpPr>
            <p:grpSpPr>
              <a:xfrm>
                <a:off x="8655261" y="5553595"/>
                <a:ext cx="30152" cy="148861"/>
                <a:chOff x="8655261" y="5553595"/>
                <a:chExt cx="30152" cy="148861"/>
              </a:xfrm>
              <a:grpFill/>
            </p:grpSpPr>
            <p:sp>
              <p:nvSpPr>
                <p:cNvPr id="4433" name="Freeform 5105">
                  <a:extLst>
                    <a:ext uri="{FF2B5EF4-FFF2-40B4-BE49-F238E27FC236}">
                      <a16:creationId xmlns:a16="http://schemas.microsoft.com/office/drawing/2014/main" id="{7A7737F2-A5A8-0DC8-F36D-FE8BCE1C49D5}"/>
                    </a:ext>
                  </a:extLst>
                </p:cNvPr>
                <p:cNvSpPr/>
                <p:nvPr/>
              </p:nvSpPr>
              <p:spPr>
                <a:xfrm>
                  <a:off x="8665572" y="5573781"/>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7"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4" name="Freeform 5106">
                  <a:extLst>
                    <a:ext uri="{FF2B5EF4-FFF2-40B4-BE49-F238E27FC236}">
                      <a16:creationId xmlns:a16="http://schemas.microsoft.com/office/drawing/2014/main" id="{B30F16E1-A4A0-B679-33AB-A564992D4FF6}"/>
                    </a:ext>
                  </a:extLst>
                </p:cNvPr>
                <p:cNvSpPr/>
                <p:nvPr/>
              </p:nvSpPr>
              <p:spPr>
                <a:xfrm>
                  <a:off x="8672767" y="5568923"/>
                  <a:ext cx="4645" cy="52189"/>
                </a:xfrm>
                <a:custGeom>
                  <a:avLst/>
                  <a:gdLst>
                    <a:gd name="connsiteX0" fmla="*/ 1803 w 4645"/>
                    <a:gd name="connsiteY0" fmla="*/ 52189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89"/>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5" name="Freeform 5107">
                  <a:extLst>
                    <a:ext uri="{FF2B5EF4-FFF2-40B4-BE49-F238E27FC236}">
                      <a16:creationId xmlns:a16="http://schemas.microsoft.com/office/drawing/2014/main" id="{E140F795-6D0D-B6D3-9D36-7D8C514398A3}"/>
                    </a:ext>
                  </a:extLst>
                </p:cNvPr>
                <p:cNvSpPr/>
                <p:nvPr/>
              </p:nvSpPr>
              <p:spPr>
                <a:xfrm>
                  <a:off x="8658749" y="5553595"/>
                  <a:ext cx="26665" cy="26546"/>
                </a:xfrm>
                <a:custGeom>
                  <a:avLst/>
                  <a:gdLst>
                    <a:gd name="connsiteX0" fmla="*/ 26657 w 26665"/>
                    <a:gd name="connsiteY0" fmla="*/ 13709 h 26546"/>
                    <a:gd name="connsiteX1" fmla="*/ 12956 w 26665"/>
                    <a:gd name="connsiteY1" fmla="*/ 26539 h 26546"/>
                    <a:gd name="connsiteX2" fmla="*/ 2 w 26665"/>
                    <a:gd name="connsiteY2" fmla="*/ 12837 h 26546"/>
                    <a:gd name="connsiteX3" fmla="*/ 13704 w 26665"/>
                    <a:gd name="connsiteY3" fmla="*/ 8 h 26546"/>
                    <a:gd name="connsiteX4" fmla="*/ 26657 w 266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57" y="13709"/>
                      </a:moveTo>
                      <a:cubicBezTo>
                        <a:pt x="26409" y="21058"/>
                        <a:pt x="20305" y="26788"/>
                        <a:pt x="12956" y="26539"/>
                      </a:cubicBezTo>
                      <a:cubicBezTo>
                        <a:pt x="5607" y="26289"/>
                        <a:pt x="-122" y="20186"/>
                        <a:pt x="2" y="12837"/>
                      </a:cubicBezTo>
                      <a:cubicBezTo>
                        <a:pt x="251" y="5488"/>
                        <a:pt x="6355" y="-241"/>
                        <a:pt x="13704" y="8"/>
                      </a:cubicBezTo>
                      <a:cubicBezTo>
                        <a:pt x="21052" y="257"/>
                        <a:pt x="26907" y="6360"/>
                        <a:pt x="2665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6" name="Freeform 5108">
                  <a:extLst>
                    <a:ext uri="{FF2B5EF4-FFF2-40B4-BE49-F238E27FC236}">
                      <a16:creationId xmlns:a16="http://schemas.microsoft.com/office/drawing/2014/main" id="{825D65DF-694F-4DCF-5964-479BA0F0E657}"/>
                    </a:ext>
                  </a:extLst>
                </p:cNvPr>
                <p:cNvSpPr/>
                <p:nvPr/>
              </p:nvSpPr>
              <p:spPr>
                <a:xfrm>
                  <a:off x="8671926" y="5630081"/>
                  <a:ext cx="3046" cy="52189"/>
                </a:xfrm>
                <a:custGeom>
                  <a:avLst/>
                  <a:gdLst>
                    <a:gd name="connsiteX0" fmla="*/ 401 w 3046"/>
                    <a:gd name="connsiteY0" fmla="*/ 52190 h 52189"/>
                    <a:gd name="connsiteX1" fmla="*/ 2893 w 3046"/>
                    <a:gd name="connsiteY1" fmla="*/ 33506 h 52189"/>
                    <a:gd name="connsiteX2" fmla="*/ 27 w 3046"/>
                    <a:gd name="connsiteY2" fmla="*/ 16317 h 52189"/>
                    <a:gd name="connsiteX3" fmla="*/ 2643 w 3046"/>
                    <a:gd name="connsiteY3" fmla="*/ 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52190"/>
                      </a:moveTo>
                      <a:cubicBezTo>
                        <a:pt x="3141" y="44218"/>
                        <a:pt x="3266" y="37866"/>
                        <a:pt x="2893" y="33506"/>
                      </a:cubicBezTo>
                      <a:cubicBezTo>
                        <a:pt x="2270" y="26531"/>
                        <a:pt x="277" y="23417"/>
                        <a:pt x="27" y="16317"/>
                      </a:cubicBezTo>
                      <a:cubicBezTo>
                        <a:pt x="-221"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7" name="Freeform 5109">
                  <a:extLst>
                    <a:ext uri="{FF2B5EF4-FFF2-40B4-BE49-F238E27FC236}">
                      <a16:creationId xmlns:a16="http://schemas.microsoft.com/office/drawing/2014/main" id="{82C2E364-9FB0-0144-43FC-AD9370D08A44}"/>
                    </a:ext>
                  </a:extLst>
                </p:cNvPr>
                <p:cNvSpPr/>
                <p:nvPr/>
              </p:nvSpPr>
              <p:spPr>
                <a:xfrm>
                  <a:off x="8663257" y="5634814"/>
                  <a:ext cx="4520" cy="52189"/>
                </a:xfrm>
                <a:custGeom>
                  <a:avLst/>
                  <a:gdLst>
                    <a:gd name="connsiteX0" fmla="*/ 2718 w 4520"/>
                    <a:gd name="connsiteY0" fmla="*/ 0 h 52189"/>
                    <a:gd name="connsiteX1" fmla="*/ 4088 w 4520"/>
                    <a:gd name="connsiteY1" fmla="*/ 18808 h 52189"/>
                    <a:gd name="connsiteX2" fmla="*/ 227 w 4520"/>
                    <a:gd name="connsiteY2" fmla="*/ 35748 h 52189"/>
                    <a:gd name="connsiteX3" fmla="*/ 1846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2718" y="0"/>
                      </a:moveTo>
                      <a:cubicBezTo>
                        <a:pt x="4960" y="8096"/>
                        <a:pt x="4711" y="14449"/>
                        <a:pt x="4088" y="18808"/>
                      </a:cubicBezTo>
                      <a:cubicBezTo>
                        <a:pt x="3092" y="25784"/>
                        <a:pt x="850"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8" name="Freeform 5110">
                  <a:extLst>
                    <a:ext uri="{FF2B5EF4-FFF2-40B4-BE49-F238E27FC236}">
                      <a16:creationId xmlns:a16="http://schemas.microsoft.com/office/drawing/2014/main" id="{BF40D78B-7F55-F3EC-D931-2C6927B87E7C}"/>
                    </a:ext>
                  </a:extLst>
                </p:cNvPr>
                <p:cNvSpPr/>
                <p:nvPr/>
              </p:nvSpPr>
              <p:spPr>
                <a:xfrm>
                  <a:off x="8655261" y="5675911"/>
                  <a:ext cx="26291" cy="26546"/>
                </a:xfrm>
                <a:custGeom>
                  <a:avLst/>
                  <a:gdLst>
                    <a:gd name="connsiteX0" fmla="*/ 2 w 26291"/>
                    <a:gd name="connsiteY0" fmla="*/ 12837 h 26546"/>
                    <a:gd name="connsiteX1" fmla="*/ 13578 w 26291"/>
                    <a:gd name="connsiteY1" fmla="*/ 8 h 26546"/>
                    <a:gd name="connsiteX2" fmla="*/ 26284 w 26291"/>
                    <a:gd name="connsiteY2" fmla="*/ 13709 h 26546"/>
                    <a:gd name="connsiteX3" fmla="*/ 12707 w 26291"/>
                    <a:gd name="connsiteY3" fmla="*/ 26538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230" y="-242"/>
                        <a:pt x="13578" y="8"/>
                      </a:cubicBezTo>
                      <a:cubicBezTo>
                        <a:pt x="20803" y="257"/>
                        <a:pt x="26533" y="6360"/>
                        <a:pt x="26284" y="13709"/>
                      </a:cubicBezTo>
                      <a:cubicBezTo>
                        <a:pt x="26034" y="21058"/>
                        <a:pt x="19931" y="26788"/>
                        <a:pt x="12707" y="26538"/>
                      </a:cubicBezTo>
                      <a:cubicBezTo>
                        <a:pt x="5483" y="26289"/>
                        <a:pt x="-123" y="20061"/>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2" name="Graphic 2987">
                <a:extLst>
                  <a:ext uri="{FF2B5EF4-FFF2-40B4-BE49-F238E27FC236}">
                    <a16:creationId xmlns:a16="http://schemas.microsoft.com/office/drawing/2014/main" id="{9C19E4F0-09E8-27D7-B4B0-EA4AD112256B}"/>
                  </a:ext>
                </a:extLst>
              </p:cNvPr>
              <p:cNvGrpSpPr/>
              <p:nvPr/>
            </p:nvGrpSpPr>
            <p:grpSpPr>
              <a:xfrm>
                <a:off x="8684657" y="5554591"/>
                <a:ext cx="30526" cy="148862"/>
                <a:chOff x="8684657" y="5554591"/>
                <a:chExt cx="30526" cy="148862"/>
              </a:xfrm>
              <a:grpFill/>
            </p:grpSpPr>
            <p:sp>
              <p:nvSpPr>
                <p:cNvPr id="4427" name="Freeform 5112">
                  <a:extLst>
                    <a:ext uri="{FF2B5EF4-FFF2-40B4-BE49-F238E27FC236}">
                      <a16:creationId xmlns:a16="http://schemas.microsoft.com/office/drawing/2014/main" id="{CBD916CC-6421-AA63-4FA1-52E68DEA6213}"/>
                    </a:ext>
                  </a:extLst>
                </p:cNvPr>
                <p:cNvSpPr/>
                <p:nvPr/>
              </p:nvSpPr>
              <p:spPr>
                <a:xfrm>
                  <a:off x="8695235" y="557477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5"/>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8" name="Freeform 5113">
                  <a:extLst>
                    <a:ext uri="{FF2B5EF4-FFF2-40B4-BE49-F238E27FC236}">
                      <a16:creationId xmlns:a16="http://schemas.microsoft.com/office/drawing/2014/main" id="{A56B012B-4002-F3DF-80C2-331E6336619F}"/>
                    </a:ext>
                  </a:extLst>
                </p:cNvPr>
                <p:cNvSpPr/>
                <p:nvPr/>
              </p:nvSpPr>
              <p:spPr>
                <a:xfrm>
                  <a:off x="8702412" y="5570044"/>
                  <a:ext cx="4645" cy="52189"/>
                </a:xfrm>
                <a:custGeom>
                  <a:avLst/>
                  <a:gdLst>
                    <a:gd name="connsiteX0" fmla="*/ 1803 w 4645"/>
                    <a:gd name="connsiteY0" fmla="*/ 52190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9" name="Freeform 5114">
                  <a:extLst>
                    <a:ext uri="{FF2B5EF4-FFF2-40B4-BE49-F238E27FC236}">
                      <a16:creationId xmlns:a16="http://schemas.microsoft.com/office/drawing/2014/main" id="{96D2B9E7-BDD8-B764-A5E6-32F709167E1F}"/>
                    </a:ext>
                  </a:extLst>
                </p:cNvPr>
                <p:cNvSpPr/>
                <p:nvPr/>
              </p:nvSpPr>
              <p:spPr>
                <a:xfrm>
                  <a:off x="8688637" y="5554591"/>
                  <a:ext cx="26546" cy="26546"/>
                </a:xfrm>
                <a:custGeom>
                  <a:avLst/>
                  <a:gdLst>
                    <a:gd name="connsiteX0" fmla="*/ 26539 w 26546"/>
                    <a:gd name="connsiteY0" fmla="*/ 13709 h 26546"/>
                    <a:gd name="connsiteX1" fmla="*/ 12838 w 26546"/>
                    <a:gd name="connsiteY1" fmla="*/ 26539 h 26546"/>
                    <a:gd name="connsiteX2" fmla="*/ 8 w 26546"/>
                    <a:gd name="connsiteY2" fmla="*/ 12837 h 26546"/>
                    <a:gd name="connsiteX3" fmla="*/ 13709 w 26546"/>
                    <a:gd name="connsiteY3" fmla="*/ 8 h 26546"/>
                    <a:gd name="connsiteX4" fmla="*/ 26539 w 2654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3709"/>
                      </a:moveTo>
                      <a:cubicBezTo>
                        <a:pt x="26289" y="21058"/>
                        <a:pt x="20186" y="26788"/>
                        <a:pt x="12838" y="26539"/>
                      </a:cubicBezTo>
                      <a:cubicBezTo>
                        <a:pt x="5488" y="26290"/>
                        <a:pt x="-242" y="20186"/>
                        <a:pt x="8" y="12837"/>
                      </a:cubicBezTo>
                      <a:cubicBezTo>
                        <a:pt x="257" y="5488"/>
                        <a:pt x="6360" y="-241"/>
                        <a:pt x="13709" y="8"/>
                      </a:cubicBezTo>
                      <a:cubicBezTo>
                        <a:pt x="21058" y="257"/>
                        <a:pt x="26788" y="6485"/>
                        <a:pt x="26539"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0" name="Freeform 5115">
                  <a:extLst>
                    <a:ext uri="{FF2B5EF4-FFF2-40B4-BE49-F238E27FC236}">
                      <a16:creationId xmlns:a16="http://schemas.microsoft.com/office/drawing/2014/main" id="{328EE688-D059-BBBF-5EEB-94E41380B53E}"/>
                    </a:ext>
                  </a:extLst>
                </p:cNvPr>
                <p:cNvSpPr/>
                <p:nvPr/>
              </p:nvSpPr>
              <p:spPr>
                <a:xfrm>
                  <a:off x="8701449" y="5631202"/>
                  <a:ext cx="2977" cy="52065"/>
                </a:xfrm>
                <a:custGeom>
                  <a:avLst/>
                  <a:gdLst>
                    <a:gd name="connsiteX0" fmla="*/ 274 w 2977"/>
                    <a:gd name="connsiteY0" fmla="*/ 52065 h 52065"/>
                    <a:gd name="connsiteX1" fmla="*/ 2890 w 2977"/>
                    <a:gd name="connsiteY1" fmla="*/ 33506 h 52065"/>
                    <a:gd name="connsiteX2" fmla="*/ 26 w 2977"/>
                    <a:gd name="connsiteY2" fmla="*/ 16317 h 52065"/>
                    <a:gd name="connsiteX3" fmla="*/ 2766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4" y="52065"/>
                      </a:moveTo>
                      <a:cubicBezTo>
                        <a:pt x="3015" y="44093"/>
                        <a:pt x="3140" y="37741"/>
                        <a:pt x="2890" y="33506"/>
                      </a:cubicBezTo>
                      <a:cubicBezTo>
                        <a:pt x="2392" y="26530"/>
                        <a:pt x="274"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1" name="Freeform 5116">
                  <a:extLst>
                    <a:ext uri="{FF2B5EF4-FFF2-40B4-BE49-F238E27FC236}">
                      <a16:creationId xmlns:a16="http://schemas.microsoft.com/office/drawing/2014/main" id="{FB38FAC9-D40C-1C11-B23F-B23F1DAC42C3}"/>
                    </a:ext>
                  </a:extLst>
                </p:cNvPr>
                <p:cNvSpPr/>
                <p:nvPr/>
              </p:nvSpPr>
              <p:spPr>
                <a:xfrm>
                  <a:off x="8692653" y="5635935"/>
                  <a:ext cx="4644" cy="52189"/>
                </a:xfrm>
                <a:custGeom>
                  <a:avLst/>
                  <a:gdLst>
                    <a:gd name="connsiteX0" fmla="*/ 2842 w 4644"/>
                    <a:gd name="connsiteY0" fmla="*/ 0 h 52189"/>
                    <a:gd name="connsiteX1" fmla="*/ 4212 w 4644"/>
                    <a:gd name="connsiteY1" fmla="*/ 18808 h 52189"/>
                    <a:gd name="connsiteX2" fmla="*/ 227 w 4644"/>
                    <a:gd name="connsiteY2" fmla="*/ 35748 h 52189"/>
                    <a:gd name="connsiteX3" fmla="*/ 1846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0"/>
                      </a:moveTo>
                      <a:cubicBezTo>
                        <a:pt x="5084" y="8097"/>
                        <a:pt x="4835"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2" name="Freeform 5117">
                  <a:extLst>
                    <a:ext uri="{FF2B5EF4-FFF2-40B4-BE49-F238E27FC236}">
                      <a16:creationId xmlns:a16="http://schemas.microsoft.com/office/drawing/2014/main" id="{FF8D1A0C-037A-AD28-88FC-F3BD24D2B789}"/>
                    </a:ext>
                  </a:extLst>
                </p:cNvPr>
                <p:cNvSpPr/>
                <p:nvPr/>
              </p:nvSpPr>
              <p:spPr>
                <a:xfrm>
                  <a:off x="8684657" y="5676907"/>
                  <a:ext cx="26291" cy="26546"/>
                </a:xfrm>
                <a:custGeom>
                  <a:avLst/>
                  <a:gdLst>
                    <a:gd name="connsiteX0" fmla="*/ 2 w 26291"/>
                    <a:gd name="connsiteY0" fmla="*/ 12837 h 26546"/>
                    <a:gd name="connsiteX1" fmla="*/ 13579 w 26291"/>
                    <a:gd name="connsiteY1" fmla="*/ 8 h 26546"/>
                    <a:gd name="connsiteX2" fmla="*/ 26284 w 26291"/>
                    <a:gd name="connsiteY2" fmla="*/ 13709 h 26546"/>
                    <a:gd name="connsiteX3" fmla="*/ 12707 w 26291"/>
                    <a:gd name="connsiteY3" fmla="*/ 26539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355" y="-241"/>
                        <a:pt x="13579" y="8"/>
                      </a:cubicBezTo>
                      <a:cubicBezTo>
                        <a:pt x="20803" y="257"/>
                        <a:pt x="26533" y="6360"/>
                        <a:pt x="26284" y="13709"/>
                      </a:cubicBezTo>
                      <a:cubicBezTo>
                        <a:pt x="26035" y="21058"/>
                        <a:pt x="19932" y="26788"/>
                        <a:pt x="12707" y="26539"/>
                      </a:cubicBezTo>
                      <a:cubicBezTo>
                        <a:pt x="5483" y="26290"/>
                        <a:pt x="-123" y="20186"/>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3" name="Graphic 2987">
                <a:extLst>
                  <a:ext uri="{FF2B5EF4-FFF2-40B4-BE49-F238E27FC236}">
                    <a16:creationId xmlns:a16="http://schemas.microsoft.com/office/drawing/2014/main" id="{24DAAB0F-1ECA-6F6E-BFE3-C3716573329F}"/>
                  </a:ext>
                </a:extLst>
              </p:cNvPr>
              <p:cNvGrpSpPr/>
              <p:nvPr/>
            </p:nvGrpSpPr>
            <p:grpSpPr>
              <a:xfrm>
                <a:off x="8714046" y="5555712"/>
                <a:ext cx="30906" cy="148737"/>
                <a:chOff x="8714046" y="5555712"/>
                <a:chExt cx="30906" cy="148737"/>
              </a:xfrm>
              <a:grpFill/>
            </p:grpSpPr>
            <p:sp>
              <p:nvSpPr>
                <p:cNvPr id="4421" name="Freeform 5119">
                  <a:extLst>
                    <a:ext uri="{FF2B5EF4-FFF2-40B4-BE49-F238E27FC236}">
                      <a16:creationId xmlns:a16="http://schemas.microsoft.com/office/drawing/2014/main" id="{8600CAFC-8793-D1C7-593A-74AB0854B30F}"/>
                    </a:ext>
                  </a:extLst>
                </p:cNvPr>
                <p:cNvSpPr/>
                <p:nvPr/>
              </p:nvSpPr>
              <p:spPr>
                <a:xfrm>
                  <a:off x="8725004" y="5575899"/>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1"/>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2" name="Freeform 5120">
                  <a:extLst>
                    <a:ext uri="{FF2B5EF4-FFF2-40B4-BE49-F238E27FC236}">
                      <a16:creationId xmlns:a16="http://schemas.microsoft.com/office/drawing/2014/main" id="{A1631875-4A92-34A6-36FC-25D7A7D0DBE9}"/>
                    </a:ext>
                  </a:extLst>
                </p:cNvPr>
                <p:cNvSpPr/>
                <p:nvPr/>
              </p:nvSpPr>
              <p:spPr>
                <a:xfrm>
                  <a:off x="8731932" y="5571041"/>
                  <a:ext cx="4645" cy="52189"/>
                </a:xfrm>
                <a:custGeom>
                  <a:avLst/>
                  <a:gdLst>
                    <a:gd name="connsiteX0" fmla="*/ 1803 w 4645"/>
                    <a:gd name="connsiteY0" fmla="*/ 52190 h 52189"/>
                    <a:gd name="connsiteX1" fmla="*/ 433 w 4645"/>
                    <a:gd name="connsiteY1" fmla="*/ 33381 h 52189"/>
                    <a:gd name="connsiteX2" fmla="*/ 4419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4"/>
                        <a:pt x="-190" y="37741"/>
                        <a:pt x="433" y="33381"/>
                      </a:cubicBezTo>
                      <a:cubicBezTo>
                        <a:pt x="1429" y="26406"/>
                        <a:pt x="3671" y="23542"/>
                        <a:pt x="4419"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3" name="Freeform 5121">
                  <a:extLst>
                    <a:ext uri="{FF2B5EF4-FFF2-40B4-BE49-F238E27FC236}">
                      <a16:creationId xmlns:a16="http://schemas.microsoft.com/office/drawing/2014/main" id="{9BEAB57D-C350-D7D4-EC02-491BB9A28C3B}"/>
                    </a:ext>
                  </a:extLst>
                </p:cNvPr>
                <p:cNvSpPr/>
                <p:nvPr/>
              </p:nvSpPr>
              <p:spPr>
                <a:xfrm>
                  <a:off x="8718282" y="5555712"/>
                  <a:ext cx="26671" cy="26546"/>
                </a:xfrm>
                <a:custGeom>
                  <a:avLst/>
                  <a:gdLst>
                    <a:gd name="connsiteX0" fmla="*/ 26663 w 26671"/>
                    <a:gd name="connsiteY0" fmla="*/ 13709 h 26546"/>
                    <a:gd name="connsiteX1" fmla="*/ 12837 w 26671"/>
                    <a:gd name="connsiteY1" fmla="*/ 26539 h 26546"/>
                    <a:gd name="connsiteX2" fmla="*/ 8 w 26671"/>
                    <a:gd name="connsiteY2" fmla="*/ 12837 h 26546"/>
                    <a:gd name="connsiteX3" fmla="*/ 13834 w 26671"/>
                    <a:gd name="connsiteY3" fmla="*/ 8 h 26546"/>
                    <a:gd name="connsiteX4" fmla="*/ 26663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3709"/>
                      </a:moveTo>
                      <a:cubicBezTo>
                        <a:pt x="26414" y="21058"/>
                        <a:pt x="20186" y="26788"/>
                        <a:pt x="12837" y="26539"/>
                      </a:cubicBezTo>
                      <a:cubicBezTo>
                        <a:pt x="5488" y="26290"/>
                        <a:pt x="-242" y="20186"/>
                        <a:pt x="8" y="12837"/>
                      </a:cubicBezTo>
                      <a:cubicBezTo>
                        <a:pt x="257" y="5488"/>
                        <a:pt x="6485"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4" name="Freeform 5122">
                  <a:extLst>
                    <a:ext uri="{FF2B5EF4-FFF2-40B4-BE49-F238E27FC236}">
                      <a16:creationId xmlns:a16="http://schemas.microsoft.com/office/drawing/2014/main" id="{E3144862-F455-9445-EAC3-4A536A59491D}"/>
                    </a:ext>
                  </a:extLst>
                </p:cNvPr>
                <p:cNvSpPr/>
                <p:nvPr/>
              </p:nvSpPr>
              <p:spPr>
                <a:xfrm>
                  <a:off x="8730969" y="5632198"/>
                  <a:ext cx="2902" cy="52065"/>
                </a:xfrm>
                <a:custGeom>
                  <a:avLst/>
                  <a:gdLst>
                    <a:gd name="connsiteX0" fmla="*/ 150 w 2902"/>
                    <a:gd name="connsiteY0" fmla="*/ 52065 h 52065"/>
                    <a:gd name="connsiteX1" fmla="*/ 2766 w 2902"/>
                    <a:gd name="connsiteY1" fmla="*/ 33506 h 52065"/>
                    <a:gd name="connsiteX2" fmla="*/ 26 w 2902"/>
                    <a:gd name="connsiteY2" fmla="*/ 16317 h 52065"/>
                    <a:gd name="connsiteX3" fmla="*/ 276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150" y="52065"/>
                      </a:moveTo>
                      <a:cubicBezTo>
                        <a:pt x="2890" y="44094"/>
                        <a:pt x="3140"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5" name="Freeform 5123">
                  <a:extLst>
                    <a:ext uri="{FF2B5EF4-FFF2-40B4-BE49-F238E27FC236}">
                      <a16:creationId xmlns:a16="http://schemas.microsoft.com/office/drawing/2014/main" id="{DC15338E-4280-A882-028B-823C8FBC4AC2}"/>
                    </a:ext>
                  </a:extLst>
                </p:cNvPr>
                <p:cNvSpPr/>
                <p:nvPr/>
              </p:nvSpPr>
              <p:spPr>
                <a:xfrm>
                  <a:off x="8722298" y="563693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6"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6" name="Freeform 5124">
                  <a:extLst>
                    <a:ext uri="{FF2B5EF4-FFF2-40B4-BE49-F238E27FC236}">
                      <a16:creationId xmlns:a16="http://schemas.microsoft.com/office/drawing/2014/main" id="{2426DEDF-146E-B860-2F70-9C61FB0C0938}"/>
                    </a:ext>
                  </a:extLst>
                </p:cNvPr>
                <p:cNvSpPr/>
                <p:nvPr/>
              </p:nvSpPr>
              <p:spPr>
                <a:xfrm>
                  <a:off x="8714046" y="5677903"/>
                  <a:ext cx="26297" cy="26546"/>
                </a:xfrm>
                <a:custGeom>
                  <a:avLst/>
                  <a:gdLst>
                    <a:gd name="connsiteX0" fmla="*/ 8 w 26297"/>
                    <a:gd name="connsiteY0" fmla="*/ 12837 h 26546"/>
                    <a:gd name="connsiteX1" fmla="*/ 13585 w 26297"/>
                    <a:gd name="connsiteY1" fmla="*/ 8 h 26546"/>
                    <a:gd name="connsiteX2" fmla="*/ 26290 w 26297"/>
                    <a:gd name="connsiteY2" fmla="*/ 13709 h 26546"/>
                    <a:gd name="connsiteX3" fmla="*/ 12713 w 26297"/>
                    <a:gd name="connsiteY3" fmla="*/ 26538 h 26546"/>
                    <a:gd name="connsiteX4" fmla="*/ 8 w 26297"/>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2837"/>
                      </a:moveTo>
                      <a:cubicBezTo>
                        <a:pt x="257" y="5488"/>
                        <a:pt x="6360" y="-242"/>
                        <a:pt x="13585" y="8"/>
                      </a:cubicBezTo>
                      <a:cubicBezTo>
                        <a:pt x="20809" y="257"/>
                        <a:pt x="26539" y="6360"/>
                        <a:pt x="26290" y="13709"/>
                      </a:cubicBezTo>
                      <a:cubicBezTo>
                        <a:pt x="26041" y="21058"/>
                        <a:pt x="19937" y="26788"/>
                        <a:pt x="12713" y="26538"/>
                      </a:cubicBezTo>
                      <a:cubicBezTo>
                        <a:pt x="5488" y="26289"/>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4" name="Graphic 2987">
                <a:extLst>
                  <a:ext uri="{FF2B5EF4-FFF2-40B4-BE49-F238E27FC236}">
                    <a16:creationId xmlns:a16="http://schemas.microsoft.com/office/drawing/2014/main" id="{1EE0CDCD-57B4-B6D8-5821-BB39ADB66FFB}"/>
                  </a:ext>
                </a:extLst>
              </p:cNvPr>
              <p:cNvGrpSpPr/>
              <p:nvPr/>
            </p:nvGrpSpPr>
            <p:grpSpPr>
              <a:xfrm>
                <a:off x="8743442" y="5556709"/>
                <a:ext cx="31279" cy="148861"/>
                <a:chOff x="8743442" y="5556709"/>
                <a:chExt cx="31279" cy="148861"/>
              </a:xfrm>
              <a:grpFill/>
            </p:grpSpPr>
            <p:sp>
              <p:nvSpPr>
                <p:cNvPr id="4415" name="Freeform 5126">
                  <a:extLst>
                    <a:ext uri="{FF2B5EF4-FFF2-40B4-BE49-F238E27FC236}">
                      <a16:creationId xmlns:a16="http://schemas.microsoft.com/office/drawing/2014/main" id="{908A2C8B-FAAA-05A8-369C-7C286DF43364}"/>
                    </a:ext>
                  </a:extLst>
                </p:cNvPr>
                <p:cNvSpPr/>
                <p:nvPr/>
              </p:nvSpPr>
              <p:spPr>
                <a:xfrm>
                  <a:off x="8754586" y="5576895"/>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4" y="14324"/>
                        <a:pt x="74" y="18559"/>
                      </a:cubicBezTo>
                      <a:cubicBezTo>
                        <a:pt x="573" y="25534"/>
                        <a:pt x="2566" y="28648"/>
                        <a:pt x="2815" y="35748"/>
                      </a:cubicBezTo>
                      <a:cubicBezTo>
                        <a:pt x="3064" y="42599"/>
                        <a:pt x="1444"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6" name="Freeform 5127">
                  <a:extLst>
                    <a:ext uri="{FF2B5EF4-FFF2-40B4-BE49-F238E27FC236}">
                      <a16:creationId xmlns:a16="http://schemas.microsoft.com/office/drawing/2014/main" id="{E2E63973-3288-72B6-C21B-9662762C2EA9}"/>
                    </a:ext>
                  </a:extLst>
                </p:cNvPr>
                <p:cNvSpPr/>
                <p:nvPr/>
              </p:nvSpPr>
              <p:spPr>
                <a:xfrm>
                  <a:off x="8761693" y="5572037"/>
                  <a:ext cx="4792" cy="52189"/>
                </a:xfrm>
                <a:custGeom>
                  <a:avLst/>
                  <a:gdLst>
                    <a:gd name="connsiteX0" fmla="*/ 1686 w 4792"/>
                    <a:gd name="connsiteY0" fmla="*/ 52189 h 52189"/>
                    <a:gd name="connsiteX1" fmla="*/ 441 w 4792"/>
                    <a:gd name="connsiteY1" fmla="*/ 33381 h 52189"/>
                    <a:gd name="connsiteX2" fmla="*/ 4551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89"/>
                      </a:moveTo>
                      <a:cubicBezTo>
                        <a:pt x="-431" y="44093"/>
                        <a:pt x="-183" y="37741"/>
                        <a:pt x="441" y="33381"/>
                      </a:cubicBezTo>
                      <a:cubicBezTo>
                        <a:pt x="1437" y="26406"/>
                        <a:pt x="3679" y="23541"/>
                        <a:pt x="4551"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7" name="Freeform 5128">
                  <a:extLst>
                    <a:ext uri="{FF2B5EF4-FFF2-40B4-BE49-F238E27FC236}">
                      <a16:creationId xmlns:a16="http://schemas.microsoft.com/office/drawing/2014/main" id="{96DF41D6-F3E7-A084-C8AF-830DCFD3EB38}"/>
                    </a:ext>
                  </a:extLst>
                </p:cNvPr>
                <p:cNvSpPr/>
                <p:nvPr/>
              </p:nvSpPr>
              <p:spPr>
                <a:xfrm>
                  <a:off x="8748051" y="5556709"/>
                  <a:ext cx="26670" cy="26546"/>
                </a:xfrm>
                <a:custGeom>
                  <a:avLst/>
                  <a:gdLst>
                    <a:gd name="connsiteX0" fmla="*/ 26663 w 26670"/>
                    <a:gd name="connsiteY0" fmla="*/ 13709 h 26546"/>
                    <a:gd name="connsiteX1" fmla="*/ 12837 w 26670"/>
                    <a:gd name="connsiteY1" fmla="*/ 26539 h 26546"/>
                    <a:gd name="connsiteX2" fmla="*/ 8 w 26670"/>
                    <a:gd name="connsiteY2" fmla="*/ 12837 h 26546"/>
                    <a:gd name="connsiteX3" fmla="*/ 13834 w 26670"/>
                    <a:gd name="connsiteY3" fmla="*/ 8 h 26546"/>
                    <a:gd name="connsiteX4" fmla="*/ 26663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3709"/>
                      </a:moveTo>
                      <a:cubicBezTo>
                        <a:pt x="26414" y="21058"/>
                        <a:pt x="20186" y="26788"/>
                        <a:pt x="12837" y="26539"/>
                      </a:cubicBezTo>
                      <a:cubicBezTo>
                        <a:pt x="5488" y="26289"/>
                        <a:pt x="-242" y="20186"/>
                        <a:pt x="8" y="12837"/>
                      </a:cubicBezTo>
                      <a:cubicBezTo>
                        <a:pt x="256" y="5488"/>
                        <a:pt x="6484"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8" name="Freeform 5129">
                  <a:extLst>
                    <a:ext uri="{FF2B5EF4-FFF2-40B4-BE49-F238E27FC236}">
                      <a16:creationId xmlns:a16="http://schemas.microsoft.com/office/drawing/2014/main" id="{9A5FB355-B953-D3E4-A7DF-5410C1AB048C}"/>
                    </a:ext>
                  </a:extLst>
                </p:cNvPr>
                <p:cNvSpPr/>
                <p:nvPr/>
              </p:nvSpPr>
              <p:spPr>
                <a:xfrm>
                  <a:off x="8760489" y="5633319"/>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4"/>
                        <a:pt x="3015"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9" name="Freeform 5130">
                  <a:extLst>
                    <a:ext uri="{FF2B5EF4-FFF2-40B4-BE49-F238E27FC236}">
                      <a16:creationId xmlns:a16="http://schemas.microsoft.com/office/drawing/2014/main" id="{1836B246-0EA7-1665-AB57-EDD856EA2BB6}"/>
                    </a:ext>
                  </a:extLst>
                </p:cNvPr>
                <p:cNvSpPr/>
                <p:nvPr/>
              </p:nvSpPr>
              <p:spPr>
                <a:xfrm>
                  <a:off x="8751678" y="5638053"/>
                  <a:ext cx="4668" cy="52189"/>
                </a:xfrm>
                <a:custGeom>
                  <a:avLst/>
                  <a:gdLst>
                    <a:gd name="connsiteX0" fmla="*/ 2982 w 4668"/>
                    <a:gd name="connsiteY0" fmla="*/ 0 h 52189"/>
                    <a:gd name="connsiteX1" fmla="*/ 4228 w 4668"/>
                    <a:gd name="connsiteY1" fmla="*/ 18808 h 52189"/>
                    <a:gd name="connsiteX2" fmla="*/ 242 w 4668"/>
                    <a:gd name="connsiteY2" fmla="*/ 35748 h 52189"/>
                    <a:gd name="connsiteX3" fmla="*/ 1737 w 466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68" h="52189">
                      <a:moveTo>
                        <a:pt x="2982" y="0"/>
                      </a:moveTo>
                      <a:cubicBezTo>
                        <a:pt x="5100" y="8096"/>
                        <a:pt x="4851" y="14449"/>
                        <a:pt x="4228" y="18808"/>
                      </a:cubicBezTo>
                      <a:cubicBezTo>
                        <a:pt x="3231" y="25784"/>
                        <a:pt x="989" y="28648"/>
                        <a:pt x="242" y="35748"/>
                      </a:cubicBezTo>
                      <a:cubicBezTo>
                        <a:pt x="-505" y="42599"/>
                        <a:pt x="615"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0" name="Freeform 5131">
                  <a:extLst>
                    <a:ext uri="{FF2B5EF4-FFF2-40B4-BE49-F238E27FC236}">
                      <a16:creationId xmlns:a16="http://schemas.microsoft.com/office/drawing/2014/main" id="{43623F18-F2EC-8BFE-CE59-C8095BE2AFB0}"/>
                    </a:ext>
                  </a:extLst>
                </p:cNvPr>
                <p:cNvSpPr/>
                <p:nvPr/>
              </p:nvSpPr>
              <p:spPr>
                <a:xfrm>
                  <a:off x="8743442" y="5679024"/>
                  <a:ext cx="26422" cy="26546"/>
                </a:xfrm>
                <a:custGeom>
                  <a:avLst/>
                  <a:gdLst>
                    <a:gd name="connsiteX0" fmla="*/ 8 w 26422"/>
                    <a:gd name="connsiteY0" fmla="*/ 12837 h 26546"/>
                    <a:gd name="connsiteX1" fmla="*/ 13709 w 26422"/>
                    <a:gd name="connsiteY1" fmla="*/ 8 h 26546"/>
                    <a:gd name="connsiteX2" fmla="*/ 26414 w 26422"/>
                    <a:gd name="connsiteY2" fmla="*/ 13709 h 26546"/>
                    <a:gd name="connsiteX3" fmla="*/ 12712 w 26422"/>
                    <a:gd name="connsiteY3" fmla="*/ 26538 h 26546"/>
                    <a:gd name="connsiteX4" fmla="*/ 8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2837"/>
                      </a:moveTo>
                      <a:cubicBezTo>
                        <a:pt x="257" y="5488"/>
                        <a:pt x="6360" y="-242"/>
                        <a:pt x="13709" y="8"/>
                      </a:cubicBezTo>
                      <a:cubicBezTo>
                        <a:pt x="21058" y="257"/>
                        <a:pt x="26663" y="6360"/>
                        <a:pt x="26414" y="13709"/>
                      </a:cubicBezTo>
                      <a:cubicBezTo>
                        <a:pt x="26165" y="21058"/>
                        <a:pt x="20062" y="26788"/>
                        <a:pt x="12712" y="26538"/>
                      </a:cubicBezTo>
                      <a:cubicBezTo>
                        <a:pt x="5364" y="26289"/>
                        <a:pt x="-241" y="20061"/>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5" name="Graphic 2987">
                <a:extLst>
                  <a:ext uri="{FF2B5EF4-FFF2-40B4-BE49-F238E27FC236}">
                    <a16:creationId xmlns:a16="http://schemas.microsoft.com/office/drawing/2014/main" id="{5B493547-0F53-7E39-5AD1-38C7B7E6E37E}"/>
                  </a:ext>
                </a:extLst>
              </p:cNvPr>
              <p:cNvGrpSpPr/>
              <p:nvPr/>
            </p:nvGrpSpPr>
            <p:grpSpPr>
              <a:xfrm>
                <a:off x="8772838" y="5557830"/>
                <a:ext cx="31538" cy="148737"/>
                <a:chOff x="8772838" y="5557830"/>
                <a:chExt cx="31538" cy="148737"/>
              </a:xfrm>
              <a:grpFill/>
            </p:grpSpPr>
            <p:sp>
              <p:nvSpPr>
                <p:cNvPr id="4409" name="Freeform 5133">
                  <a:extLst>
                    <a:ext uri="{FF2B5EF4-FFF2-40B4-BE49-F238E27FC236}">
                      <a16:creationId xmlns:a16="http://schemas.microsoft.com/office/drawing/2014/main" id="{B4B71C4E-F3FD-4910-E507-EB6C7EA4315C}"/>
                    </a:ext>
                  </a:extLst>
                </p:cNvPr>
                <p:cNvSpPr/>
                <p:nvPr/>
              </p:nvSpPr>
              <p:spPr>
                <a:xfrm>
                  <a:off x="8784305" y="5578016"/>
                  <a:ext cx="2890" cy="52065"/>
                </a:xfrm>
                <a:custGeom>
                  <a:avLst/>
                  <a:gdLst>
                    <a:gd name="connsiteX0" fmla="*/ 2865 w 2890"/>
                    <a:gd name="connsiteY0" fmla="*/ 0 h 52065"/>
                    <a:gd name="connsiteX1" fmla="*/ 125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0" y="7972"/>
                        <a:pt x="-125" y="14324"/>
                        <a:pt x="125" y="18559"/>
                      </a:cubicBezTo>
                      <a:cubicBezTo>
                        <a:pt x="623" y="25535"/>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0" name="Freeform 5134">
                  <a:extLst>
                    <a:ext uri="{FF2B5EF4-FFF2-40B4-BE49-F238E27FC236}">
                      <a16:creationId xmlns:a16="http://schemas.microsoft.com/office/drawing/2014/main" id="{BB37F758-AA82-7B4F-C0BA-E238AB127ED5}"/>
                    </a:ext>
                  </a:extLst>
                </p:cNvPr>
                <p:cNvSpPr/>
                <p:nvPr/>
              </p:nvSpPr>
              <p:spPr>
                <a:xfrm>
                  <a:off x="8791214" y="5573158"/>
                  <a:ext cx="4792" cy="52189"/>
                </a:xfrm>
                <a:custGeom>
                  <a:avLst/>
                  <a:gdLst>
                    <a:gd name="connsiteX0" fmla="*/ 1686 w 4792"/>
                    <a:gd name="connsiteY0" fmla="*/ 52190 h 52189"/>
                    <a:gd name="connsiteX1" fmla="*/ 440 w 4792"/>
                    <a:gd name="connsiteY1" fmla="*/ 33381 h 52189"/>
                    <a:gd name="connsiteX2" fmla="*/ 4550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561" y="26406"/>
                        <a:pt x="3803" y="23541"/>
                        <a:pt x="4550"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1" name="Freeform 5135">
                  <a:extLst>
                    <a:ext uri="{FF2B5EF4-FFF2-40B4-BE49-F238E27FC236}">
                      <a16:creationId xmlns:a16="http://schemas.microsoft.com/office/drawing/2014/main" id="{89A81037-A494-D966-77C4-C44DC1F42581}"/>
                    </a:ext>
                  </a:extLst>
                </p:cNvPr>
                <p:cNvSpPr/>
                <p:nvPr/>
              </p:nvSpPr>
              <p:spPr>
                <a:xfrm>
                  <a:off x="8777811" y="5557830"/>
                  <a:ext cx="26565" cy="26546"/>
                </a:xfrm>
                <a:custGeom>
                  <a:avLst/>
                  <a:gdLst>
                    <a:gd name="connsiteX0" fmla="*/ 26548 w 26565"/>
                    <a:gd name="connsiteY0" fmla="*/ 13709 h 26546"/>
                    <a:gd name="connsiteX1" fmla="*/ 12722 w 26565"/>
                    <a:gd name="connsiteY1" fmla="*/ 26539 h 26546"/>
                    <a:gd name="connsiteX2" fmla="*/ 17 w 26565"/>
                    <a:gd name="connsiteY2" fmla="*/ 12837 h 26546"/>
                    <a:gd name="connsiteX3" fmla="*/ 13844 w 26565"/>
                    <a:gd name="connsiteY3" fmla="*/ 8 h 26546"/>
                    <a:gd name="connsiteX4" fmla="*/ 26548 w 265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45">
                      <a:moveTo>
                        <a:pt x="26548" y="13709"/>
                      </a:moveTo>
                      <a:cubicBezTo>
                        <a:pt x="26175" y="21058"/>
                        <a:pt x="20072" y="26788"/>
                        <a:pt x="12722" y="26539"/>
                      </a:cubicBezTo>
                      <a:cubicBezTo>
                        <a:pt x="5374" y="26289"/>
                        <a:pt x="-356" y="20186"/>
                        <a:pt x="17" y="12837"/>
                      </a:cubicBezTo>
                      <a:cubicBezTo>
                        <a:pt x="267" y="5488"/>
                        <a:pt x="6494" y="-241"/>
                        <a:pt x="13844" y="8"/>
                      </a:cubicBezTo>
                      <a:cubicBezTo>
                        <a:pt x="21192" y="257"/>
                        <a:pt x="26922" y="6360"/>
                        <a:pt x="2654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2" name="Freeform 5136">
                  <a:extLst>
                    <a:ext uri="{FF2B5EF4-FFF2-40B4-BE49-F238E27FC236}">
                      <a16:creationId xmlns:a16="http://schemas.microsoft.com/office/drawing/2014/main" id="{09093D11-539F-2B03-ED54-B7BCAF822FA9}"/>
                    </a:ext>
                  </a:extLst>
                </p:cNvPr>
                <p:cNvSpPr/>
                <p:nvPr/>
              </p:nvSpPr>
              <p:spPr>
                <a:xfrm>
                  <a:off x="8789885" y="5634316"/>
                  <a:ext cx="2890" cy="52065"/>
                </a:xfrm>
                <a:custGeom>
                  <a:avLst/>
                  <a:gdLst>
                    <a:gd name="connsiteX0" fmla="*/ 26 w 2890"/>
                    <a:gd name="connsiteY0" fmla="*/ 52065 h 52065"/>
                    <a:gd name="connsiteX1" fmla="*/ 2765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765" y="44093"/>
                        <a:pt x="3015" y="37741"/>
                        <a:pt x="2765" y="33506"/>
                      </a:cubicBezTo>
                      <a:cubicBezTo>
                        <a:pt x="2268" y="26530"/>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3" name="Freeform 5137">
                  <a:extLst>
                    <a:ext uri="{FF2B5EF4-FFF2-40B4-BE49-F238E27FC236}">
                      <a16:creationId xmlns:a16="http://schemas.microsoft.com/office/drawing/2014/main" id="{B03EA861-D927-A523-8ED0-AF6F6DDD48E3}"/>
                    </a:ext>
                  </a:extLst>
                </p:cNvPr>
                <p:cNvSpPr/>
                <p:nvPr/>
              </p:nvSpPr>
              <p:spPr>
                <a:xfrm>
                  <a:off x="8781074" y="5639049"/>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5" y="8097"/>
                        <a:pt x="4975" y="14449"/>
                        <a:pt x="4353" y="18808"/>
                      </a:cubicBezTo>
                      <a:cubicBezTo>
                        <a:pt x="3231" y="25784"/>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4" name="Freeform 5138">
                  <a:extLst>
                    <a:ext uri="{FF2B5EF4-FFF2-40B4-BE49-F238E27FC236}">
                      <a16:creationId xmlns:a16="http://schemas.microsoft.com/office/drawing/2014/main" id="{6E618F1A-FD82-0CAB-B884-E36CF3520D45}"/>
                    </a:ext>
                  </a:extLst>
                </p:cNvPr>
                <p:cNvSpPr/>
                <p:nvPr/>
              </p:nvSpPr>
              <p:spPr>
                <a:xfrm>
                  <a:off x="8772838" y="5680021"/>
                  <a:ext cx="26306" cy="26546"/>
                </a:xfrm>
                <a:custGeom>
                  <a:avLst/>
                  <a:gdLst>
                    <a:gd name="connsiteX0" fmla="*/ 8 w 26306"/>
                    <a:gd name="connsiteY0" fmla="*/ 12837 h 26546"/>
                    <a:gd name="connsiteX1" fmla="*/ 13709 w 26306"/>
                    <a:gd name="connsiteY1" fmla="*/ 8 h 26546"/>
                    <a:gd name="connsiteX2" fmla="*/ 26289 w 26306"/>
                    <a:gd name="connsiteY2" fmla="*/ 13709 h 26546"/>
                    <a:gd name="connsiteX3" fmla="*/ 12588 w 26306"/>
                    <a:gd name="connsiteY3" fmla="*/ 26539 h 26546"/>
                    <a:gd name="connsiteX4" fmla="*/ 8 w 2630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8" y="12837"/>
                      </a:moveTo>
                      <a:cubicBezTo>
                        <a:pt x="257" y="5488"/>
                        <a:pt x="6485" y="-241"/>
                        <a:pt x="13709" y="8"/>
                      </a:cubicBezTo>
                      <a:cubicBezTo>
                        <a:pt x="20934" y="257"/>
                        <a:pt x="26664" y="6360"/>
                        <a:pt x="26289" y="13709"/>
                      </a:cubicBezTo>
                      <a:cubicBezTo>
                        <a:pt x="25916" y="21058"/>
                        <a:pt x="19812" y="26788"/>
                        <a:pt x="12588"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6" name="Graphic 2987">
                <a:extLst>
                  <a:ext uri="{FF2B5EF4-FFF2-40B4-BE49-F238E27FC236}">
                    <a16:creationId xmlns:a16="http://schemas.microsoft.com/office/drawing/2014/main" id="{91CA2166-D82E-D059-D814-D2152E4DB102}"/>
                  </a:ext>
                </a:extLst>
              </p:cNvPr>
              <p:cNvGrpSpPr/>
              <p:nvPr/>
            </p:nvGrpSpPr>
            <p:grpSpPr>
              <a:xfrm>
                <a:off x="8802233" y="5558941"/>
                <a:ext cx="31912" cy="148881"/>
                <a:chOff x="8802233" y="5558941"/>
                <a:chExt cx="31912" cy="148881"/>
              </a:xfrm>
              <a:grpFill/>
            </p:grpSpPr>
            <p:sp>
              <p:nvSpPr>
                <p:cNvPr id="4403" name="Freeform 5140">
                  <a:extLst>
                    <a:ext uri="{FF2B5EF4-FFF2-40B4-BE49-F238E27FC236}">
                      <a16:creationId xmlns:a16="http://schemas.microsoft.com/office/drawing/2014/main" id="{ABAC211A-6806-A882-8425-5012CE1E4C18}"/>
                    </a:ext>
                  </a:extLst>
                </p:cNvPr>
                <p:cNvSpPr/>
                <p:nvPr/>
              </p:nvSpPr>
              <p:spPr>
                <a:xfrm>
                  <a:off x="8813825" y="5579137"/>
                  <a:ext cx="2989" cy="51940"/>
                </a:xfrm>
                <a:custGeom>
                  <a:avLst/>
                  <a:gdLst>
                    <a:gd name="connsiteX0" fmla="*/ 2989 w 2989"/>
                    <a:gd name="connsiteY0" fmla="*/ 0 h 51940"/>
                    <a:gd name="connsiteX1" fmla="*/ 249 w 2989"/>
                    <a:gd name="connsiteY1" fmla="*/ 18559 h 51940"/>
                    <a:gd name="connsiteX2" fmla="*/ 2865 w 2989"/>
                    <a:gd name="connsiteY2" fmla="*/ 35748 h 51940"/>
                    <a:gd name="connsiteX3" fmla="*/ 0 w 298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0"/>
                      </a:moveTo>
                      <a:cubicBezTo>
                        <a:pt x="125" y="7972"/>
                        <a:pt x="-125" y="14200"/>
                        <a:pt x="249" y="18559"/>
                      </a:cubicBezTo>
                      <a:cubicBezTo>
                        <a:pt x="747" y="25535"/>
                        <a:pt x="2741" y="28648"/>
                        <a:pt x="2865" y="35748"/>
                      </a:cubicBezTo>
                      <a:cubicBezTo>
                        <a:pt x="3114"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4" name="Freeform 5141">
                  <a:extLst>
                    <a:ext uri="{FF2B5EF4-FFF2-40B4-BE49-F238E27FC236}">
                      <a16:creationId xmlns:a16="http://schemas.microsoft.com/office/drawing/2014/main" id="{1520F97D-4FA8-9AC0-1B43-8192F350E985}"/>
                    </a:ext>
                  </a:extLst>
                </p:cNvPr>
                <p:cNvSpPr/>
                <p:nvPr/>
              </p:nvSpPr>
              <p:spPr>
                <a:xfrm>
                  <a:off x="8820884" y="5574404"/>
                  <a:ext cx="5016" cy="52189"/>
                </a:xfrm>
                <a:custGeom>
                  <a:avLst/>
                  <a:gdLst>
                    <a:gd name="connsiteX0" fmla="*/ 1661 w 5016"/>
                    <a:gd name="connsiteY0" fmla="*/ 52190 h 52189"/>
                    <a:gd name="connsiteX1" fmla="*/ 539 w 5016"/>
                    <a:gd name="connsiteY1" fmla="*/ 33382 h 52189"/>
                    <a:gd name="connsiteX2" fmla="*/ 4775 w 5016"/>
                    <a:gd name="connsiteY2" fmla="*/ 16442 h 52189"/>
                    <a:gd name="connsiteX3" fmla="*/ 3280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61" y="52190"/>
                      </a:moveTo>
                      <a:cubicBezTo>
                        <a:pt x="-457" y="44094"/>
                        <a:pt x="-208" y="37741"/>
                        <a:pt x="539" y="33382"/>
                      </a:cubicBezTo>
                      <a:cubicBezTo>
                        <a:pt x="1661" y="26407"/>
                        <a:pt x="3903" y="23542"/>
                        <a:pt x="4775" y="16442"/>
                      </a:cubicBezTo>
                      <a:cubicBezTo>
                        <a:pt x="5522" y="9591"/>
                        <a:pt x="4401" y="3737"/>
                        <a:pt x="32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5" name="Freeform 5142">
                  <a:extLst>
                    <a:ext uri="{FF2B5EF4-FFF2-40B4-BE49-F238E27FC236}">
                      <a16:creationId xmlns:a16="http://schemas.microsoft.com/office/drawing/2014/main" id="{6030E643-3023-F5CD-CB14-B2E4442566E6}"/>
                    </a:ext>
                  </a:extLst>
                </p:cNvPr>
                <p:cNvSpPr/>
                <p:nvPr/>
              </p:nvSpPr>
              <p:spPr>
                <a:xfrm>
                  <a:off x="8807580" y="5558941"/>
                  <a:ext cx="26565" cy="26566"/>
                </a:xfrm>
                <a:custGeom>
                  <a:avLst/>
                  <a:gdLst>
                    <a:gd name="connsiteX0" fmla="*/ 26548 w 26565"/>
                    <a:gd name="connsiteY0" fmla="*/ 13968 h 26566"/>
                    <a:gd name="connsiteX1" fmla="*/ 12722 w 26565"/>
                    <a:gd name="connsiteY1" fmla="*/ 26548 h 26566"/>
                    <a:gd name="connsiteX2" fmla="*/ 17 w 26565"/>
                    <a:gd name="connsiteY2" fmla="*/ 12598 h 26566"/>
                    <a:gd name="connsiteX3" fmla="*/ 13843 w 26565"/>
                    <a:gd name="connsiteY3" fmla="*/ 18 h 26566"/>
                    <a:gd name="connsiteX4" fmla="*/ 26548 w 26565"/>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66">
                      <a:moveTo>
                        <a:pt x="26548" y="13968"/>
                      </a:moveTo>
                      <a:cubicBezTo>
                        <a:pt x="26175" y="21317"/>
                        <a:pt x="19947" y="26922"/>
                        <a:pt x="12722" y="26548"/>
                      </a:cubicBezTo>
                      <a:cubicBezTo>
                        <a:pt x="5373" y="26175"/>
                        <a:pt x="-356" y="19947"/>
                        <a:pt x="17" y="12598"/>
                      </a:cubicBezTo>
                      <a:cubicBezTo>
                        <a:pt x="267" y="5249"/>
                        <a:pt x="6494" y="-356"/>
                        <a:pt x="13843" y="18"/>
                      </a:cubicBezTo>
                      <a:cubicBezTo>
                        <a:pt x="21192" y="516"/>
                        <a:pt x="26922" y="6744"/>
                        <a:pt x="2654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6" name="Freeform 5143">
                  <a:extLst>
                    <a:ext uri="{FF2B5EF4-FFF2-40B4-BE49-F238E27FC236}">
                      <a16:creationId xmlns:a16="http://schemas.microsoft.com/office/drawing/2014/main" id="{C8663BC4-D507-BE1C-81E6-AE5545331FDB}"/>
                    </a:ext>
                  </a:extLst>
                </p:cNvPr>
                <p:cNvSpPr/>
                <p:nvPr/>
              </p:nvSpPr>
              <p:spPr>
                <a:xfrm>
                  <a:off x="8819306" y="5635686"/>
                  <a:ext cx="2989" cy="51940"/>
                </a:xfrm>
                <a:custGeom>
                  <a:avLst/>
                  <a:gdLst>
                    <a:gd name="connsiteX0" fmla="*/ 0 w 2989"/>
                    <a:gd name="connsiteY0" fmla="*/ 51941 h 51940"/>
                    <a:gd name="connsiteX1" fmla="*/ 2741 w 2989"/>
                    <a:gd name="connsiteY1" fmla="*/ 33381 h 51940"/>
                    <a:gd name="connsiteX2" fmla="*/ 125 w 2989"/>
                    <a:gd name="connsiteY2" fmla="*/ 16192 h 51940"/>
                    <a:gd name="connsiteX3" fmla="*/ 2989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0" y="51941"/>
                      </a:moveTo>
                      <a:cubicBezTo>
                        <a:pt x="2865" y="43969"/>
                        <a:pt x="3114" y="37741"/>
                        <a:pt x="2741" y="33381"/>
                      </a:cubicBezTo>
                      <a:cubicBezTo>
                        <a:pt x="2242" y="26406"/>
                        <a:pt x="249" y="23292"/>
                        <a:pt x="125" y="16192"/>
                      </a:cubicBezTo>
                      <a:cubicBezTo>
                        <a:pt x="0" y="9342"/>
                        <a:pt x="1619" y="3612"/>
                        <a:pt x="29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7" name="Freeform 5144">
                  <a:extLst>
                    <a:ext uri="{FF2B5EF4-FFF2-40B4-BE49-F238E27FC236}">
                      <a16:creationId xmlns:a16="http://schemas.microsoft.com/office/drawing/2014/main" id="{5A539302-4B76-A6C0-80E8-53579FAA0D84}"/>
                    </a:ext>
                  </a:extLst>
                </p:cNvPr>
                <p:cNvSpPr/>
                <p:nvPr/>
              </p:nvSpPr>
              <p:spPr>
                <a:xfrm>
                  <a:off x="8810468" y="5640170"/>
                  <a:ext cx="4893" cy="52189"/>
                </a:xfrm>
                <a:custGeom>
                  <a:avLst/>
                  <a:gdLst>
                    <a:gd name="connsiteX0" fmla="*/ 3233 w 4893"/>
                    <a:gd name="connsiteY0" fmla="*/ 0 h 52189"/>
                    <a:gd name="connsiteX1" fmla="*/ 4354 w 4893"/>
                    <a:gd name="connsiteY1" fmla="*/ 18808 h 52189"/>
                    <a:gd name="connsiteX2" fmla="*/ 243 w 4893"/>
                    <a:gd name="connsiteY2" fmla="*/ 35748 h 52189"/>
                    <a:gd name="connsiteX3" fmla="*/ 1613 w 489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3" h="52189">
                      <a:moveTo>
                        <a:pt x="3233" y="0"/>
                      </a:moveTo>
                      <a:cubicBezTo>
                        <a:pt x="5351" y="8097"/>
                        <a:pt x="5101" y="14449"/>
                        <a:pt x="4354" y="18808"/>
                      </a:cubicBezTo>
                      <a:cubicBezTo>
                        <a:pt x="3233" y="25784"/>
                        <a:pt x="991" y="28648"/>
                        <a:pt x="243" y="35748"/>
                      </a:cubicBezTo>
                      <a:cubicBezTo>
                        <a:pt x="-504" y="42599"/>
                        <a:pt x="617" y="48453"/>
                        <a:pt x="161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8" name="Freeform 5145">
                  <a:extLst>
                    <a:ext uri="{FF2B5EF4-FFF2-40B4-BE49-F238E27FC236}">
                      <a16:creationId xmlns:a16="http://schemas.microsoft.com/office/drawing/2014/main" id="{CB5067EE-4C56-5410-DD2B-71F546DFBCE6}"/>
                    </a:ext>
                  </a:extLst>
                </p:cNvPr>
                <p:cNvSpPr/>
                <p:nvPr/>
              </p:nvSpPr>
              <p:spPr>
                <a:xfrm>
                  <a:off x="8802233" y="5681257"/>
                  <a:ext cx="26306" cy="26566"/>
                </a:xfrm>
                <a:custGeom>
                  <a:avLst/>
                  <a:gdLst>
                    <a:gd name="connsiteX0" fmla="*/ 8 w 26306"/>
                    <a:gd name="connsiteY0" fmla="*/ 12598 h 26566"/>
                    <a:gd name="connsiteX1" fmla="*/ 13710 w 26306"/>
                    <a:gd name="connsiteY1" fmla="*/ 18 h 26566"/>
                    <a:gd name="connsiteX2" fmla="*/ 26289 w 26306"/>
                    <a:gd name="connsiteY2" fmla="*/ 13968 h 26566"/>
                    <a:gd name="connsiteX3" fmla="*/ 12588 w 26306"/>
                    <a:gd name="connsiteY3" fmla="*/ 26548 h 26566"/>
                    <a:gd name="connsiteX4" fmla="*/ 8 w 2630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66">
                      <a:moveTo>
                        <a:pt x="8" y="12598"/>
                      </a:moveTo>
                      <a:cubicBezTo>
                        <a:pt x="257" y="5249"/>
                        <a:pt x="6485" y="-356"/>
                        <a:pt x="13710" y="18"/>
                      </a:cubicBezTo>
                      <a:cubicBezTo>
                        <a:pt x="20934" y="391"/>
                        <a:pt x="26664" y="6619"/>
                        <a:pt x="26289" y="13968"/>
                      </a:cubicBezTo>
                      <a:cubicBezTo>
                        <a:pt x="25916" y="21317"/>
                        <a:pt x="19813" y="26922"/>
                        <a:pt x="12588" y="26548"/>
                      </a:cubicBezTo>
                      <a:cubicBezTo>
                        <a:pt x="5364" y="26175"/>
                        <a:pt x="-241"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7" name="Graphic 2987">
                <a:extLst>
                  <a:ext uri="{FF2B5EF4-FFF2-40B4-BE49-F238E27FC236}">
                    <a16:creationId xmlns:a16="http://schemas.microsoft.com/office/drawing/2014/main" id="{E98C13A4-B60F-4694-8B59-9F6AD8B00E5A}"/>
                  </a:ext>
                </a:extLst>
              </p:cNvPr>
              <p:cNvGrpSpPr/>
              <p:nvPr/>
            </p:nvGrpSpPr>
            <p:grpSpPr>
              <a:xfrm>
                <a:off x="8831629" y="5560435"/>
                <a:ext cx="32286" cy="148881"/>
                <a:chOff x="8831629" y="5560435"/>
                <a:chExt cx="32286" cy="148881"/>
              </a:xfrm>
              <a:grpFill/>
            </p:grpSpPr>
            <p:sp>
              <p:nvSpPr>
                <p:cNvPr id="4397" name="Freeform 5147">
                  <a:extLst>
                    <a:ext uri="{FF2B5EF4-FFF2-40B4-BE49-F238E27FC236}">
                      <a16:creationId xmlns:a16="http://schemas.microsoft.com/office/drawing/2014/main" id="{5A78B99E-F547-4302-F5DE-DDAF27150151}"/>
                    </a:ext>
                  </a:extLst>
                </p:cNvPr>
                <p:cNvSpPr/>
                <p:nvPr/>
              </p:nvSpPr>
              <p:spPr>
                <a:xfrm>
                  <a:off x="8843470" y="5580631"/>
                  <a:ext cx="3113" cy="51940"/>
                </a:xfrm>
                <a:custGeom>
                  <a:avLst/>
                  <a:gdLst>
                    <a:gd name="connsiteX0" fmla="*/ 3114 w 3113"/>
                    <a:gd name="connsiteY0" fmla="*/ 0 h 51940"/>
                    <a:gd name="connsiteX1" fmla="*/ 249 w 3113"/>
                    <a:gd name="connsiteY1" fmla="*/ 18559 h 51940"/>
                    <a:gd name="connsiteX2" fmla="*/ 2865 w 3113"/>
                    <a:gd name="connsiteY2" fmla="*/ 35748 h 51940"/>
                    <a:gd name="connsiteX3" fmla="*/ 0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0"/>
                      </a:moveTo>
                      <a:cubicBezTo>
                        <a:pt x="249" y="7847"/>
                        <a:pt x="0" y="14200"/>
                        <a:pt x="249" y="18559"/>
                      </a:cubicBezTo>
                      <a:cubicBezTo>
                        <a:pt x="747" y="25535"/>
                        <a:pt x="2741" y="28648"/>
                        <a:pt x="2865" y="35748"/>
                      </a:cubicBezTo>
                      <a:cubicBezTo>
                        <a:pt x="2989"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8" name="Freeform 5148">
                  <a:extLst>
                    <a:ext uri="{FF2B5EF4-FFF2-40B4-BE49-F238E27FC236}">
                      <a16:creationId xmlns:a16="http://schemas.microsoft.com/office/drawing/2014/main" id="{D0159E0E-A579-1A78-3CE0-381812D7B9E2}"/>
                    </a:ext>
                  </a:extLst>
                </p:cNvPr>
                <p:cNvSpPr/>
                <p:nvPr/>
              </p:nvSpPr>
              <p:spPr>
                <a:xfrm>
                  <a:off x="8850456" y="5575899"/>
                  <a:ext cx="5016" cy="52189"/>
                </a:xfrm>
                <a:custGeom>
                  <a:avLst/>
                  <a:gdLst>
                    <a:gd name="connsiteX0" fmla="*/ 1608 w 5016"/>
                    <a:gd name="connsiteY0" fmla="*/ 52190 h 52189"/>
                    <a:gd name="connsiteX1" fmla="*/ 487 w 5016"/>
                    <a:gd name="connsiteY1" fmla="*/ 33381 h 52189"/>
                    <a:gd name="connsiteX2" fmla="*/ 4722 w 5016"/>
                    <a:gd name="connsiteY2" fmla="*/ 16441 h 52189"/>
                    <a:gd name="connsiteX3" fmla="*/ 3352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52190"/>
                      </a:moveTo>
                      <a:cubicBezTo>
                        <a:pt x="-509" y="44093"/>
                        <a:pt x="-136" y="37741"/>
                        <a:pt x="487" y="33381"/>
                      </a:cubicBezTo>
                      <a:cubicBezTo>
                        <a:pt x="1608" y="26530"/>
                        <a:pt x="3850" y="23541"/>
                        <a:pt x="4722" y="16441"/>
                      </a:cubicBezTo>
                      <a:cubicBezTo>
                        <a:pt x="5594" y="9591"/>
                        <a:pt x="4349"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9" name="Freeform 5149">
                  <a:extLst>
                    <a:ext uri="{FF2B5EF4-FFF2-40B4-BE49-F238E27FC236}">
                      <a16:creationId xmlns:a16="http://schemas.microsoft.com/office/drawing/2014/main" id="{94D007CA-DB7F-D39B-5788-217C3EDA37B3}"/>
                    </a:ext>
                  </a:extLst>
                </p:cNvPr>
                <p:cNvSpPr/>
                <p:nvPr/>
              </p:nvSpPr>
              <p:spPr>
                <a:xfrm>
                  <a:off x="8837234" y="5560435"/>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257" y="5249"/>
                        <a:pt x="6610" y="-356"/>
                        <a:pt x="13958" y="18"/>
                      </a:cubicBezTo>
                      <a:cubicBezTo>
                        <a:pt x="21308" y="516"/>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0" name="Freeform 5150">
                  <a:extLst>
                    <a:ext uri="{FF2B5EF4-FFF2-40B4-BE49-F238E27FC236}">
                      <a16:creationId xmlns:a16="http://schemas.microsoft.com/office/drawing/2014/main" id="{5AF82F3A-7AE4-DAFE-5836-2AD6A8E3CD64}"/>
                    </a:ext>
                  </a:extLst>
                </p:cNvPr>
                <p:cNvSpPr/>
                <p:nvPr/>
              </p:nvSpPr>
              <p:spPr>
                <a:xfrm>
                  <a:off x="8848701" y="5637181"/>
                  <a:ext cx="3113" cy="51940"/>
                </a:xfrm>
                <a:custGeom>
                  <a:avLst/>
                  <a:gdLst>
                    <a:gd name="connsiteX0" fmla="*/ 0 w 3113"/>
                    <a:gd name="connsiteY0" fmla="*/ 51941 h 51940"/>
                    <a:gd name="connsiteX1" fmla="*/ 2865 w 3113"/>
                    <a:gd name="connsiteY1" fmla="*/ 33381 h 51940"/>
                    <a:gd name="connsiteX2" fmla="*/ 249 w 3113"/>
                    <a:gd name="connsiteY2" fmla="*/ 16193 h 51940"/>
                    <a:gd name="connsiteX3" fmla="*/ 3114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0" y="51941"/>
                      </a:moveTo>
                      <a:cubicBezTo>
                        <a:pt x="2865" y="43969"/>
                        <a:pt x="3114" y="37741"/>
                        <a:pt x="2865" y="33381"/>
                      </a:cubicBezTo>
                      <a:cubicBezTo>
                        <a:pt x="2367" y="26406"/>
                        <a:pt x="499" y="23292"/>
                        <a:pt x="249" y="16193"/>
                      </a:cubicBezTo>
                      <a:cubicBezTo>
                        <a:pt x="125" y="9342"/>
                        <a:pt x="1744" y="3612"/>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1" name="Freeform 5151">
                  <a:extLst>
                    <a:ext uri="{FF2B5EF4-FFF2-40B4-BE49-F238E27FC236}">
                      <a16:creationId xmlns:a16="http://schemas.microsoft.com/office/drawing/2014/main" id="{F8FBF0E4-72AF-4BB3-1A5B-5E5955E5E78F}"/>
                    </a:ext>
                  </a:extLst>
                </p:cNvPr>
                <p:cNvSpPr/>
                <p:nvPr/>
              </p:nvSpPr>
              <p:spPr>
                <a:xfrm>
                  <a:off x="8839863" y="5641665"/>
                  <a:ext cx="4965" cy="52189"/>
                </a:xfrm>
                <a:custGeom>
                  <a:avLst/>
                  <a:gdLst>
                    <a:gd name="connsiteX0" fmla="*/ 3357 w 4965"/>
                    <a:gd name="connsiteY0" fmla="*/ 0 h 52189"/>
                    <a:gd name="connsiteX1" fmla="*/ 4479 w 4965"/>
                    <a:gd name="connsiteY1" fmla="*/ 18808 h 52189"/>
                    <a:gd name="connsiteX2" fmla="*/ 243 w 4965"/>
                    <a:gd name="connsiteY2" fmla="*/ 35748 h 52189"/>
                    <a:gd name="connsiteX3" fmla="*/ 1614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3357" y="0"/>
                      </a:moveTo>
                      <a:cubicBezTo>
                        <a:pt x="5475" y="8096"/>
                        <a:pt x="5101" y="14449"/>
                        <a:pt x="4479" y="18808"/>
                      </a:cubicBezTo>
                      <a:cubicBezTo>
                        <a:pt x="3357" y="25659"/>
                        <a:pt x="1115" y="28648"/>
                        <a:pt x="243" y="35748"/>
                      </a:cubicBezTo>
                      <a:cubicBezTo>
                        <a:pt x="-504" y="42599"/>
                        <a:pt x="617" y="48453"/>
                        <a:pt x="161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2" name="Freeform 5152">
                  <a:extLst>
                    <a:ext uri="{FF2B5EF4-FFF2-40B4-BE49-F238E27FC236}">
                      <a16:creationId xmlns:a16="http://schemas.microsoft.com/office/drawing/2014/main" id="{B1D70C5A-1E9E-D9FD-65FC-14DD11FEFECD}"/>
                    </a:ext>
                  </a:extLst>
                </p:cNvPr>
                <p:cNvSpPr/>
                <p:nvPr/>
              </p:nvSpPr>
              <p:spPr>
                <a:xfrm>
                  <a:off x="8831629" y="5682751"/>
                  <a:ext cx="26422" cy="26566"/>
                </a:xfrm>
                <a:custGeom>
                  <a:avLst/>
                  <a:gdLst>
                    <a:gd name="connsiteX0" fmla="*/ 8 w 26422"/>
                    <a:gd name="connsiteY0" fmla="*/ 12598 h 26566"/>
                    <a:gd name="connsiteX1" fmla="*/ 13835 w 26422"/>
                    <a:gd name="connsiteY1" fmla="*/ 18 h 26566"/>
                    <a:gd name="connsiteX2" fmla="*/ 26414 w 26422"/>
                    <a:gd name="connsiteY2" fmla="*/ 13968 h 26566"/>
                    <a:gd name="connsiteX3" fmla="*/ 12589 w 26422"/>
                    <a:gd name="connsiteY3" fmla="*/ 26548 h 26566"/>
                    <a:gd name="connsiteX4" fmla="*/ 8 w 26422"/>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66">
                      <a:moveTo>
                        <a:pt x="8" y="12598"/>
                      </a:moveTo>
                      <a:cubicBezTo>
                        <a:pt x="382" y="5249"/>
                        <a:pt x="6485" y="-356"/>
                        <a:pt x="13835" y="18"/>
                      </a:cubicBezTo>
                      <a:cubicBezTo>
                        <a:pt x="21058" y="391"/>
                        <a:pt x="26664" y="6619"/>
                        <a:pt x="26414" y="13968"/>
                      </a:cubicBezTo>
                      <a:cubicBezTo>
                        <a:pt x="26041" y="21317"/>
                        <a:pt x="19938" y="26922"/>
                        <a:pt x="12589" y="26548"/>
                      </a:cubicBezTo>
                      <a:cubicBezTo>
                        <a:pt x="5240" y="26175"/>
                        <a:pt x="-240"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8" name="Graphic 2987">
                <a:extLst>
                  <a:ext uri="{FF2B5EF4-FFF2-40B4-BE49-F238E27FC236}">
                    <a16:creationId xmlns:a16="http://schemas.microsoft.com/office/drawing/2014/main" id="{27E8C18D-1C39-1D16-F897-20F832977268}"/>
                  </a:ext>
                </a:extLst>
              </p:cNvPr>
              <p:cNvGrpSpPr/>
              <p:nvPr/>
            </p:nvGrpSpPr>
            <p:grpSpPr>
              <a:xfrm>
                <a:off x="8861015" y="5561930"/>
                <a:ext cx="32544" cy="148881"/>
                <a:chOff x="8861015" y="5561930"/>
                <a:chExt cx="32544" cy="148881"/>
              </a:xfrm>
              <a:grpFill/>
            </p:grpSpPr>
            <p:sp>
              <p:nvSpPr>
                <p:cNvPr id="4391" name="Freeform 5154">
                  <a:extLst>
                    <a:ext uri="{FF2B5EF4-FFF2-40B4-BE49-F238E27FC236}">
                      <a16:creationId xmlns:a16="http://schemas.microsoft.com/office/drawing/2014/main" id="{EFFE937D-134E-78D7-71F3-248867FCAB7F}"/>
                    </a:ext>
                  </a:extLst>
                </p:cNvPr>
                <p:cNvSpPr/>
                <p:nvPr/>
              </p:nvSpPr>
              <p:spPr>
                <a:xfrm>
                  <a:off x="8873115" y="5582126"/>
                  <a:ext cx="3238" cy="51940"/>
                </a:xfrm>
                <a:custGeom>
                  <a:avLst/>
                  <a:gdLst>
                    <a:gd name="connsiteX0" fmla="*/ 3239 w 3238"/>
                    <a:gd name="connsiteY0" fmla="*/ 0 h 51940"/>
                    <a:gd name="connsiteX1" fmla="*/ 374 w 3238"/>
                    <a:gd name="connsiteY1" fmla="*/ 18559 h 51940"/>
                    <a:gd name="connsiteX2" fmla="*/ 2989 w 3238"/>
                    <a:gd name="connsiteY2" fmla="*/ 35748 h 51940"/>
                    <a:gd name="connsiteX3" fmla="*/ 0 w 3238"/>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0"/>
                      </a:moveTo>
                      <a:cubicBezTo>
                        <a:pt x="374" y="7847"/>
                        <a:pt x="0" y="14199"/>
                        <a:pt x="374" y="18559"/>
                      </a:cubicBezTo>
                      <a:cubicBezTo>
                        <a:pt x="872" y="25534"/>
                        <a:pt x="2741" y="28648"/>
                        <a:pt x="2989" y="35748"/>
                      </a:cubicBezTo>
                      <a:cubicBezTo>
                        <a:pt x="3114"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2" name="Freeform 5155">
                  <a:extLst>
                    <a:ext uri="{FF2B5EF4-FFF2-40B4-BE49-F238E27FC236}">
                      <a16:creationId xmlns:a16="http://schemas.microsoft.com/office/drawing/2014/main" id="{5E877E12-C15F-9AB0-667E-77D686241943}"/>
                    </a:ext>
                  </a:extLst>
                </p:cNvPr>
                <p:cNvSpPr/>
                <p:nvPr/>
              </p:nvSpPr>
              <p:spPr>
                <a:xfrm>
                  <a:off x="8880124" y="5577393"/>
                  <a:ext cx="5135" cy="52189"/>
                </a:xfrm>
                <a:custGeom>
                  <a:avLst/>
                  <a:gdLst>
                    <a:gd name="connsiteX0" fmla="*/ 1586 w 5135"/>
                    <a:gd name="connsiteY0" fmla="*/ 52190 h 52189"/>
                    <a:gd name="connsiteX1" fmla="*/ 589 w 5135"/>
                    <a:gd name="connsiteY1" fmla="*/ 33381 h 52189"/>
                    <a:gd name="connsiteX2" fmla="*/ 4824 w 5135"/>
                    <a:gd name="connsiteY2" fmla="*/ 16442 h 52189"/>
                    <a:gd name="connsiteX3" fmla="*/ 3454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52190"/>
                      </a:moveTo>
                      <a:cubicBezTo>
                        <a:pt x="-532" y="44093"/>
                        <a:pt x="-158" y="37741"/>
                        <a:pt x="589" y="33381"/>
                      </a:cubicBezTo>
                      <a:cubicBezTo>
                        <a:pt x="1710" y="26531"/>
                        <a:pt x="3952" y="23541"/>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3" name="Freeform 5156">
                  <a:extLst>
                    <a:ext uri="{FF2B5EF4-FFF2-40B4-BE49-F238E27FC236}">
                      <a16:creationId xmlns:a16="http://schemas.microsoft.com/office/drawing/2014/main" id="{16E42E76-11A2-A6CF-AEE5-CD3B8202C193}"/>
                    </a:ext>
                  </a:extLst>
                </p:cNvPr>
                <p:cNvSpPr/>
                <p:nvPr/>
              </p:nvSpPr>
              <p:spPr>
                <a:xfrm>
                  <a:off x="8866879" y="5561930"/>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382" y="5249"/>
                        <a:pt x="6610" y="-356"/>
                        <a:pt x="13958" y="18"/>
                      </a:cubicBezTo>
                      <a:cubicBezTo>
                        <a:pt x="21308" y="391"/>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4" name="Freeform 5157">
                  <a:extLst>
                    <a:ext uri="{FF2B5EF4-FFF2-40B4-BE49-F238E27FC236}">
                      <a16:creationId xmlns:a16="http://schemas.microsoft.com/office/drawing/2014/main" id="{3953BE64-4CF6-52AD-5936-9FB8D06D52B2}"/>
                    </a:ext>
                  </a:extLst>
                </p:cNvPr>
                <p:cNvSpPr/>
                <p:nvPr/>
              </p:nvSpPr>
              <p:spPr>
                <a:xfrm>
                  <a:off x="8878097" y="5638675"/>
                  <a:ext cx="3362" cy="51940"/>
                </a:xfrm>
                <a:custGeom>
                  <a:avLst/>
                  <a:gdLst>
                    <a:gd name="connsiteX0" fmla="*/ 0 w 3362"/>
                    <a:gd name="connsiteY0" fmla="*/ 51941 h 51940"/>
                    <a:gd name="connsiteX1" fmla="*/ 2865 w 3362"/>
                    <a:gd name="connsiteY1" fmla="*/ 33382 h 51940"/>
                    <a:gd name="connsiteX2" fmla="*/ 373 w 3362"/>
                    <a:gd name="connsiteY2" fmla="*/ 16193 h 51940"/>
                    <a:gd name="connsiteX3" fmla="*/ 3363 w 3362"/>
                    <a:gd name="connsiteY3" fmla="*/ 0 h 51940"/>
                  </a:gdLst>
                  <a:ahLst/>
                  <a:cxnLst>
                    <a:cxn ang="0">
                      <a:pos x="connsiteX0" y="connsiteY0"/>
                    </a:cxn>
                    <a:cxn ang="0">
                      <a:pos x="connsiteX1" y="connsiteY1"/>
                    </a:cxn>
                    <a:cxn ang="0">
                      <a:pos x="connsiteX2" y="connsiteY2"/>
                    </a:cxn>
                    <a:cxn ang="0">
                      <a:pos x="connsiteX3" y="connsiteY3"/>
                    </a:cxn>
                  </a:cxnLst>
                  <a:rect l="l" t="t" r="r" b="b"/>
                  <a:pathLst>
                    <a:path w="3362" h="51940">
                      <a:moveTo>
                        <a:pt x="0" y="51941"/>
                      </a:moveTo>
                      <a:cubicBezTo>
                        <a:pt x="2865" y="44094"/>
                        <a:pt x="3114" y="37741"/>
                        <a:pt x="2865" y="33382"/>
                      </a:cubicBezTo>
                      <a:cubicBezTo>
                        <a:pt x="2491" y="26406"/>
                        <a:pt x="498" y="23292"/>
                        <a:pt x="373" y="16193"/>
                      </a:cubicBezTo>
                      <a:cubicBezTo>
                        <a:pt x="249" y="9342"/>
                        <a:pt x="1868" y="3612"/>
                        <a:pt x="33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5" name="Freeform 5158">
                  <a:extLst>
                    <a:ext uri="{FF2B5EF4-FFF2-40B4-BE49-F238E27FC236}">
                      <a16:creationId xmlns:a16="http://schemas.microsoft.com/office/drawing/2014/main" id="{22917A5E-12E5-C6C3-6889-B0A082FAFE86}"/>
                    </a:ext>
                  </a:extLst>
                </p:cNvPr>
                <p:cNvSpPr/>
                <p:nvPr/>
              </p:nvSpPr>
              <p:spPr>
                <a:xfrm>
                  <a:off x="8869316" y="5643160"/>
                  <a:ext cx="5135" cy="52189"/>
                </a:xfrm>
                <a:custGeom>
                  <a:avLst/>
                  <a:gdLst>
                    <a:gd name="connsiteX0" fmla="*/ 3549 w 5135"/>
                    <a:gd name="connsiteY0" fmla="*/ 0 h 52189"/>
                    <a:gd name="connsiteX1" fmla="*/ 4546 w 5135"/>
                    <a:gd name="connsiteY1" fmla="*/ 18808 h 52189"/>
                    <a:gd name="connsiteX2" fmla="*/ 312 w 5135"/>
                    <a:gd name="connsiteY2" fmla="*/ 35748 h 52189"/>
                    <a:gd name="connsiteX3" fmla="*/ 1681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0"/>
                      </a:moveTo>
                      <a:cubicBezTo>
                        <a:pt x="5667" y="8096"/>
                        <a:pt x="5293" y="14449"/>
                        <a:pt x="4546" y="18808"/>
                      </a:cubicBezTo>
                      <a:cubicBezTo>
                        <a:pt x="3425" y="25659"/>
                        <a:pt x="1183" y="28648"/>
                        <a:pt x="312" y="35748"/>
                      </a:cubicBezTo>
                      <a:cubicBezTo>
                        <a:pt x="-560" y="42599"/>
                        <a:pt x="560" y="48453"/>
                        <a:pt x="168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6" name="Freeform 5159">
                  <a:extLst>
                    <a:ext uri="{FF2B5EF4-FFF2-40B4-BE49-F238E27FC236}">
                      <a16:creationId xmlns:a16="http://schemas.microsoft.com/office/drawing/2014/main" id="{7DEFD9A5-6F1F-ED65-363D-BCB64764B778}"/>
                    </a:ext>
                  </a:extLst>
                </p:cNvPr>
                <p:cNvSpPr/>
                <p:nvPr/>
              </p:nvSpPr>
              <p:spPr>
                <a:xfrm>
                  <a:off x="8861015" y="5684246"/>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494" y="-356"/>
                        <a:pt x="13843" y="18"/>
                      </a:cubicBezTo>
                      <a:cubicBezTo>
                        <a:pt x="21068" y="391"/>
                        <a:pt x="26672" y="6619"/>
                        <a:pt x="26299" y="13968"/>
                      </a:cubicBezTo>
                      <a:cubicBezTo>
                        <a:pt x="25925" y="21317"/>
                        <a:pt x="19697"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9" name="Graphic 2987">
                <a:extLst>
                  <a:ext uri="{FF2B5EF4-FFF2-40B4-BE49-F238E27FC236}">
                    <a16:creationId xmlns:a16="http://schemas.microsoft.com/office/drawing/2014/main" id="{279C7CE9-E989-73EA-A895-51CE4CE5AC76}"/>
                  </a:ext>
                </a:extLst>
              </p:cNvPr>
              <p:cNvGrpSpPr/>
              <p:nvPr/>
            </p:nvGrpSpPr>
            <p:grpSpPr>
              <a:xfrm>
                <a:off x="8890411" y="5563425"/>
                <a:ext cx="32918" cy="148881"/>
                <a:chOff x="8890411" y="5563425"/>
                <a:chExt cx="32918" cy="148881"/>
              </a:xfrm>
              <a:grpFill/>
            </p:grpSpPr>
            <p:sp>
              <p:nvSpPr>
                <p:cNvPr id="4385" name="Freeform 5161">
                  <a:extLst>
                    <a:ext uri="{FF2B5EF4-FFF2-40B4-BE49-F238E27FC236}">
                      <a16:creationId xmlns:a16="http://schemas.microsoft.com/office/drawing/2014/main" id="{85999907-28D5-D601-2D32-F26E2C92E845}"/>
                    </a:ext>
                  </a:extLst>
                </p:cNvPr>
                <p:cNvSpPr/>
                <p:nvPr/>
              </p:nvSpPr>
              <p:spPr>
                <a:xfrm>
                  <a:off x="8902510" y="5583621"/>
                  <a:ext cx="3487" cy="51940"/>
                </a:xfrm>
                <a:custGeom>
                  <a:avLst/>
                  <a:gdLst>
                    <a:gd name="connsiteX0" fmla="*/ 3488 w 3487"/>
                    <a:gd name="connsiteY0" fmla="*/ 0 h 51940"/>
                    <a:gd name="connsiteX1" fmla="*/ 499 w 3487"/>
                    <a:gd name="connsiteY1" fmla="*/ 18559 h 51940"/>
                    <a:gd name="connsiteX2" fmla="*/ 2989 w 3487"/>
                    <a:gd name="connsiteY2" fmla="*/ 35748 h 51940"/>
                    <a:gd name="connsiteX3" fmla="*/ 0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0"/>
                      </a:moveTo>
                      <a:cubicBezTo>
                        <a:pt x="623" y="7847"/>
                        <a:pt x="249" y="14199"/>
                        <a:pt x="499" y="18559"/>
                      </a:cubicBezTo>
                      <a:cubicBezTo>
                        <a:pt x="872" y="25534"/>
                        <a:pt x="2865" y="28648"/>
                        <a:pt x="2989" y="35748"/>
                      </a:cubicBezTo>
                      <a:cubicBezTo>
                        <a:pt x="3114" y="42599"/>
                        <a:pt x="1371"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6" name="Freeform 5162">
                  <a:extLst>
                    <a:ext uri="{FF2B5EF4-FFF2-40B4-BE49-F238E27FC236}">
                      <a16:creationId xmlns:a16="http://schemas.microsoft.com/office/drawing/2014/main" id="{6AC9EB27-3778-249A-CDC9-93D5E9B0732A}"/>
                    </a:ext>
                  </a:extLst>
                </p:cNvPr>
                <p:cNvSpPr/>
                <p:nvPr/>
              </p:nvSpPr>
              <p:spPr>
                <a:xfrm>
                  <a:off x="8909684" y="5578888"/>
                  <a:ext cx="5222" cy="52189"/>
                </a:xfrm>
                <a:custGeom>
                  <a:avLst/>
                  <a:gdLst>
                    <a:gd name="connsiteX0" fmla="*/ 1546 w 5222"/>
                    <a:gd name="connsiteY0" fmla="*/ 52190 h 52189"/>
                    <a:gd name="connsiteX1" fmla="*/ 549 w 5222"/>
                    <a:gd name="connsiteY1" fmla="*/ 33381 h 52189"/>
                    <a:gd name="connsiteX2" fmla="*/ 4909 w 5222"/>
                    <a:gd name="connsiteY2" fmla="*/ 16442 h 52189"/>
                    <a:gd name="connsiteX3" fmla="*/ 3663 w 5222"/>
                    <a:gd name="connsiteY3" fmla="*/ 0 h 52189"/>
                  </a:gdLst>
                  <a:ahLst/>
                  <a:cxnLst>
                    <a:cxn ang="0">
                      <a:pos x="connsiteX0" y="connsiteY0"/>
                    </a:cxn>
                    <a:cxn ang="0">
                      <a:pos x="connsiteX1" y="connsiteY1"/>
                    </a:cxn>
                    <a:cxn ang="0">
                      <a:pos x="connsiteX2" y="connsiteY2"/>
                    </a:cxn>
                    <a:cxn ang="0">
                      <a:pos x="connsiteX3" y="connsiteY3"/>
                    </a:cxn>
                  </a:cxnLst>
                  <a:rect l="l" t="t" r="r" b="b"/>
                  <a:pathLst>
                    <a:path w="5222" h="52189">
                      <a:moveTo>
                        <a:pt x="1546" y="52190"/>
                      </a:moveTo>
                      <a:cubicBezTo>
                        <a:pt x="-447" y="44094"/>
                        <a:pt x="-198" y="37741"/>
                        <a:pt x="549" y="33381"/>
                      </a:cubicBezTo>
                      <a:cubicBezTo>
                        <a:pt x="1670" y="26531"/>
                        <a:pt x="4037" y="23541"/>
                        <a:pt x="4909" y="16442"/>
                      </a:cubicBezTo>
                      <a:cubicBezTo>
                        <a:pt x="5781" y="9591"/>
                        <a:pt x="4659"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7" name="Freeform 5163">
                  <a:extLst>
                    <a:ext uri="{FF2B5EF4-FFF2-40B4-BE49-F238E27FC236}">
                      <a16:creationId xmlns:a16="http://schemas.microsoft.com/office/drawing/2014/main" id="{04A83A1E-6623-F569-01DE-C5B56D87CCF7}"/>
                    </a:ext>
                  </a:extLst>
                </p:cNvPr>
                <p:cNvSpPr/>
                <p:nvPr/>
              </p:nvSpPr>
              <p:spPr>
                <a:xfrm>
                  <a:off x="8896763" y="5563425"/>
                  <a:ext cx="26566" cy="26565"/>
                </a:xfrm>
                <a:custGeom>
                  <a:avLst/>
                  <a:gdLst>
                    <a:gd name="connsiteX0" fmla="*/ 26549 w 26566"/>
                    <a:gd name="connsiteY0" fmla="*/ 13968 h 26565"/>
                    <a:gd name="connsiteX1" fmla="*/ 12598 w 26566"/>
                    <a:gd name="connsiteY1" fmla="*/ 26548 h 26565"/>
                    <a:gd name="connsiteX2" fmla="*/ 18 w 26566"/>
                    <a:gd name="connsiteY2" fmla="*/ 12598 h 26565"/>
                    <a:gd name="connsiteX3" fmla="*/ 13968 w 26566"/>
                    <a:gd name="connsiteY3" fmla="*/ 18 h 26565"/>
                    <a:gd name="connsiteX4" fmla="*/ 26549 w 26566"/>
                    <a:gd name="connsiteY4" fmla="*/ 1396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65">
                      <a:moveTo>
                        <a:pt x="26549" y="13968"/>
                      </a:moveTo>
                      <a:cubicBezTo>
                        <a:pt x="26174" y="21317"/>
                        <a:pt x="19822" y="26922"/>
                        <a:pt x="12598" y="26548"/>
                      </a:cubicBezTo>
                      <a:cubicBezTo>
                        <a:pt x="5249" y="26174"/>
                        <a:pt x="-356" y="19947"/>
                        <a:pt x="18" y="12598"/>
                      </a:cubicBezTo>
                      <a:cubicBezTo>
                        <a:pt x="391" y="5249"/>
                        <a:pt x="6619" y="-356"/>
                        <a:pt x="13968" y="18"/>
                      </a:cubicBezTo>
                      <a:cubicBezTo>
                        <a:pt x="21317" y="391"/>
                        <a:pt x="26922" y="6619"/>
                        <a:pt x="26549"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8" name="Freeform 5164">
                  <a:extLst>
                    <a:ext uri="{FF2B5EF4-FFF2-40B4-BE49-F238E27FC236}">
                      <a16:creationId xmlns:a16="http://schemas.microsoft.com/office/drawing/2014/main" id="{F0CD1649-6000-0D91-0640-3C783F43ABF9}"/>
                    </a:ext>
                  </a:extLst>
                </p:cNvPr>
                <p:cNvSpPr/>
                <p:nvPr/>
              </p:nvSpPr>
              <p:spPr>
                <a:xfrm>
                  <a:off x="8907493" y="5640170"/>
                  <a:ext cx="3487" cy="51940"/>
                </a:xfrm>
                <a:custGeom>
                  <a:avLst/>
                  <a:gdLst>
                    <a:gd name="connsiteX0" fmla="*/ 0 w 3487"/>
                    <a:gd name="connsiteY0" fmla="*/ 51941 h 51940"/>
                    <a:gd name="connsiteX1" fmla="*/ 2989 w 3487"/>
                    <a:gd name="connsiteY1" fmla="*/ 33382 h 51940"/>
                    <a:gd name="connsiteX2" fmla="*/ 498 w 3487"/>
                    <a:gd name="connsiteY2" fmla="*/ 16193 h 51940"/>
                    <a:gd name="connsiteX3" fmla="*/ 3487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0" y="51941"/>
                      </a:moveTo>
                      <a:cubicBezTo>
                        <a:pt x="2865" y="44094"/>
                        <a:pt x="3239" y="37741"/>
                        <a:pt x="2989" y="33382"/>
                      </a:cubicBezTo>
                      <a:cubicBezTo>
                        <a:pt x="2616" y="26407"/>
                        <a:pt x="623" y="23293"/>
                        <a:pt x="498" y="16193"/>
                      </a:cubicBezTo>
                      <a:cubicBezTo>
                        <a:pt x="373" y="9342"/>
                        <a:pt x="2117" y="3612"/>
                        <a:pt x="34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9" name="Freeform 5165">
                  <a:extLst>
                    <a:ext uri="{FF2B5EF4-FFF2-40B4-BE49-F238E27FC236}">
                      <a16:creationId xmlns:a16="http://schemas.microsoft.com/office/drawing/2014/main" id="{642BB12E-2930-956F-DE6C-922A6DD0EBA5}"/>
                    </a:ext>
                  </a:extLst>
                </p:cNvPr>
                <p:cNvSpPr/>
                <p:nvPr/>
              </p:nvSpPr>
              <p:spPr>
                <a:xfrm>
                  <a:off x="8898834" y="5644654"/>
                  <a:ext cx="5097" cy="52189"/>
                </a:xfrm>
                <a:custGeom>
                  <a:avLst/>
                  <a:gdLst>
                    <a:gd name="connsiteX0" fmla="*/ 3551 w 5097"/>
                    <a:gd name="connsiteY0" fmla="*/ 0 h 52189"/>
                    <a:gd name="connsiteX1" fmla="*/ 4548 w 5097"/>
                    <a:gd name="connsiteY1" fmla="*/ 18808 h 52189"/>
                    <a:gd name="connsiteX2" fmla="*/ 313 w 5097"/>
                    <a:gd name="connsiteY2" fmla="*/ 35748 h 52189"/>
                    <a:gd name="connsiteX3" fmla="*/ 1559 w 50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97" h="52189">
                      <a:moveTo>
                        <a:pt x="3551" y="0"/>
                      </a:moveTo>
                      <a:cubicBezTo>
                        <a:pt x="5545" y="8096"/>
                        <a:pt x="5295" y="14449"/>
                        <a:pt x="4548" y="18808"/>
                      </a:cubicBezTo>
                      <a:cubicBezTo>
                        <a:pt x="3427" y="25659"/>
                        <a:pt x="1185" y="28648"/>
                        <a:pt x="313" y="35748"/>
                      </a:cubicBezTo>
                      <a:cubicBezTo>
                        <a:pt x="-559" y="42599"/>
                        <a:pt x="562"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0" name="Freeform 5166">
                  <a:extLst>
                    <a:ext uri="{FF2B5EF4-FFF2-40B4-BE49-F238E27FC236}">
                      <a16:creationId xmlns:a16="http://schemas.microsoft.com/office/drawing/2014/main" id="{9F5BC951-3864-A10E-CBFF-C5BE21E36610}"/>
                    </a:ext>
                  </a:extLst>
                </p:cNvPr>
                <p:cNvSpPr/>
                <p:nvPr/>
              </p:nvSpPr>
              <p:spPr>
                <a:xfrm>
                  <a:off x="8890411" y="5685740"/>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619" y="-356"/>
                        <a:pt x="13843" y="18"/>
                      </a:cubicBezTo>
                      <a:cubicBezTo>
                        <a:pt x="21068" y="391"/>
                        <a:pt x="26673" y="6619"/>
                        <a:pt x="26299" y="13968"/>
                      </a:cubicBezTo>
                      <a:cubicBezTo>
                        <a:pt x="25926" y="21317"/>
                        <a:pt x="19698"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0" name="Graphic 2987">
                <a:extLst>
                  <a:ext uri="{FF2B5EF4-FFF2-40B4-BE49-F238E27FC236}">
                    <a16:creationId xmlns:a16="http://schemas.microsoft.com/office/drawing/2014/main" id="{B0A97BF9-2394-F737-B86E-00CFD7E79E87}"/>
                  </a:ext>
                </a:extLst>
              </p:cNvPr>
              <p:cNvGrpSpPr/>
              <p:nvPr/>
            </p:nvGrpSpPr>
            <p:grpSpPr>
              <a:xfrm>
                <a:off x="8919806" y="5564920"/>
                <a:ext cx="33292" cy="148881"/>
                <a:chOff x="8919806" y="5564920"/>
                <a:chExt cx="33292" cy="148881"/>
              </a:xfrm>
              <a:grpFill/>
            </p:grpSpPr>
            <p:sp>
              <p:nvSpPr>
                <p:cNvPr id="4379" name="Freeform 5168">
                  <a:extLst>
                    <a:ext uri="{FF2B5EF4-FFF2-40B4-BE49-F238E27FC236}">
                      <a16:creationId xmlns:a16="http://schemas.microsoft.com/office/drawing/2014/main" id="{642BD9EB-1E2E-3186-86D2-C2E05DFE0358}"/>
                    </a:ext>
                  </a:extLst>
                </p:cNvPr>
                <p:cNvSpPr/>
                <p:nvPr/>
              </p:nvSpPr>
              <p:spPr>
                <a:xfrm>
                  <a:off x="8932155" y="5585116"/>
                  <a:ext cx="3612" cy="51940"/>
                </a:xfrm>
                <a:custGeom>
                  <a:avLst/>
                  <a:gdLst>
                    <a:gd name="connsiteX0" fmla="*/ 3613 w 3612"/>
                    <a:gd name="connsiteY0" fmla="*/ 0 h 51940"/>
                    <a:gd name="connsiteX1" fmla="*/ 623 w 3612"/>
                    <a:gd name="connsiteY1" fmla="*/ 18559 h 51940"/>
                    <a:gd name="connsiteX2" fmla="*/ 3114 w 3612"/>
                    <a:gd name="connsiteY2" fmla="*/ 35748 h 51940"/>
                    <a:gd name="connsiteX3" fmla="*/ 0 w 361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612" h="51940">
                      <a:moveTo>
                        <a:pt x="3613" y="0"/>
                      </a:moveTo>
                      <a:cubicBezTo>
                        <a:pt x="623" y="7847"/>
                        <a:pt x="374" y="14199"/>
                        <a:pt x="623" y="18559"/>
                      </a:cubicBezTo>
                      <a:cubicBezTo>
                        <a:pt x="997" y="25534"/>
                        <a:pt x="2989" y="28648"/>
                        <a:pt x="3114" y="35748"/>
                      </a:cubicBezTo>
                      <a:cubicBezTo>
                        <a:pt x="3239"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0" name="Freeform 5169">
                  <a:extLst>
                    <a:ext uri="{FF2B5EF4-FFF2-40B4-BE49-F238E27FC236}">
                      <a16:creationId xmlns:a16="http://schemas.microsoft.com/office/drawing/2014/main" id="{9BF085D9-0FD1-7B93-FEA1-9DE14FCD66D4}"/>
                    </a:ext>
                  </a:extLst>
                </p:cNvPr>
                <p:cNvSpPr/>
                <p:nvPr/>
              </p:nvSpPr>
              <p:spPr>
                <a:xfrm>
                  <a:off x="8939402" y="5580382"/>
                  <a:ext cx="5273" cy="52189"/>
                </a:xfrm>
                <a:custGeom>
                  <a:avLst/>
                  <a:gdLst>
                    <a:gd name="connsiteX0" fmla="*/ 1472 w 5273"/>
                    <a:gd name="connsiteY0" fmla="*/ 52190 h 52189"/>
                    <a:gd name="connsiteX1" fmla="*/ 600 w 5273"/>
                    <a:gd name="connsiteY1" fmla="*/ 33381 h 52189"/>
                    <a:gd name="connsiteX2" fmla="*/ 4960 w 5273"/>
                    <a:gd name="connsiteY2" fmla="*/ 16442 h 52189"/>
                    <a:gd name="connsiteX3" fmla="*/ 3714 w 5273"/>
                    <a:gd name="connsiteY3" fmla="*/ 0 h 52189"/>
                  </a:gdLst>
                  <a:ahLst/>
                  <a:cxnLst>
                    <a:cxn ang="0">
                      <a:pos x="connsiteX0" y="connsiteY0"/>
                    </a:cxn>
                    <a:cxn ang="0">
                      <a:pos x="connsiteX1" y="connsiteY1"/>
                    </a:cxn>
                    <a:cxn ang="0">
                      <a:pos x="connsiteX2" y="connsiteY2"/>
                    </a:cxn>
                    <a:cxn ang="0">
                      <a:pos x="connsiteX3" y="connsiteY3"/>
                    </a:cxn>
                  </a:cxnLst>
                  <a:rect l="l" t="t" r="r" b="b"/>
                  <a:pathLst>
                    <a:path w="5273" h="52189">
                      <a:moveTo>
                        <a:pt x="1472" y="52190"/>
                      </a:moveTo>
                      <a:cubicBezTo>
                        <a:pt x="-520" y="44094"/>
                        <a:pt x="-147" y="37741"/>
                        <a:pt x="600" y="33381"/>
                      </a:cubicBezTo>
                      <a:cubicBezTo>
                        <a:pt x="1722" y="26531"/>
                        <a:pt x="4088" y="23542"/>
                        <a:pt x="4960" y="16442"/>
                      </a:cubicBezTo>
                      <a:cubicBezTo>
                        <a:pt x="5831" y="9591"/>
                        <a:pt x="4711"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1" name="Freeform 5170">
                  <a:extLst>
                    <a:ext uri="{FF2B5EF4-FFF2-40B4-BE49-F238E27FC236}">
                      <a16:creationId xmlns:a16="http://schemas.microsoft.com/office/drawing/2014/main" id="{1396605E-D5CE-0C6E-98F4-8CA0EC7CC091}"/>
                    </a:ext>
                  </a:extLst>
                </p:cNvPr>
                <p:cNvSpPr/>
                <p:nvPr/>
              </p:nvSpPr>
              <p:spPr>
                <a:xfrm>
                  <a:off x="8926408" y="5564920"/>
                  <a:ext cx="26690" cy="26566"/>
                </a:xfrm>
                <a:custGeom>
                  <a:avLst/>
                  <a:gdLst>
                    <a:gd name="connsiteX0" fmla="*/ 26672 w 26690"/>
                    <a:gd name="connsiteY0" fmla="*/ 13968 h 26566"/>
                    <a:gd name="connsiteX1" fmla="*/ 12597 w 26690"/>
                    <a:gd name="connsiteY1" fmla="*/ 26548 h 26566"/>
                    <a:gd name="connsiteX2" fmla="*/ 18 w 26690"/>
                    <a:gd name="connsiteY2" fmla="*/ 12598 h 26566"/>
                    <a:gd name="connsiteX3" fmla="*/ 14093 w 26690"/>
                    <a:gd name="connsiteY3" fmla="*/ 18 h 26566"/>
                    <a:gd name="connsiteX4" fmla="*/ 26672 w 2669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66">
                      <a:moveTo>
                        <a:pt x="26672" y="13968"/>
                      </a:moveTo>
                      <a:cubicBezTo>
                        <a:pt x="26299" y="21317"/>
                        <a:pt x="19947" y="26922"/>
                        <a:pt x="12597" y="26548"/>
                      </a:cubicBezTo>
                      <a:cubicBezTo>
                        <a:pt x="5249" y="26175"/>
                        <a:pt x="-356" y="19947"/>
                        <a:pt x="18" y="12598"/>
                      </a:cubicBezTo>
                      <a:cubicBezTo>
                        <a:pt x="391" y="5249"/>
                        <a:pt x="6744" y="-356"/>
                        <a:pt x="14093" y="18"/>
                      </a:cubicBezTo>
                      <a:cubicBezTo>
                        <a:pt x="21441" y="391"/>
                        <a:pt x="27046" y="6619"/>
                        <a:pt x="26672"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2" name="Freeform 5171">
                  <a:extLst>
                    <a:ext uri="{FF2B5EF4-FFF2-40B4-BE49-F238E27FC236}">
                      <a16:creationId xmlns:a16="http://schemas.microsoft.com/office/drawing/2014/main" id="{5192B3B7-947A-E94D-307D-C7334AF0C6F1}"/>
                    </a:ext>
                  </a:extLst>
                </p:cNvPr>
                <p:cNvSpPr/>
                <p:nvPr/>
              </p:nvSpPr>
              <p:spPr>
                <a:xfrm>
                  <a:off x="8936888" y="5641665"/>
                  <a:ext cx="3612" cy="51940"/>
                </a:xfrm>
                <a:custGeom>
                  <a:avLst/>
                  <a:gdLst>
                    <a:gd name="connsiteX0" fmla="*/ 0 w 3612"/>
                    <a:gd name="connsiteY0" fmla="*/ 51940 h 51940"/>
                    <a:gd name="connsiteX1" fmla="*/ 2989 w 3612"/>
                    <a:gd name="connsiteY1" fmla="*/ 33381 h 51940"/>
                    <a:gd name="connsiteX2" fmla="*/ 499 w 3612"/>
                    <a:gd name="connsiteY2" fmla="*/ 16192 h 51940"/>
                    <a:gd name="connsiteX3" fmla="*/ 3613 w 3612"/>
                    <a:gd name="connsiteY3" fmla="*/ 0 h 51940"/>
                  </a:gdLst>
                  <a:ahLst/>
                  <a:cxnLst>
                    <a:cxn ang="0">
                      <a:pos x="connsiteX0" y="connsiteY0"/>
                    </a:cxn>
                    <a:cxn ang="0">
                      <a:pos x="connsiteX1" y="connsiteY1"/>
                    </a:cxn>
                    <a:cxn ang="0">
                      <a:pos x="connsiteX2" y="connsiteY2"/>
                    </a:cxn>
                    <a:cxn ang="0">
                      <a:pos x="connsiteX3" y="connsiteY3"/>
                    </a:cxn>
                  </a:cxnLst>
                  <a:rect l="l" t="t" r="r" b="b"/>
                  <a:pathLst>
                    <a:path w="3612" h="51940">
                      <a:moveTo>
                        <a:pt x="0" y="51940"/>
                      </a:moveTo>
                      <a:cubicBezTo>
                        <a:pt x="2865" y="44093"/>
                        <a:pt x="3239" y="37741"/>
                        <a:pt x="2989" y="33381"/>
                      </a:cubicBezTo>
                      <a:cubicBezTo>
                        <a:pt x="2616" y="26406"/>
                        <a:pt x="623" y="23292"/>
                        <a:pt x="499" y="16192"/>
                      </a:cubicBezTo>
                      <a:cubicBezTo>
                        <a:pt x="374" y="9342"/>
                        <a:pt x="2117" y="3612"/>
                        <a:pt x="36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3" name="Freeform 5172">
                  <a:extLst>
                    <a:ext uri="{FF2B5EF4-FFF2-40B4-BE49-F238E27FC236}">
                      <a16:creationId xmlns:a16="http://schemas.microsoft.com/office/drawing/2014/main" id="{0DF1451F-7942-32C4-4ED8-4AEB1B9F9F42}"/>
                    </a:ext>
                  </a:extLst>
                </p:cNvPr>
                <p:cNvSpPr/>
                <p:nvPr/>
              </p:nvSpPr>
              <p:spPr>
                <a:xfrm>
                  <a:off x="8928230" y="5646149"/>
                  <a:ext cx="5169" cy="52189"/>
                </a:xfrm>
                <a:custGeom>
                  <a:avLst/>
                  <a:gdLst>
                    <a:gd name="connsiteX0" fmla="*/ 3677 w 5169"/>
                    <a:gd name="connsiteY0" fmla="*/ 0 h 52189"/>
                    <a:gd name="connsiteX1" fmla="*/ 4673 w 5169"/>
                    <a:gd name="connsiteY1" fmla="*/ 18808 h 52189"/>
                    <a:gd name="connsiteX2" fmla="*/ 313 w 5169"/>
                    <a:gd name="connsiteY2" fmla="*/ 35748 h 52189"/>
                    <a:gd name="connsiteX3" fmla="*/ 1559 w 51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69" h="52189">
                      <a:moveTo>
                        <a:pt x="3677" y="0"/>
                      </a:moveTo>
                      <a:cubicBezTo>
                        <a:pt x="5669" y="8096"/>
                        <a:pt x="5295" y="14449"/>
                        <a:pt x="4673" y="18808"/>
                      </a:cubicBezTo>
                      <a:cubicBezTo>
                        <a:pt x="3552" y="25659"/>
                        <a:pt x="1185" y="28648"/>
                        <a:pt x="313" y="35748"/>
                      </a:cubicBezTo>
                      <a:cubicBezTo>
                        <a:pt x="-559" y="42599"/>
                        <a:pt x="563"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4" name="Freeform 5173">
                  <a:extLst>
                    <a:ext uri="{FF2B5EF4-FFF2-40B4-BE49-F238E27FC236}">
                      <a16:creationId xmlns:a16="http://schemas.microsoft.com/office/drawing/2014/main" id="{1676A65D-CDBD-F0DB-91F3-CFE8F6EDF01A}"/>
                    </a:ext>
                  </a:extLst>
                </p:cNvPr>
                <p:cNvSpPr/>
                <p:nvPr/>
              </p:nvSpPr>
              <p:spPr>
                <a:xfrm>
                  <a:off x="8919806" y="5687235"/>
                  <a:ext cx="26317" cy="26565"/>
                </a:xfrm>
                <a:custGeom>
                  <a:avLst/>
                  <a:gdLst>
                    <a:gd name="connsiteX0" fmla="*/ 18 w 26317"/>
                    <a:gd name="connsiteY0" fmla="*/ 12598 h 26565"/>
                    <a:gd name="connsiteX1" fmla="*/ 13844 w 26317"/>
                    <a:gd name="connsiteY1" fmla="*/ 18 h 26565"/>
                    <a:gd name="connsiteX2" fmla="*/ 26299 w 26317"/>
                    <a:gd name="connsiteY2" fmla="*/ 13968 h 26565"/>
                    <a:gd name="connsiteX3" fmla="*/ 12474 w 26317"/>
                    <a:gd name="connsiteY3" fmla="*/ 26548 h 26565"/>
                    <a:gd name="connsiteX4" fmla="*/ 18 w 26317"/>
                    <a:gd name="connsiteY4" fmla="*/ 1259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5">
                      <a:moveTo>
                        <a:pt x="18" y="12598"/>
                      </a:moveTo>
                      <a:cubicBezTo>
                        <a:pt x="392" y="5249"/>
                        <a:pt x="6620" y="-356"/>
                        <a:pt x="13844" y="18"/>
                      </a:cubicBezTo>
                      <a:cubicBezTo>
                        <a:pt x="21068" y="391"/>
                        <a:pt x="26674" y="6619"/>
                        <a:pt x="26299" y="13968"/>
                      </a:cubicBezTo>
                      <a:cubicBezTo>
                        <a:pt x="25926" y="21317"/>
                        <a:pt x="19698" y="26922"/>
                        <a:pt x="12474" y="26548"/>
                      </a:cubicBezTo>
                      <a:cubicBezTo>
                        <a:pt x="5125" y="26050"/>
                        <a:pt x="-355" y="19822"/>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1" name="Graphic 2987">
                <a:extLst>
                  <a:ext uri="{FF2B5EF4-FFF2-40B4-BE49-F238E27FC236}">
                    <a16:creationId xmlns:a16="http://schemas.microsoft.com/office/drawing/2014/main" id="{04479A5B-E80A-FA37-2689-BD08CCDA71CB}"/>
                  </a:ext>
                </a:extLst>
              </p:cNvPr>
              <p:cNvGrpSpPr/>
              <p:nvPr/>
            </p:nvGrpSpPr>
            <p:grpSpPr>
              <a:xfrm>
                <a:off x="8949188" y="5566650"/>
                <a:ext cx="33567" cy="148660"/>
                <a:chOff x="8949188" y="5566650"/>
                <a:chExt cx="33567" cy="148660"/>
              </a:xfrm>
              <a:grpFill/>
            </p:grpSpPr>
            <p:sp>
              <p:nvSpPr>
                <p:cNvPr id="4373" name="Freeform 5175">
                  <a:extLst>
                    <a:ext uri="{FF2B5EF4-FFF2-40B4-BE49-F238E27FC236}">
                      <a16:creationId xmlns:a16="http://schemas.microsoft.com/office/drawing/2014/main" id="{389C215D-6342-7E4F-840E-C063F4D57ABB}"/>
                    </a:ext>
                  </a:extLst>
                </p:cNvPr>
                <p:cNvSpPr/>
                <p:nvPr/>
              </p:nvSpPr>
              <p:spPr>
                <a:xfrm>
                  <a:off x="8961550" y="5586735"/>
                  <a:ext cx="3862" cy="52065"/>
                </a:xfrm>
                <a:custGeom>
                  <a:avLst/>
                  <a:gdLst>
                    <a:gd name="connsiteX0" fmla="*/ 3862 w 3862"/>
                    <a:gd name="connsiteY0" fmla="*/ 0 h 52065"/>
                    <a:gd name="connsiteX1" fmla="*/ 748 w 3862"/>
                    <a:gd name="connsiteY1" fmla="*/ 18559 h 52065"/>
                    <a:gd name="connsiteX2" fmla="*/ 3114 w 3862"/>
                    <a:gd name="connsiteY2" fmla="*/ 35873 h 52065"/>
                    <a:gd name="connsiteX3" fmla="*/ 0 w 38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0"/>
                      </a:moveTo>
                      <a:cubicBezTo>
                        <a:pt x="872" y="7847"/>
                        <a:pt x="623" y="14199"/>
                        <a:pt x="748"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4" name="Freeform 5176">
                  <a:extLst>
                    <a:ext uri="{FF2B5EF4-FFF2-40B4-BE49-F238E27FC236}">
                      <a16:creationId xmlns:a16="http://schemas.microsoft.com/office/drawing/2014/main" id="{F858F2B8-1290-70A2-3442-F6CEDCDF94CD}"/>
                    </a:ext>
                  </a:extLst>
                </p:cNvPr>
                <p:cNvSpPr/>
                <p:nvPr/>
              </p:nvSpPr>
              <p:spPr>
                <a:xfrm>
                  <a:off x="8968922" y="5582251"/>
                  <a:ext cx="5416" cy="52065"/>
                </a:xfrm>
                <a:custGeom>
                  <a:avLst/>
                  <a:gdLst>
                    <a:gd name="connsiteX0" fmla="*/ 1472 w 5416"/>
                    <a:gd name="connsiteY0" fmla="*/ 52065 h 52065"/>
                    <a:gd name="connsiteX1" fmla="*/ 600 w 5416"/>
                    <a:gd name="connsiteY1" fmla="*/ 33257 h 52065"/>
                    <a:gd name="connsiteX2" fmla="*/ 5084 w 5416"/>
                    <a:gd name="connsiteY2" fmla="*/ 16442 h 52065"/>
                    <a:gd name="connsiteX3" fmla="*/ 3839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1472" y="52065"/>
                      </a:moveTo>
                      <a:cubicBezTo>
                        <a:pt x="-520" y="43845"/>
                        <a:pt x="-147" y="37492"/>
                        <a:pt x="600" y="33257"/>
                      </a:cubicBezTo>
                      <a:cubicBezTo>
                        <a:pt x="1846" y="26406"/>
                        <a:pt x="4088" y="23417"/>
                        <a:pt x="5084" y="16442"/>
                      </a:cubicBezTo>
                      <a:cubicBezTo>
                        <a:pt x="5956" y="9591"/>
                        <a:pt x="4960" y="3737"/>
                        <a:pt x="38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5" name="Freeform 5177">
                  <a:extLst>
                    <a:ext uri="{FF2B5EF4-FFF2-40B4-BE49-F238E27FC236}">
                      <a16:creationId xmlns:a16="http://schemas.microsoft.com/office/drawing/2014/main" id="{4F69979A-2D09-FDFD-3B36-916F3D2096F8}"/>
                    </a:ext>
                  </a:extLst>
                </p:cNvPr>
                <p:cNvSpPr/>
                <p:nvPr/>
              </p:nvSpPr>
              <p:spPr>
                <a:xfrm>
                  <a:off x="8956164" y="5566650"/>
                  <a:ext cx="26592" cy="26469"/>
                </a:xfrm>
                <a:custGeom>
                  <a:avLst/>
                  <a:gdLst>
                    <a:gd name="connsiteX0" fmla="*/ 26562 w 26592"/>
                    <a:gd name="connsiteY0" fmla="*/ 14106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836" y="26936"/>
                        <a:pt x="12487" y="26438"/>
                      </a:cubicBezTo>
                      <a:cubicBezTo>
                        <a:pt x="5138" y="25940"/>
                        <a:pt x="-467" y="19587"/>
                        <a:pt x="31" y="12363"/>
                      </a:cubicBezTo>
                      <a:cubicBezTo>
                        <a:pt x="405" y="5014"/>
                        <a:pt x="6757" y="-467"/>
                        <a:pt x="14106" y="31"/>
                      </a:cubicBezTo>
                      <a:cubicBezTo>
                        <a:pt x="21455"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6" name="Freeform 5178">
                  <a:extLst>
                    <a:ext uri="{FF2B5EF4-FFF2-40B4-BE49-F238E27FC236}">
                      <a16:creationId xmlns:a16="http://schemas.microsoft.com/office/drawing/2014/main" id="{CA26BF0F-6888-31E2-600E-11E13CF007D5}"/>
                    </a:ext>
                  </a:extLst>
                </p:cNvPr>
                <p:cNvSpPr/>
                <p:nvPr/>
              </p:nvSpPr>
              <p:spPr>
                <a:xfrm>
                  <a:off x="8966284" y="5643160"/>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239" y="37866"/>
                        <a:pt x="3114" y="33506"/>
                      </a:cubicBezTo>
                      <a:cubicBezTo>
                        <a:pt x="2741" y="26531"/>
                        <a:pt x="872"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7" name="Freeform 5179">
                  <a:extLst>
                    <a:ext uri="{FF2B5EF4-FFF2-40B4-BE49-F238E27FC236}">
                      <a16:creationId xmlns:a16="http://schemas.microsoft.com/office/drawing/2014/main" id="{D784C6F9-80B5-0433-0269-C1996B110225}"/>
                    </a:ext>
                  </a:extLst>
                </p:cNvPr>
                <p:cNvSpPr/>
                <p:nvPr/>
              </p:nvSpPr>
              <p:spPr>
                <a:xfrm>
                  <a:off x="8957606" y="5647768"/>
                  <a:ext cx="5292" cy="52065"/>
                </a:xfrm>
                <a:custGeom>
                  <a:avLst/>
                  <a:gdLst>
                    <a:gd name="connsiteX0" fmla="*/ 3820 w 5292"/>
                    <a:gd name="connsiteY0" fmla="*/ 0 h 52065"/>
                    <a:gd name="connsiteX1" fmla="*/ 4692 w 5292"/>
                    <a:gd name="connsiteY1" fmla="*/ 18808 h 52065"/>
                    <a:gd name="connsiteX2" fmla="*/ 332 w 5292"/>
                    <a:gd name="connsiteY2" fmla="*/ 35623 h 52065"/>
                    <a:gd name="connsiteX3" fmla="*/ 1578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0"/>
                      </a:moveTo>
                      <a:cubicBezTo>
                        <a:pt x="5813" y="8221"/>
                        <a:pt x="5439" y="14573"/>
                        <a:pt x="4692" y="18808"/>
                      </a:cubicBezTo>
                      <a:cubicBezTo>
                        <a:pt x="3571" y="25659"/>
                        <a:pt x="1204" y="28648"/>
                        <a:pt x="332" y="35623"/>
                      </a:cubicBezTo>
                      <a:cubicBezTo>
                        <a:pt x="-540" y="42474"/>
                        <a:pt x="457" y="48328"/>
                        <a:pt x="15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8" name="Freeform 5180">
                  <a:extLst>
                    <a:ext uri="{FF2B5EF4-FFF2-40B4-BE49-F238E27FC236}">
                      <a16:creationId xmlns:a16="http://schemas.microsoft.com/office/drawing/2014/main" id="{4304A61E-150D-381C-54E8-07F3026B152B}"/>
                    </a:ext>
                  </a:extLst>
                </p:cNvPr>
                <p:cNvSpPr/>
                <p:nvPr/>
              </p:nvSpPr>
              <p:spPr>
                <a:xfrm>
                  <a:off x="8949188" y="5688841"/>
                  <a:ext cx="26343" cy="26469"/>
                </a:xfrm>
                <a:custGeom>
                  <a:avLst/>
                  <a:gdLst>
                    <a:gd name="connsiteX0" fmla="*/ 31 w 26343"/>
                    <a:gd name="connsiteY0" fmla="*/ 12363 h 26469"/>
                    <a:gd name="connsiteX1" fmla="*/ 13981 w 26343"/>
                    <a:gd name="connsiteY1" fmla="*/ 31 h 26469"/>
                    <a:gd name="connsiteX2" fmla="*/ 26313 w 26343"/>
                    <a:gd name="connsiteY2" fmla="*/ 14106 h 26469"/>
                    <a:gd name="connsiteX3" fmla="*/ 12362 w 26343"/>
                    <a:gd name="connsiteY3" fmla="*/ 26438 h 26469"/>
                    <a:gd name="connsiteX4" fmla="*/ 31 w 26343"/>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469">
                      <a:moveTo>
                        <a:pt x="31" y="12363"/>
                      </a:moveTo>
                      <a:cubicBezTo>
                        <a:pt x="405" y="5014"/>
                        <a:pt x="6633" y="-467"/>
                        <a:pt x="13981" y="31"/>
                      </a:cubicBezTo>
                      <a:cubicBezTo>
                        <a:pt x="21206" y="530"/>
                        <a:pt x="26811" y="6758"/>
                        <a:pt x="26313" y="14106"/>
                      </a:cubicBezTo>
                      <a:cubicBezTo>
                        <a:pt x="25814" y="21455"/>
                        <a:pt x="19586" y="26936"/>
                        <a:pt x="12362" y="26438"/>
                      </a:cubicBezTo>
                      <a:cubicBezTo>
                        <a:pt x="5138" y="26064"/>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2" name="Graphic 2987">
                <a:extLst>
                  <a:ext uri="{FF2B5EF4-FFF2-40B4-BE49-F238E27FC236}">
                    <a16:creationId xmlns:a16="http://schemas.microsoft.com/office/drawing/2014/main" id="{CEA5765B-7F43-A32D-62DD-05F033F6655B}"/>
                  </a:ext>
                </a:extLst>
              </p:cNvPr>
              <p:cNvGrpSpPr/>
              <p:nvPr/>
            </p:nvGrpSpPr>
            <p:grpSpPr>
              <a:xfrm>
                <a:off x="8978473" y="5568643"/>
                <a:ext cx="34052" cy="148660"/>
                <a:chOff x="8978473" y="5568643"/>
                <a:chExt cx="34052" cy="148660"/>
              </a:xfrm>
              <a:grpFill/>
            </p:grpSpPr>
            <p:sp>
              <p:nvSpPr>
                <p:cNvPr id="4367" name="Freeform 5182">
                  <a:extLst>
                    <a:ext uri="{FF2B5EF4-FFF2-40B4-BE49-F238E27FC236}">
                      <a16:creationId xmlns:a16="http://schemas.microsoft.com/office/drawing/2014/main" id="{8D9A7451-8F16-34A4-9877-995CF0176083}"/>
                    </a:ext>
                  </a:extLst>
                </p:cNvPr>
                <p:cNvSpPr/>
                <p:nvPr/>
              </p:nvSpPr>
              <p:spPr>
                <a:xfrm>
                  <a:off x="8991195" y="5588603"/>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9" y="14199"/>
                        <a:pt x="747" y="18559"/>
                      </a:cubicBezTo>
                      <a:cubicBezTo>
                        <a:pt x="1121" y="25534"/>
                        <a:pt x="2990" y="28773"/>
                        <a:pt x="3114" y="35873"/>
                      </a:cubicBezTo>
                      <a:cubicBezTo>
                        <a:pt x="3239" y="42723"/>
                        <a:pt x="1371"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8" name="Freeform 5183">
                  <a:extLst>
                    <a:ext uri="{FF2B5EF4-FFF2-40B4-BE49-F238E27FC236}">
                      <a16:creationId xmlns:a16="http://schemas.microsoft.com/office/drawing/2014/main" id="{51588E2F-7A00-39FA-6AFA-6D148218408B}"/>
                    </a:ext>
                  </a:extLst>
                </p:cNvPr>
                <p:cNvSpPr/>
                <p:nvPr/>
              </p:nvSpPr>
              <p:spPr>
                <a:xfrm>
                  <a:off x="8998442" y="5584119"/>
                  <a:ext cx="5418" cy="52065"/>
                </a:xfrm>
                <a:custGeom>
                  <a:avLst/>
                  <a:gdLst>
                    <a:gd name="connsiteX0" fmla="*/ 1472 w 5418"/>
                    <a:gd name="connsiteY0" fmla="*/ 52065 h 52065"/>
                    <a:gd name="connsiteX1" fmla="*/ 600 w 5418"/>
                    <a:gd name="connsiteY1" fmla="*/ 33257 h 52065"/>
                    <a:gd name="connsiteX2" fmla="*/ 5085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0" y="43845"/>
                        <a:pt x="-147" y="37492"/>
                        <a:pt x="600" y="33257"/>
                      </a:cubicBezTo>
                      <a:cubicBezTo>
                        <a:pt x="1846" y="26407"/>
                        <a:pt x="4088" y="23417"/>
                        <a:pt x="5085"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9" name="Freeform 5184">
                  <a:extLst>
                    <a:ext uri="{FF2B5EF4-FFF2-40B4-BE49-F238E27FC236}">
                      <a16:creationId xmlns:a16="http://schemas.microsoft.com/office/drawing/2014/main" id="{FC32EC5D-AC63-EEC4-055C-B9C68EAAC458}"/>
                    </a:ext>
                  </a:extLst>
                </p:cNvPr>
                <p:cNvSpPr/>
                <p:nvPr/>
              </p:nvSpPr>
              <p:spPr>
                <a:xfrm>
                  <a:off x="8985933" y="5568643"/>
                  <a:ext cx="26592" cy="26469"/>
                </a:xfrm>
                <a:custGeom>
                  <a:avLst/>
                  <a:gdLst>
                    <a:gd name="connsiteX0" fmla="*/ 26562 w 26592"/>
                    <a:gd name="connsiteY0" fmla="*/ 14107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7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7"/>
                      </a:moveTo>
                      <a:cubicBezTo>
                        <a:pt x="26064" y="21455"/>
                        <a:pt x="19836" y="26936"/>
                        <a:pt x="12487" y="26438"/>
                      </a:cubicBezTo>
                      <a:cubicBezTo>
                        <a:pt x="5138" y="25940"/>
                        <a:pt x="-467" y="19712"/>
                        <a:pt x="31" y="12363"/>
                      </a:cubicBezTo>
                      <a:cubicBezTo>
                        <a:pt x="529" y="5014"/>
                        <a:pt x="6757" y="-467"/>
                        <a:pt x="14106" y="31"/>
                      </a:cubicBezTo>
                      <a:cubicBezTo>
                        <a:pt x="21455" y="405"/>
                        <a:pt x="27060" y="6758"/>
                        <a:pt x="26562" y="141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0" name="Freeform 5185">
                  <a:extLst>
                    <a:ext uri="{FF2B5EF4-FFF2-40B4-BE49-F238E27FC236}">
                      <a16:creationId xmlns:a16="http://schemas.microsoft.com/office/drawing/2014/main" id="{1E68634D-ADFB-D0DF-01E4-2CE58C6AB416}"/>
                    </a:ext>
                  </a:extLst>
                </p:cNvPr>
                <p:cNvSpPr/>
                <p:nvPr/>
              </p:nvSpPr>
              <p:spPr>
                <a:xfrm>
                  <a:off x="8995680" y="5645153"/>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89" y="44218"/>
                        <a:pt x="3363" y="37865"/>
                        <a:pt x="3114" y="33506"/>
                      </a:cubicBezTo>
                      <a:cubicBezTo>
                        <a:pt x="2740" y="26531"/>
                        <a:pt x="872" y="23292"/>
                        <a:pt x="747" y="16192"/>
                      </a:cubicBezTo>
                      <a:cubicBezTo>
                        <a:pt x="623" y="9342"/>
                        <a:pt x="2491"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1" name="Freeform 5186">
                  <a:extLst>
                    <a:ext uri="{FF2B5EF4-FFF2-40B4-BE49-F238E27FC236}">
                      <a16:creationId xmlns:a16="http://schemas.microsoft.com/office/drawing/2014/main" id="{3CFDA5EB-3FD4-88B0-9475-984D7B88C9A8}"/>
                    </a:ext>
                  </a:extLst>
                </p:cNvPr>
                <p:cNvSpPr/>
                <p:nvPr/>
              </p:nvSpPr>
              <p:spPr>
                <a:xfrm>
                  <a:off x="8986999" y="5649636"/>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6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573"/>
                        <a:pt x="4819" y="18808"/>
                      </a:cubicBezTo>
                      <a:cubicBezTo>
                        <a:pt x="3573" y="25659"/>
                        <a:pt x="1331" y="28648"/>
                        <a:pt x="334" y="35624"/>
                      </a:cubicBezTo>
                      <a:cubicBezTo>
                        <a:pt x="-538" y="42474"/>
                        <a:pt x="459" y="48328"/>
                        <a:pt x="145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2" name="Freeform 5187">
                  <a:extLst>
                    <a:ext uri="{FF2B5EF4-FFF2-40B4-BE49-F238E27FC236}">
                      <a16:creationId xmlns:a16="http://schemas.microsoft.com/office/drawing/2014/main" id="{99D488C1-ED90-49DE-D1B5-5927956A9FDC}"/>
                    </a:ext>
                  </a:extLst>
                </p:cNvPr>
                <p:cNvSpPr/>
                <p:nvPr/>
              </p:nvSpPr>
              <p:spPr>
                <a:xfrm>
                  <a:off x="8978473" y="5690834"/>
                  <a:ext cx="26330" cy="26469"/>
                </a:xfrm>
                <a:custGeom>
                  <a:avLst/>
                  <a:gdLst>
                    <a:gd name="connsiteX0" fmla="*/ 18 w 26330"/>
                    <a:gd name="connsiteY0" fmla="*/ 12363 h 26469"/>
                    <a:gd name="connsiteX1" fmla="*/ 13968 w 26330"/>
                    <a:gd name="connsiteY1" fmla="*/ 31 h 26469"/>
                    <a:gd name="connsiteX2" fmla="*/ 26300 w 26330"/>
                    <a:gd name="connsiteY2" fmla="*/ 14106 h 26469"/>
                    <a:gd name="connsiteX3" fmla="*/ 12349 w 26330"/>
                    <a:gd name="connsiteY3" fmla="*/ 26438 h 26469"/>
                    <a:gd name="connsiteX4" fmla="*/ 18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18" y="12363"/>
                      </a:moveTo>
                      <a:cubicBezTo>
                        <a:pt x="516" y="5014"/>
                        <a:pt x="6744" y="-467"/>
                        <a:pt x="13968" y="31"/>
                      </a:cubicBezTo>
                      <a:cubicBezTo>
                        <a:pt x="21193" y="530"/>
                        <a:pt x="26798" y="6758"/>
                        <a:pt x="26300" y="14106"/>
                      </a:cubicBezTo>
                      <a:cubicBezTo>
                        <a:pt x="25802" y="21455"/>
                        <a:pt x="19574" y="26936"/>
                        <a:pt x="12349" y="26438"/>
                      </a:cubicBezTo>
                      <a:cubicBezTo>
                        <a:pt x="5125" y="25940"/>
                        <a:pt x="-356" y="19587"/>
                        <a:pt x="18"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3" name="Graphic 2987">
                <a:extLst>
                  <a:ext uri="{FF2B5EF4-FFF2-40B4-BE49-F238E27FC236}">
                    <a16:creationId xmlns:a16="http://schemas.microsoft.com/office/drawing/2014/main" id="{34ED3283-3ED4-75CD-EF3C-0E54889A87EF}"/>
                  </a:ext>
                </a:extLst>
              </p:cNvPr>
              <p:cNvGrpSpPr/>
              <p:nvPr/>
            </p:nvGrpSpPr>
            <p:grpSpPr>
              <a:xfrm>
                <a:off x="9007855" y="5570511"/>
                <a:ext cx="34315" cy="148660"/>
                <a:chOff x="9007855" y="5570511"/>
                <a:chExt cx="34315" cy="148660"/>
              </a:xfrm>
              <a:grpFill/>
            </p:grpSpPr>
            <p:sp>
              <p:nvSpPr>
                <p:cNvPr id="4361" name="Freeform 5189">
                  <a:extLst>
                    <a:ext uri="{FF2B5EF4-FFF2-40B4-BE49-F238E27FC236}">
                      <a16:creationId xmlns:a16="http://schemas.microsoft.com/office/drawing/2014/main" id="{8CBECCA3-E100-3933-07C3-C4CE68DFDAFE}"/>
                    </a:ext>
                  </a:extLst>
                </p:cNvPr>
                <p:cNvSpPr/>
                <p:nvPr/>
              </p:nvSpPr>
              <p:spPr>
                <a:xfrm>
                  <a:off x="9020715" y="5590596"/>
                  <a:ext cx="4110" cy="52065"/>
                </a:xfrm>
                <a:custGeom>
                  <a:avLst/>
                  <a:gdLst>
                    <a:gd name="connsiteX0" fmla="*/ 4111 w 4110"/>
                    <a:gd name="connsiteY0" fmla="*/ 0 h 52065"/>
                    <a:gd name="connsiteX1" fmla="*/ 872 w 4110"/>
                    <a:gd name="connsiteY1" fmla="*/ 18559 h 52065"/>
                    <a:gd name="connsiteX2" fmla="*/ 3239 w 4110"/>
                    <a:gd name="connsiteY2" fmla="*/ 35873 h 52065"/>
                    <a:gd name="connsiteX3" fmla="*/ 0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4111" y="0"/>
                      </a:moveTo>
                      <a:cubicBezTo>
                        <a:pt x="1121" y="7847"/>
                        <a:pt x="748" y="14199"/>
                        <a:pt x="872" y="18559"/>
                      </a:cubicBezTo>
                      <a:cubicBezTo>
                        <a:pt x="1246" y="25534"/>
                        <a:pt x="3114" y="28773"/>
                        <a:pt x="3239"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2" name="Freeform 5190">
                  <a:extLst>
                    <a:ext uri="{FF2B5EF4-FFF2-40B4-BE49-F238E27FC236}">
                      <a16:creationId xmlns:a16="http://schemas.microsoft.com/office/drawing/2014/main" id="{7201CF71-0131-0597-B85C-6DC264C019D1}"/>
                    </a:ext>
                  </a:extLst>
                </p:cNvPr>
                <p:cNvSpPr/>
                <p:nvPr/>
              </p:nvSpPr>
              <p:spPr>
                <a:xfrm>
                  <a:off x="9028031" y="5585988"/>
                  <a:ext cx="5528" cy="52065"/>
                </a:xfrm>
                <a:custGeom>
                  <a:avLst/>
                  <a:gdLst>
                    <a:gd name="connsiteX0" fmla="*/ 1403 w 5528"/>
                    <a:gd name="connsiteY0" fmla="*/ 52065 h 52065"/>
                    <a:gd name="connsiteX1" fmla="*/ 656 w 5528"/>
                    <a:gd name="connsiteY1" fmla="*/ 33257 h 52065"/>
                    <a:gd name="connsiteX2" fmla="*/ 5140 w 5528"/>
                    <a:gd name="connsiteY2" fmla="*/ 16441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9" y="23417"/>
                        <a:pt x="5140" y="16441"/>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3" name="Freeform 5191">
                  <a:extLst>
                    <a:ext uri="{FF2B5EF4-FFF2-40B4-BE49-F238E27FC236}">
                      <a16:creationId xmlns:a16="http://schemas.microsoft.com/office/drawing/2014/main" id="{360C02E4-96FE-1EAB-F58C-A266A18AF5E6}"/>
                    </a:ext>
                  </a:extLst>
                </p:cNvPr>
                <p:cNvSpPr/>
                <p:nvPr/>
              </p:nvSpPr>
              <p:spPr>
                <a:xfrm>
                  <a:off x="9015453" y="5570511"/>
                  <a:ext cx="26717" cy="26469"/>
                </a:xfrm>
                <a:custGeom>
                  <a:avLst/>
                  <a:gdLst>
                    <a:gd name="connsiteX0" fmla="*/ 26686 w 26717"/>
                    <a:gd name="connsiteY0" fmla="*/ 14106 h 26469"/>
                    <a:gd name="connsiteX1" fmla="*/ 12487 w 26717"/>
                    <a:gd name="connsiteY1" fmla="*/ 26438 h 26469"/>
                    <a:gd name="connsiteX2" fmla="*/ 31 w 26717"/>
                    <a:gd name="connsiteY2" fmla="*/ 12363 h 26469"/>
                    <a:gd name="connsiteX3" fmla="*/ 14231 w 26717"/>
                    <a:gd name="connsiteY3" fmla="*/ 31 h 26469"/>
                    <a:gd name="connsiteX4" fmla="*/ 26686 w 26717"/>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469">
                      <a:moveTo>
                        <a:pt x="26686" y="14106"/>
                      </a:moveTo>
                      <a:cubicBezTo>
                        <a:pt x="26188" y="21455"/>
                        <a:pt x="19836" y="26936"/>
                        <a:pt x="12487" y="26438"/>
                      </a:cubicBezTo>
                      <a:cubicBezTo>
                        <a:pt x="5138" y="25940"/>
                        <a:pt x="-467" y="19712"/>
                        <a:pt x="31" y="12363"/>
                      </a:cubicBezTo>
                      <a:cubicBezTo>
                        <a:pt x="529" y="5014"/>
                        <a:pt x="6881" y="-467"/>
                        <a:pt x="14231" y="31"/>
                      </a:cubicBezTo>
                      <a:cubicBezTo>
                        <a:pt x="21580" y="530"/>
                        <a:pt x="27184" y="6758"/>
                        <a:pt x="26686"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4" name="Freeform 5192">
                  <a:extLst>
                    <a:ext uri="{FF2B5EF4-FFF2-40B4-BE49-F238E27FC236}">
                      <a16:creationId xmlns:a16="http://schemas.microsoft.com/office/drawing/2014/main" id="{5F26BB43-ABD6-B300-1098-A333FF845E28}"/>
                    </a:ext>
                  </a:extLst>
                </p:cNvPr>
                <p:cNvSpPr/>
                <p:nvPr/>
              </p:nvSpPr>
              <p:spPr>
                <a:xfrm>
                  <a:off x="9025075" y="5647021"/>
                  <a:ext cx="4234" cy="52065"/>
                </a:xfrm>
                <a:custGeom>
                  <a:avLst/>
                  <a:gdLst>
                    <a:gd name="connsiteX0" fmla="*/ 0 w 4234"/>
                    <a:gd name="connsiteY0" fmla="*/ 52065 h 52065"/>
                    <a:gd name="connsiteX1" fmla="*/ 3239 w 4234"/>
                    <a:gd name="connsiteY1" fmla="*/ 33506 h 52065"/>
                    <a:gd name="connsiteX2" fmla="*/ 997 w 4234"/>
                    <a:gd name="connsiteY2" fmla="*/ 16192 h 52065"/>
                    <a:gd name="connsiteX3" fmla="*/ 4235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0" y="52065"/>
                      </a:moveTo>
                      <a:cubicBezTo>
                        <a:pt x="2989" y="44218"/>
                        <a:pt x="3363" y="37866"/>
                        <a:pt x="3239" y="33506"/>
                      </a:cubicBezTo>
                      <a:cubicBezTo>
                        <a:pt x="2865" y="26531"/>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5" name="Freeform 5193">
                  <a:extLst>
                    <a:ext uri="{FF2B5EF4-FFF2-40B4-BE49-F238E27FC236}">
                      <a16:creationId xmlns:a16="http://schemas.microsoft.com/office/drawing/2014/main" id="{188E1C7B-D8BF-B7C1-FADB-F156215C2705}"/>
                    </a:ext>
                  </a:extLst>
                </p:cNvPr>
                <p:cNvSpPr/>
                <p:nvPr/>
              </p:nvSpPr>
              <p:spPr>
                <a:xfrm>
                  <a:off x="9016395" y="5651629"/>
                  <a:ext cx="5474" cy="52065"/>
                </a:xfrm>
                <a:custGeom>
                  <a:avLst/>
                  <a:gdLst>
                    <a:gd name="connsiteX0" fmla="*/ 4071 w 5474"/>
                    <a:gd name="connsiteY0" fmla="*/ 0 h 52065"/>
                    <a:gd name="connsiteX1" fmla="*/ 4818 w 5474"/>
                    <a:gd name="connsiteY1" fmla="*/ 18808 h 52065"/>
                    <a:gd name="connsiteX2" fmla="*/ 335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2" y="25659"/>
                        <a:pt x="1330" y="28648"/>
                        <a:pt x="335" y="35624"/>
                      </a:cubicBezTo>
                      <a:cubicBezTo>
                        <a:pt x="-537" y="42474"/>
                        <a:pt x="458"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6" name="Freeform 5194">
                  <a:extLst>
                    <a:ext uri="{FF2B5EF4-FFF2-40B4-BE49-F238E27FC236}">
                      <a16:creationId xmlns:a16="http://schemas.microsoft.com/office/drawing/2014/main" id="{230AD9EA-2CAA-F5EF-66F1-C586F7DA0501}"/>
                    </a:ext>
                  </a:extLst>
                </p:cNvPr>
                <p:cNvSpPr/>
                <p:nvPr/>
              </p:nvSpPr>
              <p:spPr>
                <a:xfrm>
                  <a:off x="9007855" y="5692702"/>
                  <a:ext cx="26330" cy="26469"/>
                </a:xfrm>
                <a:custGeom>
                  <a:avLst/>
                  <a:gdLst>
                    <a:gd name="connsiteX0" fmla="*/ 31 w 26330"/>
                    <a:gd name="connsiteY0" fmla="*/ 12363 h 26469"/>
                    <a:gd name="connsiteX1" fmla="*/ 13982 w 26330"/>
                    <a:gd name="connsiteY1" fmla="*/ 31 h 26469"/>
                    <a:gd name="connsiteX2" fmla="*/ 26313 w 26330"/>
                    <a:gd name="connsiteY2" fmla="*/ 14106 h 26469"/>
                    <a:gd name="connsiteX3" fmla="*/ 12362 w 26330"/>
                    <a:gd name="connsiteY3" fmla="*/ 26438 h 26469"/>
                    <a:gd name="connsiteX4" fmla="*/ 31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31" y="12363"/>
                      </a:moveTo>
                      <a:cubicBezTo>
                        <a:pt x="529" y="5014"/>
                        <a:pt x="6757" y="-467"/>
                        <a:pt x="13982" y="31"/>
                      </a:cubicBezTo>
                      <a:cubicBezTo>
                        <a:pt x="21206" y="530"/>
                        <a:pt x="26687" y="6758"/>
                        <a:pt x="26313" y="14106"/>
                      </a:cubicBezTo>
                      <a:cubicBezTo>
                        <a:pt x="25815" y="21455"/>
                        <a:pt x="19587" y="26936"/>
                        <a:pt x="12362" y="26438"/>
                      </a:cubicBezTo>
                      <a:cubicBezTo>
                        <a:pt x="5014" y="25940"/>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4" name="Graphic 2987">
                <a:extLst>
                  <a:ext uri="{FF2B5EF4-FFF2-40B4-BE49-F238E27FC236}">
                    <a16:creationId xmlns:a16="http://schemas.microsoft.com/office/drawing/2014/main" id="{ACC8F793-4A76-9194-A64A-FD1B2313A90F}"/>
                  </a:ext>
                </a:extLst>
              </p:cNvPr>
              <p:cNvGrpSpPr/>
              <p:nvPr/>
            </p:nvGrpSpPr>
            <p:grpSpPr>
              <a:xfrm>
                <a:off x="9037126" y="5572504"/>
                <a:ext cx="34814" cy="148535"/>
                <a:chOff x="9037126" y="5572504"/>
                <a:chExt cx="34814" cy="148535"/>
              </a:xfrm>
              <a:grpFill/>
            </p:grpSpPr>
            <p:sp>
              <p:nvSpPr>
                <p:cNvPr id="4355" name="Freeform 5196">
                  <a:extLst>
                    <a:ext uri="{FF2B5EF4-FFF2-40B4-BE49-F238E27FC236}">
                      <a16:creationId xmlns:a16="http://schemas.microsoft.com/office/drawing/2014/main" id="{9AA86C0D-80C8-1E8A-EAC0-CE90DCD7E1CE}"/>
                    </a:ext>
                  </a:extLst>
                </p:cNvPr>
                <p:cNvSpPr/>
                <p:nvPr/>
              </p:nvSpPr>
              <p:spPr>
                <a:xfrm>
                  <a:off x="9050236" y="5592465"/>
                  <a:ext cx="4234" cy="52065"/>
                </a:xfrm>
                <a:custGeom>
                  <a:avLst/>
                  <a:gdLst>
                    <a:gd name="connsiteX0" fmla="*/ 4235 w 4234"/>
                    <a:gd name="connsiteY0" fmla="*/ 0 h 52065"/>
                    <a:gd name="connsiteX1" fmla="*/ 996 w 4234"/>
                    <a:gd name="connsiteY1" fmla="*/ 18559 h 52065"/>
                    <a:gd name="connsiteX2" fmla="*/ 3238 w 4234"/>
                    <a:gd name="connsiteY2" fmla="*/ 35873 h 52065"/>
                    <a:gd name="connsiteX3" fmla="*/ 0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0"/>
                      </a:moveTo>
                      <a:cubicBezTo>
                        <a:pt x="1245" y="7847"/>
                        <a:pt x="747" y="14200"/>
                        <a:pt x="996" y="18559"/>
                      </a:cubicBezTo>
                      <a:cubicBezTo>
                        <a:pt x="1370" y="25534"/>
                        <a:pt x="3238" y="28773"/>
                        <a:pt x="3238" y="35873"/>
                      </a:cubicBezTo>
                      <a:cubicBezTo>
                        <a:pt x="3238"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6" name="Freeform 5197">
                  <a:extLst>
                    <a:ext uri="{FF2B5EF4-FFF2-40B4-BE49-F238E27FC236}">
                      <a16:creationId xmlns:a16="http://schemas.microsoft.com/office/drawing/2014/main" id="{4F60B735-B0D9-D09F-8ADB-27AF36F22898}"/>
                    </a:ext>
                  </a:extLst>
                </p:cNvPr>
                <p:cNvSpPr/>
                <p:nvPr/>
              </p:nvSpPr>
              <p:spPr>
                <a:xfrm>
                  <a:off x="9057720" y="5587981"/>
                  <a:ext cx="5633" cy="52065"/>
                </a:xfrm>
                <a:custGeom>
                  <a:avLst/>
                  <a:gdLst>
                    <a:gd name="connsiteX0" fmla="*/ 1359 w 5633"/>
                    <a:gd name="connsiteY0" fmla="*/ 52065 h 52065"/>
                    <a:gd name="connsiteX1" fmla="*/ 612 w 5633"/>
                    <a:gd name="connsiteY1" fmla="*/ 33257 h 52065"/>
                    <a:gd name="connsiteX2" fmla="*/ 5221 w 5633"/>
                    <a:gd name="connsiteY2" fmla="*/ 16441 h 52065"/>
                    <a:gd name="connsiteX3" fmla="*/ 4225 w 5633"/>
                    <a:gd name="connsiteY3" fmla="*/ 0 h 52065"/>
                  </a:gdLst>
                  <a:ahLst/>
                  <a:cxnLst>
                    <a:cxn ang="0">
                      <a:pos x="connsiteX0" y="connsiteY0"/>
                    </a:cxn>
                    <a:cxn ang="0">
                      <a:pos x="connsiteX1" y="connsiteY1"/>
                    </a:cxn>
                    <a:cxn ang="0">
                      <a:pos x="connsiteX2" y="connsiteY2"/>
                    </a:cxn>
                    <a:cxn ang="0">
                      <a:pos x="connsiteX3" y="connsiteY3"/>
                    </a:cxn>
                  </a:cxnLst>
                  <a:rect l="l" t="t" r="r" b="b"/>
                  <a:pathLst>
                    <a:path w="5633" h="52065">
                      <a:moveTo>
                        <a:pt x="1359" y="52065"/>
                      </a:moveTo>
                      <a:cubicBezTo>
                        <a:pt x="-508" y="43844"/>
                        <a:pt x="-135" y="37616"/>
                        <a:pt x="612" y="33257"/>
                      </a:cubicBezTo>
                      <a:cubicBezTo>
                        <a:pt x="1858" y="26406"/>
                        <a:pt x="4225" y="23417"/>
                        <a:pt x="5221" y="16441"/>
                      </a:cubicBezTo>
                      <a:cubicBezTo>
                        <a:pt x="6217" y="9591"/>
                        <a:pt x="5221" y="3737"/>
                        <a:pt x="42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7" name="Freeform 5198">
                  <a:extLst>
                    <a:ext uri="{FF2B5EF4-FFF2-40B4-BE49-F238E27FC236}">
                      <a16:creationId xmlns:a16="http://schemas.microsoft.com/office/drawing/2014/main" id="{8C4877FA-56E2-58FE-CAF3-0BBD890CE29B}"/>
                    </a:ext>
                  </a:extLst>
                </p:cNvPr>
                <p:cNvSpPr/>
                <p:nvPr/>
              </p:nvSpPr>
              <p:spPr>
                <a:xfrm>
                  <a:off x="9045235" y="5572504"/>
                  <a:ext cx="26704" cy="26469"/>
                </a:xfrm>
                <a:custGeom>
                  <a:avLst/>
                  <a:gdLst>
                    <a:gd name="connsiteX0" fmla="*/ 26674 w 26704"/>
                    <a:gd name="connsiteY0" fmla="*/ 14106 h 26469"/>
                    <a:gd name="connsiteX1" fmla="*/ 12474 w 26704"/>
                    <a:gd name="connsiteY1" fmla="*/ 26438 h 26469"/>
                    <a:gd name="connsiteX2" fmla="*/ 18 w 26704"/>
                    <a:gd name="connsiteY2" fmla="*/ 12363 h 26469"/>
                    <a:gd name="connsiteX3" fmla="*/ 14218 w 26704"/>
                    <a:gd name="connsiteY3" fmla="*/ 31 h 26469"/>
                    <a:gd name="connsiteX4" fmla="*/ 26674 w 26704"/>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4" h="26469">
                      <a:moveTo>
                        <a:pt x="26674" y="14106"/>
                      </a:moveTo>
                      <a:cubicBezTo>
                        <a:pt x="26175" y="21455"/>
                        <a:pt x="19823" y="26936"/>
                        <a:pt x="12474" y="26438"/>
                      </a:cubicBezTo>
                      <a:cubicBezTo>
                        <a:pt x="5125" y="25940"/>
                        <a:pt x="-356" y="19712"/>
                        <a:pt x="18" y="12363"/>
                      </a:cubicBezTo>
                      <a:cubicBezTo>
                        <a:pt x="516" y="5014"/>
                        <a:pt x="6869" y="-467"/>
                        <a:pt x="14218" y="31"/>
                      </a:cubicBezTo>
                      <a:cubicBezTo>
                        <a:pt x="21566" y="405"/>
                        <a:pt x="27172" y="6758"/>
                        <a:pt x="26674"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8" name="Freeform 5199">
                  <a:extLst>
                    <a:ext uri="{FF2B5EF4-FFF2-40B4-BE49-F238E27FC236}">
                      <a16:creationId xmlns:a16="http://schemas.microsoft.com/office/drawing/2014/main" id="{70A23DE1-846E-C53F-3133-D8EF209798BB}"/>
                    </a:ext>
                  </a:extLst>
                </p:cNvPr>
                <p:cNvSpPr/>
                <p:nvPr/>
              </p:nvSpPr>
              <p:spPr>
                <a:xfrm>
                  <a:off x="9054346" y="5648889"/>
                  <a:ext cx="4235" cy="52065"/>
                </a:xfrm>
                <a:custGeom>
                  <a:avLst/>
                  <a:gdLst>
                    <a:gd name="connsiteX0" fmla="*/ 0 w 4235"/>
                    <a:gd name="connsiteY0" fmla="*/ 52065 h 52065"/>
                    <a:gd name="connsiteX1" fmla="*/ 3239 w 4235"/>
                    <a:gd name="connsiteY1" fmla="*/ 33506 h 52065"/>
                    <a:gd name="connsiteX2" fmla="*/ 997 w 4235"/>
                    <a:gd name="connsiteY2" fmla="*/ 16192 h 52065"/>
                    <a:gd name="connsiteX3" fmla="*/ 4235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0" y="52065"/>
                      </a:moveTo>
                      <a:cubicBezTo>
                        <a:pt x="2989" y="44218"/>
                        <a:pt x="3363" y="37866"/>
                        <a:pt x="3239" y="33506"/>
                      </a:cubicBezTo>
                      <a:cubicBezTo>
                        <a:pt x="2989" y="26531"/>
                        <a:pt x="997" y="23292"/>
                        <a:pt x="997" y="16192"/>
                      </a:cubicBezTo>
                      <a:cubicBezTo>
                        <a:pt x="997" y="9342"/>
                        <a:pt x="2741"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9" name="Freeform 5200">
                  <a:extLst>
                    <a:ext uri="{FF2B5EF4-FFF2-40B4-BE49-F238E27FC236}">
                      <a16:creationId xmlns:a16="http://schemas.microsoft.com/office/drawing/2014/main" id="{7AB068B8-2018-A532-5D20-635FCB29685F}"/>
                    </a:ext>
                  </a:extLst>
                </p:cNvPr>
                <p:cNvSpPr/>
                <p:nvPr/>
              </p:nvSpPr>
              <p:spPr>
                <a:xfrm>
                  <a:off x="9045713" y="5653498"/>
                  <a:ext cx="5509" cy="52065"/>
                </a:xfrm>
                <a:custGeom>
                  <a:avLst/>
                  <a:gdLst>
                    <a:gd name="connsiteX0" fmla="*/ 4149 w 5509"/>
                    <a:gd name="connsiteY0" fmla="*/ 0 h 52065"/>
                    <a:gd name="connsiteX1" fmla="*/ 4897 w 5509"/>
                    <a:gd name="connsiteY1" fmla="*/ 18808 h 52065"/>
                    <a:gd name="connsiteX2" fmla="*/ 413 w 5509"/>
                    <a:gd name="connsiteY2" fmla="*/ 35624 h 52065"/>
                    <a:gd name="connsiteX3" fmla="*/ 1410 w 550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09" h="52065">
                      <a:moveTo>
                        <a:pt x="4149" y="0"/>
                      </a:moveTo>
                      <a:cubicBezTo>
                        <a:pt x="6018" y="8221"/>
                        <a:pt x="5644" y="14449"/>
                        <a:pt x="4897" y="18808"/>
                      </a:cubicBezTo>
                      <a:cubicBezTo>
                        <a:pt x="3651" y="25659"/>
                        <a:pt x="1285" y="28648"/>
                        <a:pt x="413" y="35624"/>
                      </a:cubicBezTo>
                      <a:cubicBezTo>
                        <a:pt x="-584" y="42474"/>
                        <a:pt x="413" y="48328"/>
                        <a:pt x="14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0" name="Freeform 5201">
                  <a:extLst>
                    <a:ext uri="{FF2B5EF4-FFF2-40B4-BE49-F238E27FC236}">
                      <a16:creationId xmlns:a16="http://schemas.microsoft.com/office/drawing/2014/main" id="{4FEDC3A8-45E7-20A1-743A-F1E4B3B573BC}"/>
                    </a:ext>
                  </a:extLst>
                </p:cNvPr>
                <p:cNvSpPr/>
                <p:nvPr/>
              </p:nvSpPr>
              <p:spPr>
                <a:xfrm>
                  <a:off x="9037126" y="5694571"/>
                  <a:ext cx="26345" cy="26469"/>
                </a:xfrm>
                <a:custGeom>
                  <a:avLst/>
                  <a:gdLst>
                    <a:gd name="connsiteX0" fmla="*/ 31 w 26345"/>
                    <a:gd name="connsiteY0" fmla="*/ 12363 h 26469"/>
                    <a:gd name="connsiteX1" fmla="*/ 14106 w 26345"/>
                    <a:gd name="connsiteY1" fmla="*/ 31 h 26469"/>
                    <a:gd name="connsiteX2" fmla="*/ 26314 w 26345"/>
                    <a:gd name="connsiteY2" fmla="*/ 14106 h 26469"/>
                    <a:gd name="connsiteX3" fmla="*/ 12239 w 26345"/>
                    <a:gd name="connsiteY3" fmla="*/ 26438 h 26469"/>
                    <a:gd name="connsiteX4" fmla="*/ 31 w 26345"/>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1" y="12363"/>
                      </a:moveTo>
                      <a:cubicBezTo>
                        <a:pt x="530" y="5014"/>
                        <a:pt x="6758" y="-467"/>
                        <a:pt x="14106" y="31"/>
                      </a:cubicBezTo>
                      <a:cubicBezTo>
                        <a:pt x="21331" y="529"/>
                        <a:pt x="26812" y="6757"/>
                        <a:pt x="26314" y="14106"/>
                      </a:cubicBezTo>
                      <a:cubicBezTo>
                        <a:pt x="25815" y="21455"/>
                        <a:pt x="19587" y="26936"/>
                        <a:pt x="12239" y="26438"/>
                      </a:cubicBezTo>
                      <a:cubicBezTo>
                        <a:pt x="5014" y="26064"/>
                        <a:pt x="-467" y="19711"/>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5" name="Graphic 2987">
                <a:extLst>
                  <a:ext uri="{FF2B5EF4-FFF2-40B4-BE49-F238E27FC236}">
                    <a16:creationId xmlns:a16="http://schemas.microsoft.com/office/drawing/2014/main" id="{45E493B5-74E6-01F9-840C-6E0C3E0F6AA0}"/>
                  </a:ext>
                </a:extLst>
              </p:cNvPr>
              <p:cNvGrpSpPr/>
              <p:nvPr/>
            </p:nvGrpSpPr>
            <p:grpSpPr>
              <a:xfrm>
                <a:off x="9066522" y="5574372"/>
                <a:ext cx="35187" cy="148660"/>
                <a:chOff x="9066522" y="5574372"/>
                <a:chExt cx="35187" cy="148660"/>
              </a:xfrm>
              <a:grpFill/>
            </p:grpSpPr>
            <p:sp>
              <p:nvSpPr>
                <p:cNvPr id="4349" name="Freeform 5203">
                  <a:extLst>
                    <a:ext uri="{FF2B5EF4-FFF2-40B4-BE49-F238E27FC236}">
                      <a16:creationId xmlns:a16="http://schemas.microsoft.com/office/drawing/2014/main" id="{4381C2E5-6F92-B398-D1A6-580C24F94347}"/>
                    </a:ext>
                  </a:extLst>
                </p:cNvPr>
                <p:cNvSpPr/>
                <p:nvPr/>
              </p:nvSpPr>
              <p:spPr>
                <a:xfrm>
                  <a:off x="9079880" y="5594458"/>
                  <a:ext cx="4359" cy="52065"/>
                </a:xfrm>
                <a:custGeom>
                  <a:avLst/>
                  <a:gdLst>
                    <a:gd name="connsiteX0" fmla="*/ 4360 w 4359"/>
                    <a:gd name="connsiteY0" fmla="*/ 0 h 52065"/>
                    <a:gd name="connsiteX1" fmla="*/ 1121 w 4359"/>
                    <a:gd name="connsiteY1" fmla="*/ 18559 h 52065"/>
                    <a:gd name="connsiteX2" fmla="*/ 3363 w 4359"/>
                    <a:gd name="connsiteY2" fmla="*/ 35873 h 52065"/>
                    <a:gd name="connsiteX3" fmla="*/ 0 w 435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359" h="52065">
                      <a:moveTo>
                        <a:pt x="4360" y="0"/>
                      </a:moveTo>
                      <a:cubicBezTo>
                        <a:pt x="1371" y="7847"/>
                        <a:pt x="872" y="14199"/>
                        <a:pt x="1121" y="18559"/>
                      </a:cubicBezTo>
                      <a:cubicBezTo>
                        <a:pt x="1371" y="25534"/>
                        <a:pt x="3363" y="28773"/>
                        <a:pt x="3363" y="35873"/>
                      </a:cubicBezTo>
                      <a:cubicBezTo>
                        <a:pt x="3363" y="42723"/>
                        <a:pt x="1619"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0" name="Freeform 5204">
                  <a:extLst>
                    <a:ext uri="{FF2B5EF4-FFF2-40B4-BE49-F238E27FC236}">
                      <a16:creationId xmlns:a16="http://schemas.microsoft.com/office/drawing/2014/main" id="{E8FA42C5-723A-28D5-A23C-ED973813F0B5}"/>
                    </a:ext>
                  </a:extLst>
                </p:cNvPr>
                <p:cNvSpPr/>
                <p:nvPr/>
              </p:nvSpPr>
              <p:spPr>
                <a:xfrm>
                  <a:off x="9087258" y="5589849"/>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0" y="23417"/>
                        <a:pt x="5327" y="16442"/>
                      </a:cubicBezTo>
                      <a:cubicBezTo>
                        <a:pt x="6324" y="9591"/>
                        <a:pt x="5327" y="3737"/>
                        <a:pt x="4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1" name="Freeform 5205">
                  <a:extLst>
                    <a:ext uri="{FF2B5EF4-FFF2-40B4-BE49-F238E27FC236}">
                      <a16:creationId xmlns:a16="http://schemas.microsoft.com/office/drawing/2014/main" id="{37EEB5A3-2DAC-2DB9-6F5D-934731178615}"/>
                    </a:ext>
                  </a:extLst>
                </p:cNvPr>
                <p:cNvSpPr/>
                <p:nvPr/>
              </p:nvSpPr>
              <p:spPr>
                <a:xfrm>
                  <a:off x="9075116" y="5574372"/>
                  <a:ext cx="26593" cy="26469"/>
                </a:xfrm>
                <a:custGeom>
                  <a:avLst/>
                  <a:gdLst>
                    <a:gd name="connsiteX0" fmla="*/ 26562 w 26593"/>
                    <a:gd name="connsiteY0" fmla="*/ 14106 h 26469"/>
                    <a:gd name="connsiteX1" fmla="*/ 12363 w 26593"/>
                    <a:gd name="connsiteY1" fmla="*/ 26438 h 26469"/>
                    <a:gd name="connsiteX2" fmla="*/ 32 w 26593"/>
                    <a:gd name="connsiteY2" fmla="*/ 12363 h 26469"/>
                    <a:gd name="connsiteX3" fmla="*/ 14231 w 26593"/>
                    <a:gd name="connsiteY3" fmla="*/ 31 h 26469"/>
                    <a:gd name="connsiteX4" fmla="*/ 26562 w 26593"/>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711" y="26936"/>
                        <a:pt x="12363" y="26438"/>
                      </a:cubicBezTo>
                      <a:cubicBezTo>
                        <a:pt x="5013" y="25940"/>
                        <a:pt x="-467" y="19712"/>
                        <a:pt x="32" y="12363"/>
                      </a:cubicBezTo>
                      <a:cubicBezTo>
                        <a:pt x="529" y="5014"/>
                        <a:pt x="6882" y="-467"/>
                        <a:pt x="14231" y="31"/>
                      </a:cubicBezTo>
                      <a:cubicBezTo>
                        <a:pt x="21580"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2" name="Freeform 5206">
                  <a:extLst>
                    <a:ext uri="{FF2B5EF4-FFF2-40B4-BE49-F238E27FC236}">
                      <a16:creationId xmlns:a16="http://schemas.microsoft.com/office/drawing/2014/main" id="{E2147D53-0A80-4F56-D041-223BE7247FC8}"/>
                    </a:ext>
                  </a:extLst>
                </p:cNvPr>
                <p:cNvSpPr/>
                <p:nvPr/>
              </p:nvSpPr>
              <p:spPr>
                <a:xfrm>
                  <a:off x="9083742" y="5650882"/>
                  <a:ext cx="4359" cy="52065"/>
                </a:xfrm>
                <a:custGeom>
                  <a:avLst/>
                  <a:gdLst>
                    <a:gd name="connsiteX0" fmla="*/ 0 w 4359"/>
                    <a:gd name="connsiteY0" fmla="*/ 52065 h 52065"/>
                    <a:gd name="connsiteX1" fmla="*/ 3238 w 4359"/>
                    <a:gd name="connsiteY1" fmla="*/ 33506 h 52065"/>
                    <a:gd name="connsiteX2" fmla="*/ 996 w 4359"/>
                    <a:gd name="connsiteY2" fmla="*/ 16192 h 52065"/>
                    <a:gd name="connsiteX3" fmla="*/ 4359 w 4359"/>
                    <a:gd name="connsiteY3" fmla="*/ 0 h 52065"/>
                  </a:gdLst>
                  <a:ahLst/>
                  <a:cxnLst>
                    <a:cxn ang="0">
                      <a:pos x="connsiteX0" y="connsiteY0"/>
                    </a:cxn>
                    <a:cxn ang="0">
                      <a:pos x="connsiteX1" y="connsiteY1"/>
                    </a:cxn>
                    <a:cxn ang="0">
                      <a:pos x="connsiteX2" y="connsiteY2"/>
                    </a:cxn>
                    <a:cxn ang="0">
                      <a:pos x="connsiteX3" y="connsiteY3"/>
                    </a:cxn>
                  </a:cxnLst>
                  <a:rect l="l" t="t" r="r" b="b"/>
                  <a:pathLst>
                    <a:path w="4359" h="52065">
                      <a:moveTo>
                        <a:pt x="0" y="52065"/>
                      </a:moveTo>
                      <a:cubicBezTo>
                        <a:pt x="2989" y="44218"/>
                        <a:pt x="3487" y="37866"/>
                        <a:pt x="3238" y="33506"/>
                      </a:cubicBezTo>
                      <a:cubicBezTo>
                        <a:pt x="2989" y="26531"/>
                        <a:pt x="996" y="23292"/>
                        <a:pt x="996" y="16192"/>
                      </a:cubicBezTo>
                      <a:cubicBezTo>
                        <a:pt x="996" y="9342"/>
                        <a:pt x="2740" y="3612"/>
                        <a:pt x="4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3" name="Freeform 5207">
                  <a:extLst>
                    <a:ext uri="{FF2B5EF4-FFF2-40B4-BE49-F238E27FC236}">
                      <a16:creationId xmlns:a16="http://schemas.microsoft.com/office/drawing/2014/main" id="{630A4937-45B6-431B-610A-39F6FCFC7AE4}"/>
                    </a:ext>
                  </a:extLst>
                </p:cNvPr>
                <p:cNvSpPr/>
                <p:nvPr/>
              </p:nvSpPr>
              <p:spPr>
                <a:xfrm>
                  <a:off x="9074984" y="5655366"/>
                  <a:ext cx="5739" cy="52065"/>
                </a:xfrm>
                <a:custGeom>
                  <a:avLst/>
                  <a:gdLst>
                    <a:gd name="connsiteX0" fmla="*/ 4398 w 5739"/>
                    <a:gd name="connsiteY0" fmla="*/ 0 h 52065"/>
                    <a:gd name="connsiteX1" fmla="*/ 5021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8" y="0"/>
                      </a:moveTo>
                      <a:cubicBezTo>
                        <a:pt x="6267" y="8221"/>
                        <a:pt x="5893" y="14449"/>
                        <a:pt x="5021" y="18808"/>
                      </a:cubicBezTo>
                      <a:cubicBezTo>
                        <a:pt x="3776" y="25659"/>
                        <a:pt x="1409" y="28648"/>
                        <a:pt x="413" y="35624"/>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4" name="Freeform 5208">
                  <a:extLst>
                    <a:ext uri="{FF2B5EF4-FFF2-40B4-BE49-F238E27FC236}">
                      <a16:creationId xmlns:a16="http://schemas.microsoft.com/office/drawing/2014/main" id="{7FD5801C-28B0-44C1-B1C1-28EE4F348E61}"/>
                    </a:ext>
                  </a:extLst>
                </p:cNvPr>
                <p:cNvSpPr/>
                <p:nvPr/>
              </p:nvSpPr>
              <p:spPr>
                <a:xfrm>
                  <a:off x="9066522" y="5696564"/>
                  <a:ext cx="26344" cy="26469"/>
                </a:xfrm>
                <a:custGeom>
                  <a:avLst/>
                  <a:gdLst>
                    <a:gd name="connsiteX0" fmla="*/ 32 w 26344"/>
                    <a:gd name="connsiteY0" fmla="*/ 12363 h 26469"/>
                    <a:gd name="connsiteX1" fmla="*/ 14107 w 26344"/>
                    <a:gd name="connsiteY1" fmla="*/ 31 h 26469"/>
                    <a:gd name="connsiteX2" fmla="*/ 26313 w 26344"/>
                    <a:gd name="connsiteY2" fmla="*/ 14106 h 26469"/>
                    <a:gd name="connsiteX3" fmla="*/ 12238 w 26344"/>
                    <a:gd name="connsiteY3" fmla="*/ 26438 h 26469"/>
                    <a:gd name="connsiteX4" fmla="*/ 32 w 26344"/>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2" y="12363"/>
                      </a:moveTo>
                      <a:cubicBezTo>
                        <a:pt x="529" y="5014"/>
                        <a:pt x="6882" y="-467"/>
                        <a:pt x="14107" y="31"/>
                      </a:cubicBezTo>
                      <a:cubicBezTo>
                        <a:pt x="21330" y="529"/>
                        <a:pt x="26811" y="6757"/>
                        <a:pt x="26313" y="14106"/>
                      </a:cubicBezTo>
                      <a:cubicBezTo>
                        <a:pt x="25814" y="21455"/>
                        <a:pt x="19462" y="26936"/>
                        <a:pt x="12238" y="26438"/>
                      </a:cubicBezTo>
                      <a:cubicBezTo>
                        <a:pt x="5013" y="25939"/>
                        <a:pt x="-467" y="19587"/>
                        <a:pt x="32"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6" name="Graphic 2987">
                <a:extLst>
                  <a:ext uri="{FF2B5EF4-FFF2-40B4-BE49-F238E27FC236}">
                    <a16:creationId xmlns:a16="http://schemas.microsoft.com/office/drawing/2014/main" id="{7F6ABC12-C5C3-0458-72BF-C3B561662BBA}"/>
                  </a:ext>
                </a:extLst>
              </p:cNvPr>
              <p:cNvGrpSpPr/>
              <p:nvPr/>
            </p:nvGrpSpPr>
            <p:grpSpPr>
              <a:xfrm>
                <a:off x="9095792" y="5576489"/>
                <a:ext cx="35561" cy="148661"/>
                <a:chOff x="9095792" y="5576489"/>
                <a:chExt cx="35561" cy="148661"/>
              </a:xfrm>
              <a:grpFill/>
            </p:grpSpPr>
            <p:sp>
              <p:nvSpPr>
                <p:cNvPr id="4343" name="Freeform 5210">
                  <a:extLst>
                    <a:ext uri="{FF2B5EF4-FFF2-40B4-BE49-F238E27FC236}">
                      <a16:creationId xmlns:a16="http://schemas.microsoft.com/office/drawing/2014/main" id="{D02410B9-19C3-5984-9A2F-8913D711CE02}"/>
                    </a:ext>
                  </a:extLst>
                </p:cNvPr>
                <p:cNvSpPr/>
                <p:nvPr/>
              </p:nvSpPr>
              <p:spPr>
                <a:xfrm>
                  <a:off x="9109276" y="5596575"/>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4" name="Freeform 5211">
                  <a:extLst>
                    <a:ext uri="{FF2B5EF4-FFF2-40B4-BE49-F238E27FC236}">
                      <a16:creationId xmlns:a16="http://schemas.microsoft.com/office/drawing/2014/main" id="{F1ECD96F-585B-FA45-79C8-0EED7449ABFE}"/>
                    </a:ext>
                  </a:extLst>
                </p:cNvPr>
                <p:cNvSpPr/>
                <p:nvPr/>
              </p:nvSpPr>
              <p:spPr>
                <a:xfrm>
                  <a:off x="9116827" y="5592091"/>
                  <a:ext cx="5816" cy="52065"/>
                </a:xfrm>
                <a:custGeom>
                  <a:avLst/>
                  <a:gdLst>
                    <a:gd name="connsiteX0" fmla="*/ 1293 w 5816"/>
                    <a:gd name="connsiteY0" fmla="*/ 52065 h 52065"/>
                    <a:gd name="connsiteX1" fmla="*/ 670 w 5816"/>
                    <a:gd name="connsiteY1" fmla="*/ 33257 h 52065"/>
                    <a:gd name="connsiteX2" fmla="*/ 5403 w 5816"/>
                    <a:gd name="connsiteY2" fmla="*/ 16442 h 52065"/>
                    <a:gd name="connsiteX3" fmla="*/ 4407 w 5816"/>
                    <a:gd name="connsiteY3" fmla="*/ 0 h 52065"/>
                  </a:gdLst>
                  <a:ahLst/>
                  <a:cxnLst>
                    <a:cxn ang="0">
                      <a:pos x="connsiteX0" y="connsiteY0"/>
                    </a:cxn>
                    <a:cxn ang="0">
                      <a:pos x="connsiteX1" y="connsiteY1"/>
                    </a:cxn>
                    <a:cxn ang="0">
                      <a:pos x="connsiteX2" y="connsiteY2"/>
                    </a:cxn>
                    <a:cxn ang="0">
                      <a:pos x="connsiteX3" y="connsiteY3"/>
                    </a:cxn>
                  </a:cxnLst>
                  <a:rect l="l" t="t" r="r" b="b"/>
                  <a:pathLst>
                    <a:path w="5816" h="52065">
                      <a:moveTo>
                        <a:pt x="1293" y="52065"/>
                      </a:moveTo>
                      <a:cubicBezTo>
                        <a:pt x="-575" y="43844"/>
                        <a:pt x="-77" y="37492"/>
                        <a:pt x="670" y="33257"/>
                      </a:cubicBezTo>
                      <a:cubicBezTo>
                        <a:pt x="1916" y="26406"/>
                        <a:pt x="4283" y="23542"/>
                        <a:pt x="5403" y="16442"/>
                      </a:cubicBezTo>
                      <a:cubicBezTo>
                        <a:pt x="6400" y="9591"/>
                        <a:pt x="5403" y="3737"/>
                        <a:pt x="44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5" name="Freeform 5212">
                  <a:extLst>
                    <a:ext uri="{FF2B5EF4-FFF2-40B4-BE49-F238E27FC236}">
                      <a16:creationId xmlns:a16="http://schemas.microsoft.com/office/drawing/2014/main" id="{D13DC140-6380-1DDC-0995-DC6250C3A180}"/>
                    </a:ext>
                  </a:extLst>
                </p:cNvPr>
                <p:cNvSpPr/>
                <p:nvPr/>
              </p:nvSpPr>
              <p:spPr>
                <a:xfrm>
                  <a:off x="9104760" y="5576489"/>
                  <a:ext cx="26593" cy="26595"/>
                </a:xfrm>
                <a:custGeom>
                  <a:avLst/>
                  <a:gdLst>
                    <a:gd name="connsiteX0" fmla="*/ 26562 w 26593"/>
                    <a:gd name="connsiteY0" fmla="*/ 14356 h 26595"/>
                    <a:gd name="connsiteX1" fmla="*/ 12363 w 26593"/>
                    <a:gd name="connsiteY1" fmla="*/ 26563 h 26595"/>
                    <a:gd name="connsiteX2" fmla="*/ 31 w 26593"/>
                    <a:gd name="connsiteY2" fmla="*/ 12239 h 26595"/>
                    <a:gd name="connsiteX3" fmla="*/ 14231 w 26593"/>
                    <a:gd name="connsiteY3" fmla="*/ 32 h 26595"/>
                    <a:gd name="connsiteX4" fmla="*/ 26562 w 26593"/>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5">
                      <a:moveTo>
                        <a:pt x="26562" y="14356"/>
                      </a:moveTo>
                      <a:cubicBezTo>
                        <a:pt x="26064" y="21705"/>
                        <a:pt x="19587" y="27061"/>
                        <a:pt x="12363" y="26563"/>
                      </a:cubicBezTo>
                      <a:cubicBezTo>
                        <a:pt x="5014" y="25940"/>
                        <a:pt x="-467" y="19588"/>
                        <a:pt x="31" y="12239"/>
                      </a:cubicBezTo>
                      <a:cubicBezTo>
                        <a:pt x="530" y="4890"/>
                        <a:pt x="6883" y="-466"/>
                        <a:pt x="14231" y="32"/>
                      </a:cubicBezTo>
                      <a:cubicBezTo>
                        <a:pt x="21580" y="530"/>
                        <a:pt x="27061" y="7007"/>
                        <a:pt x="26562"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6" name="Freeform 5213">
                  <a:extLst>
                    <a:ext uri="{FF2B5EF4-FFF2-40B4-BE49-F238E27FC236}">
                      <a16:creationId xmlns:a16="http://schemas.microsoft.com/office/drawing/2014/main" id="{85A6DE34-54E4-C065-994F-0E4024A617C3}"/>
                    </a:ext>
                  </a:extLst>
                </p:cNvPr>
                <p:cNvSpPr/>
                <p:nvPr/>
              </p:nvSpPr>
              <p:spPr>
                <a:xfrm>
                  <a:off x="9113138" y="5653124"/>
                  <a:ext cx="4608" cy="51940"/>
                </a:xfrm>
                <a:custGeom>
                  <a:avLst/>
                  <a:gdLst>
                    <a:gd name="connsiteX0" fmla="*/ 0 w 4608"/>
                    <a:gd name="connsiteY0" fmla="*/ 51941 h 51940"/>
                    <a:gd name="connsiteX1" fmla="*/ 3363 w 4608"/>
                    <a:gd name="connsiteY1" fmla="*/ 33506 h 51940"/>
                    <a:gd name="connsiteX2" fmla="*/ 1245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2989" y="44094"/>
                        <a:pt x="3487" y="37741"/>
                        <a:pt x="3363" y="33506"/>
                      </a:cubicBezTo>
                      <a:cubicBezTo>
                        <a:pt x="3114" y="26531"/>
                        <a:pt x="1245" y="23292"/>
                        <a:pt x="1245" y="16193"/>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7" name="Freeform 5214">
                  <a:extLst>
                    <a:ext uri="{FF2B5EF4-FFF2-40B4-BE49-F238E27FC236}">
                      <a16:creationId xmlns:a16="http://schemas.microsoft.com/office/drawing/2014/main" id="{BC536DE2-94A7-C932-FD49-536D5868833B}"/>
                    </a:ext>
                  </a:extLst>
                </p:cNvPr>
                <p:cNvSpPr/>
                <p:nvPr/>
              </p:nvSpPr>
              <p:spPr>
                <a:xfrm>
                  <a:off x="9104504" y="5657484"/>
                  <a:ext cx="5691" cy="52065"/>
                </a:xfrm>
                <a:custGeom>
                  <a:avLst/>
                  <a:gdLst>
                    <a:gd name="connsiteX0" fmla="*/ 4398 w 5691"/>
                    <a:gd name="connsiteY0" fmla="*/ 0 h 52065"/>
                    <a:gd name="connsiteX1" fmla="*/ 5021 w 5691"/>
                    <a:gd name="connsiteY1" fmla="*/ 18808 h 52065"/>
                    <a:gd name="connsiteX2" fmla="*/ 413 w 5691"/>
                    <a:gd name="connsiteY2" fmla="*/ 35623 h 52065"/>
                    <a:gd name="connsiteX3" fmla="*/ 1409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0"/>
                      </a:moveTo>
                      <a:cubicBezTo>
                        <a:pt x="6267" y="8221"/>
                        <a:pt x="5768" y="14573"/>
                        <a:pt x="5021" y="18808"/>
                      </a:cubicBezTo>
                      <a:cubicBezTo>
                        <a:pt x="3776" y="25659"/>
                        <a:pt x="1409" y="28524"/>
                        <a:pt x="413" y="35623"/>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8" name="Freeform 5215">
                  <a:extLst>
                    <a:ext uri="{FF2B5EF4-FFF2-40B4-BE49-F238E27FC236}">
                      <a16:creationId xmlns:a16="http://schemas.microsoft.com/office/drawing/2014/main" id="{99581C59-4ADA-7A9A-7956-AC61AD55CBCA}"/>
                    </a:ext>
                  </a:extLst>
                </p:cNvPr>
                <p:cNvSpPr/>
                <p:nvPr/>
              </p:nvSpPr>
              <p:spPr>
                <a:xfrm>
                  <a:off x="9095792" y="5698555"/>
                  <a:ext cx="26236" cy="26595"/>
                </a:xfrm>
                <a:custGeom>
                  <a:avLst/>
                  <a:gdLst>
                    <a:gd name="connsiteX0" fmla="*/ 31 w 26236"/>
                    <a:gd name="connsiteY0" fmla="*/ 12239 h 26595"/>
                    <a:gd name="connsiteX1" fmla="*/ 14107 w 26236"/>
                    <a:gd name="connsiteY1" fmla="*/ 32 h 26595"/>
                    <a:gd name="connsiteX2" fmla="*/ 26188 w 26236"/>
                    <a:gd name="connsiteY2" fmla="*/ 14357 h 26595"/>
                    <a:gd name="connsiteX3" fmla="*/ 12113 w 26236"/>
                    <a:gd name="connsiteY3" fmla="*/ 26563 h 26595"/>
                    <a:gd name="connsiteX4" fmla="*/ 31 w 26236"/>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595">
                      <a:moveTo>
                        <a:pt x="31" y="12239"/>
                      </a:moveTo>
                      <a:cubicBezTo>
                        <a:pt x="529" y="4890"/>
                        <a:pt x="6882" y="-466"/>
                        <a:pt x="14107" y="32"/>
                      </a:cubicBezTo>
                      <a:cubicBezTo>
                        <a:pt x="21331" y="655"/>
                        <a:pt x="26812" y="7007"/>
                        <a:pt x="26188" y="14357"/>
                      </a:cubicBezTo>
                      <a:cubicBezTo>
                        <a:pt x="25566" y="21705"/>
                        <a:pt x="19338" y="27061"/>
                        <a:pt x="12113" y="26563"/>
                      </a:cubicBezTo>
                      <a:cubicBezTo>
                        <a:pt x="5014" y="25940"/>
                        <a:pt x="-467" y="19588"/>
                        <a:pt x="31"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7" name="Graphic 2987">
                <a:extLst>
                  <a:ext uri="{FF2B5EF4-FFF2-40B4-BE49-F238E27FC236}">
                    <a16:creationId xmlns:a16="http://schemas.microsoft.com/office/drawing/2014/main" id="{BB63DFB1-3A2F-5482-0EE0-605FBB69945D}"/>
                  </a:ext>
                </a:extLst>
              </p:cNvPr>
              <p:cNvGrpSpPr/>
              <p:nvPr/>
            </p:nvGrpSpPr>
            <p:grpSpPr>
              <a:xfrm>
                <a:off x="9125171" y="5578856"/>
                <a:ext cx="35844" cy="148661"/>
                <a:chOff x="9125171" y="5578856"/>
                <a:chExt cx="35844" cy="148661"/>
              </a:xfrm>
              <a:grpFill/>
            </p:grpSpPr>
            <p:sp>
              <p:nvSpPr>
                <p:cNvPr id="4337" name="Freeform 5217">
                  <a:extLst>
                    <a:ext uri="{FF2B5EF4-FFF2-40B4-BE49-F238E27FC236}">
                      <a16:creationId xmlns:a16="http://schemas.microsoft.com/office/drawing/2014/main" id="{6156DECA-5C2C-9EC3-3A41-91AA3614038A}"/>
                    </a:ext>
                  </a:extLst>
                </p:cNvPr>
                <p:cNvSpPr/>
                <p:nvPr/>
              </p:nvSpPr>
              <p:spPr>
                <a:xfrm>
                  <a:off x="9138921" y="5598941"/>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996"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8" name="Freeform 5218">
                  <a:extLst>
                    <a:ext uri="{FF2B5EF4-FFF2-40B4-BE49-F238E27FC236}">
                      <a16:creationId xmlns:a16="http://schemas.microsoft.com/office/drawing/2014/main" id="{73334A95-0A3F-756C-48B1-0BA6BDC7633E}"/>
                    </a:ext>
                  </a:extLst>
                </p:cNvPr>
                <p:cNvSpPr/>
                <p:nvPr/>
              </p:nvSpPr>
              <p:spPr>
                <a:xfrm>
                  <a:off x="9146363" y="5594458"/>
                  <a:ext cx="5951" cy="52065"/>
                </a:xfrm>
                <a:custGeom>
                  <a:avLst/>
                  <a:gdLst>
                    <a:gd name="connsiteX0" fmla="*/ 1276 w 5951"/>
                    <a:gd name="connsiteY0" fmla="*/ 52065 h 52065"/>
                    <a:gd name="connsiteX1" fmla="*/ 778 w 5951"/>
                    <a:gd name="connsiteY1" fmla="*/ 33257 h 52065"/>
                    <a:gd name="connsiteX2" fmla="*/ 5512 w 5951"/>
                    <a:gd name="connsiteY2" fmla="*/ 16442 h 52065"/>
                    <a:gd name="connsiteX3" fmla="*/ 4640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1276" y="52065"/>
                      </a:moveTo>
                      <a:cubicBezTo>
                        <a:pt x="-591" y="43844"/>
                        <a:pt x="-94" y="37492"/>
                        <a:pt x="778" y="33257"/>
                      </a:cubicBezTo>
                      <a:cubicBezTo>
                        <a:pt x="2148" y="26406"/>
                        <a:pt x="4515" y="23541"/>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9" name="Freeform 5219">
                  <a:extLst>
                    <a:ext uri="{FF2B5EF4-FFF2-40B4-BE49-F238E27FC236}">
                      <a16:creationId xmlns:a16="http://schemas.microsoft.com/office/drawing/2014/main" id="{6E581005-F9F6-D836-1771-9648449F2766}"/>
                    </a:ext>
                  </a:extLst>
                </p:cNvPr>
                <p:cNvSpPr/>
                <p:nvPr/>
              </p:nvSpPr>
              <p:spPr>
                <a:xfrm>
                  <a:off x="9134388" y="5578856"/>
                  <a:ext cx="26627" cy="26595"/>
                </a:xfrm>
                <a:custGeom>
                  <a:avLst/>
                  <a:gdLst>
                    <a:gd name="connsiteX0" fmla="*/ 26579 w 26627"/>
                    <a:gd name="connsiteY0" fmla="*/ 14356 h 26595"/>
                    <a:gd name="connsiteX1" fmla="*/ 12255 w 26627"/>
                    <a:gd name="connsiteY1" fmla="*/ 26563 h 26595"/>
                    <a:gd name="connsiteX2" fmla="*/ 48 w 26627"/>
                    <a:gd name="connsiteY2" fmla="*/ 12239 h 26595"/>
                    <a:gd name="connsiteX3" fmla="*/ 14373 w 26627"/>
                    <a:gd name="connsiteY3" fmla="*/ 32 h 26595"/>
                    <a:gd name="connsiteX4" fmla="*/ 26579 w 26627"/>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95">
                      <a:moveTo>
                        <a:pt x="26579" y="14356"/>
                      </a:moveTo>
                      <a:cubicBezTo>
                        <a:pt x="25956" y="21705"/>
                        <a:pt x="19604" y="27061"/>
                        <a:pt x="12255" y="26563"/>
                      </a:cubicBezTo>
                      <a:cubicBezTo>
                        <a:pt x="4906" y="26065"/>
                        <a:pt x="-574" y="19588"/>
                        <a:pt x="48" y="12239"/>
                      </a:cubicBezTo>
                      <a:cubicBezTo>
                        <a:pt x="547" y="4890"/>
                        <a:pt x="7023" y="-466"/>
                        <a:pt x="14373" y="32"/>
                      </a:cubicBezTo>
                      <a:cubicBezTo>
                        <a:pt x="21722" y="655"/>
                        <a:pt x="27202"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0" name="Freeform 5220">
                  <a:extLst>
                    <a:ext uri="{FF2B5EF4-FFF2-40B4-BE49-F238E27FC236}">
                      <a16:creationId xmlns:a16="http://schemas.microsoft.com/office/drawing/2014/main" id="{CB07424C-88D2-6503-16AD-2BB6A753F278}"/>
                    </a:ext>
                  </a:extLst>
                </p:cNvPr>
                <p:cNvSpPr/>
                <p:nvPr/>
              </p:nvSpPr>
              <p:spPr>
                <a:xfrm>
                  <a:off x="9142408" y="5655491"/>
                  <a:ext cx="4608" cy="51940"/>
                </a:xfrm>
                <a:custGeom>
                  <a:avLst/>
                  <a:gdLst>
                    <a:gd name="connsiteX0" fmla="*/ 0 w 4608"/>
                    <a:gd name="connsiteY0" fmla="*/ 51941 h 51940"/>
                    <a:gd name="connsiteX1" fmla="*/ 3363 w 4608"/>
                    <a:gd name="connsiteY1" fmla="*/ 33506 h 51940"/>
                    <a:gd name="connsiteX2" fmla="*/ 1246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4"/>
                        <a:pt x="3613" y="37741"/>
                        <a:pt x="3363" y="33506"/>
                      </a:cubicBezTo>
                      <a:cubicBezTo>
                        <a:pt x="3114" y="26531"/>
                        <a:pt x="1246" y="23292"/>
                        <a:pt x="1246" y="16193"/>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1" name="Freeform 5221">
                  <a:extLst>
                    <a:ext uri="{FF2B5EF4-FFF2-40B4-BE49-F238E27FC236}">
                      <a16:creationId xmlns:a16="http://schemas.microsoft.com/office/drawing/2014/main" id="{04E414EE-66FC-9418-A180-697F4F32DB16}"/>
                    </a:ext>
                  </a:extLst>
                </p:cNvPr>
                <p:cNvSpPr/>
                <p:nvPr/>
              </p:nvSpPr>
              <p:spPr>
                <a:xfrm>
                  <a:off x="9133772" y="5659850"/>
                  <a:ext cx="5927" cy="52065"/>
                </a:xfrm>
                <a:custGeom>
                  <a:avLst/>
                  <a:gdLst>
                    <a:gd name="connsiteX0" fmla="*/ 4651 w 5927"/>
                    <a:gd name="connsiteY0" fmla="*/ 0 h 52065"/>
                    <a:gd name="connsiteX1" fmla="*/ 5149 w 5927"/>
                    <a:gd name="connsiteY1" fmla="*/ 18808 h 52065"/>
                    <a:gd name="connsiteX2" fmla="*/ 416 w 5927"/>
                    <a:gd name="connsiteY2" fmla="*/ 35623 h 52065"/>
                    <a:gd name="connsiteX3" fmla="*/ 1288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0"/>
                      </a:moveTo>
                      <a:cubicBezTo>
                        <a:pt x="6519" y="8221"/>
                        <a:pt x="6021" y="14573"/>
                        <a:pt x="5149" y="18808"/>
                      </a:cubicBezTo>
                      <a:cubicBezTo>
                        <a:pt x="3903" y="25659"/>
                        <a:pt x="1537" y="28524"/>
                        <a:pt x="416" y="35623"/>
                      </a:cubicBezTo>
                      <a:cubicBezTo>
                        <a:pt x="-581" y="42474"/>
                        <a:pt x="416" y="48328"/>
                        <a:pt x="12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2" name="Freeform 5222">
                  <a:extLst>
                    <a:ext uri="{FF2B5EF4-FFF2-40B4-BE49-F238E27FC236}">
                      <a16:creationId xmlns:a16="http://schemas.microsoft.com/office/drawing/2014/main" id="{CB571817-56C9-C472-3048-79B3B52FC1CF}"/>
                    </a:ext>
                  </a:extLst>
                </p:cNvPr>
                <p:cNvSpPr/>
                <p:nvPr/>
              </p:nvSpPr>
              <p:spPr>
                <a:xfrm>
                  <a:off x="9125171" y="5700922"/>
                  <a:ext cx="26254" cy="26595"/>
                </a:xfrm>
                <a:custGeom>
                  <a:avLst/>
                  <a:gdLst>
                    <a:gd name="connsiteX0" fmla="*/ 48 w 26254"/>
                    <a:gd name="connsiteY0" fmla="*/ 12239 h 26595"/>
                    <a:gd name="connsiteX1" fmla="*/ 14123 w 26254"/>
                    <a:gd name="connsiteY1" fmla="*/ 32 h 26595"/>
                    <a:gd name="connsiteX2" fmla="*/ 26206 w 26254"/>
                    <a:gd name="connsiteY2" fmla="*/ 14357 h 26595"/>
                    <a:gd name="connsiteX3" fmla="*/ 12131 w 26254"/>
                    <a:gd name="connsiteY3" fmla="*/ 26563 h 26595"/>
                    <a:gd name="connsiteX4" fmla="*/ 48 w 26254"/>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595">
                      <a:moveTo>
                        <a:pt x="48" y="12239"/>
                      </a:moveTo>
                      <a:cubicBezTo>
                        <a:pt x="547" y="4890"/>
                        <a:pt x="6899" y="-466"/>
                        <a:pt x="14123" y="32"/>
                      </a:cubicBezTo>
                      <a:cubicBezTo>
                        <a:pt x="21348" y="655"/>
                        <a:pt x="26828" y="7007"/>
                        <a:pt x="26206" y="14357"/>
                      </a:cubicBezTo>
                      <a:cubicBezTo>
                        <a:pt x="25582" y="21705"/>
                        <a:pt x="19355" y="27061"/>
                        <a:pt x="12131" y="26563"/>
                      </a:cubicBezTo>
                      <a:cubicBezTo>
                        <a:pt x="4906" y="25940"/>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8" name="Graphic 2987">
                <a:extLst>
                  <a:ext uri="{FF2B5EF4-FFF2-40B4-BE49-F238E27FC236}">
                    <a16:creationId xmlns:a16="http://schemas.microsoft.com/office/drawing/2014/main" id="{63E3F648-A7A1-31D8-7FDC-5CE49BB37E66}"/>
                  </a:ext>
                </a:extLst>
              </p:cNvPr>
              <p:cNvGrpSpPr/>
              <p:nvPr/>
            </p:nvGrpSpPr>
            <p:grpSpPr>
              <a:xfrm>
                <a:off x="9154442" y="5581222"/>
                <a:ext cx="36325" cy="148661"/>
                <a:chOff x="9154442" y="5581222"/>
                <a:chExt cx="36325" cy="148661"/>
              </a:xfrm>
              <a:grpFill/>
            </p:grpSpPr>
            <p:sp>
              <p:nvSpPr>
                <p:cNvPr id="4331" name="Freeform 5224">
                  <a:extLst>
                    <a:ext uri="{FF2B5EF4-FFF2-40B4-BE49-F238E27FC236}">
                      <a16:creationId xmlns:a16="http://schemas.microsoft.com/office/drawing/2014/main" id="{7B60C43F-B915-E62F-70CC-CE63B196F79A}"/>
                    </a:ext>
                  </a:extLst>
                </p:cNvPr>
                <p:cNvSpPr/>
                <p:nvPr/>
              </p:nvSpPr>
              <p:spPr>
                <a:xfrm>
                  <a:off x="9168192" y="5601308"/>
                  <a:ext cx="4982" cy="51940"/>
                </a:xfrm>
                <a:custGeom>
                  <a:avLst/>
                  <a:gdLst>
                    <a:gd name="connsiteX0" fmla="*/ 4983 w 4982"/>
                    <a:gd name="connsiteY0" fmla="*/ 0 h 51940"/>
                    <a:gd name="connsiteX1" fmla="*/ 1495 w 4982"/>
                    <a:gd name="connsiteY1" fmla="*/ 18435 h 51940"/>
                    <a:gd name="connsiteX2" fmla="*/ 3488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200"/>
                        <a:pt x="1495" y="18435"/>
                      </a:cubicBezTo>
                      <a:cubicBezTo>
                        <a:pt x="1744" y="25410"/>
                        <a:pt x="3612"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2" name="Freeform 5225">
                  <a:extLst>
                    <a:ext uri="{FF2B5EF4-FFF2-40B4-BE49-F238E27FC236}">
                      <a16:creationId xmlns:a16="http://schemas.microsoft.com/office/drawing/2014/main" id="{C72235A8-DF0A-3101-D530-6F608947230B}"/>
                    </a:ext>
                  </a:extLst>
                </p:cNvPr>
                <p:cNvSpPr/>
                <p:nvPr/>
              </p:nvSpPr>
              <p:spPr>
                <a:xfrm>
                  <a:off x="9175929" y="5596824"/>
                  <a:ext cx="5905" cy="52065"/>
                </a:xfrm>
                <a:custGeom>
                  <a:avLst/>
                  <a:gdLst>
                    <a:gd name="connsiteX0" fmla="*/ 1231 w 5905"/>
                    <a:gd name="connsiteY0" fmla="*/ 52065 h 52065"/>
                    <a:gd name="connsiteX1" fmla="*/ 732 w 5905"/>
                    <a:gd name="connsiteY1" fmla="*/ 33257 h 52065"/>
                    <a:gd name="connsiteX2" fmla="*/ 5465 w 5905"/>
                    <a:gd name="connsiteY2" fmla="*/ 16442 h 52065"/>
                    <a:gd name="connsiteX3" fmla="*/ 4593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1231" y="52065"/>
                      </a:moveTo>
                      <a:cubicBezTo>
                        <a:pt x="-638" y="43844"/>
                        <a:pt x="-15" y="37492"/>
                        <a:pt x="732" y="33257"/>
                      </a:cubicBezTo>
                      <a:cubicBezTo>
                        <a:pt x="2102" y="26406"/>
                        <a:pt x="4469" y="23541"/>
                        <a:pt x="5465" y="16442"/>
                      </a:cubicBezTo>
                      <a:cubicBezTo>
                        <a:pt x="6462" y="9591"/>
                        <a:pt x="5590" y="3737"/>
                        <a:pt x="45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3" name="Freeform 5226">
                  <a:extLst>
                    <a:ext uri="{FF2B5EF4-FFF2-40B4-BE49-F238E27FC236}">
                      <a16:creationId xmlns:a16="http://schemas.microsoft.com/office/drawing/2014/main" id="{FE475E80-E9C5-770B-F8A5-BDF6B87FF286}"/>
                    </a:ext>
                  </a:extLst>
                </p:cNvPr>
                <p:cNvSpPr/>
                <p:nvPr/>
              </p:nvSpPr>
              <p:spPr>
                <a:xfrm>
                  <a:off x="9164158" y="5581222"/>
                  <a:ext cx="26610" cy="26595"/>
                </a:xfrm>
                <a:custGeom>
                  <a:avLst/>
                  <a:gdLst>
                    <a:gd name="connsiteX0" fmla="*/ 26579 w 26610"/>
                    <a:gd name="connsiteY0" fmla="*/ 14356 h 26595"/>
                    <a:gd name="connsiteX1" fmla="*/ 12255 w 26610"/>
                    <a:gd name="connsiteY1" fmla="*/ 26563 h 26595"/>
                    <a:gd name="connsiteX2" fmla="*/ 48 w 26610"/>
                    <a:gd name="connsiteY2" fmla="*/ 12239 h 26595"/>
                    <a:gd name="connsiteX3" fmla="*/ 14373 w 26610"/>
                    <a:gd name="connsiteY3" fmla="*/ 32 h 26595"/>
                    <a:gd name="connsiteX4" fmla="*/ 26579 w 26610"/>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 h="26595">
                      <a:moveTo>
                        <a:pt x="26579" y="14356"/>
                      </a:moveTo>
                      <a:cubicBezTo>
                        <a:pt x="25956" y="21705"/>
                        <a:pt x="19604" y="27061"/>
                        <a:pt x="12255" y="26563"/>
                      </a:cubicBezTo>
                      <a:cubicBezTo>
                        <a:pt x="4906" y="25940"/>
                        <a:pt x="-574" y="19588"/>
                        <a:pt x="48" y="12239"/>
                      </a:cubicBezTo>
                      <a:cubicBezTo>
                        <a:pt x="671" y="4890"/>
                        <a:pt x="7023" y="-466"/>
                        <a:pt x="14373" y="32"/>
                      </a:cubicBezTo>
                      <a:cubicBezTo>
                        <a:pt x="21596" y="655"/>
                        <a:pt x="27077"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4" name="Freeform 5227">
                  <a:extLst>
                    <a:ext uri="{FF2B5EF4-FFF2-40B4-BE49-F238E27FC236}">
                      <a16:creationId xmlns:a16="http://schemas.microsoft.com/office/drawing/2014/main" id="{3664ED12-96AA-3EA2-18E9-DE96F0FD91A9}"/>
                    </a:ext>
                  </a:extLst>
                </p:cNvPr>
                <p:cNvSpPr/>
                <p:nvPr/>
              </p:nvSpPr>
              <p:spPr>
                <a:xfrm>
                  <a:off x="9171804" y="5657857"/>
                  <a:ext cx="4982" cy="51940"/>
                </a:xfrm>
                <a:custGeom>
                  <a:avLst/>
                  <a:gdLst>
                    <a:gd name="connsiteX0" fmla="*/ 0 w 4982"/>
                    <a:gd name="connsiteY0" fmla="*/ 51941 h 51940"/>
                    <a:gd name="connsiteX1" fmla="*/ 3488 w 4982"/>
                    <a:gd name="connsiteY1" fmla="*/ 33506 h 51940"/>
                    <a:gd name="connsiteX2" fmla="*/ 1495 w 4982"/>
                    <a:gd name="connsiteY2" fmla="*/ 16192 h 51940"/>
                    <a:gd name="connsiteX3" fmla="*/ 4983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0" y="51941"/>
                      </a:moveTo>
                      <a:cubicBezTo>
                        <a:pt x="3114" y="44094"/>
                        <a:pt x="3613" y="37741"/>
                        <a:pt x="3488" y="33506"/>
                      </a:cubicBezTo>
                      <a:cubicBezTo>
                        <a:pt x="3239" y="26531"/>
                        <a:pt x="1371" y="23292"/>
                        <a:pt x="1495" y="16192"/>
                      </a:cubicBezTo>
                      <a:cubicBezTo>
                        <a:pt x="1619" y="9342"/>
                        <a:pt x="3363" y="3737"/>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5" name="Freeform 5228">
                  <a:extLst>
                    <a:ext uri="{FF2B5EF4-FFF2-40B4-BE49-F238E27FC236}">
                      <a16:creationId xmlns:a16="http://schemas.microsoft.com/office/drawing/2014/main" id="{6A9E340A-A268-80A8-72E4-C3EEADD72850}"/>
                    </a:ext>
                  </a:extLst>
                </p:cNvPr>
                <p:cNvSpPr/>
                <p:nvPr/>
              </p:nvSpPr>
              <p:spPr>
                <a:xfrm>
                  <a:off x="9163143" y="5662217"/>
                  <a:ext cx="5905" cy="52065"/>
                </a:xfrm>
                <a:custGeom>
                  <a:avLst/>
                  <a:gdLst>
                    <a:gd name="connsiteX0" fmla="*/ 4675 w 5905"/>
                    <a:gd name="connsiteY0" fmla="*/ 0 h 52065"/>
                    <a:gd name="connsiteX1" fmla="*/ 5173 w 5905"/>
                    <a:gd name="connsiteY1" fmla="*/ 18808 h 52065"/>
                    <a:gd name="connsiteX2" fmla="*/ 440 w 5905"/>
                    <a:gd name="connsiteY2" fmla="*/ 35623 h 52065"/>
                    <a:gd name="connsiteX3" fmla="*/ 1312 w 590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0"/>
                      </a:moveTo>
                      <a:cubicBezTo>
                        <a:pt x="6543" y="8221"/>
                        <a:pt x="5921" y="14573"/>
                        <a:pt x="5173" y="18808"/>
                      </a:cubicBezTo>
                      <a:cubicBezTo>
                        <a:pt x="3803" y="25659"/>
                        <a:pt x="1437" y="28524"/>
                        <a:pt x="440" y="35623"/>
                      </a:cubicBezTo>
                      <a:cubicBezTo>
                        <a:pt x="-557" y="42474"/>
                        <a:pt x="315" y="48328"/>
                        <a:pt x="131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6" name="Freeform 5229">
                  <a:extLst>
                    <a:ext uri="{FF2B5EF4-FFF2-40B4-BE49-F238E27FC236}">
                      <a16:creationId xmlns:a16="http://schemas.microsoft.com/office/drawing/2014/main" id="{01194AB4-147C-3A4C-1D17-4B3780C69657}"/>
                    </a:ext>
                  </a:extLst>
                </p:cNvPr>
                <p:cNvSpPr/>
                <p:nvPr/>
              </p:nvSpPr>
              <p:spPr>
                <a:xfrm>
                  <a:off x="9154442" y="5703289"/>
                  <a:ext cx="26378" cy="26595"/>
                </a:xfrm>
                <a:custGeom>
                  <a:avLst/>
                  <a:gdLst>
                    <a:gd name="connsiteX0" fmla="*/ 48 w 26378"/>
                    <a:gd name="connsiteY0" fmla="*/ 12239 h 26595"/>
                    <a:gd name="connsiteX1" fmla="*/ 14247 w 26378"/>
                    <a:gd name="connsiteY1" fmla="*/ 32 h 26595"/>
                    <a:gd name="connsiteX2" fmla="*/ 26330 w 26378"/>
                    <a:gd name="connsiteY2" fmla="*/ 14356 h 26595"/>
                    <a:gd name="connsiteX3" fmla="*/ 12130 w 26378"/>
                    <a:gd name="connsiteY3" fmla="*/ 26563 h 26595"/>
                    <a:gd name="connsiteX4" fmla="*/ 48 w 26378"/>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95">
                      <a:moveTo>
                        <a:pt x="48" y="12239"/>
                      </a:moveTo>
                      <a:cubicBezTo>
                        <a:pt x="671" y="4890"/>
                        <a:pt x="7024" y="-466"/>
                        <a:pt x="14247" y="32"/>
                      </a:cubicBezTo>
                      <a:cubicBezTo>
                        <a:pt x="21472" y="655"/>
                        <a:pt x="26952" y="7007"/>
                        <a:pt x="26330" y="14356"/>
                      </a:cubicBezTo>
                      <a:cubicBezTo>
                        <a:pt x="25707" y="21705"/>
                        <a:pt x="19355" y="27061"/>
                        <a:pt x="12130" y="26563"/>
                      </a:cubicBezTo>
                      <a:cubicBezTo>
                        <a:pt x="4906" y="25940"/>
                        <a:pt x="-575"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9" name="Graphic 2987">
                <a:extLst>
                  <a:ext uri="{FF2B5EF4-FFF2-40B4-BE49-F238E27FC236}">
                    <a16:creationId xmlns:a16="http://schemas.microsoft.com/office/drawing/2014/main" id="{C6F614BD-1E4A-4E9C-3A71-76474C94896D}"/>
                  </a:ext>
                </a:extLst>
              </p:cNvPr>
              <p:cNvGrpSpPr/>
              <p:nvPr/>
            </p:nvGrpSpPr>
            <p:grpSpPr>
              <a:xfrm>
                <a:off x="9183713" y="5583572"/>
                <a:ext cx="36716" cy="148553"/>
                <a:chOff x="9183713" y="5583572"/>
                <a:chExt cx="36716" cy="148553"/>
              </a:xfrm>
              <a:grpFill/>
            </p:grpSpPr>
            <p:sp>
              <p:nvSpPr>
                <p:cNvPr id="4325" name="Freeform 5231">
                  <a:extLst>
                    <a:ext uri="{FF2B5EF4-FFF2-40B4-BE49-F238E27FC236}">
                      <a16:creationId xmlns:a16="http://schemas.microsoft.com/office/drawing/2014/main" id="{342C4B16-9608-F4A4-153D-92FF0849BD92}"/>
                    </a:ext>
                  </a:extLst>
                </p:cNvPr>
                <p:cNvSpPr/>
                <p:nvPr/>
              </p:nvSpPr>
              <p:spPr>
                <a:xfrm>
                  <a:off x="9197837" y="5603675"/>
                  <a:ext cx="4982" cy="51940"/>
                </a:xfrm>
                <a:custGeom>
                  <a:avLst/>
                  <a:gdLst>
                    <a:gd name="connsiteX0" fmla="*/ 4983 w 4982"/>
                    <a:gd name="connsiteY0" fmla="*/ 0 h 51940"/>
                    <a:gd name="connsiteX1" fmla="*/ 1495 w 4982"/>
                    <a:gd name="connsiteY1" fmla="*/ 18435 h 51940"/>
                    <a:gd name="connsiteX2" fmla="*/ 3487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075"/>
                        <a:pt x="1495" y="18435"/>
                      </a:cubicBezTo>
                      <a:cubicBezTo>
                        <a:pt x="1744" y="25410"/>
                        <a:pt x="3612" y="28648"/>
                        <a:pt x="3487"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6" name="Freeform 5232">
                  <a:extLst>
                    <a:ext uri="{FF2B5EF4-FFF2-40B4-BE49-F238E27FC236}">
                      <a16:creationId xmlns:a16="http://schemas.microsoft.com/office/drawing/2014/main" id="{97E9D921-44E9-8A20-3146-30A46E321856}"/>
                    </a:ext>
                  </a:extLst>
                </p:cNvPr>
                <p:cNvSpPr/>
                <p:nvPr/>
              </p:nvSpPr>
              <p:spPr>
                <a:xfrm>
                  <a:off x="9205512" y="5599315"/>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7" name="Freeform 5233">
                  <a:extLst>
                    <a:ext uri="{FF2B5EF4-FFF2-40B4-BE49-F238E27FC236}">
                      <a16:creationId xmlns:a16="http://schemas.microsoft.com/office/drawing/2014/main" id="{E6B91745-76FD-BCCF-3AA1-02244ED3EFA7}"/>
                    </a:ext>
                  </a:extLst>
                </p:cNvPr>
                <p:cNvSpPr/>
                <p:nvPr/>
              </p:nvSpPr>
              <p:spPr>
                <a:xfrm>
                  <a:off x="9193802" y="5583572"/>
                  <a:ext cx="26627" cy="26504"/>
                </a:xfrm>
                <a:custGeom>
                  <a:avLst/>
                  <a:gdLst>
                    <a:gd name="connsiteX0" fmla="*/ 26579 w 26627"/>
                    <a:gd name="connsiteY0" fmla="*/ 14373 h 26504"/>
                    <a:gd name="connsiteX1" fmla="*/ 12255 w 26627"/>
                    <a:gd name="connsiteY1" fmla="*/ 26455 h 26504"/>
                    <a:gd name="connsiteX2" fmla="*/ 48 w 26627"/>
                    <a:gd name="connsiteY2" fmla="*/ 12131 h 26504"/>
                    <a:gd name="connsiteX3" fmla="*/ 14373 w 26627"/>
                    <a:gd name="connsiteY3" fmla="*/ 49 h 26504"/>
                    <a:gd name="connsiteX4" fmla="*/ 26579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26579" y="14373"/>
                      </a:moveTo>
                      <a:cubicBezTo>
                        <a:pt x="25956" y="21722"/>
                        <a:pt x="19479" y="27078"/>
                        <a:pt x="12255" y="26455"/>
                      </a:cubicBezTo>
                      <a:cubicBezTo>
                        <a:pt x="4906" y="25833"/>
                        <a:pt x="-574" y="19480"/>
                        <a:pt x="48" y="12131"/>
                      </a:cubicBezTo>
                      <a:cubicBezTo>
                        <a:pt x="671" y="4783"/>
                        <a:pt x="7023" y="-574"/>
                        <a:pt x="14373" y="49"/>
                      </a:cubicBezTo>
                      <a:cubicBezTo>
                        <a:pt x="21721" y="672"/>
                        <a:pt x="27202" y="7149"/>
                        <a:pt x="2657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8" name="Freeform 5234">
                  <a:extLst>
                    <a:ext uri="{FF2B5EF4-FFF2-40B4-BE49-F238E27FC236}">
                      <a16:creationId xmlns:a16="http://schemas.microsoft.com/office/drawing/2014/main" id="{37575F09-67BD-2523-AE08-636CA3947B0C}"/>
                    </a:ext>
                  </a:extLst>
                </p:cNvPr>
                <p:cNvSpPr/>
                <p:nvPr/>
              </p:nvSpPr>
              <p:spPr>
                <a:xfrm>
                  <a:off x="9201075" y="5660224"/>
                  <a:ext cx="4981" cy="51940"/>
                </a:xfrm>
                <a:custGeom>
                  <a:avLst/>
                  <a:gdLst>
                    <a:gd name="connsiteX0" fmla="*/ 0 w 4981"/>
                    <a:gd name="connsiteY0" fmla="*/ 51941 h 51940"/>
                    <a:gd name="connsiteX1" fmla="*/ 3487 w 4981"/>
                    <a:gd name="connsiteY1" fmla="*/ 33506 h 51940"/>
                    <a:gd name="connsiteX2" fmla="*/ 1495 w 4981"/>
                    <a:gd name="connsiteY2" fmla="*/ 16192 h 51940"/>
                    <a:gd name="connsiteX3" fmla="*/ 4982 w 4981"/>
                    <a:gd name="connsiteY3" fmla="*/ 0 h 51940"/>
                  </a:gdLst>
                  <a:ahLst/>
                  <a:cxnLst>
                    <a:cxn ang="0">
                      <a:pos x="connsiteX0" y="connsiteY0"/>
                    </a:cxn>
                    <a:cxn ang="0">
                      <a:pos x="connsiteX1" y="connsiteY1"/>
                    </a:cxn>
                    <a:cxn ang="0">
                      <a:pos x="connsiteX2" y="connsiteY2"/>
                    </a:cxn>
                    <a:cxn ang="0">
                      <a:pos x="connsiteX3" y="connsiteY3"/>
                    </a:cxn>
                  </a:cxnLst>
                  <a:rect l="l" t="t" r="r" b="b"/>
                  <a:pathLst>
                    <a:path w="4981" h="51940">
                      <a:moveTo>
                        <a:pt x="0" y="51941"/>
                      </a:moveTo>
                      <a:cubicBezTo>
                        <a:pt x="3114" y="44094"/>
                        <a:pt x="3612" y="37866"/>
                        <a:pt x="3487" y="33506"/>
                      </a:cubicBezTo>
                      <a:cubicBezTo>
                        <a:pt x="3239" y="26531"/>
                        <a:pt x="1495" y="23292"/>
                        <a:pt x="1495" y="16192"/>
                      </a:cubicBezTo>
                      <a:cubicBezTo>
                        <a:pt x="1619" y="9342"/>
                        <a:pt x="3487" y="3737"/>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9" name="Freeform 5235">
                  <a:extLst>
                    <a:ext uri="{FF2B5EF4-FFF2-40B4-BE49-F238E27FC236}">
                      <a16:creationId xmlns:a16="http://schemas.microsoft.com/office/drawing/2014/main" id="{910A206A-23AA-2F9F-7CCB-3E721EA69119}"/>
                    </a:ext>
                  </a:extLst>
                </p:cNvPr>
                <p:cNvSpPr/>
                <p:nvPr/>
              </p:nvSpPr>
              <p:spPr>
                <a:xfrm>
                  <a:off x="9192410" y="5664584"/>
                  <a:ext cx="6096" cy="51940"/>
                </a:xfrm>
                <a:custGeom>
                  <a:avLst/>
                  <a:gdLst>
                    <a:gd name="connsiteX0" fmla="*/ 4928 w 6096"/>
                    <a:gd name="connsiteY0" fmla="*/ 0 h 51940"/>
                    <a:gd name="connsiteX1" fmla="*/ 5301 w 6096"/>
                    <a:gd name="connsiteY1" fmla="*/ 18808 h 51940"/>
                    <a:gd name="connsiteX2" fmla="*/ 444 w 6096"/>
                    <a:gd name="connsiteY2" fmla="*/ 35499 h 51940"/>
                    <a:gd name="connsiteX3" fmla="*/ 1191 w 609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096" h="51940">
                      <a:moveTo>
                        <a:pt x="4928" y="0"/>
                      </a:moveTo>
                      <a:cubicBezTo>
                        <a:pt x="6671" y="8221"/>
                        <a:pt x="6173" y="14573"/>
                        <a:pt x="5301" y="18808"/>
                      </a:cubicBezTo>
                      <a:cubicBezTo>
                        <a:pt x="3932" y="25659"/>
                        <a:pt x="1565" y="28523"/>
                        <a:pt x="444" y="35499"/>
                      </a:cubicBezTo>
                      <a:cubicBezTo>
                        <a:pt x="-552" y="42350"/>
                        <a:pt x="320" y="48204"/>
                        <a:pt x="119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0" name="Freeform 5236">
                  <a:extLst>
                    <a:ext uri="{FF2B5EF4-FFF2-40B4-BE49-F238E27FC236}">
                      <a16:creationId xmlns:a16="http://schemas.microsoft.com/office/drawing/2014/main" id="{694ADDA9-DFD9-FE35-0352-BBD1A92F9DD2}"/>
                    </a:ext>
                  </a:extLst>
                </p:cNvPr>
                <p:cNvSpPr/>
                <p:nvPr/>
              </p:nvSpPr>
              <p:spPr>
                <a:xfrm>
                  <a:off x="9183713" y="5705655"/>
                  <a:ext cx="26254" cy="26470"/>
                </a:xfrm>
                <a:custGeom>
                  <a:avLst/>
                  <a:gdLst>
                    <a:gd name="connsiteX0" fmla="*/ 48 w 26254"/>
                    <a:gd name="connsiteY0" fmla="*/ 12239 h 26470"/>
                    <a:gd name="connsiteX1" fmla="*/ 14248 w 26254"/>
                    <a:gd name="connsiteY1" fmla="*/ 32 h 26470"/>
                    <a:gd name="connsiteX2" fmla="*/ 26205 w 26254"/>
                    <a:gd name="connsiteY2" fmla="*/ 14232 h 26470"/>
                    <a:gd name="connsiteX3" fmla="*/ 12006 w 26254"/>
                    <a:gd name="connsiteY3" fmla="*/ 26438 h 26470"/>
                    <a:gd name="connsiteX4" fmla="*/ 48 w 26254"/>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470">
                      <a:moveTo>
                        <a:pt x="48" y="12239"/>
                      </a:moveTo>
                      <a:cubicBezTo>
                        <a:pt x="671" y="4890"/>
                        <a:pt x="7023" y="-466"/>
                        <a:pt x="14248" y="32"/>
                      </a:cubicBezTo>
                      <a:cubicBezTo>
                        <a:pt x="21473" y="530"/>
                        <a:pt x="26828" y="7007"/>
                        <a:pt x="26205" y="14232"/>
                      </a:cubicBezTo>
                      <a:cubicBezTo>
                        <a:pt x="25582" y="21581"/>
                        <a:pt x="19230" y="26937"/>
                        <a:pt x="12006" y="26438"/>
                      </a:cubicBezTo>
                      <a:cubicBezTo>
                        <a:pt x="4906" y="25816"/>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0" name="Graphic 2987">
                <a:extLst>
                  <a:ext uri="{FF2B5EF4-FFF2-40B4-BE49-F238E27FC236}">
                    <a16:creationId xmlns:a16="http://schemas.microsoft.com/office/drawing/2014/main" id="{052FB1F5-3ECE-D63E-849E-3446A953BDA8}"/>
                  </a:ext>
                </a:extLst>
              </p:cNvPr>
              <p:cNvGrpSpPr/>
              <p:nvPr/>
            </p:nvGrpSpPr>
            <p:grpSpPr>
              <a:xfrm>
                <a:off x="9213108" y="5585938"/>
                <a:ext cx="36967" cy="148553"/>
                <a:chOff x="9213108" y="5585938"/>
                <a:chExt cx="36967" cy="148553"/>
              </a:xfrm>
              <a:grpFill/>
            </p:grpSpPr>
            <p:sp>
              <p:nvSpPr>
                <p:cNvPr id="4319" name="Freeform 5238">
                  <a:extLst>
                    <a:ext uri="{FF2B5EF4-FFF2-40B4-BE49-F238E27FC236}">
                      <a16:creationId xmlns:a16="http://schemas.microsoft.com/office/drawing/2014/main" id="{42E3351A-A38F-9475-7799-F25031FBCE99}"/>
                    </a:ext>
                  </a:extLst>
                </p:cNvPr>
                <p:cNvSpPr/>
                <p:nvPr/>
              </p:nvSpPr>
              <p:spPr>
                <a:xfrm>
                  <a:off x="9227232" y="5606041"/>
                  <a:ext cx="5231" cy="51816"/>
                </a:xfrm>
                <a:custGeom>
                  <a:avLst/>
                  <a:gdLst>
                    <a:gd name="connsiteX0" fmla="*/ 5231 w 5231"/>
                    <a:gd name="connsiteY0" fmla="*/ 0 h 51816"/>
                    <a:gd name="connsiteX1" fmla="*/ 1619 w 5231"/>
                    <a:gd name="connsiteY1" fmla="*/ 18435 h 51816"/>
                    <a:gd name="connsiteX2" fmla="*/ 3613 w 5231"/>
                    <a:gd name="connsiteY2" fmla="*/ 35748 h 51816"/>
                    <a:gd name="connsiteX3" fmla="*/ 0 w 523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0"/>
                      </a:moveTo>
                      <a:cubicBezTo>
                        <a:pt x="2117" y="7847"/>
                        <a:pt x="1495" y="14075"/>
                        <a:pt x="1619" y="18435"/>
                      </a:cubicBezTo>
                      <a:cubicBezTo>
                        <a:pt x="1744" y="25410"/>
                        <a:pt x="3613"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0" name="Freeform 5239">
                  <a:extLst>
                    <a:ext uri="{FF2B5EF4-FFF2-40B4-BE49-F238E27FC236}">
                      <a16:creationId xmlns:a16="http://schemas.microsoft.com/office/drawing/2014/main" id="{BCB5ED6D-FCE1-8AC8-2586-F6A69E232046}"/>
                    </a:ext>
                  </a:extLst>
                </p:cNvPr>
                <p:cNvSpPr/>
                <p:nvPr/>
              </p:nvSpPr>
              <p:spPr>
                <a:xfrm>
                  <a:off x="9235032" y="5601682"/>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1" name="Freeform 5240">
                  <a:extLst>
                    <a:ext uri="{FF2B5EF4-FFF2-40B4-BE49-F238E27FC236}">
                      <a16:creationId xmlns:a16="http://schemas.microsoft.com/office/drawing/2014/main" id="{0C5023D4-6ED7-6E94-E47D-1A00DC6A4B3E}"/>
                    </a:ext>
                  </a:extLst>
                </p:cNvPr>
                <p:cNvSpPr/>
                <p:nvPr/>
              </p:nvSpPr>
              <p:spPr>
                <a:xfrm>
                  <a:off x="9223446" y="5585938"/>
                  <a:ext cx="26629" cy="26503"/>
                </a:xfrm>
                <a:custGeom>
                  <a:avLst/>
                  <a:gdLst>
                    <a:gd name="connsiteX0" fmla="*/ 26580 w 26629"/>
                    <a:gd name="connsiteY0" fmla="*/ 14373 h 26503"/>
                    <a:gd name="connsiteX1" fmla="*/ 12131 w 26629"/>
                    <a:gd name="connsiteY1" fmla="*/ 26455 h 26503"/>
                    <a:gd name="connsiteX2" fmla="*/ 49 w 26629"/>
                    <a:gd name="connsiteY2" fmla="*/ 12131 h 26503"/>
                    <a:gd name="connsiteX3" fmla="*/ 14498 w 26629"/>
                    <a:gd name="connsiteY3" fmla="*/ 49 h 26503"/>
                    <a:gd name="connsiteX4" fmla="*/ 26580 w 26629"/>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3">
                      <a:moveTo>
                        <a:pt x="26580" y="14373"/>
                      </a:moveTo>
                      <a:cubicBezTo>
                        <a:pt x="25957" y="21598"/>
                        <a:pt x="19480" y="27078"/>
                        <a:pt x="12131" y="26455"/>
                      </a:cubicBezTo>
                      <a:cubicBezTo>
                        <a:pt x="4782" y="25832"/>
                        <a:pt x="-573" y="19480"/>
                        <a:pt x="49" y="12131"/>
                      </a:cubicBezTo>
                      <a:cubicBezTo>
                        <a:pt x="672" y="4783"/>
                        <a:pt x="7149" y="-574"/>
                        <a:pt x="14498" y="49"/>
                      </a:cubicBezTo>
                      <a:cubicBezTo>
                        <a:pt x="21847" y="672"/>
                        <a:pt x="27203" y="7149"/>
                        <a:pt x="2658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2" name="Freeform 5241">
                  <a:extLst>
                    <a:ext uri="{FF2B5EF4-FFF2-40B4-BE49-F238E27FC236}">
                      <a16:creationId xmlns:a16="http://schemas.microsoft.com/office/drawing/2014/main" id="{5F3EE967-3F05-B782-D12B-93E0F1D12444}"/>
                    </a:ext>
                  </a:extLst>
                </p:cNvPr>
                <p:cNvSpPr/>
                <p:nvPr/>
              </p:nvSpPr>
              <p:spPr>
                <a:xfrm>
                  <a:off x="9230471" y="5662591"/>
                  <a:ext cx="5355" cy="51816"/>
                </a:xfrm>
                <a:custGeom>
                  <a:avLst/>
                  <a:gdLst>
                    <a:gd name="connsiteX0" fmla="*/ 0 w 5355"/>
                    <a:gd name="connsiteY0" fmla="*/ 51816 h 51816"/>
                    <a:gd name="connsiteX1" fmla="*/ 3612 w 5355"/>
                    <a:gd name="connsiteY1" fmla="*/ 33381 h 51816"/>
                    <a:gd name="connsiteX2" fmla="*/ 1744 w 5355"/>
                    <a:gd name="connsiteY2" fmla="*/ 16068 h 51816"/>
                    <a:gd name="connsiteX3" fmla="*/ 5356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0" y="51816"/>
                      </a:moveTo>
                      <a:cubicBezTo>
                        <a:pt x="3114" y="43969"/>
                        <a:pt x="3737" y="37741"/>
                        <a:pt x="3612" y="33381"/>
                      </a:cubicBezTo>
                      <a:cubicBezTo>
                        <a:pt x="3488" y="26406"/>
                        <a:pt x="1619" y="23168"/>
                        <a:pt x="1744" y="16068"/>
                      </a:cubicBezTo>
                      <a:cubicBezTo>
                        <a:pt x="1869"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3" name="Freeform 5242">
                  <a:extLst>
                    <a:ext uri="{FF2B5EF4-FFF2-40B4-BE49-F238E27FC236}">
                      <a16:creationId xmlns:a16="http://schemas.microsoft.com/office/drawing/2014/main" id="{6EA226D5-936B-93F3-4161-D82AC0CBA2B4}"/>
                    </a:ext>
                  </a:extLst>
                </p:cNvPr>
                <p:cNvSpPr/>
                <p:nvPr/>
              </p:nvSpPr>
              <p:spPr>
                <a:xfrm>
                  <a:off x="9221875" y="5666950"/>
                  <a:ext cx="6151" cy="51940"/>
                </a:xfrm>
                <a:custGeom>
                  <a:avLst/>
                  <a:gdLst>
                    <a:gd name="connsiteX0" fmla="*/ 4984 w 6151"/>
                    <a:gd name="connsiteY0" fmla="*/ 0 h 51940"/>
                    <a:gd name="connsiteX1" fmla="*/ 5357 w 6151"/>
                    <a:gd name="connsiteY1" fmla="*/ 18808 h 51940"/>
                    <a:gd name="connsiteX2" fmla="*/ 499 w 6151"/>
                    <a:gd name="connsiteY2" fmla="*/ 35499 h 51940"/>
                    <a:gd name="connsiteX3" fmla="*/ 1246 w 615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0"/>
                      </a:moveTo>
                      <a:cubicBezTo>
                        <a:pt x="6727" y="8221"/>
                        <a:pt x="6229" y="14573"/>
                        <a:pt x="5357" y="18808"/>
                      </a:cubicBezTo>
                      <a:cubicBezTo>
                        <a:pt x="3987" y="25659"/>
                        <a:pt x="1620" y="28523"/>
                        <a:pt x="499" y="35499"/>
                      </a:cubicBezTo>
                      <a:cubicBezTo>
                        <a:pt x="-622" y="42350"/>
                        <a:pt x="375" y="48204"/>
                        <a:pt x="124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4" name="Freeform 5243">
                  <a:extLst>
                    <a:ext uri="{FF2B5EF4-FFF2-40B4-BE49-F238E27FC236}">
                      <a16:creationId xmlns:a16="http://schemas.microsoft.com/office/drawing/2014/main" id="{CB755FA1-D726-5103-3FF2-ABAC295EA2FA}"/>
                    </a:ext>
                  </a:extLst>
                </p:cNvPr>
                <p:cNvSpPr/>
                <p:nvPr/>
              </p:nvSpPr>
              <p:spPr>
                <a:xfrm>
                  <a:off x="9213108" y="5707897"/>
                  <a:ext cx="26256" cy="26594"/>
                </a:xfrm>
                <a:custGeom>
                  <a:avLst/>
                  <a:gdLst>
                    <a:gd name="connsiteX0" fmla="*/ 49 w 26256"/>
                    <a:gd name="connsiteY0" fmla="*/ 12239 h 26594"/>
                    <a:gd name="connsiteX1" fmla="*/ 14249 w 26256"/>
                    <a:gd name="connsiteY1" fmla="*/ 32 h 26594"/>
                    <a:gd name="connsiteX2" fmla="*/ 26207 w 26256"/>
                    <a:gd name="connsiteY2" fmla="*/ 14357 h 26594"/>
                    <a:gd name="connsiteX3" fmla="*/ 12007 w 26256"/>
                    <a:gd name="connsiteY3" fmla="*/ 26563 h 26594"/>
                    <a:gd name="connsiteX4" fmla="*/ 49 w 26256"/>
                    <a:gd name="connsiteY4" fmla="*/ 12239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94">
                      <a:moveTo>
                        <a:pt x="49" y="12239"/>
                      </a:moveTo>
                      <a:cubicBezTo>
                        <a:pt x="672" y="4890"/>
                        <a:pt x="7024" y="-466"/>
                        <a:pt x="14249" y="32"/>
                      </a:cubicBezTo>
                      <a:cubicBezTo>
                        <a:pt x="21474" y="655"/>
                        <a:pt x="26829" y="7007"/>
                        <a:pt x="26207" y="14357"/>
                      </a:cubicBezTo>
                      <a:cubicBezTo>
                        <a:pt x="25583" y="21581"/>
                        <a:pt x="19232" y="27061"/>
                        <a:pt x="12007" y="26563"/>
                      </a:cubicBezTo>
                      <a:cubicBezTo>
                        <a:pt x="4782" y="25940"/>
                        <a:pt x="-573" y="19588"/>
                        <a:pt x="4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1" name="Graphic 2987">
                <a:extLst>
                  <a:ext uri="{FF2B5EF4-FFF2-40B4-BE49-F238E27FC236}">
                    <a16:creationId xmlns:a16="http://schemas.microsoft.com/office/drawing/2014/main" id="{D3436AC1-B23D-896B-7D59-F0D167552C52}"/>
                  </a:ext>
                </a:extLst>
              </p:cNvPr>
              <p:cNvGrpSpPr/>
              <p:nvPr/>
            </p:nvGrpSpPr>
            <p:grpSpPr>
              <a:xfrm>
                <a:off x="9242378" y="5588679"/>
                <a:ext cx="37361" cy="148447"/>
                <a:chOff x="9242378" y="5588679"/>
                <a:chExt cx="37361" cy="148447"/>
              </a:xfrm>
              <a:grpFill/>
            </p:grpSpPr>
            <p:sp>
              <p:nvSpPr>
                <p:cNvPr id="4313" name="Freeform 5245">
                  <a:extLst>
                    <a:ext uri="{FF2B5EF4-FFF2-40B4-BE49-F238E27FC236}">
                      <a16:creationId xmlns:a16="http://schemas.microsoft.com/office/drawing/2014/main" id="{B99D4C65-5D47-BA6F-0A43-C22538F313A3}"/>
                    </a:ext>
                  </a:extLst>
                </p:cNvPr>
                <p:cNvSpPr/>
                <p:nvPr/>
              </p:nvSpPr>
              <p:spPr>
                <a:xfrm>
                  <a:off x="9256752" y="5608657"/>
                  <a:ext cx="5355" cy="51816"/>
                </a:xfrm>
                <a:custGeom>
                  <a:avLst/>
                  <a:gdLst>
                    <a:gd name="connsiteX0" fmla="*/ 5356 w 5355"/>
                    <a:gd name="connsiteY0" fmla="*/ 0 h 51816"/>
                    <a:gd name="connsiteX1" fmla="*/ 1744 w 5355"/>
                    <a:gd name="connsiteY1" fmla="*/ 18435 h 51816"/>
                    <a:gd name="connsiteX2" fmla="*/ 3613 w 5355"/>
                    <a:gd name="connsiteY2" fmla="*/ 35748 h 51816"/>
                    <a:gd name="connsiteX3" fmla="*/ 0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0"/>
                      </a:moveTo>
                      <a:cubicBezTo>
                        <a:pt x="2118" y="7723"/>
                        <a:pt x="1619" y="14075"/>
                        <a:pt x="1744" y="18435"/>
                      </a:cubicBezTo>
                      <a:cubicBezTo>
                        <a:pt x="1869" y="25410"/>
                        <a:pt x="3737"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4" name="Freeform 5246">
                  <a:extLst>
                    <a:ext uri="{FF2B5EF4-FFF2-40B4-BE49-F238E27FC236}">
                      <a16:creationId xmlns:a16="http://schemas.microsoft.com/office/drawing/2014/main" id="{76B02ED2-29B1-3EDC-D8C4-BD9B9ED6AF2B}"/>
                    </a:ext>
                  </a:extLst>
                </p:cNvPr>
                <p:cNvSpPr/>
                <p:nvPr/>
              </p:nvSpPr>
              <p:spPr>
                <a:xfrm>
                  <a:off x="9264610" y="5604298"/>
                  <a:ext cx="6369" cy="51940"/>
                </a:xfrm>
                <a:custGeom>
                  <a:avLst/>
                  <a:gdLst>
                    <a:gd name="connsiteX0" fmla="*/ 1111 w 6369"/>
                    <a:gd name="connsiteY0" fmla="*/ 51940 h 51940"/>
                    <a:gd name="connsiteX1" fmla="*/ 861 w 6369"/>
                    <a:gd name="connsiteY1" fmla="*/ 33132 h 51940"/>
                    <a:gd name="connsiteX2" fmla="*/ 5844 w 6369"/>
                    <a:gd name="connsiteY2" fmla="*/ 16441 h 51940"/>
                    <a:gd name="connsiteX3" fmla="*/ 5097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1111" y="51940"/>
                      </a:moveTo>
                      <a:cubicBezTo>
                        <a:pt x="-633" y="43719"/>
                        <a:pt x="-11" y="37367"/>
                        <a:pt x="861" y="33132"/>
                      </a:cubicBezTo>
                      <a:cubicBezTo>
                        <a:pt x="2231" y="26281"/>
                        <a:pt x="4722" y="23417"/>
                        <a:pt x="5844" y="16441"/>
                      </a:cubicBezTo>
                      <a:cubicBezTo>
                        <a:pt x="6964" y="9591"/>
                        <a:pt x="6092" y="3737"/>
                        <a:pt x="509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5" name="Freeform 5247">
                  <a:extLst>
                    <a:ext uri="{FF2B5EF4-FFF2-40B4-BE49-F238E27FC236}">
                      <a16:creationId xmlns:a16="http://schemas.microsoft.com/office/drawing/2014/main" id="{260FD23F-EE29-3A31-31CF-08915BBB93EA}"/>
                    </a:ext>
                  </a:extLst>
                </p:cNvPr>
                <p:cNvSpPr/>
                <p:nvPr/>
              </p:nvSpPr>
              <p:spPr>
                <a:xfrm>
                  <a:off x="9253091" y="5588679"/>
                  <a:ext cx="26648" cy="26505"/>
                </a:xfrm>
                <a:custGeom>
                  <a:avLst/>
                  <a:gdLst>
                    <a:gd name="connsiteX0" fmla="*/ 26580 w 26648"/>
                    <a:gd name="connsiteY0" fmla="*/ 14498 h 26505"/>
                    <a:gd name="connsiteX1" fmla="*/ 12131 w 26648"/>
                    <a:gd name="connsiteY1" fmla="*/ 26455 h 26505"/>
                    <a:gd name="connsiteX2" fmla="*/ 49 w 26648"/>
                    <a:gd name="connsiteY2" fmla="*/ 12007 h 26505"/>
                    <a:gd name="connsiteX3" fmla="*/ 14498 w 26648"/>
                    <a:gd name="connsiteY3" fmla="*/ 49 h 26505"/>
                    <a:gd name="connsiteX4" fmla="*/ 26580 w 26648"/>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5">
                      <a:moveTo>
                        <a:pt x="26580" y="14498"/>
                      </a:moveTo>
                      <a:cubicBezTo>
                        <a:pt x="25957" y="21847"/>
                        <a:pt x="19480" y="27078"/>
                        <a:pt x="12131" y="26455"/>
                      </a:cubicBezTo>
                      <a:cubicBezTo>
                        <a:pt x="4782" y="25708"/>
                        <a:pt x="-573" y="19231"/>
                        <a:pt x="49" y="12007"/>
                      </a:cubicBezTo>
                      <a:cubicBezTo>
                        <a:pt x="672" y="4782"/>
                        <a:pt x="7149" y="-574"/>
                        <a:pt x="14498" y="49"/>
                      </a:cubicBezTo>
                      <a:cubicBezTo>
                        <a:pt x="21847" y="797"/>
                        <a:pt x="27327" y="7273"/>
                        <a:pt x="2658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6" name="Freeform 5248">
                  <a:extLst>
                    <a:ext uri="{FF2B5EF4-FFF2-40B4-BE49-F238E27FC236}">
                      <a16:creationId xmlns:a16="http://schemas.microsoft.com/office/drawing/2014/main" id="{B35B32E3-070A-52F5-D7C5-10E609D6D3C1}"/>
                    </a:ext>
                  </a:extLst>
                </p:cNvPr>
                <p:cNvSpPr/>
                <p:nvPr/>
              </p:nvSpPr>
              <p:spPr>
                <a:xfrm>
                  <a:off x="9259741" y="5665331"/>
                  <a:ext cx="5356" cy="51816"/>
                </a:xfrm>
                <a:custGeom>
                  <a:avLst/>
                  <a:gdLst>
                    <a:gd name="connsiteX0" fmla="*/ 0 w 5356"/>
                    <a:gd name="connsiteY0" fmla="*/ 51816 h 51816"/>
                    <a:gd name="connsiteX1" fmla="*/ 3613 w 5356"/>
                    <a:gd name="connsiteY1" fmla="*/ 33381 h 51816"/>
                    <a:gd name="connsiteX2" fmla="*/ 1744 w 5356"/>
                    <a:gd name="connsiteY2" fmla="*/ 16068 h 51816"/>
                    <a:gd name="connsiteX3" fmla="*/ 5357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0" y="51816"/>
                      </a:moveTo>
                      <a:cubicBezTo>
                        <a:pt x="3114" y="44094"/>
                        <a:pt x="3737" y="37741"/>
                        <a:pt x="3613" y="33381"/>
                      </a:cubicBezTo>
                      <a:cubicBezTo>
                        <a:pt x="3488" y="26406"/>
                        <a:pt x="1619" y="23168"/>
                        <a:pt x="1744" y="16068"/>
                      </a:cubicBezTo>
                      <a:cubicBezTo>
                        <a:pt x="1869" y="9217"/>
                        <a:pt x="3737" y="3612"/>
                        <a:pt x="53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7" name="Freeform 5249">
                  <a:extLst>
                    <a:ext uri="{FF2B5EF4-FFF2-40B4-BE49-F238E27FC236}">
                      <a16:creationId xmlns:a16="http://schemas.microsoft.com/office/drawing/2014/main" id="{F69DD4E4-124E-5860-F541-8ABCD5262881}"/>
                    </a:ext>
                  </a:extLst>
                </p:cNvPr>
                <p:cNvSpPr/>
                <p:nvPr/>
              </p:nvSpPr>
              <p:spPr>
                <a:xfrm>
                  <a:off x="9251115" y="5669441"/>
                  <a:ext cx="6249" cy="51940"/>
                </a:xfrm>
                <a:custGeom>
                  <a:avLst/>
                  <a:gdLst>
                    <a:gd name="connsiteX0" fmla="*/ 5139 w 6249"/>
                    <a:gd name="connsiteY0" fmla="*/ 0 h 51940"/>
                    <a:gd name="connsiteX1" fmla="*/ 5389 w 6249"/>
                    <a:gd name="connsiteY1" fmla="*/ 18808 h 51940"/>
                    <a:gd name="connsiteX2" fmla="*/ 531 w 6249"/>
                    <a:gd name="connsiteY2" fmla="*/ 35499 h 51940"/>
                    <a:gd name="connsiteX3" fmla="*/ 1153 w 624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9" h="51940">
                      <a:moveTo>
                        <a:pt x="5139" y="0"/>
                      </a:moveTo>
                      <a:cubicBezTo>
                        <a:pt x="6883" y="8221"/>
                        <a:pt x="6260" y="14573"/>
                        <a:pt x="5389" y="18808"/>
                      </a:cubicBezTo>
                      <a:cubicBezTo>
                        <a:pt x="4018" y="25659"/>
                        <a:pt x="1651" y="28524"/>
                        <a:pt x="531" y="35499"/>
                      </a:cubicBezTo>
                      <a:cubicBezTo>
                        <a:pt x="-591" y="42350"/>
                        <a:pt x="281" y="48204"/>
                        <a:pt x="115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8" name="Freeform 5250">
                  <a:extLst>
                    <a:ext uri="{FF2B5EF4-FFF2-40B4-BE49-F238E27FC236}">
                      <a16:creationId xmlns:a16="http://schemas.microsoft.com/office/drawing/2014/main" id="{6AE2A716-6859-C1DD-183F-50B62F4466AA}"/>
                    </a:ext>
                  </a:extLst>
                </p:cNvPr>
                <p:cNvSpPr/>
                <p:nvPr/>
              </p:nvSpPr>
              <p:spPr>
                <a:xfrm>
                  <a:off x="9242378" y="5710619"/>
                  <a:ext cx="26381" cy="26507"/>
                </a:xfrm>
                <a:custGeom>
                  <a:avLst/>
                  <a:gdLst>
                    <a:gd name="connsiteX0" fmla="*/ 50 w 26381"/>
                    <a:gd name="connsiteY0" fmla="*/ 12008 h 26507"/>
                    <a:gd name="connsiteX1" fmla="*/ 14374 w 26381"/>
                    <a:gd name="connsiteY1" fmla="*/ 50 h 26507"/>
                    <a:gd name="connsiteX2" fmla="*/ 26332 w 26381"/>
                    <a:gd name="connsiteY2" fmla="*/ 14499 h 26507"/>
                    <a:gd name="connsiteX3" fmla="*/ 12007 w 26381"/>
                    <a:gd name="connsiteY3" fmla="*/ 26457 h 26507"/>
                    <a:gd name="connsiteX4" fmla="*/ 50 w 26381"/>
                    <a:gd name="connsiteY4" fmla="*/ 12008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6">
                      <a:moveTo>
                        <a:pt x="50" y="12008"/>
                      </a:moveTo>
                      <a:cubicBezTo>
                        <a:pt x="673" y="4659"/>
                        <a:pt x="7026" y="-572"/>
                        <a:pt x="14374" y="50"/>
                      </a:cubicBezTo>
                      <a:cubicBezTo>
                        <a:pt x="21599" y="798"/>
                        <a:pt x="26954" y="7275"/>
                        <a:pt x="26332" y="14499"/>
                      </a:cubicBezTo>
                      <a:cubicBezTo>
                        <a:pt x="25709" y="21848"/>
                        <a:pt x="19232" y="27079"/>
                        <a:pt x="12007" y="26457"/>
                      </a:cubicBezTo>
                      <a:cubicBezTo>
                        <a:pt x="4659" y="25709"/>
                        <a:pt x="-573" y="19232"/>
                        <a:pt x="5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2" name="Graphic 2987">
                <a:extLst>
                  <a:ext uri="{FF2B5EF4-FFF2-40B4-BE49-F238E27FC236}">
                    <a16:creationId xmlns:a16="http://schemas.microsoft.com/office/drawing/2014/main" id="{90CC7C1A-1579-C052-D3F9-A097F5542FF2}"/>
                  </a:ext>
                </a:extLst>
              </p:cNvPr>
              <p:cNvGrpSpPr/>
              <p:nvPr/>
            </p:nvGrpSpPr>
            <p:grpSpPr>
              <a:xfrm>
                <a:off x="9271630" y="5591542"/>
                <a:ext cx="37754" cy="148323"/>
                <a:chOff x="9271630" y="5591542"/>
                <a:chExt cx="37754" cy="148323"/>
              </a:xfrm>
              <a:grpFill/>
            </p:grpSpPr>
            <p:sp>
              <p:nvSpPr>
                <p:cNvPr id="4307" name="Freeform 5252">
                  <a:extLst>
                    <a:ext uri="{FF2B5EF4-FFF2-40B4-BE49-F238E27FC236}">
                      <a16:creationId xmlns:a16="http://schemas.microsoft.com/office/drawing/2014/main" id="{C1BE903E-BB44-32D5-28BE-CF8C204D1CBA}"/>
                    </a:ext>
                  </a:extLst>
                </p:cNvPr>
                <p:cNvSpPr/>
                <p:nvPr/>
              </p:nvSpPr>
              <p:spPr>
                <a:xfrm>
                  <a:off x="9286272" y="5611397"/>
                  <a:ext cx="5480" cy="51816"/>
                </a:xfrm>
                <a:custGeom>
                  <a:avLst/>
                  <a:gdLst>
                    <a:gd name="connsiteX0" fmla="*/ 5481 w 5480"/>
                    <a:gd name="connsiteY0" fmla="*/ 0 h 51816"/>
                    <a:gd name="connsiteX1" fmla="*/ 1744 w 5480"/>
                    <a:gd name="connsiteY1" fmla="*/ 18435 h 51816"/>
                    <a:gd name="connsiteX2" fmla="*/ 3613 w 5480"/>
                    <a:gd name="connsiteY2" fmla="*/ 35748 h 51816"/>
                    <a:gd name="connsiteX3" fmla="*/ 0 w 5480"/>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480" h="51816">
                      <a:moveTo>
                        <a:pt x="5481" y="0"/>
                      </a:moveTo>
                      <a:cubicBezTo>
                        <a:pt x="2242" y="7723"/>
                        <a:pt x="1744" y="14075"/>
                        <a:pt x="1744" y="18435"/>
                      </a:cubicBezTo>
                      <a:cubicBezTo>
                        <a:pt x="1869" y="25410"/>
                        <a:pt x="3737" y="28648"/>
                        <a:pt x="3613"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8" name="Freeform 5253">
                  <a:extLst>
                    <a:ext uri="{FF2B5EF4-FFF2-40B4-BE49-F238E27FC236}">
                      <a16:creationId xmlns:a16="http://schemas.microsoft.com/office/drawing/2014/main" id="{7D2A6E72-5E66-58CB-4B43-6ACDBB4E9710}"/>
                    </a:ext>
                  </a:extLst>
                </p:cNvPr>
                <p:cNvSpPr/>
                <p:nvPr/>
              </p:nvSpPr>
              <p:spPr>
                <a:xfrm>
                  <a:off x="9294006" y="5607162"/>
                  <a:ext cx="6374" cy="51940"/>
                </a:xfrm>
                <a:custGeom>
                  <a:avLst/>
                  <a:gdLst>
                    <a:gd name="connsiteX0" fmla="*/ 1111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51941"/>
                      </a:moveTo>
                      <a:cubicBezTo>
                        <a:pt x="-633" y="43720"/>
                        <a:pt x="-11" y="37367"/>
                        <a:pt x="861" y="33132"/>
                      </a:cubicBezTo>
                      <a:cubicBezTo>
                        <a:pt x="2232" y="26282"/>
                        <a:pt x="4722" y="23417"/>
                        <a:pt x="5844" y="16442"/>
                      </a:cubicBezTo>
                      <a:cubicBezTo>
                        <a:pt x="6964"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9" name="Freeform 5254">
                  <a:extLst>
                    <a:ext uri="{FF2B5EF4-FFF2-40B4-BE49-F238E27FC236}">
                      <a16:creationId xmlns:a16="http://schemas.microsoft.com/office/drawing/2014/main" id="{68065525-16F1-AB67-E9EE-5577AC41EC43}"/>
                    </a:ext>
                  </a:extLst>
                </p:cNvPr>
                <p:cNvSpPr/>
                <p:nvPr/>
              </p:nvSpPr>
              <p:spPr>
                <a:xfrm>
                  <a:off x="9282737" y="5591542"/>
                  <a:ext cx="26647" cy="26506"/>
                </a:xfrm>
                <a:custGeom>
                  <a:avLst/>
                  <a:gdLst>
                    <a:gd name="connsiteX0" fmla="*/ 26579 w 26647"/>
                    <a:gd name="connsiteY0" fmla="*/ 14499 h 26506"/>
                    <a:gd name="connsiteX1" fmla="*/ 12130 w 26647"/>
                    <a:gd name="connsiteY1" fmla="*/ 26456 h 26506"/>
                    <a:gd name="connsiteX2" fmla="*/ 48 w 26647"/>
                    <a:gd name="connsiteY2" fmla="*/ 12008 h 26506"/>
                    <a:gd name="connsiteX3" fmla="*/ 14497 w 26647"/>
                    <a:gd name="connsiteY3" fmla="*/ 50 h 26506"/>
                    <a:gd name="connsiteX4" fmla="*/ 26579 w 26647"/>
                    <a:gd name="connsiteY4" fmla="*/ 14499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506">
                      <a:moveTo>
                        <a:pt x="26579" y="14499"/>
                      </a:moveTo>
                      <a:cubicBezTo>
                        <a:pt x="25832" y="21848"/>
                        <a:pt x="19355" y="27079"/>
                        <a:pt x="12130" y="26456"/>
                      </a:cubicBezTo>
                      <a:cubicBezTo>
                        <a:pt x="4906" y="25834"/>
                        <a:pt x="-574" y="19232"/>
                        <a:pt x="48" y="12008"/>
                      </a:cubicBezTo>
                      <a:cubicBezTo>
                        <a:pt x="671" y="4659"/>
                        <a:pt x="7148" y="-572"/>
                        <a:pt x="14497" y="50"/>
                      </a:cubicBezTo>
                      <a:cubicBezTo>
                        <a:pt x="21846" y="673"/>
                        <a:pt x="27326" y="7150"/>
                        <a:pt x="26579"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0" name="Freeform 5255">
                  <a:extLst>
                    <a:ext uri="{FF2B5EF4-FFF2-40B4-BE49-F238E27FC236}">
                      <a16:creationId xmlns:a16="http://schemas.microsoft.com/office/drawing/2014/main" id="{051BB908-DA80-2418-7FBF-F2A179E7C510}"/>
                    </a:ext>
                  </a:extLst>
                </p:cNvPr>
                <p:cNvSpPr/>
                <p:nvPr/>
              </p:nvSpPr>
              <p:spPr>
                <a:xfrm>
                  <a:off x="9289013" y="5668071"/>
                  <a:ext cx="5605" cy="51816"/>
                </a:xfrm>
                <a:custGeom>
                  <a:avLst/>
                  <a:gdLst>
                    <a:gd name="connsiteX0" fmla="*/ 0 w 5605"/>
                    <a:gd name="connsiteY0" fmla="*/ 51816 h 51816"/>
                    <a:gd name="connsiteX1" fmla="*/ 3737 w 5605"/>
                    <a:gd name="connsiteY1" fmla="*/ 33381 h 51816"/>
                    <a:gd name="connsiteX2" fmla="*/ 1993 w 5605"/>
                    <a:gd name="connsiteY2" fmla="*/ 16068 h 51816"/>
                    <a:gd name="connsiteX3" fmla="*/ 5605 w 5605"/>
                    <a:gd name="connsiteY3" fmla="*/ 0 h 51816"/>
                  </a:gdLst>
                  <a:ahLst/>
                  <a:cxnLst>
                    <a:cxn ang="0">
                      <a:pos x="connsiteX0" y="connsiteY0"/>
                    </a:cxn>
                    <a:cxn ang="0">
                      <a:pos x="connsiteX1" y="connsiteY1"/>
                    </a:cxn>
                    <a:cxn ang="0">
                      <a:pos x="connsiteX2" y="connsiteY2"/>
                    </a:cxn>
                    <a:cxn ang="0">
                      <a:pos x="connsiteX3" y="connsiteY3"/>
                    </a:cxn>
                  </a:cxnLst>
                  <a:rect l="l" t="t" r="r" b="b"/>
                  <a:pathLst>
                    <a:path w="5605" h="51816">
                      <a:moveTo>
                        <a:pt x="0" y="51816"/>
                      </a:moveTo>
                      <a:cubicBezTo>
                        <a:pt x="3239" y="44094"/>
                        <a:pt x="3737" y="37741"/>
                        <a:pt x="3737" y="33381"/>
                      </a:cubicBezTo>
                      <a:cubicBezTo>
                        <a:pt x="3612" y="26406"/>
                        <a:pt x="1744" y="23168"/>
                        <a:pt x="1993" y="16068"/>
                      </a:cubicBezTo>
                      <a:cubicBezTo>
                        <a:pt x="2117" y="9217"/>
                        <a:pt x="4111"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1" name="Freeform 5256">
                  <a:extLst>
                    <a:ext uri="{FF2B5EF4-FFF2-40B4-BE49-F238E27FC236}">
                      <a16:creationId xmlns:a16="http://schemas.microsoft.com/office/drawing/2014/main" id="{016D3E79-E1D8-6F4A-B026-24E656DC382E}"/>
                    </a:ext>
                  </a:extLst>
                </p:cNvPr>
                <p:cNvSpPr/>
                <p:nvPr/>
              </p:nvSpPr>
              <p:spPr>
                <a:xfrm>
                  <a:off x="9280386" y="5672306"/>
                  <a:ext cx="6374" cy="51940"/>
                </a:xfrm>
                <a:custGeom>
                  <a:avLst/>
                  <a:gdLst>
                    <a:gd name="connsiteX0" fmla="*/ 5264 w 6374"/>
                    <a:gd name="connsiteY0" fmla="*/ 0 h 51940"/>
                    <a:gd name="connsiteX1" fmla="*/ 5513 w 6374"/>
                    <a:gd name="connsiteY1" fmla="*/ 18808 h 51940"/>
                    <a:gd name="connsiteX2" fmla="*/ 530 w 6374"/>
                    <a:gd name="connsiteY2" fmla="*/ 35499 h 51940"/>
                    <a:gd name="connsiteX3" fmla="*/ 1153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0" y="35499"/>
                      </a:cubicBezTo>
                      <a:cubicBezTo>
                        <a:pt x="-590" y="42350"/>
                        <a:pt x="282" y="48204"/>
                        <a:pt x="115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2" name="Freeform 5257">
                  <a:extLst>
                    <a:ext uri="{FF2B5EF4-FFF2-40B4-BE49-F238E27FC236}">
                      <a16:creationId xmlns:a16="http://schemas.microsoft.com/office/drawing/2014/main" id="{3CF52E26-6AAD-52BA-C1A3-C0347C0454E7}"/>
                    </a:ext>
                  </a:extLst>
                </p:cNvPr>
                <p:cNvSpPr/>
                <p:nvPr/>
              </p:nvSpPr>
              <p:spPr>
                <a:xfrm>
                  <a:off x="9271630" y="5713360"/>
                  <a:ext cx="26296" cy="26505"/>
                </a:xfrm>
                <a:custGeom>
                  <a:avLst/>
                  <a:gdLst>
                    <a:gd name="connsiteX0" fmla="*/ 70 w 26296"/>
                    <a:gd name="connsiteY0" fmla="*/ 12008 h 26505"/>
                    <a:gd name="connsiteX1" fmla="*/ 14394 w 26296"/>
                    <a:gd name="connsiteY1" fmla="*/ 50 h 26505"/>
                    <a:gd name="connsiteX2" fmla="*/ 26226 w 26296"/>
                    <a:gd name="connsiteY2" fmla="*/ 14499 h 26505"/>
                    <a:gd name="connsiteX3" fmla="*/ 11903 w 26296"/>
                    <a:gd name="connsiteY3" fmla="*/ 26456 h 26505"/>
                    <a:gd name="connsiteX4" fmla="*/ 70 w 26296"/>
                    <a:gd name="connsiteY4" fmla="*/ 1200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2008"/>
                      </a:moveTo>
                      <a:cubicBezTo>
                        <a:pt x="692" y="4659"/>
                        <a:pt x="7170" y="-572"/>
                        <a:pt x="14394" y="50"/>
                      </a:cubicBezTo>
                      <a:cubicBezTo>
                        <a:pt x="21618" y="673"/>
                        <a:pt x="26975" y="7275"/>
                        <a:pt x="26226" y="14499"/>
                      </a:cubicBezTo>
                      <a:cubicBezTo>
                        <a:pt x="25479" y="21724"/>
                        <a:pt x="19127" y="27079"/>
                        <a:pt x="11903" y="26456"/>
                      </a:cubicBezTo>
                      <a:cubicBezTo>
                        <a:pt x="4678" y="25834"/>
                        <a:pt x="-678" y="19357"/>
                        <a:pt x="7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3" name="Graphic 2987">
                <a:extLst>
                  <a:ext uri="{FF2B5EF4-FFF2-40B4-BE49-F238E27FC236}">
                    <a16:creationId xmlns:a16="http://schemas.microsoft.com/office/drawing/2014/main" id="{CB5A82C1-5A68-69EC-2A0C-A24872E78560}"/>
                  </a:ext>
                </a:extLst>
              </p:cNvPr>
              <p:cNvGrpSpPr/>
              <p:nvPr/>
            </p:nvGrpSpPr>
            <p:grpSpPr>
              <a:xfrm>
                <a:off x="9300899" y="5594407"/>
                <a:ext cx="38131" cy="148324"/>
                <a:chOff x="9300899" y="5594407"/>
                <a:chExt cx="38131" cy="148324"/>
              </a:xfrm>
              <a:grpFill/>
            </p:grpSpPr>
            <p:sp>
              <p:nvSpPr>
                <p:cNvPr id="4301" name="Freeform 5259">
                  <a:extLst>
                    <a:ext uri="{FF2B5EF4-FFF2-40B4-BE49-F238E27FC236}">
                      <a16:creationId xmlns:a16="http://schemas.microsoft.com/office/drawing/2014/main" id="{A0580A1B-BD5F-996A-5E36-77E974F85632}"/>
                    </a:ext>
                  </a:extLst>
                </p:cNvPr>
                <p:cNvSpPr/>
                <p:nvPr/>
              </p:nvSpPr>
              <p:spPr>
                <a:xfrm>
                  <a:off x="9315668" y="5614262"/>
                  <a:ext cx="5729" cy="51816"/>
                </a:xfrm>
                <a:custGeom>
                  <a:avLst/>
                  <a:gdLst>
                    <a:gd name="connsiteX0" fmla="*/ 5729 w 5729"/>
                    <a:gd name="connsiteY0" fmla="*/ 0 h 51816"/>
                    <a:gd name="connsiteX1" fmla="*/ 1993 w 5729"/>
                    <a:gd name="connsiteY1" fmla="*/ 18435 h 51816"/>
                    <a:gd name="connsiteX2" fmla="*/ 3737 w 5729"/>
                    <a:gd name="connsiteY2" fmla="*/ 35748 h 51816"/>
                    <a:gd name="connsiteX3" fmla="*/ 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0"/>
                      </a:moveTo>
                      <a:cubicBezTo>
                        <a:pt x="2491" y="7723"/>
                        <a:pt x="1868" y="14075"/>
                        <a:pt x="1993" y="18435"/>
                      </a:cubicBezTo>
                      <a:cubicBezTo>
                        <a:pt x="2117" y="25410"/>
                        <a:pt x="3985"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2" name="Freeform 5260">
                  <a:extLst>
                    <a:ext uri="{FF2B5EF4-FFF2-40B4-BE49-F238E27FC236}">
                      <a16:creationId xmlns:a16="http://schemas.microsoft.com/office/drawing/2014/main" id="{63748851-8971-6555-D66C-28CAA98BF8BB}"/>
                    </a:ext>
                  </a:extLst>
                </p:cNvPr>
                <p:cNvSpPr/>
                <p:nvPr/>
              </p:nvSpPr>
              <p:spPr>
                <a:xfrm>
                  <a:off x="9323538" y="5610027"/>
                  <a:ext cx="6611" cy="51940"/>
                </a:xfrm>
                <a:custGeom>
                  <a:avLst/>
                  <a:gdLst>
                    <a:gd name="connsiteX0" fmla="*/ 1098 w 6611"/>
                    <a:gd name="connsiteY0" fmla="*/ 51940 h 51940"/>
                    <a:gd name="connsiteX1" fmla="*/ 973 w 6611"/>
                    <a:gd name="connsiteY1" fmla="*/ 33132 h 51940"/>
                    <a:gd name="connsiteX2" fmla="*/ 6081 w 6611"/>
                    <a:gd name="connsiteY2" fmla="*/ 16442 h 51940"/>
                    <a:gd name="connsiteX3" fmla="*/ 5457 w 6611"/>
                    <a:gd name="connsiteY3" fmla="*/ 0 h 51940"/>
                  </a:gdLst>
                  <a:ahLst/>
                  <a:cxnLst>
                    <a:cxn ang="0">
                      <a:pos x="connsiteX0" y="connsiteY0"/>
                    </a:cxn>
                    <a:cxn ang="0">
                      <a:pos x="connsiteX1" y="connsiteY1"/>
                    </a:cxn>
                    <a:cxn ang="0">
                      <a:pos x="connsiteX2" y="connsiteY2"/>
                    </a:cxn>
                    <a:cxn ang="0">
                      <a:pos x="connsiteX3" y="connsiteY3"/>
                    </a:cxn>
                  </a:cxnLst>
                  <a:rect l="l" t="t" r="r" b="b"/>
                  <a:pathLst>
                    <a:path w="6611" h="51940">
                      <a:moveTo>
                        <a:pt x="1098" y="51940"/>
                      </a:moveTo>
                      <a:cubicBezTo>
                        <a:pt x="-646" y="43720"/>
                        <a:pt x="-22" y="37367"/>
                        <a:pt x="973" y="33132"/>
                      </a:cubicBezTo>
                      <a:cubicBezTo>
                        <a:pt x="2468" y="26281"/>
                        <a:pt x="4835" y="23417"/>
                        <a:pt x="6081" y="16442"/>
                      </a:cubicBezTo>
                      <a:cubicBezTo>
                        <a:pt x="7201" y="9591"/>
                        <a:pt x="6329" y="3737"/>
                        <a:pt x="54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3" name="Freeform 5261">
                  <a:extLst>
                    <a:ext uri="{FF2B5EF4-FFF2-40B4-BE49-F238E27FC236}">
                      <a16:creationId xmlns:a16="http://schemas.microsoft.com/office/drawing/2014/main" id="{D75DA653-6EE3-52E4-2426-E52E30974E5A}"/>
                    </a:ext>
                  </a:extLst>
                </p:cNvPr>
                <p:cNvSpPr/>
                <p:nvPr/>
              </p:nvSpPr>
              <p:spPr>
                <a:xfrm>
                  <a:off x="9312360" y="5594407"/>
                  <a:ext cx="26670" cy="26505"/>
                </a:xfrm>
                <a:custGeom>
                  <a:avLst/>
                  <a:gdLst>
                    <a:gd name="connsiteX0" fmla="*/ 26600 w 26670"/>
                    <a:gd name="connsiteY0" fmla="*/ 14499 h 26505"/>
                    <a:gd name="connsiteX1" fmla="*/ 12027 w 26670"/>
                    <a:gd name="connsiteY1" fmla="*/ 26456 h 26505"/>
                    <a:gd name="connsiteX2" fmla="*/ 70 w 26670"/>
                    <a:gd name="connsiteY2" fmla="*/ 12008 h 26505"/>
                    <a:gd name="connsiteX3" fmla="*/ 14643 w 26670"/>
                    <a:gd name="connsiteY3" fmla="*/ 50 h 26505"/>
                    <a:gd name="connsiteX4" fmla="*/ 26600 w 26670"/>
                    <a:gd name="connsiteY4" fmla="*/ 14499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5">
                      <a:moveTo>
                        <a:pt x="26600" y="14499"/>
                      </a:moveTo>
                      <a:cubicBezTo>
                        <a:pt x="25853" y="21723"/>
                        <a:pt x="19376" y="27079"/>
                        <a:pt x="12027" y="26456"/>
                      </a:cubicBezTo>
                      <a:cubicBezTo>
                        <a:pt x="4678" y="25834"/>
                        <a:pt x="-678" y="19232"/>
                        <a:pt x="70" y="12008"/>
                      </a:cubicBezTo>
                      <a:cubicBezTo>
                        <a:pt x="817" y="4659"/>
                        <a:pt x="7293" y="-572"/>
                        <a:pt x="14643" y="50"/>
                      </a:cubicBezTo>
                      <a:cubicBezTo>
                        <a:pt x="21992" y="673"/>
                        <a:pt x="27348" y="7150"/>
                        <a:pt x="26600"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4" name="Freeform 5262">
                  <a:extLst>
                    <a:ext uri="{FF2B5EF4-FFF2-40B4-BE49-F238E27FC236}">
                      <a16:creationId xmlns:a16="http://schemas.microsoft.com/office/drawing/2014/main" id="{EE546313-A19B-44A9-DCE9-0D561487B777}"/>
                    </a:ext>
                  </a:extLst>
                </p:cNvPr>
                <p:cNvSpPr/>
                <p:nvPr/>
              </p:nvSpPr>
              <p:spPr>
                <a:xfrm>
                  <a:off x="9318284" y="5670936"/>
                  <a:ext cx="5729" cy="51816"/>
                </a:xfrm>
                <a:custGeom>
                  <a:avLst/>
                  <a:gdLst>
                    <a:gd name="connsiteX0" fmla="*/ 0 w 5729"/>
                    <a:gd name="connsiteY0" fmla="*/ 51816 h 51816"/>
                    <a:gd name="connsiteX1" fmla="*/ 3737 w 5729"/>
                    <a:gd name="connsiteY1" fmla="*/ 33382 h 51816"/>
                    <a:gd name="connsiteX2" fmla="*/ 1993 w 5729"/>
                    <a:gd name="connsiteY2" fmla="*/ 16068 h 51816"/>
                    <a:gd name="connsiteX3" fmla="*/ 573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0" y="51816"/>
                      </a:moveTo>
                      <a:cubicBezTo>
                        <a:pt x="3239" y="44094"/>
                        <a:pt x="3861" y="37741"/>
                        <a:pt x="3737" y="33382"/>
                      </a:cubicBezTo>
                      <a:cubicBezTo>
                        <a:pt x="3613" y="26407"/>
                        <a:pt x="1869" y="23168"/>
                        <a:pt x="1993" y="16068"/>
                      </a:cubicBezTo>
                      <a:cubicBezTo>
                        <a:pt x="2118" y="9218"/>
                        <a:pt x="4111"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5" name="Freeform 5263">
                  <a:extLst>
                    <a:ext uri="{FF2B5EF4-FFF2-40B4-BE49-F238E27FC236}">
                      <a16:creationId xmlns:a16="http://schemas.microsoft.com/office/drawing/2014/main" id="{DCB7221A-0FD6-D706-1E8B-F11381E032A8}"/>
                    </a:ext>
                  </a:extLst>
                </p:cNvPr>
                <p:cNvSpPr/>
                <p:nvPr/>
              </p:nvSpPr>
              <p:spPr>
                <a:xfrm>
                  <a:off x="9309782" y="5675046"/>
                  <a:ext cx="6486" cy="51940"/>
                </a:xfrm>
                <a:custGeom>
                  <a:avLst/>
                  <a:gdLst>
                    <a:gd name="connsiteX0" fmla="*/ 5388 w 6486"/>
                    <a:gd name="connsiteY0" fmla="*/ 0 h 51940"/>
                    <a:gd name="connsiteX1" fmla="*/ 5513 w 6486"/>
                    <a:gd name="connsiteY1" fmla="*/ 18808 h 51940"/>
                    <a:gd name="connsiteX2" fmla="*/ 530 w 6486"/>
                    <a:gd name="connsiteY2" fmla="*/ 35499 h 51940"/>
                    <a:gd name="connsiteX3" fmla="*/ 1154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5388" y="0"/>
                      </a:moveTo>
                      <a:cubicBezTo>
                        <a:pt x="7132" y="8221"/>
                        <a:pt x="6510" y="14573"/>
                        <a:pt x="5513" y="18808"/>
                      </a:cubicBezTo>
                      <a:cubicBezTo>
                        <a:pt x="4018" y="25659"/>
                        <a:pt x="1652" y="28524"/>
                        <a:pt x="530" y="35499"/>
                      </a:cubicBezTo>
                      <a:cubicBezTo>
                        <a:pt x="-590" y="42350"/>
                        <a:pt x="282" y="48204"/>
                        <a:pt x="115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6" name="Freeform 5264">
                  <a:extLst>
                    <a:ext uri="{FF2B5EF4-FFF2-40B4-BE49-F238E27FC236}">
                      <a16:creationId xmlns:a16="http://schemas.microsoft.com/office/drawing/2014/main" id="{CC8A8AAC-B73C-FF51-3A11-E5FB3AC6F6A0}"/>
                    </a:ext>
                  </a:extLst>
                </p:cNvPr>
                <p:cNvSpPr/>
                <p:nvPr/>
              </p:nvSpPr>
              <p:spPr>
                <a:xfrm>
                  <a:off x="9300899" y="5716225"/>
                  <a:ext cx="26298" cy="26506"/>
                </a:xfrm>
                <a:custGeom>
                  <a:avLst/>
                  <a:gdLst>
                    <a:gd name="connsiteX0" fmla="*/ 71 w 26298"/>
                    <a:gd name="connsiteY0" fmla="*/ 12008 h 26506"/>
                    <a:gd name="connsiteX1" fmla="*/ 14395 w 26298"/>
                    <a:gd name="connsiteY1" fmla="*/ 50 h 26506"/>
                    <a:gd name="connsiteX2" fmla="*/ 26229 w 26298"/>
                    <a:gd name="connsiteY2" fmla="*/ 14499 h 26506"/>
                    <a:gd name="connsiteX3" fmla="*/ 11904 w 26298"/>
                    <a:gd name="connsiteY3" fmla="*/ 26456 h 26506"/>
                    <a:gd name="connsiteX4" fmla="*/ 71 w 26298"/>
                    <a:gd name="connsiteY4" fmla="*/ 12008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6">
                      <a:moveTo>
                        <a:pt x="71" y="12008"/>
                      </a:moveTo>
                      <a:cubicBezTo>
                        <a:pt x="819" y="4659"/>
                        <a:pt x="7171" y="-572"/>
                        <a:pt x="14395" y="50"/>
                      </a:cubicBezTo>
                      <a:cubicBezTo>
                        <a:pt x="21620" y="798"/>
                        <a:pt x="26976" y="7150"/>
                        <a:pt x="26229" y="14499"/>
                      </a:cubicBezTo>
                      <a:cubicBezTo>
                        <a:pt x="25481" y="21848"/>
                        <a:pt x="19129" y="27079"/>
                        <a:pt x="11904" y="26456"/>
                      </a:cubicBezTo>
                      <a:cubicBezTo>
                        <a:pt x="4556" y="25709"/>
                        <a:pt x="-676" y="19232"/>
                        <a:pt x="71"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4" name="Graphic 2987">
                <a:extLst>
                  <a:ext uri="{FF2B5EF4-FFF2-40B4-BE49-F238E27FC236}">
                    <a16:creationId xmlns:a16="http://schemas.microsoft.com/office/drawing/2014/main" id="{A19C55FF-EE2F-C1E4-E745-D3E4487C48F9}"/>
                  </a:ext>
                </a:extLst>
              </p:cNvPr>
              <p:cNvGrpSpPr/>
              <p:nvPr/>
            </p:nvGrpSpPr>
            <p:grpSpPr>
              <a:xfrm>
                <a:off x="9330067" y="5597149"/>
                <a:ext cx="38608" cy="148322"/>
                <a:chOff x="9330067" y="5597149"/>
                <a:chExt cx="38608" cy="148322"/>
              </a:xfrm>
              <a:grpFill/>
            </p:grpSpPr>
            <p:sp>
              <p:nvSpPr>
                <p:cNvPr id="4295" name="Freeform 5266">
                  <a:extLst>
                    <a:ext uri="{FF2B5EF4-FFF2-40B4-BE49-F238E27FC236}">
                      <a16:creationId xmlns:a16="http://schemas.microsoft.com/office/drawing/2014/main" id="{803462B0-1F34-1651-67A6-5BA53A54C7FD}"/>
                    </a:ext>
                  </a:extLst>
                </p:cNvPr>
                <p:cNvSpPr/>
                <p:nvPr/>
              </p:nvSpPr>
              <p:spPr>
                <a:xfrm>
                  <a:off x="9345189" y="5617127"/>
                  <a:ext cx="5853" cy="51816"/>
                </a:xfrm>
                <a:custGeom>
                  <a:avLst/>
                  <a:gdLst>
                    <a:gd name="connsiteX0" fmla="*/ 5854 w 5853"/>
                    <a:gd name="connsiteY0" fmla="*/ 0 h 51816"/>
                    <a:gd name="connsiteX1" fmla="*/ 1993 w 5853"/>
                    <a:gd name="connsiteY1" fmla="*/ 18434 h 51816"/>
                    <a:gd name="connsiteX2" fmla="*/ 3737 w 5853"/>
                    <a:gd name="connsiteY2" fmla="*/ 35748 h 51816"/>
                    <a:gd name="connsiteX3" fmla="*/ 0 w 58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0"/>
                      </a:moveTo>
                      <a:cubicBezTo>
                        <a:pt x="2615" y="7723"/>
                        <a:pt x="1993" y="14075"/>
                        <a:pt x="1993" y="18434"/>
                      </a:cubicBezTo>
                      <a:cubicBezTo>
                        <a:pt x="2117" y="25409"/>
                        <a:pt x="3861" y="28648"/>
                        <a:pt x="3737" y="35748"/>
                      </a:cubicBezTo>
                      <a:cubicBezTo>
                        <a:pt x="3487"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6" name="Freeform 5267">
                  <a:extLst>
                    <a:ext uri="{FF2B5EF4-FFF2-40B4-BE49-F238E27FC236}">
                      <a16:creationId xmlns:a16="http://schemas.microsoft.com/office/drawing/2014/main" id="{C2B52318-13C5-4951-B7B2-E5D3E81AD5CC}"/>
                    </a:ext>
                  </a:extLst>
                </p:cNvPr>
                <p:cNvSpPr/>
                <p:nvPr/>
              </p:nvSpPr>
              <p:spPr>
                <a:xfrm>
                  <a:off x="9353151" y="5612768"/>
                  <a:ext cx="6553" cy="51940"/>
                </a:xfrm>
                <a:custGeom>
                  <a:avLst/>
                  <a:gdLst>
                    <a:gd name="connsiteX0" fmla="*/ 1006 w 6553"/>
                    <a:gd name="connsiteY0" fmla="*/ 51940 h 51940"/>
                    <a:gd name="connsiteX1" fmla="*/ 881 w 6553"/>
                    <a:gd name="connsiteY1" fmla="*/ 33132 h 51940"/>
                    <a:gd name="connsiteX2" fmla="*/ 5988 w 6553"/>
                    <a:gd name="connsiteY2" fmla="*/ 16442 h 51940"/>
                    <a:gd name="connsiteX3" fmla="*/ 5490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51940"/>
                      </a:moveTo>
                      <a:cubicBezTo>
                        <a:pt x="-614" y="43720"/>
                        <a:pt x="9" y="37367"/>
                        <a:pt x="881" y="33132"/>
                      </a:cubicBezTo>
                      <a:cubicBezTo>
                        <a:pt x="2376" y="26281"/>
                        <a:pt x="4742" y="23417"/>
                        <a:pt x="5988" y="16442"/>
                      </a:cubicBezTo>
                      <a:cubicBezTo>
                        <a:pt x="7109" y="9591"/>
                        <a:pt x="6362" y="3737"/>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7" name="Freeform 5268">
                  <a:extLst>
                    <a:ext uri="{FF2B5EF4-FFF2-40B4-BE49-F238E27FC236}">
                      <a16:creationId xmlns:a16="http://schemas.microsoft.com/office/drawing/2014/main" id="{C28101C5-7CE7-33B0-CB4E-F998F4560350}"/>
                    </a:ext>
                  </a:extLst>
                </p:cNvPr>
                <p:cNvSpPr/>
                <p:nvPr/>
              </p:nvSpPr>
              <p:spPr>
                <a:xfrm>
                  <a:off x="9342005" y="5597149"/>
                  <a:ext cx="26670" cy="26504"/>
                </a:xfrm>
                <a:custGeom>
                  <a:avLst/>
                  <a:gdLst>
                    <a:gd name="connsiteX0" fmla="*/ 26600 w 26670"/>
                    <a:gd name="connsiteY0" fmla="*/ 14498 h 26504"/>
                    <a:gd name="connsiteX1" fmla="*/ 12027 w 26670"/>
                    <a:gd name="connsiteY1" fmla="*/ 26455 h 26504"/>
                    <a:gd name="connsiteX2" fmla="*/ 70 w 26670"/>
                    <a:gd name="connsiteY2" fmla="*/ 12007 h 26504"/>
                    <a:gd name="connsiteX3" fmla="*/ 14643 w 26670"/>
                    <a:gd name="connsiteY3" fmla="*/ 49 h 26504"/>
                    <a:gd name="connsiteX4" fmla="*/ 26600 w 26670"/>
                    <a:gd name="connsiteY4" fmla="*/ 14498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4">
                      <a:moveTo>
                        <a:pt x="26600" y="14498"/>
                      </a:moveTo>
                      <a:cubicBezTo>
                        <a:pt x="25853" y="21722"/>
                        <a:pt x="19376" y="27078"/>
                        <a:pt x="12027" y="26455"/>
                      </a:cubicBezTo>
                      <a:cubicBezTo>
                        <a:pt x="4678" y="25708"/>
                        <a:pt x="-678" y="19231"/>
                        <a:pt x="70" y="12007"/>
                      </a:cubicBezTo>
                      <a:cubicBezTo>
                        <a:pt x="817" y="4783"/>
                        <a:pt x="7293" y="-574"/>
                        <a:pt x="14643" y="49"/>
                      </a:cubicBezTo>
                      <a:cubicBezTo>
                        <a:pt x="21992" y="797"/>
                        <a:pt x="27348" y="7273"/>
                        <a:pt x="2660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8" name="Freeform 5269">
                  <a:extLst>
                    <a:ext uri="{FF2B5EF4-FFF2-40B4-BE49-F238E27FC236}">
                      <a16:creationId xmlns:a16="http://schemas.microsoft.com/office/drawing/2014/main" id="{EDD2D708-CCEC-34A0-B341-4CF67639C1A8}"/>
                    </a:ext>
                  </a:extLst>
                </p:cNvPr>
                <p:cNvSpPr/>
                <p:nvPr/>
              </p:nvSpPr>
              <p:spPr>
                <a:xfrm>
                  <a:off x="9347555" y="5673676"/>
                  <a:ext cx="5853" cy="51816"/>
                </a:xfrm>
                <a:custGeom>
                  <a:avLst/>
                  <a:gdLst>
                    <a:gd name="connsiteX0" fmla="*/ 0 w 5853"/>
                    <a:gd name="connsiteY0" fmla="*/ 51816 h 51816"/>
                    <a:gd name="connsiteX1" fmla="*/ 3861 w 5853"/>
                    <a:gd name="connsiteY1" fmla="*/ 33382 h 51816"/>
                    <a:gd name="connsiteX2" fmla="*/ 2117 w 5853"/>
                    <a:gd name="connsiteY2" fmla="*/ 16068 h 51816"/>
                    <a:gd name="connsiteX3" fmla="*/ 5854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0" y="51816"/>
                      </a:moveTo>
                      <a:cubicBezTo>
                        <a:pt x="3238" y="44094"/>
                        <a:pt x="3861" y="37741"/>
                        <a:pt x="3861" y="33382"/>
                      </a:cubicBezTo>
                      <a:cubicBezTo>
                        <a:pt x="3737" y="26407"/>
                        <a:pt x="1993" y="23168"/>
                        <a:pt x="2117" y="16068"/>
                      </a:cubicBezTo>
                      <a:cubicBezTo>
                        <a:pt x="2367" y="9218"/>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9" name="Freeform 5270">
                  <a:extLst>
                    <a:ext uri="{FF2B5EF4-FFF2-40B4-BE49-F238E27FC236}">
                      <a16:creationId xmlns:a16="http://schemas.microsoft.com/office/drawing/2014/main" id="{F73FC0A9-E0E9-1288-41CD-E3CE27C9DDCD}"/>
                    </a:ext>
                  </a:extLst>
                </p:cNvPr>
                <p:cNvSpPr/>
                <p:nvPr/>
              </p:nvSpPr>
              <p:spPr>
                <a:xfrm>
                  <a:off x="9339017" y="5677911"/>
                  <a:ext cx="6553" cy="51940"/>
                </a:xfrm>
                <a:custGeom>
                  <a:avLst/>
                  <a:gdLst>
                    <a:gd name="connsiteX0" fmla="*/ 5548 w 6553"/>
                    <a:gd name="connsiteY0" fmla="*/ 0 h 51940"/>
                    <a:gd name="connsiteX1" fmla="*/ 5672 w 6553"/>
                    <a:gd name="connsiteY1" fmla="*/ 18808 h 51940"/>
                    <a:gd name="connsiteX2" fmla="*/ 566 w 6553"/>
                    <a:gd name="connsiteY2" fmla="*/ 35499 h 51940"/>
                    <a:gd name="connsiteX3" fmla="*/ 1064 w 6553"/>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0"/>
                      </a:moveTo>
                      <a:cubicBezTo>
                        <a:pt x="7167" y="8220"/>
                        <a:pt x="6544" y="14573"/>
                        <a:pt x="5672" y="18808"/>
                      </a:cubicBezTo>
                      <a:cubicBezTo>
                        <a:pt x="4178" y="25659"/>
                        <a:pt x="1811" y="28523"/>
                        <a:pt x="566" y="35499"/>
                      </a:cubicBezTo>
                      <a:cubicBezTo>
                        <a:pt x="-555" y="42350"/>
                        <a:pt x="192" y="48204"/>
                        <a:pt x="106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0" name="Freeform 5271">
                  <a:extLst>
                    <a:ext uri="{FF2B5EF4-FFF2-40B4-BE49-F238E27FC236}">
                      <a16:creationId xmlns:a16="http://schemas.microsoft.com/office/drawing/2014/main" id="{8F87C6EA-7661-4B23-6805-103B0C359C8D}"/>
                    </a:ext>
                  </a:extLst>
                </p:cNvPr>
                <p:cNvSpPr/>
                <p:nvPr/>
              </p:nvSpPr>
              <p:spPr>
                <a:xfrm>
                  <a:off x="9330067" y="5718966"/>
                  <a:ext cx="26382" cy="26504"/>
                </a:xfrm>
                <a:custGeom>
                  <a:avLst/>
                  <a:gdLst>
                    <a:gd name="connsiteX0" fmla="*/ 50 w 26382"/>
                    <a:gd name="connsiteY0" fmla="*/ 12007 h 26504"/>
                    <a:gd name="connsiteX1" fmla="*/ 14499 w 26382"/>
                    <a:gd name="connsiteY1" fmla="*/ 49 h 26504"/>
                    <a:gd name="connsiteX2" fmla="*/ 26332 w 26382"/>
                    <a:gd name="connsiteY2" fmla="*/ 14498 h 26504"/>
                    <a:gd name="connsiteX3" fmla="*/ 11883 w 26382"/>
                    <a:gd name="connsiteY3" fmla="*/ 26455 h 26504"/>
                    <a:gd name="connsiteX4" fmla="*/ 50 w 26382"/>
                    <a:gd name="connsiteY4" fmla="*/ 1200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4">
                      <a:moveTo>
                        <a:pt x="50" y="12007"/>
                      </a:moveTo>
                      <a:cubicBezTo>
                        <a:pt x="798" y="4782"/>
                        <a:pt x="7150" y="-573"/>
                        <a:pt x="14499" y="49"/>
                      </a:cubicBezTo>
                      <a:cubicBezTo>
                        <a:pt x="21723" y="797"/>
                        <a:pt x="26954" y="7149"/>
                        <a:pt x="26332" y="14498"/>
                      </a:cubicBezTo>
                      <a:cubicBezTo>
                        <a:pt x="25584" y="21722"/>
                        <a:pt x="19108" y="27078"/>
                        <a:pt x="11883" y="26455"/>
                      </a:cubicBezTo>
                      <a:cubicBezTo>
                        <a:pt x="4659" y="25833"/>
                        <a:pt x="-572" y="19356"/>
                        <a:pt x="5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5" name="Graphic 2987">
                <a:extLst>
                  <a:ext uri="{FF2B5EF4-FFF2-40B4-BE49-F238E27FC236}">
                    <a16:creationId xmlns:a16="http://schemas.microsoft.com/office/drawing/2014/main" id="{201F539C-20DB-8CC7-4089-87D10CEA87BE}"/>
                  </a:ext>
                </a:extLst>
              </p:cNvPr>
              <p:cNvGrpSpPr/>
              <p:nvPr/>
            </p:nvGrpSpPr>
            <p:grpSpPr>
              <a:xfrm>
                <a:off x="9359318" y="5600013"/>
                <a:ext cx="39025" cy="148323"/>
                <a:chOff x="9359318" y="5600013"/>
                <a:chExt cx="39025" cy="148323"/>
              </a:xfrm>
              <a:grpFill/>
            </p:grpSpPr>
            <p:sp>
              <p:nvSpPr>
                <p:cNvPr id="4289" name="Freeform 5273">
                  <a:extLst>
                    <a:ext uri="{FF2B5EF4-FFF2-40B4-BE49-F238E27FC236}">
                      <a16:creationId xmlns:a16="http://schemas.microsoft.com/office/drawing/2014/main" id="{71ED3B1C-09D0-4F25-628A-1407CD91CB51}"/>
                    </a:ext>
                  </a:extLst>
                </p:cNvPr>
                <p:cNvSpPr/>
                <p:nvPr/>
              </p:nvSpPr>
              <p:spPr>
                <a:xfrm>
                  <a:off x="9374584" y="5619992"/>
                  <a:ext cx="6103" cy="51816"/>
                </a:xfrm>
                <a:custGeom>
                  <a:avLst/>
                  <a:gdLst>
                    <a:gd name="connsiteX0" fmla="*/ 6103 w 6103"/>
                    <a:gd name="connsiteY0" fmla="*/ 0 h 51816"/>
                    <a:gd name="connsiteX1" fmla="*/ 2242 w 6103"/>
                    <a:gd name="connsiteY1" fmla="*/ 18435 h 51816"/>
                    <a:gd name="connsiteX2" fmla="*/ 3861 w 6103"/>
                    <a:gd name="connsiteY2" fmla="*/ 35748 h 51816"/>
                    <a:gd name="connsiteX3" fmla="*/ 0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0"/>
                      </a:moveTo>
                      <a:cubicBezTo>
                        <a:pt x="2865" y="7723"/>
                        <a:pt x="2242" y="14075"/>
                        <a:pt x="2242" y="18435"/>
                      </a:cubicBezTo>
                      <a:cubicBezTo>
                        <a:pt x="2367"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0" name="Freeform 5274">
                  <a:extLst>
                    <a:ext uri="{FF2B5EF4-FFF2-40B4-BE49-F238E27FC236}">
                      <a16:creationId xmlns:a16="http://schemas.microsoft.com/office/drawing/2014/main" id="{9A116BE1-42AA-95CE-F4E1-6511F82216B9}"/>
                    </a:ext>
                  </a:extLst>
                </p:cNvPr>
                <p:cNvSpPr/>
                <p:nvPr/>
              </p:nvSpPr>
              <p:spPr>
                <a:xfrm>
                  <a:off x="9382558" y="5615632"/>
                  <a:ext cx="6722" cy="51940"/>
                </a:xfrm>
                <a:custGeom>
                  <a:avLst/>
                  <a:gdLst>
                    <a:gd name="connsiteX0" fmla="*/ 994 w 6722"/>
                    <a:gd name="connsiteY0" fmla="*/ 51940 h 51940"/>
                    <a:gd name="connsiteX1" fmla="*/ 994 w 6722"/>
                    <a:gd name="connsiteY1" fmla="*/ 33132 h 51940"/>
                    <a:gd name="connsiteX2" fmla="*/ 6102 w 6722"/>
                    <a:gd name="connsiteY2" fmla="*/ 16441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4" y="51940"/>
                      </a:moveTo>
                      <a:cubicBezTo>
                        <a:pt x="-625" y="43719"/>
                        <a:pt x="-2" y="37367"/>
                        <a:pt x="994" y="33132"/>
                      </a:cubicBezTo>
                      <a:cubicBezTo>
                        <a:pt x="2489" y="26281"/>
                        <a:pt x="4980" y="23417"/>
                        <a:pt x="6102" y="16441"/>
                      </a:cubicBezTo>
                      <a:cubicBezTo>
                        <a:pt x="7347" y="9591"/>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1" name="Freeform 5275">
                  <a:extLst>
                    <a:ext uri="{FF2B5EF4-FFF2-40B4-BE49-F238E27FC236}">
                      <a16:creationId xmlns:a16="http://schemas.microsoft.com/office/drawing/2014/main" id="{2E61EC91-D40B-9F2A-2FF2-949D46CB15F2}"/>
                    </a:ext>
                  </a:extLst>
                </p:cNvPr>
                <p:cNvSpPr/>
                <p:nvPr/>
              </p:nvSpPr>
              <p:spPr>
                <a:xfrm>
                  <a:off x="9371650" y="5600013"/>
                  <a:ext cx="26693" cy="26505"/>
                </a:xfrm>
                <a:custGeom>
                  <a:avLst/>
                  <a:gdLst>
                    <a:gd name="connsiteX0" fmla="*/ 26600 w 26693"/>
                    <a:gd name="connsiteY0" fmla="*/ 14622 h 26505"/>
                    <a:gd name="connsiteX1" fmla="*/ 12027 w 26693"/>
                    <a:gd name="connsiteY1" fmla="*/ 26455 h 26505"/>
                    <a:gd name="connsiteX2" fmla="*/ 70 w 26693"/>
                    <a:gd name="connsiteY2" fmla="*/ 12007 h 26505"/>
                    <a:gd name="connsiteX3" fmla="*/ 14643 w 26693"/>
                    <a:gd name="connsiteY3" fmla="*/ 49 h 26505"/>
                    <a:gd name="connsiteX4" fmla="*/ 26600 w 26693"/>
                    <a:gd name="connsiteY4" fmla="*/ 14622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05">
                      <a:moveTo>
                        <a:pt x="26600" y="14622"/>
                      </a:moveTo>
                      <a:cubicBezTo>
                        <a:pt x="25852" y="21847"/>
                        <a:pt x="19251" y="27078"/>
                        <a:pt x="12027" y="26455"/>
                      </a:cubicBezTo>
                      <a:cubicBezTo>
                        <a:pt x="4678" y="25708"/>
                        <a:pt x="-678" y="19231"/>
                        <a:pt x="70" y="12007"/>
                      </a:cubicBezTo>
                      <a:cubicBezTo>
                        <a:pt x="817" y="4782"/>
                        <a:pt x="7293" y="-574"/>
                        <a:pt x="14643" y="49"/>
                      </a:cubicBezTo>
                      <a:cubicBezTo>
                        <a:pt x="22116" y="672"/>
                        <a:pt x="27472" y="7398"/>
                        <a:pt x="26600" y="146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2" name="Freeform 5276">
                  <a:extLst>
                    <a:ext uri="{FF2B5EF4-FFF2-40B4-BE49-F238E27FC236}">
                      <a16:creationId xmlns:a16="http://schemas.microsoft.com/office/drawing/2014/main" id="{30C38DA4-5220-63E0-EE6F-5F6ED4A511F4}"/>
                    </a:ext>
                  </a:extLst>
                </p:cNvPr>
                <p:cNvSpPr/>
                <p:nvPr/>
              </p:nvSpPr>
              <p:spPr>
                <a:xfrm>
                  <a:off x="9376826" y="5676541"/>
                  <a:ext cx="6103" cy="51816"/>
                </a:xfrm>
                <a:custGeom>
                  <a:avLst/>
                  <a:gdLst>
                    <a:gd name="connsiteX0" fmla="*/ 0 w 6103"/>
                    <a:gd name="connsiteY0" fmla="*/ 51816 h 51816"/>
                    <a:gd name="connsiteX1" fmla="*/ 3861 w 6103"/>
                    <a:gd name="connsiteY1" fmla="*/ 33381 h 51816"/>
                    <a:gd name="connsiteX2" fmla="*/ 2242 w 6103"/>
                    <a:gd name="connsiteY2" fmla="*/ 16068 h 51816"/>
                    <a:gd name="connsiteX3" fmla="*/ 6103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0" y="51816"/>
                      </a:moveTo>
                      <a:cubicBezTo>
                        <a:pt x="3239" y="44094"/>
                        <a:pt x="3861"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3" name="Freeform 5277">
                  <a:extLst>
                    <a:ext uri="{FF2B5EF4-FFF2-40B4-BE49-F238E27FC236}">
                      <a16:creationId xmlns:a16="http://schemas.microsoft.com/office/drawing/2014/main" id="{B2FDDFE1-EDB7-77F4-B355-EB8163E555C0}"/>
                    </a:ext>
                  </a:extLst>
                </p:cNvPr>
                <p:cNvSpPr/>
                <p:nvPr/>
              </p:nvSpPr>
              <p:spPr>
                <a:xfrm>
                  <a:off x="9368234" y="5680776"/>
                  <a:ext cx="6722" cy="51940"/>
                </a:xfrm>
                <a:custGeom>
                  <a:avLst/>
                  <a:gdLst>
                    <a:gd name="connsiteX0" fmla="*/ 5728 w 6722"/>
                    <a:gd name="connsiteY0" fmla="*/ 0 h 51940"/>
                    <a:gd name="connsiteX1" fmla="*/ 5728 w 6722"/>
                    <a:gd name="connsiteY1" fmla="*/ 18808 h 51940"/>
                    <a:gd name="connsiteX2" fmla="*/ 620 w 6722"/>
                    <a:gd name="connsiteY2" fmla="*/ 35499 h 51940"/>
                    <a:gd name="connsiteX3" fmla="*/ 1119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0"/>
                      </a:moveTo>
                      <a:cubicBezTo>
                        <a:pt x="7347" y="8221"/>
                        <a:pt x="6724" y="14573"/>
                        <a:pt x="5728" y="18808"/>
                      </a:cubicBezTo>
                      <a:cubicBezTo>
                        <a:pt x="4233" y="25659"/>
                        <a:pt x="1867" y="28524"/>
                        <a:pt x="620" y="35499"/>
                      </a:cubicBezTo>
                      <a:cubicBezTo>
                        <a:pt x="-625" y="42350"/>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4" name="Freeform 5278">
                  <a:extLst>
                    <a:ext uri="{FF2B5EF4-FFF2-40B4-BE49-F238E27FC236}">
                      <a16:creationId xmlns:a16="http://schemas.microsoft.com/office/drawing/2014/main" id="{FAA048EC-AFE7-EECF-A43F-24EEF59737D1}"/>
                    </a:ext>
                  </a:extLst>
                </p:cNvPr>
                <p:cNvSpPr/>
                <p:nvPr/>
              </p:nvSpPr>
              <p:spPr>
                <a:xfrm>
                  <a:off x="9359318" y="5721831"/>
                  <a:ext cx="26298" cy="26505"/>
                </a:xfrm>
                <a:custGeom>
                  <a:avLst/>
                  <a:gdLst>
                    <a:gd name="connsiteX0" fmla="*/ 70 w 26298"/>
                    <a:gd name="connsiteY0" fmla="*/ 12007 h 26505"/>
                    <a:gd name="connsiteX1" fmla="*/ 14519 w 26298"/>
                    <a:gd name="connsiteY1" fmla="*/ 49 h 26505"/>
                    <a:gd name="connsiteX2" fmla="*/ 26227 w 26298"/>
                    <a:gd name="connsiteY2" fmla="*/ 14622 h 26505"/>
                    <a:gd name="connsiteX3" fmla="*/ 11778 w 26298"/>
                    <a:gd name="connsiteY3" fmla="*/ 26455 h 26505"/>
                    <a:gd name="connsiteX4" fmla="*/ 70 w 26298"/>
                    <a:gd name="connsiteY4" fmla="*/ 12007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5">
                      <a:moveTo>
                        <a:pt x="70" y="12007"/>
                      </a:moveTo>
                      <a:cubicBezTo>
                        <a:pt x="817" y="4782"/>
                        <a:pt x="7294" y="-574"/>
                        <a:pt x="14519" y="49"/>
                      </a:cubicBezTo>
                      <a:cubicBezTo>
                        <a:pt x="21743" y="672"/>
                        <a:pt x="26975" y="7273"/>
                        <a:pt x="26227" y="14622"/>
                      </a:cubicBezTo>
                      <a:cubicBezTo>
                        <a:pt x="25480" y="21847"/>
                        <a:pt x="19003" y="27078"/>
                        <a:pt x="11778" y="26455"/>
                      </a:cubicBezTo>
                      <a:cubicBezTo>
                        <a:pt x="4679" y="25708"/>
                        <a:pt x="-678" y="19231"/>
                        <a:pt x="7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6" name="Graphic 2987">
                <a:extLst>
                  <a:ext uri="{FF2B5EF4-FFF2-40B4-BE49-F238E27FC236}">
                    <a16:creationId xmlns:a16="http://schemas.microsoft.com/office/drawing/2014/main" id="{A7891848-C84F-D005-CDD8-E49CFAB5004A}"/>
                  </a:ext>
                </a:extLst>
              </p:cNvPr>
              <p:cNvGrpSpPr/>
              <p:nvPr/>
            </p:nvGrpSpPr>
            <p:grpSpPr>
              <a:xfrm>
                <a:off x="9388588" y="5603206"/>
                <a:ext cx="39377" cy="148287"/>
                <a:chOff x="9388588" y="5603206"/>
                <a:chExt cx="39377" cy="148287"/>
              </a:xfrm>
              <a:grpFill/>
            </p:grpSpPr>
            <p:sp>
              <p:nvSpPr>
                <p:cNvPr id="4283" name="Freeform 5280">
                  <a:extLst>
                    <a:ext uri="{FF2B5EF4-FFF2-40B4-BE49-F238E27FC236}">
                      <a16:creationId xmlns:a16="http://schemas.microsoft.com/office/drawing/2014/main" id="{DE40CC26-F951-BCAE-5934-21446451040D}"/>
                    </a:ext>
                  </a:extLst>
                </p:cNvPr>
                <p:cNvSpPr/>
                <p:nvPr/>
              </p:nvSpPr>
              <p:spPr>
                <a:xfrm>
                  <a:off x="9404104" y="5623106"/>
                  <a:ext cx="6227" cy="51816"/>
                </a:xfrm>
                <a:custGeom>
                  <a:avLst/>
                  <a:gdLst>
                    <a:gd name="connsiteX0" fmla="*/ 6228 w 6227"/>
                    <a:gd name="connsiteY0" fmla="*/ 0 h 51816"/>
                    <a:gd name="connsiteX1" fmla="*/ 2242 w 6227"/>
                    <a:gd name="connsiteY1" fmla="*/ 18435 h 51816"/>
                    <a:gd name="connsiteX2" fmla="*/ 3861 w 6227"/>
                    <a:gd name="connsiteY2" fmla="*/ 35748 h 51816"/>
                    <a:gd name="connsiteX3" fmla="*/ 0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0"/>
                      </a:moveTo>
                      <a:cubicBezTo>
                        <a:pt x="2865" y="7723"/>
                        <a:pt x="2242" y="14075"/>
                        <a:pt x="2242" y="18435"/>
                      </a:cubicBezTo>
                      <a:cubicBezTo>
                        <a:pt x="2242"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4" name="Freeform 5281">
                  <a:extLst>
                    <a:ext uri="{FF2B5EF4-FFF2-40B4-BE49-F238E27FC236}">
                      <a16:creationId xmlns:a16="http://schemas.microsoft.com/office/drawing/2014/main" id="{D20F5D8C-2562-C0A9-A901-5F08701A1DD0}"/>
                    </a:ext>
                  </a:extLst>
                </p:cNvPr>
                <p:cNvSpPr/>
                <p:nvPr/>
              </p:nvSpPr>
              <p:spPr>
                <a:xfrm>
                  <a:off x="9412118" y="5618871"/>
                  <a:ext cx="6812" cy="51940"/>
                </a:xfrm>
                <a:custGeom>
                  <a:avLst/>
                  <a:gdLst>
                    <a:gd name="connsiteX0" fmla="*/ 954 w 6812"/>
                    <a:gd name="connsiteY0" fmla="*/ 51941 h 51940"/>
                    <a:gd name="connsiteX1" fmla="*/ 954 w 6812"/>
                    <a:gd name="connsiteY1" fmla="*/ 33132 h 51940"/>
                    <a:gd name="connsiteX2" fmla="*/ 6186 w 6812"/>
                    <a:gd name="connsiteY2" fmla="*/ 16566 h 51940"/>
                    <a:gd name="connsiteX3" fmla="*/ 5812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954" y="51941"/>
                      </a:moveTo>
                      <a:cubicBezTo>
                        <a:pt x="-665" y="43720"/>
                        <a:pt x="83" y="37367"/>
                        <a:pt x="954" y="33132"/>
                      </a:cubicBezTo>
                      <a:cubicBezTo>
                        <a:pt x="2449" y="26282"/>
                        <a:pt x="4940" y="23542"/>
                        <a:pt x="6186" y="16566"/>
                      </a:cubicBezTo>
                      <a:cubicBezTo>
                        <a:pt x="7431" y="9715"/>
                        <a:pt x="6559" y="3861"/>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5" name="Freeform 5282">
                  <a:extLst>
                    <a:ext uri="{FF2B5EF4-FFF2-40B4-BE49-F238E27FC236}">
                      <a16:creationId xmlns:a16="http://schemas.microsoft.com/office/drawing/2014/main" id="{9090FF58-B00F-5397-2F87-C82474C807B5}"/>
                    </a:ext>
                  </a:extLst>
                </p:cNvPr>
                <p:cNvSpPr/>
                <p:nvPr/>
              </p:nvSpPr>
              <p:spPr>
                <a:xfrm>
                  <a:off x="9401293" y="5603206"/>
                  <a:ext cx="26672" cy="26572"/>
                </a:xfrm>
                <a:custGeom>
                  <a:avLst/>
                  <a:gdLst>
                    <a:gd name="connsiteX0" fmla="*/ 26601 w 26672"/>
                    <a:gd name="connsiteY0" fmla="*/ 14793 h 26572"/>
                    <a:gd name="connsiteX1" fmla="*/ 11904 w 26672"/>
                    <a:gd name="connsiteY1" fmla="*/ 26501 h 26572"/>
                    <a:gd name="connsiteX2" fmla="*/ 71 w 26672"/>
                    <a:gd name="connsiteY2" fmla="*/ 11803 h 26572"/>
                    <a:gd name="connsiteX3" fmla="*/ 14769 w 26672"/>
                    <a:gd name="connsiteY3" fmla="*/ 95 h 26572"/>
                    <a:gd name="connsiteX4" fmla="*/ 26601 w 26672"/>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72">
                      <a:moveTo>
                        <a:pt x="26601" y="14793"/>
                      </a:moveTo>
                      <a:cubicBezTo>
                        <a:pt x="25854" y="22017"/>
                        <a:pt x="19253" y="27248"/>
                        <a:pt x="11904" y="26501"/>
                      </a:cubicBezTo>
                      <a:cubicBezTo>
                        <a:pt x="4555" y="25629"/>
                        <a:pt x="-677" y="19152"/>
                        <a:pt x="71" y="11803"/>
                      </a:cubicBezTo>
                      <a:cubicBezTo>
                        <a:pt x="818" y="4455"/>
                        <a:pt x="7420" y="-777"/>
                        <a:pt x="14769" y="95"/>
                      </a:cubicBezTo>
                      <a:cubicBezTo>
                        <a:pt x="22117" y="967"/>
                        <a:pt x="27349" y="7444"/>
                        <a:pt x="26601"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6" name="Freeform 5283">
                  <a:extLst>
                    <a:ext uri="{FF2B5EF4-FFF2-40B4-BE49-F238E27FC236}">
                      <a16:creationId xmlns:a16="http://schemas.microsoft.com/office/drawing/2014/main" id="{CC0407FE-9497-B5F6-11A6-B8D83B53CE59}"/>
                    </a:ext>
                  </a:extLst>
                </p:cNvPr>
                <p:cNvSpPr/>
                <p:nvPr/>
              </p:nvSpPr>
              <p:spPr>
                <a:xfrm>
                  <a:off x="9406097" y="5679780"/>
                  <a:ext cx="6227" cy="51816"/>
                </a:xfrm>
                <a:custGeom>
                  <a:avLst/>
                  <a:gdLst>
                    <a:gd name="connsiteX0" fmla="*/ 0 w 6227"/>
                    <a:gd name="connsiteY0" fmla="*/ 51816 h 51816"/>
                    <a:gd name="connsiteX1" fmla="*/ 3986 w 6227"/>
                    <a:gd name="connsiteY1" fmla="*/ 33381 h 51816"/>
                    <a:gd name="connsiteX2" fmla="*/ 2367 w 6227"/>
                    <a:gd name="connsiteY2" fmla="*/ 16068 h 51816"/>
                    <a:gd name="connsiteX3" fmla="*/ 6228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0" y="51816"/>
                      </a:moveTo>
                      <a:cubicBezTo>
                        <a:pt x="3239"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7" name="Freeform 5284">
                  <a:extLst>
                    <a:ext uri="{FF2B5EF4-FFF2-40B4-BE49-F238E27FC236}">
                      <a16:creationId xmlns:a16="http://schemas.microsoft.com/office/drawing/2014/main" id="{E1A85597-F2DE-9493-44E1-10910E99CB77}"/>
                    </a:ext>
                  </a:extLst>
                </p:cNvPr>
                <p:cNvSpPr/>
                <p:nvPr/>
              </p:nvSpPr>
              <p:spPr>
                <a:xfrm>
                  <a:off x="9397499" y="5683890"/>
                  <a:ext cx="6812" cy="51940"/>
                </a:xfrm>
                <a:custGeom>
                  <a:avLst/>
                  <a:gdLst>
                    <a:gd name="connsiteX0" fmla="*/ 5858 w 6812"/>
                    <a:gd name="connsiteY0" fmla="*/ 0 h 51940"/>
                    <a:gd name="connsiteX1" fmla="*/ 5858 w 6812"/>
                    <a:gd name="connsiteY1" fmla="*/ 18808 h 51940"/>
                    <a:gd name="connsiteX2" fmla="*/ 627 w 6812"/>
                    <a:gd name="connsiteY2" fmla="*/ 35374 h 51940"/>
                    <a:gd name="connsiteX3" fmla="*/ 1000 w 681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0"/>
                      </a:moveTo>
                      <a:cubicBezTo>
                        <a:pt x="7477" y="8221"/>
                        <a:pt x="6730" y="14573"/>
                        <a:pt x="5858" y="18808"/>
                      </a:cubicBezTo>
                      <a:cubicBezTo>
                        <a:pt x="4364" y="25659"/>
                        <a:pt x="1872" y="28399"/>
                        <a:pt x="627" y="35374"/>
                      </a:cubicBezTo>
                      <a:cubicBezTo>
                        <a:pt x="-619" y="42225"/>
                        <a:pt x="253" y="48079"/>
                        <a:pt x="100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8" name="Freeform 5285">
                  <a:extLst>
                    <a:ext uri="{FF2B5EF4-FFF2-40B4-BE49-F238E27FC236}">
                      <a16:creationId xmlns:a16="http://schemas.microsoft.com/office/drawing/2014/main" id="{916C57EF-DFFA-2AA5-FECC-2C07219D2A23}"/>
                    </a:ext>
                  </a:extLst>
                </p:cNvPr>
                <p:cNvSpPr/>
                <p:nvPr/>
              </p:nvSpPr>
              <p:spPr>
                <a:xfrm>
                  <a:off x="9388588" y="5724901"/>
                  <a:ext cx="26298" cy="26592"/>
                </a:xfrm>
                <a:custGeom>
                  <a:avLst/>
                  <a:gdLst>
                    <a:gd name="connsiteX0" fmla="*/ 71 w 26298"/>
                    <a:gd name="connsiteY0" fmla="*/ 11801 h 26592"/>
                    <a:gd name="connsiteX1" fmla="*/ 14519 w 26298"/>
                    <a:gd name="connsiteY1" fmla="*/ 93 h 26592"/>
                    <a:gd name="connsiteX2" fmla="*/ 26228 w 26298"/>
                    <a:gd name="connsiteY2" fmla="*/ 14791 h 26592"/>
                    <a:gd name="connsiteX3" fmla="*/ 11780 w 26298"/>
                    <a:gd name="connsiteY3" fmla="*/ 26499 h 26592"/>
                    <a:gd name="connsiteX4" fmla="*/ 71 w 26298"/>
                    <a:gd name="connsiteY4" fmla="*/ 11801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92">
                      <a:moveTo>
                        <a:pt x="71" y="11801"/>
                      </a:moveTo>
                      <a:cubicBezTo>
                        <a:pt x="818" y="4577"/>
                        <a:pt x="7296" y="-779"/>
                        <a:pt x="14519" y="93"/>
                      </a:cubicBezTo>
                      <a:cubicBezTo>
                        <a:pt x="21744" y="965"/>
                        <a:pt x="26975" y="7442"/>
                        <a:pt x="26228" y="14791"/>
                      </a:cubicBezTo>
                      <a:cubicBezTo>
                        <a:pt x="25481" y="22015"/>
                        <a:pt x="19004" y="27371"/>
                        <a:pt x="11780" y="26499"/>
                      </a:cubicBezTo>
                      <a:cubicBezTo>
                        <a:pt x="4555" y="25627"/>
                        <a:pt x="-676" y="19150"/>
                        <a:pt x="71" y="11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7" name="Graphic 2987">
                <a:extLst>
                  <a:ext uri="{FF2B5EF4-FFF2-40B4-BE49-F238E27FC236}">
                    <a16:creationId xmlns:a16="http://schemas.microsoft.com/office/drawing/2014/main" id="{88DE36D0-75A3-C821-CF03-A3E890597134}"/>
                  </a:ext>
                </a:extLst>
              </p:cNvPr>
              <p:cNvGrpSpPr/>
              <p:nvPr/>
            </p:nvGrpSpPr>
            <p:grpSpPr>
              <a:xfrm>
                <a:off x="9417835" y="5606467"/>
                <a:ext cx="39775" cy="148140"/>
                <a:chOff x="9417835" y="5606467"/>
                <a:chExt cx="39775" cy="148140"/>
              </a:xfrm>
              <a:grpFill/>
            </p:grpSpPr>
            <p:sp>
              <p:nvSpPr>
                <p:cNvPr id="4277" name="Freeform 5287">
                  <a:extLst>
                    <a:ext uri="{FF2B5EF4-FFF2-40B4-BE49-F238E27FC236}">
                      <a16:creationId xmlns:a16="http://schemas.microsoft.com/office/drawing/2014/main" id="{DD2D5DCE-EE40-C359-4445-F1F1C04A24E0}"/>
                    </a:ext>
                  </a:extLst>
                </p:cNvPr>
                <p:cNvSpPr/>
                <p:nvPr/>
              </p:nvSpPr>
              <p:spPr>
                <a:xfrm>
                  <a:off x="9433500" y="5626344"/>
                  <a:ext cx="6352" cy="51691"/>
                </a:xfrm>
                <a:custGeom>
                  <a:avLst/>
                  <a:gdLst>
                    <a:gd name="connsiteX0" fmla="*/ 6353 w 6352"/>
                    <a:gd name="connsiteY0" fmla="*/ 0 h 51691"/>
                    <a:gd name="connsiteX1" fmla="*/ 2367 w 6352"/>
                    <a:gd name="connsiteY1" fmla="*/ 18310 h 51691"/>
                    <a:gd name="connsiteX2" fmla="*/ 3861 w 6352"/>
                    <a:gd name="connsiteY2" fmla="*/ 35623 h 51691"/>
                    <a:gd name="connsiteX3" fmla="*/ 0 w 635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352" h="51690">
                      <a:moveTo>
                        <a:pt x="6353" y="0"/>
                      </a:moveTo>
                      <a:cubicBezTo>
                        <a:pt x="2989" y="7723"/>
                        <a:pt x="2367" y="14075"/>
                        <a:pt x="2367" y="18310"/>
                      </a:cubicBezTo>
                      <a:cubicBezTo>
                        <a:pt x="2367" y="25285"/>
                        <a:pt x="4235" y="28524"/>
                        <a:pt x="3861" y="35623"/>
                      </a:cubicBezTo>
                      <a:cubicBezTo>
                        <a:pt x="3613"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8" name="Freeform 5288">
                  <a:extLst>
                    <a:ext uri="{FF2B5EF4-FFF2-40B4-BE49-F238E27FC236}">
                      <a16:creationId xmlns:a16="http://schemas.microsoft.com/office/drawing/2014/main" id="{021B7D97-CFEB-E19D-C7E2-B140A62DA63E}"/>
                    </a:ext>
                  </a:extLst>
                </p:cNvPr>
                <p:cNvSpPr/>
                <p:nvPr/>
              </p:nvSpPr>
              <p:spPr>
                <a:xfrm>
                  <a:off x="9441523" y="5622109"/>
                  <a:ext cx="6959" cy="51940"/>
                </a:xfrm>
                <a:custGeom>
                  <a:avLst/>
                  <a:gdLst>
                    <a:gd name="connsiteX0" fmla="*/ 945 w 6959"/>
                    <a:gd name="connsiteY0" fmla="*/ 51940 h 51940"/>
                    <a:gd name="connsiteX1" fmla="*/ 1069 w 6959"/>
                    <a:gd name="connsiteY1" fmla="*/ 33132 h 51940"/>
                    <a:gd name="connsiteX2" fmla="*/ 6301 w 6959"/>
                    <a:gd name="connsiteY2" fmla="*/ 16566 h 51940"/>
                    <a:gd name="connsiteX3" fmla="*/ 5927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51940"/>
                      </a:moveTo>
                      <a:cubicBezTo>
                        <a:pt x="-675" y="43720"/>
                        <a:pt x="73" y="37367"/>
                        <a:pt x="1069" y="33132"/>
                      </a:cubicBezTo>
                      <a:cubicBezTo>
                        <a:pt x="2564" y="26281"/>
                        <a:pt x="5055" y="23541"/>
                        <a:pt x="6301" y="16566"/>
                      </a:cubicBezTo>
                      <a:cubicBezTo>
                        <a:pt x="7546" y="9715"/>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9" name="Freeform 5289">
                  <a:extLst>
                    <a:ext uri="{FF2B5EF4-FFF2-40B4-BE49-F238E27FC236}">
                      <a16:creationId xmlns:a16="http://schemas.microsoft.com/office/drawing/2014/main" id="{42F67C6F-BB0E-3889-48B9-D1392693947D}"/>
                    </a:ext>
                  </a:extLst>
                </p:cNvPr>
                <p:cNvSpPr/>
                <p:nvPr/>
              </p:nvSpPr>
              <p:spPr>
                <a:xfrm>
                  <a:off x="9430937" y="5606467"/>
                  <a:ext cx="26672" cy="26549"/>
                </a:xfrm>
                <a:custGeom>
                  <a:avLst/>
                  <a:gdLst>
                    <a:gd name="connsiteX0" fmla="*/ 26602 w 26672"/>
                    <a:gd name="connsiteY0" fmla="*/ 14770 h 26549"/>
                    <a:gd name="connsiteX1" fmla="*/ 11904 w 26672"/>
                    <a:gd name="connsiteY1" fmla="*/ 26479 h 26549"/>
                    <a:gd name="connsiteX2" fmla="*/ 71 w 26672"/>
                    <a:gd name="connsiteY2" fmla="*/ 11781 h 26549"/>
                    <a:gd name="connsiteX3" fmla="*/ 14769 w 26672"/>
                    <a:gd name="connsiteY3" fmla="*/ 73 h 26549"/>
                    <a:gd name="connsiteX4" fmla="*/ 26602 w 26672"/>
                    <a:gd name="connsiteY4" fmla="*/ 14770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9">
                      <a:moveTo>
                        <a:pt x="26602" y="14770"/>
                      </a:moveTo>
                      <a:cubicBezTo>
                        <a:pt x="25730" y="21995"/>
                        <a:pt x="19253" y="27226"/>
                        <a:pt x="11904" y="26479"/>
                      </a:cubicBezTo>
                      <a:cubicBezTo>
                        <a:pt x="4556" y="25607"/>
                        <a:pt x="-676" y="19130"/>
                        <a:pt x="71" y="11781"/>
                      </a:cubicBezTo>
                      <a:cubicBezTo>
                        <a:pt x="818" y="4432"/>
                        <a:pt x="7420" y="-675"/>
                        <a:pt x="14769" y="73"/>
                      </a:cubicBezTo>
                      <a:cubicBezTo>
                        <a:pt x="22118" y="820"/>
                        <a:pt x="27349" y="7546"/>
                        <a:pt x="26602" y="14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0" name="Freeform 5290">
                  <a:extLst>
                    <a:ext uri="{FF2B5EF4-FFF2-40B4-BE49-F238E27FC236}">
                      <a16:creationId xmlns:a16="http://schemas.microsoft.com/office/drawing/2014/main" id="{3F556E49-9157-5AB0-18A6-D9C22D6AE0FB}"/>
                    </a:ext>
                  </a:extLst>
                </p:cNvPr>
                <p:cNvSpPr/>
                <p:nvPr/>
              </p:nvSpPr>
              <p:spPr>
                <a:xfrm>
                  <a:off x="9435244" y="5683143"/>
                  <a:ext cx="6477" cy="51691"/>
                </a:xfrm>
                <a:custGeom>
                  <a:avLst/>
                  <a:gdLst>
                    <a:gd name="connsiteX0" fmla="*/ 0 w 6477"/>
                    <a:gd name="connsiteY0" fmla="*/ 51691 h 51691"/>
                    <a:gd name="connsiteX1" fmla="*/ 3986 w 6477"/>
                    <a:gd name="connsiteY1" fmla="*/ 33381 h 51691"/>
                    <a:gd name="connsiteX2" fmla="*/ 2491 w 6477"/>
                    <a:gd name="connsiteY2" fmla="*/ 16068 h 51691"/>
                    <a:gd name="connsiteX3" fmla="*/ 6477 w 6477"/>
                    <a:gd name="connsiteY3" fmla="*/ 0 h 51691"/>
                  </a:gdLst>
                  <a:ahLst/>
                  <a:cxnLst>
                    <a:cxn ang="0">
                      <a:pos x="connsiteX0" y="connsiteY0"/>
                    </a:cxn>
                    <a:cxn ang="0">
                      <a:pos x="connsiteX1" y="connsiteY1"/>
                    </a:cxn>
                    <a:cxn ang="0">
                      <a:pos x="connsiteX2" y="connsiteY2"/>
                    </a:cxn>
                    <a:cxn ang="0">
                      <a:pos x="connsiteX3" y="connsiteY3"/>
                    </a:cxn>
                  </a:cxnLst>
                  <a:rect l="l" t="t" r="r" b="b"/>
                  <a:pathLst>
                    <a:path w="6477" h="51690">
                      <a:moveTo>
                        <a:pt x="0" y="51691"/>
                      </a:moveTo>
                      <a:cubicBezTo>
                        <a:pt x="3363" y="43969"/>
                        <a:pt x="3986" y="37616"/>
                        <a:pt x="3986" y="33381"/>
                      </a:cubicBezTo>
                      <a:cubicBezTo>
                        <a:pt x="3986" y="26406"/>
                        <a:pt x="2242"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1" name="Freeform 5291">
                  <a:extLst>
                    <a:ext uri="{FF2B5EF4-FFF2-40B4-BE49-F238E27FC236}">
                      <a16:creationId xmlns:a16="http://schemas.microsoft.com/office/drawing/2014/main" id="{94B7ADDA-D760-51A6-3F7D-BE1725F52AE5}"/>
                    </a:ext>
                  </a:extLst>
                </p:cNvPr>
                <p:cNvSpPr/>
                <p:nvPr/>
              </p:nvSpPr>
              <p:spPr>
                <a:xfrm>
                  <a:off x="9426737" y="5687128"/>
                  <a:ext cx="6959" cy="51940"/>
                </a:xfrm>
                <a:custGeom>
                  <a:avLst/>
                  <a:gdLst>
                    <a:gd name="connsiteX0" fmla="*/ 6015 w 6959"/>
                    <a:gd name="connsiteY0" fmla="*/ 0 h 51940"/>
                    <a:gd name="connsiteX1" fmla="*/ 5890 w 6959"/>
                    <a:gd name="connsiteY1" fmla="*/ 18808 h 51940"/>
                    <a:gd name="connsiteX2" fmla="*/ 659 w 6959"/>
                    <a:gd name="connsiteY2" fmla="*/ 35374 h 51940"/>
                    <a:gd name="connsiteX3" fmla="*/ 1033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0"/>
                      </a:moveTo>
                      <a:cubicBezTo>
                        <a:pt x="7634" y="8221"/>
                        <a:pt x="6887" y="14573"/>
                        <a:pt x="5890" y="18808"/>
                      </a:cubicBezTo>
                      <a:cubicBezTo>
                        <a:pt x="4395" y="25659"/>
                        <a:pt x="1904" y="28399"/>
                        <a:pt x="659" y="35374"/>
                      </a:cubicBezTo>
                      <a:cubicBezTo>
                        <a:pt x="-586" y="42225"/>
                        <a:pt x="161" y="48079"/>
                        <a:pt x="10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2" name="Freeform 5292">
                  <a:extLst>
                    <a:ext uri="{FF2B5EF4-FFF2-40B4-BE49-F238E27FC236}">
                      <a16:creationId xmlns:a16="http://schemas.microsoft.com/office/drawing/2014/main" id="{91FFBAA0-D713-151B-4CFB-FB306CB0E171}"/>
                    </a:ext>
                  </a:extLst>
                </p:cNvPr>
                <p:cNvSpPr/>
                <p:nvPr/>
              </p:nvSpPr>
              <p:spPr>
                <a:xfrm>
                  <a:off x="9417835" y="5728139"/>
                  <a:ext cx="26222" cy="26468"/>
                </a:xfrm>
                <a:custGeom>
                  <a:avLst/>
                  <a:gdLst>
                    <a:gd name="connsiteX0" fmla="*/ 95 w 26222"/>
                    <a:gd name="connsiteY0" fmla="*/ 11802 h 26468"/>
                    <a:gd name="connsiteX1" fmla="*/ 14544 w 26222"/>
                    <a:gd name="connsiteY1" fmla="*/ 93 h 26468"/>
                    <a:gd name="connsiteX2" fmla="*/ 26128 w 26222"/>
                    <a:gd name="connsiteY2" fmla="*/ 14667 h 26468"/>
                    <a:gd name="connsiteX3" fmla="*/ 11679 w 26222"/>
                    <a:gd name="connsiteY3" fmla="*/ 26375 h 26468"/>
                    <a:gd name="connsiteX4" fmla="*/ 95 w 26222"/>
                    <a:gd name="connsiteY4" fmla="*/ 11802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2" h="26468">
                      <a:moveTo>
                        <a:pt x="95" y="11802"/>
                      </a:moveTo>
                      <a:cubicBezTo>
                        <a:pt x="842" y="4577"/>
                        <a:pt x="7320" y="-779"/>
                        <a:pt x="14544" y="93"/>
                      </a:cubicBezTo>
                      <a:cubicBezTo>
                        <a:pt x="21768" y="840"/>
                        <a:pt x="27000" y="7442"/>
                        <a:pt x="26128" y="14667"/>
                      </a:cubicBezTo>
                      <a:cubicBezTo>
                        <a:pt x="25256" y="21891"/>
                        <a:pt x="18779" y="27247"/>
                        <a:pt x="11679" y="26375"/>
                      </a:cubicBezTo>
                      <a:cubicBezTo>
                        <a:pt x="4455" y="25628"/>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8" name="Graphic 2987">
                <a:extLst>
                  <a:ext uri="{FF2B5EF4-FFF2-40B4-BE49-F238E27FC236}">
                    <a16:creationId xmlns:a16="http://schemas.microsoft.com/office/drawing/2014/main" id="{53B47F5C-FF21-96CD-6BCF-92DEDC13CF93}"/>
                  </a:ext>
                </a:extLst>
              </p:cNvPr>
              <p:cNvGrpSpPr/>
              <p:nvPr/>
            </p:nvGrpSpPr>
            <p:grpSpPr>
              <a:xfrm>
                <a:off x="9446982" y="5609831"/>
                <a:ext cx="40273" cy="148116"/>
                <a:chOff x="9446982" y="5609831"/>
                <a:chExt cx="40273" cy="148116"/>
              </a:xfrm>
              <a:grpFill/>
            </p:grpSpPr>
            <p:sp>
              <p:nvSpPr>
                <p:cNvPr id="4271" name="Freeform 5294">
                  <a:extLst>
                    <a:ext uri="{FF2B5EF4-FFF2-40B4-BE49-F238E27FC236}">
                      <a16:creationId xmlns:a16="http://schemas.microsoft.com/office/drawing/2014/main" id="{5AEF1619-2382-2D9B-362E-0584F1876FBB}"/>
                    </a:ext>
                  </a:extLst>
                </p:cNvPr>
                <p:cNvSpPr/>
                <p:nvPr/>
              </p:nvSpPr>
              <p:spPr>
                <a:xfrm>
                  <a:off x="9462895" y="5629707"/>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2" name="Freeform 5295">
                  <a:extLst>
                    <a:ext uri="{FF2B5EF4-FFF2-40B4-BE49-F238E27FC236}">
                      <a16:creationId xmlns:a16="http://schemas.microsoft.com/office/drawing/2014/main" id="{28FBE7C4-95EF-494B-0A15-4DAE169F6E5F}"/>
                    </a:ext>
                  </a:extLst>
                </p:cNvPr>
                <p:cNvSpPr/>
                <p:nvPr/>
              </p:nvSpPr>
              <p:spPr>
                <a:xfrm>
                  <a:off x="9470919" y="5625597"/>
                  <a:ext cx="7091" cy="51816"/>
                </a:xfrm>
                <a:custGeom>
                  <a:avLst/>
                  <a:gdLst>
                    <a:gd name="connsiteX0" fmla="*/ 945 w 7091"/>
                    <a:gd name="connsiteY0" fmla="*/ 51816 h 51816"/>
                    <a:gd name="connsiteX1" fmla="*/ 1069 w 7091"/>
                    <a:gd name="connsiteY1" fmla="*/ 33008 h 51816"/>
                    <a:gd name="connsiteX2" fmla="*/ 6425 w 7091"/>
                    <a:gd name="connsiteY2" fmla="*/ 16442 h 51816"/>
                    <a:gd name="connsiteX3" fmla="*/ 6176 w 7091"/>
                    <a:gd name="connsiteY3" fmla="*/ 0 h 51816"/>
                  </a:gdLst>
                  <a:ahLst/>
                  <a:cxnLst>
                    <a:cxn ang="0">
                      <a:pos x="connsiteX0" y="connsiteY0"/>
                    </a:cxn>
                    <a:cxn ang="0">
                      <a:pos x="connsiteX1" y="connsiteY1"/>
                    </a:cxn>
                    <a:cxn ang="0">
                      <a:pos x="connsiteX2" y="connsiteY2"/>
                    </a:cxn>
                    <a:cxn ang="0">
                      <a:pos x="connsiteX3" y="connsiteY3"/>
                    </a:cxn>
                  </a:cxnLst>
                  <a:rect l="l" t="t" r="r" b="b"/>
                  <a:pathLst>
                    <a:path w="7091" h="51816">
                      <a:moveTo>
                        <a:pt x="945" y="51816"/>
                      </a:moveTo>
                      <a:cubicBezTo>
                        <a:pt x="-675" y="43595"/>
                        <a:pt x="73" y="37243"/>
                        <a:pt x="1069" y="33008"/>
                      </a:cubicBezTo>
                      <a:cubicBezTo>
                        <a:pt x="2689"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3" name="Freeform 5296">
                  <a:extLst>
                    <a:ext uri="{FF2B5EF4-FFF2-40B4-BE49-F238E27FC236}">
                      <a16:creationId xmlns:a16="http://schemas.microsoft.com/office/drawing/2014/main" id="{6240FFBC-BF38-DD62-EC9B-D4AF57E1E6BA}"/>
                    </a:ext>
                  </a:extLst>
                </p:cNvPr>
                <p:cNvSpPr/>
                <p:nvPr/>
              </p:nvSpPr>
              <p:spPr>
                <a:xfrm>
                  <a:off x="9460683" y="5609831"/>
                  <a:ext cx="26572" cy="26548"/>
                </a:xfrm>
                <a:custGeom>
                  <a:avLst/>
                  <a:gdLst>
                    <a:gd name="connsiteX0" fmla="*/ 26501 w 26572"/>
                    <a:gd name="connsiteY0" fmla="*/ 14769 h 26548"/>
                    <a:gd name="connsiteX1" fmla="*/ 11803 w 26572"/>
                    <a:gd name="connsiteY1" fmla="*/ 26477 h 26548"/>
                    <a:gd name="connsiteX2" fmla="*/ 95 w 26572"/>
                    <a:gd name="connsiteY2" fmla="*/ 11780 h 26548"/>
                    <a:gd name="connsiteX3" fmla="*/ 14793 w 26572"/>
                    <a:gd name="connsiteY3" fmla="*/ 71 h 26548"/>
                    <a:gd name="connsiteX4" fmla="*/ 26501 w 26572"/>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2" h="26548">
                      <a:moveTo>
                        <a:pt x="26501" y="14769"/>
                      </a:moveTo>
                      <a:cubicBezTo>
                        <a:pt x="25629" y="21993"/>
                        <a:pt x="19028" y="27225"/>
                        <a:pt x="11803" y="26477"/>
                      </a:cubicBezTo>
                      <a:cubicBezTo>
                        <a:pt x="4455" y="25606"/>
                        <a:pt x="-777" y="19128"/>
                        <a:pt x="95" y="11780"/>
                      </a:cubicBezTo>
                      <a:cubicBezTo>
                        <a:pt x="967" y="4555"/>
                        <a:pt x="7444" y="-676"/>
                        <a:pt x="14793" y="71"/>
                      </a:cubicBezTo>
                      <a:cubicBezTo>
                        <a:pt x="22017" y="943"/>
                        <a:pt x="27248" y="7420"/>
                        <a:pt x="26501"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4" name="Freeform 5297">
                  <a:extLst>
                    <a:ext uri="{FF2B5EF4-FFF2-40B4-BE49-F238E27FC236}">
                      <a16:creationId xmlns:a16="http://schemas.microsoft.com/office/drawing/2014/main" id="{9B07176D-E751-41EA-2EC9-90BD5B3AB49A}"/>
                    </a:ext>
                  </a:extLst>
                </p:cNvPr>
                <p:cNvSpPr/>
                <p:nvPr/>
              </p:nvSpPr>
              <p:spPr>
                <a:xfrm>
                  <a:off x="9464514" y="568638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5" name="Freeform 5298">
                  <a:extLst>
                    <a:ext uri="{FF2B5EF4-FFF2-40B4-BE49-F238E27FC236}">
                      <a16:creationId xmlns:a16="http://schemas.microsoft.com/office/drawing/2014/main" id="{F3C0B12B-E31F-3CA3-BA56-1EA0F9A79964}"/>
                    </a:ext>
                  </a:extLst>
                </p:cNvPr>
                <p:cNvSpPr/>
                <p:nvPr/>
              </p:nvSpPr>
              <p:spPr>
                <a:xfrm>
                  <a:off x="9456126" y="5690367"/>
                  <a:ext cx="6966" cy="51815"/>
                </a:xfrm>
                <a:custGeom>
                  <a:avLst/>
                  <a:gdLst>
                    <a:gd name="connsiteX0" fmla="*/ 6022 w 6966"/>
                    <a:gd name="connsiteY0" fmla="*/ 0 h 51815"/>
                    <a:gd name="connsiteX1" fmla="*/ 5898 w 6966"/>
                    <a:gd name="connsiteY1" fmla="*/ 18808 h 51815"/>
                    <a:gd name="connsiteX2" fmla="*/ 666 w 6966"/>
                    <a:gd name="connsiteY2" fmla="*/ 35374 h 51815"/>
                    <a:gd name="connsiteX3" fmla="*/ 915 w 6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66" h="51815">
                      <a:moveTo>
                        <a:pt x="6022" y="0"/>
                      </a:moveTo>
                      <a:cubicBezTo>
                        <a:pt x="7641" y="8220"/>
                        <a:pt x="6894" y="14573"/>
                        <a:pt x="5898" y="18808"/>
                      </a:cubicBezTo>
                      <a:cubicBezTo>
                        <a:pt x="4403" y="25659"/>
                        <a:pt x="1912" y="28399"/>
                        <a:pt x="666" y="35374"/>
                      </a:cubicBezTo>
                      <a:cubicBezTo>
                        <a:pt x="-579" y="42225"/>
                        <a:pt x="168" y="47954"/>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6" name="Freeform 5299">
                  <a:extLst>
                    <a:ext uri="{FF2B5EF4-FFF2-40B4-BE49-F238E27FC236}">
                      <a16:creationId xmlns:a16="http://schemas.microsoft.com/office/drawing/2014/main" id="{B76E4ABF-4A5F-443E-DCAD-A988E5FB369D}"/>
                    </a:ext>
                  </a:extLst>
                </p:cNvPr>
                <p:cNvSpPr/>
                <p:nvPr/>
              </p:nvSpPr>
              <p:spPr>
                <a:xfrm>
                  <a:off x="9446982" y="5731503"/>
                  <a:ext cx="26346" cy="26445"/>
                </a:xfrm>
                <a:custGeom>
                  <a:avLst/>
                  <a:gdLst>
                    <a:gd name="connsiteX0" fmla="*/ 95 w 26346"/>
                    <a:gd name="connsiteY0" fmla="*/ 11802 h 26445"/>
                    <a:gd name="connsiteX1" fmla="*/ 14668 w 26346"/>
                    <a:gd name="connsiteY1" fmla="*/ 93 h 26445"/>
                    <a:gd name="connsiteX2" fmla="*/ 26252 w 26346"/>
                    <a:gd name="connsiteY2" fmla="*/ 14666 h 26445"/>
                    <a:gd name="connsiteX3" fmla="*/ 11679 w 26346"/>
                    <a:gd name="connsiteY3" fmla="*/ 26375 h 26445"/>
                    <a:gd name="connsiteX4" fmla="*/ 95 w 26346"/>
                    <a:gd name="connsiteY4" fmla="*/ 11802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5">
                      <a:moveTo>
                        <a:pt x="95" y="11802"/>
                      </a:moveTo>
                      <a:cubicBezTo>
                        <a:pt x="842" y="4577"/>
                        <a:pt x="7443" y="-779"/>
                        <a:pt x="14668" y="93"/>
                      </a:cubicBezTo>
                      <a:cubicBezTo>
                        <a:pt x="21893" y="965"/>
                        <a:pt x="27124" y="7442"/>
                        <a:pt x="26252" y="14666"/>
                      </a:cubicBezTo>
                      <a:cubicBezTo>
                        <a:pt x="25380" y="21891"/>
                        <a:pt x="18903" y="27122"/>
                        <a:pt x="11679" y="26375"/>
                      </a:cubicBezTo>
                      <a:cubicBezTo>
                        <a:pt x="4454"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9" name="Graphic 2987">
                <a:extLst>
                  <a:ext uri="{FF2B5EF4-FFF2-40B4-BE49-F238E27FC236}">
                    <a16:creationId xmlns:a16="http://schemas.microsoft.com/office/drawing/2014/main" id="{5E623D7E-AF03-E4E2-05B0-B7180C702937}"/>
                  </a:ext>
                </a:extLst>
              </p:cNvPr>
              <p:cNvGrpSpPr/>
              <p:nvPr/>
            </p:nvGrpSpPr>
            <p:grpSpPr>
              <a:xfrm>
                <a:off x="9476150" y="5613070"/>
                <a:ext cx="40648" cy="148116"/>
                <a:chOff x="9476150" y="5613070"/>
                <a:chExt cx="40648" cy="148116"/>
              </a:xfrm>
              <a:grpFill/>
            </p:grpSpPr>
            <p:sp>
              <p:nvSpPr>
                <p:cNvPr id="4265" name="Freeform 5301">
                  <a:extLst>
                    <a:ext uri="{FF2B5EF4-FFF2-40B4-BE49-F238E27FC236}">
                      <a16:creationId xmlns:a16="http://schemas.microsoft.com/office/drawing/2014/main" id="{881EF46B-F8BE-CAE9-6BBD-422ED03298A4}"/>
                    </a:ext>
                  </a:extLst>
                </p:cNvPr>
                <p:cNvSpPr/>
                <p:nvPr/>
              </p:nvSpPr>
              <p:spPr>
                <a:xfrm>
                  <a:off x="9492416" y="5633070"/>
                  <a:ext cx="6601" cy="51691"/>
                </a:xfrm>
                <a:custGeom>
                  <a:avLst/>
                  <a:gdLst>
                    <a:gd name="connsiteX0" fmla="*/ 6601 w 6601"/>
                    <a:gd name="connsiteY0" fmla="*/ 0 h 51691"/>
                    <a:gd name="connsiteX1" fmla="*/ 2491 w 6601"/>
                    <a:gd name="connsiteY1" fmla="*/ 18310 h 51691"/>
                    <a:gd name="connsiteX2" fmla="*/ 3985 w 6601"/>
                    <a:gd name="connsiteY2" fmla="*/ 35623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0"/>
                      </a:moveTo>
                      <a:cubicBezTo>
                        <a:pt x="3238" y="7723"/>
                        <a:pt x="2491" y="13950"/>
                        <a:pt x="2491" y="18310"/>
                      </a:cubicBezTo>
                      <a:cubicBezTo>
                        <a:pt x="2491" y="25285"/>
                        <a:pt x="4235" y="28523"/>
                        <a:pt x="3985" y="35623"/>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6" name="Freeform 5302">
                  <a:extLst>
                    <a:ext uri="{FF2B5EF4-FFF2-40B4-BE49-F238E27FC236}">
                      <a16:creationId xmlns:a16="http://schemas.microsoft.com/office/drawing/2014/main" id="{99C119D1-C443-54E9-5F3E-5D8A79AB495A}"/>
                    </a:ext>
                  </a:extLst>
                </p:cNvPr>
                <p:cNvSpPr/>
                <p:nvPr/>
              </p:nvSpPr>
              <p:spPr>
                <a:xfrm>
                  <a:off x="9500414" y="5628836"/>
                  <a:ext cx="7116" cy="51815"/>
                </a:xfrm>
                <a:custGeom>
                  <a:avLst/>
                  <a:gdLst>
                    <a:gd name="connsiteX0" fmla="*/ 845 w 7116"/>
                    <a:gd name="connsiteY0" fmla="*/ 51816 h 51815"/>
                    <a:gd name="connsiteX1" fmla="*/ 1095 w 7116"/>
                    <a:gd name="connsiteY1" fmla="*/ 33008 h 51815"/>
                    <a:gd name="connsiteX2" fmla="*/ 6450 w 7116"/>
                    <a:gd name="connsiteY2" fmla="*/ 16441 h 51815"/>
                    <a:gd name="connsiteX3" fmla="*/ 6201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845" y="51816"/>
                      </a:moveTo>
                      <a:cubicBezTo>
                        <a:pt x="-649" y="43595"/>
                        <a:pt x="98" y="37243"/>
                        <a:pt x="1095" y="33008"/>
                      </a:cubicBezTo>
                      <a:cubicBezTo>
                        <a:pt x="2714" y="26157"/>
                        <a:pt x="5205" y="23417"/>
                        <a:pt x="6450" y="16441"/>
                      </a:cubicBezTo>
                      <a:cubicBezTo>
                        <a:pt x="7696" y="9715"/>
                        <a:pt x="6948"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7" name="Freeform 5303">
                  <a:extLst>
                    <a:ext uri="{FF2B5EF4-FFF2-40B4-BE49-F238E27FC236}">
                      <a16:creationId xmlns:a16="http://schemas.microsoft.com/office/drawing/2014/main" id="{4CA42766-58B9-AF9E-FB0A-C443045FB813}"/>
                    </a:ext>
                  </a:extLst>
                </p:cNvPr>
                <p:cNvSpPr/>
                <p:nvPr/>
              </p:nvSpPr>
              <p:spPr>
                <a:xfrm>
                  <a:off x="9490078" y="5613070"/>
                  <a:ext cx="26720" cy="26548"/>
                </a:xfrm>
                <a:custGeom>
                  <a:avLst/>
                  <a:gdLst>
                    <a:gd name="connsiteX0" fmla="*/ 26626 w 26720"/>
                    <a:gd name="connsiteY0" fmla="*/ 14769 h 26548"/>
                    <a:gd name="connsiteX1" fmla="*/ 11803 w 26720"/>
                    <a:gd name="connsiteY1" fmla="*/ 26477 h 26548"/>
                    <a:gd name="connsiteX2" fmla="*/ 95 w 26720"/>
                    <a:gd name="connsiteY2" fmla="*/ 11780 h 26548"/>
                    <a:gd name="connsiteX3" fmla="*/ 14917 w 26720"/>
                    <a:gd name="connsiteY3" fmla="*/ 71 h 26548"/>
                    <a:gd name="connsiteX4" fmla="*/ 26626 w 26720"/>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48">
                      <a:moveTo>
                        <a:pt x="26626" y="14769"/>
                      </a:moveTo>
                      <a:cubicBezTo>
                        <a:pt x="25754" y="21993"/>
                        <a:pt x="19152" y="27225"/>
                        <a:pt x="11803" y="26477"/>
                      </a:cubicBezTo>
                      <a:cubicBezTo>
                        <a:pt x="4455" y="25730"/>
                        <a:pt x="-776" y="19128"/>
                        <a:pt x="95" y="11780"/>
                      </a:cubicBezTo>
                      <a:cubicBezTo>
                        <a:pt x="967" y="4555"/>
                        <a:pt x="7569" y="-676"/>
                        <a:pt x="14917" y="71"/>
                      </a:cubicBezTo>
                      <a:cubicBezTo>
                        <a:pt x="22266" y="943"/>
                        <a:pt x="27498" y="7545"/>
                        <a:pt x="26626"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8" name="Freeform 5304">
                  <a:extLst>
                    <a:ext uri="{FF2B5EF4-FFF2-40B4-BE49-F238E27FC236}">
                      <a16:creationId xmlns:a16="http://schemas.microsoft.com/office/drawing/2014/main" id="{4B89F931-4582-39E5-BB85-28AD41B27033}"/>
                    </a:ext>
                  </a:extLst>
                </p:cNvPr>
                <p:cNvSpPr/>
                <p:nvPr/>
              </p:nvSpPr>
              <p:spPr>
                <a:xfrm>
                  <a:off x="9493786" y="5689619"/>
                  <a:ext cx="6725" cy="51691"/>
                </a:xfrm>
                <a:custGeom>
                  <a:avLst/>
                  <a:gdLst>
                    <a:gd name="connsiteX0" fmla="*/ 0 w 6725"/>
                    <a:gd name="connsiteY0" fmla="*/ 51692 h 51691"/>
                    <a:gd name="connsiteX1" fmla="*/ 4111 w 6725"/>
                    <a:gd name="connsiteY1" fmla="*/ 33382 h 51691"/>
                    <a:gd name="connsiteX2" fmla="*/ 2740 w 6725"/>
                    <a:gd name="connsiteY2" fmla="*/ 16068 h 51691"/>
                    <a:gd name="connsiteX3" fmla="*/ 6726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0" y="51692"/>
                      </a:moveTo>
                      <a:cubicBezTo>
                        <a:pt x="3363" y="43969"/>
                        <a:pt x="4111" y="37741"/>
                        <a:pt x="4111" y="33382"/>
                      </a:cubicBezTo>
                      <a:cubicBezTo>
                        <a:pt x="4111" y="26407"/>
                        <a:pt x="2367" y="23168"/>
                        <a:pt x="2740" y="16068"/>
                      </a:cubicBezTo>
                      <a:cubicBezTo>
                        <a:pt x="2989" y="9218"/>
                        <a:pt x="5107" y="3612"/>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9" name="Freeform 5305">
                  <a:extLst>
                    <a:ext uri="{FF2B5EF4-FFF2-40B4-BE49-F238E27FC236}">
                      <a16:creationId xmlns:a16="http://schemas.microsoft.com/office/drawing/2014/main" id="{23874FD1-46AA-E36C-FDD1-C03D5DED0EF2}"/>
                    </a:ext>
                  </a:extLst>
                </p:cNvPr>
                <p:cNvSpPr/>
                <p:nvPr/>
              </p:nvSpPr>
              <p:spPr>
                <a:xfrm>
                  <a:off x="9485272" y="5693730"/>
                  <a:ext cx="7116" cy="51816"/>
                </a:xfrm>
                <a:custGeom>
                  <a:avLst/>
                  <a:gdLst>
                    <a:gd name="connsiteX0" fmla="*/ 6272 w 7116"/>
                    <a:gd name="connsiteY0" fmla="*/ 0 h 51816"/>
                    <a:gd name="connsiteX1" fmla="*/ 6022 w 7116"/>
                    <a:gd name="connsiteY1" fmla="*/ 18808 h 51816"/>
                    <a:gd name="connsiteX2" fmla="*/ 666 w 7116"/>
                    <a:gd name="connsiteY2" fmla="*/ 35374 h 51816"/>
                    <a:gd name="connsiteX3" fmla="*/ 916 w 711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16" h="51816">
                      <a:moveTo>
                        <a:pt x="6272" y="0"/>
                      </a:moveTo>
                      <a:cubicBezTo>
                        <a:pt x="7766" y="8221"/>
                        <a:pt x="7019" y="14573"/>
                        <a:pt x="6022" y="18808"/>
                      </a:cubicBezTo>
                      <a:cubicBezTo>
                        <a:pt x="4403" y="25659"/>
                        <a:pt x="2036" y="28399"/>
                        <a:pt x="666" y="35374"/>
                      </a:cubicBezTo>
                      <a:cubicBezTo>
                        <a:pt x="-580" y="42101"/>
                        <a:pt x="168" y="47955"/>
                        <a:pt x="91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0" name="Freeform 5306">
                  <a:extLst>
                    <a:ext uri="{FF2B5EF4-FFF2-40B4-BE49-F238E27FC236}">
                      <a16:creationId xmlns:a16="http://schemas.microsoft.com/office/drawing/2014/main" id="{5763787F-3A5A-9F3B-8AA2-996E8CCCC95D}"/>
                    </a:ext>
                  </a:extLst>
                </p:cNvPr>
                <p:cNvSpPr/>
                <p:nvPr/>
              </p:nvSpPr>
              <p:spPr>
                <a:xfrm>
                  <a:off x="9476150" y="5734763"/>
                  <a:ext cx="26302" cy="26423"/>
                </a:xfrm>
                <a:custGeom>
                  <a:avLst/>
                  <a:gdLst>
                    <a:gd name="connsiteX0" fmla="*/ 73 w 26302"/>
                    <a:gd name="connsiteY0" fmla="*/ 11780 h 26423"/>
                    <a:gd name="connsiteX1" fmla="*/ 14646 w 26302"/>
                    <a:gd name="connsiteY1" fmla="*/ 71 h 26423"/>
                    <a:gd name="connsiteX2" fmla="*/ 26230 w 26302"/>
                    <a:gd name="connsiteY2" fmla="*/ 14644 h 26423"/>
                    <a:gd name="connsiteX3" fmla="*/ 11656 w 26302"/>
                    <a:gd name="connsiteY3" fmla="*/ 26353 h 26423"/>
                    <a:gd name="connsiteX4" fmla="*/ 73 w 26302"/>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2" h="26423">
                      <a:moveTo>
                        <a:pt x="73" y="11780"/>
                      </a:moveTo>
                      <a:cubicBezTo>
                        <a:pt x="945" y="4555"/>
                        <a:pt x="7422" y="-676"/>
                        <a:pt x="14646" y="71"/>
                      </a:cubicBezTo>
                      <a:cubicBezTo>
                        <a:pt x="21870" y="818"/>
                        <a:pt x="26977" y="7420"/>
                        <a:pt x="26230" y="14644"/>
                      </a:cubicBezTo>
                      <a:cubicBezTo>
                        <a:pt x="25358" y="21869"/>
                        <a:pt x="18881" y="27100"/>
                        <a:pt x="11656" y="26353"/>
                      </a:cubicBezTo>
                      <a:cubicBezTo>
                        <a:pt x="4433" y="25606"/>
                        <a:pt x="-675" y="19004"/>
                        <a:pt x="73"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0" name="Graphic 2987">
                <a:extLst>
                  <a:ext uri="{FF2B5EF4-FFF2-40B4-BE49-F238E27FC236}">
                    <a16:creationId xmlns:a16="http://schemas.microsoft.com/office/drawing/2014/main" id="{C2C7E579-907A-5A6C-72C7-768CA1D110C8}"/>
                  </a:ext>
                </a:extLst>
              </p:cNvPr>
              <p:cNvGrpSpPr/>
              <p:nvPr/>
            </p:nvGrpSpPr>
            <p:grpSpPr>
              <a:xfrm>
                <a:off x="9505397" y="5616307"/>
                <a:ext cx="41046" cy="148168"/>
                <a:chOff x="9505397" y="5616307"/>
                <a:chExt cx="41046" cy="148168"/>
              </a:xfrm>
              <a:grpFill/>
            </p:grpSpPr>
            <p:sp>
              <p:nvSpPr>
                <p:cNvPr id="4259" name="Freeform 5308">
                  <a:extLst>
                    <a:ext uri="{FF2B5EF4-FFF2-40B4-BE49-F238E27FC236}">
                      <a16:creationId xmlns:a16="http://schemas.microsoft.com/office/drawing/2014/main" id="{41ECACF7-7758-ABDD-2964-8639FC122460}"/>
                    </a:ext>
                  </a:extLst>
                </p:cNvPr>
                <p:cNvSpPr/>
                <p:nvPr/>
              </p:nvSpPr>
              <p:spPr>
                <a:xfrm>
                  <a:off x="9521687" y="5636309"/>
                  <a:ext cx="6975" cy="51691"/>
                </a:xfrm>
                <a:custGeom>
                  <a:avLst/>
                  <a:gdLst>
                    <a:gd name="connsiteX0" fmla="*/ 6975 w 6975"/>
                    <a:gd name="connsiteY0" fmla="*/ 0 h 51691"/>
                    <a:gd name="connsiteX1" fmla="*/ 2740 w 6975"/>
                    <a:gd name="connsiteY1" fmla="*/ 18310 h 51691"/>
                    <a:gd name="connsiteX2" fmla="*/ 4111 w 6975"/>
                    <a:gd name="connsiteY2" fmla="*/ 35624 h 51691"/>
                    <a:gd name="connsiteX3" fmla="*/ 0 w 697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7" y="7723"/>
                        <a:pt x="2865" y="13951"/>
                        <a:pt x="2740" y="18310"/>
                      </a:cubicBezTo>
                      <a:cubicBezTo>
                        <a:pt x="2740" y="25285"/>
                        <a:pt x="4484" y="28524"/>
                        <a:pt x="4111" y="35624"/>
                      </a:cubicBezTo>
                      <a:cubicBezTo>
                        <a:pt x="3737" y="42474"/>
                        <a:pt x="1744"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0" name="Freeform 5309">
                  <a:extLst>
                    <a:ext uri="{FF2B5EF4-FFF2-40B4-BE49-F238E27FC236}">
                      <a16:creationId xmlns:a16="http://schemas.microsoft.com/office/drawing/2014/main" id="{9AD1EF18-BAAA-DB4B-53E3-9A889EC76EA9}"/>
                    </a:ext>
                  </a:extLst>
                </p:cNvPr>
                <p:cNvSpPr/>
                <p:nvPr/>
              </p:nvSpPr>
              <p:spPr>
                <a:xfrm>
                  <a:off x="9529934" y="5632074"/>
                  <a:ext cx="7330" cy="51940"/>
                </a:xfrm>
                <a:custGeom>
                  <a:avLst/>
                  <a:gdLst>
                    <a:gd name="connsiteX0" fmla="*/ 845 w 7330"/>
                    <a:gd name="connsiteY0" fmla="*/ 51941 h 51940"/>
                    <a:gd name="connsiteX1" fmla="*/ 1095 w 7330"/>
                    <a:gd name="connsiteY1" fmla="*/ 33132 h 51940"/>
                    <a:gd name="connsiteX2" fmla="*/ 6575 w 7330"/>
                    <a:gd name="connsiteY2" fmla="*/ 16566 h 51940"/>
                    <a:gd name="connsiteX3" fmla="*/ 6326 w 7330"/>
                    <a:gd name="connsiteY3" fmla="*/ 0 h 51940"/>
                  </a:gdLst>
                  <a:ahLst/>
                  <a:cxnLst>
                    <a:cxn ang="0">
                      <a:pos x="connsiteX0" y="connsiteY0"/>
                    </a:cxn>
                    <a:cxn ang="0">
                      <a:pos x="connsiteX1" y="connsiteY1"/>
                    </a:cxn>
                    <a:cxn ang="0">
                      <a:pos x="connsiteX2" y="connsiteY2"/>
                    </a:cxn>
                    <a:cxn ang="0">
                      <a:pos x="connsiteX3" y="connsiteY3"/>
                    </a:cxn>
                  </a:cxnLst>
                  <a:rect l="l" t="t" r="r" b="b"/>
                  <a:pathLst>
                    <a:path w="7330" h="51940">
                      <a:moveTo>
                        <a:pt x="845" y="51941"/>
                      </a:moveTo>
                      <a:cubicBezTo>
                        <a:pt x="-649" y="43595"/>
                        <a:pt x="98" y="37367"/>
                        <a:pt x="1095" y="33132"/>
                      </a:cubicBezTo>
                      <a:cubicBezTo>
                        <a:pt x="2714" y="26282"/>
                        <a:pt x="5205" y="23542"/>
                        <a:pt x="6575" y="16566"/>
                      </a:cubicBezTo>
                      <a:cubicBezTo>
                        <a:pt x="7945" y="9840"/>
                        <a:pt x="7198" y="3861"/>
                        <a:pt x="63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1" name="Freeform 5310">
                  <a:extLst>
                    <a:ext uri="{FF2B5EF4-FFF2-40B4-BE49-F238E27FC236}">
                      <a16:creationId xmlns:a16="http://schemas.microsoft.com/office/drawing/2014/main" id="{A7440B1C-454D-0DFC-8363-106411750FFC}"/>
                    </a:ext>
                  </a:extLst>
                </p:cNvPr>
                <p:cNvSpPr/>
                <p:nvPr/>
              </p:nvSpPr>
              <p:spPr>
                <a:xfrm>
                  <a:off x="9519723" y="5616307"/>
                  <a:ext cx="26720" cy="26600"/>
                </a:xfrm>
                <a:custGeom>
                  <a:avLst/>
                  <a:gdLst>
                    <a:gd name="connsiteX0" fmla="*/ 26626 w 26720"/>
                    <a:gd name="connsiteY0" fmla="*/ 15019 h 26600"/>
                    <a:gd name="connsiteX1" fmla="*/ 11803 w 26720"/>
                    <a:gd name="connsiteY1" fmla="*/ 26479 h 26600"/>
                    <a:gd name="connsiteX2" fmla="*/ 95 w 26720"/>
                    <a:gd name="connsiteY2" fmla="*/ 11781 h 26600"/>
                    <a:gd name="connsiteX3" fmla="*/ 14917 w 26720"/>
                    <a:gd name="connsiteY3" fmla="*/ 73 h 26600"/>
                    <a:gd name="connsiteX4" fmla="*/ 26626 w 26720"/>
                    <a:gd name="connsiteY4" fmla="*/ 15019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99">
                      <a:moveTo>
                        <a:pt x="26626" y="15019"/>
                      </a:moveTo>
                      <a:cubicBezTo>
                        <a:pt x="25754" y="22244"/>
                        <a:pt x="19153" y="27475"/>
                        <a:pt x="11803" y="26479"/>
                      </a:cubicBezTo>
                      <a:cubicBezTo>
                        <a:pt x="4455" y="25607"/>
                        <a:pt x="-777" y="19130"/>
                        <a:pt x="95" y="11781"/>
                      </a:cubicBezTo>
                      <a:cubicBezTo>
                        <a:pt x="967" y="4432"/>
                        <a:pt x="7569" y="-675"/>
                        <a:pt x="14917" y="73"/>
                      </a:cubicBezTo>
                      <a:cubicBezTo>
                        <a:pt x="22267" y="1193"/>
                        <a:pt x="27498" y="7795"/>
                        <a:pt x="26626" y="15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2" name="Freeform 5311">
                  <a:extLst>
                    <a:ext uri="{FF2B5EF4-FFF2-40B4-BE49-F238E27FC236}">
                      <a16:creationId xmlns:a16="http://schemas.microsoft.com/office/drawing/2014/main" id="{77B0659F-95C9-0CF1-C424-D9F49BD4379E}"/>
                    </a:ext>
                  </a:extLst>
                </p:cNvPr>
                <p:cNvSpPr/>
                <p:nvPr/>
              </p:nvSpPr>
              <p:spPr>
                <a:xfrm>
                  <a:off x="9522932" y="5692983"/>
                  <a:ext cx="6975" cy="51691"/>
                </a:xfrm>
                <a:custGeom>
                  <a:avLst/>
                  <a:gdLst>
                    <a:gd name="connsiteX0" fmla="*/ 0 w 6975"/>
                    <a:gd name="connsiteY0" fmla="*/ 51691 h 51691"/>
                    <a:gd name="connsiteX1" fmla="*/ 4235 w 6975"/>
                    <a:gd name="connsiteY1" fmla="*/ 33381 h 51691"/>
                    <a:gd name="connsiteX2" fmla="*/ 2865 w 6975"/>
                    <a:gd name="connsiteY2" fmla="*/ 15943 h 51691"/>
                    <a:gd name="connsiteX3" fmla="*/ 6975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0" y="51691"/>
                      </a:moveTo>
                      <a:cubicBezTo>
                        <a:pt x="3363" y="43969"/>
                        <a:pt x="4111" y="37741"/>
                        <a:pt x="4235" y="33381"/>
                      </a:cubicBezTo>
                      <a:cubicBezTo>
                        <a:pt x="4360" y="26406"/>
                        <a:pt x="2616" y="23043"/>
                        <a:pt x="2865" y="15943"/>
                      </a:cubicBezTo>
                      <a:cubicBezTo>
                        <a:pt x="3239" y="9092"/>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3" name="Freeform 5312">
                  <a:extLst>
                    <a:ext uri="{FF2B5EF4-FFF2-40B4-BE49-F238E27FC236}">
                      <a16:creationId xmlns:a16="http://schemas.microsoft.com/office/drawing/2014/main" id="{78599068-DC86-90E9-8D04-4B97E53E2BEC}"/>
                    </a:ext>
                  </a:extLst>
                </p:cNvPr>
                <p:cNvSpPr/>
                <p:nvPr/>
              </p:nvSpPr>
              <p:spPr>
                <a:xfrm>
                  <a:off x="9514633" y="5696969"/>
                  <a:ext cx="7151" cy="51815"/>
                </a:xfrm>
                <a:custGeom>
                  <a:avLst/>
                  <a:gdLst>
                    <a:gd name="connsiteX0" fmla="*/ 6307 w 7151"/>
                    <a:gd name="connsiteY0" fmla="*/ 0 h 51815"/>
                    <a:gd name="connsiteX1" fmla="*/ 6057 w 7151"/>
                    <a:gd name="connsiteY1" fmla="*/ 18808 h 51815"/>
                    <a:gd name="connsiteX2" fmla="*/ 701 w 7151"/>
                    <a:gd name="connsiteY2" fmla="*/ 35374 h 51815"/>
                    <a:gd name="connsiteX3" fmla="*/ 95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6307" y="0"/>
                      </a:moveTo>
                      <a:cubicBezTo>
                        <a:pt x="7801" y="8220"/>
                        <a:pt x="7054" y="14573"/>
                        <a:pt x="6057" y="18808"/>
                      </a:cubicBezTo>
                      <a:cubicBezTo>
                        <a:pt x="4438" y="25659"/>
                        <a:pt x="1947" y="28399"/>
                        <a:pt x="701" y="35374"/>
                      </a:cubicBezTo>
                      <a:cubicBezTo>
                        <a:pt x="-544" y="42100"/>
                        <a:pt x="79" y="47954"/>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4" name="Freeform 5313">
                  <a:extLst>
                    <a:ext uri="{FF2B5EF4-FFF2-40B4-BE49-F238E27FC236}">
                      <a16:creationId xmlns:a16="http://schemas.microsoft.com/office/drawing/2014/main" id="{C52E21F8-3306-5439-CA36-1ADA929199EA}"/>
                    </a:ext>
                  </a:extLst>
                </p:cNvPr>
                <p:cNvSpPr/>
                <p:nvPr/>
              </p:nvSpPr>
              <p:spPr>
                <a:xfrm>
                  <a:off x="9505397" y="5738001"/>
                  <a:ext cx="26350" cy="26474"/>
                </a:xfrm>
                <a:custGeom>
                  <a:avLst/>
                  <a:gdLst>
                    <a:gd name="connsiteX0" fmla="*/ 97 w 26350"/>
                    <a:gd name="connsiteY0" fmla="*/ 11780 h 26474"/>
                    <a:gd name="connsiteX1" fmla="*/ 14795 w 26350"/>
                    <a:gd name="connsiteY1" fmla="*/ 71 h 26474"/>
                    <a:gd name="connsiteX2" fmla="*/ 26254 w 26350"/>
                    <a:gd name="connsiteY2" fmla="*/ 14893 h 26474"/>
                    <a:gd name="connsiteX3" fmla="*/ 11681 w 26350"/>
                    <a:gd name="connsiteY3" fmla="*/ 26353 h 26474"/>
                    <a:gd name="connsiteX4" fmla="*/ 97 w 26350"/>
                    <a:gd name="connsiteY4" fmla="*/ 11780 h 2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1780"/>
                      </a:moveTo>
                      <a:cubicBezTo>
                        <a:pt x="969" y="4555"/>
                        <a:pt x="7570" y="-676"/>
                        <a:pt x="14795" y="71"/>
                      </a:cubicBezTo>
                      <a:cubicBezTo>
                        <a:pt x="22019" y="943"/>
                        <a:pt x="27126" y="7669"/>
                        <a:pt x="26254" y="14893"/>
                      </a:cubicBezTo>
                      <a:cubicBezTo>
                        <a:pt x="25382" y="22118"/>
                        <a:pt x="18781" y="27349"/>
                        <a:pt x="11681" y="26353"/>
                      </a:cubicBezTo>
                      <a:cubicBezTo>
                        <a:pt x="4331" y="25605"/>
                        <a:pt x="-775" y="19004"/>
                        <a:pt x="97"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1" name="Graphic 2987">
                <a:extLst>
                  <a:ext uri="{FF2B5EF4-FFF2-40B4-BE49-F238E27FC236}">
                    <a16:creationId xmlns:a16="http://schemas.microsoft.com/office/drawing/2014/main" id="{2C1DD953-C047-75F3-91D9-DAB344195331}"/>
                  </a:ext>
                </a:extLst>
              </p:cNvPr>
              <p:cNvGrpSpPr/>
              <p:nvPr/>
            </p:nvGrpSpPr>
            <p:grpSpPr>
              <a:xfrm>
                <a:off x="9534543" y="5620244"/>
                <a:ext cx="41447" cy="147969"/>
                <a:chOff x="9534543" y="5620244"/>
                <a:chExt cx="41447" cy="147969"/>
              </a:xfrm>
              <a:grpFill/>
            </p:grpSpPr>
            <p:sp>
              <p:nvSpPr>
                <p:cNvPr id="4253" name="Freeform 5315">
                  <a:extLst>
                    <a:ext uri="{FF2B5EF4-FFF2-40B4-BE49-F238E27FC236}">
                      <a16:creationId xmlns:a16="http://schemas.microsoft.com/office/drawing/2014/main" id="{EE6DB450-F168-F38E-12D2-BE310C4EF6FF}"/>
                    </a:ext>
                  </a:extLst>
                </p:cNvPr>
                <p:cNvSpPr/>
                <p:nvPr/>
              </p:nvSpPr>
              <p:spPr>
                <a:xfrm>
                  <a:off x="9551207" y="5640046"/>
                  <a:ext cx="6975" cy="51691"/>
                </a:xfrm>
                <a:custGeom>
                  <a:avLst/>
                  <a:gdLst>
                    <a:gd name="connsiteX0" fmla="*/ 6975 w 6975"/>
                    <a:gd name="connsiteY0" fmla="*/ 0 h 51691"/>
                    <a:gd name="connsiteX1" fmla="*/ 2741 w 6975"/>
                    <a:gd name="connsiteY1" fmla="*/ 18310 h 51691"/>
                    <a:gd name="connsiteX2" fmla="*/ 4111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8" y="7723"/>
                        <a:pt x="2741" y="13950"/>
                        <a:pt x="2741" y="18310"/>
                      </a:cubicBezTo>
                      <a:cubicBezTo>
                        <a:pt x="2616" y="25285"/>
                        <a:pt x="4359"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4" name="Freeform 5316">
                  <a:extLst>
                    <a:ext uri="{FF2B5EF4-FFF2-40B4-BE49-F238E27FC236}">
                      <a16:creationId xmlns:a16="http://schemas.microsoft.com/office/drawing/2014/main" id="{ED75284B-11A2-450F-6518-D858C6EE53A7}"/>
                    </a:ext>
                  </a:extLst>
                </p:cNvPr>
                <p:cNvSpPr/>
                <p:nvPr/>
              </p:nvSpPr>
              <p:spPr>
                <a:xfrm>
                  <a:off x="9559248" y="5635811"/>
                  <a:ext cx="7419" cy="51940"/>
                </a:xfrm>
                <a:custGeom>
                  <a:avLst/>
                  <a:gdLst>
                    <a:gd name="connsiteX0" fmla="*/ 802 w 7419"/>
                    <a:gd name="connsiteY0" fmla="*/ 51940 h 51940"/>
                    <a:gd name="connsiteX1" fmla="*/ 1175 w 7419"/>
                    <a:gd name="connsiteY1" fmla="*/ 33132 h 51940"/>
                    <a:gd name="connsiteX2" fmla="*/ 6656 w 7419"/>
                    <a:gd name="connsiteY2" fmla="*/ 16566 h 51940"/>
                    <a:gd name="connsiteX3" fmla="*/ 6531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802" y="51940"/>
                      </a:moveTo>
                      <a:cubicBezTo>
                        <a:pt x="-693" y="43595"/>
                        <a:pt x="179" y="37367"/>
                        <a:pt x="1175" y="33132"/>
                      </a:cubicBezTo>
                      <a:cubicBezTo>
                        <a:pt x="2795" y="26281"/>
                        <a:pt x="5286" y="23541"/>
                        <a:pt x="6656" y="16566"/>
                      </a:cubicBezTo>
                      <a:cubicBezTo>
                        <a:pt x="8026" y="9840"/>
                        <a:pt x="7279" y="3986"/>
                        <a:pt x="6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5" name="Freeform 5317">
                  <a:extLst>
                    <a:ext uri="{FF2B5EF4-FFF2-40B4-BE49-F238E27FC236}">
                      <a16:creationId xmlns:a16="http://schemas.microsoft.com/office/drawing/2014/main" id="{65B63619-5036-4E98-795F-A3F29763FE23}"/>
                    </a:ext>
                  </a:extLst>
                </p:cNvPr>
                <p:cNvSpPr/>
                <p:nvPr/>
              </p:nvSpPr>
              <p:spPr>
                <a:xfrm>
                  <a:off x="9549368" y="5620244"/>
                  <a:ext cx="26622" cy="26525"/>
                </a:xfrm>
                <a:custGeom>
                  <a:avLst/>
                  <a:gdLst>
                    <a:gd name="connsiteX0" fmla="*/ 26501 w 26622"/>
                    <a:gd name="connsiteY0" fmla="*/ 14944 h 26525"/>
                    <a:gd name="connsiteX1" fmla="*/ 11679 w 26622"/>
                    <a:gd name="connsiteY1" fmla="*/ 26404 h 26525"/>
                    <a:gd name="connsiteX2" fmla="*/ 95 w 26622"/>
                    <a:gd name="connsiteY2" fmla="*/ 11581 h 26525"/>
                    <a:gd name="connsiteX3" fmla="*/ 14917 w 26622"/>
                    <a:gd name="connsiteY3" fmla="*/ 122 h 26525"/>
                    <a:gd name="connsiteX4" fmla="*/ 26501 w 26622"/>
                    <a:gd name="connsiteY4" fmla="*/ 14944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524">
                      <a:moveTo>
                        <a:pt x="26501" y="14944"/>
                      </a:moveTo>
                      <a:cubicBezTo>
                        <a:pt x="25629" y="22169"/>
                        <a:pt x="18903" y="27400"/>
                        <a:pt x="11679" y="26404"/>
                      </a:cubicBezTo>
                      <a:cubicBezTo>
                        <a:pt x="4455" y="25407"/>
                        <a:pt x="-777" y="18805"/>
                        <a:pt x="95" y="11581"/>
                      </a:cubicBezTo>
                      <a:cubicBezTo>
                        <a:pt x="967" y="4357"/>
                        <a:pt x="7569" y="-874"/>
                        <a:pt x="14917" y="122"/>
                      </a:cubicBezTo>
                      <a:cubicBezTo>
                        <a:pt x="22267" y="994"/>
                        <a:pt x="27498" y="7720"/>
                        <a:pt x="26501" y="14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6" name="Freeform 5318">
                  <a:extLst>
                    <a:ext uri="{FF2B5EF4-FFF2-40B4-BE49-F238E27FC236}">
                      <a16:creationId xmlns:a16="http://schemas.microsoft.com/office/drawing/2014/main" id="{A89198CC-B814-531F-2B6D-954744FAC28A}"/>
                    </a:ext>
                  </a:extLst>
                </p:cNvPr>
                <p:cNvSpPr/>
                <p:nvPr/>
              </p:nvSpPr>
              <p:spPr>
                <a:xfrm>
                  <a:off x="9552079" y="56967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7" y="43969"/>
                        <a:pt x="4235" y="37741"/>
                        <a:pt x="4235" y="33381"/>
                      </a:cubicBezTo>
                      <a:cubicBezTo>
                        <a:pt x="4359"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7" name="Freeform 5319">
                  <a:extLst>
                    <a:ext uri="{FF2B5EF4-FFF2-40B4-BE49-F238E27FC236}">
                      <a16:creationId xmlns:a16="http://schemas.microsoft.com/office/drawing/2014/main" id="{E3D51FB7-B197-4225-0C6D-F70D7246DF8E}"/>
                    </a:ext>
                  </a:extLst>
                </p:cNvPr>
                <p:cNvSpPr/>
                <p:nvPr/>
              </p:nvSpPr>
              <p:spPr>
                <a:xfrm>
                  <a:off x="9543593" y="5700705"/>
                  <a:ext cx="7419" cy="51940"/>
                </a:xfrm>
                <a:custGeom>
                  <a:avLst/>
                  <a:gdLst>
                    <a:gd name="connsiteX0" fmla="*/ 6617 w 7419"/>
                    <a:gd name="connsiteY0" fmla="*/ 0 h 51940"/>
                    <a:gd name="connsiteX1" fmla="*/ 6244 w 7419"/>
                    <a:gd name="connsiteY1" fmla="*/ 18808 h 51940"/>
                    <a:gd name="connsiteX2" fmla="*/ 763 w 7419"/>
                    <a:gd name="connsiteY2" fmla="*/ 35374 h 51940"/>
                    <a:gd name="connsiteX3" fmla="*/ 888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6617" y="0"/>
                      </a:moveTo>
                      <a:cubicBezTo>
                        <a:pt x="8112" y="8346"/>
                        <a:pt x="7241" y="14573"/>
                        <a:pt x="6244" y="18808"/>
                      </a:cubicBezTo>
                      <a:cubicBezTo>
                        <a:pt x="4625" y="25659"/>
                        <a:pt x="2133" y="28399"/>
                        <a:pt x="763" y="35374"/>
                      </a:cubicBezTo>
                      <a:cubicBezTo>
                        <a:pt x="-607" y="42101"/>
                        <a:pt x="141" y="47955"/>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8" name="Freeform 5320">
                  <a:extLst>
                    <a:ext uri="{FF2B5EF4-FFF2-40B4-BE49-F238E27FC236}">
                      <a16:creationId xmlns:a16="http://schemas.microsoft.com/office/drawing/2014/main" id="{A775FE70-3DAA-E535-4503-CD634B90A85F}"/>
                    </a:ext>
                  </a:extLst>
                </p:cNvPr>
                <p:cNvSpPr/>
                <p:nvPr/>
              </p:nvSpPr>
              <p:spPr>
                <a:xfrm>
                  <a:off x="9534543" y="5741687"/>
                  <a:ext cx="26351" cy="26525"/>
                </a:xfrm>
                <a:custGeom>
                  <a:avLst/>
                  <a:gdLst>
                    <a:gd name="connsiteX0" fmla="*/ 97 w 26351"/>
                    <a:gd name="connsiteY0" fmla="*/ 11581 h 26525"/>
                    <a:gd name="connsiteX1" fmla="*/ 14795 w 26351"/>
                    <a:gd name="connsiteY1" fmla="*/ 122 h 26525"/>
                    <a:gd name="connsiteX2" fmla="*/ 26254 w 26351"/>
                    <a:gd name="connsiteY2" fmla="*/ 14944 h 26525"/>
                    <a:gd name="connsiteX3" fmla="*/ 11557 w 26351"/>
                    <a:gd name="connsiteY3" fmla="*/ 26404 h 26525"/>
                    <a:gd name="connsiteX4" fmla="*/ 97 w 26351"/>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24">
                      <a:moveTo>
                        <a:pt x="97" y="11581"/>
                      </a:moveTo>
                      <a:cubicBezTo>
                        <a:pt x="969" y="4357"/>
                        <a:pt x="7571" y="-874"/>
                        <a:pt x="14795" y="122"/>
                      </a:cubicBezTo>
                      <a:cubicBezTo>
                        <a:pt x="22019" y="994"/>
                        <a:pt x="27126" y="7720"/>
                        <a:pt x="26254" y="14944"/>
                      </a:cubicBezTo>
                      <a:cubicBezTo>
                        <a:pt x="25383" y="22169"/>
                        <a:pt x="18781" y="27400"/>
                        <a:pt x="11557" y="26404"/>
                      </a:cubicBezTo>
                      <a:cubicBezTo>
                        <a:pt x="4332" y="25532"/>
                        <a:pt x="-775" y="18930"/>
                        <a:pt x="97"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2" name="Graphic 2987">
                <a:extLst>
                  <a:ext uri="{FF2B5EF4-FFF2-40B4-BE49-F238E27FC236}">
                    <a16:creationId xmlns:a16="http://schemas.microsoft.com/office/drawing/2014/main" id="{7BA5E791-2CAE-E4DD-030F-18F3810EACAA}"/>
                  </a:ext>
                </a:extLst>
              </p:cNvPr>
              <p:cNvGrpSpPr/>
              <p:nvPr/>
            </p:nvGrpSpPr>
            <p:grpSpPr>
              <a:xfrm>
                <a:off x="9563688" y="5624005"/>
                <a:ext cx="41922" cy="147944"/>
                <a:chOff x="9563688" y="5624005"/>
                <a:chExt cx="41922" cy="147944"/>
              </a:xfrm>
              <a:grpFill/>
            </p:grpSpPr>
            <p:sp>
              <p:nvSpPr>
                <p:cNvPr id="4247" name="Freeform 5322">
                  <a:extLst>
                    <a:ext uri="{FF2B5EF4-FFF2-40B4-BE49-F238E27FC236}">
                      <a16:creationId xmlns:a16="http://schemas.microsoft.com/office/drawing/2014/main" id="{ECC613C8-BF32-3842-E5CE-F5C50F69FC20}"/>
                    </a:ext>
                  </a:extLst>
                </p:cNvPr>
                <p:cNvSpPr/>
                <p:nvPr/>
              </p:nvSpPr>
              <p:spPr>
                <a:xfrm>
                  <a:off x="9580354" y="5643782"/>
                  <a:ext cx="7348" cy="51691"/>
                </a:xfrm>
                <a:custGeom>
                  <a:avLst/>
                  <a:gdLst>
                    <a:gd name="connsiteX0" fmla="*/ 7348 w 7348"/>
                    <a:gd name="connsiteY0" fmla="*/ 0 h 51691"/>
                    <a:gd name="connsiteX1" fmla="*/ 2989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0"/>
                      </a:moveTo>
                      <a:cubicBezTo>
                        <a:pt x="3861" y="7723"/>
                        <a:pt x="3114" y="13950"/>
                        <a:pt x="2989" y="18310"/>
                      </a:cubicBezTo>
                      <a:cubicBezTo>
                        <a:pt x="2865" y="25285"/>
                        <a:pt x="4609" y="28648"/>
                        <a:pt x="4235" y="35748"/>
                      </a:cubicBezTo>
                      <a:cubicBezTo>
                        <a:pt x="3861" y="42599"/>
                        <a:pt x="1743"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8" name="Freeform 5323">
                  <a:extLst>
                    <a:ext uri="{FF2B5EF4-FFF2-40B4-BE49-F238E27FC236}">
                      <a16:creationId xmlns:a16="http://schemas.microsoft.com/office/drawing/2014/main" id="{C683A406-E02B-72E8-75B0-E56171F2A167}"/>
                    </a:ext>
                  </a:extLst>
                </p:cNvPr>
                <p:cNvSpPr/>
                <p:nvPr/>
              </p:nvSpPr>
              <p:spPr>
                <a:xfrm>
                  <a:off x="9588644" y="5639547"/>
                  <a:ext cx="7581" cy="51940"/>
                </a:xfrm>
                <a:custGeom>
                  <a:avLst/>
                  <a:gdLst>
                    <a:gd name="connsiteX0" fmla="*/ 802 w 7581"/>
                    <a:gd name="connsiteY0" fmla="*/ 51941 h 51940"/>
                    <a:gd name="connsiteX1" fmla="*/ 1175 w 7581"/>
                    <a:gd name="connsiteY1" fmla="*/ 33132 h 51940"/>
                    <a:gd name="connsiteX2" fmla="*/ 6780 w 7581"/>
                    <a:gd name="connsiteY2" fmla="*/ 16566 h 51940"/>
                    <a:gd name="connsiteX3" fmla="*/ 6656 w 7581"/>
                    <a:gd name="connsiteY3" fmla="*/ 0 h 51940"/>
                  </a:gdLst>
                  <a:ahLst/>
                  <a:cxnLst>
                    <a:cxn ang="0">
                      <a:pos x="connsiteX0" y="connsiteY0"/>
                    </a:cxn>
                    <a:cxn ang="0">
                      <a:pos x="connsiteX1" y="connsiteY1"/>
                    </a:cxn>
                    <a:cxn ang="0">
                      <a:pos x="connsiteX2" y="connsiteY2"/>
                    </a:cxn>
                    <a:cxn ang="0">
                      <a:pos x="connsiteX3" y="connsiteY3"/>
                    </a:cxn>
                  </a:cxnLst>
                  <a:rect l="l" t="t" r="r" b="b"/>
                  <a:pathLst>
                    <a:path w="7581" h="51940">
                      <a:moveTo>
                        <a:pt x="802" y="51941"/>
                      </a:moveTo>
                      <a:cubicBezTo>
                        <a:pt x="-693" y="43595"/>
                        <a:pt x="179" y="37367"/>
                        <a:pt x="1175" y="33132"/>
                      </a:cubicBezTo>
                      <a:cubicBezTo>
                        <a:pt x="2795" y="26282"/>
                        <a:pt x="5286" y="23542"/>
                        <a:pt x="6780" y="16566"/>
                      </a:cubicBezTo>
                      <a:cubicBezTo>
                        <a:pt x="8150" y="9840"/>
                        <a:pt x="7528" y="3986"/>
                        <a:pt x="66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9" name="Freeform 5324">
                  <a:extLst>
                    <a:ext uri="{FF2B5EF4-FFF2-40B4-BE49-F238E27FC236}">
                      <a16:creationId xmlns:a16="http://schemas.microsoft.com/office/drawing/2014/main" id="{76EF03A8-F95A-8BBA-32FB-7B775FC20562}"/>
                    </a:ext>
                  </a:extLst>
                </p:cNvPr>
                <p:cNvSpPr/>
                <p:nvPr/>
              </p:nvSpPr>
              <p:spPr>
                <a:xfrm>
                  <a:off x="9578886" y="5624005"/>
                  <a:ext cx="26724" cy="26475"/>
                </a:xfrm>
                <a:custGeom>
                  <a:avLst/>
                  <a:gdLst>
                    <a:gd name="connsiteX0" fmla="*/ 26628 w 26724"/>
                    <a:gd name="connsiteY0" fmla="*/ 14919 h 26475"/>
                    <a:gd name="connsiteX1" fmla="*/ 11681 w 26724"/>
                    <a:gd name="connsiteY1" fmla="*/ 26378 h 26475"/>
                    <a:gd name="connsiteX2" fmla="*/ 97 w 26724"/>
                    <a:gd name="connsiteY2" fmla="*/ 11556 h 26475"/>
                    <a:gd name="connsiteX3" fmla="*/ 15044 w 26724"/>
                    <a:gd name="connsiteY3" fmla="*/ 97 h 26475"/>
                    <a:gd name="connsiteX4" fmla="*/ 26628 w 2672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74">
                      <a:moveTo>
                        <a:pt x="26628" y="14919"/>
                      </a:moveTo>
                      <a:cubicBezTo>
                        <a:pt x="25632" y="22144"/>
                        <a:pt x="19030" y="27250"/>
                        <a:pt x="11681" y="26378"/>
                      </a:cubicBezTo>
                      <a:cubicBezTo>
                        <a:pt x="4332" y="25382"/>
                        <a:pt x="-775" y="18781"/>
                        <a:pt x="97" y="11556"/>
                      </a:cubicBezTo>
                      <a:cubicBezTo>
                        <a:pt x="969" y="4332"/>
                        <a:pt x="7695" y="-775"/>
                        <a:pt x="15044" y="97"/>
                      </a:cubicBezTo>
                      <a:cubicBezTo>
                        <a:pt x="22393" y="969"/>
                        <a:pt x="27500" y="7695"/>
                        <a:pt x="26628"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0" name="Freeform 5325">
                  <a:extLst>
                    <a:ext uri="{FF2B5EF4-FFF2-40B4-BE49-F238E27FC236}">
                      <a16:creationId xmlns:a16="http://schemas.microsoft.com/office/drawing/2014/main" id="{701902E9-D938-B138-929A-4011FC7A2C98}"/>
                    </a:ext>
                  </a:extLst>
                </p:cNvPr>
                <p:cNvSpPr/>
                <p:nvPr/>
              </p:nvSpPr>
              <p:spPr>
                <a:xfrm>
                  <a:off x="9581225" y="5700456"/>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3969"/>
                        <a:pt x="4235" y="37741"/>
                        <a:pt x="4360" y="33381"/>
                      </a:cubicBezTo>
                      <a:cubicBezTo>
                        <a:pt x="4485" y="26406"/>
                        <a:pt x="2741" y="23043"/>
                        <a:pt x="3114" y="15943"/>
                      </a:cubicBezTo>
                      <a:cubicBezTo>
                        <a:pt x="3488" y="9092"/>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1" name="Freeform 5326">
                  <a:extLst>
                    <a:ext uri="{FF2B5EF4-FFF2-40B4-BE49-F238E27FC236}">
                      <a16:creationId xmlns:a16="http://schemas.microsoft.com/office/drawing/2014/main" id="{DB82B7AC-D06A-E66E-62FA-83AB2C3E1A11}"/>
                    </a:ext>
                  </a:extLst>
                </p:cNvPr>
                <p:cNvSpPr/>
                <p:nvPr/>
              </p:nvSpPr>
              <p:spPr>
                <a:xfrm>
                  <a:off x="9572951" y="5704442"/>
                  <a:ext cx="7457" cy="51940"/>
                </a:xfrm>
                <a:custGeom>
                  <a:avLst/>
                  <a:gdLst>
                    <a:gd name="connsiteX0" fmla="*/ 6655 w 7457"/>
                    <a:gd name="connsiteY0" fmla="*/ 0 h 51940"/>
                    <a:gd name="connsiteX1" fmla="*/ 6281 w 7457"/>
                    <a:gd name="connsiteY1" fmla="*/ 18808 h 51940"/>
                    <a:gd name="connsiteX2" fmla="*/ 801 w 7457"/>
                    <a:gd name="connsiteY2" fmla="*/ 35374 h 51940"/>
                    <a:gd name="connsiteX3" fmla="*/ 926 w 74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57" h="51940">
                      <a:moveTo>
                        <a:pt x="6655" y="0"/>
                      </a:moveTo>
                      <a:cubicBezTo>
                        <a:pt x="8150" y="8346"/>
                        <a:pt x="7278" y="14573"/>
                        <a:pt x="6281" y="18808"/>
                      </a:cubicBezTo>
                      <a:cubicBezTo>
                        <a:pt x="4662" y="25659"/>
                        <a:pt x="2171" y="28399"/>
                        <a:pt x="801" y="35374"/>
                      </a:cubicBezTo>
                      <a:cubicBezTo>
                        <a:pt x="-569" y="42101"/>
                        <a:pt x="54" y="47955"/>
                        <a:pt x="92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2" name="Freeform 5327">
                  <a:extLst>
                    <a:ext uri="{FF2B5EF4-FFF2-40B4-BE49-F238E27FC236}">
                      <a16:creationId xmlns:a16="http://schemas.microsoft.com/office/drawing/2014/main" id="{5C4C4D10-548D-E1D6-4143-9B8C49684BD0}"/>
                    </a:ext>
                  </a:extLst>
                </p:cNvPr>
                <p:cNvSpPr/>
                <p:nvPr/>
              </p:nvSpPr>
              <p:spPr>
                <a:xfrm>
                  <a:off x="9563688" y="5745424"/>
                  <a:ext cx="26255" cy="26525"/>
                </a:xfrm>
                <a:custGeom>
                  <a:avLst/>
                  <a:gdLst>
                    <a:gd name="connsiteX0" fmla="*/ 99 w 26255"/>
                    <a:gd name="connsiteY0" fmla="*/ 11581 h 26525"/>
                    <a:gd name="connsiteX1" fmla="*/ 14797 w 26255"/>
                    <a:gd name="connsiteY1" fmla="*/ 122 h 26525"/>
                    <a:gd name="connsiteX2" fmla="*/ 26131 w 26255"/>
                    <a:gd name="connsiteY2" fmla="*/ 14944 h 26525"/>
                    <a:gd name="connsiteX3" fmla="*/ 11433 w 26255"/>
                    <a:gd name="connsiteY3" fmla="*/ 26403 h 26525"/>
                    <a:gd name="connsiteX4" fmla="*/ 99 w 26255"/>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24">
                      <a:moveTo>
                        <a:pt x="99" y="11581"/>
                      </a:moveTo>
                      <a:cubicBezTo>
                        <a:pt x="971" y="4357"/>
                        <a:pt x="7572" y="-875"/>
                        <a:pt x="14797" y="122"/>
                      </a:cubicBezTo>
                      <a:cubicBezTo>
                        <a:pt x="22021" y="994"/>
                        <a:pt x="27128" y="7720"/>
                        <a:pt x="26131" y="14944"/>
                      </a:cubicBezTo>
                      <a:cubicBezTo>
                        <a:pt x="25135" y="22168"/>
                        <a:pt x="18658" y="27400"/>
                        <a:pt x="11433" y="26403"/>
                      </a:cubicBezTo>
                      <a:cubicBezTo>
                        <a:pt x="4210" y="25407"/>
                        <a:pt x="-773" y="18930"/>
                        <a:pt x="99"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3" name="Graphic 2987">
                <a:extLst>
                  <a:ext uri="{FF2B5EF4-FFF2-40B4-BE49-F238E27FC236}">
                    <a16:creationId xmlns:a16="http://schemas.microsoft.com/office/drawing/2014/main" id="{471EF24A-482A-150E-F38B-8725DE8228BC}"/>
                  </a:ext>
                </a:extLst>
              </p:cNvPr>
              <p:cNvGrpSpPr/>
              <p:nvPr/>
            </p:nvGrpSpPr>
            <p:grpSpPr>
              <a:xfrm>
                <a:off x="9592811" y="5627867"/>
                <a:ext cx="42346" cy="147794"/>
                <a:chOff x="9592811" y="5627867"/>
                <a:chExt cx="42346" cy="147794"/>
              </a:xfrm>
              <a:grpFill/>
            </p:grpSpPr>
            <p:sp>
              <p:nvSpPr>
                <p:cNvPr id="4241" name="Freeform 5329">
                  <a:extLst>
                    <a:ext uri="{FF2B5EF4-FFF2-40B4-BE49-F238E27FC236}">
                      <a16:creationId xmlns:a16="http://schemas.microsoft.com/office/drawing/2014/main" id="{17741AFB-0966-C2E2-4031-41DE6F92A166}"/>
                    </a:ext>
                  </a:extLst>
                </p:cNvPr>
                <p:cNvSpPr/>
                <p:nvPr/>
              </p:nvSpPr>
              <p:spPr>
                <a:xfrm>
                  <a:off x="9609874" y="5647644"/>
                  <a:ext cx="7348" cy="51567"/>
                </a:xfrm>
                <a:custGeom>
                  <a:avLst/>
                  <a:gdLst>
                    <a:gd name="connsiteX0" fmla="*/ 7348 w 7348"/>
                    <a:gd name="connsiteY0" fmla="*/ 0 h 51567"/>
                    <a:gd name="connsiteX1" fmla="*/ 2989 w 7348"/>
                    <a:gd name="connsiteY1" fmla="*/ 18310 h 51567"/>
                    <a:gd name="connsiteX2" fmla="*/ 4235 w 7348"/>
                    <a:gd name="connsiteY2" fmla="*/ 35624 h 51567"/>
                    <a:gd name="connsiteX3" fmla="*/ 0 w 734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347" h="51567">
                      <a:moveTo>
                        <a:pt x="7348" y="0"/>
                      </a:moveTo>
                      <a:cubicBezTo>
                        <a:pt x="3861" y="7598"/>
                        <a:pt x="2989" y="13950"/>
                        <a:pt x="2989" y="18310"/>
                      </a:cubicBezTo>
                      <a:cubicBezTo>
                        <a:pt x="2865" y="25285"/>
                        <a:pt x="4609" y="28648"/>
                        <a:pt x="4235" y="35624"/>
                      </a:cubicBezTo>
                      <a:cubicBezTo>
                        <a:pt x="3861" y="42474"/>
                        <a:pt x="1743" y="48079"/>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2" name="Freeform 5330">
                  <a:extLst>
                    <a:ext uri="{FF2B5EF4-FFF2-40B4-BE49-F238E27FC236}">
                      <a16:creationId xmlns:a16="http://schemas.microsoft.com/office/drawing/2014/main" id="{D3F2C17E-0E28-D550-937D-7953C4ECABCA}"/>
                    </a:ext>
                  </a:extLst>
                </p:cNvPr>
                <p:cNvSpPr/>
                <p:nvPr/>
              </p:nvSpPr>
              <p:spPr>
                <a:xfrm>
                  <a:off x="9618101" y="5643658"/>
                  <a:ext cx="7654" cy="51691"/>
                </a:xfrm>
                <a:custGeom>
                  <a:avLst/>
                  <a:gdLst>
                    <a:gd name="connsiteX0" fmla="*/ 740 w 7654"/>
                    <a:gd name="connsiteY0" fmla="*/ 51691 h 51691"/>
                    <a:gd name="connsiteX1" fmla="*/ 1239 w 7654"/>
                    <a:gd name="connsiteY1" fmla="*/ 32883 h 51691"/>
                    <a:gd name="connsiteX2" fmla="*/ 6843 w 7654"/>
                    <a:gd name="connsiteY2" fmla="*/ 16441 h 51691"/>
                    <a:gd name="connsiteX3" fmla="*/ 6843 w 7654"/>
                    <a:gd name="connsiteY3" fmla="*/ 0 h 51691"/>
                  </a:gdLst>
                  <a:ahLst/>
                  <a:cxnLst>
                    <a:cxn ang="0">
                      <a:pos x="connsiteX0" y="connsiteY0"/>
                    </a:cxn>
                    <a:cxn ang="0">
                      <a:pos x="connsiteX1" y="connsiteY1"/>
                    </a:cxn>
                    <a:cxn ang="0">
                      <a:pos x="connsiteX2" y="connsiteY2"/>
                    </a:cxn>
                    <a:cxn ang="0">
                      <a:pos x="connsiteX3" y="connsiteY3"/>
                    </a:cxn>
                  </a:cxnLst>
                  <a:rect l="l" t="t" r="r" b="b"/>
                  <a:pathLst>
                    <a:path w="7654" h="51690">
                      <a:moveTo>
                        <a:pt x="740" y="51691"/>
                      </a:moveTo>
                      <a:cubicBezTo>
                        <a:pt x="-630" y="43346"/>
                        <a:pt x="118" y="37118"/>
                        <a:pt x="1239" y="32883"/>
                      </a:cubicBezTo>
                      <a:cubicBezTo>
                        <a:pt x="2858" y="26033"/>
                        <a:pt x="5474" y="23292"/>
                        <a:pt x="6843" y="16441"/>
                      </a:cubicBezTo>
                      <a:cubicBezTo>
                        <a:pt x="8214" y="9715"/>
                        <a:pt x="7591" y="3861"/>
                        <a:pt x="6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3" name="Freeform 5331">
                  <a:extLst>
                    <a:ext uri="{FF2B5EF4-FFF2-40B4-BE49-F238E27FC236}">
                      <a16:creationId xmlns:a16="http://schemas.microsoft.com/office/drawing/2014/main" id="{1B6DFB08-EDC5-7DF6-9313-66BA63B476F3}"/>
                    </a:ext>
                  </a:extLst>
                </p:cNvPr>
                <p:cNvSpPr/>
                <p:nvPr/>
              </p:nvSpPr>
              <p:spPr>
                <a:xfrm>
                  <a:off x="9608504" y="5627867"/>
                  <a:ext cx="26654" cy="26475"/>
                </a:xfrm>
                <a:custGeom>
                  <a:avLst/>
                  <a:gdLst>
                    <a:gd name="connsiteX0" fmla="*/ 26530 w 26654"/>
                    <a:gd name="connsiteY0" fmla="*/ 14919 h 26475"/>
                    <a:gd name="connsiteX1" fmla="*/ 11584 w 26654"/>
                    <a:gd name="connsiteY1" fmla="*/ 26378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932" y="27250"/>
                        <a:pt x="11584" y="26378"/>
                      </a:cubicBezTo>
                      <a:cubicBezTo>
                        <a:pt x="4235" y="25382"/>
                        <a:pt x="-872" y="18781"/>
                        <a:pt x="124" y="11556"/>
                      </a:cubicBezTo>
                      <a:cubicBezTo>
                        <a:pt x="1121" y="4332"/>
                        <a:pt x="7723" y="-775"/>
                        <a:pt x="15071" y="97"/>
                      </a:cubicBezTo>
                      <a:cubicBezTo>
                        <a:pt x="22420" y="969"/>
                        <a:pt x="27527" y="7570"/>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4" name="Freeform 5332">
                  <a:extLst>
                    <a:ext uri="{FF2B5EF4-FFF2-40B4-BE49-F238E27FC236}">
                      <a16:creationId xmlns:a16="http://schemas.microsoft.com/office/drawing/2014/main" id="{87DC1844-47B8-519E-377A-D3FB8E5AA8C4}"/>
                    </a:ext>
                  </a:extLst>
                </p:cNvPr>
                <p:cNvSpPr/>
                <p:nvPr/>
              </p:nvSpPr>
              <p:spPr>
                <a:xfrm>
                  <a:off x="9610496" y="5704317"/>
                  <a:ext cx="7473" cy="51566"/>
                </a:xfrm>
                <a:custGeom>
                  <a:avLst/>
                  <a:gdLst>
                    <a:gd name="connsiteX0" fmla="*/ 0 w 7473"/>
                    <a:gd name="connsiteY0" fmla="*/ 51567 h 51566"/>
                    <a:gd name="connsiteX1" fmla="*/ 4359 w 7473"/>
                    <a:gd name="connsiteY1" fmla="*/ 33257 h 51566"/>
                    <a:gd name="connsiteX2" fmla="*/ 3239 w 7473"/>
                    <a:gd name="connsiteY2" fmla="*/ 15943 h 51566"/>
                    <a:gd name="connsiteX3" fmla="*/ 7473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0" y="51567"/>
                      </a:moveTo>
                      <a:cubicBezTo>
                        <a:pt x="3487" y="43844"/>
                        <a:pt x="4235" y="37616"/>
                        <a:pt x="4359" y="33257"/>
                      </a:cubicBezTo>
                      <a:cubicBezTo>
                        <a:pt x="4484" y="26281"/>
                        <a:pt x="2740" y="22919"/>
                        <a:pt x="3239" y="15943"/>
                      </a:cubicBezTo>
                      <a:cubicBezTo>
                        <a:pt x="3612" y="9092"/>
                        <a:pt x="5730" y="3488"/>
                        <a:pt x="74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5" name="Freeform 5333">
                  <a:extLst>
                    <a:ext uri="{FF2B5EF4-FFF2-40B4-BE49-F238E27FC236}">
                      <a16:creationId xmlns:a16="http://schemas.microsoft.com/office/drawing/2014/main" id="{4BE30D6B-1EFD-9F28-0821-D72A2A0A7C5E}"/>
                    </a:ext>
                  </a:extLst>
                </p:cNvPr>
                <p:cNvSpPr/>
                <p:nvPr/>
              </p:nvSpPr>
              <p:spPr>
                <a:xfrm>
                  <a:off x="9601963" y="5708179"/>
                  <a:ext cx="7653" cy="51816"/>
                </a:xfrm>
                <a:custGeom>
                  <a:avLst/>
                  <a:gdLst>
                    <a:gd name="connsiteX0" fmla="*/ 6914 w 7653"/>
                    <a:gd name="connsiteY0" fmla="*/ 0 h 51816"/>
                    <a:gd name="connsiteX1" fmla="*/ 6416 w 7653"/>
                    <a:gd name="connsiteY1" fmla="*/ 18808 h 51816"/>
                    <a:gd name="connsiteX2" fmla="*/ 810 w 7653"/>
                    <a:gd name="connsiteY2" fmla="*/ 35374 h 51816"/>
                    <a:gd name="connsiteX3" fmla="*/ 810 w 76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0"/>
                      </a:moveTo>
                      <a:cubicBezTo>
                        <a:pt x="8284" y="8345"/>
                        <a:pt x="7536" y="14573"/>
                        <a:pt x="6416" y="18808"/>
                      </a:cubicBezTo>
                      <a:cubicBezTo>
                        <a:pt x="4796" y="25659"/>
                        <a:pt x="2305" y="28399"/>
                        <a:pt x="810" y="35374"/>
                      </a:cubicBezTo>
                      <a:cubicBezTo>
                        <a:pt x="-559" y="42101"/>
                        <a:pt x="63" y="47955"/>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6" name="Freeform 5334">
                  <a:extLst>
                    <a:ext uri="{FF2B5EF4-FFF2-40B4-BE49-F238E27FC236}">
                      <a16:creationId xmlns:a16="http://schemas.microsoft.com/office/drawing/2014/main" id="{85894825-DA2B-39EE-A025-2639339E15A5}"/>
                    </a:ext>
                  </a:extLst>
                </p:cNvPr>
                <p:cNvSpPr/>
                <p:nvPr/>
              </p:nvSpPr>
              <p:spPr>
                <a:xfrm>
                  <a:off x="9592811" y="5749161"/>
                  <a:ext cx="26278" cy="26500"/>
                </a:xfrm>
                <a:custGeom>
                  <a:avLst/>
                  <a:gdLst>
                    <a:gd name="connsiteX0" fmla="*/ 122 w 26278"/>
                    <a:gd name="connsiteY0" fmla="*/ 11581 h 26500"/>
                    <a:gd name="connsiteX1" fmla="*/ 14820 w 26278"/>
                    <a:gd name="connsiteY1" fmla="*/ 122 h 26500"/>
                    <a:gd name="connsiteX2" fmla="*/ 26155 w 26278"/>
                    <a:gd name="connsiteY2" fmla="*/ 14944 h 26500"/>
                    <a:gd name="connsiteX3" fmla="*/ 11457 w 26278"/>
                    <a:gd name="connsiteY3" fmla="*/ 26404 h 26500"/>
                    <a:gd name="connsiteX4" fmla="*/ 122 w 26278"/>
                    <a:gd name="connsiteY4" fmla="*/ 11581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99">
                      <a:moveTo>
                        <a:pt x="122" y="11581"/>
                      </a:moveTo>
                      <a:cubicBezTo>
                        <a:pt x="1118" y="4357"/>
                        <a:pt x="7720" y="-874"/>
                        <a:pt x="14820" y="122"/>
                      </a:cubicBezTo>
                      <a:cubicBezTo>
                        <a:pt x="22044" y="994"/>
                        <a:pt x="27151" y="7720"/>
                        <a:pt x="26155" y="14944"/>
                      </a:cubicBezTo>
                      <a:cubicBezTo>
                        <a:pt x="25158" y="22169"/>
                        <a:pt x="18557" y="27275"/>
                        <a:pt x="11457" y="26404"/>
                      </a:cubicBezTo>
                      <a:cubicBezTo>
                        <a:pt x="4357" y="25532"/>
                        <a:pt x="-874" y="18805"/>
                        <a:pt x="122"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4" name="Graphic 2987">
                <a:extLst>
                  <a:ext uri="{FF2B5EF4-FFF2-40B4-BE49-F238E27FC236}">
                    <a16:creationId xmlns:a16="http://schemas.microsoft.com/office/drawing/2014/main" id="{C522311B-A2E3-06D6-B03E-8AD9E1218EC7}"/>
                  </a:ext>
                </a:extLst>
              </p:cNvPr>
              <p:cNvGrpSpPr/>
              <p:nvPr/>
            </p:nvGrpSpPr>
            <p:grpSpPr>
              <a:xfrm>
                <a:off x="9621956" y="5631603"/>
                <a:ext cx="42722" cy="147794"/>
                <a:chOff x="9621956" y="5631603"/>
                <a:chExt cx="42722" cy="147794"/>
              </a:xfrm>
              <a:grpFill/>
            </p:grpSpPr>
            <p:sp>
              <p:nvSpPr>
                <p:cNvPr id="4235" name="Freeform 5336">
                  <a:extLst>
                    <a:ext uri="{FF2B5EF4-FFF2-40B4-BE49-F238E27FC236}">
                      <a16:creationId xmlns:a16="http://schemas.microsoft.com/office/drawing/2014/main" id="{264D876F-0966-1CD8-AE11-C334C03023DB}"/>
                    </a:ext>
                  </a:extLst>
                </p:cNvPr>
                <p:cNvSpPr/>
                <p:nvPr/>
              </p:nvSpPr>
              <p:spPr>
                <a:xfrm>
                  <a:off x="9639020" y="5651380"/>
                  <a:ext cx="7722" cy="51566"/>
                </a:xfrm>
                <a:custGeom>
                  <a:avLst/>
                  <a:gdLst>
                    <a:gd name="connsiteX0" fmla="*/ 7723 w 7722"/>
                    <a:gd name="connsiteY0" fmla="*/ 0 h 51566"/>
                    <a:gd name="connsiteX1" fmla="*/ 3239 w 7722"/>
                    <a:gd name="connsiteY1" fmla="*/ 18310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235" y="7598"/>
                        <a:pt x="3363" y="13950"/>
                        <a:pt x="3239" y="18310"/>
                      </a:cubicBezTo>
                      <a:cubicBezTo>
                        <a:pt x="3114" y="25285"/>
                        <a:pt x="4858" y="28648"/>
                        <a:pt x="4360"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6" name="Freeform 5337">
                  <a:extLst>
                    <a:ext uri="{FF2B5EF4-FFF2-40B4-BE49-F238E27FC236}">
                      <a16:creationId xmlns:a16="http://schemas.microsoft.com/office/drawing/2014/main" id="{B6F2DF55-DBCA-001F-894C-C14EA0F17AC0}"/>
                    </a:ext>
                  </a:extLst>
                </p:cNvPr>
                <p:cNvSpPr/>
                <p:nvPr/>
              </p:nvSpPr>
              <p:spPr>
                <a:xfrm>
                  <a:off x="9647530" y="5647395"/>
                  <a:ext cx="7745" cy="51691"/>
                </a:xfrm>
                <a:custGeom>
                  <a:avLst/>
                  <a:gdLst>
                    <a:gd name="connsiteX0" fmla="*/ 707 w 7745"/>
                    <a:gd name="connsiteY0" fmla="*/ 51691 h 51691"/>
                    <a:gd name="connsiteX1" fmla="*/ 1206 w 7745"/>
                    <a:gd name="connsiteY1" fmla="*/ 32883 h 51691"/>
                    <a:gd name="connsiteX2" fmla="*/ 6935 w 7745"/>
                    <a:gd name="connsiteY2" fmla="*/ 16442 h 51691"/>
                    <a:gd name="connsiteX3" fmla="*/ 6935 w 7745"/>
                    <a:gd name="connsiteY3" fmla="*/ 0 h 51691"/>
                  </a:gdLst>
                  <a:ahLst/>
                  <a:cxnLst>
                    <a:cxn ang="0">
                      <a:pos x="connsiteX0" y="connsiteY0"/>
                    </a:cxn>
                    <a:cxn ang="0">
                      <a:pos x="connsiteX1" y="connsiteY1"/>
                    </a:cxn>
                    <a:cxn ang="0">
                      <a:pos x="connsiteX2" y="connsiteY2"/>
                    </a:cxn>
                    <a:cxn ang="0">
                      <a:pos x="connsiteX3" y="connsiteY3"/>
                    </a:cxn>
                  </a:cxnLst>
                  <a:rect l="l" t="t" r="r" b="b"/>
                  <a:pathLst>
                    <a:path w="7744" h="51690">
                      <a:moveTo>
                        <a:pt x="707" y="51691"/>
                      </a:moveTo>
                      <a:cubicBezTo>
                        <a:pt x="-663" y="43346"/>
                        <a:pt x="209" y="37118"/>
                        <a:pt x="1206" y="32883"/>
                      </a:cubicBezTo>
                      <a:cubicBezTo>
                        <a:pt x="2950" y="26033"/>
                        <a:pt x="5440" y="23292"/>
                        <a:pt x="6935" y="16442"/>
                      </a:cubicBezTo>
                      <a:cubicBezTo>
                        <a:pt x="8306" y="9715"/>
                        <a:pt x="7682" y="3861"/>
                        <a:pt x="69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7" name="Freeform 5338">
                  <a:extLst>
                    <a:ext uri="{FF2B5EF4-FFF2-40B4-BE49-F238E27FC236}">
                      <a16:creationId xmlns:a16="http://schemas.microsoft.com/office/drawing/2014/main" id="{00872A97-6BA2-72FE-D0DF-00C0CC572C0C}"/>
                    </a:ext>
                  </a:extLst>
                </p:cNvPr>
                <p:cNvSpPr/>
                <p:nvPr/>
              </p:nvSpPr>
              <p:spPr>
                <a:xfrm>
                  <a:off x="9638024" y="5631603"/>
                  <a:ext cx="26654" cy="26475"/>
                </a:xfrm>
                <a:custGeom>
                  <a:avLst/>
                  <a:gdLst>
                    <a:gd name="connsiteX0" fmla="*/ 26530 w 26654"/>
                    <a:gd name="connsiteY0" fmla="*/ 14919 h 26475"/>
                    <a:gd name="connsiteX1" fmla="*/ 11584 w 26654"/>
                    <a:gd name="connsiteY1" fmla="*/ 26379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808" y="27250"/>
                        <a:pt x="11584" y="26379"/>
                      </a:cubicBezTo>
                      <a:cubicBezTo>
                        <a:pt x="4235" y="25382"/>
                        <a:pt x="-872" y="18781"/>
                        <a:pt x="124" y="11556"/>
                      </a:cubicBezTo>
                      <a:cubicBezTo>
                        <a:pt x="1121" y="4332"/>
                        <a:pt x="7847" y="-775"/>
                        <a:pt x="15071" y="97"/>
                      </a:cubicBezTo>
                      <a:cubicBezTo>
                        <a:pt x="22420" y="1094"/>
                        <a:pt x="27527" y="7695"/>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8" name="Freeform 5339">
                  <a:extLst>
                    <a:ext uri="{FF2B5EF4-FFF2-40B4-BE49-F238E27FC236}">
                      <a16:creationId xmlns:a16="http://schemas.microsoft.com/office/drawing/2014/main" id="{0345E7D1-6DFF-57E7-DF9A-C0A716FD5D35}"/>
                    </a:ext>
                  </a:extLst>
                </p:cNvPr>
                <p:cNvSpPr/>
                <p:nvPr/>
              </p:nvSpPr>
              <p:spPr>
                <a:xfrm>
                  <a:off x="9639642" y="5708054"/>
                  <a:ext cx="7723" cy="51567"/>
                </a:xfrm>
                <a:custGeom>
                  <a:avLst/>
                  <a:gdLst>
                    <a:gd name="connsiteX0" fmla="*/ 0 w 7723"/>
                    <a:gd name="connsiteY0" fmla="*/ 51567 h 51567"/>
                    <a:gd name="connsiteX1" fmla="*/ 4485 w 7723"/>
                    <a:gd name="connsiteY1" fmla="*/ 33257 h 51567"/>
                    <a:gd name="connsiteX2" fmla="*/ 3363 w 7723"/>
                    <a:gd name="connsiteY2" fmla="*/ 15943 h 51567"/>
                    <a:gd name="connsiteX3" fmla="*/ 7723 w 7723"/>
                    <a:gd name="connsiteY3" fmla="*/ 0 h 51567"/>
                  </a:gdLst>
                  <a:ahLst/>
                  <a:cxnLst>
                    <a:cxn ang="0">
                      <a:pos x="connsiteX0" y="connsiteY0"/>
                    </a:cxn>
                    <a:cxn ang="0">
                      <a:pos x="connsiteX1" y="connsiteY1"/>
                    </a:cxn>
                    <a:cxn ang="0">
                      <a:pos x="connsiteX2" y="connsiteY2"/>
                    </a:cxn>
                    <a:cxn ang="0">
                      <a:pos x="connsiteX3" y="connsiteY3"/>
                    </a:cxn>
                  </a:cxnLst>
                  <a:rect l="l" t="t" r="r" b="b"/>
                  <a:pathLst>
                    <a:path w="7723" h="51567">
                      <a:moveTo>
                        <a:pt x="0" y="51567"/>
                      </a:moveTo>
                      <a:cubicBezTo>
                        <a:pt x="3488" y="43969"/>
                        <a:pt x="4360" y="37616"/>
                        <a:pt x="4485" y="33257"/>
                      </a:cubicBezTo>
                      <a:cubicBezTo>
                        <a:pt x="4609" y="26282"/>
                        <a:pt x="2990" y="22919"/>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9" name="Freeform 5340">
                  <a:extLst>
                    <a:ext uri="{FF2B5EF4-FFF2-40B4-BE49-F238E27FC236}">
                      <a16:creationId xmlns:a16="http://schemas.microsoft.com/office/drawing/2014/main" id="{F272A6E9-367D-DF94-E565-638F5E6372B4}"/>
                    </a:ext>
                  </a:extLst>
                </p:cNvPr>
                <p:cNvSpPr/>
                <p:nvPr/>
              </p:nvSpPr>
              <p:spPr>
                <a:xfrm>
                  <a:off x="9631359" y="5711915"/>
                  <a:ext cx="7621" cy="51691"/>
                </a:xfrm>
                <a:custGeom>
                  <a:avLst/>
                  <a:gdLst>
                    <a:gd name="connsiteX0" fmla="*/ 6914 w 7621"/>
                    <a:gd name="connsiteY0" fmla="*/ 0 h 51691"/>
                    <a:gd name="connsiteX1" fmla="*/ 6416 w 7621"/>
                    <a:gd name="connsiteY1" fmla="*/ 18808 h 51691"/>
                    <a:gd name="connsiteX2" fmla="*/ 810 w 7621"/>
                    <a:gd name="connsiteY2" fmla="*/ 35250 h 51691"/>
                    <a:gd name="connsiteX3" fmla="*/ 810 w 762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0"/>
                      </a:moveTo>
                      <a:cubicBezTo>
                        <a:pt x="8284" y="8346"/>
                        <a:pt x="7412" y="14573"/>
                        <a:pt x="6416" y="18808"/>
                      </a:cubicBezTo>
                      <a:cubicBezTo>
                        <a:pt x="4672" y="25659"/>
                        <a:pt x="2180" y="28399"/>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0" name="Freeform 5341">
                  <a:extLst>
                    <a:ext uri="{FF2B5EF4-FFF2-40B4-BE49-F238E27FC236}">
                      <a16:creationId xmlns:a16="http://schemas.microsoft.com/office/drawing/2014/main" id="{68A55377-C9C0-AD55-E5FD-064A67B2D2FD}"/>
                    </a:ext>
                  </a:extLst>
                </p:cNvPr>
                <p:cNvSpPr/>
                <p:nvPr/>
              </p:nvSpPr>
              <p:spPr>
                <a:xfrm>
                  <a:off x="9621956" y="5752923"/>
                  <a:ext cx="26380" cy="26475"/>
                </a:xfrm>
                <a:custGeom>
                  <a:avLst/>
                  <a:gdLst>
                    <a:gd name="connsiteX0" fmla="*/ 124 w 26380"/>
                    <a:gd name="connsiteY0" fmla="*/ 11556 h 26475"/>
                    <a:gd name="connsiteX1" fmla="*/ 14947 w 26380"/>
                    <a:gd name="connsiteY1" fmla="*/ 97 h 26475"/>
                    <a:gd name="connsiteX2" fmla="*/ 26281 w 26380"/>
                    <a:gd name="connsiteY2" fmla="*/ 14919 h 26475"/>
                    <a:gd name="connsiteX3" fmla="*/ 11459 w 26380"/>
                    <a:gd name="connsiteY3" fmla="*/ 26378 h 26475"/>
                    <a:gd name="connsiteX4" fmla="*/ 124 w 26380"/>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1556"/>
                      </a:moveTo>
                      <a:cubicBezTo>
                        <a:pt x="1121" y="4332"/>
                        <a:pt x="7722" y="-775"/>
                        <a:pt x="14947" y="97"/>
                      </a:cubicBezTo>
                      <a:cubicBezTo>
                        <a:pt x="22171" y="969"/>
                        <a:pt x="27153" y="7695"/>
                        <a:pt x="26281" y="14919"/>
                      </a:cubicBezTo>
                      <a:cubicBezTo>
                        <a:pt x="25410" y="22144"/>
                        <a:pt x="18683" y="27250"/>
                        <a:pt x="11459" y="26378"/>
                      </a:cubicBezTo>
                      <a:cubicBezTo>
                        <a:pt x="4235" y="25506"/>
                        <a:pt x="-872" y="18781"/>
                        <a:pt x="124"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5" name="Graphic 2987">
                <a:extLst>
                  <a:ext uri="{FF2B5EF4-FFF2-40B4-BE49-F238E27FC236}">
                    <a16:creationId xmlns:a16="http://schemas.microsoft.com/office/drawing/2014/main" id="{98051556-4189-D010-03B0-1666B5A9DA46}"/>
                  </a:ext>
                </a:extLst>
              </p:cNvPr>
              <p:cNvGrpSpPr/>
              <p:nvPr/>
            </p:nvGrpSpPr>
            <p:grpSpPr>
              <a:xfrm>
                <a:off x="9651100" y="5635562"/>
                <a:ext cx="43098" cy="147754"/>
                <a:chOff x="9651100" y="5635562"/>
                <a:chExt cx="43098" cy="147754"/>
              </a:xfrm>
              <a:grpFill/>
            </p:grpSpPr>
            <p:sp>
              <p:nvSpPr>
                <p:cNvPr id="4229" name="Freeform 5343">
                  <a:extLst>
                    <a:ext uri="{FF2B5EF4-FFF2-40B4-BE49-F238E27FC236}">
                      <a16:creationId xmlns:a16="http://schemas.microsoft.com/office/drawing/2014/main" id="{5A0EC513-2030-AFAD-CC9F-B1B8A98A97CC}"/>
                    </a:ext>
                  </a:extLst>
                </p:cNvPr>
                <p:cNvSpPr/>
                <p:nvPr/>
              </p:nvSpPr>
              <p:spPr>
                <a:xfrm>
                  <a:off x="9668540" y="5655242"/>
                  <a:ext cx="7722" cy="51566"/>
                </a:xfrm>
                <a:custGeom>
                  <a:avLst/>
                  <a:gdLst>
                    <a:gd name="connsiteX0" fmla="*/ 7723 w 7722"/>
                    <a:gd name="connsiteY0" fmla="*/ 0 h 51566"/>
                    <a:gd name="connsiteX1" fmla="*/ 3239 w 7722"/>
                    <a:gd name="connsiteY1" fmla="*/ 18185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111" y="7598"/>
                        <a:pt x="3363" y="13950"/>
                        <a:pt x="3239" y="18185"/>
                      </a:cubicBezTo>
                      <a:cubicBezTo>
                        <a:pt x="3114" y="25161"/>
                        <a:pt x="4733" y="28523"/>
                        <a:pt x="4360" y="35623"/>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0" name="Freeform 5344">
                  <a:extLst>
                    <a:ext uri="{FF2B5EF4-FFF2-40B4-BE49-F238E27FC236}">
                      <a16:creationId xmlns:a16="http://schemas.microsoft.com/office/drawing/2014/main" id="{E3941AE5-359F-6001-1801-346BE32D8DB8}"/>
                    </a:ext>
                  </a:extLst>
                </p:cNvPr>
                <p:cNvSpPr/>
                <p:nvPr/>
              </p:nvSpPr>
              <p:spPr>
                <a:xfrm>
                  <a:off x="9676807" y="5651256"/>
                  <a:ext cx="7966" cy="51816"/>
                </a:xfrm>
                <a:custGeom>
                  <a:avLst/>
                  <a:gdLst>
                    <a:gd name="connsiteX0" fmla="*/ 701 w 7966"/>
                    <a:gd name="connsiteY0" fmla="*/ 51816 h 51816"/>
                    <a:gd name="connsiteX1" fmla="*/ 1324 w 7966"/>
                    <a:gd name="connsiteY1" fmla="*/ 33008 h 51816"/>
                    <a:gd name="connsiteX2" fmla="*/ 7054 w 7966"/>
                    <a:gd name="connsiteY2" fmla="*/ 16566 h 51816"/>
                    <a:gd name="connsiteX3" fmla="*/ 717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01" y="51816"/>
                      </a:moveTo>
                      <a:cubicBezTo>
                        <a:pt x="-669" y="43471"/>
                        <a:pt x="202" y="37243"/>
                        <a:pt x="1324" y="33008"/>
                      </a:cubicBezTo>
                      <a:cubicBezTo>
                        <a:pt x="3068" y="26281"/>
                        <a:pt x="5559" y="23542"/>
                        <a:pt x="7054" y="16566"/>
                      </a:cubicBezTo>
                      <a:cubicBezTo>
                        <a:pt x="8548" y="9840"/>
                        <a:pt x="7926" y="3986"/>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1" name="Freeform 5345">
                  <a:extLst>
                    <a:ext uri="{FF2B5EF4-FFF2-40B4-BE49-F238E27FC236}">
                      <a16:creationId xmlns:a16="http://schemas.microsoft.com/office/drawing/2014/main" id="{B84C4DEC-9805-448B-97E4-ED96DF2EBB6D}"/>
                    </a:ext>
                  </a:extLst>
                </p:cNvPr>
                <p:cNvSpPr/>
                <p:nvPr/>
              </p:nvSpPr>
              <p:spPr>
                <a:xfrm>
                  <a:off x="9667447" y="5635562"/>
                  <a:ext cx="26751" cy="26560"/>
                </a:xfrm>
                <a:custGeom>
                  <a:avLst/>
                  <a:gdLst>
                    <a:gd name="connsiteX0" fmla="*/ 26628 w 26751"/>
                    <a:gd name="connsiteY0" fmla="*/ 15196 h 26560"/>
                    <a:gd name="connsiteX1" fmla="*/ 11556 w 26751"/>
                    <a:gd name="connsiteY1" fmla="*/ 26406 h 26560"/>
                    <a:gd name="connsiteX2" fmla="*/ 97 w 26751"/>
                    <a:gd name="connsiteY2" fmla="*/ 11459 h 26560"/>
                    <a:gd name="connsiteX3" fmla="*/ 15168 w 26751"/>
                    <a:gd name="connsiteY3" fmla="*/ 124 h 26560"/>
                    <a:gd name="connsiteX4" fmla="*/ 26628 w 26751"/>
                    <a:gd name="connsiteY4" fmla="*/ 15196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60">
                      <a:moveTo>
                        <a:pt x="26628" y="15196"/>
                      </a:moveTo>
                      <a:cubicBezTo>
                        <a:pt x="25631" y="22420"/>
                        <a:pt x="18905" y="27527"/>
                        <a:pt x="11556" y="26406"/>
                      </a:cubicBezTo>
                      <a:cubicBezTo>
                        <a:pt x="4331" y="25285"/>
                        <a:pt x="-775" y="18683"/>
                        <a:pt x="97" y="11459"/>
                      </a:cubicBezTo>
                      <a:cubicBezTo>
                        <a:pt x="1093" y="4234"/>
                        <a:pt x="7819" y="-872"/>
                        <a:pt x="15168" y="124"/>
                      </a:cubicBezTo>
                      <a:cubicBezTo>
                        <a:pt x="22517" y="1121"/>
                        <a:pt x="27624" y="7847"/>
                        <a:pt x="26628" y="151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2" name="Freeform 5346">
                  <a:extLst>
                    <a:ext uri="{FF2B5EF4-FFF2-40B4-BE49-F238E27FC236}">
                      <a16:creationId xmlns:a16="http://schemas.microsoft.com/office/drawing/2014/main" id="{04C46985-59F7-99C3-B07C-E5C382EB88EE}"/>
                    </a:ext>
                  </a:extLst>
                </p:cNvPr>
                <p:cNvSpPr/>
                <p:nvPr/>
              </p:nvSpPr>
              <p:spPr>
                <a:xfrm>
                  <a:off x="9668789" y="5712040"/>
                  <a:ext cx="7847" cy="51566"/>
                </a:xfrm>
                <a:custGeom>
                  <a:avLst/>
                  <a:gdLst>
                    <a:gd name="connsiteX0" fmla="*/ 0 w 7847"/>
                    <a:gd name="connsiteY0" fmla="*/ 51567 h 51566"/>
                    <a:gd name="connsiteX1" fmla="*/ 4484 w 7847"/>
                    <a:gd name="connsiteY1" fmla="*/ 33381 h 51566"/>
                    <a:gd name="connsiteX2" fmla="*/ 3488 w 7847"/>
                    <a:gd name="connsiteY2" fmla="*/ 15943 h 51566"/>
                    <a:gd name="connsiteX3" fmla="*/ 7847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0" y="51567"/>
                      </a:moveTo>
                      <a:cubicBezTo>
                        <a:pt x="3488" y="43969"/>
                        <a:pt x="4359" y="37616"/>
                        <a:pt x="4484" y="33381"/>
                      </a:cubicBezTo>
                      <a:cubicBezTo>
                        <a:pt x="4733" y="26406"/>
                        <a:pt x="2989" y="23043"/>
                        <a:pt x="3488" y="15943"/>
                      </a:cubicBezTo>
                      <a:cubicBezTo>
                        <a:pt x="3986" y="9092"/>
                        <a:pt x="6103" y="3612"/>
                        <a:pt x="78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3" name="Freeform 5347">
                  <a:extLst>
                    <a:ext uri="{FF2B5EF4-FFF2-40B4-BE49-F238E27FC236}">
                      <a16:creationId xmlns:a16="http://schemas.microsoft.com/office/drawing/2014/main" id="{404EFC93-5351-16C7-8006-7A0F44674D69}"/>
                    </a:ext>
                  </a:extLst>
                </p:cNvPr>
                <p:cNvSpPr/>
                <p:nvPr/>
              </p:nvSpPr>
              <p:spPr>
                <a:xfrm>
                  <a:off x="9660329" y="5715777"/>
                  <a:ext cx="7915" cy="51816"/>
                </a:xfrm>
                <a:custGeom>
                  <a:avLst/>
                  <a:gdLst>
                    <a:gd name="connsiteX0" fmla="*/ 7215 w 7915"/>
                    <a:gd name="connsiteY0" fmla="*/ 0 h 51816"/>
                    <a:gd name="connsiteX1" fmla="*/ 6592 w 7915"/>
                    <a:gd name="connsiteY1" fmla="*/ 18808 h 51816"/>
                    <a:gd name="connsiteX2" fmla="*/ 862 w 7915"/>
                    <a:gd name="connsiteY2" fmla="*/ 35250 h 51816"/>
                    <a:gd name="connsiteX3" fmla="*/ 73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215" y="0"/>
                      </a:moveTo>
                      <a:cubicBezTo>
                        <a:pt x="8585" y="8346"/>
                        <a:pt x="7713" y="14573"/>
                        <a:pt x="6592" y="18808"/>
                      </a:cubicBezTo>
                      <a:cubicBezTo>
                        <a:pt x="4848" y="25535"/>
                        <a:pt x="2357" y="28275"/>
                        <a:pt x="862" y="35250"/>
                      </a:cubicBezTo>
                      <a:cubicBezTo>
                        <a:pt x="-508" y="41976"/>
                        <a:pt x="-10" y="47830"/>
                        <a:pt x="73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4" name="Freeform 5348">
                  <a:extLst>
                    <a:ext uri="{FF2B5EF4-FFF2-40B4-BE49-F238E27FC236}">
                      <a16:creationId xmlns:a16="http://schemas.microsoft.com/office/drawing/2014/main" id="{6CB6A436-8B09-3809-2675-12CD91D5638C}"/>
                    </a:ext>
                  </a:extLst>
                </p:cNvPr>
                <p:cNvSpPr/>
                <p:nvPr/>
              </p:nvSpPr>
              <p:spPr>
                <a:xfrm>
                  <a:off x="9651100" y="5756757"/>
                  <a:ext cx="26285" cy="26560"/>
                </a:xfrm>
                <a:custGeom>
                  <a:avLst/>
                  <a:gdLst>
                    <a:gd name="connsiteX0" fmla="*/ 127 w 26285"/>
                    <a:gd name="connsiteY0" fmla="*/ 11459 h 26560"/>
                    <a:gd name="connsiteX1" fmla="*/ 14949 w 26285"/>
                    <a:gd name="connsiteY1" fmla="*/ 124 h 26560"/>
                    <a:gd name="connsiteX2" fmla="*/ 26159 w 26285"/>
                    <a:gd name="connsiteY2" fmla="*/ 15196 h 26560"/>
                    <a:gd name="connsiteX3" fmla="*/ 11337 w 26285"/>
                    <a:gd name="connsiteY3" fmla="*/ 26406 h 26560"/>
                    <a:gd name="connsiteX4" fmla="*/ 127 w 26285"/>
                    <a:gd name="connsiteY4" fmla="*/ 11459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60">
                      <a:moveTo>
                        <a:pt x="127" y="11459"/>
                      </a:moveTo>
                      <a:cubicBezTo>
                        <a:pt x="1123" y="4235"/>
                        <a:pt x="7725" y="-872"/>
                        <a:pt x="14949" y="124"/>
                      </a:cubicBezTo>
                      <a:cubicBezTo>
                        <a:pt x="22173" y="1121"/>
                        <a:pt x="27156" y="7847"/>
                        <a:pt x="26159" y="15196"/>
                      </a:cubicBezTo>
                      <a:cubicBezTo>
                        <a:pt x="25162" y="22420"/>
                        <a:pt x="18561" y="27527"/>
                        <a:pt x="11337" y="26406"/>
                      </a:cubicBezTo>
                      <a:cubicBezTo>
                        <a:pt x="4112" y="25410"/>
                        <a:pt x="-870" y="18683"/>
                        <a:pt x="12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6" name="Graphic 2987">
                <a:extLst>
                  <a:ext uri="{FF2B5EF4-FFF2-40B4-BE49-F238E27FC236}">
                    <a16:creationId xmlns:a16="http://schemas.microsoft.com/office/drawing/2014/main" id="{0DE5A1C3-49B9-AE49-DB95-36B41402D4FC}"/>
                  </a:ext>
                </a:extLst>
              </p:cNvPr>
              <p:cNvGrpSpPr/>
              <p:nvPr/>
            </p:nvGrpSpPr>
            <p:grpSpPr>
              <a:xfrm>
                <a:off x="9680122" y="5639794"/>
                <a:ext cx="43599" cy="147882"/>
                <a:chOff x="9680122" y="5639794"/>
                <a:chExt cx="43599" cy="147882"/>
              </a:xfrm>
              <a:grpFill/>
            </p:grpSpPr>
            <p:sp>
              <p:nvSpPr>
                <p:cNvPr id="4223" name="Freeform 5350">
                  <a:extLst>
                    <a:ext uri="{FF2B5EF4-FFF2-40B4-BE49-F238E27FC236}">
                      <a16:creationId xmlns:a16="http://schemas.microsoft.com/office/drawing/2014/main" id="{44D3E42E-AF41-48B6-A31D-DEE82AB18449}"/>
                    </a:ext>
                  </a:extLst>
                </p:cNvPr>
                <p:cNvSpPr/>
                <p:nvPr/>
              </p:nvSpPr>
              <p:spPr>
                <a:xfrm>
                  <a:off x="9697811" y="5659601"/>
                  <a:ext cx="7971" cy="51566"/>
                </a:xfrm>
                <a:custGeom>
                  <a:avLst/>
                  <a:gdLst>
                    <a:gd name="connsiteX0" fmla="*/ 7971 w 7971"/>
                    <a:gd name="connsiteY0" fmla="*/ 0 h 51566"/>
                    <a:gd name="connsiteX1" fmla="*/ 3363 w 7971"/>
                    <a:gd name="connsiteY1" fmla="*/ 18185 h 51566"/>
                    <a:gd name="connsiteX2" fmla="*/ 4359 w 7971"/>
                    <a:gd name="connsiteY2" fmla="*/ 35623 h 51566"/>
                    <a:gd name="connsiteX3" fmla="*/ 0 w 797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971" h="51566">
                      <a:moveTo>
                        <a:pt x="7971" y="0"/>
                      </a:moveTo>
                      <a:cubicBezTo>
                        <a:pt x="4359" y="7598"/>
                        <a:pt x="3487" y="13826"/>
                        <a:pt x="3363" y="18185"/>
                      </a:cubicBezTo>
                      <a:cubicBezTo>
                        <a:pt x="3114" y="25161"/>
                        <a:pt x="4857" y="28523"/>
                        <a:pt x="4359" y="35623"/>
                      </a:cubicBezTo>
                      <a:cubicBezTo>
                        <a:pt x="3861" y="42474"/>
                        <a:pt x="1743"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4" name="Freeform 5351">
                  <a:extLst>
                    <a:ext uri="{FF2B5EF4-FFF2-40B4-BE49-F238E27FC236}">
                      <a16:creationId xmlns:a16="http://schemas.microsoft.com/office/drawing/2014/main" id="{14537C83-CB19-981B-A197-91884C92F8E1}"/>
                    </a:ext>
                  </a:extLst>
                </p:cNvPr>
                <p:cNvSpPr/>
                <p:nvPr/>
              </p:nvSpPr>
              <p:spPr>
                <a:xfrm>
                  <a:off x="9706234" y="5655491"/>
                  <a:ext cx="8060" cy="51816"/>
                </a:xfrm>
                <a:custGeom>
                  <a:avLst/>
                  <a:gdLst>
                    <a:gd name="connsiteX0" fmla="*/ 670 w 8060"/>
                    <a:gd name="connsiteY0" fmla="*/ 51816 h 51816"/>
                    <a:gd name="connsiteX1" fmla="*/ 1293 w 8060"/>
                    <a:gd name="connsiteY1" fmla="*/ 33008 h 51816"/>
                    <a:gd name="connsiteX2" fmla="*/ 7147 w 8060"/>
                    <a:gd name="connsiteY2" fmla="*/ 16566 h 51816"/>
                    <a:gd name="connsiteX3" fmla="*/ 7272 w 8060"/>
                    <a:gd name="connsiteY3" fmla="*/ 0 h 51816"/>
                  </a:gdLst>
                  <a:ahLst/>
                  <a:cxnLst>
                    <a:cxn ang="0">
                      <a:pos x="connsiteX0" y="connsiteY0"/>
                    </a:cxn>
                    <a:cxn ang="0">
                      <a:pos x="connsiteX1" y="connsiteY1"/>
                    </a:cxn>
                    <a:cxn ang="0">
                      <a:pos x="connsiteX2" y="connsiteY2"/>
                    </a:cxn>
                    <a:cxn ang="0">
                      <a:pos x="connsiteX3" y="connsiteY3"/>
                    </a:cxn>
                  </a:cxnLst>
                  <a:rect l="l" t="t" r="r" b="b"/>
                  <a:pathLst>
                    <a:path w="8060" h="51816">
                      <a:moveTo>
                        <a:pt x="670" y="51816"/>
                      </a:moveTo>
                      <a:cubicBezTo>
                        <a:pt x="-700" y="43471"/>
                        <a:pt x="297" y="37243"/>
                        <a:pt x="1293" y="33008"/>
                      </a:cubicBezTo>
                      <a:cubicBezTo>
                        <a:pt x="3037" y="26282"/>
                        <a:pt x="5528" y="23542"/>
                        <a:pt x="7147" y="16566"/>
                      </a:cubicBezTo>
                      <a:cubicBezTo>
                        <a:pt x="8642" y="9840"/>
                        <a:pt x="8019" y="3986"/>
                        <a:pt x="72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5" name="Freeform 5352">
                  <a:extLst>
                    <a:ext uri="{FF2B5EF4-FFF2-40B4-BE49-F238E27FC236}">
                      <a16:creationId xmlns:a16="http://schemas.microsoft.com/office/drawing/2014/main" id="{FD078A5B-263C-87C7-7052-EDA39EFE8D46}"/>
                    </a:ext>
                  </a:extLst>
                </p:cNvPr>
                <p:cNvSpPr/>
                <p:nvPr/>
              </p:nvSpPr>
              <p:spPr>
                <a:xfrm>
                  <a:off x="9697064" y="5639794"/>
                  <a:ext cx="26657" cy="26535"/>
                </a:xfrm>
                <a:custGeom>
                  <a:avLst/>
                  <a:gdLst>
                    <a:gd name="connsiteX0" fmla="*/ 26530 w 26657"/>
                    <a:gd name="connsiteY0" fmla="*/ 15198 h 26535"/>
                    <a:gd name="connsiteX1" fmla="*/ 11459 w 26657"/>
                    <a:gd name="connsiteY1" fmla="*/ 26409 h 26535"/>
                    <a:gd name="connsiteX2" fmla="*/ 124 w 26657"/>
                    <a:gd name="connsiteY2" fmla="*/ 11337 h 26535"/>
                    <a:gd name="connsiteX3" fmla="*/ 15195 w 26657"/>
                    <a:gd name="connsiteY3" fmla="*/ 127 h 26535"/>
                    <a:gd name="connsiteX4" fmla="*/ 26530 w 26657"/>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5">
                      <a:moveTo>
                        <a:pt x="26530" y="15198"/>
                      </a:moveTo>
                      <a:cubicBezTo>
                        <a:pt x="25534" y="22423"/>
                        <a:pt x="18808" y="27405"/>
                        <a:pt x="11459" y="26409"/>
                      </a:cubicBezTo>
                      <a:cubicBezTo>
                        <a:pt x="4234" y="25412"/>
                        <a:pt x="-872" y="18561"/>
                        <a:pt x="124" y="11337"/>
                      </a:cubicBezTo>
                      <a:cubicBezTo>
                        <a:pt x="1120" y="4113"/>
                        <a:pt x="7847" y="-870"/>
                        <a:pt x="15195" y="127"/>
                      </a:cubicBezTo>
                      <a:cubicBezTo>
                        <a:pt x="22545" y="1248"/>
                        <a:pt x="27526" y="7974"/>
                        <a:pt x="26530"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6" name="Freeform 5353">
                  <a:extLst>
                    <a:ext uri="{FF2B5EF4-FFF2-40B4-BE49-F238E27FC236}">
                      <a16:creationId xmlns:a16="http://schemas.microsoft.com/office/drawing/2014/main" id="{CB28FBF8-866E-A6E2-A37C-BE641F4A791C}"/>
                    </a:ext>
                  </a:extLst>
                </p:cNvPr>
                <p:cNvSpPr/>
                <p:nvPr/>
              </p:nvSpPr>
              <p:spPr>
                <a:xfrm>
                  <a:off x="9697811" y="5716275"/>
                  <a:ext cx="8095" cy="51566"/>
                </a:xfrm>
                <a:custGeom>
                  <a:avLst/>
                  <a:gdLst>
                    <a:gd name="connsiteX0" fmla="*/ 0 w 8095"/>
                    <a:gd name="connsiteY0" fmla="*/ 51567 h 51566"/>
                    <a:gd name="connsiteX1" fmla="*/ 4609 w 8095"/>
                    <a:gd name="connsiteY1" fmla="*/ 33381 h 51566"/>
                    <a:gd name="connsiteX2" fmla="*/ 3612 w 8095"/>
                    <a:gd name="connsiteY2" fmla="*/ 15943 h 51566"/>
                    <a:gd name="connsiteX3" fmla="*/ 8096 w 8095"/>
                    <a:gd name="connsiteY3" fmla="*/ 0 h 51566"/>
                  </a:gdLst>
                  <a:ahLst/>
                  <a:cxnLst>
                    <a:cxn ang="0">
                      <a:pos x="connsiteX0" y="connsiteY0"/>
                    </a:cxn>
                    <a:cxn ang="0">
                      <a:pos x="connsiteX1" y="connsiteY1"/>
                    </a:cxn>
                    <a:cxn ang="0">
                      <a:pos x="connsiteX2" y="connsiteY2"/>
                    </a:cxn>
                    <a:cxn ang="0">
                      <a:pos x="connsiteX3" y="connsiteY3"/>
                    </a:cxn>
                  </a:cxnLst>
                  <a:rect l="l" t="t" r="r" b="b"/>
                  <a:pathLst>
                    <a:path w="8095" h="51566">
                      <a:moveTo>
                        <a:pt x="0" y="51567"/>
                      </a:moveTo>
                      <a:cubicBezTo>
                        <a:pt x="3612" y="43969"/>
                        <a:pt x="4484" y="37741"/>
                        <a:pt x="4609" y="33381"/>
                      </a:cubicBezTo>
                      <a:cubicBezTo>
                        <a:pt x="4857" y="26406"/>
                        <a:pt x="3114" y="23043"/>
                        <a:pt x="3612" y="15943"/>
                      </a:cubicBezTo>
                      <a:cubicBezTo>
                        <a:pt x="4110" y="9093"/>
                        <a:pt x="6228"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7" name="Freeform 5354">
                  <a:extLst>
                    <a:ext uri="{FF2B5EF4-FFF2-40B4-BE49-F238E27FC236}">
                      <a16:creationId xmlns:a16="http://schemas.microsoft.com/office/drawing/2014/main" id="{C0C276C0-664E-9BAF-B7E3-08A0B6F373FC}"/>
                    </a:ext>
                  </a:extLst>
                </p:cNvPr>
                <p:cNvSpPr/>
                <p:nvPr/>
              </p:nvSpPr>
              <p:spPr>
                <a:xfrm>
                  <a:off x="9689549" y="5720011"/>
                  <a:ext cx="7936" cy="51816"/>
                </a:xfrm>
                <a:custGeom>
                  <a:avLst/>
                  <a:gdLst>
                    <a:gd name="connsiteX0" fmla="*/ 7266 w 7936"/>
                    <a:gd name="connsiteY0" fmla="*/ 0 h 51816"/>
                    <a:gd name="connsiteX1" fmla="*/ 6643 w 7936"/>
                    <a:gd name="connsiteY1" fmla="*/ 18808 h 51816"/>
                    <a:gd name="connsiteX2" fmla="*/ 913 w 7936"/>
                    <a:gd name="connsiteY2" fmla="*/ 35250 h 51816"/>
                    <a:gd name="connsiteX3" fmla="*/ 788 w 793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36" h="51816">
                      <a:moveTo>
                        <a:pt x="7266" y="0"/>
                      </a:moveTo>
                      <a:cubicBezTo>
                        <a:pt x="8636" y="8346"/>
                        <a:pt x="7640" y="14573"/>
                        <a:pt x="6643" y="18808"/>
                      </a:cubicBezTo>
                      <a:cubicBezTo>
                        <a:pt x="4899" y="25535"/>
                        <a:pt x="2408" y="28275"/>
                        <a:pt x="913" y="35250"/>
                      </a:cubicBezTo>
                      <a:cubicBezTo>
                        <a:pt x="-582" y="41976"/>
                        <a:pt x="41" y="47830"/>
                        <a:pt x="7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8" name="Freeform 5355">
                  <a:extLst>
                    <a:ext uri="{FF2B5EF4-FFF2-40B4-BE49-F238E27FC236}">
                      <a16:creationId xmlns:a16="http://schemas.microsoft.com/office/drawing/2014/main" id="{1FA255C6-4552-CE35-19DB-1E8BC2CD8F88}"/>
                    </a:ext>
                  </a:extLst>
                </p:cNvPr>
                <p:cNvSpPr/>
                <p:nvPr/>
              </p:nvSpPr>
              <p:spPr>
                <a:xfrm>
                  <a:off x="9680122" y="5761086"/>
                  <a:ext cx="26192" cy="26590"/>
                </a:xfrm>
                <a:custGeom>
                  <a:avLst/>
                  <a:gdLst>
                    <a:gd name="connsiteX0" fmla="*/ 127 w 26192"/>
                    <a:gd name="connsiteY0" fmla="*/ 11365 h 26590"/>
                    <a:gd name="connsiteX1" fmla="*/ 14949 w 26192"/>
                    <a:gd name="connsiteY1" fmla="*/ 154 h 26590"/>
                    <a:gd name="connsiteX2" fmla="*/ 26035 w 26192"/>
                    <a:gd name="connsiteY2" fmla="*/ 15226 h 26590"/>
                    <a:gd name="connsiteX3" fmla="*/ 11213 w 26192"/>
                    <a:gd name="connsiteY3" fmla="*/ 26436 h 26590"/>
                    <a:gd name="connsiteX4" fmla="*/ 127 w 26192"/>
                    <a:gd name="connsiteY4" fmla="*/ 113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90">
                      <a:moveTo>
                        <a:pt x="127" y="11365"/>
                      </a:moveTo>
                      <a:cubicBezTo>
                        <a:pt x="1123" y="4140"/>
                        <a:pt x="7849" y="-967"/>
                        <a:pt x="14949" y="154"/>
                      </a:cubicBezTo>
                      <a:cubicBezTo>
                        <a:pt x="22174" y="1151"/>
                        <a:pt x="27156" y="7877"/>
                        <a:pt x="26035" y="15226"/>
                      </a:cubicBezTo>
                      <a:cubicBezTo>
                        <a:pt x="25038" y="22450"/>
                        <a:pt x="18312" y="27557"/>
                        <a:pt x="11213" y="26436"/>
                      </a:cubicBezTo>
                      <a:cubicBezTo>
                        <a:pt x="4113" y="25315"/>
                        <a:pt x="-869" y="18589"/>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7" name="Graphic 2987">
                <a:extLst>
                  <a:ext uri="{FF2B5EF4-FFF2-40B4-BE49-F238E27FC236}">
                    <a16:creationId xmlns:a16="http://schemas.microsoft.com/office/drawing/2014/main" id="{0C2904D4-32B0-1E3F-4079-01AC6740F98A}"/>
                  </a:ext>
                </a:extLst>
              </p:cNvPr>
              <p:cNvGrpSpPr/>
              <p:nvPr/>
            </p:nvGrpSpPr>
            <p:grpSpPr>
              <a:xfrm>
                <a:off x="9709143" y="5644029"/>
                <a:ext cx="44122" cy="147633"/>
                <a:chOff x="9709143" y="5644029"/>
                <a:chExt cx="44122" cy="147633"/>
              </a:xfrm>
              <a:grpFill/>
            </p:grpSpPr>
            <p:sp>
              <p:nvSpPr>
                <p:cNvPr id="4217" name="Freeform 5357">
                  <a:extLst>
                    <a:ext uri="{FF2B5EF4-FFF2-40B4-BE49-F238E27FC236}">
                      <a16:creationId xmlns:a16="http://schemas.microsoft.com/office/drawing/2014/main" id="{AAE63616-6DD8-48B1-FABC-C668EE9319AC}"/>
                    </a:ext>
                  </a:extLst>
                </p:cNvPr>
                <p:cNvSpPr/>
                <p:nvPr/>
              </p:nvSpPr>
              <p:spPr>
                <a:xfrm>
                  <a:off x="9727207" y="5663836"/>
                  <a:ext cx="8096" cy="51566"/>
                </a:xfrm>
                <a:custGeom>
                  <a:avLst/>
                  <a:gdLst>
                    <a:gd name="connsiteX0" fmla="*/ 8097 w 8096"/>
                    <a:gd name="connsiteY0" fmla="*/ 0 h 51566"/>
                    <a:gd name="connsiteX1" fmla="*/ 3487 w 8096"/>
                    <a:gd name="connsiteY1" fmla="*/ 18185 h 51566"/>
                    <a:gd name="connsiteX2" fmla="*/ 4484 w 8096"/>
                    <a:gd name="connsiteY2" fmla="*/ 35623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0"/>
                      </a:moveTo>
                      <a:cubicBezTo>
                        <a:pt x="4484" y="7598"/>
                        <a:pt x="3612" y="13826"/>
                        <a:pt x="3487" y="18185"/>
                      </a:cubicBezTo>
                      <a:cubicBezTo>
                        <a:pt x="3239" y="25161"/>
                        <a:pt x="4983" y="28523"/>
                        <a:pt x="4484"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8" name="Freeform 5358">
                  <a:extLst>
                    <a:ext uri="{FF2B5EF4-FFF2-40B4-BE49-F238E27FC236}">
                      <a16:creationId xmlns:a16="http://schemas.microsoft.com/office/drawing/2014/main" id="{ABE216C9-EBDB-EC03-2580-53B33B63E50D}"/>
                    </a:ext>
                  </a:extLst>
                </p:cNvPr>
                <p:cNvSpPr/>
                <p:nvPr/>
              </p:nvSpPr>
              <p:spPr>
                <a:xfrm>
                  <a:off x="9735565" y="5659850"/>
                  <a:ext cx="8136" cy="51691"/>
                </a:xfrm>
                <a:custGeom>
                  <a:avLst/>
                  <a:gdLst>
                    <a:gd name="connsiteX0" fmla="*/ 610 w 8136"/>
                    <a:gd name="connsiteY0" fmla="*/ 51691 h 51691"/>
                    <a:gd name="connsiteX1" fmla="*/ 1357 w 8136"/>
                    <a:gd name="connsiteY1" fmla="*/ 32883 h 51691"/>
                    <a:gd name="connsiteX2" fmla="*/ 7212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2" y="16442"/>
                      </a:cubicBezTo>
                      <a:cubicBezTo>
                        <a:pt x="8706" y="9715"/>
                        <a:pt x="8084"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9" name="Freeform 5359">
                  <a:extLst>
                    <a:ext uri="{FF2B5EF4-FFF2-40B4-BE49-F238E27FC236}">
                      <a16:creationId xmlns:a16="http://schemas.microsoft.com/office/drawing/2014/main" id="{52BE32DE-CFBF-E16C-3B5A-DD809FB2F265}"/>
                    </a:ext>
                  </a:extLst>
                </p:cNvPr>
                <p:cNvSpPr/>
                <p:nvPr/>
              </p:nvSpPr>
              <p:spPr>
                <a:xfrm>
                  <a:off x="9726584" y="5644029"/>
                  <a:ext cx="26681" cy="26535"/>
                </a:xfrm>
                <a:custGeom>
                  <a:avLst/>
                  <a:gdLst>
                    <a:gd name="connsiteX0" fmla="*/ 26530 w 26681"/>
                    <a:gd name="connsiteY0" fmla="*/ 15199 h 26535"/>
                    <a:gd name="connsiteX1" fmla="*/ 11459 w 26681"/>
                    <a:gd name="connsiteY1" fmla="*/ 26409 h 26535"/>
                    <a:gd name="connsiteX2" fmla="*/ 124 w 26681"/>
                    <a:gd name="connsiteY2" fmla="*/ 11337 h 26535"/>
                    <a:gd name="connsiteX3" fmla="*/ 15195 w 26681"/>
                    <a:gd name="connsiteY3" fmla="*/ 127 h 26535"/>
                    <a:gd name="connsiteX4" fmla="*/ 26530 w 26681"/>
                    <a:gd name="connsiteY4" fmla="*/ 151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35">
                      <a:moveTo>
                        <a:pt x="26530" y="15199"/>
                      </a:moveTo>
                      <a:cubicBezTo>
                        <a:pt x="25409" y="22423"/>
                        <a:pt x="18683" y="27405"/>
                        <a:pt x="11459" y="26409"/>
                      </a:cubicBezTo>
                      <a:cubicBezTo>
                        <a:pt x="4234" y="25412"/>
                        <a:pt x="-872" y="18561"/>
                        <a:pt x="124" y="11337"/>
                      </a:cubicBezTo>
                      <a:cubicBezTo>
                        <a:pt x="1120" y="4113"/>
                        <a:pt x="7972" y="-870"/>
                        <a:pt x="15195" y="127"/>
                      </a:cubicBezTo>
                      <a:cubicBezTo>
                        <a:pt x="22420" y="1123"/>
                        <a:pt x="27651" y="7974"/>
                        <a:pt x="26530" y="151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0" name="Freeform 5360">
                  <a:extLst>
                    <a:ext uri="{FF2B5EF4-FFF2-40B4-BE49-F238E27FC236}">
                      <a16:creationId xmlns:a16="http://schemas.microsoft.com/office/drawing/2014/main" id="{736D61A3-F19C-824E-AFF6-EBC14B92D8FE}"/>
                    </a:ext>
                  </a:extLst>
                </p:cNvPr>
                <p:cNvSpPr/>
                <p:nvPr/>
              </p:nvSpPr>
              <p:spPr>
                <a:xfrm>
                  <a:off x="9726957" y="5720385"/>
                  <a:ext cx="8221" cy="51567"/>
                </a:xfrm>
                <a:custGeom>
                  <a:avLst/>
                  <a:gdLst>
                    <a:gd name="connsiteX0" fmla="*/ 0 w 8221"/>
                    <a:gd name="connsiteY0" fmla="*/ 51567 h 51567"/>
                    <a:gd name="connsiteX1" fmla="*/ 4609 w 8221"/>
                    <a:gd name="connsiteY1" fmla="*/ 33382 h 51567"/>
                    <a:gd name="connsiteX2" fmla="*/ 3737 w 8221"/>
                    <a:gd name="connsiteY2" fmla="*/ 15943 h 51567"/>
                    <a:gd name="connsiteX3" fmla="*/ 8221 w 8221"/>
                    <a:gd name="connsiteY3" fmla="*/ 0 h 51567"/>
                  </a:gdLst>
                  <a:ahLst/>
                  <a:cxnLst>
                    <a:cxn ang="0">
                      <a:pos x="connsiteX0" y="connsiteY0"/>
                    </a:cxn>
                    <a:cxn ang="0">
                      <a:pos x="connsiteX1" y="connsiteY1"/>
                    </a:cxn>
                    <a:cxn ang="0">
                      <a:pos x="connsiteX2" y="connsiteY2"/>
                    </a:cxn>
                    <a:cxn ang="0">
                      <a:pos x="connsiteX3" y="connsiteY3"/>
                    </a:cxn>
                  </a:cxnLst>
                  <a:rect l="l" t="t" r="r" b="b"/>
                  <a:pathLst>
                    <a:path w="8221" h="51567">
                      <a:moveTo>
                        <a:pt x="0" y="51567"/>
                      </a:moveTo>
                      <a:cubicBezTo>
                        <a:pt x="3613" y="43969"/>
                        <a:pt x="4485" y="37741"/>
                        <a:pt x="4609" y="33382"/>
                      </a:cubicBezTo>
                      <a:cubicBezTo>
                        <a:pt x="4858" y="26407"/>
                        <a:pt x="3239" y="23043"/>
                        <a:pt x="3737" y="15943"/>
                      </a:cubicBezTo>
                      <a:cubicBezTo>
                        <a:pt x="4235" y="9093"/>
                        <a:pt x="6477" y="3612"/>
                        <a:pt x="8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1" name="Freeform 5361">
                  <a:extLst>
                    <a:ext uri="{FF2B5EF4-FFF2-40B4-BE49-F238E27FC236}">
                      <a16:creationId xmlns:a16="http://schemas.microsoft.com/office/drawing/2014/main" id="{5D04425A-35B1-4C0B-C262-1B55D8E12A61}"/>
                    </a:ext>
                  </a:extLst>
                </p:cNvPr>
                <p:cNvSpPr/>
                <p:nvPr/>
              </p:nvSpPr>
              <p:spPr>
                <a:xfrm>
                  <a:off x="9718560" y="5724246"/>
                  <a:ext cx="8135" cy="51691"/>
                </a:xfrm>
                <a:custGeom>
                  <a:avLst/>
                  <a:gdLst>
                    <a:gd name="connsiteX0" fmla="*/ 7526 w 8135"/>
                    <a:gd name="connsiteY0" fmla="*/ 0 h 51691"/>
                    <a:gd name="connsiteX1" fmla="*/ 6779 w 8135"/>
                    <a:gd name="connsiteY1" fmla="*/ 18808 h 51691"/>
                    <a:gd name="connsiteX2" fmla="*/ 925 w 8135"/>
                    <a:gd name="connsiteY2" fmla="*/ 35250 h 51691"/>
                    <a:gd name="connsiteX3" fmla="*/ 675 w 813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0"/>
                      </a:moveTo>
                      <a:cubicBezTo>
                        <a:pt x="8772" y="8346"/>
                        <a:pt x="7900" y="14573"/>
                        <a:pt x="6779" y="18808"/>
                      </a:cubicBezTo>
                      <a:cubicBezTo>
                        <a:pt x="5035" y="25535"/>
                        <a:pt x="2419" y="28275"/>
                        <a:pt x="925" y="35250"/>
                      </a:cubicBezTo>
                      <a:cubicBezTo>
                        <a:pt x="-570" y="41976"/>
                        <a:pt x="53" y="47830"/>
                        <a:pt x="675"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2" name="Freeform 5362">
                  <a:extLst>
                    <a:ext uri="{FF2B5EF4-FFF2-40B4-BE49-F238E27FC236}">
                      <a16:creationId xmlns:a16="http://schemas.microsoft.com/office/drawing/2014/main" id="{197ACA24-730C-A405-AF3A-CD2B5E063400}"/>
                    </a:ext>
                  </a:extLst>
                </p:cNvPr>
                <p:cNvSpPr/>
                <p:nvPr/>
              </p:nvSpPr>
              <p:spPr>
                <a:xfrm>
                  <a:off x="9709143" y="5765196"/>
                  <a:ext cx="26317" cy="26466"/>
                </a:xfrm>
                <a:custGeom>
                  <a:avLst/>
                  <a:gdLst>
                    <a:gd name="connsiteX0" fmla="*/ 127 w 26317"/>
                    <a:gd name="connsiteY0" fmla="*/ 11365 h 26466"/>
                    <a:gd name="connsiteX1" fmla="*/ 15074 w 26317"/>
                    <a:gd name="connsiteY1" fmla="*/ 154 h 26466"/>
                    <a:gd name="connsiteX2" fmla="*/ 26160 w 26317"/>
                    <a:gd name="connsiteY2" fmla="*/ 15101 h 26466"/>
                    <a:gd name="connsiteX3" fmla="*/ 11213 w 26317"/>
                    <a:gd name="connsiteY3" fmla="*/ 26312 h 26466"/>
                    <a:gd name="connsiteX4" fmla="*/ 127 w 26317"/>
                    <a:gd name="connsiteY4" fmla="*/ 1136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66">
                      <a:moveTo>
                        <a:pt x="127" y="11365"/>
                      </a:moveTo>
                      <a:cubicBezTo>
                        <a:pt x="1124" y="4140"/>
                        <a:pt x="7849" y="-967"/>
                        <a:pt x="15074" y="154"/>
                      </a:cubicBezTo>
                      <a:cubicBezTo>
                        <a:pt x="22299" y="1151"/>
                        <a:pt x="27280" y="7877"/>
                        <a:pt x="26160" y="15101"/>
                      </a:cubicBezTo>
                      <a:cubicBezTo>
                        <a:pt x="25038" y="22326"/>
                        <a:pt x="18437" y="27433"/>
                        <a:pt x="11213" y="26312"/>
                      </a:cubicBezTo>
                      <a:cubicBezTo>
                        <a:pt x="4113" y="25315"/>
                        <a:pt x="-870" y="18713"/>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8" name="Graphic 2987">
                <a:extLst>
                  <a:ext uri="{FF2B5EF4-FFF2-40B4-BE49-F238E27FC236}">
                    <a16:creationId xmlns:a16="http://schemas.microsoft.com/office/drawing/2014/main" id="{EE1AC9D5-A953-D643-03BD-E8AD3E415932}"/>
                  </a:ext>
                </a:extLst>
              </p:cNvPr>
              <p:cNvGrpSpPr/>
              <p:nvPr/>
            </p:nvGrpSpPr>
            <p:grpSpPr>
              <a:xfrm>
                <a:off x="9738260" y="5648389"/>
                <a:ext cx="44529" cy="147480"/>
                <a:chOff x="9738260" y="5648389"/>
                <a:chExt cx="44529" cy="147480"/>
              </a:xfrm>
              <a:grpFill/>
            </p:grpSpPr>
            <p:sp>
              <p:nvSpPr>
                <p:cNvPr id="4211" name="Freeform 5364">
                  <a:extLst>
                    <a:ext uri="{FF2B5EF4-FFF2-40B4-BE49-F238E27FC236}">
                      <a16:creationId xmlns:a16="http://schemas.microsoft.com/office/drawing/2014/main" id="{9BFBCA24-8FBD-90CB-B93B-7CB0726631DB}"/>
                    </a:ext>
                  </a:extLst>
                </p:cNvPr>
                <p:cNvSpPr/>
                <p:nvPr/>
              </p:nvSpPr>
              <p:spPr>
                <a:xfrm>
                  <a:off x="9756478" y="5668071"/>
                  <a:ext cx="8345" cy="51442"/>
                </a:xfrm>
                <a:custGeom>
                  <a:avLst/>
                  <a:gdLst>
                    <a:gd name="connsiteX0" fmla="*/ 8346 w 8345"/>
                    <a:gd name="connsiteY0" fmla="*/ 0 h 51442"/>
                    <a:gd name="connsiteX1" fmla="*/ 3613 w 8345"/>
                    <a:gd name="connsiteY1" fmla="*/ 18185 h 51442"/>
                    <a:gd name="connsiteX2" fmla="*/ 4485 w 8345"/>
                    <a:gd name="connsiteY2" fmla="*/ 35623 h 51442"/>
                    <a:gd name="connsiteX3" fmla="*/ 0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8346" y="0"/>
                      </a:moveTo>
                      <a:cubicBezTo>
                        <a:pt x="4733" y="7598"/>
                        <a:pt x="3737" y="13826"/>
                        <a:pt x="3613" y="18185"/>
                      </a:cubicBezTo>
                      <a:cubicBezTo>
                        <a:pt x="3363" y="25161"/>
                        <a:pt x="4983" y="28524"/>
                        <a:pt x="4485"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2" name="Freeform 5365">
                  <a:extLst>
                    <a:ext uri="{FF2B5EF4-FFF2-40B4-BE49-F238E27FC236}">
                      <a16:creationId xmlns:a16="http://schemas.microsoft.com/office/drawing/2014/main" id="{F47CC73F-CEAE-4924-B53F-11BC6B47062A}"/>
                    </a:ext>
                  </a:extLst>
                </p:cNvPr>
                <p:cNvSpPr/>
                <p:nvPr/>
              </p:nvSpPr>
              <p:spPr>
                <a:xfrm>
                  <a:off x="9764836" y="5664085"/>
                  <a:ext cx="8303" cy="51691"/>
                </a:xfrm>
                <a:custGeom>
                  <a:avLst/>
                  <a:gdLst>
                    <a:gd name="connsiteX0" fmla="*/ 610 w 8303"/>
                    <a:gd name="connsiteY0" fmla="*/ 51691 h 51691"/>
                    <a:gd name="connsiteX1" fmla="*/ 1357 w 8303"/>
                    <a:gd name="connsiteY1" fmla="*/ 32883 h 51691"/>
                    <a:gd name="connsiteX2" fmla="*/ 7336 w 8303"/>
                    <a:gd name="connsiteY2" fmla="*/ 16442 h 51691"/>
                    <a:gd name="connsiteX3" fmla="*/ 7585 w 8303"/>
                    <a:gd name="connsiteY3" fmla="*/ 0 h 51691"/>
                  </a:gdLst>
                  <a:ahLst/>
                  <a:cxnLst>
                    <a:cxn ang="0">
                      <a:pos x="connsiteX0" y="connsiteY0"/>
                    </a:cxn>
                    <a:cxn ang="0">
                      <a:pos x="connsiteX1" y="connsiteY1"/>
                    </a:cxn>
                    <a:cxn ang="0">
                      <a:pos x="connsiteX2" y="connsiteY2"/>
                    </a:cxn>
                    <a:cxn ang="0">
                      <a:pos x="connsiteX3" y="connsiteY3"/>
                    </a:cxn>
                  </a:cxnLst>
                  <a:rect l="l" t="t" r="r" b="b"/>
                  <a:pathLst>
                    <a:path w="8303" h="51690">
                      <a:moveTo>
                        <a:pt x="610" y="51691"/>
                      </a:moveTo>
                      <a:cubicBezTo>
                        <a:pt x="-636" y="43346"/>
                        <a:pt x="236" y="37118"/>
                        <a:pt x="1357" y="32883"/>
                      </a:cubicBezTo>
                      <a:cubicBezTo>
                        <a:pt x="3101" y="26157"/>
                        <a:pt x="5717" y="23417"/>
                        <a:pt x="7336" y="16442"/>
                      </a:cubicBezTo>
                      <a:cubicBezTo>
                        <a:pt x="8831" y="9715"/>
                        <a:pt x="8333" y="3861"/>
                        <a:pt x="75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3" name="Freeform 5366">
                  <a:extLst>
                    <a:ext uri="{FF2B5EF4-FFF2-40B4-BE49-F238E27FC236}">
                      <a16:creationId xmlns:a16="http://schemas.microsoft.com/office/drawing/2014/main" id="{FC9DE486-CA5F-51AE-ECFC-3EE16F2AC261}"/>
                    </a:ext>
                  </a:extLst>
                </p:cNvPr>
                <p:cNvSpPr/>
                <p:nvPr/>
              </p:nvSpPr>
              <p:spPr>
                <a:xfrm>
                  <a:off x="9756074" y="5648389"/>
                  <a:ext cx="26715" cy="26535"/>
                </a:xfrm>
                <a:custGeom>
                  <a:avLst/>
                  <a:gdLst>
                    <a:gd name="connsiteX0" fmla="*/ 26561 w 26715"/>
                    <a:gd name="connsiteY0" fmla="*/ 15198 h 26535"/>
                    <a:gd name="connsiteX1" fmla="*/ 11364 w 26715"/>
                    <a:gd name="connsiteY1" fmla="*/ 26409 h 26535"/>
                    <a:gd name="connsiteX2" fmla="*/ 155 w 26715"/>
                    <a:gd name="connsiteY2" fmla="*/ 11337 h 26535"/>
                    <a:gd name="connsiteX3" fmla="*/ 15350 w 26715"/>
                    <a:gd name="connsiteY3" fmla="*/ 127 h 26535"/>
                    <a:gd name="connsiteX4" fmla="*/ 26561 w 26715"/>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 h="26535">
                      <a:moveTo>
                        <a:pt x="26561" y="15198"/>
                      </a:moveTo>
                      <a:cubicBezTo>
                        <a:pt x="25439" y="22423"/>
                        <a:pt x="18714" y="27405"/>
                        <a:pt x="11364" y="26409"/>
                      </a:cubicBezTo>
                      <a:cubicBezTo>
                        <a:pt x="4140" y="25412"/>
                        <a:pt x="-967" y="18686"/>
                        <a:pt x="155" y="11337"/>
                      </a:cubicBezTo>
                      <a:cubicBezTo>
                        <a:pt x="1275" y="4113"/>
                        <a:pt x="8002" y="-870"/>
                        <a:pt x="15350" y="127"/>
                      </a:cubicBezTo>
                      <a:cubicBezTo>
                        <a:pt x="22575" y="1248"/>
                        <a:pt x="27681" y="7974"/>
                        <a:pt x="26561"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4" name="Freeform 5367">
                  <a:extLst>
                    <a:ext uri="{FF2B5EF4-FFF2-40B4-BE49-F238E27FC236}">
                      <a16:creationId xmlns:a16="http://schemas.microsoft.com/office/drawing/2014/main" id="{18956FD5-97D5-E016-8010-B4AC16586D7B}"/>
                    </a:ext>
                  </a:extLst>
                </p:cNvPr>
                <p:cNvSpPr/>
                <p:nvPr/>
              </p:nvSpPr>
              <p:spPr>
                <a:xfrm>
                  <a:off x="9755980" y="5724745"/>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5"/>
                        <a:pt x="4609" y="37617"/>
                        <a:pt x="4733" y="33257"/>
                      </a:cubicBezTo>
                      <a:cubicBezTo>
                        <a:pt x="4983"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5" name="Freeform 5368">
                  <a:extLst>
                    <a:ext uri="{FF2B5EF4-FFF2-40B4-BE49-F238E27FC236}">
                      <a16:creationId xmlns:a16="http://schemas.microsoft.com/office/drawing/2014/main" id="{913F1D26-EF28-238D-CC52-C470EBFE2BF6}"/>
                    </a:ext>
                  </a:extLst>
                </p:cNvPr>
                <p:cNvSpPr/>
                <p:nvPr/>
              </p:nvSpPr>
              <p:spPr>
                <a:xfrm>
                  <a:off x="9747787" y="5728482"/>
                  <a:ext cx="8179" cy="51691"/>
                </a:xfrm>
                <a:custGeom>
                  <a:avLst/>
                  <a:gdLst>
                    <a:gd name="connsiteX0" fmla="*/ 7570 w 8179"/>
                    <a:gd name="connsiteY0" fmla="*/ 0 h 51691"/>
                    <a:gd name="connsiteX1" fmla="*/ 6822 w 8179"/>
                    <a:gd name="connsiteY1" fmla="*/ 18808 h 51691"/>
                    <a:gd name="connsiteX2" fmla="*/ 968 w 8179"/>
                    <a:gd name="connsiteY2" fmla="*/ 35250 h 51691"/>
                    <a:gd name="connsiteX3" fmla="*/ 71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70" y="0"/>
                      </a:moveTo>
                      <a:cubicBezTo>
                        <a:pt x="8815" y="8345"/>
                        <a:pt x="7943" y="14573"/>
                        <a:pt x="6822" y="18808"/>
                      </a:cubicBezTo>
                      <a:cubicBezTo>
                        <a:pt x="5078" y="25534"/>
                        <a:pt x="2462" y="28274"/>
                        <a:pt x="968" y="35250"/>
                      </a:cubicBezTo>
                      <a:cubicBezTo>
                        <a:pt x="-527" y="41976"/>
                        <a:pt x="-28" y="47830"/>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6" name="Freeform 5369">
                  <a:extLst>
                    <a:ext uri="{FF2B5EF4-FFF2-40B4-BE49-F238E27FC236}">
                      <a16:creationId xmlns:a16="http://schemas.microsoft.com/office/drawing/2014/main" id="{2E8CF25C-BFA2-A83E-1813-4272C9B15DC9}"/>
                    </a:ext>
                  </a:extLst>
                </p:cNvPr>
                <p:cNvSpPr/>
                <p:nvPr/>
              </p:nvSpPr>
              <p:spPr>
                <a:xfrm>
                  <a:off x="9738260" y="5769459"/>
                  <a:ext cx="26319" cy="26410"/>
                </a:xfrm>
                <a:custGeom>
                  <a:avLst/>
                  <a:gdLst>
                    <a:gd name="connsiteX0" fmla="*/ 158 w 26319"/>
                    <a:gd name="connsiteY0" fmla="*/ 11337 h 26410"/>
                    <a:gd name="connsiteX1" fmla="*/ 15104 w 26319"/>
                    <a:gd name="connsiteY1" fmla="*/ 127 h 26410"/>
                    <a:gd name="connsiteX2" fmla="*/ 26190 w 26319"/>
                    <a:gd name="connsiteY2" fmla="*/ 15074 h 26410"/>
                    <a:gd name="connsiteX3" fmla="*/ 11243 w 26319"/>
                    <a:gd name="connsiteY3" fmla="*/ 26284 h 26410"/>
                    <a:gd name="connsiteX4" fmla="*/ 158 w 26319"/>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10">
                      <a:moveTo>
                        <a:pt x="158" y="11337"/>
                      </a:moveTo>
                      <a:cubicBezTo>
                        <a:pt x="1278" y="4113"/>
                        <a:pt x="7880" y="-870"/>
                        <a:pt x="15104" y="127"/>
                      </a:cubicBezTo>
                      <a:cubicBezTo>
                        <a:pt x="22329" y="1123"/>
                        <a:pt x="27186" y="7849"/>
                        <a:pt x="26190" y="15074"/>
                      </a:cubicBezTo>
                      <a:cubicBezTo>
                        <a:pt x="25193" y="22298"/>
                        <a:pt x="18343" y="27280"/>
                        <a:pt x="11243" y="26284"/>
                      </a:cubicBezTo>
                      <a:cubicBezTo>
                        <a:pt x="4019" y="25287"/>
                        <a:pt x="-964"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9" name="Graphic 2987">
                <a:extLst>
                  <a:ext uri="{FF2B5EF4-FFF2-40B4-BE49-F238E27FC236}">
                    <a16:creationId xmlns:a16="http://schemas.microsoft.com/office/drawing/2014/main" id="{8E56DF30-5E23-F78A-0832-F37B160B5F24}"/>
                  </a:ext>
                </a:extLst>
              </p:cNvPr>
              <p:cNvGrpSpPr/>
              <p:nvPr/>
            </p:nvGrpSpPr>
            <p:grpSpPr>
              <a:xfrm>
                <a:off x="9767281" y="5652624"/>
                <a:ext cx="45031" cy="147483"/>
                <a:chOff x="9767281" y="5652624"/>
                <a:chExt cx="45031" cy="147483"/>
              </a:xfrm>
              <a:grpFill/>
            </p:grpSpPr>
            <p:sp>
              <p:nvSpPr>
                <p:cNvPr id="4205" name="Freeform 5371">
                  <a:extLst>
                    <a:ext uri="{FF2B5EF4-FFF2-40B4-BE49-F238E27FC236}">
                      <a16:creationId xmlns:a16="http://schemas.microsoft.com/office/drawing/2014/main" id="{368F49B2-0AB5-1E93-5E10-E6364C89B3A6}"/>
                    </a:ext>
                  </a:extLst>
                </p:cNvPr>
                <p:cNvSpPr/>
                <p:nvPr/>
              </p:nvSpPr>
              <p:spPr>
                <a:xfrm>
                  <a:off x="9785749" y="5672431"/>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733" y="7598"/>
                        <a:pt x="3861" y="13826"/>
                        <a:pt x="3737" y="18185"/>
                      </a:cubicBezTo>
                      <a:cubicBezTo>
                        <a:pt x="3487" y="25161"/>
                        <a:pt x="5107" y="28523"/>
                        <a:pt x="4609" y="35623"/>
                      </a:cubicBezTo>
                      <a:cubicBezTo>
                        <a:pt x="4110" y="42474"/>
                        <a:pt x="1744"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6" name="Freeform 5372">
                  <a:extLst>
                    <a:ext uri="{FF2B5EF4-FFF2-40B4-BE49-F238E27FC236}">
                      <a16:creationId xmlns:a16="http://schemas.microsoft.com/office/drawing/2014/main" id="{019602FD-B890-38E0-3D62-7D2220EFE077}"/>
                    </a:ext>
                  </a:extLst>
                </p:cNvPr>
                <p:cNvSpPr/>
                <p:nvPr/>
              </p:nvSpPr>
              <p:spPr>
                <a:xfrm>
                  <a:off x="9794265" y="5668445"/>
                  <a:ext cx="8408" cy="51691"/>
                </a:xfrm>
                <a:custGeom>
                  <a:avLst/>
                  <a:gdLst>
                    <a:gd name="connsiteX0" fmla="*/ 577 w 8408"/>
                    <a:gd name="connsiteY0" fmla="*/ 51691 h 51691"/>
                    <a:gd name="connsiteX1" fmla="*/ 1449 w 8408"/>
                    <a:gd name="connsiteY1" fmla="*/ 32883 h 51691"/>
                    <a:gd name="connsiteX2" fmla="*/ 7427 w 8408"/>
                    <a:gd name="connsiteY2" fmla="*/ 16442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442"/>
                      </a:cubicBezTo>
                      <a:cubicBezTo>
                        <a:pt x="8922" y="9715"/>
                        <a:pt x="8424" y="3861"/>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7" name="Freeform 5373">
                  <a:extLst>
                    <a:ext uri="{FF2B5EF4-FFF2-40B4-BE49-F238E27FC236}">
                      <a16:creationId xmlns:a16="http://schemas.microsoft.com/office/drawing/2014/main" id="{C3214D72-FD74-81F2-D2AD-28055FBD355E}"/>
                    </a:ext>
                  </a:extLst>
                </p:cNvPr>
                <p:cNvSpPr/>
                <p:nvPr/>
              </p:nvSpPr>
              <p:spPr>
                <a:xfrm>
                  <a:off x="9785594" y="5652624"/>
                  <a:ext cx="26718" cy="26538"/>
                </a:xfrm>
                <a:custGeom>
                  <a:avLst/>
                  <a:gdLst>
                    <a:gd name="connsiteX0" fmla="*/ 26561 w 26718"/>
                    <a:gd name="connsiteY0" fmla="*/ 15323 h 26538"/>
                    <a:gd name="connsiteX1" fmla="*/ 11364 w 26718"/>
                    <a:gd name="connsiteY1" fmla="*/ 26409 h 26538"/>
                    <a:gd name="connsiteX2" fmla="*/ 155 w 26718"/>
                    <a:gd name="connsiteY2" fmla="*/ 11337 h 26538"/>
                    <a:gd name="connsiteX3" fmla="*/ 15350 w 26718"/>
                    <a:gd name="connsiteY3" fmla="*/ 127 h 26538"/>
                    <a:gd name="connsiteX4" fmla="*/ 26561 w 26718"/>
                    <a:gd name="connsiteY4" fmla="*/ 15323 h 2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26561" y="15323"/>
                      </a:moveTo>
                      <a:cubicBezTo>
                        <a:pt x="25439" y="22547"/>
                        <a:pt x="18714" y="27405"/>
                        <a:pt x="11364" y="26409"/>
                      </a:cubicBezTo>
                      <a:cubicBezTo>
                        <a:pt x="4140" y="25412"/>
                        <a:pt x="-967" y="18686"/>
                        <a:pt x="155" y="11337"/>
                      </a:cubicBezTo>
                      <a:cubicBezTo>
                        <a:pt x="1275" y="4113"/>
                        <a:pt x="8002" y="-870"/>
                        <a:pt x="15350" y="127"/>
                      </a:cubicBezTo>
                      <a:cubicBezTo>
                        <a:pt x="22699" y="1248"/>
                        <a:pt x="27681" y="8099"/>
                        <a:pt x="26561" y="153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8" name="Freeform 5374">
                  <a:extLst>
                    <a:ext uri="{FF2B5EF4-FFF2-40B4-BE49-F238E27FC236}">
                      <a16:creationId xmlns:a16="http://schemas.microsoft.com/office/drawing/2014/main" id="{5103880E-7DDE-8222-A8D5-2E996E4BC2A9}"/>
                    </a:ext>
                  </a:extLst>
                </p:cNvPr>
                <p:cNvSpPr/>
                <p:nvPr/>
              </p:nvSpPr>
              <p:spPr>
                <a:xfrm>
                  <a:off x="9785126" y="5729104"/>
                  <a:ext cx="8594" cy="51317"/>
                </a:xfrm>
                <a:custGeom>
                  <a:avLst/>
                  <a:gdLst>
                    <a:gd name="connsiteX0" fmla="*/ 0 w 8594"/>
                    <a:gd name="connsiteY0" fmla="*/ 51318 h 51317"/>
                    <a:gd name="connsiteX1" fmla="*/ 4732 w 8594"/>
                    <a:gd name="connsiteY1" fmla="*/ 33132 h 51317"/>
                    <a:gd name="connsiteX2" fmla="*/ 3985 w 8594"/>
                    <a:gd name="connsiteY2" fmla="*/ 15819 h 51317"/>
                    <a:gd name="connsiteX3" fmla="*/ 8595 w 8594"/>
                    <a:gd name="connsiteY3" fmla="*/ 0 h 51317"/>
                  </a:gdLst>
                  <a:ahLst/>
                  <a:cxnLst>
                    <a:cxn ang="0">
                      <a:pos x="connsiteX0" y="connsiteY0"/>
                    </a:cxn>
                    <a:cxn ang="0">
                      <a:pos x="connsiteX1" y="connsiteY1"/>
                    </a:cxn>
                    <a:cxn ang="0">
                      <a:pos x="connsiteX2" y="connsiteY2"/>
                    </a:cxn>
                    <a:cxn ang="0">
                      <a:pos x="connsiteX3" y="connsiteY3"/>
                    </a:cxn>
                  </a:cxnLst>
                  <a:rect l="l" t="t" r="r" b="b"/>
                  <a:pathLst>
                    <a:path w="8594" h="51317">
                      <a:moveTo>
                        <a:pt x="0" y="51318"/>
                      </a:moveTo>
                      <a:cubicBezTo>
                        <a:pt x="3612" y="43720"/>
                        <a:pt x="4609" y="37492"/>
                        <a:pt x="4732" y="33132"/>
                      </a:cubicBezTo>
                      <a:cubicBezTo>
                        <a:pt x="4982" y="26157"/>
                        <a:pt x="3363" y="22794"/>
                        <a:pt x="3985" y="15819"/>
                      </a:cubicBezTo>
                      <a:cubicBezTo>
                        <a:pt x="4484" y="8968"/>
                        <a:pt x="6851" y="3488"/>
                        <a:pt x="859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9" name="Freeform 5375">
                  <a:extLst>
                    <a:ext uri="{FF2B5EF4-FFF2-40B4-BE49-F238E27FC236}">
                      <a16:creationId xmlns:a16="http://schemas.microsoft.com/office/drawing/2014/main" id="{B8471566-FE90-DE7C-41B1-A0AB0BDA30D1}"/>
                    </a:ext>
                  </a:extLst>
                </p:cNvPr>
                <p:cNvSpPr/>
                <p:nvPr/>
              </p:nvSpPr>
              <p:spPr>
                <a:xfrm>
                  <a:off x="9776795" y="5732717"/>
                  <a:ext cx="8409" cy="51691"/>
                </a:xfrm>
                <a:custGeom>
                  <a:avLst/>
                  <a:gdLst>
                    <a:gd name="connsiteX0" fmla="*/ 7832 w 8409"/>
                    <a:gd name="connsiteY0" fmla="*/ 0 h 51691"/>
                    <a:gd name="connsiteX1" fmla="*/ 6960 w 8409"/>
                    <a:gd name="connsiteY1" fmla="*/ 18808 h 51691"/>
                    <a:gd name="connsiteX2" fmla="*/ 982 w 8409"/>
                    <a:gd name="connsiteY2" fmla="*/ 35250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2" y="14573"/>
                        <a:pt x="6960" y="18808"/>
                      </a:cubicBezTo>
                      <a:cubicBezTo>
                        <a:pt x="5092" y="25534"/>
                        <a:pt x="2601" y="28274"/>
                        <a:pt x="982" y="35250"/>
                      </a:cubicBezTo>
                      <a:cubicBezTo>
                        <a:pt x="-513" y="41976"/>
                        <a:pt x="-15" y="47830"/>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0" name="Freeform 5376">
                  <a:extLst>
                    <a:ext uri="{FF2B5EF4-FFF2-40B4-BE49-F238E27FC236}">
                      <a16:creationId xmlns:a16="http://schemas.microsoft.com/office/drawing/2014/main" id="{5CF6E00C-CB96-EADB-580A-3CA796F4EAAA}"/>
                    </a:ext>
                  </a:extLst>
                </p:cNvPr>
                <p:cNvSpPr/>
                <p:nvPr/>
              </p:nvSpPr>
              <p:spPr>
                <a:xfrm>
                  <a:off x="9767281" y="5773694"/>
                  <a:ext cx="26226" cy="26413"/>
                </a:xfrm>
                <a:custGeom>
                  <a:avLst/>
                  <a:gdLst>
                    <a:gd name="connsiteX0" fmla="*/ 158 w 26226"/>
                    <a:gd name="connsiteY0" fmla="*/ 11337 h 26413"/>
                    <a:gd name="connsiteX1" fmla="*/ 15105 w 26226"/>
                    <a:gd name="connsiteY1" fmla="*/ 127 h 26413"/>
                    <a:gd name="connsiteX2" fmla="*/ 26066 w 26226"/>
                    <a:gd name="connsiteY2" fmla="*/ 15198 h 26413"/>
                    <a:gd name="connsiteX3" fmla="*/ 11119 w 26226"/>
                    <a:gd name="connsiteY3" fmla="*/ 26284 h 26413"/>
                    <a:gd name="connsiteX4" fmla="*/ 158 w 26226"/>
                    <a:gd name="connsiteY4" fmla="*/ 11337 h 2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6" h="26413">
                      <a:moveTo>
                        <a:pt x="158" y="11337"/>
                      </a:moveTo>
                      <a:cubicBezTo>
                        <a:pt x="1279" y="4113"/>
                        <a:pt x="8005" y="-870"/>
                        <a:pt x="15105" y="127"/>
                      </a:cubicBezTo>
                      <a:cubicBezTo>
                        <a:pt x="22329" y="1123"/>
                        <a:pt x="27187" y="7974"/>
                        <a:pt x="26066" y="15198"/>
                      </a:cubicBezTo>
                      <a:cubicBezTo>
                        <a:pt x="24944" y="22423"/>
                        <a:pt x="18219" y="27280"/>
                        <a:pt x="11119" y="26284"/>
                      </a:cubicBezTo>
                      <a:cubicBezTo>
                        <a:pt x="4019" y="25287"/>
                        <a:pt x="-963"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0" name="Graphic 2987">
                <a:extLst>
                  <a:ext uri="{FF2B5EF4-FFF2-40B4-BE49-F238E27FC236}">
                    <a16:creationId xmlns:a16="http://schemas.microsoft.com/office/drawing/2014/main" id="{DE3629C8-68E0-27E7-7663-7E405115B156}"/>
                  </a:ext>
                </a:extLst>
              </p:cNvPr>
              <p:cNvGrpSpPr/>
              <p:nvPr/>
            </p:nvGrpSpPr>
            <p:grpSpPr>
              <a:xfrm>
                <a:off x="9796300" y="5657323"/>
                <a:ext cx="45408" cy="147454"/>
                <a:chOff x="9796300" y="5657323"/>
                <a:chExt cx="45408" cy="147454"/>
              </a:xfrm>
              <a:grpFill/>
            </p:grpSpPr>
            <p:sp>
              <p:nvSpPr>
                <p:cNvPr id="4199" name="Freeform 5378">
                  <a:extLst>
                    <a:ext uri="{FF2B5EF4-FFF2-40B4-BE49-F238E27FC236}">
                      <a16:creationId xmlns:a16="http://schemas.microsoft.com/office/drawing/2014/main" id="{0A8F729E-F423-CA80-0A71-4DAED9AD373A}"/>
                    </a:ext>
                  </a:extLst>
                </p:cNvPr>
                <p:cNvSpPr/>
                <p:nvPr/>
              </p:nvSpPr>
              <p:spPr>
                <a:xfrm>
                  <a:off x="9815020" y="5677039"/>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3" y="7598"/>
                        <a:pt x="4111" y="13826"/>
                        <a:pt x="3861" y="18185"/>
                      </a:cubicBezTo>
                      <a:cubicBezTo>
                        <a:pt x="3613" y="25161"/>
                        <a:pt x="5231" y="28523"/>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0" name="Freeform 5379">
                  <a:extLst>
                    <a:ext uri="{FF2B5EF4-FFF2-40B4-BE49-F238E27FC236}">
                      <a16:creationId xmlns:a16="http://schemas.microsoft.com/office/drawing/2014/main" id="{05F58CF1-D3F8-CBDC-9D57-187D28333CEE}"/>
                    </a:ext>
                  </a:extLst>
                </p:cNvPr>
                <p:cNvSpPr/>
                <p:nvPr/>
              </p:nvSpPr>
              <p:spPr>
                <a:xfrm>
                  <a:off x="9823416" y="5673053"/>
                  <a:ext cx="8622" cy="51691"/>
                </a:xfrm>
                <a:custGeom>
                  <a:avLst/>
                  <a:gdLst>
                    <a:gd name="connsiteX0" fmla="*/ 573 w 8622"/>
                    <a:gd name="connsiteY0" fmla="*/ 51691 h 51691"/>
                    <a:gd name="connsiteX1" fmla="*/ 1569 w 8622"/>
                    <a:gd name="connsiteY1" fmla="*/ 32883 h 51691"/>
                    <a:gd name="connsiteX2" fmla="*/ 7548 w 8622"/>
                    <a:gd name="connsiteY2" fmla="*/ 16566 h 51691"/>
                    <a:gd name="connsiteX3" fmla="*/ 7921 w 8622"/>
                    <a:gd name="connsiteY3" fmla="*/ 0 h 51691"/>
                  </a:gdLst>
                  <a:ahLst/>
                  <a:cxnLst>
                    <a:cxn ang="0">
                      <a:pos x="connsiteX0" y="connsiteY0"/>
                    </a:cxn>
                    <a:cxn ang="0">
                      <a:pos x="connsiteX1" y="connsiteY1"/>
                    </a:cxn>
                    <a:cxn ang="0">
                      <a:pos x="connsiteX2" y="connsiteY2"/>
                    </a:cxn>
                    <a:cxn ang="0">
                      <a:pos x="connsiteX3" y="connsiteY3"/>
                    </a:cxn>
                  </a:cxnLst>
                  <a:rect l="l" t="t" r="r" b="b"/>
                  <a:pathLst>
                    <a:path w="8622" h="51690">
                      <a:moveTo>
                        <a:pt x="573" y="51691"/>
                      </a:moveTo>
                      <a:cubicBezTo>
                        <a:pt x="-673" y="43346"/>
                        <a:pt x="323" y="37118"/>
                        <a:pt x="1569" y="32883"/>
                      </a:cubicBezTo>
                      <a:cubicBezTo>
                        <a:pt x="3437" y="26157"/>
                        <a:pt x="6053" y="23417"/>
                        <a:pt x="7548" y="16566"/>
                      </a:cubicBezTo>
                      <a:cubicBezTo>
                        <a:pt x="9167" y="9840"/>
                        <a:pt x="8668" y="3986"/>
                        <a:pt x="79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1" name="Freeform 5380">
                  <a:extLst>
                    <a:ext uri="{FF2B5EF4-FFF2-40B4-BE49-F238E27FC236}">
                      <a16:creationId xmlns:a16="http://schemas.microsoft.com/office/drawing/2014/main" id="{7F681D04-0520-60A9-8D74-2CAA7990C989}"/>
                    </a:ext>
                  </a:extLst>
                </p:cNvPr>
                <p:cNvSpPr/>
                <p:nvPr/>
              </p:nvSpPr>
              <p:spPr>
                <a:xfrm>
                  <a:off x="9815111" y="5657323"/>
                  <a:ext cx="26596" cy="26478"/>
                </a:xfrm>
                <a:custGeom>
                  <a:avLst/>
                  <a:gdLst>
                    <a:gd name="connsiteX0" fmla="*/ 26439 w 26596"/>
                    <a:gd name="connsiteY0" fmla="*/ 15357 h 26478"/>
                    <a:gd name="connsiteX1" fmla="*/ 11243 w 26596"/>
                    <a:gd name="connsiteY1" fmla="*/ 26318 h 26478"/>
                    <a:gd name="connsiteX2" fmla="*/ 158 w 26596"/>
                    <a:gd name="connsiteY2" fmla="*/ 11122 h 26478"/>
                    <a:gd name="connsiteX3" fmla="*/ 15353 w 26596"/>
                    <a:gd name="connsiteY3" fmla="*/ 161 h 26478"/>
                    <a:gd name="connsiteX4" fmla="*/ 26439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26439" y="15357"/>
                      </a:moveTo>
                      <a:cubicBezTo>
                        <a:pt x="25319" y="22581"/>
                        <a:pt x="18467" y="27439"/>
                        <a:pt x="11243" y="26318"/>
                      </a:cubicBezTo>
                      <a:cubicBezTo>
                        <a:pt x="4019" y="25197"/>
                        <a:pt x="-964" y="18346"/>
                        <a:pt x="158" y="11122"/>
                      </a:cubicBezTo>
                      <a:cubicBezTo>
                        <a:pt x="1278" y="3897"/>
                        <a:pt x="8130" y="-960"/>
                        <a:pt x="15353" y="161"/>
                      </a:cubicBezTo>
                      <a:cubicBezTo>
                        <a:pt x="22578" y="1282"/>
                        <a:pt x="27560" y="8133"/>
                        <a:pt x="26439"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2" name="Freeform 5381">
                  <a:extLst>
                    <a:ext uri="{FF2B5EF4-FFF2-40B4-BE49-F238E27FC236}">
                      <a16:creationId xmlns:a16="http://schemas.microsoft.com/office/drawing/2014/main" id="{33B943A2-0B40-CA9C-7EBD-E7CB714942F9}"/>
                    </a:ext>
                  </a:extLst>
                </p:cNvPr>
                <p:cNvSpPr/>
                <p:nvPr/>
              </p:nvSpPr>
              <p:spPr>
                <a:xfrm>
                  <a:off x="9814023" y="5733588"/>
                  <a:ext cx="8719" cy="51442"/>
                </a:xfrm>
                <a:custGeom>
                  <a:avLst/>
                  <a:gdLst>
                    <a:gd name="connsiteX0" fmla="*/ 0 w 8719"/>
                    <a:gd name="connsiteY0" fmla="*/ 51442 h 51442"/>
                    <a:gd name="connsiteX1" fmla="*/ 4858 w 8719"/>
                    <a:gd name="connsiteY1" fmla="*/ 33257 h 51442"/>
                    <a:gd name="connsiteX2" fmla="*/ 4111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5"/>
                        <a:pt x="4609" y="37617"/>
                        <a:pt x="4858" y="33257"/>
                      </a:cubicBezTo>
                      <a:cubicBezTo>
                        <a:pt x="5232" y="26282"/>
                        <a:pt x="3613" y="22919"/>
                        <a:pt x="4111"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3" name="Freeform 5382">
                  <a:extLst>
                    <a:ext uri="{FF2B5EF4-FFF2-40B4-BE49-F238E27FC236}">
                      <a16:creationId xmlns:a16="http://schemas.microsoft.com/office/drawing/2014/main" id="{518FD262-DB57-CE6C-9725-BD30E3193917}"/>
                    </a:ext>
                  </a:extLst>
                </p:cNvPr>
                <p:cNvSpPr/>
                <p:nvPr/>
              </p:nvSpPr>
              <p:spPr>
                <a:xfrm>
                  <a:off x="9805818" y="5737325"/>
                  <a:ext cx="8529" cy="51691"/>
                </a:xfrm>
                <a:custGeom>
                  <a:avLst/>
                  <a:gdLst>
                    <a:gd name="connsiteX0" fmla="*/ 7957 w 8529"/>
                    <a:gd name="connsiteY0" fmla="*/ 0 h 51691"/>
                    <a:gd name="connsiteX1" fmla="*/ 6960 w 8529"/>
                    <a:gd name="connsiteY1" fmla="*/ 18808 h 51691"/>
                    <a:gd name="connsiteX2" fmla="*/ 982 w 8529"/>
                    <a:gd name="connsiteY2" fmla="*/ 35125 h 51691"/>
                    <a:gd name="connsiteX3" fmla="*/ 608 w 852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529" h="51690">
                      <a:moveTo>
                        <a:pt x="7957" y="0"/>
                      </a:moveTo>
                      <a:cubicBezTo>
                        <a:pt x="9202" y="8345"/>
                        <a:pt x="8205" y="14573"/>
                        <a:pt x="6960" y="18808"/>
                      </a:cubicBezTo>
                      <a:cubicBezTo>
                        <a:pt x="5092" y="25534"/>
                        <a:pt x="2601" y="28274"/>
                        <a:pt x="982" y="35125"/>
                      </a:cubicBezTo>
                      <a:cubicBezTo>
                        <a:pt x="-513" y="41851"/>
                        <a:pt x="-15" y="47705"/>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4" name="Freeform 5383">
                  <a:extLst>
                    <a:ext uri="{FF2B5EF4-FFF2-40B4-BE49-F238E27FC236}">
                      <a16:creationId xmlns:a16="http://schemas.microsoft.com/office/drawing/2014/main" id="{1E3AF0F6-F9BA-1571-D268-2539EFEC28E1}"/>
                    </a:ext>
                  </a:extLst>
                </p:cNvPr>
                <p:cNvSpPr/>
                <p:nvPr/>
              </p:nvSpPr>
              <p:spPr>
                <a:xfrm>
                  <a:off x="9796300" y="5778238"/>
                  <a:ext cx="26354" cy="26539"/>
                </a:xfrm>
                <a:custGeom>
                  <a:avLst/>
                  <a:gdLst>
                    <a:gd name="connsiteX0" fmla="*/ 161 w 26354"/>
                    <a:gd name="connsiteY0" fmla="*/ 11152 h 26539"/>
                    <a:gd name="connsiteX1" fmla="*/ 15233 w 26354"/>
                    <a:gd name="connsiteY1" fmla="*/ 191 h 26539"/>
                    <a:gd name="connsiteX2" fmla="*/ 26194 w 26354"/>
                    <a:gd name="connsiteY2" fmla="*/ 15387 h 26539"/>
                    <a:gd name="connsiteX3" fmla="*/ 11122 w 26354"/>
                    <a:gd name="connsiteY3" fmla="*/ 26348 h 26539"/>
                    <a:gd name="connsiteX4" fmla="*/ 161 w 26354"/>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161" y="11152"/>
                      </a:moveTo>
                      <a:cubicBezTo>
                        <a:pt x="1282" y="3928"/>
                        <a:pt x="8008" y="-1055"/>
                        <a:pt x="15233" y="191"/>
                      </a:cubicBezTo>
                      <a:cubicBezTo>
                        <a:pt x="22456" y="1312"/>
                        <a:pt x="27314" y="8163"/>
                        <a:pt x="26194" y="15387"/>
                      </a:cubicBezTo>
                      <a:cubicBezTo>
                        <a:pt x="25072" y="22612"/>
                        <a:pt x="18347" y="27594"/>
                        <a:pt x="11122" y="26348"/>
                      </a:cubicBezTo>
                      <a:cubicBezTo>
                        <a:pt x="3897" y="25227"/>
                        <a:pt x="-961" y="18377"/>
                        <a:pt x="16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1" name="Graphic 2987">
                <a:extLst>
                  <a:ext uri="{FF2B5EF4-FFF2-40B4-BE49-F238E27FC236}">
                    <a16:creationId xmlns:a16="http://schemas.microsoft.com/office/drawing/2014/main" id="{3C1CD5A9-4119-329F-0FD1-7BDF4E7A4022}"/>
                  </a:ext>
                </a:extLst>
              </p:cNvPr>
              <p:cNvGrpSpPr/>
              <p:nvPr/>
            </p:nvGrpSpPr>
            <p:grpSpPr>
              <a:xfrm>
                <a:off x="9825292" y="5662181"/>
                <a:ext cx="45845" cy="147299"/>
                <a:chOff x="9825292" y="5662181"/>
                <a:chExt cx="45845" cy="147299"/>
              </a:xfrm>
              <a:grpFill/>
            </p:grpSpPr>
            <p:sp>
              <p:nvSpPr>
                <p:cNvPr id="4193" name="Freeform 5385">
                  <a:extLst>
                    <a:ext uri="{FF2B5EF4-FFF2-40B4-BE49-F238E27FC236}">
                      <a16:creationId xmlns:a16="http://schemas.microsoft.com/office/drawing/2014/main" id="{0EAC1784-E68E-33CE-9ED7-2F8C59FC6866}"/>
                    </a:ext>
                  </a:extLst>
                </p:cNvPr>
                <p:cNvSpPr/>
                <p:nvPr/>
              </p:nvSpPr>
              <p:spPr>
                <a:xfrm>
                  <a:off x="9844167" y="5681773"/>
                  <a:ext cx="8967" cy="51442"/>
                </a:xfrm>
                <a:custGeom>
                  <a:avLst/>
                  <a:gdLst>
                    <a:gd name="connsiteX0" fmla="*/ 8968 w 8967"/>
                    <a:gd name="connsiteY0" fmla="*/ 0 h 51442"/>
                    <a:gd name="connsiteX1" fmla="*/ 4110 w 8967"/>
                    <a:gd name="connsiteY1" fmla="*/ 18185 h 51442"/>
                    <a:gd name="connsiteX2" fmla="*/ 4733 w 8967"/>
                    <a:gd name="connsiteY2" fmla="*/ 35623 h 51442"/>
                    <a:gd name="connsiteX3" fmla="*/ 0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8968" y="0"/>
                      </a:moveTo>
                      <a:cubicBezTo>
                        <a:pt x="5231" y="7598"/>
                        <a:pt x="4235" y="13826"/>
                        <a:pt x="4110" y="18185"/>
                      </a:cubicBezTo>
                      <a:cubicBezTo>
                        <a:pt x="3737" y="25161"/>
                        <a:pt x="5356" y="28523"/>
                        <a:pt x="4733" y="35623"/>
                      </a:cubicBezTo>
                      <a:cubicBezTo>
                        <a:pt x="4110" y="42474"/>
                        <a:pt x="1868"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4" name="Freeform 5386">
                  <a:extLst>
                    <a:ext uri="{FF2B5EF4-FFF2-40B4-BE49-F238E27FC236}">
                      <a16:creationId xmlns:a16="http://schemas.microsoft.com/office/drawing/2014/main" id="{A5D61A46-74A7-6AFD-87CF-39FA2114F9C1}"/>
                    </a:ext>
                  </a:extLst>
                </p:cNvPr>
                <p:cNvSpPr/>
                <p:nvPr/>
              </p:nvSpPr>
              <p:spPr>
                <a:xfrm>
                  <a:off x="9852767" y="5677911"/>
                  <a:ext cx="8681" cy="51566"/>
                </a:xfrm>
                <a:custGeom>
                  <a:avLst/>
                  <a:gdLst>
                    <a:gd name="connsiteX0" fmla="*/ 492 w 8681"/>
                    <a:gd name="connsiteY0" fmla="*/ 51567 h 51566"/>
                    <a:gd name="connsiteX1" fmla="*/ 1488 w 8681"/>
                    <a:gd name="connsiteY1" fmla="*/ 32758 h 51566"/>
                    <a:gd name="connsiteX2" fmla="*/ 7591 w 8681"/>
                    <a:gd name="connsiteY2" fmla="*/ 16441 h 51566"/>
                    <a:gd name="connsiteX3" fmla="*/ 8089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2" y="51567"/>
                      </a:moveTo>
                      <a:cubicBezTo>
                        <a:pt x="-630" y="43221"/>
                        <a:pt x="367" y="36993"/>
                        <a:pt x="1488" y="32758"/>
                      </a:cubicBezTo>
                      <a:cubicBezTo>
                        <a:pt x="3356" y="26033"/>
                        <a:pt x="5972" y="23292"/>
                        <a:pt x="7591" y="16441"/>
                      </a:cubicBezTo>
                      <a:cubicBezTo>
                        <a:pt x="9211" y="9715"/>
                        <a:pt x="8712" y="3861"/>
                        <a:pt x="80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5" name="Freeform 5387">
                  <a:extLst>
                    <a:ext uri="{FF2B5EF4-FFF2-40B4-BE49-F238E27FC236}">
                      <a16:creationId xmlns:a16="http://schemas.microsoft.com/office/drawing/2014/main" id="{B00DBFB1-E4CB-98FE-F744-E4F2AB0DC483}"/>
                    </a:ext>
                  </a:extLst>
                </p:cNvPr>
                <p:cNvSpPr/>
                <p:nvPr/>
              </p:nvSpPr>
              <p:spPr>
                <a:xfrm>
                  <a:off x="9844382" y="5662181"/>
                  <a:ext cx="26754" cy="26478"/>
                </a:xfrm>
                <a:custGeom>
                  <a:avLst/>
                  <a:gdLst>
                    <a:gd name="connsiteX0" fmla="*/ 26564 w 26754"/>
                    <a:gd name="connsiteY0" fmla="*/ 15357 h 26478"/>
                    <a:gd name="connsiteX1" fmla="*/ 11243 w 26754"/>
                    <a:gd name="connsiteY1" fmla="*/ 26318 h 26478"/>
                    <a:gd name="connsiteX2" fmla="*/ 157 w 26754"/>
                    <a:gd name="connsiteY2" fmla="*/ 11122 h 26478"/>
                    <a:gd name="connsiteX3" fmla="*/ 15479 w 26754"/>
                    <a:gd name="connsiteY3" fmla="*/ 161 h 26478"/>
                    <a:gd name="connsiteX4" fmla="*/ 26564 w 26754"/>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26564" y="15357"/>
                      </a:moveTo>
                      <a:cubicBezTo>
                        <a:pt x="25443" y="22581"/>
                        <a:pt x="18593" y="27439"/>
                        <a:pt x="11243" y="26318"/>
                      </a:cubicBezTo>
                      <a:cubicBezTo>
                        <a:pt x="4019" y="25197"/>
                        <a:pt x="-963" y="18346"/>
                        <a:pt x="157" y="11122"/>
                      </a:cubicBezTo>
                      <a:cubicBezTo>
                        <a:pt x="1279" y="3897"/>
                        <a:pt x="8129" y="-961"/>
                        <a:pt x="15479" y="161"/>
                      </a:cubicBezTo>
                      <a:cubicBezTo>
                        <a:pt x="22827" y="1282"/>
                        <a:pt x="27810" y="8132"/>
                        <a:pt x="26564"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6" name="Freeform 5388">
                  <a:extLst>
                    <a:ext uri="{FF2B5EF4-FFF2-40B4-BE49-F238E27FC236}">
                      <a16:creationId xmlns:a16="http://schemas.microsoft.com/office/drawing/2014/main" id="{3A1B60A5-0FA0-E861-A8DE-C65E5D34B824}"/>
                    </a:ext>
                  </a:extLst>
                </p:cNvPr>
                <p:cNvSpPr/>
                <p:nvPr/>
              </p:nvSpPr>
              <p:spPr>
                <a:xfrm>
                  <a:off x="9843045" y="5738321"/>
                  <a:ext cx="8968" cy="51442"/>
                </a:xfrm>
                <a:custGeom>
                  <a:avLst/>
                  <a:gdLst>
                    <a:gd name="connsiteX0" fmla="*/ 0 w 8968"/>
                    <a:gd name="connsiteY0" fmla="*/ 51442 h 51442"/>
                    <a:gd name="connsiteX1" fmla="*/ 4858 w 8968"/>
                    <a:gd name="connsiteY1" fmla="*/ 33257 h 51442"/>
                    <a:gd name="connsiteX2" fmla="*/ 4235 w 8968"/>
                    <a:gd name="connsiteY2" fmla="*/ 15819 h 51442"/>
                    <a:gd name="connsiteX3" fmla="*/ 8969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0" y="51442"/>
                      </a:moveTo>
                      <a:cubicBezTo>
                        <a:pt x="3737" y="43845"/>
                        <a:pt x="4733" y="37617"/>
                        <a:pt x="4858" y="33257"/>
                      </a:cubicBezTo>
                      <a:cubicBezTo>
                        <a:pt x="5231" y="26282"/>
                        <a:pt x="3613" y="22919"/>
                        <a:pt x="4235" y="15819"/>
                      </a:cubicBezTo>
                      <a:cubicBezTo>
                        <a:pt x="4858" y="8968"/>
                        <a:pt x="7100" y="3488"/>
                        <a:pt x="89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7" name="Freeform 5389">
                  <a:extLst>
                    <a:ext uri="{FF2B5EF4-FFF2-40B4-BE49-F238E27FC236}">
                      <a16:creationId xmlns:a16="http://schemas.microsoft.com/office/drawing/2014/main" id="{2F575A80-3BC3-9FBB-19CF-85154CF60598}"/>
                    </a:ext>
                  </a:extLst>
                </p:cNvPr>
                <p:cNvSpPr/>
                <p:nvPr/>
              </p:nvSpPr>
              <p:spPr>
                <a:xfrm>
                  <a:off x="9834731" y="5742058"/>
                  <a:ext cx="8680" cy="51566"/>
                </a:xfrm>
                <a:custGeom>
                  <a:avLst/>
                  <a:gdLst>
                    <a:gd name="connsiteX0" fmla="*/ 8189 w 8680"/>
                    <a:gd name="connsiteY0" fmla="*/ 0 h 51566"/>
                    <a:gd name="connsiteX1" fmla="*/ 7193 w 8680"/>
                    <a:gd name="connsiteY1" fmla="*/ 18808 h 51566"/>
                    <a:gd name="connsiteX2" fmla="*/ 1089 w 8680"/>
                    <a:gd name="connsiteY2" fmla="*/ 35125 h 51566"/>
                    <a:gd name="connsiteX3" fmla="*/ 591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8189" y="0"/>
                      </a:moveTo>
                      <a:cubicBezTo>
                        <a:pt x="9311" y="8345"/>
                        <a:pt x="8314" y="14573"/>
                        <a:pt x="7193" y="18808"/>
                      </a:cubicBezTo>
                      <a:cubicBezTo>
                        <a:pt x="5325" y="25534"/>
                        <a:pt x="2709" y="28274"/>
                        <a:pt x="1089" y="35125"/>
                      </a:cubicBezTo>
                      <a:cubicBezTo>
                        <a:pt x="-529" y="41851"/>
                        <a:pt x="-31" y="47705"/>
                        <a:pt x="59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8" name="Freeform 5390">
                  <a:extLst>
                    <a:ext uri="{FF2B5EF4-FFF2-40B4-BE49-F238E27FC236}">
                      <a16:creationId xmlns:a16="http://schemas.microsoft.com/office/drawing/2014/main" id="{9789DFBF-68E8-8ED9-9135-B10CF38DFA6A}"/>
                    </a:ext>
                  </a:extLst>
                </p:cNvPr>
                <p:cNvSpPr/>
                <p:nvPr/>
              </p:nvSpPr>
              <p:spPr>
                <a:xfrm>
                  <a:off x="9825292" y="5782971"/>
                  <a:ext cx="26293" cy="26508"/>
                </a:xfrm>
                <a:custGeom>
                  <a:avLst/>
                  <a:gdLst>
                    <a:gd name="connsiteX0" fmla="*/ 191 w 26293"/>
                    <a:gd name="connsiteY0" fmla="*/ 11152 h 26508"/>
                    <a:gd name="connsiteX1" fmla="*/ 15262 w 26293"/>
                    <a:gd name="connsiteY1" fmla="*/ 191 h 26508"/>
                    <a:gd name="connsiteX2" fmla="*/ 26099 w 26293"/>
                    <a:gd name="connsiteY2" fmla="*/ 15387 h 26508"/>
                    <a:gd name="connsiteX3" fmla="*/ 11028 w 26293"/>
                    <a:gd name="connsiteY3" fmla="*/ 26348 h 26508"/>
                    <a:gd name="connsiteX4" fmla="*/ 191 w 2629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08">
                      <a:moveTo>
                        <a:pt x="191" y="11152"/>
                      </a:moveTo>
                      <a:cubicBezTo>
                        <a:pt x="1312" y="3928"/>
                        <a:pt x="8038" y="-1055"/>
                        <a:pt x="15262" y="191"/>
                      </a:cubicBezTo>
                      <a:cubicBezTo>
                        <a:pt x="22487" y="1437"/>
                        <a:pt x="27345" y="8163"/>
                        <a:pt x="26099" y="15387"/>
                      </a:cubicBezTo>
                      <a:cubicBezTo>
                        <a:pt x="24978" y="22612"/>
                        <a:pt x="18128" y="27469"/>
                        <a:pt x="11028" y="26348"/>
                      </a:cubicBezTo>
                      <a:cubicBezTo>
                        <a:pt x="3928" y="25227"/>
                        <a:pt x="-1055" y="18376"/>
                        <a:pt x="19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2" name="Graphic 2987">
                <a:extLst>
                  <a:ext uri="{FF2B5EF4-FFF2-40B4-BE49-F238E27FC236}">
                    <a16:creationId xmlns:a16="http://schemas.microsoft.com/office/drawing/2014/main" id="{F4F1118F-E621-963A-D651-F32A067B6C87}"/>
                  </a:ext>
                </a:extLst>
              </p:cNvPr>
              <p:cNvGrpSpPr/>
              <p:nvPr/>
            </p:nvGrpSpPr>
            <p:grpSpPr>
              <a:xfrm>
                <a:off x="9854219" y="5666914"/>
                <a:ext cx="46407" cy="147299"/>
                <a:chOff x="9854219" y="5666914"/>
                <a:chExt cx="46407" cy="147299"/>
              </a:xfrm>
              <a:grpFill/>
            </p:grpSpPr>
            <p:sp>
              <p:nvSpPr>
                <p:cNvPr id="4187" name="Freeform 5392">
                  <a:extLst>
                    <a:ext uri="{FF2B5EF4-FFF2-40B4-BE49-F238E27FC236}">
                      <a16:creationId xmlns:a16="http://schemas.microsoft.com/office/drawing/2014/main" id="{60F37888-D04A-FAE5-496F-C3C0E2D40E59}"/>
                    </a:ext>
                  </a:extLst>
                </p:cNvPr>
                <p:cNvSpPr/>
                <p:nvPr/>
              </p:nvSpPr>
              <p:spPr>
                <a:xfrm>
                  <a:off x="9873437" y="5686505"/>
                  <a:ext cx="9092" cy="51442"/>
                </a:xfrm>
                <a:custGeom>
                  <a:avLst/>
                  <a:gdLst>
                    <a:gd name="connsiteX0" fmla="*/ 9092 w 9092"/>
                    <a:gd name="connsiteY0" fmla="*/ 0 h 51442"/>
                    <a:gd name="connsiteX1" fmla="*/ 4111 w 9092"/>
                    <a:gd name="connsiteY1" fmla="*/ 18186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474"/>
                        <a:pt x="4360" y="13826"/>
                        <a:pt x="4111" y="18186"/>
                      </a:cubicBezTo>
                      <a:cubicBezTo>
                        <a:pt x="3737" y="25161"/>
                        <a:pt x="5356" y="28524"/>
                        <a:pt x="4733" y="35624"/>
                      </a:cubicBezTo>
                      <a:cubicBezTo>
                        <a:pt x="4111"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8" name="Freeform 5393">
                  <a:extLst>
                    <a:ext uri="{FF2B5EF4-FFF2-40B4-BE49-F238E27FC236}">
                      <a16:creationId xmlns:a16="http://schemas.microsoft.com/office/drawing/2014/main" id="{AADB4D53-6B50-35EF-C10A-8733256C0C97}"/>
                    </a:ext>
                  </a:extLst>
                </p:cNvPr>
                <p:cNvSpPr/>
                <p:nvPr/>
              </p:nvSpPr>
              <p:spPr>
                <a:xfrm>
                  <a:off x="9882042" y="5682769"/>
                  <a:ext cx="8926" cy="51567"/>
                </a:xfrm>
                <a:custGeom>
                  <a:avLst/>
                  <a:gdLst>
                    <a:gd name="connsiteX0" fmla="*/ 487 w 8926"/>
                    <a:gd name="connsiteY0" fmla="*/ 51567 h 51567"/>
                    <a:gd name="connsiteX1" fmla="*/ 1609 w 8926"/>
                    <a:gd name="connsiteY1" fmla="*/ 32759 h 51567"/>
                    <a:gd name="connsiteX2" fmla="*/ 7837 w 8926"/>
                    <a:gd name="connsiteY2" fmla="*/ 16442 h 51567"/>
                    <a:gd name="connsiteX3" fmla="*/ 8335 w 8926"/>
                    <a:gd name="connsiteY3" fmla="*/ 0 h 51567"/>
                  </a:gdLst>
                  <a:ahLst/>
                  <a:cxnLst>
                    <a:cxn ang="0">
                      <a:pos x="connsiteX0" y="connsiteY0"/>
                    </a:cxn>
                    <a:cxn ang="0">
                      <a:pos x="connsiteX1" y="connsiteY1"/>
                    </a:cxn>
                    <a:cxn ang="0">
                      <a:pos x="connsiteX2" y="connsiteY2"/>
                    </a:cxn>
                    <a:cxn ang="0">
                      <a:pos x="connsiteX3" y="connsiteY3"/>
                    </a:cxn>
                  </a:cxnLst>
                  <a:rect l="l" t="t" r="r" b="b"/>
                  <a:pathLst>
                    <a:path w="8926" h="51567">
                      <a:moveTo>
                        <a:pt x="487" y="51567"/>
                      </a:moveTo>
                      <a:cubicBezTo>
                        <a:pt x="-633" y="43222"/>
                        <a:pt x="364" y="36994"/>
                        <a:pt x="1609" y="32759"/>
                      </a:cubicBezTo>
                      <a:cubicBezTo>
                        <a:pt x="3478" y="26033"/>
                        <a:pt x="6093" y="23417"/>
                        <a:pt x="7837" y="16442"/>
                      </a:cubicBezTo>
                      <a:cubicBezTo>
                        <a:pt x="9456" y="9715"/>
                        <a:pt x="8958" y="3861"/>
                        <a:pt x="8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9" name="Freeform 5394">
                  <a:extLst>
                    <a:ext uri="{FF2B5EF4-FFF2-40B4-BE49-F238E27FC236}">
                      <a16:creationId xmlns:a16="http://schemas.microsoft.com/office/drawing/2014/main" id="{07BD81D8-8170-0D6D-F258-370C89BFD21E}"/>
                    </a:ext>
                  </a:extLst>
                </p:cNvPr>
                <p:cNvSpPr/>
                <p:nvPr/>
              </p:nvSpPr>
              <p:spPr>
                <a:xfrm>
                  <a:off x="9873994" y="5666914"/>
                  <a:ext cx="26633" cy="26478"/>
                </a:xfrm>
                <a:custGeom>
                  <a:avLst/>
                  <a:gdLst>
                    <a:gd name="connsiteX0" fmla="*/ 26472 w 26633"/>
                    <a:gd name="connsiteY0" fmla="*/ 15357 h 26478"/>
                    <a:gd name="connsiteX1" fmla="*/ 11152 w 26633"/>
                    <a:gd name="connsiteY1" fmla="*/ 26318 h 26478"/>
                    <a:gd name="connsiteX2" fmla="*/ 191 w 26633"/>
                    <a:gd name="connsiteY2" fmla="*/ 11122 h 26478"/>
                    <a:gd name="connsiteX3" fmla="*/ 15511 w 26633"/>
                    <a:gd name="connsiteY3" fmla="*/ 161 h 26478"/>
                    <a:gd name="connsiteX4" fmla="*/ 26472 w 2663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26472" y="15357"/>
                      </a:moveTo>
                      <a:cubicBezTo>
                        <a:pt x="25227" y="22581"/>
                        <a:pt x="18377" y="27439"/>
                        <a:pt x="11152" y="26318"/>
                      </a:cubicBezTo>
                      <a:cubicBezTo>
                        <a:pt x="3928" y="25197"/>
                        <a:pt x="-1054" y="18346"/>
                        <a:pt x="191" y="11122"/>
                      </a:cubicBezTo>
                      <a:cubicBezTo>
                        <a:pt x="1312" y="3898"/>
                        <a:pt x="8288" y="-960"/>
                        <a:pt x="15511" y="161"/>
                      </a:cubicBezTo>
                      <a:cubicBezTo>
                        <a:pt x="22736" y="1282"/>
                        <a:pt x="27594" y="8133"/>
                        <a:pt x="26472"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0" name="Freeform 5395">
                  <a:extLst>
                    <a:ext uri="{FF2B5EF4-FFF2-40B4-BE49-F238E27FC236}">
                      <a16:creationId xmlns:a16="http://schemas.microsoft.com/office/drawing/2014/main" id="{56BCEC1B-9FBE-8520-2E5D-6A73233C1F8E}"/>
                    </a:ext>
                  </a:extLst>
                </p:cNvPr>
                <p:cNvSpPr/>
                <p:nvPr/>
              </p:nvSpPr>
              <p:spPr>
                <a:xfrm>
                  <a:off x="9872067" y="5743055"/>
                  <a:ext cx="9092" cy="51442"/>
                </a:xfrm>
                <a:custGeom>
                  <a:avLst/>
                  <a:gdLst>
                    <a:gd name="connsiteX0" fmla="*/ 0 w 9092"/>
                    <a:gd name="connsiteY0" fmla="*/ 51442 h 51442"/>
                    <a:gd name="connsiteX1" fmla="*/ 4982 w 9092"/>
                    <a:gd name="connsiteY1" fmla="*/ 33257 h 51442"/>
                    <a:gd name="connsiteX2" fmla="*/ 4359 w 9092"/>
                    <a:gd name="connsiteY2" fmla="*/ 15819 h 51442"/>
                    <a:gd name="connsiteX3" fmla="*/ 9092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5"/>
                        <a:pt x="4733" y="37617"/>
                        <a:pt x="4982" y="33257"/>
                      </a:cubicBezTo>
                      <a:cubicBezTo>
                        <a:pt x="5356" y="26282"/>
                        <a:pt x="3737" y="22919"/>
                        <a:pt x="4359" y="15819"/>
                      </a:cubicBezTo>
                      <a:cubicBezTo>
                        <a:pt x="4982" y="8968"/>
                        <a:pt x="7348" y="3488"/>
                        <a:pt x="90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1" name="Freeform 5396">
                  <a:extLst>
                    <a:ext uri="{FF2B5EF4-FFF2-40B4-BE49-F238E27FC236}">
                      <a16:creationId xmlns:a16="http://schemas.microsoft.com/office/drawing/2014/main" id="{71A51B51-1A35-5B39-C453-92EE6EDD46B2}"/>
                    </a:ext>
                  </a:extLst>
                </p:cNvPr>
                <p:cNvSpPr/>
                <p:nvPr/>
              </p:nvSpPr>
              <p:spPr>
                <a:xfrm>
                  <a:off x="9863878" y="5746792"/>
                  <a:ext cx="8802" cy="51566"/>
                </a:xfrm>
                <a:custGeom>
                  <a:avLst/>
                  <a:gdLst>
                    <a:gd name="connsiteX0" fmla="*/ 8315 w 8802"/>
                    <a:gd name="connsiteY0" fmla="*/ 0 h 51566"/>
                    <a:gd name="connsiteX1" fmla="*/ 7193 w 8802"/>
                    <a:gd name="connsiteY1" fmla="*/ 18808 h 51566"/>
                    <a:gd name="connsiteX2" fmla="*/ 1090 w 8802"/>
                    <a:gd name="connsiteY2" fmla="*/ 35125 h 51566"/>
                    <a:gd name="connsiteX3" fmla="*/ 592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8315" y="0"/>
                      </a:moveTo>
                      <a:cubicBezTo>
                        <a:pt x="9435" y="8345"/>
                        <a:pt x="8439" y="14573"/>
                        <a:pt x="7193" y="18808"/>
                      </a:cubicBezTo>
                      <a:cubicBezTo>
                        <a:pt x="5325" y="25534"/>
                        <a:pt x="2709" y="28150"/>
                        <a:pt x="1090" y="35125"/>
                      </a:cubicBezTo>
                      <a:cubicBezTo>
                        <a:pt x="-529" y="41851"/>
                        <a:pt x="-31" y="47705"/>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2" name="Freeform 5397">
                  <a:extLst>
                    <a:ext uri="{FF2B5EF4-FFF2-40B4-BE49-F238E27FC236}">
                      <a16:creationId xmlns:a16="http://schemas.microsoft.com/office/drawing/2014/main" id="{4F677133-87DC-03C3-1CB5-22E52B9E9D6E}"/>
                    </a:ext>
                  </a:extLst>
                </p:cNvPr>
                <p:cNvSpPr/>
                <p:nvPr/>
              </p:nvSpPr>
              <p:spPr>
                <a:xfrm>
                  <a:off x="9854219" y="5787735"/>
                  <a:ext cx="26232" cy="26478"/>
                </a:xfrm>
                <a:custGeom>
                  <a:avLst/>
                  <a:gdLst>
                    <a:gd name="connsiteX0" fmla="*/ 161 w 26232"/>
                    <a:gd name="connsiteY0" fmla="*/ 11122 h 26478"/>
                    <a:gd name="connsiteX1" fmla="*/ 15232 w 26232"/>
                    <a:gd name="connsiteY1" fmla="*/ 161 h 26478"/>
                    <a:gd name="connsiteX2" fmla="*/ 26068 w 26232"/>
                    <a:gd name="connsiteY2" fmla="*/ 15357 h 26478"/>
                    <a:gd name="connsiteX3" fmla="*/ 10997 w 26232"/>
                    <a:gd name="connsiteY3" fmla="*/ 26318 h 26478"/>
                    <a:gd name="connsiteX4" fmla="*/ 161 w 2623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477">
                      <a:moveTo>
                        <a:pt x="161" y="11122"/>
                      </a:moveTo>
                      <a:cubicBezTo>
                        <a:pt x="1282" y="3897"/>
                        <a:pt x="8132" y="-960"/>
                        <a:pt x="15232" y="161"/>
                      </a:cubicBezTo>
                      <a:cubicBezTo>
                        <a:pt x="22457" y="1282"/>
                        <a:pt x="27190" y="8132"/>
                        <a:pt x="26068" y="15357"/>
                      </a:cubicBezTo>
                      <a:cubicBezTo>
                        <a:pt x="24823" y="22581"/>
                        <a:pt x="18097" y="27439"/>
                        <a:pt x="10997" y="26318"/>
                      </a:cubicBezTo>
                      <a:cubicBezTo>
                        <a:pt x="3898" y="25072"/>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3" name="Graphic 2987">
                <a:extLst>
                  <a:ext uri="{FF2B5EF4-FFF2-40B4-BE49-F238E27FC236}">
                    <a16:creationId xmlns:a16="http://schemas.microsoft.com/office/drawing/2014/main" id="{DDDC0F0A-E941-47E6-F913-C1E9DBFA1118}"/>
                  </a:ext>
                </a:extLst>
              </p:cNvPr>
              <p:cNvGrpSpPr/>
              <p:nvPr/>
            </p:nvGrpSpPr>
            <p:grpSpPr>
              <a:xfrm>
                <a:off x="9883207" y="5671772"/>
                <a:ext cx="46849" cy="147175"/>
                <a:chOff x="9883207" y="5671772"/>
                <a:chExt cx="46849" cy="147175"/>
              </a:xfrm>
              <a:grpFill/>
            </p:grpSpPr>
            <p:sp>
              <p:nvSpPr>
                <p:cNvPr id="4181" name="Freeform 5399">
                  <a:extLst>
                    <a:ext uri="{FF2B5EF4-FFF2-40B4-BE49-F238E27FC236}">
                      <a16:creationId xmlns:a16="http://schemas.microsoft.com/office/drawing/2014/main" id="{FCBC2474-E6BF-CD17-7DBE-07E13250ECC7}"/>
                    </a:ext>
                  </a:extLst>
                </p:cNvPr>
                <p:cNvSpPr/>
                <p:nvPr/>
              </p:nvSpPr>
              <p:spPr>
                <a:xfrm>
                  <a:off x="9902460" y="5691363"/>
                  <a:ext cx="9466" cy="51317"/>
                </a:xfrm>
                <a:custGeom>
                  <a:avLst/>
                  <a:gdLst>
                    <a:gd name="connsiteX0" fmla="*/ 9467 w 9466"/>
                    <a:gd name="connsiteY0" fmla="*/ 0 h 51317"/>
                    <a:gd name="connsiteX1" fmla="*/ 4359 w 9466"/>
                    <a:gd name="connsiteY1" fmla="*/ 18061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29" y="7474"/>
                        <a:pt x="4609" y="13826"/>
                        <a:pt x="4359" y="18061"/>
                      </a:cubicBezTo>
                      <a:cubicBezTo>
                        <a:pt x="3986" y="25036"/>
                        <a:pt x="5605" y="28399"/>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2" name="Freeform 5400">
                  <a:extLst>
                    <a:ext uri="{FF2B5EF4-FFF2-40B4-BE49-F238E27FC236}">
                      <a16:creationId xmlns:a16="http://schemas.microsoft.com/office/drawing/2014/main" id="{06C87854-E5D7-E4B1-E5AB-E3C145FCAE4C}"/>
                    </a:ext>
                  </a:extLst>
                </p:cNvPr>
                <p:cNvSpPr/>
                <p:nvPr/>
              </p:nvSpPr>
              <p:spPr>
                <a:xfrm>
                  <a:off x="9911212" y="5687502"/>
                  <a:ext cx="8968" cy="51566"/>
                </a:xfrm>
                <a:custGeom>
                  <a:avLst/>
                  <a:gdLst>
                    <a:gd name="connsiteX0" fmla="*/ 464 w 8968"/>
                    <a:gd name="connsiteY0" fmla="*/ 51567 h 51566"/>
                    <a:gd name="connsiteX1" fmla="*/ 1586 w 8968"/>
                    <a:gd name="connsiteY1" fmla="*/ 32759 h 51566"/>
                    <a:gd name="connsiteX2" fmla="*/ 7814 w 8968"/>
                    <a:gd name="connsiteY2" fmla="*/ 16442 h 51566"/>
                    <a:gd name="connsiteX3" fmla="*/ 8436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464" y="51567"/>
                      </a:moveTo>
                      <a:cubicBezTo>
                        <a:pt x="-657" y="43222"/>
                        <a:pt x="464" y="36994"/>
                        <a:pt x="1586" y="32759"/>
                      </a:cubicBezTo>
                      <a:cubicBezTo>
                        <a:pt x="3454" y="26033"/>
                        <a:pt x="6070" y="23417"/>
                        <a:pt x="7814" y="16442"/>
                      </a:cubicBezTo>
                      <a:cubicBezTo>
                        <a:pt x="9432" y="9715"/>
                        <a:pt x="9059"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3" name="Freeform 5401">
                  <a:extLst>
                    <a:ext uri="{FF2B5EF4-FFF2-40B4-BE49-F238E27FC236}">
                      <a16:creationId xmlns:a16="http://schemas.microsoft.com/office/drawing/2014/main" id="{66315A51-A459-E9A3-6466-3CFE04E91FFF}"/>
                    </a:ext>
                  </a:extLst>
                </p:cNvPr>
                <p:cNvSpPr/>
                <p:nvPr/>
              </p:nvSpPr>
              <p:spPr>
                <a:xfrm>
                  <a:off x="9903389" y="5671772"/>
                  <a:ext cx="26667" cy="26478"/>
                </a:xfrm>
                <a:custGeom>
                  <a:avLst/>
                  <a:gdLst>
                    <a:gd name="connsiteX0" fmla="*/ 26473 w 26667"/>
                    <a:gd name="connsiteY0" fmla="*/ 15357 h 26478"/>
                    <a:gd name="connsiteX1" fmla="*/ 11152 w 26667"/>
                    <a:gd name="connsiteY1" fmla="*/ 26318 h 26478"/>
                    <a:gd name="connsiteX2" fmla="*/ 191 w 26667"/>
                    <a:gd name="connsiteY2" fmla="*/ 11122 h 26478"/>
                    <a:gd name="connsiteX3" fmla="*/ 15512 w 26667"/>
                    <a:gd name="connsiteY3" fmla="*/ 161 h 26478"/>
                    <a:gd name="connsiteX4" fmla="*/ 26473 w 26667"/>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77">
                      <a:moveTo>
                        <a:pt x="26473" y="15357"/>
                      </a:moveTo>
                      <a:cubicBezTo>
                        <a:pt x="25227" y="22581"/>
                        <a:pt x="18377" y="27439"/>
                        <a:pt x="11152" y="26318"/>
                      </a:cubicBezTo>
                      <a:cubicBezTo>
                        <a:pt x="3928" y="25197"/>
                        <a:pt x="-1054" y="18346"/>
                        <a:pt x="191" y="11122"/>
                      </a:cubicBezTo>
                      <a:cubicBezTo>
                        <a:pt x="1437" y="3897"/>
                        <a:pt x="8287" y="-960"/>
                        <a:pt x="15512" y="161"/>
                      </a:cubicBezTo>
                      <a:cubicBezTo>
                        <a:pt x="22861" y="1282"/>
                        <a:pt x="27718" y="8132"/>
                        <a:pt x="26473"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4" name="Freeform 5402">
                  <a:extLst>
                    <a:ext uri="{FF2B5EF4-FFF2-40B4-BE49-F238E27FC236}">
                      <a16:creationId xmlns:a16="http://schemas.microsoft.com/office/drawing/2014/main" id="{470A6731-1B79-40C0-0F98-A1EBE32084E9}"/>
                    </a:ext>
                  </a:extLst>
                </p:cNvPr>
                <p:cNvSpPr/>
                <p:nvPr/>
              </p:nvSpPr>
              <p:spPr>
                <a:xfrm>
                  <a:off x="9901090" y="5747788"/>
                  <a:ext cx="9465" cy="51442"/>
                </a:xfrm>
                <a:custGeom>
                  <a:avLst/>
                  <a:gdLst>
                    <a:gd name="connsiteX0" fmla="*/ 0 w 9465"/>
                    <a:gd name="connsiteY0" fmla="*/ 51442 h 51442"/>
                    <a:gd name="connsiteX1" fmla="*/ 5107 w 9465"/>
                    <a:gd name="connsiteY1" fmla="*/ 33257 h 51442"/>
                    <a:gd name="connsiteX2" fmla="*/ 4609 w 9465"/>
                    <a:gd name="connsiteY2" fmla="*/ 15819 h 51442"/>
                    <a:gd name="connsiteX3" fmla="*/ 9466 w 9465"/>
                    <a:gd name="connsiteY3" fmla="*/ 0 h 51442"/>
                  </a:gdLst>
                  <a:ahLst/>
                  <a:cxnLst>
                    <a:cxn ang="0">
                      <a:pos x="connsiteX0" y="connsiteY0"/>
                    </a:cxn>
                    <a:cxn ang="0">
                      <a:pos x="connsiteX1" y="connsiteY1"/>
                    </a:cxn>
                    <a:cxn ang="0">
                      <a:pos x="connsiteX2" y="connsiteY2"/>
                    </a:cxn>
                    <a:cxn ang="0">
                      <a:pos x="connsiteX3" y="connsiteY3"/>
                    </a:cxn>
                  </a:cxnLst>
                  <a:rect l="l" t="t" r="r" b="b"/>
                  <a:pathLst>
                    <a:path w="9465" h="51442">
                      <a:moveTo>
                        <a:pt x="0" y="51442"/>
                      </a:moveTo>
                      <a:cubicBezTo>
                        <a:pt x="3737" y="43969"/>
                        <a:pt x="4857" y="37616"/>
                        <a:pt x="5107" y="33257"/>
                      </a:cubicBezTo>
                      <a:cubicBezTo>
                        <a:pt x="5481" y="26281"/>
                        <a:pt x="3861" y="22919"/>
                        <a:pt x="4609" y="15819"/>
                      </a:cubicBezTo>
                      <a:cubicBezTo>
                        <a:pt x="5231" y="8968"/>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5" name="Freeform 5403">
                  <a:extLst>
                    <a:ext uri="{FF2B5EF4-FFF2-40B4-BE49-F238E27FC236}">
                      <a16:creationId xmlns:a16="http://schemas.microsoft.com/office/drawing/2014/main" id="{2DC1AC3D-855E-3DBE-573F-D23F644FA1D4}"/>
                    </a:ext>
                  </a:extLst>
                </p:cNvPr>
                <p:cNvSpPr/>
                <p:nvPr/>
              </p:nvSpPr>
              <p:spPr>
                <a:xfrm>
                  <a:off x="9892835" y="5751525"/>
                  <a:ext cx="8967" cy="51567"/>
                </a:xfrm>
                <a:custGeom>
                  <a:avLst/>
                  <a:gdLst>
                    <a:gd name="connsiteX0" fmla="*/ 8503 w 8967"/>
                    <a:gd name="connsiteY0" fmla="*/ 0 h 51567"/>
                    <a:gd name="connsiteX1" fmla="*/ 7383 w 8967"/>
                    <a:gd name="connsiteY1" fmla="*/ 18808 h 51567"/>
                    <a:gd name="connsiteX2" fmla="*/ 1155 w 8967"/>
                    <a:gd name="connsiteY2" fmla="*/ 35125 h 51567"/>
                    <a:gd name="connsiteX3" fmla="*/ 532 w 896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7" h="51567">
                      <a:moveTo>
                        <a:pt x="8503" y="0"/>
                      </a:moveTo>
                      <a:cubicBezTo>
                        <a:pt x="9625" y="8346"/>
                        <a:pt x="8503" y="14573"/>
                        <a:pt x="7383" y="18808"/>
                      </a:cubicBezTo>
                      <a:cubicBezTo>
                        <a:pt x="5514" y="25535"/>
                        <a:pt x="2898" y="28150"/>
                        <a:pt x="1155" y="35125"/>
                      </a:cubicBezTo>
                      <a:cubicBezTo>
                        <a:pt x="-464" y="41852"/>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6" name="Freeform 5404">
                  <a:extLst>
                    <a:ext uri="{FF2B5EF4-FFF2-40B4-BE49-F238E27FC236}">
                      <a16:creationId xmlns:a16="http://schemas.microsoft.com/office/drawing/2014/main" id="{CD8A5E49-5A1F-8A2D-38D5-286A4D289296}"/>
                    </a:ext>
                  </a:extLst>
                </p:cNvPr>
                <p:cNvSpPr/>
                <p:nvPr/>
              </p:nvSpPr>
              <p:spPr>
                <a:xfrm>
                  <a:off x="9883207" y="5792468"/>
                  <a:ext cx="26301" cy="26478"/>
                </a:xfrm>
                <a:custGeom>
                  <a:avLst/>
                  <a:gdLst>
                    <a:gd name="connsiteX0" fmla="*/ 195 w 26301"/>
                    <a:gd name="connsiteY0" fmla="*/ 11122 h 26478"/>
                    <a:gd name="connsiteX1" fmla="*/ 15391 w 26301"/>
                    <a:gd name="connsiteY1" fmla="*/ 161 h 26478"/>
                    <a:gd name="connsiteX2" fmla="*/ 26103 w 26301"/>
                    <a:gd name="connsiteY2" fmla="*/ 15357 h 26478"/>
                    <a:gd name="connsiteX3" fmla="*/ 10907 w 26301"/>
                    <a:gd name="connsiteY3" fmla="*/ 26318 h 26478"/>
                    <a:gd name="connsiteX4" fmla="*/ 195 w 26301"/>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477">
                      <a:moveTo>
                        <a:pt x="195" y="11122"/>
                      </a:moveTo>
                      <a:cubicBezTo>
                        <a:pt x="1441" y="3897"/>
                        <a:pt x="8167" y="-960"/>
                        <a:pt x="15391" y="161"/>
                      </a:cubicBezTo>
                      <a:cubicBezTo>
                        <a:pt x="22616" y="1282"/>
                        <a:pt x="27348" y="8132"/>
                        <a:pt x="26103" y="15357"/>
                      </a:cubicBezTo>
                      <a:cubicBezTo>
                        <a:pt x="24858" y="22581"/>
                        <a:pt x="18131" y="27439"/>
                        <a:pt x="10907" y="26318"/>
                      </a:cubicBezTo>
                      <a:cubicBezTo>
                        <a:pt x="3808" y="25072"/>
                        <a:pt x="-1050"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4" name="Graphic 2987">
                <a:extLst>
                  <a:ext uri="{FF2B5EF4-FFF2-40B4-BE49-F238E27FC236}">
                    <a16:creationId xmlns:a16="http://schemas.microsoft.com/office/drawing/2014/main" id="{2E18401B-A48C-4629-F27D-B2CD91C9ACAA}"/>
                  </a:ext>
                </a:extLst>
              </p:cNvPr>
              <p:cNvGrpSpPr/>
              <p:nvPr/>
            </p:nvGrpSpPr>
            <p:grpSpPr>
              <a:xfrm>
                <a:off x="9912135" y="5676563"/>
                <a:ext cx="47317" cy="147154"/>
                <a:chOff x="9912135" y="5676563"/>
                <a:chExt cx="47317" cy="147154"/>
              </a:xfrm>
              <a:grpFill/>
            </p:grpSpPr>
            <p:sp>
              <p:nvSpPr>
                <p:cNvPr id="4175" name="Freeform 5406">
                  <a:extLst>
                    <a:ext uri="{FF2B5EF4-FFF2-40B4-BE49-F238E27FC236}">
                      <a16:creationId xmlns:a16="http://schemas.microsoft.com/office/drawing/2014/main" id="{E916CC42-BE5F-CECC-535B-143C36F6A8C7}"/>
                    </a:ext>
                  </a:extLst>
                </p:cNvPr>
                <p:cNvSpPr/>
                <p:nvPr/>
              </p:nvSpPr>
              <p:spPr>
                <a:xfrm>
                  <a:off x="9931855" y="5696221"/>
                  <a:ext cx="9466" cy="51193"/>
                </a:xfrm>
                <a:custGeom>
                  <a:avLst/>
                  <a:gdLst>
                    <a:gd name="connsiteX0" fmla="*/ 9467 w 9466"/>
                    <a:gd name="connsiteY0" fmla="*/ 0 h 51193"/>
                    <a:gd name="connsiteX1" fmla="*/ 4359 w 9466"/>
                    <a:gd name="connsiteY1" fmla="*/ 18061 h 51193"/>
                    <a:gd name="connsiteX2" fmla="*/ 4858 w 9466"/>
                    <a:gd name="connsiteY2" fmla="*/ 35499 h 51193"/>
                    <a:gd name="connsiteX3" fmla="*/ 0 w 946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466" h="51193">
                      <a:moveTo>
                        <a:pt x="9467" y="0"/>
                      </a:moveTo>
                      <a:cubicBezTo>
                        <a:pt x="5605" y="7474"/>
                        <a:pt x="4609" y="13701"/>
                        <a:pt x="4359" y="18061"/>
                      </a:cubicBezTo>
                      <a:cubicBezTo>
                        <a:pt x="3986" y="25036"/>
                        <a:pt x="5481" y="28400"/>
                        <a:pt x="4858" y="35499"/>
                      </a:cubicBezTo>
                      <a:cubicBezTo>
                        <a:pt x="4235" y="42350"/>
                        <a:pt x="1869" y="47830"/>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6" name="Freeform 5407">
                  <a:extLst>
                    <a:ext uri="{FF2B5EF4-FFF2-40B4-BE49-F238E27FC236}">
                      <a16:creationId xmlns:a16="http://schemas.microsoft.com/office/drawing/2014/main" id="{E2A78BE3-DC5C-A22F-6C4F-4B14C2DAD5A1}"/>
                    </a:ext>
                  </a:extLst>
                </p:cNvPr>
                <p:cNvSpPr/>
                <p:nvPr/>
              </p:nvSpPr>
              <p:spPr>
                <a:xfrm>
                  <a:off x="9940486" y="5692360"/>
                  <a:ext cx="9089" cy="51567"/>
                </a:xfrm>
                <a:custGeom>
                  <a:avLst/>
                  <a:gdLst>
                    <a:gd name="connsiteX0" fmla="*/ 461 w 9089"/>
                    <a:gd name="connsiteY0" fmla="*/ 51567 h 51567"/>
                    <a:gd name="connsiteX1" fmla="*/ 1707 w 9089"/>
                    <a:gd name="connsiteY1" fmla="*/ 32759 h 51567"/>
                    <a:gd name="connsiteX2" fmla="*/ 7935 w 9089"/>
                    <a:gd name="connsiteY2" fmla="*/ 16566 h 51567"/>
                    <a:gd name="connsiteX3" fmla="*/ 8558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461" y="51567"/>
                      </a:moveTo>
                      <a:cubicBezTo>
                        <a:pt x="-660" y="43222"/>
                        <a:pt x="461" y="36994"/>
                        <a:pt x="1707" y="32759"/>
                      </a:cubicBezTo>
                      <a:cubicBezTo>
                        <a:pt x="3700" y="26033"/>
                        <a:pt x="6316" y="23417"/>
                        <a:pt x="7935" y="16566"/>
                      </a:cubicBezTo>
                      <a:cubicBezTo>
                        <a:pt x="9554" y="9840"/>
                        <a:pt x="9180" y="3986"/>
                        <a:pt x="85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7" name="Freeform 5408">
                  <a:extLst>
                    <a:ext uri="{FF2B5EF4-FFF2-40B4-BE49-F238E27FC236}">
                      <a16:creationId xmlns:a16="http://schemas.microsoft.com/office/drawing/2014/main" id="{3AA56548-1F3D-E06F-5403-F91ED960B61B}"/>
                    </a:ext>
                  </a:extLst>
                </p:cNvPr>
                <p:cNvSpPr/>
                <p:nvPr/>
              </p:nvSpPr>
              <p:spPr>
                <a:xfrm>
                  <a:off x="9932691" y="5676563"/>
                  <a:ext cx="26761" cy="26582"/>
                </a:xfrm>
                <a:custGeom>
                  <a:avLst/>
                  <a:gdLst>
                    <a:gd name="connsiteX0" fmla="*/ 26567 w 26761"/>
                    <a:gd name="connsiteY0" fmla="*/ 15672 h 26582"/>
                    <a:gd name="connsiteX1" fmla="*/ 11122 w 26761"/>
                    <a:gd name="connsiteY1" fmla="*/ 26384 h 26582"/>
                    <a:gd name="connsiteX2" fmla="*/ 161 w 26761"/>
                    <a:gd name="connsiteY2" fmla="*/ 11064 h 26582"/>
                    <a:gd name="connsiteX3" fmla="*/ 15606 w 26761"/>
                    <a:gd name="connsiteY3" fmla="*/ 227 h 26582"/>
                    <a:gd name="connsiteX4" fmla="*/ 26567 w 26761"/>
                    <a:gd name="connsiteY4" fmla="*/ 15672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581">
                      <a:moveTo>
                        <a:pt x="26567" y="15672"/>
                      </a:moveTo>
                      <a:cubicBezTo>
                        <a:pt x="25321" y="22897"/>
                        <a:pt x="18470" y="27630"/>
                        <a:pt x="11122" y="26384"/>
                      </a:cubicBezTo>
                      <a:cubicBezTo>
                        <a:pt x="3897" y="25014"/>
                        <a:pt x="-961" y="18288"/>
                        <a:pt x="161" y="11064"/>
                      </a:cubicBezTo>
                      <a:cubicBezTo>
                        <a:pt x="1406" y="3839"/>
                        <a:pt x="8257" y="-1143"/>
                        <a:pt x="15606" y="227"/>
                      </a:cubicBezTo>
                      <a:cubicBezTo>
                        <a:pt x="22955" y="1473"/>
                        <a:pt x="27812" y="8448"/>
                        <a:pt x="26567" y="156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8" name="Freeform 5409">
                  <a:extLst>
                    <a:ext uri="{FF2B5EF4-FFF2-40B4-BE49-F238E27FC236}">
                      <a16:creationId xmlns:a16="http://schemas.microsoft.com/office/drawing/2014/main" id="{C2FC899E-828E-28FA-234B-80FC8803C937}"/>
                    </a:ext>
                  </a:extLst>
                </p:cNvPr>
                <p:cNvSpPr/>
                <p:nvPr/>
              </p:nvSpPr>
              <p:spPr>
                <a:xfrm>
                  <a:off x="9929986" y="5752895"/>
                  <a:ext cx="9591" cy="51193"/>
                </a:xfrm>
                <a:custGeom>
                  <a:avLst/>
                  <a:gdLst>
                    <a:gd name="connsiteX0" fmla="*/ 0 w 9591"/>
                    <a:gd name="connsiteY0" fmla="*/ 51193 h 51193"/>
                    <a:gd name="connsiteX1" fmla="*/ 5107 w 9591"/>
                    <a:gd name="connsiteY1" fmla="*/ 33132 h 51193"/>
                    <a:gd name="connsiteX2" fmla="*/ 4733 w 9591"/>
                    <a:gd name="connsiteY2" fmla="*/ 15694 h 51193"/>
                    <a:gd name="connsiteX3" fmla="*/ 9591 w 9591"/>
                    <a:gd name="connsiteY3" fmla="*/ 0 h 51193"/>
                  </a:gdLst>
                  <a:ahLst/>
                  <a:cxnLst>
                    <a:cxn ang="0">
                      <a:pos x="connsiteX0" y="connsiteY0"/>
                    </a:cxn>
                    <a:cxn ang="0">
                      <a:pos x="connsiteX1" y="connsiteY1"/>
                    </a:cxn>
                    <a:cxn ang="0">
                      <a:pos x="connsiteX2" y="connsiteY2"/>
                    </a:cxn>
                    <a:cxn ang="0">
                      <a:pos x="connsiteX3" y="connsiteY3"/>
                    </a:cxn>
                  </a:cxnLst>
                  <a:rect l="l" t="t" r="r" b="b"/>
                  <a:pathLst>
                    <a:path w="9591" h="51193">
                      <a:moveTo>
                        <a:pt x="0" y="51193"/>
                      </a:moveTo>
                      <a:cubicBezTo>
                        <a:pt x="3737" y="43720"/>
                        <a:pt x="4858" y="37492"/>
                        <a:pt x="5107" y="33132"/>
                      </a:cubicBezTo>
                      <a:cubicBezTo>
                        <a:pt x="5481" y="26157"/>
                        <a:pt x="3986" y="22794"/>
                        <a:pt x="4733" y="15694"/>
                      </a:cubicBezTo>
                      <a:cubicBezTo>
                        <a:pt x="5481" y="8843"/>
                        <a:pt x="7723" y="3363"/>
                        <a:pt x="9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9" name="Freeform 5410">
                  <a:extLst>
                    <a:ext uri="{FF2B5EF4-FFF2-40B4-BE49-F238E27FC236}">
                      <a16:creationId xmlns:a16="http://schemas.microsoft.com/office/drawing/2014/main" id="{F577574F-59CD-DD6E-F50E-9CBBA97DBC0B}"/>
                    </a:ext>
                  </a:extLst>
                </p:cNvPr>
                <p:cNvSpPr/>
                <p:nvPr/>
              </p:nvSpPr>
              <p:spPr>
                <a:xfrm>
                  <a:off x="9921857" y="5756383"/>
                  <a:ext cx="9089" cy="51566"/>
                </a:xfrm>
                <a:custGeom>
                  <a:avLst/>
                  <a:gdLst>
                    <a:gd name="connsiteX0" fmla="*/ 8628 w 9089"/>
                    <a:gd name="connsiteY0" fmla="*/ 0 h 51566"/>
                    <a:gd name="connsiteX1" fmla="*/ 7382 w 9089"/>
                    <a:gd name="connsiteY1" fmla="*/ 18808 h 51566"/>
                    <a:gd name="connsiteX2" fmla="*/ 1154 w 9089"/>
                    <a:gd name="connsiteY2" fmla="*/ 35001 h 51566"/>
                    <a:gd name="connsiteX3" fmla="*/ 532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8628" y="0"/>
                      </a:moveTo>
                      <a:cubicBezTo>
                        <a:pt x="9749" y="8345"/>
                        <a:pt x="8628" y="14573"/>
                        <a:pt x="7382" y="18808"/>
                      </a:cubicBezTo>
                      <a:cubicBezTo>
                        <a:pt x="5390" y="25534"/>
                        <a:pt x="2898" y="28150"/>
                        <a:pt x="1154"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0" name="Freeform 5411">
                  <a:extLst>
                    <a:ext uri="{FF2B5EF4-FFF2-40B4-BE49-F238E27FC236}">
                      <a16:creationId xmlns:a16="http://schemas.microsoft.com/office/drawing/2014/main" id="{2A38DB40-121A-2202-CF2A-9581C9CCD106}"/>
                    </a:ext>
                  </a:extLst>
                </p:cNvPr>
                <p:cNvSpPr/>
                <p:nvPr/>
              </p:nvSpPr>
              <p:spPr>
                <a:xfrm>
                  <a:off x="9912135" y="5797135"/>
                  <a:ext cx="26267" cy="26582"/>
                </a:xfrm>
                <a:custGeom>
                  <a:avLst/>
                  <a:gdLst>
                    <a:gd name="connsiteX0" fmla="*/ 164 w 26267"/>
                    <a:gd name="connsiteY0" fmla="*/ 11064 h 26582"/>
                    <a:gd name="connsiteX1" fmla="*/ 15361 w 26267"/>
                    <a:gd name="connsiteY1" fmla="*/ 227 h 26582"/>
                    <a:gd name="connsiteX2" fmla="*/ 26072 w 26267"/>
                    <a:gd name="connsiteY2" fmla="*/ 15672 h 26582"/>
                    <a:gd name="connsiteX3" fmla="*/ 10876 w 26267"/>
                    <a:gd name="connsiteY3" fmla="*/ 26384 h 26582"/>
                    <a:gd name="connsiteX4" fmla="*/ 164 w 26267"/>
                    <a:gd name="connsiteY4" fmla="*/ 11064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7" h="26581">
                      <a:moveTo>
                        <a:pt x="164" y="11064"/>
                      </a:moveTo>
                      <a:cubicBezTo>
                        <a:pt x="1410" y="3839"/>
                        <a:pt x="8261" y="-1143"/>
                        <a:pt x="15361" y="227"/>
                      </a:cubicBezTo>
                      <a:cubicBezTo>
                        <a:pt x="22460" y="1472"/>
                        <a:pt x="27318" y="8448"/>
                        <a:pt x="26072" y="15672"/>
                      </a:cubicBezTo>
                      <a:cubicBezTo>
                        <a:pt x="24827" y="22896"/>
                        <a:pt x="17976" y="27630"/>
                        <a:pt x="10876" y="26384"/>
                      </a:cubicBezTo>
                      <a:cubicBezTo>
                        <a:pt x="3777" y="25014"/>
                        <a:pt x="-957" y="18288"/>
                        <a:pt x="164"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5" name="Graphic 2987">
                <a:extLst>
                  <a:ext uri="{FF2B5EF4-FFF2-40B4-BE49-F238E27FC236}">
                    <a16:creationId xmlns:a16="http://schemas.microsoft.com/office/drawing/2014/main" id="{47DE033F-6FC5-BBAF-49EF-1F2BAEE6C371}"/>
                  </a:ext>
                </a:extLst>
              </p:cNvPr>
              <p:cNvGrpSpPr/>
              <p:nvPr/>
            </p:nvGrpSpPr>
            <p:grpSpPr>
              <a:xfrm>
                <a:off x="9940998" y="5681823"/>
                <a:ext cx="47850" cy="147126"/>
                <a:chOff x="9940998" y="5681823"/>
                <a:chExt cx="47850" cy="147126"/>
              </a:xfrm>
              <a:grpFill/>
            </p:grpSpPr>
            <p:sp>
              <p:nvSpPr>
                <p:cNvPr id="4169" name="Freeform 5413">
                  <a:extLst>
                    <a:ext uri="{FF2B5EF4-FFF2-40B4-BE49-F238E27FC236}">
                      <a16:creationId xmlns:a16="http://schemas.microsoft.com/office/drawing/2014/main" id="{F122E9D6-A097-F35F-50FB-B5B50E9A2205}"/>
                    </a:ext>
                  </a:extLst>
                </p:cNvPr>
                <p:cNvSpPr/>
                <p:nvPr/>
              </p:nvSpPr>
              <p:spPr>
                <a:xfrm>
                  <a:off x="9960752" y="5701453"/>
                  <a:ext cx="9839" cy="51193"/>
                </a:xfrm>
                <a:custGeom>
                  <a:avLst/>
                  <a:gdLst>
                    <a:gd name="connsiteX0" fmla="*/ 9840 w 9839"/>
                    <a:gd name="connsiteY0" fmla="*/ 0 h 51193"/>
                    <a:gd name="connsiteX1" fmla="*/ 4609 w 9839"/>
                    <a:gd name="connsiteY1" fmla="*/ 18061 h 51193"/>
                    <a:gd name="connsiteX2" fmla="*/ 4983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4"/>
                        <a:pt x="4858" y="13701"/>
                        <a:pt x="4609" y="18061"/>
                      </a:cubicBezTo>
                      <a:cubicBezTo>
                        <a:pt x="4111" y="25036"/>
                        <a:pt x="5730" y="28399"/>
                        <a:pt x="4983" y="35499"/>
                      </a:cubicBezTo>
                      <a:cubicBezTo>
                        <a:pt x="4235"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0" name="Freeform 5414">
                  <a:extLst>
                    <a:ext uri="{FF2B5EF4-FFF2-40B4-BE49-F238E27FC236}">
                      <a16:creationId xmlns:a16="http://schemas.microsoft.com/office/drawing/2014/main" id="{20D7BA98-7C6F-47DF-7B51-215443112490}"/>
                    </a:ext>
                  </a:extLst>
                </p:cNvPr>
                <p:cNvSpPr/>
                <p:nvPr/>
              </p:nvSpPr>
              <p:spPr>
                <a:xfrm>
                  <a:off x="9969711" y="5697840"/>
                  <a:ext cx="9322" cy="51442"/>
                </a:xfrm>
                <a:custGeom>
                  <a:avLst/>
                  <a:gdLst>
                    <a:gd name="connsiteX0" fmla="*/ 383 w 9322"/>
                    <a:gd name="connsiteY0" fmla="*/ 51442 h 51442"/>
                    <a:gd name="connsiteX1" fmla="*/ 1753 w 9322"/>
                    <a:gd name="connsiteY1" fmla="*/ 32634 h 51442"/>
                    <a:gd name="connsiteX2" fmla="*/ 8106 w 9322"/>
                    <a:gd name="connsiteY2" fmla="*/ 16442 h 51442"/>
                    <a:gd name="connsiteX3" fmla="*/ 8853 w 9322"/>
                    <a:gd name="connsiteY3" fmla="*/ 0 h 51442"/>
                  </a:gdLst>
                  <a:ahLst/>
                  <a:cxnLst>
                    <a:cxn ang="0">
                      <a:pos x="connsiteX0" y="connsiteY0"/>
                    </a:cxn>
                    <a:cxn ang="0">
                      <a:pos x="connsiteX1" y="connsiteY1"/>
                    </a:cxn>
                    <a:cxn ang="0">
                      <a:pos x="connsiteX2" y="connsiteY2"/>
                    </a:cxn>
                    <a:cxn ang="0">
                      <a:pos x="connsiteX3" y="connsiteY3"/>
                    </a:cxn>
                  </a:cxnLst>
                  <a:rect l="l" t="t" r="r" b="b"/>
                  <a:pathLst>
                    <a:path w="9322" h="51442">
                      <a:moveTo>
                        <a:pt x="383" y="51442"/>
                      </a:moveTo>
                      <a:cubicBezTo>
                        <a:pt x="-613" y="43097"/>
                        <a:pt x="508" y="36869"/>
                        <a:pt x="1753" y="32634"/>
                      </a:cubicBezTo>
                      <a:cubicBezTo>
                        <a:pt x="3747" y="25908"/>
                        <a:pt x="6362" y="23292"/>
                        <a:pt x="8106" y="16442"/>
                      </a:cubicBezTo>
                      <a:cubicBezTo>
                        <a:pt x="9850" y="9715"/>
                        <a:pt x="9351"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1" name="Freeform 5415">
                  <a:extLst>
                    <a:ext uri="{FF2B5EF4-FFF2-40B4-BE49-F238E27FC236}">
                      <a16:creationId xmlns:a16="http://schemas.microsoft.com/office/drawing/2014/main" id="{BC05D3A5-76B6-71D5-235D-23F8CB7F3C9D}"/>
                    </a:ext>
                  </a:extLst>
                </p:cNvPr>
                <p:cNvSpPr/>
                <p:nvPr/>
              </p:nvSpPr>
              <p:spPr>
                <a:xfrm>
                  <a:off x="9962177" y="5681823"/>
                  <a:ext cx="26671" cy="26554"/>
                </a:xfrm>
                <a:custGeom>
                  <a:avLst/>
                  <a:gdLst>
                    <a:gd name="connsiteX0" fmla="*/ 26476 w 26671"/>
                    <a:gd name="connsiteY0" fmla="*/ 15644 h 26554"/>
                    <a:gd name="connsiteX1" fmla="*/ 11031 w 26671"/>
                    <a:gd name="connsiteY1" fmla="*/ 26356 h 26554"/>
                    <a:gd name="connsiteX2" fmla="*/ 195 w 26671"/>
                    <a:gd name="connsiteY2" fmla="*/ 10911 h 26554"/>
                    <a:gd name="connsiteX3" fmla="*/ 15640 w 26671"/>
                    <a:gd name="connsiteY3" fmla="*/ 199 h 26554"/>
                    <a:gd name="connsiteX4" fmla="*/ 26476 w 26671"/>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54">
                      <a:moveTo>
                        <a:pt x="26476" y="15644"/>
                      </a:moveTo>
                      <a:cubicBezTo>
                        <a:pt x="25231" y="22868"/>
                        <a:pt x="18256" y="27602"/>
                        <a:pt x="11031" y="26356"/>
                      </a:cubicBezTo>
                      <a:cubicBezTo>
                        <a:pt x="3807" y="24986"/>
                        <a:pt x="-1051" y="18135"/>
                        <a:pt x="195" y="10911"/>
                      </a:cubicBezTo>
                      <a:cubicBezTo>
                        <a:pt x="1440" y="3686"/>
                        <a:pt x="8415" y="-1047"/>
                        <a:pt x="15640" y="199"/>
                      </a:cubicBezTo>
                      <a:cubicBezTo>
                        <a:pt x="22865" y="1569"/>
                        <a:pt x="27722" y="8544"/>
                        <a:pt x="2647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2" name="Freeform 5416">
                  <a:extLst>
                    <a:ext uri="{FF2B5EF4-FFF2-40B4-BE49-F238E27FC236}">
                      <a16:creationId xmlns:a16="http://schemas.microsoft.com/office/drawing/2014/main" id="{8390FD4C-7F30-DEDD-4DD4-6AB0DB552601}"/>
                    </a:ext>
                  </a:extLst>
                </p:cNvPr>
                <p:cNvSpPr/>
                <p:nvPr/>
              </p:nvSpPr>
              <p:spPr>
                <a:xfrm>
                  <a:off x="9959008" y="5758126"/>
                  <a:ext cx="9840" cy="51193"/>
                </a:xfrm>
                <a:custGeom>
                  <a:avLst/>
                  <a:gdLst>
                    <a:gd name="connsiteX0" fmla="*/ 0 w 9840"/>
                    <a:gd name="connsiteY0" fmla="*/ 51193 h 51193"/>
                    <a:gd name="connsiteX1" fmla="*/ 5231 w 9840"/>
                    <a:gd name="connsiteY1" fmla="*/ 33132 h 51193"/>
                    <a:gd name="connsiteX2" fmla="*/ 4858 w 9840"/>
                    <a:gd name="connsiteY2" fmla="*/ 15694 h 51193"/>
                    <a:gd name="connsiteX3" fmla="*/ 9841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858" y="37492"/>
                        <a:pt x="5231" y="33132"/>
                      </a:cubicBezTo>
                      <a:cubicBezTo>
                        <a:pt x="5730" y="26157"/>
                        <a:pt x="4111" y="22794"/>
                        <a:pt x="4858" y="15694"/>
                      </a:cubicBezTo>
                      <a:cubicBezTo>
                        <a:pt x="5605" y="8844"/>
                        <a:pt x="7972" y="3488"/>
                        <a:pt x="984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3" name="Freeform 5417">
                  <a:extLst>
                    <a:ext uri="{FF2B5EF4-FFF2-40B4-BE49-F238E27FC236}">
                      <a16:creationId xmlns:a16="http://schemas.microsoft.com/office/drawing/2014/main" id="{7DC62C8F-D501-7C36-68B6-4A9EE99A8F7A}"/>
                    </a:ext>
                  </a:extLst>
                </p:cNvPr>
                <p:cNvSpPr/>
                <p:nvPr/>
              </p:nvSpPr>
              <p:spPr>
                <a:xfrm>
                  <a:off x="9950859" y="5761614"/>
                  <a:ext cx="9157" cy="51442"/>
                </a:xfrm>
                <a:custGeom>
                  <a:avLst/>
                  <a:gdLst>
                    <a:gd name="connsiteX0" fmla="*/ 8772 w 9157"/>
                    <a:gd name="connsiteY0" fmla="*/ 0 h 51442"/>
                    <a:gd name="connsiteX1" fmla="*/ 7527 w 9157"/>
                    <a:gd name="connsiteY1" fmla="*/ 18808 h 51442"/>
                    <a:gd name="connsiteX2" fmla="*/ 1174 w 9157"/>
                    <a:gd name="connsiteY2" fmla="*/ 35001 h 51442"/>
                    <a:gd name="connsiteX3" fmla="*/ 427 w 915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157" h="51442">
                      <a:moveTo>
                        <a:pt x="8772" y="0"/>
                      </a:moveTo>
                      <a:cubicBezTo>
                        <a:pt x="9768" y="8346"/>
                        <a:pt x="8648" y="14573"/>
                        <a:pt x="7527" y="18808"/>
                      </a:cubicBezTo>
                      <a:cubicBezTo>
                        <a:pt x="5534" y="25535"/>
                        <a:pt x="2918" y="28150"/>
                        <a:pt x="1174" y="35001"/>
                      </a:cubicBezTo>
                      <a:cubicBezTo>
                        <a:pt x="-445" y="41727"/>
                        <a:pt x="-71" y="47581"/>
                        <a:pt x="42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4" name="Freeform 5418">
                  <a:extLst>
                    <a:ext uri="{FF2B5EF4-FFF2-40B4-BE49-F238E27FC236}">
                      <a16:creationId xmlns:a16="http://schemas.microsoft.com/office/drawing/2014/main" id="{D2CC2F39-FF23-8559-B57F-5BE4B2472358}"/>
                    </a:ext>
                  </a:extLst>
                </p:cNvPr>
                <p:cNvSpPr/>
                <p:nvPr/>
              </p:nvSpPr>
              <p:spPr>
                <a:xfrm>
                  <a:off x="9940998" y="5802395"/>
                  <a:ext cx="26213" cy="26554"/>
                </a:xfrm>
                <a:custGeom>
                  <a:avLst/>
                  <a:gdLst>
                    <a:gd name="connsiteX0" fmla="*/ 199 w 26213"/>
                    <a:gd name="connsiteY0" fmla="*/ 10911 h 26554"/>
                    <a:gd name="connsiteX1" fmla="*/ 15395 w 26213"/>
                    <a:gd name="connsiteY1" fmla="*/ 199 h 26554"/>
                    <a:gd name="connsiteX2" fmla="*/ 25982 w 26213"/>
                    <a:gd name="connsiteY2" fmla="*/ 15644 h 26554"/>
                    <a:gd name="connsiteX3" fmla="*/ 10786 w 26213"/>
                    <a:gd name="connsiteY3" fmla="*/ 26356 h 26554"/>
                    <a:gd name="connsiteX4" fmla="*/ 199 w 26213"/>
                    <a:gd name="connsiteY4" fmla="*/ 10911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54">
                      <a:moveTo>
                        <a:pt x="199" y="10911"/>
                      </a:moveTo>
                      <a:cubicBezTo>
                        <a:pt x="1444" y="3686"/>
                        <a:pt x="8295" y="-1047"/>
                        <a:pt x="15395" y="199"/>
                      </a:cubicBezTo>
                      <a:cubicBezTo>
                        <a:pt x="22494" y="1444"/>
                        <a:pt x="27352" y="8420"/>
                        <a:pt x="25982" y="15644"/>
                      </a:cubicBezTo>
                      <a:cubicBezTo>
                        <a:pt x="24737" y="22868"/>
                        <a:pt x="17886" y="27602"/>
                        <a:pt x="10786" y="26356"/>
                      </a:cubicBezTo>
                      <a:cubicBezTo>
                        <a:pt x="3687" y="25110"/>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6" name="Graphic 2987">
                <a:extLst>
                  <a:ext uri="{FF2B5EF4-FFF2-40B4-BE49-F238E27FC236}">
                    <a16:creationId xmlns:a16="http://schemas.microsoft.com/office/drawing/2014/main" id="{52BC91BF-C744-E8D6-C1A3-330286784E40}"/>
                  </a:ext>
                </a:extLst>
              </p:cNvPr>
              <p:cNvGrpSpPr/>
              <p:nvPr/>
            </p:nvGrpSpPr>
            <p:grpSpPr>
              <a:xfrm>
                <a:off x="9969895" y="5687179"/>
                <a:ext cx="48256" cy="146877"/>
                <a:chOff x="9969895" y="5687179"/>
                <a:chExt cx="48256" cy="146877"/>
              </a:xfrm>
              <a:grpFill/>
            </p:grpSpPr>
            <p:sp>
              <p:nvSpPr>
                <p:cNvPr id="4163" name="Freeform 5420">
                  <a:extLst>
                    <a:ext uri="{FF2B5EF4-FFF2-40B4-BE49-F238E27FC236}">
                      <a16:creationId xmlns:a16="http://schemas.microsoft.com/office/drawing/2014/main" id="{1029017F-17A5-36E1-C71F-9F4D5CF8071A}"/>
                    </a:ext>
                  </a:extLst>
                </p:cNvPr>
                <p:cNvSpPr/>
                <p:nvPr/>
              </p:nvSpPr>
              <p:spPr>
                <a:xfrm>
                  <a:off x="9990148" y="5706808"/>
                  <a:ext cx="9840" cy="51193"/>
                </a:xfrm>
                <a:custGeom>
                  <a:avLst/>
                  <a:gdLst>
                    <a:gd name="connsiteX0" fmla="*/ 9841 w 9840"/>
                    <a:gd name="connsiteY0" fmla="*/ 0 h 51193"/>
                    <a:gd name="connsiteX1" fmla="*/ 4609 w 9840"/>
                    <a:gd name="connsiteY1" fmla="*/ 18061 h 51193"/>
                    <a:gd name="connsiteX2" fmla="*/ 4983 w 9840"/>
                    <a:gd name="connsiteY2" fmla="*/ 35499 h 51193"/>
                    <a:gd name="connsiteX3" fmla="*/ 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9841" y="0"/>
                      </a:moveTo>
                      <a:cubicBezTo>
                        <a:pt x="5979" y="7474"/>
                        <a:pt x="4858" y="13701"/>
                        <a:pt x="4609" y="18061"/>
                      </a:cubicBezTo>
                      <a:cubicBezTo>
                        <a:pt x="4111" y="25036"/>
                        <a:pt x="5730" y="28399"/>
                        <a:pt x="4983" y="35499"/>
                      </a:cubicBezTo>
                      <a:cubicBezTo>
                        <a:pt x="4235"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4" name="Freeform 5421">
                  <a:extLst>
                    <a:ext uri="{FF2B5EF4-FFF2-40B4-BE49-F238E27FC236}">
                      <a16:creationId xmlns:a16="http://schemas.microsoft.com/office/drawing/2014/main" id="{BDBFA02C-AB11-D9BE-6AC4-3B4C940C776A}"/>
                    </a:ext>
                  </a:extLst>
                </p:cNvPr>
                <p:cNvSpPr/>
                <p:nvPr/>
              </p:nvSpPr>
              <p:spPr>
                <a:xfrm>
                  <a:off x="9998858" y="5703072"/>
                  <a:ext cx="9496" cy="51442"/>
                </a:xfrm>
                <a:custGeom>
                  <a:avLst/>
                  <a:gdLst>
                    <a:gd name="connsiteX0" fmla="*/ 383 w 9496"/>
                    <a:gd name="connsiteY0" fmla="*/ 51442 h 51442"/>
                    <a:gd name="connsiteX1" fmla="*/ 1753 w 9496"/>
                    <a:gd name="connsiteY1" fmla="*/ 32634 h 51442"/>
                    <a:gd name="connsiteX2" fmla="*/ 8230 w 9496"/>
                    <a:gd name="connsiteY2" fmla="*/ 16442 h 51442"/>
                    <a:gd name="connsiteX3" fmla="*/ 8977 w 9496"/>
                    <a:gd name="connsiteY3" fmla="*/ 0 h 51442"/>
                  </a:gdLst>
                  <a:ahLst/>
                  <a:cxnLst>
                    <a:cxn ang="0">
                      <a:pos x="connsiteX0" y="connsiteY0"/>
                    </a:cxn>
                    <a:cxn ang="0">
                      <a:pos x="connsiteX1" y="connsiteY1"/>
                    </a:cxn>
                    <a:cxn ang="0">
                      <a:pos x="connsiteX2" y="connsiteY2"/>
                    </a:cxn>
                    <a:cxn ang="0">
                      <a:pos x="connsiteX3" y="connsiteY3"/>
                    </a:cxn>
                  </a:cxnLst>
                  <a:rect l="l" t="t" r="r" b="b"/>
                  <a:pathLst>
                    <a:path w="9496" h="51442">
                      <a:moveTo>
                        <a:pt x="383" y="51442"/>
                      </a:moveTo>
                      <a:cubicBezTo>
                        <a:pt x="-613" y="43097"/>
                        <a:pt x="507" y="36869"/>
                        <a:pt x="1753" y="32634"/>
                      </a:cubicBezTo>
                      <a:cubicBezTo>
                        <a:pt x="3746" y="25908"/>
                        <a:pt x="6362" y="23292"/>
                        <a:pt x="8230" y="16442"/>
                      </a:cubicBezTo>
                      <a:cubicBezTo>
                        <a:pt x="9974" y="9715"/>
                        <a:pt x="9601" y="3861"/>
                        <a:pt x="89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5" name="Freeform 5422">
                  <a:extLst>
                    <a:ext uri="{FF2B5EF4-FFF2-40B4-BE49-F238E27FC236}">
                      <a16:creationId xmlns:a16="http://schemas.microsoft.com/office/drawing/2014/main" id="{502637FF-67EE-DEC6-0283-4EF2D672C8DD}"/>
                    </a:ext>
                  </a:extLst>
                </p:cNvPr>
                <p:cNvSpPr/>
                <p:nvPr/>
              </p:nvSpPr>
              <p:spPr>
                <a:xfrm>
                  <a:off x="9991448" y="5687179"/>
                  <a:ext cx="26703" cy="26554"/>
                </a:xfrm>
                <a:custGeom>
                  <a:avLst/>
                  <a:gdLst>
                    <a:gd name="connsiteX0" fmla="*/ 26477 w 26703"/>
                    <a:gd name="connsiteY0" fmla="*/ 15644 h 26554"/>
                    <a:gd name="connsiteX1" fmla="*/ 11031 w 26703"/>
                    <a:gd name="connsiteY1" fmla="*/ 26356 h 26554"/>
                    <a:gd name="connsiteX2" fmla="*/ 195 w 26703"/>
                    <a:gd name="connsiteY2" fmla="*/ 10911 h 26554"/>
                    <a:gd name="connsiteX3" fmla="*/ 15640 w 26703"/>
                    <a:gd name="connsiteY3" fmla="*/ 199 h 26554"/>
                    <a:gd name="connsiteX4" fmla="*/ 26477 w 26703"/>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54">
                      <a:moveTo>
                        <a:pt x="26477" y="15644"/>
                      </a:moveTo>
                      <a:cubicBezTo>
                        <a:pt x="25106" y="22868"/>
                        <a:pt x="18256" y="27602"/>
                        <a:pt x="11031" y="26356"/>
                      </a:cubicBezTo>
                      <a:cubicBezTo>
                        <a:pt x="3807" y="24986"/>
                        <a:pt x="-1051" y="18135"/>
                        <a:pt x="195" y="10911"/>
                      </a:cubicBezTo>
                      <a:cubicBezTo>
                        <a:pt x="1441" y="3686"/>
                        <a:pt x="8416" y="-1047"/>
                        <a:pt x="15640" y="199"/>
                      </a:cubicBezTo>
                      <a:cubicBezTo>
                        <a:pt x="22864" y="1444"/>
                        <a:pt x="27847" y="8420"/>
                        <a:pt x="26477"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6" name="Freeform 5423">
                  <a:extLst>
                    <a:ext uri="{FF2B5EF4-FFF2-40B4-BE49-F238E27FC236}">
                      <a16:creationId xmlns:a16="http://schemas.microsoft.com/office/drawing/2014/main" id="{F2ED16B9-22F4-8CF9-0EE1-13BEFAEC44B1}"/>
                    </a:ext>
                  </a:extLst>
                </p:cNvPr>
                <p:cNvSpPr/>
                <p:nvPr/>
              </p:nvSpPr>
              <p:spPr>
                <a:xfrm>
                  <a:off x="9987906" y="5763358"/>
                  <a:ext cx="9964" cy="51193"/>
                </a:xfrm>
                <a:custGeom>
                  <a:avLst/>
                  <a:gdLst>
                    <a:gd name="connsiteX0" fmla="*/ 0 w 9964"/>
                    <a:gd name="connsiteY0" fmla="*/ 51193 h 51193"/>
                    <a:gd name="connsiteX1" fmla="*/ 5231 w 9964"/>
                    <a:gd name="connsiteY1" fmla="*/ 33132 h 51193"/>
                    <a:gd name="connsiteX2" fmla="*/ 4983 w 9964"/>
                    <a:gd name="connsiteY2" fmla="*/ 15694 h 51193"/>
                    <a:gd name="connsiteX3" fmla="*/ 9964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0" y="51193"/>
                      </a:moveTo>
                      <a:cubicBezTo>
                        <a:pt x="3861" y="43720"/>
                        <a:pt x="4983" y="37492"/>
                        <a:pt x="5231" y="33132"/>
                      </a:cubicBezTo>
                      <a:cubicBezTo>
                        <a:pt x="5730" y="26157"/>
                        <a:pt x="4111" y="22794"/>
                        <a:pt x="4983" y="15694"/>
                      </a:cubicBezTo>
                      <a:cubicBezTo>
                        <a:pt x="5730" y="8843"/>
                        <a:pt x="8097" y="3488"/>
                        <a:pt x="99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7" name="Freeform 5424">
                  <a:extLst>
                    <a:ext uri="{FF2B5EF4-FFF2-40B4-BE49-F238E27FC236}">
                      <a16:creationId xmlns:a16="http://schemas.microsoft.com/office/drawing/2014/main" id="{89A6847F-59A9-FCE7-1415-4BF7290C84A5}"/>
                    </a:ext>
                  </a:extLst>
                </p:cNvPr>
                <p:cNvSpPr/>
                <p:nvPr/>
              </p:nvSpPr>
              <p:spPr>
                <a:xfrm>
                  <a:off x="9979664" y="5766845"/>
                  <a:ext cx="9372" cy="51442"/>
                </a:xfrm>
                <a:custGeom>
                  <a:avLst/>
                  <a:gdLst>
                    <a:gd name="connsiteX0" fmla="*/ 8989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0"/>
                      </a:moveTo>
                      <a:cubicBezTo>
                        <a:pt x="9986" y="8346"/>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8" name="Freeform 5425">
                  <a:extLst>
                    <a:ext uri="{FF2B5EF4-FFF2-40B4-BE49-F238E27FC236}">
                      <a16:creationId xmlns:a16="http://schemas.microsoft.com/office/drawing/2014/main" id="{32FC1126-558A-FF0B-CE31-AC1E4E29480C}"/>
                    </a:ext>
                  </a:extLst>
                </p:cNvPr>
                <p:cNvSpPr/>
                <p:nvPr/>
              </p:nvSpPr>
              <p:spPr>
                <a:xfrm>
                  <a:off x="9969895" y="5807626"/>
                  <a:ext cx="26305" cy="26430"/>
                </a:xfrm>
                <a:custGeom>
                  <a:avLst/>
                  <a:gdLst>
                    <a:gd name="connsiteX0" fmla="*/ 199 w 26305"/>
                    <a:gd name="connsiteY0" fmla="*/ 10911 h 26430"/>
                    <a:gd name="connsiteX1" fmla="*/ 15519 w 26305"/>
                    <a:gd name="connsiteY1" fmla="*/ 199 h 26430"/>
                    <a:gd name="connsiteX2" fmla="*/ 26107 w 26305"/>
                    <a:gd name="connsiteY2" fmla="*/ 15519 h 26430"/>
                    <a:gd name="connsiteX3" fmla="*/ 10786 w 26305"/>
                    <a:gd name="connsiteY3" fmla="*/ 26231 h 26430"/>
                    <a:gd name="connsiteX4" fmla="*/ 199 w 26305"/>
                    <a:gd name="connsiteY4" fmla="*/ 10911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430">
                      <a:moveTo>
                        <a:pt x="199" y="10911"/>
                      </a:moveTo>
                      <a:cubicBezTo>
                        <a:pt x="1444" y="3686"/>
                        <a:pt x="8295" y="-1047"/>
                        <a:pt x="15519" y="199"/>
                      </a:cubicBezTo>
                      <a:cubicBezTo>
                        <a:pt x="22619" y="1444"/>
                        <a:pt x="27352" y="8420"/>
                        <a:pt x="26107" y="15519"/>
                      </a:cubicBezTo>
                      <a:cubicBezTo>
                        <a:pt x="24736" y="22744"/>
                        <a:pt x="17886" y="27477"/>
                        <a:pt x="10786" y="26231"/>
                      </a:cubicBezTo>
                      <a:cubicBezTo>
                        <a:pt x="3686" y="24986"/>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7" name="Graphic 2987">
                <a:extLst>
                  <a:ext uri="{FF2B5EF4-FFF2-40B4-BE49-F238E27FC236}">
                    <a16:creationId xmlns:a16="http://schemas.microsoft.com/office/drawing/2014/main" id="{252032B9-0F35-F627-85FC-2871C6375471}"/>
                  </a:ext>
                </a:extLst>
              </p:cNvPr>
              <p:cNvGrpSpPr/>
              <p:nvPr/>
            </p:nvGrpSpPr>
            <p:grpSpPr>
              <a:xfrm>
                <a:off x="9998756" y="5692535"/>
                <a:ext cx="48796" cy="146752"/>
                <a:chOff x="9998756" y="5692535"/>
                <a:chExt cx="48796" cy="146752"/>
              </a:xfrm>
              <a:grpFill/>
            </p:grpSpPr>
            <p:sp>
              <p:nvSpPr>
                <p:cNvPr id="4157" name="Freeform 5427">
                  <a:extLst>
                    <a:ext uri="{FF2B5EF4-FFF2-40B4-BE49-F238E27FC236}">
                      <a16:creationId xmlns:a16="http://schemas.microsoft.com/office/drawing/2014/main" id="{E5AED09A-0758-1184-1483-9D6C335BCC33}"/>
                    </a:ext>
                  </a:extLst>
                </p:cNvPr>
                <p:cNvSpPr/>
                <p:nvPr/>
              </p:nvSpPr>
              <p:spPr>
                <a:xfrm>
                  <a:off x="10019045" y="5712040"/>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4"/>
                        <a:pt x="5231" y="13701"/>
                        <a:pt x="4858" y="18061"/>
                      </a:cubicBezTo>
                      <a:cubicBezTo>
                        <a:pt x="4359" y="25036"/>
                        <a:pt x="5855" y="28399"/>
                        <a:pt x="5107" y="35499"/>
                      </a:cubicBezTo>
                      <a:cubicBezTo>
                        <a:pt x="4359"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8" name="Freeform 5428">
                  <a:extLst>
                    <a:ext uri="{FF2B5EF4-FFF2-40B4-BE49-F238E27FC236}">
                      <a16:creationId xmlns:a16="http://schemas.microsoft.com/office/drawing/2014/main" id="{BAAF3CEF-80DD-D6B0-71A5-8101DAF81750}"/>
                    </a:ext>
                  </a:extLst>
                </p:cNvPr>
                <p:cNvSpPr/>
                <p:nvPr/>
              </p:nvSpPr>
              <p:spPr>
                <a:xfrm>
                  <a:off x="10028025" y="5708428"/>
                  <a:ext cx="9621" cy="51317"/>
                </a:xfrm>
                <a:custGeom>
                  <a:avLst/>
                  <a:gdLst>
                    <a:gd name="connsiteX0" fmla="*/ 362 w 9621"/>
                    <a:gd name="connsiteY0" fmla="*/ 51318 h 51317"/>
                    <a:gd name="connsiteX1" fmla="*/ 1857 w 9621"/>
                    <a:gd name="connsiteY1" fmla="*/ 32634 h 51317"/>
                    <a:gd name="connsiteX2" fmla="*/ 8334 w 9621"/>
                    <a:gd name="connsiteY2" fmla="*/ 16442 h 51317"/>
                    <a:gd name="connsiteX3" fmla="*/ 920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362" y="51318"/>
                      </a:moveTo>
                      <a:cubicBezTo>
                        <a:pt x="-635" y="42973"/>
                        <a:pt x="612" y="36745"/>
                        <a:pt x="1857" y="32634"/>
                      </a:cubicBezTo>
                      <a:cubicBezTo>
                        <a:pt x="3850" y="25908"/>
                        <a:pt x="6590" y="23292"/>
                        <a:pt x="8334" y="16442"/>
                      </a:cubicBezTo>
                      <a:cubicBezTo>
                        <a:pt x="10078" y="9715"/>
                        <a:pt x="9704"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9" name="Freeform 5429">
                  <a:extLst>
                    <a:ext uri="{FF2B5EF4-FFF2-40B4-BE49-F238E27FC236}">
                      <a16:creationId xmlns:a16="http://schemas.microsoft.com/office/drawing/2014/main" id="{6742E7B4-EA49-911C-B209-C66BE6625BF9}"/>
                    </a:ext>
                  </a:extLst>
                </p:cNvPr>
                <p:cNvSpPr/>
                <p:nvPr/>
              </p:nvSpPr>
              <p:spPr>
                <a:xfrm>
                  <a:off x="10020807" y="5692535"/>
                  <a:ext cx="26744" cy="26554"/>
                </a:xfrm>
                <a:custGeom>
                  <a:avLst/>
                  <a:gdLst>
                    <a:gd name="connsiteX0" fmla="*/ 26513 w 26744"/>
                    <a:gd name="connsiteY0" fmla="*/ 15644 h 26554"/>
                    <a:gd name="connsiteX1" fmla="*/ 10943 w 26744"/>
                    <a:gd name="connsiteY1" fmla="*/ 26356 h 26554"/>
                    <a:gd name="connsiteX2" fmla="*/ 232 w 26744"/>
                    <a:gd name="connsiteY2" fmla="*/ 10911 h 26554"/>
                    <a:gd name="connsiteX3" fmla="*/ 15801 w 26744"/>
                    <a:gd name="connsiteY3" fmla="*/ 199 h 26554"/>
                    <a:gd name="connsiteX4" fmla="*/ 26513 w 26744"/>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54">
                      <a:moveTo>
                        <a:pt x="26513" y="15644"/>
                      </a:moveTo>
                      <a:cubicBezTo>
                        <a:pt x="25143" y="22868"/>
                        <a:pt x="18167" y="27602"/>
                        <a:pt x="10943" y="26356"/>
                      </a:cubicBezTo>
                      <a:cubicBezTo>
                        <a:pt x="3719" y="24986"/>
                        <a:pt x="-1139" y="18135"/>
                        <a:pt x="232" y="10911"/>
                      </a:cubicBezTo>
                      <a:cubicBezTo>
                        <a:pt x="1602" y="3686"/>
                        <a:pt x="8452" y="-1047"/>
                        <a:pt x="15801" y="199"/>
                      </a:cubicBezTo>
                      <a:cubicBezTo>
                        <a:pt x="23025" y="1569"/>
                        <a:pt x="27883" y="8420"/>
                        <a:pt x="26513"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0" name="Freeform 5430">
                  <a:extLst>
                    <a:ext uri="{FF2B5EF4-FFF2-40B4-BE49-F238E27FC236}">
                      <a16:creationId xmlns:a16="http://schemas.microsoft.com/office/drawing/2014/main" id="{A9F73B0A-3481-6AA5-37BC-6D3065A9B038}"/>
                    </a:ext>
                  </a:extLst>
                </p:cNvPr>
                <p:cNvSpPr/>
                <p:nvPr/>
              </p:nvSpPr>
              <p:spPr>
                <a:xfrm>
                  <a:off x="10016803" y="5768589"/>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19"/>
                        <a:pt x="4983" y="37492"/>
                        <a:pt x="5356" y="33132"/>
                      </a:cubicBezTo>
                      <a:cubicBezTo>
                        <a:pt x="5854" y="26157"/>
                        <a:pt x="4359" y="22794"/>
                        <a:pt x="5107" y="15694"/>
                      </a:cubicBezTo>
                      <a:cubicBezTo>
                        <a:pt x="5854" y="8843"/>
                        <a:pt x="8345"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1" name="Freeform 5431">
                  <a:extLst>
                    <a:ext uri="{FF2B5EF4-FFF2-40B4-BE49-F238E27FC236}">
                      <a16:creationId xmlns:a16="http://schemas.microsoft.com/office/drawing/2014/main" id="{31838C43-731D-50F5-697F-A91CD8287FCF}"/>
                    </a:ext>
                  </a:extLst>
                </p:cNvPr>
                <p:cNvSpPr/>
                <p:nvPr/>
              </p:nvSpPr>
              <p:spPr>
                <a:xfrm>
                  <a:off x="10008541" y="5772077"/>
                  <a:ext cx="9621" cy="51317"/>
                </a:xfrm>
                <a:custGeom>
                  <a:avLst/>
                  <a:gdLst>
                    <a:gd name="connsiteX0" fmla="*/ 9259 w 9621"/>
                    <a:gd name="connsiteY0" fmla="*/ 0 h 51317"/>
                    <a:gd name="connsiteX1" fmla="*/ 7765 w 9621"/>
                    <a:gd name="connsiteY1" fmla="*/ 18684 h 51317"/>
                    <a:gd name="connsiteX2" fmla="*/ 1287 w 9621"/>
                    <a:gd name="connsiteY2" fmla="*/ 34876 h 51317"/>
                    <a:gd name="connsiteX3" fmla="*/ 415 w 962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0"/>
                      </a:moveTo>
                      <a:cubicBezTo>
                        <a:pt x="10255" y="8345"/>
                        <a:pt x="9010" y="14573"/>
                        <a:pt x="7765" y="18684"/>
                      </a:cubicBezTo>
                      <a:cubicBezTo>
                        <a:pt x="5771" y="25409"/>
                        <a:pt x="3156" y="28025"/>
                        <a:pt x="1287" y="34876"/>
                      </a:cubicBezTo>
                      <a:cubicBezTo>
                        <a:pt x="-457" y="41602"/>
                        <a:pt x="-82" y="47456"/>
                        <a:pt x="41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2" name="Freeform 5432">
                  <a:extLst>
                    <a:ext uri="{FF2B5EF4-FFF2-40B4-BE49-F238E27FC236}">
                      <a16:creationId xmlns:a16="http://schemas.microsoft.com/office/drawing/2014/main" id="{C3E31A63-BDA8-81AE-7CCC-04B35F36650E}"/>
                    </a:ext>
                  </a:extLst>
                </p:cNvPr>
                <p:cNvSpPr/>
                <p:nvPr/>
              </p:nvSpPr>
              <p:spPr>
                <a:xfrm>
                  <a:off x="9998756" y="5812857"/>
                  <a:ext cx="26255" cy="26429"/>
                </a:xfrm>
                <a:custGeom>
                  <a:avLst/>
                  <a:gdLst>
                    <a:gd name="connsiteX0" fmla="*/ 236 w 26255"/>
                    <a:gd name="connsiteY0" fmla="*/ 10911 h 26429"/>
                    <a:gd name="connsiteX1" fmla="*/ 15557 w 26255"/>
                    <a:gd name="connsiteY1" fmla="*/ 199 h 26429"/>
                    <a:gd name="connsiteX2" fmla="*/ 26020 w 26255"/>
                    <a:gd name="connsiteY2" fmla="*/ 15519 h 26429"/>
                    <a:gd name="connsiteX3" fmla="*/ 10699 w 26255"/>
                    <a:gd name="connsiteY3" fmla="*/ 26231 h 26429"/>
                    <a:gd name="connsiteX4" fmla="*/ 236 w 26255"/>
                    <a:gd name="connsiteY4" fmla="*/ 10911 h 2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429">
                      <a:moveTo>
                        <a:pt x="236" y="10911"/>
                      </a:moveTo>
                      <a:cubicBezTo>
                        <a:pt x="1606" y="3686"/>
                        <a:pt x="8457" y="-1047"/>
                        <a:pt x="15557" y="199"/>
                      </a:cubicBezTo>
                      <a:cubicBezTo>
                        <a:pt x="22656" y="1444"/>
                        <a:pt x="27390" y="8420"/>
                        <a:pt x="26020" y="15519"/>
                      </a:cubicBezTo>
                      <a:cubicBezTo>
                        <a:pt x="24649" y="22744"/>
                        <a:pt x="17799" y="27477"/>
                        <a:pt x="10699" y="26231"/>
                      </a:cubicBezTo>
                      <a:cubicBezTo>
                        <a:pt x="3600"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8" name="Graphic 2987">
                <a:extLst>
                  <a:ext uri="{FF2B5EF4-FFF2-40B4-BE49-F238E27FC236}">
                    <a16:creationId xmlns:a16="http://schemas.microsoft.com/office/drawing/2014/main" id="{8FCC018F-2743-8D44-C730-45E36052B546}"/>
                  </a:ext>
                </a:extLst>
              </p:cNvPr>
              <p:cNvGrpSpPr/>
              <p:nvPr/>
            </p:nvGrpSpPr>
            <p:grpSpPr>
              <a:xfrm>
                <a:off x="10027653" y="5697729"/>
                <a:ext cx="49298" cy="146794"/>
                <a:chOff x="10027653" y="5697729"/>
                <a:chExt cx="49298" cy="146794"/>
              </a:xfrm>
              <a:grpFill/>
            </p:grpSpPr>
            <p:sp>
              <p:nvSpPr>
                <p:cNvPr id="4151" name="Freeform 5434">
                  <a:extLst>
                    <a:ext uri="{FF2B5EF4-FFF2-40B4-BE49-F238E27FC236}">
                      <a16:creationId xmlns:a16="http://schemas.microsoft.com/office/drawing/2014/main" id="{9B167596-E75D-2FED-5912-C9F3B9D0B4A5}"/>
                    </a:ext>
                  </a:extLst>
                </p:cNvPr>
                <p:cNvSpPr/>
                <p:nvPr/>
              </p:nvSpPr>
              <p:spPr>
                <a:xfrm>
                  <a:off x="10048316" y="5717396"/>
                  <a:ext cx="10338" cy="51193"/>
                </a:xfrm>
                <a:custGeom>
                  <a:avLst/>
                  <a:gdLst>
                    <a:gd name="connsiteX0" fmla="*/ 10339 w 10338"/>
                    <a:gd name="connsiteY0" fmla="*/ 0 h 51193"/>
                    <a:gd name="connsiteX1" fmla="*/ 4858 w 10338"/>
                    <a:gd name="connsiteY1" fmla="*/ 18061 h 51193"/>
                    <a:gd name="connsiteX2" fmla="*/ 5107 w 10338"/>
                    <a:gd name="connsiteY2" fmla="*/ 35499 h 51193"/>
                    <a:gd name="connsiteX3" fmla="*/ 0 w 1033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38" h="51193">
                      <a:moveTo>
                        <a:pt x="10339" y="0"/>
                      </a:moveTo>
                      <a:cubicBezTo>
                        <a:pt x="6353" y="7474"/>
                        <a:pt x="5232" y="13701"/>
                        <a:pt x="4858" y="18061"/>
                      </a:cubicBezTo>
                      <a:cubicBezTo>
                        <a:pt x="4360" y="25036"/>
                        <a:pt x="5855" y="28399"/>
                        <a:pt x="5107" y="35499"/>
                      </a:cubicBezTo>
                      <a:cubicBezTo>
                        <a:pt x="4360"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2" name="Freeform 5435">
                  <a:extLst>
                    <a:ext uri="{FF2B5EF4-FFF2-40B4-BE49-F238E27FC236}">
                      <a16:creationId xmlns:a16="http://schemas.microsoft.com/office/drawing/2014/main" id="{FFF07AF7-DDBC-19A7-6B8B-A74FF359A547}"/>
                    </a:ext>
                  </a:extLst>
                </p:cNvPr>
                <p:cNvSpPr/>
                <p:nvPr/>
              </p:nvSpPr>
              <p:spPr>
                <a:xfrm>
                  <a:off x="10057172" y="5713784"/>
                  <a:ext cx="9797" cy="51318"/>
                </a:xfrm>
                <a:custGeom>
                  <a:avLst/>
                  <a:gdLst>
                    <a:gd name="connsiteX0" fmla="*/ 362 w 9797"/>
                    <a:gd name="connsiteY0" fmla="*/ 51318 h 51318"/>
                    <a:gd name="connsiteX1" fmla="*/ 1857 w 9797"/>
                    <a:gd name="connsiteY1" fmla="*/ 32634 h 51318"/>
                    <a:gd name="connsiteX2" fmla="*/ 8458 w 9797"/>
                    <a:gd name="connsiteY2" fmla="*/ 16442 h 51318"/>
                    <a:gd name="connsiteX3" fmla="*/ 9330 w 9797"/>
                    <a:gd name="connsiteY3" fmla="*/ 0 h 51318"/>
                  </a:gdLst>
                  <a:ahLst/>
                  <a:cxnLst>
                    <a:cxn ang="0">
                      <a:pos x="connsiteX0" y="connsiteY0"/>
                    </a:cxn>
                    <a:cxn ang="0">
                      <a:pos x="connsiteX1" y="connsiteY1"/>
                    </a:cxn>
                    <a:cxn ang="0">
                      <a:pos x="connsiteX2" y="connsiteY2"/>
                    </a:cxn>
                    <a:cxn ang="0">
                      <a:pos x="connsiteX3" y="connsiteY3"/>
                    </a:cxn>
                  </a:cxnLst>
                  <a:rect l="l" t="t" r="r" b="b"/>
                  <a:pathLst>
                    <a:path w="9797" h="51318">
                      <a:moveTo>
                        <a:pt x="362" y="51318"/>
                      </a:moveTo>
                      <a:cubicBezTo>
                        <a:pt x="-634" y="42973"/>
                        <a:pt x="611" y="36745"/>
                        <a:pt x="1857" y="32634"/>
                      </a:cubicBezTo>
                      <a:cubicBezTo>
                        <a:pt x="3974" y="25908"/>
                        <a:pt x="6590" y="23293"/>
                        <a:pt x="8458" y="16442"/>
                      </a:cubicBezTo>
                      <a:cubicBezTo>
                        <a:pt x="10202" y="9715"/>
                        <a:pt x="9953" y="3861"/>
                        <a:pt x="9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3" name="Freeform 5436">
                  <a:extLst>
                    <a:ext uri="{FF2B5EF4-FFF2-40B4-BE49-F238E27FC236}">
                      <a16:creationId xmlns:a16="http://schemas.microsoft.com/office/drawing/2014/main" id="{0C3FC777-C571-A6E5-6B72-8726914D9EC6}"/>
                    </a:ext>
                  </a:extLst>
                </p:cNvPr>
                <p:cNvSpPr/>
                <p:nvPr/>
              </p:nvSpPr>
              <p:spPr>
                <a:xfrm>
                  <a:off x="10050235" y="5697729"/>
                  <a:ext cx="26716" cy="26509"/>
                </a:xfrm>
                <a:custGeom>
                  <a:avLst/>
                  <a:gdLst>
                    <a:gd name="connsiteX0" fmla="*/ 26480 w 26716"/>
                    <a:gd name="connsiteY0" fmla="*/ 15806 h 26509"/>
                    <a:gd name="connsiteX1" fmla="*/ 10911 w 26716"/>
                    <a:gd name="connsiteY1" fmla="*/ 26269 h 26509"/>
                    <a:gd name="connsiteX2" fmla="*/ 199 w 26716"/>
                    <a:gd name="connsiteY2" fmla="*/ 10824 h 26509"/>
                    <a:gd name="connsiteX3" fmla="*/ 15769 w 26716"/>
                    <a:gd name="connsiteY3" fmla="*/ 236 h 26509"/>
                    <a:gd name="connsiteX4" fmla="*/ 26480 w 26716"/>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9">
                      <a:moveTo>
                        <a:pt x="26480" y="15806"/>
                      </a:moveTo>
                      <a:cubicBezTo>
                        <a:pt x="25110" y="23030"/>
                        <a:pt x="18135" y="27639"/>
                        <a:pt x="10911" y="26269"/>
                      </a:cubicBezTo>
                      <a:cubicBezTo>
                        <a:pt x="3686" y="24899"/>
                        <a:pt x="-1047" y="18048"/>
                        <a:pt x="199" y="10824"/>
                      </a:cubicBezTo>
                      <a:cubicBezTo>
                        <a:pt x="1569" y="3599"/>
                        <a:pt x="8544" y="-1134"/>
                        <a:pt x="15769" y="236"/>
                      </a:cubicBezTo>
                      <a:cubicBezTo>
                        <a:pt x="23117" y="1606"/>
                        <a:pt x="27850" y="8706"/>
                        <a:pt x="26480"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4" name="Freeform 5437">
                  <a:extLst>
                    <a:ext uri="{FF2B5EF4-FFF2-40B4-BE49-F238E27FC236}">
                      <a16:creationId xmlns:a16="http://schemas.microsoft.com/office/drawing/2014/main" id="{EE8A3228-DFD7-30CE-D385-C32077242BB8}"/>
                    </a:ext>
                  </a:extLst>
                </p:cNvPr>
                <p:cNvSpPr/>
                <p:nvPr/>
              </p:nvSpPr>
              <p:spPr>
                <a:xfrm>
                  <a:off x="10045701" y="5773821"/>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861" y="43720"/>
                        <a:pt x="5107" y="37492"/>
                        <a:pt x="5481" y="33132"/>
                      </a:cubicBezTo>
                      <a:cubicBezTo>
                        <a:pt x="5979" y="26157"/>
                        <a:pt x="4484" y="22794"/>
                        <a:pt x="5356" y="15694"/>
                      </a:cubicBezTo>
                      <a:cubicBezTo>
                        <a:pt x="6103"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5" name="Freeform 5438">
                  <a:extLst>
                    <a:ext uri="{FF2B5EF4-FFF2-40B4-BE49-F238E27FC236}">
                      <a16:creationId xmlns:a16="http://schemas.microsoft.com/office/drawing/2014/main" id="{9C1D15D0-64ED-6994-FCAA-B27BA6FB4240}"/>
                    </a:ext>
                  </a:extLst>
                </p:cNvPr>
                <p:cNvSpPr/>
                <p:nvPr/>
              </p:nvSpPr>
              <p:spPr>
                <a:xfrm>
                  <a:off x="10037511" y="5777433"/>
                  <a:ext cx="9672" cy="51317"/>
                </a:xfrm>
                <a:custGeom>
                  <a:avLst/>
                  <a:gdLst>
                    <a:gd name="connsiteX0" fmla="*/ 9310 w 9672"/>
                    <a:gd name="connsiteY0" fmla="*/ 0 h 51317"/>
                    <a:gd name="connsiteX1" fmla="*/ 7816 w 9672"/>
                    <a:gd name="connsiteY1" fmla="*/ 18684 h 51317"/>
                    <a:gd name="connsiteX2" fmla="*/ 1339 w 9672"/>
                    <a:gd name="connsiteY2" fmla="*/ 34876 h 51317"/>
                    <a:gd name="connsiteX3" fmla="*/ 467 w 9672"/>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2" h="51317">
                      <a:moveTo>
                        <a:pt x="9310" y="0"/>
                      </a:moveTo>
                      <a:cubicBezTo>
                        <a:pt x="10307" y="8345"/>
                        <a:pt x="9062" y="14573"/>
                        <a:pt x="7816" y="18684"/>
                      </a:cubicBezTo>
                      <a:cubicBezTo>
                        <a:pt x="5823" y="25410"/>
                        <a:pt x="3083" y="28025"/>
                        <a:pt x="1339" y="34876"/>
                      </a:cubicBezTo>
                      <a:cubicBezTo>
                        <a:pt x="-405" y="41602"/>
                        <a:pt x="-155" y="47456"/>
                        <a:pt x="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6" name="Freeform 5439">
                  <a:extLst>
                    <a:ext uri="{FF2B5EF4-FFF2-40B4-BE49-F238E27FC236}">
                      <a16:creationId xmlns:a16="http://schemas.microsoft.com/office/drawing/2014/main" id="{EC8813FC-B958-9DC5-DEF6-42B4CB698C63}"/>
                    </a:ext>
                  </a:extLst>
                </p:cNvPr>
                <p:cNvSpPr/>
                <p:nvPr/>
              </p:nvSpPr>
              <p:spPr>
                <a:xfrm>
                  <a:off x="10027653" y="5818089"/>
                  <a:ext cx="26380" cy="26434"/>
                </a:xfrm>
                <a:custGeom>
                  <a:avLst/>
                  <a:gdLst>
                    <a:gd name="connsiteX0" fmla="*/ 236 w 26380"/>
                    <a:gd name="connsiteY0" fmla="*/ 10911 h 26434"/>
                    <a:gd name="connsiteX1" fmla="*/ 15681 w 26380"/>
                    <a:gd name="connsiteY1" fmla="*/ 199 h 26434"/>
                    <a:gd name="connsiteX2" fmla="*/ 26144 w 26380"/>
                    <a:gd name="connsiteY2" fmla="*/ 15644 h 26434"/>
                    <a:gd name="connsiteX3" fmla="*/ 10823 w 26380"/>
                    <a:gd name="connsiteY3" fmla="*/ 26231 h 26434"/>
                    <a:gd name="connsiteX4" fmla="*/ 236 w 26380"/>
                    <a:gd name="connsiteY4" fmla="*/ 10911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0911"/>
                      </a:moveTo>
                      <a:cubicBezTo>
                        <a:pt x="1606" y="3686"/>
                        <a:pt x="8457" y="-1047"/>
                        <a:pt x="15681" y="199"/>
                      </a:cubicBezTo>
                      <a:cubicBezTo>
                        <a:pt x="22781" y="1444"/>
                        <a:pt x="27514" y="8544"/>
                        <a:pt x="26144" y="15644"/>
                      </a:cubicBezTo>
                      <a:cubicBezTo>
                        <a:pt x="24774" y="22868"/>
                        <a:pt x="17923" y="27477"/>
                        <a:pt x="10823" y="26231"/>
                      </a:cubicBezTo>
                      <a:cubicBezTo>
                        <a:pt x="3599"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9" name="Graphic 2987">
                <a:extLst>
                  <a:ext uri="{FF2B5EF4-FFF2-40B4-BE49-F238E27FC236}">
                    <a16:creationId xmlns:a16="http://schemas.microsoft.com/office/drawing/2014/main" id="{D450DCD9-D7CD-182E-980B-AD576E195966}"/>
                  </a:ext>
                </a:extLst>
              </p:cNvPr>
              <p:cNvGrpSpPr/>
              <p:nvPr/>
            </p:nvGrpSpPr>
            <p:grpSpPr>
              <a:xfrm>
                <a:off x="10056421" y="5703538"/>
                <a:ext cx="49801" cy="146628"/>
                <a:chOff x="10056421" y="5703538"/>
                <a:chExt cx="49801" cy="146628"/>
              </a:xfrm>
              <a:grpFill/>
            </p:grpSpPr>
            <p:sp>
              <p:nvSpPr>
                <p:cNvPr id="4145" name="Freeform 5441">
                  <a:extLst>
                    <a:ext uri="{FF2B5EF4-FFF2-40B4-BE49-F238E27FC236}">
                      <a16:creationId xmlns:a16="http://schemas.microsoft.com/office/drawing/2014/main" id="{ADCAB658-B8C8-482B-C2DB-E152763F62BB}"/>
                    </a:ext>
                  </a:extLst>
                </p:cNvPr>
                <p:cNvSpPr/>
                <p:nvPr/>
              </p:nvSpPr>
              <p:spPr>
                <a:xfrm>
                  <a:off x="10077338" y="5723001"/>
                  <a:ext cx="10587" cy="51068"/>
                </a:xfrm>
                <a:custGeom>
                  <a:avLst/>
                  <a:gdLst>
                    <a:gd name="connsiteX0" fmla="*/ 10588 w 10587"/>
                    <a:gd name="connsiteY0" fmla="*/ 0 h 51068"/>
                    <a:gd name="connsiteX1" fmla="*/ 5107 w 10587"/>
                    <a:gd name="connsiteY1" fmla="*/ 17936 h 51068"/>
                    <a:gd name="connsiteX2" fmla="*/ 5231 w 10587"/>
                    <a:gd name="connsiteY2" fmla="*/ 35374 h 51068"/>
                    <a:gd name="connsiteX3" fmla="*/ 0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10588" y="0"/>
                      </a:moveTo>
                      <a:cubicBezTo>
                        <a:pt x="6602" y="7349"/>
                        <a:pt x="5481" y="13577"/>
                        <a:pt x="5107" y="17936"/>
                      </a:cubicBezTo>
                      <a:cubicBezTo>
                        <a:pt x="4609" y="24912"/>
                        <a:pt x="6103" y="28274"/>
                        <a:pt x="5231" y="35374"/>
                      </a:cubicBezTo>
                      <a:cubicBezTo>
                        <a:pt x="4360" y="42225"/>
                        <a:pt x="1993" y="47581"/>
                        <a:pt x="0"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6" name="Freeform 5442">
                  <a:extLst>
                    <a:ext uri="{FF2B5EF4-FFF2-40B4-BE49-F238E27FC236}">
                      <a16:creationId xmlns:a16="http://schemas.microsoft.com/office/drawing/2014/main" id="{2C7577F4-2E47-235A-46C7-F60967DE05DF}"/>
                    </a:ext>
                  </a:extLst>
                </p:cNvPr>
                <p:cNvSpPr/>
                <p:nvPr/>
              </p:nvSpPr>
              <p:spPr>
                <a:xfrm>
                  <a:off x="10086264" y="5719638"/>
                  <a:ext cx="9876" cy="51193"/>
                </a:xfrm>
                <a:custGeom>
                  <a:avLst/>
                  <a:gdLst>
                    <a:gd name="connsiteX0" fmla="*/ 291 w 9876"/>
                    <a:gd name="connsiteY0" fmla="*/ 51193 h 51193"/>
                    <a:gd name="connsiteX1" fmla="*/ 1911 w 9876"/>
                    <a:gd name="connsiteY1" fmla="*/ 32510 h 51193"/>
                    <a:gd name="connsiteX2" fmla="*/ 8513 w 9876"/>
                    <a:gd name="connsiteY2" fmla="*/ 16442 h 51193"/>
                    <a:gd name="connsiteX3" fmla="*/ 9509 w 9876"/>
                    <a:gd name="connsiteY3" fmla="*/ 0 h 51193"/>
                  </a:gdLst>
                  <a:ahLst/>
                  <a:cxnLst>
                    <a:cxn ang="0">
                      <a:pos x="connsiteX0" y="connsiteY0"/>
                    </a:cxn>
                    <a:cxn ang="0">
                      <a:pos x="connsiteX1" y="connsiteY1"/>
                    </a:cxn>
                    <a:cxn ang="0">
                      <a:pos x="connsiteX2" y="connsiteY2"/>
                    </a:cxn>
                    <a:cxn ang="0">
                      <a:pos x="connsiteX3" y="connsiteY3"/>
                    </a:cxn>
                  </a:cxnLst>
                  <a:rect l="l" t="t" r="r" b="b"/>
                  <a:pathLst>
                    <a:path w="9876" h="51193">
                      <a:moveTo>
                        <a:pt x="291" y="51193"/>
                      </a:moveTo>
                      <a:cubicBezTo>
                        <a:pt x="-581" y="42848"/>
                        <a:pt x="665" y="36620"/>
                        <a:pt x="1911" y="32510"/>
                      </a:cubicBezTo>
                      <a:cubicBezTo>
                        <a:pt x="4029" y="25784"/>
                        <a:pt x="6644" y="23292"/>
                        <a:pt x="8513" y="16442"/>
                      </a:cubicBezTo>
                      <a:cubicBezTo>
                        <a:pt x="10257"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7" name="Freeform 5443">
                  <a:extLst>
                    <a:ext uri="{FF2B5EF4-FFF2-40B4-BE49-F238E27FC236}">
                      <a16:creationId xmlns:a16="http://schemas.microsoft.com/office/drawing/2014/main" id="{00758E14-4477-AEEA-6820-7CCA73D86213}"/>
                    </a:ext>
                  </a:extLst>
                </p:cNvPr>
                <p:cNvSpPr/>
                <p:nvPr/>
              </p:nvSpPr>
              <p:spPr>
                <a:xfrm>
                  <a:off x="10079594" y="5703538"/>
                  <a:ext cx="26629" cy="26470"/>
                </a:xfrm>
                <a:custGeom>
                  <a:avLst/>
                  <a:gdLst>
                    <a:gd name="connsiteX0" fmla="*/ 26393 w 26629"/>
                    <a:gd name="connsiteY0" fmla="*/ 15851 h 26470"/>
                    <a:gd name="connsiteX1" fmla="*/ 10823 w 26629"/>
                    <a:gd name="connsiteY1" fmla="*/ 26189 h 26470"/>
                    <a:gd name="connsiteX2" fmla="*/ 236 w 26629"/>
                    <a:gd name="connsiteY2" fmla="*/ 10619 h 26470"/>
                    <a:gd name="connsiteX3" fmla="*/ 15806 w 26629"/>
                    <a:gd name="connsiteY3" fmla="*/ 281 h 26470"/>
                    <a:gd name="connsiteX4" fmla="*/ 26393 w 26629"/>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6393" y="15851"/>
                      </a:moveTo>
                      <a:cubicBezTo>
                        <a:pt x="25023" y="23075"/>
                        <a:pt x="18048" y="27684"/>
                        <a:pt x="10823" y="26189"/>
                      </a:cubicBezTo>
                      <a:cubicBezTo>
                        <a:pt x="3599" y="24694"/>
                        <a:pt x="-1134" y="17719"/>
                        <a:pt x="236" y="10619"/>
                      </a:cubicBezTo>
                      <a:cubicBezTo>
                        <a:pt x="1606" y="3395"/>
                        <a:pt x="8581" y="-1213"/>
                        <a:pt x="15806" y="281"/>
                      </a:cubicBezTo>
                      <a:cubicBezTo>
                        <a:pt x="23030" y="1651"/>
                        <a:pt x="27764" y="8751"/>
                        <a:pt x="2639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8" name="Freeform 5444">
                  <a:extLst>
                    <a:ext uri="{FF2B5EF4-FFF2-40B4-BE49-F238E27FC236}">
                      <a16:creationId xmlns:a16="http://schemas.microsoft.com/office/drawing/2014/main" id="{6BF26F30-073C-8BEF-D316-A1B3A9FAC43F}"/>
                    </a:ext>
                  </a:extLst>
                </p:cNvPr>
                <p:cNvSpPr/>
                <p:nvPr/>
              </p:nvSpPr>
              <p:spPr>
                <a:xfrm>
                  <a:off x="10074474" y="5779675"/>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107" y="37492"/>
                        <a:pt x="5481" y="33132"/>
                      </a:cubicBezTo>
                      <a:cubicBezTo>
                        <a:pt x="6103" y="26157"/>
                        <a:pt x="4609" y="22794"/>
                        <a:pt x="5356" y="15694"/>
                      </a:cubicBezTo>
                      <a:cubicBezTo>
                        <a:pt x="6228"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9" name="Freeform 5445">
                  <a:extLst>
                    <a:ext uri="{FF2B5EF4-FFF2-40B4-BE49-F238E27FC236}">
                      <a16:creationId xmlns:a16="http://schemas.microsoft.com/office/drawing/2014/main" id="{39513898-9A35-EBD4-F1B8-3446A6DEB97F}"/>
                    </a:ext>
                  </a:extLst>
                </p:cNvPr>
                <p:cNvSpPr/>
                <p:nvPr/>
              </p:nvSpPr>
              <p:spPr>
                <a:xfrm>
                  <a:off x="10066260" y="5783038"/>
                  <a:ext cx="9875" cy="51318"/>
                </a:xfrm>
                <a:custGeom>
                  <a:avLst/>
                  <a:gdLst>
                    <a:gd name="connsiteX0" fmla="*/ 9584 w 9875"/>
                    <a:gd name="connsiteY0" fmla="*/ 0 h 51318"/>
                    <a:gd name="connsiteX1" fmla="*/ 7965 w 9875"/>
                    <a:gd name="connsiteY1" fmla="*/ 18808 h 51318"/>
                    <a:gd name="connsiteX2" fmla="*/ 1364 w 9875"/>
                    <a:gd name="connsiteY2" fmla="*/ 34876 h 51318"/>
                    <a:gd name="connsiteX3" fmla="*/ 367 w 9875"/>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875" h="51318">
                      <a:moveTo>
                        <a:pt x="9584" y="0"/>
                      </a:moveTo>
                      <a:cubicBezTo>
                        <a:pt x="10456" y="8346"/>
                        <a:pt x="9211" y="14573"/>
                        <a:pt x="7965" y="18808"/>
                      </a:cubicBezTo>
                      <a:cubicBezTo>
                        <a:pt x="5847" y="25535"/>
                        <a:pt x="3231" y="28025"/>
                        <a:pt x="1364" y="34876"/>
                      </a:cubicBezTo>
                      <a:cubicBezTo>
                        <a:pt x="-380" y="41603"/>
                        <a:pt x="-131" y="47457"/>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0" name="Freeform 5446">
                  <a:extLst>
                    <a:ext uri="{FF2B5EF4-FFF2-40B4-BE49-F238E27FC236}">
                      <a16:creationId xmlns:a16="http://schemas.microsoft.com/office/drawing/2014/main" id="{F371FD9B-93CA-B202-8BB7-C61AC6B7EF02}"/>
                    </a:ext>
                  </a:extLst>
                </p:cNvPr>
                <p:cNvSpPr/>
                <p:nvPr/>
              </p:nvSpPr>
              <p:spPr>
                <a:xfrm>
                  <a:off x="10056421" y="5823652"/>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461" y="-1129"/>
                        <a:pt x="15686" y="241"/>
                      </a:cubicBezTo>
                      <a:cubicBezTo>
                        <a:pt x="22786" y="1611"/>
                        <a:pt x="27394" y="8586"/>
                        <a:pt x="26024" y="15810"/>
                      </a:cubicBezTo>
                      <a:cubicBezTo>
                        <a:pt x="24654" y="23035"/>
                        <a:pt x="17679" y="27644"/>
                        <a:pt x="10579" y="26274"/>
                      </a:cubicBezTo>
                      <a:cubicBezTo>
                        <a:pt x="3480" y="24903"/>
                        <a:pt x="-1129" y="17928"/>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0" name="Graphic 2987">
                <a:extLst>
                  <a:ext uri="{FF2B5EF4-FFF2-40B4-BE49-F238E27FC236}">
                    <a16:creationId xmlns:a16="http://schemas.microsoft.com/office/drawing/2014/main" id="{B381290D-8FD7-C65E-C51F-8AA397F90C5B}"/>
                  </a:ext>
                </a:extLst>
              </p:cNvPr>
              <p:cNvGrpSpPr/>
              <p:nvPr/>
            </p:nvGrpSpPr>
            <p:grpSpPr>
              <a:xfrm>
                <a:off x="10085194" y="5709392"/>
                <a:ext cx="50304" cy="146628"/>
                <a:chOff x="10085194" y="5709392"/>
                <a:chExt cx="50304" cy="146628"/>
              </a:xfrm>
              <a:grpFill/>
            </p:grpSpPr>
            <p:sp>
              <p:nvSpPr>
                <p:cNvPr id="4139" name="Freeform 5448">
                  <a:extLst>
                    <a:ext uri="{FF2B5EF4-FFF2-40B4-BE49-F238E27FC236}">
                      <a16:creationId xmlns:a16="http://schemas.microsoft.com/office/drawing/2014/main" id="{EF73271E-C0C4-D6EC-A52B-1F268AC8E7D0}"/>
                    </a:ext>
                  </a:extLst>
                </p:cNvPr>
                <p:cNvSpPr/>
                <p:nvPr/>
              </p:nvSpPr>
              <p:spPr>
                <a:xfrm>
                  <a:off x="10106360" y="5728855"/>
                  <a:ext cx="10836" cy="50944"/>
                </a:xfrm>
                <a:custGeom>
                  <a:avLst/>
                  <a:gdLst>
                    <a:gd name="connsiteX0" fmla="*/ 10836 w 10836"/>
                    <a:gd name="connsiteY0" fmla="*/ 0 h 50944"/>
                    <a:gd name="connsiteX1" fmla="*/ 5231 w 10836"/>
                    <a:gd name="connsiteY1" fmla="*/ 17936 h 50944"/>
                    <a:gd name="connsiteX2" fmla="*/ 5231 w 10836"/>
                    <a:gd name="connsiteY2" fmla="*/ 35374 h 50944"/>
                    <a:gd name="connsiteX3" fmla="*/ 0 w 1083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836" h="50944">
                      <a:moveTo>
                        <a:pt x="10836" y="0"/>
                      </a:moveTo>
                      <a:cubicBezTo>
                        <a:pt x="6851" y="7349"/>
                        <a:pt x="5605" y="13577"/>
                        <a:pt x="5231" y="17936"/>
                      </a:cubicBezTo>
                      <a:cubicBezTo>
                        <a:pt x="4609" y="24912"/>
                        <a:pt x="6103" y="28274"/>
                        <a:pt x="5231" y="35374"/>
                      </a:cubicBezTo>
                      <a:cubicBezTo>
                        <a:pt x="4359"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0" name="Freeform 5449">
                  <a:extLst>
                    <a:ext uri="{FF2B5EF4-FFF2-40B4-BE49-F238E27FC236}">
                      <a16:creationId xmlns:a16="http://schemas.microsoft.com/office/drawing/2014/main" id="{FF3FDD36-A095-BC72-1915-1228D09BFC6F}"/>
                    </a:ext>
                  </a:extLst>
                </p:cNvPr>
                <p:cNvSpPr/>
                <p:nvPr/>
              </p:nvSpPr>
              <p:spPr>
                <a:xfrm>
                  <a:off x="10115288" y="5725368"/>
                  <a:ext cx="10239" cy="51193"/>
                </a:xfrm>
                <a:custGeom>
                  <a:avLst/>
                  <a:gdLst>
                    <a:gd name="connsiteX0" fmla="*/ 290 w 10239"/>
                    <a:gd name="connsiteY0" fmla="*/ 51193 h 51193"/>
                    <a:gd name="connsiteX1" fmla="*/ 2034 w 10239"/>
                    <a:gd name="connsiteY1" fmla="*/ 32509 h 51193"/>
                    <a:gd name="connsiteX2" fmla="*/ 8760 w 10239"/>
                    <a:gd name="connsiteY2" fmla="*/ 16441 h 51193"/>
                    <a:gd name="connsiteX3" fmla="*/ 9881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51193"/>
                      </a:moveTo>
                      <a:cubicBezTo>
                        <a:pt x="-582" y="42848"/>
                        <a:pt x="664" y="36620"/>
                        <a:pt x="2034" y="32509"/>
                      </a:cubicBezTo>
                      <a:cubicBezTo>
                        <a:pt x="4151" y="25783"/>
                        <a:pt x="6892" y="23292"/>
                        <a:pt x="8760" y="16441"/>
                      </a:cubicBezTo>
                      <a:cubicBezTo>
                        <a:pt x="10628" y="9840"/>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1" name="Freeform 5450">
                  <a:extLst>
                    <a:ext uri="{FF2B5EF4-FFF2-40B4-BE49-F238E27FC236}">
                      <a16:creationId xmlns:a16="http://schemas.microsoft.com/office/drawing/2014/main" id="{C160D777-C4CA-B043-AFE2-66611FFAE0AC}"/>
                    </a:ext>
                  </a:extLst>
                </p:cNvPr>
                <p:cNvSpPr/>
                <p:nvPr/>
              </p:nvSpPr>
              <p:spPr>
                <a:xfrm>
                  <a:off x="10108824" y="5709392"/>
                  <a:ext cx="26674" cy="26470"/>
                </a:xfrm>
                <a:custGeom>
                  <a:avLst/>
                  <a:gdLst>
                    <a:gd name="connsiteX0" fmla="*/ 26433 w 26674"/>
                    <a:gd name="connsiteY0" fmla="*/ 15851 h 26470"/>
                    <a:gd name="connsiteX1" fmla="*/ 10739 w 26674"/>
                    <a:gd name="connsiteY1" fmla="*/ 26189 h 26470"/>
                    <a:gd name="connsiteX2" fmla="*/ 276 w 26674"/>
                    <a:gd name="connsiteY2" fmla="*/ 10619 h 26470"/>
                    <a:gd name="connsiteX3" fmla="*/ 15970 w 26674"/>
                    <a:gd name="connsiteY3" fmla="*/ 281 h 26470"/>
                    <a:gd name="connsiteX4" fmla="*/ 26433 w 26674"/>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70">
                      <a:moveTo>
                        <a:pt x="26433" y="15851"/>
                      </a:moveTo>
                      <a:cubicBezTo>
                        <a:pt x="24939" y="23075"/>
                        <a:pt x="17964" y="27684"/>
                        <a:pt x="10739" y="26189"/>
                      </a:cubicBezTo>
                      <a:cubicBezTo>
                        <a:pt x="3514" y="24694"/>
                        <a:pt x="-1219" y="17719"/>
                        <a:pt x="276" y="10619"/>
                      </a:cubicBezTo>
                      <a:cubicBezTo>
                        <a:pt x="1647" y="3395"/>
                        <a:pt x="8746" y="-1213"/>
                        <a:pt x="15970" y="281"/>
                      </a:cubicBezTo>
                      <a:cubicBezTo>
                        <a:pt x="23195" y="1776"/>
                        <a:pt x="27803" y="8751"/>
                        <a:pt x="2643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2" name="Freeform 5451">
                  <a:extLst>
                    <a:ext uri="{FF2B5EF4-FFF2-40B4-BE49-F238E27FC236}">
                      <a16:creationId xmlns:a16="http://schemas.microsoft.com/office/drawing/2014/main" id="{EC5D1520-A02E-126A-C699-E6B4E53C3549}"/>
                    </a:ext>
                  </a:extLst>
                </p:cNvPr>
                <p:cNvSpPr/>
                <p:nvPr/>
              </p:nvSpPr>
              <p:spPr>
                <a:xfrm>
                  <a:off x="10103246" y="5785529"/>
                  <a:ext cx="10961" cy="50944"/>
                </a:xfrm>
                <a:custGeom>
                  <a:avLst/>
                  <a:gdLst>
                    <a:gd name="connsiteX0" fmla="*/ 0 w 10961"/>
                    <a:gd name="connsiteY0" fmla="*/ 50944 h 50944"/>
                    <a:gd name="connsiteX1" fmla="*/ 5605 w 10961"/>
                    <a:gd name="connsiteY1" fmla="*/ 33008 h 50944"/>
                    <a:gd name="connsiteX2" fmla="*/ 5605 w 10961"/>
                    <a:gd name="connsiteY2" fmla="*/ 15570 h 50944"/>
                    <a:gd name="connsiteX3" fmla="*/ 10961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0" y="50944"/>
                      </a:moveTo>
                      <a:cubicBezTo>
                        <a:pt x="3986" y="43595"/>
                        <a:pt x="5231" y="37367"/>
                        <a:pt x="5605" y="33008"/>
                      </a:cubicBezTo>
                      <a:cubicBezTo>
                        <a:pt x="6228" y="26033"/>
                        <a:pt x="4733" y="22670"/>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3" name="Freeform 5452">
                  <a:extLst>
                    <a:ext uri="{FF2B5EF4-FFF2-40B4-BE49-F238E27FC236}">
                      <a16:creationId xmlns:a16="http://schemas.microsoft.com/office/drawing/2014/main" id="{80FE8204-9F34-2EBA-7F02-758C852C02A8}"/>
                    </a:ext>
                  </a:extLst>
                </p:cNvPr>
                <p:cNvSpPr/>
                <p:nvPr/>
              </p:nvSpPr>
              <p:spPr>
                <a:xfrm>
                  <a:off x="10095041" y="5788768"/>
                  <a:ext cx="10114" cy="51193"/>
                </a:xfrm>
                <a:custGeom>
                  <a:avLst/>
                  <a:gdLst>
                    <a:gd name="connsiteX0" fmla="*/ 9825 w 10114"/>
                    <a:gd name="connsiteY0" fmla="*/ 0 h 51193"/>
                    <a:gd name="connsiteX1" fmla="*/ 8081 w 10114"/>
                    <a:gd name="connsiteY1" fmla="*/ 18684 h 51193"/>
                    <a:gd name="connsiteX2" fmla="*/ 1480 w 10114"/>
                    <a:gd name="connsiteY2" fmla="*/ 34751 h 51193"/>
                    <a:gd name="connsiteX3" fmla="*/ 359 w 1011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114" h="51193">
                      <a:moveTo>
                        <a:pt x="9825" y="0"/>
                      </a:moveTo>
                      <a:cubicBezTo>
                        <a:pt x="10697" y="8345"/>
                        <a:pt x="9451" y="14573"/>
                        <a:pt x="8081" y="18684"/>
                      </a:cubicBezTo>
                      <a:cubicBezTo>
                        <a:pt x="5964" y="25409"/>
                        <a:pt x="3348" y="27901"/>
                        <a:pt x="1480"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4" name="Freeform 5453">
                  <a:extLst>
                    <a:ext uri="{FF2B5EF4-FFF2-40B4-BE49-F238E27FC236}">
                      <a16:creationId xmlns:a16="http://schemas.microsoft.com/office/drawing/2014/main" id="{42224342-8876-BB92-B1D1-8D566FBC01FB}"/>
                    </a:ext>
                  </a:extLst>
                </p:cNvPr>
                <p:cNvSpPr/>
                <p:nvPr/>
              </p:nvSpPr>
              <p:spPr>
                <a:xfrm>
                  <a:off x="10085194" y="5829506"/>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586" y="-1129"/>
                        <a:pt x="15686" y="241"/>
                      </a:cubicBezTo>
                      <a:cubicBezTo>
                        <a:pt x="22786" y="1611"/>
                        <a:pt x="27394" y="8586"/>
                        <a:pt x="26024" y="15810"/>
                      </a:cubicBezTo>
                      <a:cubicBezTo>
                        <a:pt x="24654" y="23035"/>
                        <a:pt x="17679" y="27644"/>
                        <a:pt x="10579" y="26274"/>
                      </a:cubicBezTo>
                      <a:cubicBezTo>
                        <a:pt x="3480" y="24779"/>
                        <a:pt x="-1129" y="17803"/>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1" name="Graphic 2987">
                <a:extLst>
                  <a:ext uri="{FF2B5EF4-FFF2-40B4-BE49-F238E27FC236}">
                    <a16:creationId xmlns:a16="http://schemas.microsoft.com/office/drawing/2014/main" id="{FB17E9DA-B82F-EF9D-6B35-47EC1BFAAE72}"/>
                  </a:ext>
                </a:extLst>
              </p:cNvPr>
              <p:cNvGrpSpPr/>
              <p:nvPr/>
            </p:nvGrpSpPr>
            <p:grpSpPr>
              <a:xfrm>
                <a:off x="10113962" y="5715252"/>
                <a:ext cx="50842" cy="146498"/>
                <a:chOff x="10113962" y="5715252"/>
                <a:chExt cx="50842" cy="146498"/>
              </a:xfrm>
              <a:grpFill/>
            </p:grpSpPr>
            <p:sp>
              <p:nvSpPr>
                <p:cNvPr id="4133" name="Freeform 5455">
                  <a:extLst>
                    <a:ext uri="{FF2B5EF4-FFF2-40B4-BE49-F238E27FC236}">
                      <a16:creationId xmlns:a16="http://schemas.microsoft.com/office/drawing/2014/main" id="{3C67FEAF-A295-6A3A-E3DF-F16340412AB4}"/>
                    </a:ext>
                  </a:extLst>
                </p:cNvPr>
                <p:cNvSpPr/>
                <p:nvPr/>
              </p:nvSpPr>
              <p:spPr>
                <a:xfrm>
                  <a:off x="10135506" y="5734710"/>
                  <a:ext cx="10961" cy="50944"/>
                </a:xfrm>
                <a:custGeom>
                  <a:avLst/>
                  <a:gdLst>
                    <a:gd name="connsiteX0" fmla="*/ 10961 w 10961"/>
                    <a:gd name="connsiteY0" fmla="*/ 0 h 50944"/>
                    <a:gd name="connsiteX1" fmla="*/ 5357 w 10961"/>
                    <a:gd name="connsiteY1" fmla="*/ 17936 h 50944"/>
                    <a:gd name="connsiteX2" fmla="*/ 5357 w 10961"/>
                    <a:gd name="connsiteY2" fmla="*/ 35374 h 50944"/>
                    <a:gd name="connsiteX3" fmla="*/ 0 w 10961"/>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0"/>
                      </a:moveTo>
                      <a:cubicBezTo>
                        <a:pt x="6976" y="7349"/>
                        <a:pt x="5730" y="13577"/>
                        <a:pt x="5357" y="17936"/>
                      </a:cubicBezTo>
                      <a:cubicBezTo>
                        <a:pt x="4733" y="24912"/>
                        <a:pt x="6228" y="28274"/>
                        <a:pt x="5357" y="35374"/>
                      </a:cubicBezTo>
                      <a:cubicBezTo>
                        <a:pt x="4485"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4" name="Freeform 5456">
                  <a:extLst>
                    <a:ext uri="{FF2B5EF4-FFF2-40B4-BE49-F238E27FC236}">
                      <a16:creationId xmlns:a16="http://schemas.microsoft.com/office/drawing/2014/main" id="{410D9FB4-0731-8581-732B-D97B4F7E8EDB}"/>
                    </a:ext>
                  </a:extLst>
                </p:cNvPr>
                <p:cNvSpPr/>
                <p:nvPr/>
              </p:nvSpPr>
              <p:spPr>
                <a:xfrm>
                  <a:off x="10144324" y="5731222"/>
                  <a:ext cx="10224" cy="51193"/>
                </a:xfrm>
                <a:custGeom>
                  <a:avLst/>
                  <a:gdLst>
                    <a:gd name="connsiteX0" fmla="*/ 275 w 10224"/>
                    <a:gd name="connsiteY0" fmla="*/ 51193 h 51193"/>
                    <a:gd name="connsiteX1" fmla="*/ 2019 w 10224"/>
                    <a:gd name="connsiteY1" fmla="*/ 32509 h 51193"/>
                    <a:gd name="connsiteX2" fmla="*/ 8745 w 10224"/>
                    <a:gd name="connsiteY2" fmla="*/ 16441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7"/>
                        <a:pt x="773" y="36620"/>
                        <a:pt x="2019" y="32509"/>
                      </a:cubicBezTo>
                      <a:cubicBezTo>
                        <a:pt x="4136" y="25783"/>
                        <a:pt x="6876" y="23292"/>
                        <a:pt x="8745" y="16441"/>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5" name="Freeform 5457">
                  <a:extLst>
                    <a:ext uri="{FF2B5EF4-FFF2-40B4-BE49-F238E27FC236}">
                      <a16:creationId xmlns:a16="http://schemas.microsoft.com/office/drawing/2014/main" id="{F754FA96-E0C1-36CF-C315-6C2386284A0D}"/>
                    </a:ext>
                  </a:extLst>
                </p:cNvPr>
                <p:cNvSpPr/>
                <p:nvPr/>
              </p:nvSpPr>
              <p:spPr>
                <a:xfrm>
                  <a:off x="10138096" y="5715252"/>
                  <a:ext cx="26708" cy="26465"/>
                </a:xfrm>
                <a:custGeom>
                  <a:avLst/>
                  <a:gdLst>
                    <a:gd name="connsiteX0" fmla="*/ 26433 w 26708"/>
                    <a:gd name="connsiteY0" fmla="*/ 15846 h 26465"/>
                    <a:gd name="connsiteX1" fmla="*/ 10738 w 26708"/>
                    <a:gd name="connsiteY1" fmla="*/ 26184 h 26465"/>
                    <a:gd name="connsiteX2" fmla="*/ 276 w 26708"/>
                    <a:gd name="connsiteY2" fmla="*/ 10614 h 26465"/>
                    <a:gd name="connsiteX3" fmla="*/ 15970 w 26708"/>
                    <a:gd name="connsiteY3" fmla="*/ 276 h 26465"/>
                    <a:gd name="connsiteX4" fmla="*/ 26433 w 26708"/>
                    <a:gd name="connsiteY4" fmla="*/ 15846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5">
                      <a:moveTo>
                        <a:pt x="26433" y="15846"/>
                      </a:moveTo>
                      <a:cubicBezTo>
                        <a:pt x="24938" y="23070"/>
                        <a:pt x="17963" y="27679"/>
                        <a:pt x="10738" y="26184"/>
                      </a:cubicBezTo>
                      <a:cubicBezTo>
                        <a:pt x="3514" y="24689"/>
                        <a:pt x="-1219" y="17714"/>
                        <a:pt x="276" y="10614"/>
                      </a:cubicBezTo>
                      <a:cubicBezTo>
                        <a:pt x="1770" y="3515"/>
                        <a:pt x="8746" y="-1219"/>
                        <a:pt x="15970" y="276"/>
                      </a:cubicBezTo>
                      <a:cubicBezTo>
                        <a:pt x="23194" y="1771"/>
                        <a:pt x="27927" y="8746"/>
                        <a:pt x="26433" y="158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6" name="Freeform 5458">
                  <a:extLst>
                    <a:ext uri="{FF2B5EF4-FFF2-40B4-BE49-F238E27FC236}">
                      <a16:creationId xmlns:a16="http://schemas.microsoft.com/office/drawing/2014/main" id="{4D5BB539-F50E-7651-0602-53E78C5DE000}"/>
                    </a:ext>
                  </a:extLst>
                </p:cNvPr>
                <p:cNvSpPr/>
                <p:nvPr/>
              </p:nvSpPr>
              <p:spPr>
                <a:xfrm>
                  <a:off x="10132019" y="5791258"/>
                  <a:ext cx="11085" cy="50944"/>
                </a:xfrm>
                <a:custGeom>
                  <a:avLst/>
                  <a:gdLst>
                    <a:gd name="connsiteX0" fmla="*/ 0 w 11085"/>
                    <a:gd name="connsiteY0" fmla="*/ 50944 h 50944"/>
                    <a:gd name="connsiteX1" fmla="*/ 5605 w 11085"/>
                    <a:gd name="connsiteY1" fmla="*/ 33008 h 50944"/>
                    <a:gd name="connsiteX2" fmla="*/ 5730 w 11085"/>
                    <a:gd name="connsiteY2" fmla="*/ 15570 h 50944"/>
                    <a:gd name="connsiteX3" fmla="*/ 11086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0" y="50944"/>
                      </a:moveTo>
                      <a:cubicBezTo>
                        <a:pt x="3986" y="43595"/>
                        <a:pt x="5231" y="37367"/>
                        <a:pt x="5605" y="33008"/>
                      </a:cubicBezTo>
                      <a:cubicBezTo>
                        <a:pt x="6228" y="26033"/>
                        <a:pt x="4733" y="22670"/>
                        <a:pt x="5730" y="15570"/>
                      </a:cubicBezTo>
                      <a:cubicBezTo>
                        <a:pt x="6601" y="8719"/>
                        <a:pt x="9092" y="3363"/>
                        <a:pt x="110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7" name="Freeform 5459">
                  <a:extLst>
                    <a:ext uri="{FF2B5EF4-FFF2-40B4-BE49-F238E27FC236}">
                      <a16:creationId xmlns:a16="http://schemas.microsoft.com/office/drawing/2014/main" id="{E51F1354-1002-C283-950B-683B37F266B1}"/>
                    </a:ext>
                  </a:extLst>
                </p:cNvPr>
                <p:cNvSpPr/>
                <p:nvPr/>
              </p:nvSpPr>
              <p:spPr>
                <a:xfrm>
                  <a:off x="10123938" y="5794622"/>
                  <a:ext cx="10224" cy="51193"/>
                </a:xfrm>
                <a:custGeom>
                  <a:avLst/>
                  <a:gdLst>
                    <a:gd name="connsiteX0" fmla="*/ 9950 w 10224"/>
                    <a:gd name="connsiteY0" fmla="*/ 0 h 51193"/>
                    <a:gd name="connsiteX1" fmla="*/ 8206 w 10224"/>
                    <a:gd name="connsiteY1" fmla="*/ 18684 h 51193"/>
                    <a:gd name="connsiteX2" fmla="*/ 1479 w 10224"/>
                    <a:gd name="connsiteY2" fmla="*/ 34751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1" y="8345"/>
                        <a:pt x="9451" y="14573"/>
                        <a:pt x="8206" y="18684"/>
                      </a:cubicBezTo>
                      <a:cubicBezTo>
                        <a:pt x="6089" y="25409"/>
                        <a:pt x="3348" y="27901"/>
                        <a:pt x="1479"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8" name="Freeform 5460">
                  <a:extLst>
                    <a:ext uri="{FF2B5EF4-FFF2-40B4-BE49-F238E27FC236}">
                      <a16:creationId xmlns:a16="http://schemas.microsoft.com/office/drawing/2014/main" id="{C608EC20-5DFF-6B56-292D-5FBB833FBDE9}"/>
                    </a:ext>
                  </a:extLst>
                </p:cNvPr>
                <p:cNvSpPr/>
                <p:nvPr/>
              </p:nvSpPr>
              <p:spPr>
                <a:xfrm>
                  <a:off x="10113962" y="5835236"/>
                  <a:ext cx="26186" cy="26514"/>
                </a:xfrm>
                <a:custGeom>
                  <a:avLst/>
                  <a:gdLst>
                    <a:gd name="connsiteX0" fmla="*/ 246 w 26186"/>
                    <a:gd name="connsiteY0" fmla="*/ 10704 h 26514"/>
                    <a:gd name="connsiteX1" fmla="*/ 15691 w 26186"/>
                    <a:gd name="connsiteY1" fmla="*/ 241 h 26514"/>
                    <a:gd name="connsiteX2" fmla="*/ 25905 w 26186"/>
                    <a:gd name="connsiteY2" fmla="*/ 15811 h 26514"/>
                    <a:gd name="connsiteX3" fmla="*/ 10460 w 26186"/>
                    <a:gd name="connsiteY3" fmla="*/ 26273 h 26514"/>
                    <a:gd name="connsiteX4" fmla="*/ 246 w 2618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513">
                      <a:moveTo>
                        <a:pt x="246" y="10704"/>
                      </a:moveTo>
                      <a:cubicBezTo>
                        <a:pt x="1741" y="3479"/>
                        <a:pt x="8591" y="-1129"/>
                        <a:pt x="15691" y="241"/>
                      </a:cubicBezTo>
                      <a:cubicBezTo>
                        <a:pt x="22791" y="1611"/>
                        <a:pt x="27399" y="8586"/>
                        <a:pt x="25905" y="15811"/>
                      </a:cubicBezTo>
                      <a:cubicBezTo>
                        <a:pt x="24410" y="23035"/>
                        <a:pt x="17435" y="27643"/>
                        <a:pt x="10460" y="26273"/>
                      </a:cubicBezTo>
                      <a:cubicBezTo>
                        <a:pt x="3360" y="24779"/>
                        <a:pt x="-1124" y="17804"/>
                        <a:pt x="246"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2" name="Graphic 2987">
                <a:extLst>
                  <a:ext uri="{FF2B5EF4-FFF2-40B4-BE49-F238E27FC236}">
                    <a16:creationId xmlns:a16="http://schemas.microsoft.com/office/drawing/2014/main" id="{3110DF11-6B6C-E125-E648-B8BAC7B6D25A}"/>
                  </a:ext>
                </a:extLst>
              </p:cNvPr>
              <p:cNvGrpSpPr/>
              <p:nvPr/>
            </p:nvGrpSpPr>
            <p:grpSpPr>
              <a:xfrm>
                <a:off x="10142699" y="5721101"/>
                <a:ext cx="51377" cy="146379"/>
                <a:chOff x="10142699" y="5721101"/>
                <a:chExt cx="51377" cy="146379"/>
              </a:xfrm>
              <a:grpFill/>
            </p:grpSpPr>
            <p:sp>
              <p:nvSpPr>
                <p:cNvPr id="4127" name="Freeform 5462">
                  <a:extLst>
                    <a:ext uri="{FF2B5EF4-FFF2-40B4-BE49-F238E27FC236}">
                      <a16:creationId xmlns:a16="http://schemas.microsoft.com/office/drawing/2014/main" id="{F2518269-670E-5FAA-086B-4AD30BCBEEDF}"/>
                    </a:ext>
                  </a:extLst>
                </p:cNvPr>
                <p:cNvSpPr/>
                <p:nvPr/>
              </p:nvSpPr>
              <p:spPr>
                <a:xfrm>
                  <a:off x="10164280" y="5740564"/>
                  <a:ext cx="11334" cy="50944"/>
                </a:xfrm>
                <a:custGeom>
                  <a:avLst/>
                  <a:gdLst>
                    <a:gd name="connsiteX0" fmla="*/ 11334 w 11334"/>
                    <a:gd name="connsiteY0" fmla="*/ 0 h 50944"/>
                    <a:gd name="connsiteX1" fmla="*/ 5604 w 11334"/>
                    <a:gd name="connsiteY1" fmla="*/ 17936 h 50944"/>
                    <a:gd name="connsiteX2" fmla="*/ 5480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4" y="0"/>
                      </a:moveTo>
                      <a:cubicBezTo>
                        <a:pt x="7224" y="7349"/>
                        <a:pt x="5979" y="13577"/>
                        <a:pt x="5604" y="17936"/>
                      </a:cubicBezTo>
                      <a:cubicBezTo>
                        <a:pt x="4982" y="24912"/>
                        <a:pt x="6476" y="28274"/>
                        <a:pt x="5480"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8" name="Freeform 5463">
                  <a:extLst>
                    <a:ext uri="{FF2B5EF4-FFF2-40B4-BE49-F238E27FC236}">
                      <a16:creationId xmlns:a16="http://schemas.microsoft.com/office/drawing/2014/main" id="{BAAB7EC1-8FF9-A4FD-6AA7-ECD8DFE16181}"/>
                    </a:ext>
                  </a:extLst>
                </p:cNvPr>
                <p:cNvSpPr/>
                <p:nvPr/>
              </p:nvSpPr>
              <p:spPr>
                <a:xfrm>
                  <a:off x="10173521" y="5737076"/>
                  <a:ext cx="10452" cy="51193"/>
                </a:xfrm>
                <a:custGeom>
                  <a:avLst/>
                  <a:gdLst>
                    <a:gd name="connsiteX0" fmla="*/ 224 w 10452"/>
                    <a:gd name="connsiteY0" fmla="*/ 51193 h 51193"/>
                    <a:gd name="connsiteX1" fmla="*/ 2093 w 10452"/>
                    <a:gd name="connsiteY1" fmla="*/ 32509 h 51193"/>
                    <a:gd name="connsiteX2" fmla="*/ 8944 w 10452"/>
                    <a:gd name="connsiteY2" fmla="*/ 16441 h 51193"/>
                    <a:gd name="connsiteX3" fmla="*/ 10190 w 10452"/>
                    <a:gd name="connsiteY3" fmla="*/ 0 h 51193"/>
                  </a:gdLst>
                  <a:ahLst/>
                  <a:cxnLst>
                    <a:cxn ang="0">
                      <a:pos x="connsiteX0" y="connsiteY0"/>
                    </a:cxn>
                    <a:cxn ang="0">
                      <a:pos x="connsiteX1" y="connsiteY1"/>
                    </a:cxn>
                    <a:cxn ang="0">
                      <a:pos x="connsiteX2" y="connsiteY2"/>
                    </a:cxn>
                    <a:cxn ang="0">
                      <a:pos x="connsiteX3" y="connsiteY3"/>
                    </a:cxn>
                  </a:cxnLst>
                  <a:rect l="l" t="t" r="r" b="b"/>
                  <a:pathLst>
                    <a:path w="10452" h="51193">
                      <a:moveTo>
                        <a:pt x="224" y="51193"/>
                      </a:moveTo>
                      <a:cubicBezTo>
                        <a:pt x="-523" y="42847"/>
                        <a:pt x="723" y="36620"/>
                        <a:pt x="2093" y="32509"/>
                      </a:cubicBezTo>
                      <a:cubicBezTo>
                        <a:pt x="4210" y="25908"/>
                        <a:pt x="6951" y="23292"/>
                        <a:pt x="8944" y="16441"/>
                      </a:cubicBezTo>
                      <a:cubicBezTo>
                        <a:pt x="10812" y="9840"/>
                        <a:pt x="10563" y="3861"/>
                        <a:pt x="101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9" name="Freeform 5464">
                  <a:extLst>
                    <a:ext uri="{FF2B5EF4-FFF2-40B4-BE49-F238E27FC236}">
                      <a16:creationId xmlns:a16="http://schemas.microsoft.com/office/drawing/2014/main" id="{52C2AB80-879B-1AE4-9AA5-03DBF0E7E2DE}"/>
                    </a:ext>
                  </a:extLst>
                </p:cNvPr>
                <p:cNvSpPr/>
                <p:nvPr/>
              </p:nvSpPr>
              <p:spPr>
                <a:xfrm>
                  <a:off x="10167277" y="5721101"/>
                  <a:ext cx="26798" cy="26470"/>
                </a:xfrm>
                <a:custGeom>
                  <a:avLst/>
                  <a:gdLst>
                    <a:gd name="connsiteX0" fmla="*/ 26523 w 26798"/>
                    <a:gd name="connsiteY0" fmla="*/ 15851 h 26470"/>
                    <a:gd name="connsiteX1" fmla="*/ 10704 w 26798"/>
                    <a:gd name="connsiteY1" fmla="*/ 26189 h 26470"/>
                    <a:gd name="connsiteX2" fmla="*/ 241 w 26798"/>
                    <a:gd name="connsiteY2" fmla="*/ 10619 h 26470"/>
                    <a:gd name="connsiteX3" fmla="*/ 16060 w 26798"/>
                    <a:gd name="connsiteY3" fmla="*/ 281 h 26470"/>
                    <a:gd name="connsiteX4" fmla="*/ 26523 w 26798"/>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8" h="26470">
                      <a:moveTo>
                        <a:pt x="26523" y="15851"/>
                      </a:moveTo>
                      <a:cubicBezTo>
                        <a:pt x="25028" y="23075"/>
                        <a:pt x="17928" y="27684"/>
                        <a:pt x="10704" y="26189"/>
                      </a:cubicBezTo>
                      <a:cubicBezTo>
                        <a:pt x="3479" y="24694"/>
                        <a:pt x="-1129" y="17719"/>
                        <a:pt x="241" y="10619"/>
                      </a:cubicBezTo>
                      <a:cubicBezTo>
                        <a:pt x="1735" y="3395"/>
                        <a:pt x="8835" y="-1213"/>
                        <a:pt x="16060" y="281"/>
                      </a:cubicBezTo>
                      <a:cubicBezTo>
                        <a:pt x="23284" y="1776"/>
                        <a:pt x="28018" y="8751"/>
                        <a:pt x="2652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0" name="Freeform 5465">
                  <a:extLst>
                    <a:ext uri="{FF2B5EF4-FFF2-40B4-BE49-F238E27FC236}">
                      <a16:creationId xmlns:a16="http://schemas.microsoft.com/office/drawing/2014/main" id="{1842153D-D3D3-B4AE-DAFA-13A8B0F4EBFC}"/>
                    </a:ext>
                  </a:extLst>
                </p:cNvPr>
                <p:cNvSpPr/>
                <p:nvPr/>
              </p:nvSpPr>
              <p:spPr>
                <a:xfrm>
                  <a:off x="10160792" y="5797113"/>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4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3986" y="43595"/>
                        <a:pt x="5356" y="37367"/>
                        <a:pt x="5730" y="33008"/>
                      </a:cubicBezTo>
                      <a:cubicBezTo>
                        <a:pt x="6353" y="26033"/>
                        <a:pt x="4983" y="22670"/>
                        <a:pt x="5854" y="15570"/>
                      </a:cubicBezTo>
                      <a:cubicBezTo>
                        <a:pt x="6726" y="8719"/>
                        <a:pt x="9342" y="3363"/>
                        <a:pt x="113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1" name="Freeform 5466">
                  <a:extLst>
                    <a:ext uri="{FF2B5EF4-FFF2-40B4-BE49-F238E27FC236}">
                      <a16:creationId xmlns:a16="http://schemas.microsoft.com/office/drawing/2014/main" id="{3A140C44-F917-87DB-5454-18F790EFA6C4}"/>
                    </a:ext>
                  </a:extLst>
                </p:cNvPr>
                <p:cNvSpPr/>
                <p:nvPr/>
              </p:nvSpPr>
              <p:spPr>
                <a:xfrm>
                  <a:off x="10152682" y="5800351"/>
                  <a:ext cx="10326" cy="51193"/>
                </a:xfrm>
                <a:custGeom>
                  <a:avLst/>
                  <a:gdLst>
                    <a:gd name="connsiteX0" fmla="*/ 10102 w 10326"/>
                    <a:gd name="connsiteY0" fmla="*/ 0 h 51193"/>
                    <a:gd name="connsiteX1" fmla="*/ 8234 w 10326"/>
                    <a:gd name="connsiteY1" fmla="*/ 18684 h 51193"/>
                    <a:gd name="connsiteX2" fmla="*/ 1508 w 10326"/>
                    <a:gd name="connsiteY2" fmla="*/ 34752 h 51193"/>
                    <a:gd name="connsiteX3" fmla="*/ 263 w 1032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26" h="51193">
                      <a:moveTo>
                        <a:pt x="10102" y="0"/>
                      </a:moveTo>
                      <a:cubicBezTo>
                        <a:pt x="10850" y="8346"/>
                        <a:pt x="9604" y="14573"/>
                        <a:pt x="8234" y="18684"/>
                      </a:cubicBezTo>
                      <a:cubicBezTo>
                        <a:pt x="6117" y="25285"/>
                        <a:pt x="3376"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2" name="Freeform 5467">
                  <a:extLst>
                    <a:ext uri="{FF2B5EF4-FFF2-40B4-BE49-F238E27FC236}">
                      <a16:creationId xmlns:a16="http://schemas.microsoft.com/office/drawing/2014/main" id="{84C103FA-A3E2-59EC-BF28-661051D77AF3}"/>
                    </a:ext>
                  </a:extLst>
                </p:cNvPr>
                <p:cNvSpPr/>
                <p:nvPr/>
              </p:nvSpPr>
              <p:spPr>
                <a:xfrm>
                  <a:off x="10142699" y="5840965"/>
                  <a:ext cx="26346" cy="26514"/>
                </a:xfrm>
                <a:custGeom>
                  <a:avLst/>
                  <a:gdLst>
                    <a:gd name="connsiteX0" fmla="*/ 282 w 26346"/>
                    <a:gd name="connsiteY0" fmla="*/ 10704 h 26514"/>
                    <a:gd name="connsiteX1" fmla="*/ 15851 w 26346"/>
                    <a:gd name="connsiteY1" fmla="*/ 241 h 26514"/>
                    <a:gd name="connsiteX2" fmla="*/ 26065 w 26346"/>
                    <a:gd name="connsiteY2" fmla="*/ 15810 h 26514"/>
                    <a:gd name="connsiteX3" fmla="*/ 10495 w 26346"/>
                    <a:gd name="connsiteY3" fmla="*/ 26273 h 26514"/>
                    <a:gd name="connsiteX4" fmla="*/ 282 w 2634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13">
                      <a:moveTo>
                        <a:pt x="282" y="10704"/>
                      </a:moveTo>
                      <a:cubicBezTo>
                        <a:pt x="1776" y="3479"/>
                        <a:pt x="8751" y="-1129"/>
                        <a:pt x="15851" y="241"/>
                      </a:cubicBezTo>
                      <a:cubicBezTo>
                        <a:pt x="22951" y="1611"/>
                        <a:pt x="27560" y="8586"/>
                        <a:pt x="26065" y="15810"/>
                      </a:cubicBezTo>
                      <a:cubicBezTo>
                        <a:pt x="24570" y="23035"/>
                        <a:pt x="17595" y="27644"/>
                        <a:pt x="10495" y="26273"/>
                      </a:cubicBezTo>
                      <a:cubicBezTo>
                        <a:pt x="3395" y="24779"/>
                        <a:pt x="-1213" y="17803"/>
                        <a:pt x="282"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3" name="Graphic 2987">
                <a:extLst>
                  <a:ext uri="{FF2B5EF4-FFF2-40B4-BE49-F238E27FC236}">
                    <a16:creationId xmlns:a16="http://schemas.microsoft.com/office/drawing/2014/main" id="{474A27F2-B9CF-08D0-8AB8-88F39180B943}"/>
                  </a:ext>
                </a:extLst>
              </p:cNvPr>
              <p:cNvGrpSpPr/>
              <p:nvPr/>
            </p:nvGrpSpPr>
            <p:grpSpPr>
              <a:xfrm>
                <a:off x="10171466" y="5727155"/>
                <a:ext cx="51761" cy="146344"/>
                <a:chOff x="10171466" y="5727155"/>
                <a:chExt cx="51761" cy="146344"/>
              </a:xfrm>
              <a:grpFill/>
            </p:grpSpPr>
            <p:sp>
              <p:nvSpPr>
                <p:cNvPr id="4121" name="Freeform 5469">
                  <a:extLst>
                    <a:ext uri="{FF2B5EF4-FFF2-40B4-BE49-F238E27FC236}">
                      <a16:creationId xmlns:a16="http://schemas.microsoft.com/office/drawing/2014/main" id="{A840BB87-2606-4281-FA5F-342415342ED0}"/>
                    </a:ext>
                  </a:extLst>
                </p:cNvPr>
                <p:cNvSpPr/>
                <p:nvPr/>
              </p:nvSpPr>
              <p:spPr>
                <a:xfrm>
                  <a:off x="10193426" y="5746542"/>
                  <a:ext cx="11459" cy="50819"/>
                </a:xfrm>
                <a:custGeom>
                  <a:avLst/>
                  <a:gdLst>
                    <a:gd name="connsiteX0" fmla="*/ 11459 w 11459"/>
                    <a:gd name="connsiteY0" fmla="*/ 0 h 50819"/>
                    <a:gd name="connsiteX1" fmla="*/ 5605 w 11459"/>
                    <a:gd name="connsiteY1" fmla="*/ 17812 h 50819"/>
                    <a:gd name="connsiteX2" fmla="*/ 5481 w 11459"/>
                    <a:gd name="connsiteY2" fmla="*/ 35250 h 50819"/>
                    <a:gd name="connsiteX3" fmla="*/ 0 w 11459"/>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459" h="50818">
                      <a:moveTo>
                        <a:pt x="11459" y="0"/>
                      </a:moveTo>
                      <a:cubicBezTo>
                        <a:pt x="7349" y="7349"/>
                        <a:pt x="6103" y="13577"/>
                        <a:pt x="5605" y="17812"/>
                      </a:cubicBezTo>
                      <a:cubicBezTo>
                        <a:pt x="4983" y="24787"/>
                        <a:pt x="6353" y="28275"/>
                        <a:pt x="5481" y="35250"/>
                      </a:cubicBezTo>
                      <a:cubicBezTo>
                        <a:pt x="4484" y="42101"/>
                        <a:pt x="1993" y="47456"/>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2" name="Freeform 5470">
                  <a:extLst>
                    <a:ext uri="{FF2B5EF4-FFF2-40B4-BE49-F238E27FC236}">
                      <a16:creationId xmlns:a16="http://schemas.microsoft.com/office/drawing/2014/main" id="{CC16FF3C-D472-AA5D-C48F-F94A2F9D91D3}"/>
                    </a:ext>
                  </a:extLst>
                </p:cNvPr>
                <p:cNvSpPr/>
                <p:nvPr/>
              </p:nvSpPr>
              <p:spPr>
                <a:xfrm>
                  <a:off x="10202432" y="5743304"/>
                  <a:ext cx="10618" cy="51068"/>
                </a:xfrm>
                <a:custGeom>
                  <a:avLst/>
                  <a:gdLst>
                    <a:gd name="connsiteX0" fmla="*/ 211 w 10618"/>
                    <a:gd name="connsiteY0" fmla="*/ 51068 h 51068"/>
                    <a:gd name="connsiteX1" fmla="*/ 2205 w 10618"/>
                    <a:gd name="connsiteY1" fmla="*/ 32385 h 51068"/>
                    <a:gd name="connsiteX2" fmla="*/ 9055 w 10618"/>
                    <a:gd name="connsiteY2" fmla="*/ 16441 h 51068"/>
                    <a:gd name="connsiteX3" fmla="*/ 10300 w 10618"/>
                    <a:gd name="connsiteY3" fmla="*/ 0 h 51068"/>
                  </a:gdLst>
                  <a:ahLst/>
                  <a:cxnLst>
                    <a:cxn ang="0">
                      <a:pos x="connsiteX0" y="connsiteY0"/>
                    </a:cxn>
                    <a:cxn ang="0">
                      <a:pos x="connsiteX1" y="connsiteY1"/>
                    </a:cxn>
                    <a:cxn ang="0">
                      <a:pos x="connsiteX2" y="connsiteY2"/>
                    </a:cxn>
                    <a:cxn ang="0">
                      <a:pos x="connsiteX3" y="connsiteY3"/>
                    </a:cxn>
                  </a:cxnLst>
                  <a:rect l="l" t="t" r="r" b="b"/>
                  <a:pathLst>
                    <a:path w="10618" h="51068">
                      <a:moveTo>
                        <a:pt x="211" y="51068"/>
                      </a:moveTo>
                      <a:cubicBezTo>
                        <a:pt x="-536" y="42723"/>
                        <a:pt x="834" y="36495"/>
                        <a:pt x="2205" y="32385"/>
                      </a:cubicBezTo>
                      <a:cubicBezTo>
                        <a:pt x="4447" y="25783"/>
                        <a:pt x="7187" y="23168"/>
                        <a:pt x="9055" y="16441"/>
                      </a:cubicBezTo>
                      <a:cubicBezTo>
                        <a:pt x="10923" y="9840"/>
                        <a:pt x="10799"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3" name="Freeform 5471">
                  <a:extLst>
                    <a:ext uri="{FF2B5EF4-FFF2-40B4-BE49-F238E27FC236}">
                      <a16:creationId xmlns:a16="http://schemas.microsoft.com/office/drawing/2014/main" id="{7EE6F295-FB66-8FE2-C4BA-5301DAC12FD6}"/>
                    </a:ext>
                  </a:extLst>
                </p:cNvPr>
                <p:cNvSpPr/>
                <p:nvPr/>
              </p:nvSpPr>
              <p:spPr>
                <a:xfrm>
                  <a:off x="10196508" y="5727155"/>
                  <a:ext cx="26719" cy="26563"/>
                </a:xfrm>
                <a:custGeom>
                  <a:avLst/>
                  <a:gdLst>
                    <a:gd name="connsiteX0" fmla="*/ 26438 w 26719"/>
                    <a:gd name="connsiteY0" fmla="*/ 16150 h 26563"/>
                    <a:gd name="connsiteX1" fmla="*/ 10619 w 26719"/>
                    <a:gd name="connsiteY1" fmla="*/ 26239 h 26563"/>
                    <a:gd name="connsiteX2" fmla="*/ 281 w 26719"/>
                    <a:gd name="connsiteY2" fmla="*/ 10420 h 26563"/>
                    <a:gd name="connsiteX3" fmla="*/ 16100 w 26719"/>
                    <a:gd name="connsiteY3" fmla="*/ 331 h 26563"/>
                    <a:gd name="connsiteX4" fmla="*/ 26438 w 26719"/>
                    <a:gd name="connsiteY4" fmla="*/ 16150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63">
                      <a:moveTo>
                        <a:pt x="26438" y="16150"/>
                      </a:moveTo>
                      <a:cubicBezTo>
                        <a:pt x="24943" y="23249"/>
                        <a:pt x="17844" y="27858"/>
                        <a:pt x="10619" y="26239"/>
                      </a:cubicBezTo>
                      <a:cubicBezTo>
                        <a:pt x="3395" y="24619"/>
                        <a:pt x="-1213" y="17520"/>
                        <a:pt x="281" y="10420"/>
                      </a:cubicBezTo>
                      <a:cubicBezTo>
                        <a:pt x="1776" y="3195"/>
                        <a:pt x="8876" y="-1289"/>
                        <a:pt x="16100" y="331"/>
                      </a:cubicBezTo>
                      <a:cubicBezTo>
                        <a:pt x="23324" y="1950"/>
                        <a:pt x="27933" y="9050"/>
                        <a:pt x="26438"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4" name="Freeform 5472">
                  <a:extLst>
                    <a:ext uri="{FF2B5EF4-FFF2-40B4-BE49-F238E27FC236}">
                      <a16:creationId xmlns:a16="http://schemas.microsoft.com/office/drawing/2014/main" id="{6A50CACE-F5CD-A22B-5ED7-E2FAA9C91648}"/>
                    </a:ext>
                  </a:extLst>
                </p:cNvPr>
                <p:cNvSpPr/>
                <p:nvPr/>
              </p:nvSpPr>
              <p:spPr>
                <a:xfrm>
                  <a:off x="10189565" y="5803216"/>
                  <a:ext cx="11583" cy="50819"/>
                </a:xfrm>
                <a:custGeom>
                  <a:avLst/>
                  <a:gdLst>
                    <a:gd name="connsiteX0" fmla="*/ 0 w 11583"/>
                    <a:gd name="connsiteY0" fmla="*/ 50819 h 50819"/>
                    <a:gd name="connsiteX1" fmla="*/ 5855 w 11583"/>
                    <a:gd name="connsiteY1" fmla="*/ 33008 h 50819"/>
                    <a:gd name="connsiteX2" fmla="*/ 6103 w 11583"/>
                    <a:gd name="connsiteY2" fmla="*/ 15570 h 50819"/>
                    <a:gd name="connsiteX3" fmla="*/ 11584 w 11583"/>
                    <a:gd name="connsiteY3" fmla="*/ 0 h 50819"/>
                  </a:gdLst>
                  <a:ahLst/>
                  <a:cxnLst>
                    <a:cxn ang="0">
                      <a:pos x="connsiteX0" y="connsiteY0"/>
                    </a:cxn>
                    <a:cxn ang="0">
                      <a:pos x="connsiteX1" y="connsiteY1"/>
                    </a:cxn>
                    <a:cxn ang="0">
                      <a:pos x="connsiteX2" y="connsiteY2"/>
                    </a:cxn>
                    <a:cxn ang="0">
                      <a:pos x="connsiteX3" y="connsiteY3"/>
                    </a:cxn>
                  </a:cxnLst>
                  <a:rect l="l" t="t" r="r" b="b"/>
                  <a:pathLst>
                    <a:path w="11583" h="50818">
                      <a:moveTo>
                        <a:pt x="0" y="50819"/>
                      </a:moveTo>
                      <a:cubicBezTo>
                        <a:pt x="4111" y="43471"/>
                        <a:pt x="5356" y="37243"/>
                        <a:pt x="5855" y="33008"/>
                      </a:cubicBezTo>
                      <a:cubicBezTo>
                        <a:pt x="6602" y="26033"/>
                        <a:pt x="5107" y="22545"/>
                        <a:pt x="6103" y="15570"/>
                      </a:cubicBezTo>
                      <a:cubicBezTo>
                        <a:pt x="7100"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5" name="Freeform 5473">
                  <a:extLst>
                    <a:ext uri="{FF2B5EF4-FFF2-40B4-BE49-F238E27FC236}">
                      <a16:creationId xmlns:a16="http://schemas.microsoft.com/office/drawing/2014/main" id="{4D570FB9-005E-AAE4-5629-296031CFF305}"/>
                    </a:ext>
                  </a:extLst>
                </p:cNvPr>
                <p:cNvSpPr/>
                <p:nvPr/>
              </p:nvSpPr>
              <p:spPr>
                <a:xfrm>
                  <a:off x="10181400" y="5806330"/>
                  <a:ext cx="10617" cy="51068"/>
                </a:xfrm>
                <a:custGeom>
                  <a:avLst/>
                  <a:gdLst>
                    <a:gd name="connsiteX0" fmla="*/ 10407 w 10617"/>
                    <a:gd name="connsiteY0" fmla="*/ 0 h 51068"/>
                    <a:gd name="connsiteX1" fmla="*/ 8414 w 10617"/>
                    <a:gd name="connsiteY1" fmla="*/ 18684 h 51068"/>
                    <a:gd name="connsiteX2" fmla="*/ 1563 w 10617"/>
                    <a:gd name="connsiteY2" fmla="*/ 34627 h 51068"/>
                    <a:gd name="connsiteX3" fmla="*/ 317 w 1061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617" h="51068">
                      <a:moveTo>
                        <a:pt x="10407" y="0"/>
                      </a:moveTo>
                      <a:cubicBezTo>
                        <a:pt x="11154" y="8345"/>
                        <a:pt x="9784" y="14573"/>
                        <a:pt x="8414" y="18684"/>
                      </a:cubicBezTo>
                      <a:cubicBezTo>
                        <a:pt x="6172" y="25285"/>
                        <a:pt x="3556" y="27901"/>
                        <a:pt x="1563" y="34627"/>
                      </a:cubicBezTo>
                      <a:cubicBezTo>
                        <a:pt x="-305" y="41229"/>
                        <a:pt x="-181" y="47207"/>
                        <a:pt x="31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6" name="Freeform 5474">
                  <a:extLst>
                    <a:ext uri="{FF2B5EF4-FFF2-40B4-BE49-F238E27FC236}">
                      <a16:creationId xmlns:a16="http://schemas.microsoft.com/office/drawing/2014/main" id="{E7AE3ED4-976A-7701-276B-16391B552740}"/>
                    </a:ext>
                  </a:extLst>
                </p:cNvPr>
                <p:cNvSpPr/>
                <p:nvPr/>
              </p:nvSpPr>
              <p:spPr>
                <a:xfrm>
                  <a:off x="10171466" y="5846898"/>
                  <a:ext cx="26233" cy="26601"/>
                </a:xfrm>
                <a:custGeom>
                  <a:avLst/>
                  <a:gdLst>
                    <a:gd name="connsiteX0" fmla="*/ 287 w 26233"/>
                    <a:gd name="connsiteY0" fmla="*/ 10500 h 26601"/>
                    <a:gd name="connsiteX1" fmla="*/ 15857 w 26233"/>
                    <a:gd name="connsiteY1" fmla="*/ 287 h 26601"/>
                    <a:gd name="connsiteX2" fmla="*/ 25946 w 26233"/>
                    <a:gd name="connsiteY2" fmla="*/ 16106 h 26601"/>
                    <a:gd name="connsiteX3" fmla="*/ 10376 w 26233"/>
                    <a:gd name="connsiteY3" fmla="*/ 26320 h 26601"/>
                    <a:gd name="connsiteX4" fmla="*/ 287 w 26233"/>
                    <a:gd name="connsiteY4" fmla="*/ 10500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3" h="26601">
                      <a:moveTo>
                        <a:pt x="287" y="10500"/>
                      </a:moveTo>
                      <a:cubicBezTo>
                        <a:pt x="1782" y="3276"/>
                        <a:pt x="8757" y="-1208"/>
                        <a:pt x="15857" y="287"/>
                      </a:cubicBezTo>
                      <a:cubicBezTo>
                        <a:pt x="22957" y="1906"/>
                        <a:pt x="27441" y="8882"/>
                        <a:pt x="25946" y="16106"/>
                      </a:cubicBezTo>
                      <a:cubicBezTo>
                        <a:pt x="24451" y="23206"/>
                        <a:pt x="17476" y="27814"/>
                        <a:pt x="10376" y="26320"/>
                      </a:cubicBezTo>
                      <a:cubicBezTo>
                        <a:pt x="3276" y="24700"/>
                        <a:pt x="-1207" y="17600"/>
                        <a:pt x="287"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4" name="Graphic 2987">
                <a:extLst>
                  <a:ext uri="{FF2B5EF4-FFF2-40B4-BE49-F238E27FC236}">
                    <a16:creationId xmlns:a16="http://schemas.microsoft.com/office/drawing/2014/main" id="{F8282FFC-B9A1-DAF8-6C9B-9CE9167D7C5A}"/>
                  </a:ext>
                </a:extLst>
              </p:cNvPr>
              <p:cNvGrpSpPr/>
              <p:nvPr/>
            </p:nvGrpSpPr>
            <p:grpSpPr>
              <a:xfrm>
                <a:off x="10200070" y="5733638"/>
                <a:ext cx="52346" cy="146132"/>
                <a:chOff x="10200070" y="5733638"/>
                <a:chExt cx="52346" cy="146132"/>
              </a:xfrm>
              <a:grpFill/>
            </p:grpSpPr>
            <p:sp>
              <p:nvSpPr>
                <p:cNvPr id="4115" name="Freeform 5476">
                  <a:extLst>
                    <a:ext uri="{FF2B5EF4-FFF2-40B4-BE49-F238E27FC236}">
                      <a16:creationId xmlns:a16="http://schemas.microsoft.com/office/drawing/2014/main" id="{0F7E45CA-E8AB-1457-219A-1FE49ACFFD18}"/>
                    </a:ext>
                  </a:extLst>
                </p:cNvPr>
                <p:cNvSpPr/>
                <p:nvPr/>
              </p:nvSpPr>
              <p:spPr>
                <a:xfrm>
                  <a:off x="10222324" y="5753020"/>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1" y="28274"/>
                        <a:pt x="5605" y="35250"/>
                      </a:cubicBezTo>
                      <a:cubicBezTo>
                        <a:pt x="4609" y="42100"/>
                        <a:pt x="1993" y="47332"/>
                        <a:pt x="0"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6" name="Freeform 5477">
                  <a:extLst>
                    <a:ext uri="{FF2B5EF4-FFF2-40B4-BE49-F238E27FC236}">
                      <a16:creationId xmlns:a16="http://schemas.microsoft.com/office/drawing/2014/main" id="{FC633153-34BC-1B7E-E1A5-C6C64B23927E}"/>
                    </a:ext>
                  </a:extLst>
                </p:cNvPr>
                <p:cNvSpPr/>
                <p:nvPr/>
              </p:nvSpPr>
              <p:spPr>
                <a:xfrm>
                  <a:off x="10231454" y="574965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7" y="25784"/>
                        <a:pt x="7187" y="23292"/>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7" name="Freeform 5478">
                  <a:extLst>
                    <a:ext uri="{FF2B5EF4-FFF2-40B4-BE49-F238E27FC236}">
                      <a16:creationId xmlns:a16="http://schemas.microsoft.com/office/drawing/2014/main" id="{5C06C162-1DB1-EACC-EB94-E44D38B2B941}"/>
                    </a:ext>
                  </a:extLst>
                </p:cNvPr>
                <p:cNvSpPr/>
                <p:nvPr/>
              </p:nvSpPr>
              <p:spPr>
                <a:xfrm>
                  <a:off x="10225736" y="5733638"/>
                  <a:ext cx="26681" cy="26556"/>
                </a:xfrm>
                <a:custGeom>
                  <a:avLst/>
                  <a:gdLst>
                    <a:gd name="connsiteX0" fmla="*/ 26357 w 26681"/>
                    <a:gd name="connsiteY0" fmla="*/ 16143 h 26556"/>
                    <a:gd name="connsiteX1" fmla="*/ 10538 w 26681"/>
                    <a:gd name="connsiteY1" fmla="*/ 26232 h 26556"/>
                    <a:gd name="connsiteX2" fmla="*/ 324 w 26681"/>
                    <a:gd name="connsiteY2" fmla="*/ 10414 h 26556"/>
                    <a:gd name="connsiteX3" fmla="*/ 16143 w 26681"/>
                    <a:gd name="connsiteY3" fmla="*/ 325 h 26556"/>
                    <a:gd name="connsiteX4" fmla="*/ 26357 w 26681"/>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56">
                      <a:moveTo>
                        <a:pt x="26357" y="16143"/>
                      </a:moveTo>
                      <a:cubicBezTo>
                        <a:pt x="24738" y="23243"/>
                        <a:pt x="17638" y="27852"/>
                        <a:pt x="10538" y="26232"/>
                      </a:cubicBezTo>
                      <a:cubicBezTo>
                        <a:pt x="3313" y="24613"/>
                        <a:pt x="-1295" y="17513"/>
                        <a:pt x="324" y="10414"/>
                      </a:cubicBezTo>
                      <a:cubicBezTo>
                        <a:pt x="1944" y="3314"/>
                        <a:pt x="8919" y="-1295"/>
                        <a:pt x="16143" y="325"/>
                      </a:cubicBezTo>
                      <a:cubicBezTo>
                        <a:pt x="23368" y="1943"/>
                        <a:pt x="27976" y="8919"/>
                        <a:pt x="2635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8" name="Freeform 5479">
                  <a:extLst>
                    <a:ext uri="{FF2B5EF4-FFF2-40B4-BE49-F238E27FC236}">
                      <a16:creationId xmlns:a16="http://schemas.microsoft.com/office/drawing/2014/main" id="{DE556A71-6987-A791-D326-009A3F29AF95}"/>
                    </a:ext>
                  </a:extLst>
                </p:cNvPr>
                <p:cNvSpPr/>
                <p:nvPr/>
              </p:nvSpPr>
              <p:spPr>
                <a:xfrm>
                  <a:off x="10218213" y="5809568"/>
                  <a:ext cx="11708" cy="50819"/>
                </a:xfrm>
                <a:custGeom>
                  <a:avLst/>
                  <a:gdLst>
                    <a:gd name="connsiteX0" fmla="*/ 0 w 11708"/>
                    <a:gd name="connsiteY0" fmla="*/ 50820 h 50819"/>
                    <a:gd name="connsiteX1" fmla="*/ 5855 w 11708"/>
                    <a:gd name="connsiteY1" fmla="*/ 33008 h 50819"/>
                    <a:gd name="connsiteX2" fmla="*/ 6103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5" y="33008"/>
                      </a:cubicBezTo>
                      <a:cubicBezTo>
                        <a:pt x="6602" y="26033"/>
                        <a:pt x="5107" y="22670"/>
                        <a:pt x="6103" y="15570"/>
                      </a:cubicBezTo>
                      <a:cubicBezTo>
                        <a:pt x="7100" y="8719"/>
                        <a:pt x="9716"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9" name="Freeform 5480">
                  <a:extLst>
                    <a:ext uri="{FF2B5EF4-FFF2-40B4-BE49-F238E27FC236}">
                      <a16:creationId xmlns:a16="http://schemas.microsoft.com/office/drawing/2014/main" id="{C87B5DC0-F3F6-6171-0FCB-ADA1C26C7681}"/>
                    </a:ext>
                  </a:extLst>
                </p:cNvPr>
                <p:cNvSpPr/>
                <p:nvPr/>
              </p:nvSpPr>
              <p:spPr>
                <a:xfrm>
                  <a:off x="10210140" y="5812682"/>
                  <a:ext cx="10775" cy="51068"/>
                </a:xfrm>
                <a:custGeom>
                  <a:avLst/>
                  <a:gdLst>
                    <a:gd name="connsiteX0" fmla="*/ 10564 w 10775"/>
                    <a:gd name="connsiteY0" fmla="*/ 0 h 51068"/>
                    <a:gd name="connsiteX1" fmla="*/ 8572 w 10775"/>
                    <a:gd name="connsiteY1" fmla="*/ 18684 h 51068"/>
                    <a:gd name="connsiteX2" fmla="*/ 1597 w 10775"/>
                    <a:gd name="connsiteY2" fmla="*/ 34627 h 51068"/>
                    <a:gd name="connsiteX3" fmla="*/ 226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0"/>
                      </a:moveTo>
                      <a:cubicBezTo>
                        <a:pt x="11312" y="8346"/>
                        <a:pt x="9942" y="14573"/>
                        <a:pt x="8572" y="18684"/>
                      </a:cubicBezTo>
                      <a:cubicBezTo>
                        <a:pt x="6329" y="25285"/>
                        <a:pt x="3589" y="27776"/>
                        <a:pt x="1597" y="34627"/>
                      </a:cubicBezTo>
                      <a:cubicBezTo>
                        <a:pt x="-272" y="41229"/>
                        <a:pt x="-147" y="47207"/>
                        <a:pt x="22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0" name="Freeform 5481">
                  <a:extLst>
                    <a:ext uri="{FF2B5EF4-FFF2-40B4-BE49-F238E27FC236}">
                      <a16:creationId xmlns:a16="http://schemas.microsoft.com/office/drawing/2014/main" id="{8C9D03CB-D705-61D7-2414-E6C476D4B50B}"/>
                    </a:ext>
                  </a:extLst>
                </p:cNvPr>
                <p:cNvSpPr/>
                <p:nvPr/>
              </p:nvSpPr>
              <p:spPr>
                <a:xfrm>
                  <a:off x="10200070" y="5853213"/>
                  <a:ext cx="26195" cy="26557"/>
                </a:xfrm>
                <a:custGeom>
                  <a:avLst/>
                  <a:gdLst>
                    <a:gd name="connsiteX0" fmla="*/ 331 w 26195"/>
                    <a:gd name="connsiteY0" fmla="*/ 10414 h 26557"/>
                    <a:gd name="connsiteX1" fmla="*/ 15901 w 26195"/>
                    <a:gd name="connsiteY1" fmla="*/ 324 h 26557"/>
                    <a:gd name="connsiteX2" fmla="*/ 25865 w 26195"/>
                    <a:gd name="connsiteY2" fmla="*/ 16144 h 26557"/>
                    <a:gd name="connsiteX3" fmla="*/ 10295 w 26195"/>
                    <a:gd name="connsiteY3" fmla="*/ 26233 h 26557"/>
                    <a:gd name="connsiteX4" fmla="*/ 331 w 26195"/>
                    <a:gd name="connsiteY4" fmla="*/ 1041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56">
                      <a:moveTo>
                        <a:pt x="331" y="10414"/>
                      </a:moveTo>
                      <a:cubicBezTo>
                        <a:pt x="1826" y="3314"/>
                        <a:pt x="8801" y="-1295"/>
                        <a:pt x="15901" y="324"/>
                      </a:cubicBezTo>
                      <a:cubicBezTo>
                        <a:pt x="23000" y="1944"/>
                        <a:pt x="27484" y="8919"/>
                        <a:pt x="25865" y="16144"/>
                      </a:cubicBezTo>
                      <a:cubicBezTo>
                        <a:pt x="24246" y="23243"/>
                        <a:pt x="17271" y="27852"/>
                        <a:pt x="10295" y="26233"/>
                      </a:cubicBezTo>
                      <a:cubicBezTo>
                        <a:pt x="3195" y="24738"/>
                        <a:pt x="-1288"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5" name="Graphic 2987">
                <a:extLst>
                  <a:ext uri="{FF2B5EF4-FFF2-40B4-BE49-F238E27FC236}">
                    <a16:creationId xmlns:a16="http://schemas.microsoft.com/office/drawing/2014/main" id="{63248BD9-7036-DC8D-A94C-CD8803588C69}"/>
                  </a:ext>
                </a:extLst>
              </p:cNvPr>
              <p:cNvGrpSpPr/>
              <p:nvPr/>
            </p:nvGrpSpPr>
            <p:grpSpPr>
              <a:xfrm>
                <a:off x="10228719" y="5739990"/>
                <a:ext cx="52850" cy="146007"/>
                <a:chOff x="10228719" y="5739990"/>
                <a:chExt cx="52850" cy="146007"/>
              </a:xfrm>
              <a:grpFill/>
            </p:grpSpPr>
            <p:sp>
              <p:nvSpPr>
                <p:cNvPr id="4109" name="Freeform 5483">
                  <a:extLst>
                    <a:ext uri="{FF2B5EF4-FFF2-40B4-BE49-F238E27FC236}">
                      <a16:creationId xmlns:a16="http://schemas.microsoft.com/office/drawing/2014/main" id="{4B87F013-7D1B-7B68-8080-F6EF355DBEDA}"/>
                    </a:ext>
                  </a:extLst>
                </p:cNvPr>
                <p:cNvSpPr/>
                <p:nvPr/>
              </p:nvSpPr>
              <p:spPr>
                <a:xfrm>
                  <a:off x="10251221" y="5759372"/>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452"/>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0" name="Freeform 5484">
                  <a:extLst>
                    <a:ext uri="{FF2B5EF4-FFF2-40B4-BE49-F238E27FC236}">
                      <a16:creationId xmlns:a16="http://schemas.microsoft.com/office/drawing/2014/main" id="{6AC90706-1752-B974-7BC2-9C1C9D4CA219}"/>
                    </a:ext>
                  </a:extLst>
                </p:cNvPr>
                <p:cNvSpPr/>
                <p:nvPr/>
              </p:nvSpPr>
              <p:spPr>
                <a:xfrm>
                  <a:off x="10260408" y="5756009"/>
                  <a:ext cx="11053" cy="51068"/>
                </a:xfrm>
                <a:custGeom>
                  <a:avLst/>
                  <a:gdLst>
                    <a:gd name="connsiteX0" fmla="*/ 155 w 11053"/>
                    <a:gd name="connsiteY0" fmla="*/ 51069 h 51068"/>
                    <a:gd name="connsiteX1" fmla="*/ 2272 w 11053"/>
                    <a:gd name="connsiteY1" fmla="*/ 32385 h 51068"/>
                    <a:gd name="connsiteX2" fmla="*/ 9372 w 11053"/>
                    <a:gd name="connsiteY2" fmla="*/ 16442 h 51068"/>
                    <a:gd name="connsiteX3" fmla="*/ 10742 w 11053"/>
                    <a:gd name="connsiteY3" fmla="*/ 0 h 51068"/>
                  </a:gdLst>
                  <a:ahLst/>
                  <a:cxnLst>
                    <a:cxn ang="0">
                      <a:pos x="connsiteX0" y="connsiteY0"/>
                    </a:cxn>
                    <a:cxn ang="0">
                      <a:pos x="connsiteX1" y="connsiteY1"/>
                    </a:cxn>
                    <a:cxn ang="0">
                      <a:pos x="connsiteX2" y="connsiteY2"/>
                    </a:cxn>
                    <a:cxn ang="0">
                      <a:pos x="connsiteX3" y="connsiteY3"/>
                    </a:cxn>
                  </a:cxnLst>
                  <a:rect l="l" t="t" r="r" b="b"/>
                  <a:pathLst>
                    <a:path w="11053" h="51068">
                      <a:moveTo>
                        <a:pt x="155" y="51069"/>
                      </a:moveTo>
                      <a:cubicBezTo>
                        <a:pt x="-468" y="42723"/>
                        <a:pt x="902" y="36495"/>
                        <a:pt x="2272" y="32385"/>
                      </a:cubicBezTo>
                      <a:cubicBezTo>
                        <a:pt x="4514" y="25784"/>
                        <a:pt x="7254" y="23292"/>
                        <a:pt x="9372" y="16442"/>
                      </a:cubicBezTo>
                      <a:cubicBezTo>
                        <a:pt x="11364" y="9840"/>
                        <a:pt x="11240" y="3986"/>
                        <a:pt x="107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1" name="Freeform 5485">
                  <a:extLst>
                    <a:ext uri="{FF2B5EF4-FFF2-40B4-BE49-F238E27FC236}">
                      <a16:creationId xmlns:a16="http://schemas.microsoft.com/office/drawing/2014/main" id="{80F054E8-106D-484F-CAE9-9206FF6C8BA9}"/>
                    </a:ext>
                  </a:extLst>
                </p:cNvPr>
                <p:cNvSpPr/>
                <p:nvPr/>
              </p:nvSpPr>
              <p:spPr>
                <a:xfrm>
                  <a:off x="10254795" y="5739990"/>
                  <a:ext cx="26773" cy="26557"/>
                </a:xfrm>
                <a:custGeom>
                  <a:avLst/>
                  <a:gdLst>
                    <a:gd name="connsiteX0" fmla="*/ 26444 w 26773"/>
                    <a:gd name="connsiteY0" fmla="*/ 16144 h 26557"/>
                    <a:gd name="connsiteX1" fmla="*/ 10501 w 26773"/>
                    <a:gd name="connsiteY1" fmla="*/ 26233 h 26557"/>
                    <a:gd name="connsiteX2" fmla="*/ 287 w 26773"/>
                    <a:gd name="connsiteY2" fmla="*/ 10414 h 26557"/>
                    <a:gd name="connsiteX3" fmla="*/ 16230 w 26773"/>
                    <a:gd name="connsiteY3" fmla="*/ 324 h 26557"/>
                    <a:gd name="connsiteX4" fmla="*/ 26444 w 26773"/>
                    <a:gd name="connsiteY4" fmla="*/ 1614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556">
                      <a:moveTo>
                        <a:pt x="26444" y="16144"/>
                      </a:moveTo>
                      <a:cubicBezTo>
                        <a:pt x="24824" y="23243"/>
                        <a:pt x="17725" y="27852"/>
                        <a:pt x="10501" y="26233"/>
                      </a:cubicBezTo>
                      <a:cubicBezTo>
                        <a:pt x="3276" y="24613"/>
                        <a:pt x="-1208" y="17514"/>
                        <a:pt x="287" y="10414"/>
                      </a:cubicBezTo>
                      <a:cubicBezTo>
                        <a:pt x="1906" y="3314"/>
                        <a:pt x="9006" y="-1295"/>
                        <a:pt x="16230" y="324"/>
                      </a:cubicBezTo>
                      <a:cubicBezTo>
                        <a:pt x="23579" y="1944"/>
                        <a:pt x="28063" y="9044"/>
                        <a:pt x="26444" y="161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2" name="Freeform 5486">
                  <a:extLst>
                    <a:ext uri="{FF2B5EF4-FFF2-40B4-BE49-F238E27FC236}">
                      <a16:creationId xmlns:a16="http://schemas.microsoft.com/office/drawing/2014/main" id="{D6689363-4382-2C0B-9683-6A8D637AF4A5}"/>
                    </a:ext>
                  </a:extLst>
                </p:cNvPr>
                <p:cNvSpPr/>
                <p:nvPr/>
              </p:nvSpPr>
              <p:spPr>
                <a:xfrm>
                  <a:off x="10246861" y="5815796"/>
                  <a:ext cx="11957" cy="50819"/>
                </a:xfrm>
                <a:custGeom>
                  <a:avLst/>
                  <a:gdLst>
                    <a:gd name="connsiteX0" fmla="*/ 0 w 11957"/>
                    <a:gd name="connsiteY0" fmla="*/ 50820 h 50819"/>
                    <a:gd name="connsiteX1" fmla="*/ 5979 w 11957"/>
                    <a:gd name="connsiteY1" fmla="*/ 33008 h 50819"/>
                    <a:gd name="connsiteX2" fmla="*/ 6353 w 11957"/>
                    <a:gd name="connsiteY2" fmla="*/ 15570 h 50819"/>
                    <a:gd name="connsiteX3" fmla="*/ 11958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0" y="50820"/>
                      </a:moveTo>
                      <a:cubicBezTo>
                        <a:pt x="4111" y="43471"/>
                        <a:pt x="5481" y="37243"/>
                        <a:pt x="5979" y="33008"/>
                      </a:cubicBezTo>
                      <a:cubicBezTo>
                        <a:pt x="6727" y="26033"/>
                        <a:pt x="5357" y="22670"/>
                        <a:pt x="6353" y="15570"/>
                      </a:cubicBezTo>
                      <a:cubicBezTo>
                        <a:pt x="7349" y="8719"/>
                        <a:pt x="9965" y="3488"/>
                        <a:pt x="119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3" name="Freeform 5487">
                  <a:extLst>
                    <a:ext uri="{FF2B5EF4-FFF2-40B4-BE49-F238E27FC236}">
                      <a16:creationId xmlns:a16="http://schemas.microsoft.com/office/drawing/2014/main" id="{DF02FB1D-07A2-67DC-EC67-1DA0634A224B}"/>
                    </a:ext>
                  </a:extLst>
                </p:cNvPr>
                <p:cNvSpPr/>
                <p:nvPr/>
              </p:nvSpPr>
              <p:spPr>
                <a:xfrm>
                  <a:off x="10238668" y="5819035"/>
                  <a:ext cx="10963" cy="51068"/>
                </a:xfrm>
                <a:custGeom>
                  <a:avLst/>
                  <a:gdLst>
                    <a:gd name="connsiteX0" fmla="*/ 10809 w 10963"/>
                    <a:gd name="connsiteY0" fmla="*/ 0 h 51068"/>
                    <a:gd name="connsiteX1" fmla="*/ 8692 w 10963"/>
                    <a:gd name="connsiteY1" fmla="*/ 18684 h 51068"/>
                    <a:gd name="connsiteX2" fmla="*/ 1716 w 10963"/>
                    <a:gd name="connsiteY2" fmla="*/ 34627 h 51068"/>
                    <a:gd name="connsiteX3" fmla="*/ 222 w 1096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0"/>
                      </a:moveTo>
                      <a:cubicBezTo>
                        <a:pt x="11431" y="8346"/>
                        <a:pt x="10061" y="14573"/>
                        <a:pt x="8692" y="18684"/>
                      </a:cubicBezTo>
                      <a:cubicBezTo>
                        <a:pt x="6450" y="25285"/>
                        <a:pt x="3709" y="27776"/>
                        <a:pt x="1716" y="34627"/>
                      </a:cubicBezTo>
                      <a:cubicBezTo>
                        <a:pt x="-277" y="41229"/>
                        <a:pt x="-152" y="47083"/>
                        <a:pt x="22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4" name="Freeform 5488">
                  <a:extLst>
                    <a:ext uri="{FF2B5EF4-FFF2-40B4-BE49-F238E27FC236}">
                      <a16:creationId xmlns:a16="http://schemas.microsoft.com/office/drawing/2014/main" id="{9BDBBCD1-2FB4-50A3-A83D-A37D2B9666F5}"/>
                    </a:ext>
                  </a:extLst>
                </p:cNvPr>
                <p:cNvSpPr/>
                <p:nvPr/>
              </p:nvSpPr>
              <p:spPr>
                <a:xfrm>
                  <a:off x="10228719" y="5859565"/>
                  <a:ext cx="26320" cy="26432"/>
                </a:xfrm>
                <a:custGeom>
                  <a:avLst/>
                  <a:gdLst>
                    <a:gd name="connsiteX0" fmla="*/ 331 w 26320"/>
                    <a:gd name="connsiteY0" fmla="*/ 10414 h 26432"/>
                    <a:gd name="connsiteX1" fmla="*/ 16025 w 26320"/>
                    <a:gd name="connsiteY1" fmla="*/ 325 h 26432"/>
                    <a:gd name="connsiteX2" fmla="*/ 25990 w 26320"/>
                    <a:gd name="connsiteY2" fmla="*/ 16019 h 26432"/>
                    <a:gd name="connsiteX3" fmla="*/ 10296 w 26320"/>
                    <a:gd name="connsiteY3" fmla="*/ 26108 h 26432"/>
                    <a:gd name="connsiteX4" fmla="*/ 331 w 26320"/>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431">
                      <a:moveTo>
                        <a:pt x="331" y="10414"/>
                      </a:moveTo>
                      <a:cubicBezTo>
                        <a:pt x="1950" y="3314"/>
                        <a:pt x="8925" y="-1295"/>
                        <a:pt x="16025" y="325"/>
                      </a:cubicBezTo>
                      <a:cubicBezTo>
                        <a:pt x="23125" y="1944"/>
                        <a:pt x="27609" y="8919"/>
                        <a:pt x="25990" y="16019"/>
                      </a:cubicBezTo>
                      <a:cubicBezTo>
                        <a:pt x="24370" y="23118"/>
                        <a:pt x="17395" y="27727"/>
                        <a:pt x="10296" y="26108"/>
                      </a:cubicBezTo>
                      <a:cubicBezTo>
                        <a:pt x="3196" y="24613"/>
                        <a:pt x="-1288" y="17514"/>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6" name="Graphic 2987">
                <a:extLst>
                  <a:ext uri="{FF2B5EF4-FFF2-40B4-BE49-F238E27FC236}">
                    <a16:creationId xmlns:a16="http://schemas.microsoft.com/office/drawing/2014/main" id="{5FB03507-A79E-9790-CE80-8C5DD852A93D}"/>
                  </a:ext>
                </a:extLst>
              </p:cNvPr>
              <p:cNvGrpSpPr/>
              <p:nvPr/>
            </p:nvGrpSpPr>
            <p:grpSpPr>
              <a:xfrm>
                <a:off x="10257280" y="5746343"/>
                <a:ext cx="53554" cy="145883"/>
                <a:chOff x="10257280" y="5746343"/>
                <a:chExt cx="53554" cy="145883"/>
              </a:xfrm>
              <a:grpFill/>
            </p:grpSpPr>
            <p:sp>
              <p:nvSpPr>
                <p:cNvPr id="4103" name="Freeform 5490">
                  <a:extLst>
                    <a:ext uri="{FF2B5EF4-FFF2-40B4-BE49-F238E27FC236}">
                      <a16:creationId xmlns:a16="http://schemas.microsoft.com/office/drawing/2014/main" id="{F057E974-DF57-176C-3848-022D88E67EDA}"/>
                    </a:ext>
                  </a:extLst>
                </p:cNvPr>
                <p:cNvSpPr/>
                <p:nvPr/>
              </p:nvSpPr>
              <p:spPr>
                <a:xfrm>
                  <a:off x="10280118" y="5765849"/>
                  <a:ext cx="12206" cy="50694"/>
                </a:xfrm>
                <a:custGeom>
                  <a:avLst/>
                  <a:gdLst>
                    <a:gd name="connsiteX0" fmla="*/ 12206 w 12206"/>
                    <a:gd name="connsiteY0" fmla="*/ 0 h 50694"/>
                    <a:gd name="connsiteX1" fmla="*/ 6103 w 12206"/>
                    <a:gd name="connsiteY1" fmla="*/ 17812 h 50694"/>
                    <a:gd name="connsiteX2" fmla="*/ 5729 w 12206"/>
                    <a:gd name="connsiteY2" fmla="*/ 35250 h 50694"/>
                    <a:gd name="connsiteX3" fmla="*/ 0 w 12206"/>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6" h="50694">
                      <a:moveTo>
                        <a:pt x="12206" y="0"/>
                      </a:moveTo>
                      <a:cubicBezTo>
                        <a:pt x="7971" y="7349"/>
                        <a:pt x="6601" y="13452"/>
                        <a:pt x="6103" y="17812"/>
                      </a:cubicBezTo>
                      <a:cubicBezTo>
                        <a:pt x="5356" y="24787"/>
                        <a:pt x="6726" y="28150"/>
                        <a:pt x="5729" y="35250"/>
                      </a:cubicBezTo>
                      <a:cubicBezTo>
                        <a:pt x="4733" y="42100"/>
                        <a:pt x="2117"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4" name="Freeform 5491">
                  <a:extLst>
                    <a:ext uri="{FF2B5EF4-FFF2-40B4-BE49-F238E27FC236}">
                      <a16:creationId xmlns:a16="http://schemas.microsoft.com/office/drawing/2014/main" id="{3CA45030-E58B-F786-4FC8-1F3627DD9DFC}"/>
                    </a:ext>
                  </a:extLst>
                </p:cNvPr>
                <p:cNvSpPr/>
                <p:nvPr/>
              </p:nvSpPr>
              <p:spPr>
                <a:xfrm>
                  <a:off x="10289306" y="5762361"/>
                  <a:ext cx="11211" cy="51068"/>
                </a:xfrm>
                <a:custGeom>
                  <a:avLst/>
                  <a:gdLst>
                    <a:gd name="connsiteX0" fmla="*/ 154 w 11211"/>
                    <a:gd name="connsiteY0" fmla="*/ 51068 h 51068"/>
                    <a:gd name="connsiteX1" fmla="*/ 2396 w 11211"/>
                    <a:gd name="connsiteY1" fmla="*/ 32385 h 51068"/>
                    <a:gd name="connsiteX2" fmla="*/ 9496 w 11211"/>
                    <a:gd name="connsiteY2" fmla="*/ 16441 h 51068"/>
                    <a:gd name="connsiteX3" fmla="*/ 10990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8"/>
                      </a:moveTo>
                      <a:cubicBezTo>
                        <a:pt x="-469" y="42723"/>
                        <a:pt x="901" y="36495"/>
                        <a:pt x="2396" y="32385"/>
                      </a:cubicBezTo>
                      <a:cubicBezTo>
                        <a:pt x="4638" y="25783"/>
                        <a:pt x="7502" y="23292"/>
                        <a:pt x="9496" y="16441"/>
                      </a:cubicBezTo>
                      <a:cubicBezTo>
                        <a:pt x="11488" y="9840"/>
                        <a:pt x="11364" y="3986"/>
                        <a:pt x="109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5" name="Freeform 5492">
                  <a:extLst>
                    <a:ext uri="{FF2B5EF4-FFF2-40B4-BE49-F238E27FC236}">
                      <a16:creationId xmlns:a16="http://schemas.microsoft.com/office/drawing/2014/main" id="{884E81B8-12C9-D77D-C546-1A1A13B36501}"/>
                    </a:ext>
                  </a:extLst>
                </p:cNvPr>
                <p:cNvSpPr/>
                <p:nvPr/>
              </p:nvSpPr>
              <p:spPr>
                <a:xfrm>
                  <a:off x="10284147" y="5746343"/>
                  <a:ext cx="26687" cy="26519"/>
                </a:xfrm>
                <a:custGeom>
                  <a:avLst/>
                  <a:gdLst>
                    <a:gd name="connsiteX0" fmla="*/ 26363 w 26687"/>
                    <a:gd name="connsiteY0" fmla="*/ 16143 h 26519"/>
                    <a:gd name="connsiteX1" fmla="*/ 10420 w 26687"/>
                    <a:gd name="connsiteY1" fmla="*/ 26232 h 26519"/>
                    <a:gd name="connsiteX2" fmla="*/ 331 w 26687"/>
                    <a:gd name="connsiteY2" fmla="*/ 10414 h 26519"/>
                    <a:gd name="connsiteX3" fmla="*/ 16274 w 26687"/>
                    <a:gd name="connsiteY3" fmla="*/ 325 h 26519"/>
                    <a:gd name="connsiteX4" fmla="*/ 26363 w 2668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19">
                      <a:moveTo>
                        <a:pt x="26363" y="16143"/>
                      </a:moveTo>
                      <a:cubicBezTo>
                        <a:pt x="24744" y="23243"/>
                        <a:pt x="17520" y="27727"/>
                        <a:pt x="10420" y="26232"/>
                      </a:cubicBezTo>
                      <a:cubicBezTo>
                        <a:pt x="3195" y="24613"/>
                        <a:pt x="-1289" y="17638"/>
                        <a:pt x="331" y="10414"/>
                      </a:cubicBezTo>
                      <a:cubicBezTo>
                        <a:pt x="1950" y="3314"/>
                        <a:pt x="9050" y="-1295"/>
                        <a:pt x="16274" y="325"/>
                      </a:cubicBezTo>
                      <a:cubicBezTo>
                        <a:pt x="23374" y="1944"/>
                        <a:pt x="27983" y="9043"/>
                        <a:pt x="26363"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6" name="Freeform 5493">
                  <a:extLst>
                    <a:ext uri="{FF2B5EF4-FFF2-40B4-BE49-F238E27FC236}">
                      <a16:creationId xmlns:a16="http://schemas.microsoft.com/office/drawing/2014/main" id="{2559440A-100C-7647-0060-88D3AFFB0F7A}"/>
                    </a:ext>
                  </a:extLst>
                </p:cNvPr>
                <p:cNvSpPr/>
                <p:nvPr/>
              </p:nvSpPr>
              <p:spPr>
                <a:xfrm>
                  <a:off x="10275510" y="5822274"/>
                  <a:ext cx="12331" cy="50694"/>
                </a:xfrm>
                <a:custGeom>
                  <a:avLst/>
                  <a:gdLst>
                    <a:gd name="connsiteX0" fmla="*/ 0 w 12331"/>
                    <a:gd name="connsiteY0" fmla="*/ 50695 h 50694"/>
                    <a:gd name="connsiteX1" fmla="*/ 6103 w 12331"/>
                    <a:gd name="connsiteY1" fmla="*/ 32883 h 50694"/>
                    <a:gd name="connsiteX2" fmla="*/ 6601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346"/>
                        <a:pt x="5604" y="37243"/>
                        <a:pt x="6103" y="32883"/>
                      </a:cubicBezTo>
                      <a:cubicBezTo>
                        <a:pt x="6851" y="25908"/>
                        <a:pt x="5481" y="22545"/>
                        <a:pt x="6601" y="15445"/>
                      </a:cubicBezTo>
                      <a:cubicBezTo>
                        <a:pt x="7598" y="8595"/>
                        <a:pt x="10214"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7" name="Freeform 5494">
                  <a:extLst>
                    <a:ext uri="{FF2B5EF4-FFF2-40B4-BE49-F238E27FC236}">
                      <a16:creationId xmlns:a16="http://schemas.microsoft.com/office/drawing/2014/main" id="{3DB70397-2F22-9716-BE1C-261ED922E344}"/>
                    </a:ext>
                  </a:extLst>
                </p:cNvPr>
                <p:cNvSpPr/>
                <p:nvPr/>
              </p:nvSpPr>
              <p:spPr>
                <a:xfrm>
                  <a:off x="10267316" y="5825388"/>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2 w 11211"/>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833" y="27776"/>
                        <a:pt x="1716" y="34627"/>
                      </a:cubicBezTo>
                      <a:cubicBezTo>
                        <a:pt x="-276" y="41229"/>
                        <a:pt x="-152" y="47083"/>
                        <a:pt x="22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8" name="Freeform 5495">
                  <a:extLst>
                    <a:ext uri="{FF2B5EF4-FFF2-40B4-BE49-F238E27FC236}">
                      <a16:creationId xmlns:a16="http://schemas.microsoft.com/office/drawing/2014/main" id="{FEF1AF39-5A74-D90A-648C-F6E1FCBD4C14}"/>
                    </a:ext>
                  </a:extLst>
                </p:cNvPr>
                <p:cNvSpPr/>
                <p:nvPr/>
              </p:nvSpPr>
              <p:spPr>
                <a:xfrm>
                  <a:off x="10257280" y="5865793"/>
                  <a:ext cx="26164" cy="26432"/>
                </a:xfrm>
                <a:custGeom>
                  <a:avLst/>
                  <a:gdLst>
                    <a:gd name="connsiteX0" fmla="*/ 293 w 26164"/>
                    <a:gd name="connsiteY0" fmla="*/ 10414 h 26432"/>
                    <a:gd name="connsiteX1" fmla="*/ 15988 w 26164"/>
                    <a:gd name="connsiteY1" fmla="*/ 325 h 26432"/>
                    <a:gd name="connsiteX2" fmla="*/ 25828 w 26164"/>
                    <a:gd name="connsiteY2" fmla="*/ 16019 h 26432"/>
                    <a:gd name="connsiteX3" fmla="*/ 10133 w 26164"/>
                    <a:gd name="connsiteY3" fmla="*/ 26108 h 26432"/>
                    <a:gd name="connsiteX4" fmla="*/ 293 w 2616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4" h="26431">
                      <a:moveTo>
                        <a:pt x="293" y="10414"/>
                      </a:moveTo>
                      <a:cubicBezTo>
                        <a:pt x="1913" y="3314"/>
                        <a:pt x="8888" y="-1295"/>
                        <a:pt x="15988" y="325"/>
                      </a:cubicBezTo>
                      <a:cubicBezTo>
                        <a:pt x="23087" y="1819"/>
                        <a:pt x="27447" y="8919"/>
                        <a:pt x="25828" y="16019"/>
                      </a:cubicBezTo>
                      <a:cubicBezTo>
                        <a:pt x="24208" y="23118"/>
                        <a:pt x="17108" y="27727"/>
                        <a:pt x="10133" y="26108"/>
                      </a:cubicBezTo>
                      <a:cubicBezTo>
                        <a:pt x="3158" y="24613"/>
                        <a:pt x="-1201" y="17638"/>
                        <a:pt x="293"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7" name="Graphic 2987">
                <a:extLst>
                  <a:ext uri="{FF2B5EF4-FFF2-40B4-BE49-F238E27FC236}">
                    <a16:creationId xmlns:a16="http://schemas.microsoft.com/office/drawing/2014/main" id="{6E0BA6B6-80B5-CF8E-FC19-66DACEC80844}"/>
                  </a:ext>
                </a:extLst>
              </p:cNvPr>
              <p:cNvGrpSpPr/>
              <p:nvPr/>
            </p:nvGrpSpPr>
            <p:grpSpPr>
              <a:xfrm>
                <a:off x="10285890" y="5753023"/>
                <a:ext cx="54017" cy="145731"/>
                <a:chOff x="10285890" y="5753023"/>
                <a:chExt cx="54017" cy="145731"/>
              </a:xfrm>
              <a:grpFill/>
            </p:grpSpPr>
            <p:sp>
              <p:nvSpPr>
                <p:cNvPr id="4097" name="Freeform 5497">
                  <a:extLst>
                    <a:ext uri="{FF2B5EF4-FFF2-40B4-BE49-F238E27FC236}">
                      <a16:creationId xmlns:a16="http://schemas.microsoft.com/office/drawing/2014/main" id="{789AB51F-FC4C-BB8D-5B3A-D43A999E0140}"/>
                    </a:ext>
                  </a:extLst>
                </p:cNvPr>
                <p:cNvSpPr/>
                <p:nvPr/>
              </p:nvSpPr>
              <p:spPr>
                <a:xfrm>
                  <a:off x="10309140" y="5772201"/>
                  <a:ext cx="12331" cy="50695"/>
                </a:xfrm>
                <a:custGeom>
                  <a:avLst/>
                  <a:gdLst>
                    <a:gd name="connsiteX0" fmla="*/ 12332 w 12331"/>
                    <a:gd name="connsiteY0" fmla="*/ 0 h 50695"/>
                    <a:gd name="connsiteX1" fmla="*/ 6228 w 12331"/>
                    <a:gd name="connsiteY1" fmla="*/ 17812 h 50695"/>
                    <a:gd name="connsiteX2" fmla="*/ 5730 w 12331"/>
                    <a:gd name="connsiteY2" fmla="*/ 35250 h 50695"/>
                    <a:gd name="connsiteX3" fmla="*/ 0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12332" y="0"/>
                      </a:moveTo>
                      <a:cubicBezTo>
                        <a:pt x="8097" y="7225"/>
                        <a:pt x="6727" y="13452"/>
                        <a:pt x="6228" y="17812"/>
                      </a:cubicBezTo>
                      <a:cubicBezTo>
                        <a:pt x="5481"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8" name="Freeform 5498">
                  <a:extLst>
                    <a:ext uri="{FF2B5EF4-FFF2-40B4-BE49-F238E27FC236}">
                      <a16:creationId xmlns:a16="http://schemas.microsoft.com/office/drawing/2014/main" id="{58D83522-F9E7-818C-7AE4-2B90CDEAB9BF}"/>
                    </a:ext>
                  </a:extLst>
                </p:cNvPr>
                <p:cNvSpPr/>
                <p:nvPr/>
              </p:nvSpPr>
              <p:spPr>
                <a:xfrm>
                  <a:off x="10318212" y="5768963"/>
                  <a:ext cx="11422" cy="50944"/>
                </a:xfrm>
                <a:custGeom>
                  <a:avLst/>
                  <a:gdLst>
                    <a:gd name="connsiteX0" fmla="*/ 146 w 11422"/>
                    <a:gd name="connsiteY0" fmla="*/ 50944 h 50944"/>
                    <a:gd name="connsiteX1" fmla="*/ 2388 w 11422"/>
                    <a:gd name="connsiteY1" fmla="*/ 32260 h 50944"/>
                    <a:gd name="connsiteX2" fmla="*/ 9611 w 11422"/>
                    <a:gd name="connsiteY2" fmla="*/ 16441 h 50944"/>
                    <a:gd name="connsiteX3" fmla="*/ 11231 w 11422"/>
                    <a:gd name="connsiteY3" fmla="*/ 0 h 50944"/>
                  </a:gdLst>
                  <a:ahLst/>
                  <a:cxnLst>
                    <a:cxn ang="0">
                      <a:pos x="connsiteX0" y="connsiteY0"/>
                    </a:cxn>
                    <a:cxn ang="0">
                      <a:pos x="connsiteX1" y="connsiteY1"/>
                    </a:cxn>
                    <a:cxn ang="0">
                      <a:pos x="connsiteX2" y="connsiteY2"/>
                    </a:cxn>
                    <a:cxn ang="0">
                      <a:pos x="connsiteX3" y="connsiteY3"/>
                    </a:cxn>
                  </a:cxnLst>
                  <a:rect l="l" t="t" r="r" b="b"/>
                  <a:pathLst>
                    <a:path w="11422" h="50944">
                      <a:moveTo>
                        <a:pt x="146" y="50944"/>
                      </a:moveTo>
                      <a:cubicBezTo>
                        <a:pt x="-478" y="42474"/>
                        <a:pt x="1017" y="36371"/>
                        <a:pt x="2388" y="32260"/>
                      </a:cubicBezTo>
                      <a:cubicBezTo>
                        <a:pt x="4754" y="25659"/>
                        <a:pt x="7494" y="23168"/>
                        <a:pt x="9611" y="16441"/>
                      </a:cubicBezTo>
                      <a:cubicBezTo>
                        <a:pt x="11605" y="9840"/>
                        <a:pt x="11605" y="3986"/>
                        <a:pt x="11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9" name="Freeform 5499">
                  <a:extLst>
                    <a:ext uri="{FF2B5EF4-FFF2-40B4-BE49-F238E27FC236}">
                      <a16:creationId xmlns:a16="http://schemas.microsoft.com/office/drawing/2014/main" id="{8E2CC78F-02FF-38E7-2D9C-D29A2099F49B}"/>
                    </a:ext>
                  </a:extLst>
                </p:cNvPr>
                <p:cNvSpPr/>
                <p:nvPr/>
              </p:nvSpPr>
              <p:spPr>
                <a:xfrm>
                  <a:off x="10313175" y="5753023"/>
                  <a:ext cx="26733" cy="26490"/>
                </a:xfrm>
                <a:custGeom>
                  <a:avLst/>
                  <a:gdLst>
                    <a:gd name="connsiteX0" fmla="*/ 26357 w 26733"/>
                    <a:gd name="connsiteY0" fmla="*/ 16313 h 26490"/>
                    <a:gd name="connsiteX1" fmla="*/ 10414 w 26733"/>
                    <a:gd name="connsiteY1" fmla="*/ 26153 h 26490"/>
                    <a:gd name="connsiteX2" fmla="*/ 325 w 26733"/>
                    <a:gd name="connsiteY2" fmla="*/ 10334 h 26490"/>
                    <a:gd name="connsiteX3" fmla="*/ 16392 w 26733"/>
                    <a:gd name="connsiteY3" fmla="*/ 370 h 26490"/>
                    <a:gd name="connsiteX4" fmla="*/ 26357 w 26733"/>
                    <a:gd name="connsiteY4" fmla="*/ 16313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490">
                      <a:moveTo>
                        <a:pt x="26357" y="16313"/>
                      </a:moveTo>
                      <a:cubicBezTo>
                        <a:pt x="24737" y="23413"/>
                        <a:pt x="17514" y="27772"/>
                        <a:pt x="10414" y="26153"/>
                      </a:cubicBezTo>
                      <a:cubicBezTo>
                        <a:pt x="3314" y="24409"/>
                        <a:pt x="-1295" y="17434"/>
                        <a:pt x="325" y="10334"/>
                      </a:cubicBezTo>
                      <a:cubicBezTo>
                        <a:pt x="1944" y="3234"/>
                        <a:pt x="9168" y="-1374"/>
                        <a:pt x="16392" y="370"/>
                      </a:cubicBezTo>
                      <a:cubicBezTo>
                        <a:pt x="23617" y="1989"/>
                        <a:pt x="28101" y="9089"/>
                        <a:pt x="26357" y="163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0" name="Freeform 5500">
                  <a:extLst>
                    <a:ext uri="{FF2B5EF4-FFF2-40B4-BE49-F238E27FC236}">
                      <a16:creationId xmlns:a16="http://schemas.microsoft.com/office/drawing/2014/main" id="{4539DBCF-83F7-FB53-A17E-ABA22EC8B3B5}"/>
                    </a:ext>
                  </a:extLst>
                </p:cNvPr>
                <p:cNvSpPr/>
                <p:nvPr/>
              </p:nvSpPr>
              <p:spPr>
                <a:xfrm>
                  <a:off x="10304158" y="5828750"/>
                  <a:ext cx="12331" cy="50695"/>
                </a:xfrm>
                <a:custGeom>
                  <a:avLst/>
                  <a:gdLst>
                    <a:gd name="connsiteX0" fmla="*/ 0 w 12331"/>
                    <a:gd name="connsiteY0" fmla="*/ 50695 h 50695"/>
                    <a:gd name="connsiteX1" fmla="*/ 6103 w 12331"/>
                    <a:gd name="connsiteY1" fmla="*/ 32883 h 50695"/>
                    <a:gd name="connsiteX2" fmla="*/ 6601 w 12331"/>
                    <a:gd name="connsiteY2" fmla="*/ 15445 h 50695"/>
                    <a:gd name="connsiteX3" fmla="*/ 12331 w 12331"/>
                    <a:gd name="connsiteY3" fmla="*/ 0 h 50695"/>
                  </a:gdLst>
                  <a:ahLst/>
                  <a:cxnLst>
                    <a:cxn ang="0">
                      <a:pos x="connsiteX0" y="connsiteY0"/>
                    </a:cxn>
                    <a:cxn ang="0">
                      <a:pos x="connsiteX1" y="connsiteY1"/>
                    </a:cxn>
                    <a:cxn ang="0">
                      <a:pos x="connsiteX2" y="connsiteY2"/>
                    </a:cxn>
                    <a:cxn ang="0">
                      <a:pos x="connsiteX3" y="connsiteY3"/>
                    </a:cxn>
                  </a:cxnLst>
                  <a:rect l="l" t="t" r="r" b="b"/>
                  <a:pathLst>
                    <a:path w="12331" h="50695">
                      <a:moveTo>
                        <a:pt x="0" y="50695"/>
                      </a:moveTo>
                      <a:cubicBezTo>
                        <a:pt x="4235" y="43471"/>
                        <a:pt x="5605" y="37243"/>
                        <a:pt x="6103" y="32883"/>
                      </a:cubicBezTo>
                      <a:cubicBezTo>
                        <a:pt x="6975" y="25908"/>
                        <a:pt x="5605" y="22420"/>
                        <a:pt x="6601" y="15445"/>
                      </a:cubicBezTo>
                      <a:cubicBezTo>
                        <a:pt x="7723" y="8595"/>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1" name="Freeform 5501">
                  <a:extLst>
                    <a:ext uri="{FF2B5EF4-FFF2-40B4-BE49-F238E27FC236}">
                      <a16:creationId xmlns:a16="http://schemas.microsoft.com/office/drawing/2014/main" id="{44BC2053-C1B9-84A4-4762-D043937E7114}"/>
                    </a:ext>
                  </a:extLst>
                </p:cNvPr>
                <p:cNvSpPr/>
                <p:nvPr/>
              </p:nvSpPr>
              <p:spPr>
                <a:xfrm>
                  <a:off x="10296119" y="5831740"/>
                  <a:ext cx="11298" cy="50944"/>
                </a:xfrm>
                <a:custGeom>
                  <a:avLst/>
                  <a:gdLst>
                    <a:gd name="connsiteX0" fmla="*/ 11153 w 11298"/>
                    <a:gd name="connsiteY0" fmla="*/ 0 h 50944"/>
                    <a:gd name="connsiteX1" fmla="*/ 8911 w 11298"/>
                    <a:gd name="connsiteY1" fmla="*/ 18684 h 50944"/>
                    <a:gd name="connsiteX2" fmla="*/ 1811 w 11298"/>
                    <a:gd name="connsiteY2" fmla="*/ 34503 h 50944"/>
                    <a:gd name="connsiteX3" fmla="*/ 192 w 11298"/>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0"/>
                      </a:moveTo>
                      <a:cubicBezTo>
                        <a:pt x="11776" y="8470"/>
                        <a:pt x="10281" y="14573"/>
                        <a:pt x="8911" y="18684"/>
                      </a:cubicBezTo>
                      <a:cubicBezTo>
                        <a:pt x="6544" y="25285"/>
                        <a:pt x="3804" y="27776"/>
                        <a:pt x="1811" y="34503"/>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2" name="Freeform 5502">
                  <a:extLst>
                    <a:ext uri="{FF2B5EF4-FFF2-40B4-BE49-F238E27FC236}">
                      <a16:creationId xmlns:a16="http://schemas.microsoft.com/office/drawing/2014/main" id="{8853E57C-6B4E-4BFF-1D9C-1B6F8029C916}"/>
                    </a:ext>
                  </a:extLst>
                </p:cNvPr>
                <p:cNvSpPr/>
                <p:nvPr/>
              </p:nvSpPr>
              <p:spPr>
                <a:xfrm>
                  <a:off x="10285890" y="5872225"/>
                  <a:ext cx="26249" cy="26529"/>
                </a:xfrm>
                <a:custGeom>
                  <a:avLst/>
                  <a:gdLst>
                    <a:gd name="connsiteX0" fmla="*/ 331 w 26249"/>
                    <a:gd name="connsiteY0" fmla="*/ 10334 h 26529"/>
                    <a:gd name="connsiteX1" fmla="*/ 16150 w 26249"/>
                    <a:gd name="connsiteY1" fmla="*/ 370 h 26529"/>
                    <a:gd name="connsiteX2" fmla="*/ 25865 w 26249"/>
                    <a:gd name="connsiteY2" fmla="*/ 16313 h 26529"/>
                    <a:gd name="connsiteX3" fmla="*/ 10171 w 26249"/>
                    <a:gd name="connsiteY3" fmla="*/ 26153 h 26529"/>
                    <a:gd name="connsiteX4" fmla="*/ 331 w 26249"/>
                    <a:gd name="connsiteY4" fmla="*/ 10334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29">
                      <a:moveTo>
                        <a:pt x="331" y="10334"/>
                      </a:moveTo>
                      <a:cubicBezTo>
                        <a:pt x="1951" y="3235"/>
                        <a:pt x="9050" y="-1374"/>
                        <a:pt x="16150" y="370"/>
                      </a:cubicBezTo>
                      <a:cubicBezTo>
                        <a:pt x="23249" y="2114"/>
                        <a:pt x="27609" y="9213"/>
                        <a:pt x="25865" y="16313"/>
                      </a:cubicBezTo>
                      <a:cubicBezTo>
                        <a:pt x="24246" y="23413"/>
                        <a:pt x="17146" y="27897"/>
                        <a:pt x="10171" y="26153"/>
                      </a:cubicBezTo>
                      <a:cubicBezTo>
                        <a:pt x="3196" y="24410"/>
                        <a:pt x="-1288" y="17559"/>
                        <a:pt x="331" y="103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8" name="Graphic 2987">
                <a:extLst>
                  <a:ext uri="{FF2B5EF4-FFF2-40B4-BE49-F238E27FC236}">
                    <a16:creationId xmlns:a16="http://schemas.microsoft.com/office/drawing/2014/main" id="{448855E8-2EFB-B985-7C39-A1632639AAC1}"/>
                  </a:ext>
                </a:extLst>
              </p:cNvPr>
              <p:cNvGrpSpPr/>
              <p:nvPr/>
            </p:nvGrpSpPr>
            <p:grpSpPr>
              <a:xfrm>
                <a:off x="10314401" y="5759860"/>
                <a:ext cx="54608" cy="145746"/>
                <a:chOff x="10314401" y="5759860"/>
                <a:chExt cx="54608" cy="145746"/>
              </a:xfrm>
              <a:grpFill/>
            </p:grpSpPr>
            <p:sp>
              <p:nvSpPr>
                <p:cNvPr id="4091" name="Freeform 5504">
                  <a:extLst>
                    <a:ext uri="{FF2B5EF4-FFF2-40B4-BE49-F238E27FC236}">
                      <a16:creationId xmlns:a16="http://schemas.microsoft.com/office/drawing/2014/main" id="{655F3E44-0752-D740-39B3-D359C71C7B4E}"/>
                    </a:ext>
                  </a:extLst>
                </p:cNvPr>
                <p:cNvSpPr/>
                <p:nvPr/>
              </p:nvSpPr>
              <p:spPr>
                <a:xfrm>
                  <a:off x="10337789" y="5779176"/>
                  <a:ext cx="12704" cy="50570"/>
                </a:xfrm>
                <a:custGeom>
                  <a:avLst/>
                  <a:gdLst>
                    <a:gd name="connsiteX0" fmla="*/ 12704 w 12704"/>
                    <a:gd name="connsiteY0" fmla="*/ 0 h 50570"/>
                    <a:gd name="connsiteX1" fmla="*/ 6476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4" y="0"/>
                      </a:moveTo>
                      <a:cubicBezTo>
                        <a:pt x="8470" y="7225"/>
                        <a:pt x="6975" y="13452"/>
                        <a:pt x="6476" y="17687"/>
                      </a:cubicBezTo>
                      <a:cubicBezTo>
                        <a:pt x="5604" y="24663"/>
                        <a:pt x="6975" y="28150"/>
                        <a:pt x="5854" y="35125"/>
                      </a:cubicBezTo>
                      <a:cubicBezTo>
                        <a:pt x="4733"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2" name="Freeform 5505">
                  <a:extLst>
                    <a:ext uri="{FF2B5EF4-FFF2-40B4-BE49-F238E27FC236}">
                      <a16:creationId xmlns:a16="http://schemas.microsoft.com/office/drawing/2014/main" id="{F33B18AD-E4F7-65C9-540D-37995BCCD4EA}"/>
                    </a:ext>
                  </a:extLst>
                </p:cNvPr>
                <p:cNvSpPr/>
                <p:nvPr/>
              </p:nvSpPr>
              <p:spPr>
                <a:xfrm>
                  <a:off x="10346985" y="5775938"/>
                  <a:ext cx="11572" cy="50944"/>
                </a:xfrm>
                <a:custGeom>
                  <a:avLst/>
                  <a:gdLst>
                    <a:gd name="connsiteX0" fmla="*/ 145 w 11572"/>
                    <a:gd name="connsiteY0" fmla="*/ 50944 h 50944"/>
                    <a:gd name="connsiteX1" fmla="*/ 2512 w 11572"/>
                    <a:gd name="connsiteY1" fmla="*/ 32260 h 50944"/>
                    <a:gd name="connsiteX2" fmla="*/ 9736 w 11572"/>
                    <a:gd name="connsiteY2" fmla="*/ 16441 h 50944"/>
                    <a:gd name="connsiteX3" fmla="*/ 11355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45" y="50944"/>
                      </a:moveTo>
                      <a:cubicBezTo>
                        <a:pt x="-478" y="42599"/>
                        <a:pt x="1017" y="36371"/>
                        <a:pt x="2512" y="32260"/>
                      </a:cubicBezTo>
                      <a:cubicBezTo>
                        <a:pt x="4878" y="25659"/>
                        <a:pt x="7618" y="23168"/>
                        <a:pt x="9736" y="16441"/>
                      </a:cubicBezTo>
                      <a:cubicBezTo>
                        <a:pt x="11854"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3" name="Freeform 5506">
                  <a:extLst>
                    <a:ext uri="{FF2B5EF4-FFF2-40B4-BE49-F238E27FC236}">
                      <a16:creationId xmlns:a16="http://schemas.microsoft.com/office/drawing/2014/main" id="{221E0A0D-9338-A80E-9BDC-BEDCD5BBD394}"/>
                    </a:ext>
                  </a:extLst>
                </p:cNvPr>
                <p:cNvSpPr/>
                <p:nvPr/>
              </p:nvSpPr>
              <p:spPr>
                <a:xfrm>
                  <a:off x="10342309" y="5759860"/>
                  <a:ext cx="26700" cy="26551"/>
                </a:xfrm>
                <a:custGeom>
                  <a:avLst/>
                  <a:gdLst>
                    <a:gd name="connsiteX0" fmla="*/ 26370 w 26700"/>
                    <a:gd name="connsiteY0" fmla="*/ 16452 h 26551"/>
                    <a:gd name="connsiteX1" fmla="*/ 10302 w 26700"/>
                    <a:gd name="connsiteY1" fmla="*/ 26168 h 26551"/>
                    <a:gd name="connsiteX2" fmla="*/ 337 w 26700"/>
                    <a:gd name="connsiteY2" fmla="*/ 10100 h 26551"/>
                    <a:gd name="connsiteX3" fmla="*/ 16406 w 26700"/>
                    <a:gd name="connsiteY3" fmla="*/ 384 h 26551"/>
                    <a:gd name="connsiteX4" fmla="*/ 26370 w 2670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9" h="26551">
                      <a:moveTo>
                        <a:pt x="26370" y="16452"/>
                      </a:moveTo>
                      <a:cubicBezTo>
                        <a:pt x="24626" y="23552"/>
                        <a:pt x="17526" y="27911"/>
                        <a:pt x="10302" y="26168"/>
                      </a:cubicBezTo>
                      <a:cubicBezTo>
                        <a:pt x="3078" y="24424"/>
                        <a:pt x="-1282" y="17324"/>
                        <a:pt x="337" y="10100"/>
                      </a:cubicBezTo>
                      <a:cubicBezTo>
                        <a:pt x="1956" y="3000"/>
                        <a:pt x="9181" y="-1360"/>
                        <a:pt x="16406" y="384"/>
                      </a:cubicBezTo>
                      <a:cubicBezTo>
                        <a:pt x="23505" y="2128"/>
                        <a:pt x="27989" y="9352"/>
                        <a:pt x="26370"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4" name="Freeform 5507">
                  <a:extLst>
                    <a:ext uri="{FF2B5EF4-FFF2-40B4-BE49-F238E27FC236}">
                      <a16:creationId xmlns:a16="http://schemas.microsoft.com/office/drawing/2014/main" id="{4F11C496-BC92-AB75-DA74-8F29BF009BEC}"/>
                    </a:ext>
                  </a:extLst>
                </p:cNvPr>
                <p:cNvSpPr/>
                <p:nvPr/>
              </p:nvSpPr>
              <p:spPr>
                <a:xfrm>
                  <a:off x="10332681" y="5835726"/>
                  <a:ext cx="12705" cy="50570"/>
                </a:xfrm>
                <a:custGeom>
                  <a:avLst/>
                  <a:gdLst>
                    <a:gd name="connsiteX0" fmla="*/ 0 w 12705"/>
                    <a:gd name="connsiteY0" fmla="*/ 50570 h 50570"/>
                    <a:gd name="connsiteX1" fmla="*/ 6228 w 12705"/>
                    <a:gd name="connsiteY1" fmla="*/ 32883 h 50570"/>
                    <a:gd name="connsiteX2" fmla="*/ 6851 w 12705"/>
                    <a:gd name="connsiteY2" fmla="*/ 15445 h 50570"/>
                    <a:gd name="connsiteX3" fmla="*/ 12705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0" y="50570"/>
                      </a:moveTo>
                      <a:cubicBezTo>
                        <a:pt x="4235" y="43346"/>
                        <a:pt x="5730" y="37118"/>
                        <a:pt x="6228" y="32883"/>
                      </a:cubicBezTo>
                      <a:cubicBezTo>
                        <a:pt x="7100" y="25908"/>
                        <a:pt x="5730" y="22420"/>
                        <a:pt x="6851" y="15445"/>
                      </a:cubicBezTo>
                      <a:cubicBezTo>
                        <a:pt x="7972" y="8595"/>
                        <a:pt x="10588"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5" name="Freeform 5508">
                  <a:extLst>
                    <a:ext uri="{FF2B5EF4-FFF2-40B4-BE49-F238E27FC236}">
                      <a16:creationId xmlns:a16="http://schemas.microsoft.com/office/drawing/2014/main" id="{765CDF7B-2C19-B859-0476-1FE88099284D}"/>
                    </a:ext>
                  </a:extLst>
                </p:cNvPr>
                <p:cNvSpPr/>
                <p:nvPr/>
              </p:nvSpPr>
              <p:spPr>
                <a:xfrm>
                  <a:off x="10324643" y="5838591"/>
                  <a:ext cx="11546" cy="50944"/>
                </a:xfrm>
                <a:custGeom>
                  <a:avLst/>
                  <a:gdLst>
                    <a:gd name="connsiteX0" fmla="*/ 11402 w 11546"/>
                    <a:gd name="connsiteY0" fmla="*/ 0 h 50944"/>
                    <a:gd name="connsiteX1" fmla="*/ 9035 w 11546"/>
                    <a:gd name="connsiteY1" fmla="*/ 18684 h 50944"/>
                    <a:gd name="connsiteX2" fmla="*/ 1811 w 11546"/>
                    <a:gd name="connsiteY2" fmla="*/ 34502 h 50944"/>
                    <a:gd name="connsiteX3" fmla="*/ 191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0"/>
                      </a:moveTo>
                      <a:cubicBezTo>
                        <a:pt x="12025" y="8345"/>
                        <a:pt x="10530" y="14573"/>
                        <a:pt x="9035" y="18684"/>
                      </a:cubicBezTo>
                      <a:cubicBezTo>
                        <a:pt x="6669" y="25285"/>
                        <a:pt x="3928" y="27776"/>
                        <a:pt x="1811" y="34502"/>
                      </a:cubicBezTo>
                      <a:cubicBezTo>
                        <a:pt x="-182" y="41104"/>
                        <a:pt x="-182" y="46958"/>
                        <a:pt x="19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6" name="Freeform 5509">
                  <a:extLst>
                    <a:ext uri="{FF2B5EF4-FFF2-40B4-BE49-F238E27FC236}">
                      <a16:creationId xmlns:a16="http://schemas.microsoft.com/office/drawing/2014/main" id="{67548AC6-5483-0397-2994-FC05D07EFA16}"/>
                    </a:ext>
                  </a:extLst>
                </p:cNvPr>
                <p:cNvSpPr/>
                <p:nvPr/>
              </p:nvSpPr>
              <p:spPr>
                <a:xfrm>
                  <a:off x="10314401" y="5879069"/>
                  <a:ext cx="26262" cy="26537"/>
                </a:xfrm>
                <a:custGeom>
                  <a:avLst/>
                  <a:gdLst>
                    <a:gd name="connsiteX0" fmla="*/ 344 w 26262"/>
                    <a:gd name="connsiteY0" fmla="*/ 10217 h 26537"/>
                    <a:gd name="connsiteX1" fmla="*/ 16163 w 26262"/>
                    <a:gd name="connsiteY1" fmla="*/ 377 h 26537"/>
                    <a:gd name="connsiteX2" fmla="*/ 25878 w 26262"/>
                    <a:gd name="connsiteY2" fmla="*/ 16320 h 26537"/>
                    <a:gd name="connsiteX3" fmla="*/ 10060 w 26262"/>
                    <a:gd name="connsiteY3" fmla="*/ 26160 h 26537"/>
                    <a:gd name="connsiteX4" fmla="*/ 344 w 26262"/>
                    <a:gd name="connsiteY4" fmla="*/ 10217 h 2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2" h="26537">
                      <a:moveTo>
                        <a:pt x="344" y="10217"/>
                      </a:moveTo>
                      <a:cubicBezTo>
                        <a:pt x="1964" y="3117"/>
                        <a:pt x="9063" y="-1367"/>
                        <a:pt x="16163" y="377"/>
                      </a:cubicBezTo>
                      <a:cubicBezTo>
                        <a:pt x="23263" y="2120"/>
                        <a:pt x="27622" y="9220"/>
                        <a:pt x="25878" y="16320"/>
                      </a:cubicBezTo>
                      <a:cubicBezTo>
                        <a:pt x="24135" y="23420"/>
                        <a:pt x="17160" y="27904"/>
                        <a:pt x="10060" y="26160"/>
                      </a:cubicBezTo>
                      <a:cubicBezTo>
                        <a:pt x="2960" y="24416"/>
                        <a:pt x="-1275" y="17316"/>
                        <a:pt x="344" y="102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9" name="Graphic 2987">
                <a:extLst>
                  <a:ext uri="{FF2B5EF4-FFF2-40B4-BE49-F238E27FC236}">
                    <a16:creationId xmlns:a16="http://schemas.microsoft.com/office/drawing/2014/main" id="{E97E6B39-4CF0-396B-CE45-467E21718CA6}"/>
                  </a:ext>
                </a:extLst>
              </p:cNvPr>
              <p:cNvGrpSpPr/>
              <p:nvPr/>
            </p:nvGrpSpPr>
            <p:grpSpPr>
              <a:xfrm>
                <a:off x="10342885" y="5766835"/>
                <a:ext cx="55192" cy="145582"/>
                <a:chOff x="10342885" y="5766835"/>
                <a:chExt cx="55192" cy="145582"/>
              </a:xfrm>
              <a:grpFill/>
            </p:grpSpPr>
            <p:sp>
              <p:nvSpPr>
                <p:cNvPr id="4085" name="Freeform 5511">
                  <a:extLst>
                    <a:ext uri="{FF2B5EF4-FFF2-40B4-BE49-F238E27FC236}">
                      <a16:creationId xmlns:a16="http://schemas.microsoft.com/office/drawing/2014/main" id="{FE065330-0DE9-05B1-0B7C-691FF5018CAF}"/>
                    </a:ext>
                  </a:extLst>
                </p:cNvPr>
                <p:cNvSpPr/>
                <p:nvPr/>
              </p:nvSpPr>
              <p:spPr>
                <a:xfrm>
                  <a:off x="10366562" y="5786152"/>
                  <a:ext cx="12953" cy="50570"/>
                </a:xfrm>
                <a:custGeom>
                  <a:avLst/>
                  <a:gdLst>
                    <a:gd name="connsiteX0" fmla="*/ 12954 w 12953"/>
                    <a:gd name="connsiteY0" fmla="*/ 0 h 50570"/>
                    <a:gd name="connsiteX1" fmla="*/ 6601 w 12953"/>
                    <a:gd name="connsiteY1" fmla="*/ 17687 h 50570"/>
                    <a:gd name="connsiteX2" fmla="*/ 5979 w 12953"/>
                    <a:gd name="connsiteY2" fmla="*/ 35125 h 50570"/>
                    <a:gd name="connsiteX3" fmla="*/ 0 w 12953"/>
                    <a:gd name="connsiteY3" fmla="*/ 50571 h 50570"/>
                  </a:gdLst>
                  <a:ahLst/>
                  <a:cxnLst>
                    <a:cxn ang="0">
                      <a:pos x="connsiteX0" y="connsiteY0"/>
                    </a:cxn>
                    <a:cxn ang="0">
                      <a:pos x="connsiteX1" y="connsiteY1"/>
                    </a:cxn>
                    <a:cxn ang="0">
                      <a:pos x="connsiteX2" y="connsiteY2"/>
                    </a:cxn>
                    <a:cxn ang="0">
                      <a:pos x="connsiteX3" y="connsiteY3"/>
                    </a:cxn>
                  </a:cxnLst>
                  <a:rect l="l" t="t" r="r" b="b"/>
                  <a:pathLst>
                    <a:path w="12952" h="50570">
                      <a:moveTo>
                        <a:pt x="12954" y="0"/>
                      </a:moveTo>
                      <a:cubicBezTo>
                        <a:pt x="8595" y="7225"/>
                        <a:pt x="7224" y="13452"/>
                        <a:pt x="6601" y="17687"/>
                      </a:cubicBezTo>
                      <a:cubicBezTo>
                        <a:pt x="5729" y="24663"/>
                        <a:pt x="7100" y="28150"/>
                        <a:pt x="5979" y="35125"/>
                      </a:cubicBezTo>
                      <a:cubicBezTo>
                        <a:pt x="4857" y="41976"/>
                        <a:pt x="2117" y="47207"/>
                        <a:pt x="0" y="5057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6" name="Freeform 5512">
                  <a:extLst>
                    <a:ext uri="{FF2B5EF4-FFF2-40B4-BE49-F238E27FC236}">
                      <a16:creationId xmlns:a16="http://schemas.microsoft.com/office/drawing/2014/main" id="{DFB3AD87-9334-0AB8-2CB5-BD2B0F47D283}"/>
                    </a:ext>
                  </a:extLst>
                </p:cNvPr>
                <p:cNvSpPr/>
                <p:nvPr/>
              </p:nvSpPr>
              <p:spPr>
                <a:xfrm>
                  <a:off x="10375930" y="5782789"/>
                  <a:ext cx="11869" cy="50944"/>
                </a:xfrm>
                <a:custGeom>
                  <a:avLst/>
                  <a:gdLst>
                    <a:gd name="connsiteX0" fmla="*/ 98 w 11869"/>
                    <a:gd name="connsiteY0" fmla="*/ 50944 h 50944"/>
                    <a:gd name="connsiteX1" fmla="*/ 2588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8" y="32260"/>
                      </a:cubicBezTo>
                      <a:cubicBezTo>
                        <a:pt x="4955" y="25659"/>
                        <a:pt x="7820"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7" name="Freeform 5513">
                  <a:extLst>
                    <a:ext uri="{FF2B5EF4-FFF2-40B4-BE49-F238E27FC236}">
                      <a16:creationId xmlns:a16="http://schemas.microsoft.com/office/drawing/2014/main" id="{AE0B6834-041E-A85C-745D-8D490BCCF8AE}"/>
                    </a:ext>
                  </a:extLst>
                </p:cNvPr>
                <p:cNvSpPr/>
                <p:nvPr/>
              </p:nvSpPr>
              <p:spPr>
                <a:xfrm>
                  <a:off x="10371409" y="5766835"/>
                  <a:ext cx="26668" cy="26551"/>
                </a:xfrm>
                <a:custGeom>
                  <a:avLst/>
                  <a:gdLst>
                    <a:gd name="connsiteX0" fmla="*/ 26292 w 26668"/>
                    <a:gd name="connsiteY0" fmla="*/ 16452 h 26551"/>
                    <a:gd name="connsiteX1" fmla="*/ 10224 w 26668"/>
                    <a:gd name="connsiteY1" fmla="*/ 26168 h 26551"/>
                    <a:gd name="connsiteX2" fmla="*/ 384 w 26668"/>
                    <a:gd name="connsiteY2" fmla="*/ 10100 h 26551"/>
                    <a:gd name="connsiteX3" fmla="*/ 16451 w 26668"/>
                    <a:gd name="connsiteY3" fmla="*/ 384 h 26551"/>
                    <a:gd name="connsiteX4" fmla="*/ 26292 w 26668"/>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1">
                      <a:moveTo>
                        <a:pt x="26292" y="16452"/>
                      </a:moveTo>
                      <a:cubicBezTo>
                        <a:pt x="24548" y="23552"/>
                        <a:pt x="17323" y="27911"/>
                        <a:pt x="10224" y="26168"/>
                      </a:cubicBezTo>
                      <a:cubicBezTo>
                        <a:pt x="3000" y="24424"/>
                        <a:pt x="-1360" y="17324"/>
                        <a:pt x="384" y="10100"/>
                      </a:cubicBezTo>
                      <a:cubicBezTo>
                        <a:pt x="2128" y="3000"/>
                        <a:pt x="9352" y="-1360"/>
                        <a:pt x="16451" y="384"/>
                      </a:cubicBezTo>
                      <a:cubicBezTo>
                        <a:pt x="23551" y="2128"/>
                        <a:pt x="28035" y="9352"/>
                        <a:pt x="262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8" name="Freeform 5514">
                  <a:extLst>
                    <a:ext uri="{FF2B5EF4-FFF2-40B4-BE49-F238E27FC236}">
                      <a16:creationId xmlns:a16="http://schemas.microsoft.com/office/drawing/2014/main" id="{1EDF340B-9AC1-E981-476C-B881C4E976F1}"/>
                    </a:ext>
                  </a:extLst>
                </p:cNvPr>
                <p:cNvSpPr/>
                <p:nvPr/>
              </p:nvSpPr>
              <p:spPr>
                <a:xfrm>
                  <a:off x="10361206" y="5842576"/>
                  <a:ext cx="13078" cy="50570"/>
                </a:xfrm>
                <a:custGeom>
                  <a:avLst/>
                  <a:gdLst>
                    <a:gd name="connsiteX0" fmla="*/ 0 w 13078"/>
                    <a:gd name="connsiteY0" fmla="*/ 50571 h 50570"/>
                    <a:gd name="connsiteX1" fmla="*/ 6352 w 13078"/>
                    <a:gd name="connsiteY1" fmla="*/ 32883 h 50570"/>
                    <a:gd name="connsiteX2" fmla="*/ 7099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1"/>
                      </a:moveTo>
                      <a:cubicBezTo>
                        <a:pt x="4235" y="43346"/>
                        <a:pt x="5729" y="37118"/>
                        <a:pt x="6352" y="32883"/>
                      </a:cubicBezTo>
                      <a:cubicBezTo>
                        <a:pt x="7224" y="25908"/>
                        <a:pt x="5854" y="22545"/>
                        <a:pt x="7099" y="15445"/>
                      </a:cubicBezTo>
                      <a:cubicBezTo>
                        <a:pt x="8220" y="8595"/>
                        <a:pt x="10960"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9" name="Freeform 5515">
                  <a:extLst>
                    <a:ext uri="{FF2B5EF4-FFF2-40B4-BE49-F238E27FC236}">
                      <a16:creationId xmlns:a16="http://schemas.microsoft.com/office/drawing/2014/main" id="{700E8F84-ED6E-BF61-D6BF-42459C131A60}"/>
                    </a:ext>
                  </a:extLst>
                </p:cNvPr>
                <p:cNvSpPr/>
                <p:nvPr/>
              </p:nvSpPr>
              <p:spPr>
                <a:xfrm>
                  <a:off x="10352920" y="5845441"/>
                  <a:ext cx="11870" cy="50944"/>
                </a:xfrm>
                <a:custGeom>
                  <a:avLst/>
                  <a:gdLst>
                    <a:gd name="connsiteX0" fmla="*/ 11772 w 11870"/>
                    <a:gd name="connsiteY0" fmla="*/ 0 h 50944"/>
                    <a:gd name="connsiteX1" fmla="*/ 9281 w 11870"/>
                    <a:gd name="connsiteY1" fmla="*/ 18684 h 50944"/>
                    <a:gd name="connsiteX2" fmla="*/ 1933 w 11870"/>
                    <a:gd name="connsiteY2" fmla="*/ 34502 h 50944"/>
                    <a:gd name="connsiteX3" fmla="*/ 189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0"/>
                      </a:moveTo>
                      <a:cubicBezTo>
                        <a:pt x="12270" y="8346"/>
                        <a:pt x="10776" y="14573"/>
                        <a:pt x="9281" y="18684"/>
                      </a:cubicBezTo>
                      <a:cubicBezTo>
                        <a:pt x="6914" y="25285"/>
                        <a:pt x="4175" y="27776"/>
                        <a:pt x="1933" y="34502"/>
                      </a:cubicBezTo>
                      <a:cubicBezTo>
                        <a:pt x="-185" y="41104"/>
                        <a:pt x="-185" y="46958"/>
                        <a:pt x="189"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0" name="Freeform 5516">
                  <a:extLst>
                    <a:ext uri="{FF2B5EF4-FFF2-40B4-BE49-F238E27FC236}">
                      <a16:creationId xmlns:a16="http://schemas.microsoft.com/office/drawing/2014/main" id="{7749DC4A-6377-31CE-224C-5F8D53C5B0CF}"/>
                    </a:ext>
                  </a:extLst>
                </p:cNvPr>
                <p:cNvSpPr/>
                <p:nvPr/>
              </p:nvSpPr>
              <p:spPr>
                <a:xfrm>
                  <a:off x="10342885" y="5885959"/>
                  <a:ext cx="26185" cy="26458"/>
                </a:xfrm>
                <a:custGeom>
                  <a:avLst/>
                  <a:gdLst>
                    <a:gd name="connsiteX0" fmla="*/ 385 w 26185"/>
                    <a:gd name="connsiteY0" fmla="*/ 10178 h 26458"/>
                    <a:gd name="connsiteX1" fmla="*/ 16203 w 26185"/>
                    <a:gd name="connsiteY1" fmla="*/ 337 h 26458"/>
                    <a:gd name="connsiteX2" fmla="*/ 25794 w 26185"/>
                    <a:gd name="connsiteY2" fmla="*/ 16281 h 26458"/>
                    <a:gd name="connsiteX3" fmla="*/ 9975 w 26185"/>
                    <a:gd name="connsiteY3" fmla="*/ 26121 h 26458"/>
                    <a:gd name="connsiteX4" fmla="*/ 385 w 26185"/>
                    <a:gd name="connsiteY4" fmla="*/ 10178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58">
                      <a:moveTo>
                        <a:pt x="385" y="10178"/>
                      </a:moveTo>
                      <a:cubicBezTo>
                        <a:pt x="2128" y="3078"/>
                        <a:pt x="9228" y="-1282"/>
                        <a:pt x="16203" y="337"/>
                      </a:cubicBezTo>
                      <a:cubicBezTo>
                        <a:pt x="23303" y="2081"/>
                        <a:pt x="27538" y="9181"/>
                        <a:pt x="25794" y="16281"/>
                      </a:cubicBezTo>
                      <a:cubicBezTo>
                        <a:pt x="24050" y="23381"/>
                        <a:pt x="16950" y="27740"/>
                        <a:pt x="9975" y="26121"/>
                      </a:cubicBezTo>
                      <a:cubicBezTo>
                        <a:pt x="3000" y="24502"/>
                        <a:pt x="-1359" y="17277"/>
                        <a:pt x="3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0" name="Graphic 2987">
                <a:extLst>
                  <a:ext uri="{FF2B5EF4-FFF2-40B4-BE49-F238E27FC236}">
                    <a16:creationId xmlns:a16="http://schemas.microsoft.com/office/drawing/2014/main" id="{E0DC6DE2-1C44-D393-5BF0-2209FE55BC08}"/>
                  </a:ext>
                </a:extLst>
              </p:cNvPr>
              <p:cNvGrpSpPr/>
              <p:nvPr/>
            </p:nvGrpSpPr>
            <p:grpSpPr>
              <a:xfrm>
                <a:off x="10371401" y="5773935"/>
                <a:ext cx="55705" cy="145332"/>
                <a:chOff x="10371401" y="5773935"/>
                <a:chExt cx="55705" cy="145332"/>
              </a:xfrm>
              <a:grpFill/>
            </p:grpSpPr>
            <p:sp>
              <p:nvSpPr>
                <p:cNvPr id="4079" name="Freeform 5518">
                  <a:extLst>
                    <a:ext uri="{FF2B5EF4-FFF2-40B4-BE49-F238E27FC236}">
                      <a16:creationId xmlns:a16="http://schemas.microsoft.com/office/drawing/2014/main" id="{4ACA9261-D875-B27C-B4F5-A4A9EC8A203F}"/>
                    </a:ext>
                  </a:extLst>
                </p:cNvPr>
                <p:cNvSpPr/>
                <p:nvPr/>
              </p:nvSpPr>
              <p:spPr>
                <a:xfrm>
                  <a:off x="10395459" y="5793127"/>
                  <a:ext cx="13078" cy="50570"/>
                </a:xfrm>
                <a:custGeom>
                  <a:avLst/>
                  <a:gdLst>
                    <a:gd name="connsiteX0" fmla="*/ 13078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0"/>
                      </a:moveTo>
                      <a:cubicBezTo>
                        <a:pt x="8718" y="7224"/>
                        <a:pt x="7224" y="13327"/>
                        <a:pt x="6726" y="17687"/>
                      </a:cubicBezTo>
                      <a:cubicBezTo>
                        <a:pt x="5854" y="24662"/>
                        <a:pt x="7224" y="28025"/>
                        <a:pt x="5979" y="35125"/>
                      </a:cubicBezTo>
                      <a:cubicBezTo>
                        <a:pt x="4857"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0" name="Freeform 5519">
                  <a:extLst>
                    <a:ext uri="{FF2B5EF4-FFF2-40B4-BE49-F238E27FC236}">
                      <a16:creationId xmlns:a16="http://schemas.microsoft.com/office/drawing/2014/main" id="{3961BBCB-1E3A-6FEC-B5EE-1C29126DB7E8}"/>
                    </a:ext>
                  </a:extLst>
                </p:cNvPr>
                <p:cNvSpPr/>
                <p:nvPr/>
              </p:nvSpPr>
              <p:spPr>
                <a:xfrm>
                  <a:off x="10404703" y="5789889"/>
                  <a:ext cx="12041" cy="50819"/>
                </a:xfrm>
                <a:custGeom>
                  <a:avLst/>
                  <a:gdLst>
                    <a:gd name="connsiteX0" fmla="*/ 98 w 12041"/>
                    <a:gd name="connsiteY0" fmla="*/ 50819 h 50819"/>
                    <a:gd name="connsiteX1" fmla="*/ 2588 w 12041"/>
                    <a:gd name="connsiteY1" fmla="*/ 32260 h 50819"/>
                    <a:gd name="connsiteX2" fmla="*/ 10062 w 12041"/>
                    <a:gd name="connsiteY2" fmla="*/ 16442 h 50819"/>
                    <a:gd name="connsiteX3" fmla="*/ 11930 w 12041"/>
                    <a:gd name="connsiteY3" fmla="*/ 0 h 50819"/>
                  </a:gdLst>
                  <a:ahLst/>
                  <a:cxnLst>
                    <a:cxn ang="0">
                      <a:pos x="connsiteX0" y="connsiteY0"/>
                    </a:cxn>
                    <a:cxn ang="0">
                      <a:pos x="connsiteX1" y="connsiteY1"/>
                    </a:cxn>
                    <a:cxn ang="0">
                      <a:pos x="connsiteX2" y="connsiteY2"/>
                    </a:cxn>
                    <a:cxn ang="0">
                      <a:pos x="connsiteX3" y="connsiteY3"/>
                    </a:cxn>
                  </a:cxnLst>
                  <a:rect l="l" t="t" r="r" b="b"/>
                  <a:pathLst>
                    <a:path w="12041" h="50818">
                      <a:moveTo>
                        <a:pt x="98" y="50819"/>
                      </a:moveTo>
                      <a:cubicBezTo>
                        <a:pt x="-401" y="42474"/>
                        <a:pt x="1094" y="36246"/>
                        <a:pt x="2588" y="32260"/>
                      </a:cubicBezTo>
                      <a:cubicBezTo>
                        <a:pt x="4955" y="25659"/>
                        <a:pt x="7820" y="23292"/>
                        <a:pt x="10062" y="16442"/>
                      </a:cubicBezTo>
                      <a:cubicBezTo>
                        <a:pt x="12180" y="9840"/>
                        <a:pt x="12180" y="3986"/>
                        <a:pt x="119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1" name="Freeform 5520">
                  <a:extLst>
                    <a:ext uri="{FF2B5EF4-FFF2-40B4-BE49-F238E27FC236}">
                      <a16:creationId xmlns:a16="http://schemas.microsoft.com/office/drawing/2014/main" id="{E56F2B91-DC2D-D8E4-741E-51B6FD197BB5}"/>
                    </a:ext>
                  </a:extLst>
                </p:cNvPr>
                <p:cNvSpPr/>
                <p:nvPr/>
              </p:nvSpPr>
              <p:spPr>
                <a:xfrm>
                  <a:off x="10400313" y="5773935"/>
                  <a:ext cx="26792" cy="26427"/>
                </a:xfrm>
                <a:custGeom>
                  <a:avLst/>
                  <a:gdLst>
                    <a:gd name="connsiteX0" fmla="*/ 26409 w 26792"/>
                    <a:gd name="connsiteY0" fmla="*/ 16328 h 26427"/>
                    <a:gd name="connsiteX1" fmla="*/ 10217 w 26792"/>
                    <a:gd name="connsiteY1" fmla="*/ 26043 h 26427"/>
                    <a:gd name="connsiteX2" fmla="*/ 377 w 26792"/>
                    <a:gd name="connsiteY2" fmla="*/ 10100 h 26427"/>
                    <a:gd name="connsiteX3" fmla="*/ 16569 w 26792"/>
                    <a:gd name="connsiteY3" fmla="*/ 384 h 26427"/>
                    <a:gd name="connsiteX4" fmla="*/ 26409 w 26792"/>
                    <a:gd name="connsiteY4" fmla="*/ 16328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27">
                      <a:moveTo>
                        <a:pt x="26409" y="16328"/>
                      </a:moveTo>
                      <a:cubicBezTo>
                        <a:pt x="24666" y="23427"/>
                        <a:pt x="17441" y="27787"/>
                        <a:pt x="10217" y="26043"/>
                      </a:cubicBezTo>
                      <a:cubicBezTo>
                        <a:pt x="3117" y="24299"/>
                        <a:pt x="-1367" y="17200"/>
                        <a:pt x="377" y="10100"/>
                      </a:cubicBezTo>
                      <a:cubicBezTo>
                        <a:pt x="2121" y="3000"/>
                        <a:pt x="9345" y="-1360"/>
                        <a:pt x="16569" y="384"/>
                      </a:cubicBezTo>
                      <a:cubicBezTo>
                        <a:pt x="23794" y="2003"/>
                        <a:pt x="28153" y="9228"/>
                        <a:pt x="26409" y="16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2" name="Freeform 5521">
                  <a:extLst>
                    <a:ext uri="{FF2B5EF4-FFF2-40B4-BE49-F238E27FC236}">
                      <a16:creationId xmlns:a16="http://schemas.microsoft.com/office/drawing/2014/main" id="{8950B458-1410-D366-3A7F-E3F03907D34F}"/>
                    </a:ext>
                  </a:extLst>
                </p:cNvPr>
                <p:cNvSpPr/>
                <p:nvPr/>
              </p:nvSpPr>
              <p:spPr>
                <a:xfrm>
                  <a:off x="10389729" y="5849427"/>
                  <a:ext cx="13078" cy="50570"/>
                </a:xfrm>
                <a:custGeom>
                  <a:avLst/>
                  <a:gdLst>
                    <a:gd name="connsiteX0" fmla="*/ 0 w 13078"/>
                    <a:gd name="connsiteY0" fmla="*/ 50570 h 50570"/>
                    <a:gd name="connsiteX1" fmla="*/ 6353 w 13078"/>
                    <a:gd name="connsiteY1" fmla="*/ 32883 h 50570"/>
                    <a:gd name="connsiteX2" fmla="*/ 7100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0"/>
                      </a:moveTo>
                      <a:cubicBezTo>
                        <a:pt x="4359" y="43346"/>
                        <a:pt x="5854" y="37118"/>
                        <a:pt x="6353" y="32883"/>
                      </a:cubicBezTo>
                      <a:cubicBezTo>
                        <a:pt x="7225" y="25908"/>
                        <a:pt x="5979" y="22545"/>
                        <a:pt x="7100" y="15445"/>
                      </a:cubicBezTo>
                      <a:cubicBezTo>
                        <a:pt x="8220" y="8595"/>
                        <a:pt x="10961"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3" name="Freeform 5522">
                  <a:extLst>
                    <a:ext uri="{FF2B5EF4-FFF2-40B4-BE49-F238E27FC236}">
                      <a16:creationId xmlns:a16="http://schemas.microsoft.com/office/drawing/2014/main" id="{00127B1E-FF54-D67E-B4FD-A23D95A3AB47}"/>
                    </a:ext>
                  </a:extLst>
                </p:cNvPr>
                <p:cNvSpPr/>
                <p:nvPr/>
              </p:nvSpPr>
              <p:spPr>
                <a:xfrm>
                  <a:off x="10381646" y="5852416"/>
                  <a:ext cx="11917" cy="50944"/>
                </a:xfrm>
                <a:custGeom>
                  <a:avLst/>
                  <a:gdLst>
                    <a:gd name="connsiteX0" fmla="*/ 11820 w 11917"/>
                    <a:gd name="connsiteY0" fmla="*/ 0 h 50944"/>
                    <a:gd name="connsiteX1" fmla="*/ 9328 w 11917"/>
                    <a:gd name="connsiteY1" fmla="*/ 18684 h 50944"/>
                    <a:gd name="connsiteX2" fmla="*/ 1980 w 11917"/>
                    <a:gd name="connsiteY2" fmla="*/ 34503 h 50944"/>
                    <a:gd name="connsiteX3" fmla="*/ 111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0"/>
                      </a:moveTo>
                      <a:cubicBezTo>
                        <a:pt x="12318" y="8346"/>
                        <a:pt x="10823" y="14573"/>
                        <a:pt x="9328" y="18684"/>
                      </a:cubicBezTo>
                      <a:cubicBezTo>
                        <a:pt x="6962" y="25285"/>
                        <a:pt x="4097" y="27776"/>
                        <a:pt x="1980" y="34503"/>
                      </a:cubicBezTo>
                      <a:cubicBezTo>
                        <a:pt x="-138" y="41104"/>
                        <a:pt x="-138" y="46958"/>
                        <a:pt x="11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4" name="Freeform 5523">
                  <a:extLst>
                    <a:ext uri="{FF2B5EF4-FFF2-40B4-BE49-F238E27FC236}">
                      <a16:creationId xmlns:a16="http://schemas.microsoft.com/office/drawing/2014/main" id="{93F5D68D-809D-2FE5-7768-2F8A636B3E35}"/>
                    </a:ext>
                  </a:extLst>
                </p:cNvPr>
                <p:cNvSpPr/>
                <p:nvPr/>
              </p:nvSpPr>
              <p:spPr>
                <a:xfrm>
                  <a:off x="10371401" y="5892810"/>
                  <a:ext cx="26317" cy="26458"/>
                </a:xfrm>
                <a:custGeom>
                  <a:avLst/>
                  <a:gdLst>
                    <a:gd name="connsiteX0" fmla="*/ 392 w 26317"/>
                    <a:gd name="connsiteY0" fmla="*/ 10177 h 26458"/>
                    <a:gd name="connsiteX1" fmla="*/ 16335 w 26317"/>
                    <a:gd name="connsiteY1" fmla="*/ 337 h 26458"/>
                    <a:gd name="connsiteX2" fmla="*/ 25926 w 26317"/>
                    <a:gd name="connsiteY2" fmla="*/ 16281 h 26458"/>
                    <a:gd name="connsiteX3" fmla="*/ 9983 w 26317"/>
                    <a:gd name="connsiteY3" fmla="*/ 26121 h 26458"/>
                    <a:gd name="connsiteX4" fmla="*/ 392 w 26317"/>
                    <a:gd name="connsiteY4" fmla="*/ 10177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58">
                      <a:moveTo>
                        <a:pt x="392" y="10177"/>
                      </a:moveTo>
                      <a:cubicBezTo>
                        <a:pt x="2136" y="3078"/>
                        <a:pt x="9236" y="-1282"/>
                        <a:pt x="16335" y="337"/>
                      </a:cubicBezTo>
                      <a:cubicBezTo>
                        <a:pt x="23435" y="2081"/>
                        <a:pt x="27670" y="9181"/>
                        <a:pt x="25926" y="16281"/>
                      </a:cubicBezTo>
                      <a:cubicBezTo>
                        <a:pt x="24182" y="23380"/>
                        <a:pt x="17083" y="27740"/>
                        <a:pt x="9983" y="26121"/>
                      </a:cubicBezTo>
                      <a:cubicBezTo>
                        <a:pt x="2883" y="24501"/>
                        <a:pt x="-1352" y="17277"/>
                        <a:pt x="3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1" name="Graphic 2987">
                <a:extLst>
                  <a:ext uri="{FF2B5EF4-FFF2-40B4-BE49-F238E27FC236}">
                    <a16:creationId xmlns:a16="http://schemas.microsoft.com/office/drawing/2014/main" id="{A4EFECCE-22FB-5A24-EED1-722A2C579E51}"/>
                  </a:ext>
                </a:extLst>
              </p:cNvPr>
              <p:cNvGrpSpPr/>
              <p:nvPr/>
            </p:nvGrpSpPr>
            <p:grpSpPr>
              <a:xfrm>
                <a:off x="10399800" y="5780910"/>
                <a:ext cx="56329" cy="145138"/>
                <a:chOff x="10399800" y="5780910"/>
                <a:chExt cx="56329" cy="145138"/>
              </a:xfrm>
              <a:grpFill/>
            </p:grpSpPr>
            <p:sp>
              <p:nvSpPr>
                <p:cNvPr id="4073" name="Freeform 5525">
                  <a:extLst>
                    <a:ext uri="{FF2B5EF4-FFF2-40B4-BE49-F238E27FC236}">
                      <a16:creationId xmlns:a16="http://schemas.microsoft.com/office/drawing/2014/main" id="{7FC35E00-0B5C-DC84-049C-99A6FC543131}"/>
                    </a:ext>
                  </a:extLst>
                </p:cNvPr>
                <p:cNvSpPr/>
                <p:nvPr/>
              </p:nvSpPr>
              <p:spPr>
                <a:xfrm>
                  <a:off x="10424107" y="5800102"/>
                  <a:ext cx="13451" cy="50321"/>
                </a:xfrm>
                <a:custGeom>
                  <a:avLst/>
                  <a:gdLst>
                    <a:gd name="connsiteX0" fmla="*/ 13452 w 13451"/>
                    <a:gd name="connsiteY0" fmla="*/ 0 h 50321"/>
                    <a:gd name="connsiteX1" fmla="*/ 6975 w 13451"/>
                    <a:gd name="connsiteY1" fmla="*/ 17687 h 50321"/>
                    <a:gd name="connsiteX2" fmla="*/ 6103 w 13451"/>
                    <a:gd name="connsiteY2" fmla="*/ 35001 h 50321"/>
                    <a:gd name="connsiteX3" fmla="*/ 0 w 1345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7"/>
                        <a:pt x="6975" y="17687"/>
                      </a:cubicBezTo>
                      <a:cubicBezTo>
                        <a:pt x="6103" y="24662"/>
                        <a:pt x="7348" y="28025"/>
                        <a:pt x="6103" y="35001"/>
                      </a:cubicBezTo>
                      <a:cubicBezTo>
                        <a:pt x="4858" y="41851"/>
                        <a:pt x="2117" y="47083"/>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4" name="Freeform 5526">
                  <a:extLst>
                    <a:ext uri="{FF2B5EF4-FFF2-40B4-BE49-F238E27FC236}">
                      <a16:creationId xmlns:a16="http://schemas.microsoft.com/office/drawing/2014/main" id="{3E15133A-3C23-6F5A-956F-ABFBC4C4C514}"/>
                    </a:ext>
                  </a:extLst>
                </p:cNvPr>
                <p:cNvSpPr/>
                <p:nvPr/>
              </p:nvSpPr>
              <p:spPr>
                <a:xfrm>
                  <a:off x="10433482" y="5796864"/>
                  <a:ext cx="12213" cy="50819"/>
                </a:xfrm>
                <a:custGeom>
                  <a:avLst/>
                  <a:gdLst>
                    <a:gd name="connsiteX0" fmla="*/ 92 w 12213"/>
                    <a:gd name="connsiteY0" fmla="*/ 50819 h 50819"/>
                    <a:gd name="connsiteX1" fmla="*/ 2707 w 12213"/>
                    <a:gd name="connsiteY1" fmla="*/ 32136 h 50819"/>
                    <a:gd name="connsiteX2" fmla="*/ 10181 w 12213"/>
                    <a:gd name="connsiteY2" fmla="*/ 16442 h 50819"/>
                    <a:gd name="connsiteX3" fmla="*/ 12049 w 12213"/>
                    <a:gd name="connsiteY3" fmla="*/ 0 h 50819"/>
                  </a:gdLst>
                  <a:ahLst/>
                  <a:cxnLst>
                    <a:cxn ang="0">
                      <a:pos x="connsiteX0" y="connsiteY0"/>
                    </a:cxn>
                    <a:cxn ang="0">
                      <a:pos x="connsiteX1" y="connsiteY1"/>
                    </a:cxn>
                    <a:cxn ang="0">
                      <a:pos x="connsiteX2" y="connsiteY2"/>
                    </a:cxn>
                    <a:cxn ang="0">
                      <a:pos x="connsiteX3" y="connsiteY3"/>
                    </a:cxn>
                  </a:cxnLst>
                  <a:rect l="l" t="t" r="r" b="b"/>
                  <a:pathLst>
                    <a:path w="12213" h="50818">
                      <a:moveTo>
                        <a:pt x="92" y="50819"/>
                      </a:moveTo>
                      <a:cubicBezTo>
                        <a:pt x="-407" y="42350"/>
                        <a:pt x="1213" y="36246"/>
                        <a:pt x="2707" y="32136"/>
                      </a:cubicBezTo>
                      <a:cubicBezTo>
                        <a:pt x="5199" y="25534"/>
                        <a:pt x="7939" y="23168"/>
                        <a:pt x="10181" y="16442"/>
                      </a:cubicBezTo>
                      <a:cubicBezTo>
                        <a:pt x="12299" y="9840"/>
                        <a:pt x="12423"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5" name="Freeform 5527">
                  <a:extLst>
                    <a:ext uri="{FF2B5EF4-FFF2-40B4-BE49-F238E27FC236}">
                      <a16:creationId xmlns:a16="http://schemas.microsoft.com/office/drawing/2014/main" id="{866C4D71-338E-D715-0FAC-8ECD5C8F34AC}"/>
                    </a:ext>
                  </a:extLst>
                </p:cNvPr>
                <p:cNvSpPr/>
                <p:nvPr/>
              </p:nvSpPr>
              <p:spPr>
                <a:xfrm>
                  <a:off x="10429404" y="5780910"/>
                  <a:ext cx="26724" cy="26484"/>
                </a:xfrm>
                <a:custGeom>
                  <a:avLst/>
                  <a:gdLst>
                    <a:gd name="connsiteX0" fmla="*/ 26341 w 26724"/>
                    <a:gd name="connsiteY0" fmla="*/ 16577 h 26484"/>
                    <a:gd name="connsiteX1" fmla="*/ 10148 w 26724"/>
                    <a:gd name="connsiteY1" fmla="*/ 26043 h 26484"/>
                    <a:gd name="connsiteX2" fmla="*/ 432 w 26724"/>
                    <a:gd name="connsiteY2" fmla="*/ 10100 h 26484"/>
                    <a:gd name="connsiteX3" fmla="*/ 16625 w 26724"/>
                    <a:gd name="connsiteY3" fmla="*/ 384 h 26484"/>
                    <a:gd name="connsiteX4" fmla="*/ 26341 w 26724"/>
                    <a:gd name="connsiteY4" fmla="*/ 16577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84">
                      <a:moveTo>
                        <a:pt x="26341" y="16577"/>
                      </a:moveTo>
                      <a:cubicBezTo>
                        <a:pt x="24597" y="23676"/>
                        <a:pt x="17248" y="27911"/>
                        <a:pt x="10148" y="26043"/>
                      </a:cubicBezTo>
                      <a:cubicBezTo>
                        <a:pt x="2924" y="24299"/>
                        <a:pt x="-1436" y="17200"/>
                        <a:pt x="432" y="10100"/>
                      </a:cubicBezTo>
                      <a:cubicBezTo>
                        <a:pt x="2176" y="3000"/>
                        <a:pt x="9401" y="-1360"/>
                        <a:pt x="16625" y="384"/>
                      </a:cubicBezTo>
                      <a:cubicBezTo>
                        <a:pt x="23725" y="2252"/>
                        <a:pt x="28085" y="9477"/>
                        <a:pt x="26341" y="165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6" name="Freeform 5528">
                  <a:extLst>
                    <a:ext uri="{FF2B5EF4-FFF2-40B4-BE49-F238E27FC236}">
                      <a16:creationId xmlns:a16="http://schemas.microsoft.com/office/drawing/2014/main" id="{2E9A0F62-B683-DABA-A93F-9D855689F03E}"/>
                    </a:ext>
                  </a:extLst>
                </p:cNvPr>
                <p:cNvSpPr/>
                <p:nvPr/>
              </p:nvSpPr>
              <p:spPr>
                <a:xfrm>
                  <a:off x="10418128" y="5856402"/>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855" y="37118"/>
                        <a:pt x="6477" y="32759"/>
                      </a:cubicBezTo>
                      <a:cubicBezTo>
                        <a:pt x="7474" y="25784"/>
                        <a:pt x="6104" y="22296"/>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7" name="Freeform 5529">
                  <a:extLst>
                    <a:ext uri="{FF2B5EF4-FFF2-40B4-BE49-F238E27FC236}">
                      <a16:creationId xmlns:a16="http://schemas.microsoft.com/office/drawing/2014/main" id="{C860763D-3879-350B-B6BB-8ABFDD16E214}"/>
                    </a:ext>
                  </a:extLst>
                </p:cNvPr>
                <p:cNvSpPr/>
                <p:nvPr/>
              </p:nvSpPr>
              <p:spPr>
                <a:xfrm>
                  <a:off x="10410117" y="5859267"/>
                  <a:ext cx="12213" cy="50694"/>
                </a:xfrm>
                <a:custGeom>
                  <a:avLst/>
                  <a:gdLst>
                    <a:gd name="connsiteX0" fmla="*/ 12122 w 12213"/>
                    <a:gd name="connsiteY0" fmla="*/ 0 h 50694"/>
                    <a:gd name="connsiteX1" fmla="*/ 9506 w 12213"/>
                    <a:gd name="connsiteY1" fmla="*/ 18559 h 50694"/>
                    <a:gd name="connsiteX2" fmla="*/ 2032 w 12213"/>
                    <a:gd name="connsiteY2" fmla="*/ 34378 h 50694"/>
                    <a:gd name="connsiteX3" fmla="*/ 165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12122" y="0"/>
                      </a:moveTo>
                      <a:cubicBezTo>
                        <a:pt x="12620" y="8345"/>
                        <a:pt x="11001" y="14573"/>
                        <a:pt x="9506" y="18559"/>
                      </a:cubicBezTo>
                      <a:cubicBezTo>
                        <a:pt x="7015" y="25161"/>
                        <a:pt x="4274" y="27527"/>
                        <a:pt x="2032" y="34378"/>
                      </a:cubicBezTo>
                      <a:cubicBezTo>
                        <a:pt x="-85" y="40979"/>
                        <a:pt x="-210" y="46833"/>
                        <a:pt x="16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8" name="Freeform 5530">
                  <a:extLst>
                    <a:ext uri="{FF2B5EF4-FFF2-40B4-BE49-F238E27FC236}">
                      <a16:creationId xmlns:a16="http://schemas.microsoft.com/office/drawing/2014/main" id="{882B1356-ED45-181C-A734-2E9D628AB93B}"/>
                    </a:ext>
                  </a:extLst>
                </p:cNvPr>
                <p:cNvSpPr/>
                <p:nvPr/>
              </p:nvSpPr>
              <p:spPr>
                <a:xfrm>
                  <a:off x="10399800" y="5899535"/>
                  <a:ext cx="26194" cy="26512"/>
                </a:xfrm>
                <a:custGeom>
                  <a:avLst/>
                  <a:gdLst>
                    <a:gd name="connsiteX0" fmla="*/ 392 w 26194"/>
                    <a:gd name="connsiteY0" fmla="*/ 10178 h 26512"/>
                    <a:gd name="connsiteX1" fmla="*/ 16336 w 26194"/>
                    <a:gd name="connsiteY1" fmla="*/ 337 h 26512"/>
                    <a:gd name="connsiteX2" fmla="*/ 25802 w 26194"/>
                    <a:gd name="connsiteY2" fmla="*/ 16530 h 26512"/>
                    <a:gd name="connsiteX3" fmla="*/ 9858 w 26194"/>
                    <a:gd name="connsiteY3" fmla="*/ 26121 h 26512"/>
                    <a:gd name="connsiteX4" fmla="*/ 392 w 26194"/>
                    <a:gd name="connsiteY4" fmla="*/ 10178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4" h="26512">
                      <a:moveTo>
                        <a:pt x="392" y="10178"/>
                      </a:moveTo>
                      <a:cubicBezTo>
                        <a:pt x="2136" y="3078"/>
                        <a:pt x="9360" y="-1282"/>
                        <a:pt x="16336" y="337"/>
                      </a:cubicBezTo>
                      <a:cubicBezTo>
                        <a:pt x="23311" y="2206"/>
                        <a:pt x="27546" y="9430"/>
                        <a:pt x="25802" y="16530"/>
                      </a:cubicBezTo>
                      <a:cubicBezTo>
                        <a:pt x="24058" y="23630"/>
                        <a:pt x="16834" y="27865"/>
                        <a:pt x="9858" y="26121"/>
                      </a:cubicBezTo>
                      <a:cubicBezTo>
                        <a:pt x="2883" y="24502"/>
                        <a:pt x="-1351" y="17402"/>
                        <a:pt x="392"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2" name="Graphic 2987">
                <a:extLst>
                  <a:ext uri="{FF2B5EF4-FFF2-40B4-BE49-F238E27FC236}">
                    <a16:creationId xmlns:a16="http://schemas.microsoft.com/office/drawing/2014/main" id="{34DA5089-9965-7540-9644-AF86FC5DE18F}"/>
                  </a:ext>
                </a:extLst>
              </p:cNvPr>
              <p:cNvGrpSpPr/>
              <p:nvPr/>
            </p:nvGrpSpPr>
            <p:grpSpPr>
              <a:xfrm>
                <a:off x="10428191" y="5788451"/>
                <a:ext cx="56884" cy="145120"/>
                <a:chOff x="10428191" y="5788451"/>
                <a:chExt cx="56884" cy="145120"/>
              </a:xfrm>
              <a:grpFill/>
            </p:grpSpPr>
            <p:sp>
              <p:nvSpPr>
                <p:cNvPr id="4067" name="Freeform 5532">
                  <a:extLst>
                    <a:ext uri="{FF2B5EF4-FFF2-40B4-BE49-F238E27FC236}">
                      <a16:creationId xmlns:a16="http://schemas.microsoft.com/office/drawing/2014/main" id="{810CF3D4-B847-3F96-50D9-D00DD9F4AD75}"/>
                    </a:ext>
                  </a:extLst>
                </p:cNvPr>
                <p:cNvSpPr/>
                <p:nvPr/>
              </p:nvSpPr>
              <p:spPr>
                <a:xfrm>
                  <a:off x="10452880" y="5807576"/>
                  <a:ext cx="13576" cy="50321"/>
                </a:xfrm>
                <a:custGeom>
                  <a:avLst/>
                  <a:gdLst>
                    <a:gd name="connsiteX0" fmla="*/ 13576 w 13576"/>
                    <a:gd name="connsiteY0" fmla="*/ 0 h 50321"/>
                    <a:gd name="connsiteX1" fmla="*/ 6975 w 13576"/>
                    <a:gd name="connsiteY1" fmla="*/ 17563 h 50321"/>
                    <a:gd name="connsiteX2" fmla="*/ 6103 w 13576"/>
                    <a:gd name="connsiteY2" fmla="*/ 35001 h 50321"/>
                    <a:gd name="connsiteX3" fmla="*/ 0 w 1357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576" h="50321">
                      <a:moveTo>
                        <a:pt x="13576" y="0"/>
                      </a:moveTo>
                      <a:cubicBezTo>
                        <a:pt x="9217" y="7100"/>
                        <a:pt x="7598" y="13328"/>
                        <a:pt x="6975" y="17563"/>
                      </a:cubicBezTo>
                      <a:cubicBezTo>
                        <a:pt x="5979" y="24538"/>
                        <a:pt x="7348" y="28025"/>
                        <a:pt x="6103" y="35001"/>
                      </a:cubicBezTo>
                      <a:cubicBezTo>
                        <a:pt x="4858" y="41852"/>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8" name="Freeform 5533">
                  <a:extLst>
                    <a:ext uri="{FF2B5EF4-FFF2-40B4-BE49-F238E27FC236}">
                      <a16:creationId xmlns:a16="http://schemas.microsoft.com/office/drawing/2014/main" id="{05910A28-074F-A663-134B-A0909C776570}"/>
                    </a:ext>
                  </a:extLst>
                </p:cNvPr>
                <p:cNvSpPr/>
                <p:nvPr/>
              </p:nvSpPr>
              <p:spPr>
                <a:xfrm>
                  <a:off x="10462167" y="5804462"/>
                  <a:ext cx="12494" cy="50695"/>
                </a:xfrm>
                <a:custGeom>
                  <a:avLst/>
                  <a:gdLst>
                    <a:gd name="connsiteX0" fmla="*/ 55 w 12494"/>
                    <a:gd name="connsiteY0" fmla="*/ 50695 h 50695"/>
                    <a:gd name="connsiteX1" fmla="*/ 2794 w 12494"/>
                    <a:gd name="connsiteY1" fmla="*/ 32136 h 50695"/>
                    <a:gd name="connsiteX2" fmla="*/ 10393 w 12494"/>
                    <a:gd name="connsiteY2" fmla="*/ 16442 h 50695"/>
                    <a:gd name="connsiteX3" fmla="*/ 12386 w 12494"/>
                    <a:gd name="connsiteY3" fmla="*/ 0 h 50695"/>
                  </a:gdLst>
                  <a:ahLst/>
                  <a:cxnLst>
                    <a:cxn ang="0">
                      <a:pos x="connsiteX0" y="connsiteY0"/>
                    </a:cxn>
                    <a:cxn ang="0">
                      <a:pos x="connsiteX1" y="connsiteY1"/>
                    </a:cxn>
                    <a:cxn ang="0">
                      <a:pos x="connsiteX2" y="connsiteY2"/>
                    </a:cxn>
                    <a:cxn ang="0">
                      <a:pos x="connsiteX3" y="connsiteY3"/>
                    </a:cxn>
                  </a:cxnLst>
                  <a:rect l="l" t="t" r="r" b="b"/>
                  <a:pathLst>
                    <a:path w="12494" h="50695">
                      <a:moveTo>
                        <a:pt x="55" y="50695"/>
                      </a:moveTo>
                      <a:cubicBezTo>
                        <a:pt x="-320" y="42225"/>
                        <a:pt x="1300" y="36122"/>
                        <a:pt x="2794" y="32136"/>
                      </a:cubicBezTo>
                      <a:cubicBezTo>
                        <a:pt x="5286" y="25535"/>
                        <a:pt x="8150" y="23168"/>
                        <a:pt x="10393" y="16442"/>
                      </a:cubicBezTo>
                      <a:cubicBezTo>
                        <a:pt x="12635" y="9840"/>
                        <a:pt x="12635" y="3986"/>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9" name="Freeform 5534">
                  <a:extLst>
                    <a:ext uri="{FF2B5EF4-FFF2-40B4-BE49-F238E27FC236}">
                      <a16:creationId xmlns:a16="http://schemas.microsoft.com/office/drawing/2014/main" id="{85BC9BB5-1E7A-20B7-A750-5AF4F9A35087}"/>
                    </a:ext>
                  </a:extLst>
                </p:cNvPr>
                <p:cNvSpPr/>
                <p:nvPr/>
              </p:nvSpPr>
              <p:spPr>
                <a:xfrm>
                  <a:off x="10458426" y="5788451"/>
                  <a:ext cx="26649" cy="26541"/>
                </a:xfrm>
                <a:custGeom>
                  <a:avLst/>
                  <a:gdLst>
                    <a:gd name="connsiteX0" fmla="*/ 26216 w 26649"/>
                    <a:gd name="connsiteY0" fmla="*/ 16634 h 26541"/>
                    <a:gd name="connsiteX1" fmla="*/ 10024 w 26649"/>
                    <a:gd name="connsiteY1" fmla="*/ 26100 h 26541"/>
                    <a:gd name="connsiteX2" fmla="*/ 433 w 26649"/>
                    <a:gd name="connsiteY2" fmla="*/ 9908 h 26541"/>
                    <a:gd name="connsiteX3" fmla="*/ 16625 w 26649"/>
                    <a:gd name="connsiteY3" fmla="*/ 441 h 26541"/>
                    <a:gd name="connsiteX4" fmla="*/ 26216 w 26649"/>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41">
                      <a:moveTo>
                        <a:pt x="26216" y="16634"/>
                      </a:moveTo>
                      <a:cubicBezTo>
                        <a:pt x="24348" y="23734"/>
                        <a:pt x="17124" y="27969"/>
                        <a:pt x="10024" y="26100"/>
                      </a:cubicBezTo>
                      <a:cubicBezTo>
                        <a:pt x="2924" y="24232"/>
                        <a:pt x="-1435" y="17008"/>
                        <a:pt x="433" y="9908"/>
                      </a:cubicBezTo>
                      <a:cubicBezTo>
                        <a:pt x="2301" y="2808"/>
                        <a:pt x="9525" y="-1427"/>
                        <a:pt x="16625" y="441"/>
                      </a:cubicBezTo>
                      <a:cubicBezTo>
                        <a:pt x="23725" y="2310"/>
                        <a:pt x="28085" y="9534"/>
                        <a:pt x="26216"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0" name="Freeform 5535">
                  <a:extLst>
                    <a:ext uri="{FF2B5EF4-FFF2-40B4-BE49-F238E27FC236}">
                      <a16:creationId xmlns:a16="http://schemas.microsoft.com/office/drawing/2014/main" id="{B5EB52B0-BBBC-1E08-EF4E-CF9E0AF15326}"/>
                    </a:ext>
                  </a:extLst>
                </p:cNvPr>
                <p:cNvSpPr/>
                <p:nvPr/>
              </p:nvSpPr>
              <p:spPr>
                <a:xfrm>
                  <a:off x="10446527" y="5864000"/>
                  <a:ext cx="13701" cy="50321"/>
                </a:xfrm>
                <a:custGeom>
                  <a:avLst/>
                  <a:gdLst>
                    <a:gd name="connsiteX0" fmla="*/ 0 w 13701"/>
                    <a:gd name="connsiteY0" fmla="*/ 50321 h 50321"/>
                    <a:gd name="connsiteX1" fmla="*/ 6601 w 13701"/>
                    <a:gd name="connsiteY1" fmla="*/ 32759 h 50321"/>
                    <a:gd name="connsiteX2" fmla="*/ 7598 w 13701"/>
                    <a:gd name="connsiteY2" fmla="*/ 15321 h 50321"/>
                    <a:gd name="connsiteX3" fmla="*/ 13701 w 13701"/>
                    <a:gd name="connsiteY3" fmla="*/ 0 h 50321"/>
                  </a:gdLst>
                  <a:ahLst/>
                  <a:cxnLst>
                    <a:cxn ang="0">
                      <a:pos x="connsiteX0" y="connsiteY0"/>
                    </a:cxn>
                    <a:cxn ang="0">
                      <a:pos x="connsiteX1" y="connsiteY1"/>
                    </a:cxn>
                    <a:cxn ang="0">
                      <a:pos x="connsiteX2" y="connsiteY2"/>
                    </a:cxn>
                    <a:cxn ang="0">
                      <a:pos x="connsiteX3" y="connsiteY3"/>
                    </a:cxn>
                  </a:cxnLst>
                  <a:rect l="l" t="t" r="r" b="b"/>
                  <a:pathLst>
                    <a:path w="13701" h="50321">
                      <a:moveTo>
                        <a:pt x="0" y="50321"/>
                      </a:moveTo>
                      <a:cubicBezTo>
                        <a:pt x="4359" y="43097"/>
                        <a:pt x="5979" y="36994"/>
                        <a:pt x="6601" y="32759"/>
                      </a:cubicBezTo>
                      <a:cubicBezTo>
                        <a:pt x="7598" y="25784"/>
                        <a:pt x="6353" y="22296"/>
                        <a:pt x="7598" y="15321"/>
                      </a:cubicBezTo>
                      <a:cubicBezTo>
                        <a:pt x="8844" y="8470"/>
                        <a:pt x="11584" y="3363"/>
                        <a:pt x="137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1" name="Freeform 5536">
                  <a:extLst>
                    <a:ext uri="{FF2B5EF4-FFF2-40B4-BE49-F238E27FC236}">
                      <a16:creationId xmlns:a16="http://schemas.microsoft.com/office/drawing/2014/main" id="{BF9E5844-7F80-3A83-A373-ADAEB0978394}"/>
                    </a:ext>
                  </a:extLst>
                </p:cNvPr>
                <p:cNvSpPr/>
                <p:nvPr/>
              </p:nvSpPr>
              <p:spPr>
                <a:xfrm>
                  <a:off x="10438463" y="5866740"/>
                  <a:ext cx="12354" cy="50695"/>
                </a:xfrm>
                <a:custGeom>
                  <a:avLst/>
                  <a:gdLst>
                    <a:gd name="connsiteX0" fmla="*/ 12300 w 12354"/>
                    <a:gd name="connsiteY0" fmla="*/ 0 h 50695"/>
                    <a:gd name="connsiteX1" fmla="*/ 9559 w 12354"/>
                    <a:gd name="connsiteY1" fmla="*/ 18559 h 50695"/>
                    <a:gd name="connsiteX2" fmla="*/ 2086 w 12354"/>
                    <a:gd name="connsiteY2" fmla="*/ 34253 h 50695"/>
                    <a:gd name="connsiteX3" fmla="*/ 93 w 12354"/>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54" h="50695">
                      <a:moveTo>
                        <a:pt x="12300" y="0"/>
                      </a:moveTo>
                      <a:cubicBezTo>
                        <a:pt x="12673" y="8470"/>
                        <a:pt x="11054" y="14573"/>
                        <a:pt x="9559" y="18559"/>
                      </a:cubicBezTo>
                      <a:cubicBezTo>
                        <a:pt x="7068" y="25161"/>
                        <a:pt x="4328" y="27528"/>
                        <a:pt x="2086" y="34253"/>
                      </a:cubicBezTo>
                      <a:cubicBezTo>
                        <a:pt x="-32" y="40855"/>
                        <a:pt x="-156" y="46709"/>
                        <a:pt x="93"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2" name="Freeform 5537">
                  <a:extLst>
                    <a:ext uri="{FF2B5EF4-FFF2-40B4-BE49-F238E27FC236}">
                      <a16:creationId xmlns:a16="http://schemas.microsoft.com/office/drawing/2014/main" id="{0287CC3F-B237-A828-58C7-6F4ED11EE5AC}"/>
                    </a:ext>
                  </a:extLst>
                </p:cNvPr>
                <p:cNvSpPr/>
                <p:nvPr/>
              </p:nvSpPr>
              <p:spPr>
                <a:xfrm>
                  <a:off x="10428191" y="5907030"/>
                  <a:ext cx="26127" cy="26541"/>
                </a:xfrm>
                <a:custGeom>
                  <a:avLst/>
                  <a:gdLst>
                    <a:gd name="connsiteX0" fmla="*/ 400 w 26127"/>
                    <a:gd name="connsiteY0" fmla="*/ 9907 h 26541"/>
                    <a:gd name="connsiteX1" fmla="*/ 16344 w 26127"/>
                    <a:gd name="connsiteY1" fmla="*/ 441 h 26541"/>
                    <a:gd name="connsiteX2" fmla="*/ 25686 w 26127"/>
                    <a:gd name="connsiteY2" fmla="*/ 16634 h 26541"/>
                    <a:gd name="connsiteX3" fmla="*/ 9742 w 26127"/>
                    <a:gd name="connsiteY3" fmla="*/ 26100 h 26541"/>
                    <a:gd name="connsiteX4" fmla="*/ 400 w 26127"/>
                    <a:gd name="connsiteY4" fmla="*/ 9907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7" h="26541">
                      <a:moveTo>
                        <a:pt x="400" y="9907"/>
                      </a:moveTo>
                      <a:cubicBezTo>
                        <a:pt x="2144" y="2808"/>
                        <a:pt x="9368" y="-1427"/>
                        <a:pt x="16344" y="441"/>
                      </a:cubicBezTo>
                      <a:cubicBezTo>
                        <a:pt x="23319" y="2310"/>
                        <a:pt x="27554" y="9534"/>
                        <a:pt x="25686" y="16634"/>
                      </a:cubicBezTo>
                      <a:cubicBezTo>
                        <a:pt x="23817" y="23734"/>
                        <a:pt x="16717" y="27968"/>
                        <a:pt x="9742" y="26100"/>
                      </a:cubicBezTo>
                      <a:cubicBezTo>
                        <a:pt x="2767" y="24232"/>
                        <a:pt x="-1344" y="17007"/>
                        <a:pt x="400" y="9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3" name="Graphic 2987">
                <a:extLst>
                  <a:ext uri="{FF2B5EF4-FFF2-40B4-BE49-F238E27FC236}">
                    <a16:creationId xmlns:a16="http://schemas.microsoft.com/office/drawing/2014/main" id="{7DCB5C88-5658-EBFD-2950-EA1AEBAE9AF7}"/>
                  </a:ext>
                </a:extLst>
              </p:cNvPr>
              <p:cNvGrpSpPr/>
              <p:nvPr/>
            </p:nvGrpSpPr>
            <p:grpSpPr>
              <a:xfrm>
                <a:off x="10456549" y="5796049"/>
                <a:ext cx="57431" cy="144995"/>
                <a:chOff x="10456549" y="5796049"/>
                <a:chExt cx="57431" cy="144995"/>
              </a:xfrm>
              <a:grpFill/>
            </p:grpSpPr>
            <p:sp>
              <p:nvSpPr>
                <p:cNvPr id="4061" name="Freeform 5539">
                  <a:extLst>
                    <a:ext uri="{FF2B5EF4-FFF2-40B4-BE49-F238E27FC236}">
                      <a16:creationId xmlns:a16="http://schemas.microsoft.com/office/drawing/2014/main" id="{994DB4AC-4769-FC37-8A53-392874E9F3AD}"/>
                    </a:ext>
                  </a:extLst>
                </p:cNvPr>
                <p:cNvSpPr/>
                <p:nvPr/>
              </p:nvSpPr>
              <p:spPr>
                <a:xfrm>
                  <a:off x="10481528" y="5815174"/>
                  <a:ext cx="13825" cy="50321"/>
                </a:xfrm>
                <a:custGeom>
                  <a:avLst/>
                  <a:gdLst>
                    <a:gd name="connsiteX0" fmla="*/ 13826 w 13825"/>
                    <a:gd name="connsiteY0" fmla="*/ 0 h 50321"/>
                    <a:gd name="connsiteX1" fmla="*/ 7225 w 13825"/>
                    <a:gd name="connsiteY1" fmla="*/ 17563 h 50321"/>
                    <a:gd name="connsiteX2" fmla="*/ 6228 w 13825"/>
                    <a:gd name="connsiteY2" fmla="*/ 35001 h 50321"/>
                    <a:gd name="connsiteX3" fmla="*/ 0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0"/>
                      </a:moveTo>
                      <a:cubicBezTo>
                        <a:pt x="9342" y="7100"/>
                        <a:pt x="7847" y="13328"/>
                        <a:pt x="7225" y="17563"/>
                      </a:cubicBezTo>
                      <a:cubicBezTo>
                        <a:pt x="6228" y="24538"/>
                        <a:pt x="7473" y="28025"/>
                        <a:pt x="6228" y="35001"/>
                      </a:cubicBezTo>
                      <a:cubicBezTo>
                        <a:pt x="4983"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2" name="Freeform 5540">
                  <a:extLst>
                    <a:ext uri="{FF2B5EF4-FFF2-40B4-BE49-F238E27FC236}">
                      <a16:creationId xmlns:a16="http://schemas.microsoft.com/office/drawing/2014/main" id="{613C48A4-61DA-582D-B178-AE4C610E1431}"/>
                    </a:ext>
                  </a:extLst>
                </p:cNvPr>
                <p:cNvSpPr/>
                <p:nvPr/>
              </p:nvSpPr>
              <p:spPr>
                <a:xfrm>
                  <a:off x="10490815" y="5812184"/>
                  <a:ext cx="12672" cy="50570"/>
                </a:xfrm>
                <a:custGeom>
                  <a:avLst/>
                  <a:gdLst>
                    <a:gd name="connsiteX0" fmla="*/ 54 w 12672"/>
                    <a:gd name="connsiteY0" fmla="*/ 50570 h 50570"/>
                    <a:gd name="connsiteX1" fmla="*/ 2919 w 12672"/>
                    <a:gd name="connsiteY1" fmla="*/ 32011 h 50570"/>
                    <a:gd name="connsiteX2" fmla="*/ 10518 w 12672"/>
                    <a:gd name="connsiteY2" fmla="*/ 16317 h 50570"/>
                    <a:gd name="connsiteX3" fmla="*/ 12510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50570"/>
                      </a:moveTo>
                      <a:cubicBezTo>
                        <a:pt x="-320" y="42225"/>
                        <a:pt x="1300" y="35997"/>
                        <a:pt x="2919" y="32011"/>
                      </a:cubicBezTo>
                      <a:cubicBezTo>
                        <a:pt x="5410" y="25534"/>
                        <a:pt x="8275" y="23043"/>
                        <a:pt x="10518" y="16317"/>
                      </a:cubicBezTo>
                      <a:cubicBezTo>
                        <a:pt x="12760" y="9840"/>
                        <a:pt x="12884" y="3861"/>
                        <a:pt x="1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3" name="Freeform 5541">
                  <a:extLst>
                    <a:ext uri="{FF2B5EF4-FFF2-40B4-BE49-F238E27FC236}">
                      <a16:creationId xmlns:a16="http://schemas.microsoft.com/office/drawing/2014/main" id="{2D691F0E-D17D-CB1F-6ECA-0FA588670190}"/>
                    </a:ext>
                  </a:extLst>
                </p:cNvPr>
                <p:cNvSpPr/>
                <p:nvPr/>
              </p:nvSpPr>
              <p:spPr>
                <a:xfrm>
                  <a:off x="10487198" y="5796049"/>
                  <a:ext cx="26781" cy="26541"/>
                </a:xfrm>
                <a:custGeom>
                  <a:avLst/>
                  <a:gdLst>
                    <a:gd name="connsiteX0" fmla="*/ 26341 w 26781"/>
                    <a:gd name="connsiteY0" fmla="*/ 16634 h 26541"/>
                    <a:gd name="connsiteX1" fmla="*/ 10024 w 26781"/>
                    <a:gd name="connsiteY1" fmla="*/ 26100 h 26541"/>
                    <a:gd name="connsiteX2" fmla="*/ 433 w 26781"/>
                    <a:gd name="connsiteY2" fmla="*/ 9908 h 26541"/>
                    <a:gd name="connsiteX3" fmla="*/ 16750 w 26781"/>
                    <a:gd name="connsiteY3" fmla="*/ 441 h 26541"/>
                    <a:gd name="connsiteX4" fmla="*/ 26341 w 2678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41">
                      <a:moveTo>
                        <a:pt x="26341" y="16634"/>
                      </a:moveTo>
                      <a:cubicBezTo>
                        <a:pt x="24472" y="23734"/>
                        <a:pt x="17124" y="27968"/>
                        <a:pt x="10024" y="26100"/>
                      </a:cubicBezTo>
                      <a:cubicBezTo>
                        <a:pt x="2924" y="24232"/>
                        <a:pt x="-1435" y="17007"/>
                        <a:pt x="433" y="9908"/>
                      </a:cubicBezTo>
                      <a:cubicBezTo>
                        <a:pt x="2301" y="2808"/>
                        <a:pt x="9525" y="-1427"/>
                        <a:pt x="16750" y="441"/>
                      </a:cubicBezTo>
                      <a:cubicBezTo>
                        <a:pt x="23974" y="2310"/>
                        <a:pt x="28209" y="9534"/>
                        <a:pt x="2634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4" name="Freeform 5542">
                  <a:extLst>
                    <a:ext uri="{FF2B5EF4-FFF2-40B4-BE49-F238E27FC236}">
                      <a16:creationId xmlns:a16="http://schemas.microsoft.com/office/drawing/2014/main" id="{E7986207-F383-A269-4E48-2DD382A56843}"/>
                    </a:ext>
                  </a:extLst>
                </p:cNvPr>
                <p:cNvSpPr/>
                <p:nvPr/>
              </p:nvSpPr>
              <p:spPr>
                <a:xfrm>
                  <a:off x="10474926" y="5871474"/>
                  <a:ext cx="13826" cy="50321"/>
                </a:xfrm>
                <a:custGeom>
                  <a:avLst/>
                  <a:gdLst>
                    <a:gd name="connsiteX0" fmla="*/ 0 w 13826"/>
                    <a:gd name="connsiteY0" fmla="*/ 50321 h 50321"/>
                    <a:gd name="connsiteX1" fmla="*/ 6602 w 13826"/>
                    <a:gd name="connsiteY1" fmla="*/ 32759 h 50321"/>
                    <a:gd name="connsiteX2" fmla="*/ 7599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360" y="43222"/>
                        <a:pt x="5979" y="36994"/>
                        <a:pt x="6602" y="32759"/>
                      </a:cubicBezTo>
                      <a:cubicBezTo>
                        <a:pt x="7599" y="25784"/>
                        <a:pt x="6353" y="22296"/>
                        <a:pt x="7599" y="15321"/>
                      </a:cubicBezTo>
                      <a:cubicBezTo>
                        <a:pt x="8844"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5" name="Freeform 5543">
                  <a:extLst>
                    <a:ext uri="{FF2B5EF4-FFF2-40B4-BE49-F238E27FC236}">
                      <a16:creationId xmlns:a16="http://schemas.microsoft.com/office/drawing/2014/main" id="{5797AC5A-0888-3514-130A-9FC000BFD592}"/>
                    </a:ext>
                  </a:extLst>
                </p:cNvPr>
                <p:cNvSpPr/>
                <p:nvPr/>
              </p:nvSpPr>
              <p:spPr>
                <a:xfrm>
                  <a:off x="10466739" y="5874214"/>
                  <a:ext cx="12726" cy="50570"/>
                </a:xfrm>
                <a:custGeom>
                  <a:avLst/>
                  <a:gdLst>
                    <a:gd name="connsiteX0" fmla="*/ 12672 w 12726"/>
                    <a:gd name="connsiteY0" fmla="*/ 0 h 50570"/>
                    <a:gd name="connsiteX1" fmla="*/ 9807 w 12726"/>
                    <a:gd name="connsiteY1" fmla="*/ 18559 h 50570"/>
                    <a:gd name="connsiteX2" fmla="*/ 2209 w 12726"/>
                    <a:gd name="connsiteY2" fmla="*/ 34253 h 50570"/>
                    <a:gd name="connsiteX3" fmla="*/ 92 w 1272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0"/>
                      </a:moveTo>
                      <a:cubicBezTo>
                        <a:pt x="13045" y="8470"/>
                        <a:pt x="11426" y="14573"/>
                        <a:pt x="9807" y="18559"/>
                      </a:cubicBezTo>
                      <a:cubicBezTo>
                        <a:pt x="7316" y="25036"/>
                        <a:pt x="4451" y="27527"/>
                        <a:pt x="2209" y="34253"/>
                      </a:cubicBezTo>
                      <a:cubicBezTo>
                        <a:pt x="-33" y="40855"/>
                        <a:pt x="-158" y="46709"/>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6" name="Freeform 5544">
                  <a:extLst>
                    <a:ext uri="{FF2B5EF4-FFF2-40B4-BE49-F238E27FC236}">
                      <a16:creationId xmlns:a16="http://schemas.microsoft.com/office/drawing/2014/main" id="{9B704B8E-A8EA-8A29-5A48-78E2962E6FEF}"/>
                    </a:ext>
                  </a:extLst>
                </p:cNvPr>
                <p:cNvSpPr/>
                <p:nvPr/>
              </p:nvSpPr>
              <p:spPr>
                <a:xfrm>
                  <a:off x="10456549" y="5914503"/>
                  <a:ext cx="26293" cy="26541"/>
                </a:xfrm>
                <a:custGeom>
                  <a:avLst/>
                  <a:gdLst>
                    <a:gd name="connsiteX0" fmla="*/ 442 w 26293"/>
                    <a:gd name="connsiteY0" fmla="*/ 9908 h 26541"/>
                    <a:gd name="connsiteX1" fmla="*/ 16510 w 26293"/>
                    <a:gd name="connsiteY1" fmla="*/ 441 h 26541"/>
                    <a:gd name="connsiteX2" fmla="*/ 25851 w 26293"/>
                    <a:gd name="connsiteY2" fmla="*/ 16634 h 26541"/>
                    <a:gd name="connsiteX3" fmla="*/ 9784 w 26293"/>
                    <a:gd name="connsiteY3" fmla="*/ 26100 h 26541"/>
                    <a:gd name="connsiteX4" fmla="*/ 442 w 26293"/>
                    <a:gd name="connsiteY4" fmla="*/ 9908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9908"/>
                      </a:moveTo>
                      <a:cubicBezTo>
                        <a:pt x="2310" y="2808"/>
                        <a:pt x="9410" y="-1427"/>
                        <a:pt x="16510" y="441"/>
                      </a:cubicBezTo>
                      <a:cubicBezTo>
                        <a:pt x="23485" y="2310"/>
                        <a:pt x="27719" y="9534"/>
                        <a:pt x="25851" y="16634"/>
                      </a:cubicBezTo>
                      <a:cubicBezTo>
                        <a:pt x="23983" y="23734"/>
                        <a:pt x="16759" y="27969"/>
                        <a:pt x="9784" y="26100"/>
                      </a:cubicBezTo>
                      <a:cubicBezTo>
                        <a:pt x="2808" y="24232"/>
                        <a:pt x="-1427" y="16883"/>
                        <a:pt x="44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4" name="Graphic 2987">
                <a:extLst>
                  <a:ext uri="{FF2B5EF4-FFF2-40B4-BE49-F238E27FC236}">
                    <a16:creationId xmlns:a16="http://schemas.microsoft.com/office/drawing/2014/main" id="{4A95BC12-50A5-A5A9-C1E6-459773F40566}"/>
                  </a:ext>
                </a:extLst>
              </p:cNvPr>
              <p:cNvGrpSpPr/>
              <p:nvPr/>
            </p:nvGrpSpPr>
            <p:grpSpPr>
              <a:xfrm>
                <a:off x="10484814" y="5803647"/>
                <a:ext cx="58188" cy="144622"/>
                <a:chOff x="10484814" y="5803647"/>
                <a:chExt cx="58188" cy="144622"/>
              </a:xfrm>
              <a:grpFill/>
            </p:grpSpPr>
            <p:sp>
              <p:nvSpPr>
                <p:cNvPr id="4055" name="Freeform 5546">
                  <a:extLst>
                    <a:ext uri="{FF2B5EF4-FFF2-40B4-BE49-F238E27FC236}">
                      <a16:creationId xmlns:a16="http://schemas.microsoft.com/office/drawing/2014/main" id="{D2C9B2B5-52C7-9E70-27B7-5C07C7B90D47}"/>
                    </a:ext>
                  </a:extLst>
                </p:cNvPr>
                <p:cNvSpPr/>
                <p:nvPr/>
              </p:nvSpPr>
              <p:spPr>
                <a:xfrm>
                  <a:off x="10510051" y="5822772"/>
                  <a:ext cx="14199" cy="50196"/>
                </a:xfrm>
                <a:custGeom>
                  <a:avLst/>
                  <a:gdLst>
                    <a:gd name="connsiteX0" fmla="*/ 14200 w 14199"/>
                    <a:gd name="connsiteY0" fmla="*/ 0 h 50196"/>
                    <a:gd name="connsiteX1" fmla="*/ 7474 w 14199"/>
                    <a:gd name="connsiteY1" fmla="*/ 17563 h 50196"/>
                    <a:gd name="connsiteX2" fmla="*/ 6353 w 14199"/>
                    <a:gd name="connsiteY2" fmla="*/ 34876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6" y="7100"/>
                        <a:pt x="8097" y="13328"/>
                        <a:pt x="7474" y="17563"/>
                      </a:cubicBezTo>
                      <a:cubicBezTo>
                        <a:pt x="6477" y="24538"/>
                        <a:pt x="7723" y="28025"/>
                        <a:pt x="6353" y="34876"/>
                      </a:cubicBezTo>
                      <a:cubicBezTo>
                        <a:pt x="5107" y="41602"/>
                        <a:pt x="2242" y="46834"/>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6" name="Freeform 5547">
                  <a:extLst>
                    <a:ext uri="{FF2B5EF4-FFF2-40B4-BE49-F238E27FC236}">
                      <a16:creationId xmlns:a16="http://schemas.microsoft.com/office/drawing/2014/main" id="{DBD113DB-18BB-4C14-BE47-E538D9657784}"/>
                    </a:ext>
                  </a:extLst>
                </p:cNvPr>
                <p:cNvSpPr/>
                <p:nvPr/>
              </p:nvSpPr>
              <p:spPr>
                <a:xfrm>
                  <a:off x="10519467" y="5819782"/>
                  <a:ext cx="12847" cy="50445"/>
                </a:xfrm>
                <a:custGeom>
                  <a:avLst/>
                  <a:gdLst>
                    <a:gd name="connsiteX0" fmla="*/ 51 w 12847"/>
                    <a:gd name="connsiteY0" fmla="*/ 50446 h 50445"/>
                    <a:gd name="connsiteX1" fmla="*/ 2916 w 12847"/>
                    <a:gd name="connsiteY1" fmla="*/ 31887 h 50445"/>
                    <a:gd name="connsiteX2" fmla="*/ 10639 w 12847"/>
                    <a:gd name="connsiteY2" fmla="*/ 16317 h 50445"/>
                    <a:gd name="connsiteX3" fmla="*/ 12756 w 12847"/>
                    <a:gd name="connsiteY3" fmla="*/ 0 h 50445"/>
                  </a:gdLst>
                  <a:ahLst/>
                  <a:cxnLst>
                    <a:cxn ang="0">
                      <a:pos x="connsiteX0" y="connsiteY0"/>
                    </a:cxn>
                    <a:cxn ang="0">
                      <a:pos x="connsiteX1" y="connsiteY1"/>
                    </a:cxn>
                    <a:cxn ang="0">
                      <a:pos x="connsiteX2" y="connsiteY2"/>
                    </a:cxn>
                    <a:cxn ang="0">
                      <a:pos x="connsiteX3" y="connsiteY3"/>
                    </a:cxn>
                  </a:cxnLst>
                  <a:rect l="l" t="t" r="r" b="b"/>
                  <a:pathLst>
                    <a:path w="12847" h="50445">
                      <a:moveTo>
                        <a:pt x="51" y="50446"/>
                      </a:moveTo>
                      <a:cubicBezTo>
                        <a:pt x="-322" y="42101"/>
                        <a:pt x="1421" y="35873"/>
                        <a:pt x="2916" y="31887"/>
                      </a:cubicBezTo>
                      <a:cubicBezTo>
                        <a:pt x="5532" y="25410"/>
                        <a:pt x="8272" y="22919"/>
                        <a:pt x="10639" y="16317"/>
                      </a:cubicBezTo>
                      <a:cubicBezTo>
                        <a:pt x="12881" y="9840"/>
                        <a:pt x="13006" y="3861"/>
                        <a:pt x="127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7" name="Freeform 5548">
                  <a:extLst>
                    <a:ext uri="{FF2B5EF4-FFF2-40B4-BE49-F238E27FC236}">
                      <a16:creationId xmlns:a16="http://schemas.microsoft.com/office/drawing/2014/main" id="{E9B59978-5F36-AC96-F910-480CBB23F1E4}"/>
                    </a:ext>
                  </a:extLst>
                </p:cNvPr>
                <p:cNvSpPr/>
                <p:nvPr/>
              </p:nvSpPr>
              <p:spPr>
                <a:xfrm>
                  <a:off x="10516337" y="5803647"/>
                  <a:ext cx="26666" cy="26541"/>
                </a:xfrm>
                <a:custGeom>
                  <a:avLst/>
                  <a:gdLst>
                    <a:gd name="connsiteX0" fmla="*/ 26225 w 26666"/>
                    <a:gd name="connsiteY0" fmla="*/ 16634 h 26541"/>
                    <a:gd name="connsiteX1" fmla="*/ 9908 w 26666"/>
                    <a:gd name="connsiteY1" fmla="*/ 26100 h 26541"/>
                    <a:gd name="connsiteX2" fmla="*/ 441 w 26666"/>
                    <a:gd name="connsiteY2" fmla="*/ 9908 h 26541"/>
                    <a:gd name="connsiteX3" fmla="*/ 16758 w 26666"/>
                    <a:gd name="connsiteY3" fmla="*/ 441 h 26541"/>
                    <a:gd name="connsiteX4" fmla="*/ 26225 w 26666"/>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41">
                      <a:moveTo>
                        <a:pt x="26225" y="16634"/>
                      </a:moveTo>
                      <a:cubicBezTo>
                        <a:pt x="24356" y="23734"/>
                        <a:pt x="17007" y="27969"/>
                        <a:pt x="9908" y="26100"/>
                      </a:cubicBezTo>
                      <a:cubicBezTo>
                        <a:pt x="2808" y="24232"/>
                        <a:pt x="-1427" y="17008"/>
                        <a:pt x="441" y="9908"/>
                      </a:cubicBezTo>
                      <a:cubicBezTo>
                        <a:pt x="2309" y="2808"/>
                        <a:pt x="9659" y="-1427"/>
                        <a:pt x="16758" y="441"/>
                      </a:cubicBezTo>
                      <a:cubicBezTo>
                        <a:pt x="23858" y="2310"/>
                        <a:pt x="28093" y="9534"/>
                        <a:pt x="26225"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8" name="Freeform 5549">
                  <a:extLst>
                    <a:ext uri="{FF2B5EF4-FFF2-40B4-BE49-F238E27FC236}">
                      <a16:creationId xmlns:a16="http://schemas.microsoft.com/office/drawing/2014/main" id="{E144CFB8-E397-2C07-36FB-905CF11A1463}"/>
                    </a:ext>
                  </a:extLst>
                </p:cNvPr>
                <p:cNvSpPr/>
                <p:nvPr/>
              </p:nvSpPr>
              <p:spPr>
                <a:xfrm>
                  <a:off x="10503201" y="5878947"/>
                  <a:ext cx="14199" cy="50196"/>
                </a:xfrm>
                <a:custGeom>
                  <a:avLst/>
                  <a:gdLst>
                    <a:gd name="connsiteX0" fmla="*/ 0 w 14199"/>
                    <a:gd name="connsiteY0" fmla="*/ 50197 h 50196"/>
                    <a:gd name="connsiteX1" fmla="*/ 6727 w 14199"/>
                    <a:gd name="connsiteY1" fmla="*/ 32634 h 50196"/>
                    <a:gd name="connsiteX2" fmla="*/ 7847 w 14199"/>
                    <a:gd name="connsiteY2" fmla="*/ 15321 h 50196"/>
                    <a:gd name="connsiteX3" fmla="*/ 1420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869"/>
                        <a:pt x="6727" y="32634"/>
                      </a:cubicBezTo>
                      <a:cubicBezTo>
                        <a:pt x="7723" y="25659"/>
                        <a:pt x="6477" y="22296"/>
                        <a:pt x="7847" y="15321"/>
                      </a:cubicBezTo>
                      <a:cubicBezTo>
                        <a:pt x="9092" y="8595"/>
                        <a:pt x="11958" y="3363"/>
                        <a:pt x="142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9" name="Freeform 5550">
                  <a:extLst>
                    <a:ext uri="{FF2B5EF4-FFF2-40B4-BE49-F238E27FC236}">
                      <a16:creationId xmlns:a16="http://schemas.microsoft.com/office/drawing/2014/main" id="{A985C77E-1BDA-398B-C4BB-CD77264D7660}"/>
                    </a:ext>
                  </a:extLst>
                </p:cNvPr>
                <p:cNvSpPr/>
                <p:nvPr/>
              </p:nvSpPr>
              <p:spPr>
                <a:xfrm>
                  <a:off x="10495138" y="5881687"/>
                  <a:ext cx="12847" cy="50570"/>
                </a:xfrm>
                <a:custGeom>
                  <a:avLst/>
                  <a:gdLst>
                    <a:gd name="connsiteX0" fmla="*/ 12796 w 12847"/>
                    <a:gd name="connsiteY0" fmla="*/ 0 h 50570"/>
                    <a:gd name="connsiteX1" fmla="*/ 9932 w 12847"/>
                    <a:gd name="connsiteY1" fmla="*/ 18559 h 50570"/>
                    <a:gd name="connsiteX2" fmla="*/ 2209 w 12847"/>
                    <a:gd name="connsiteY2" fmla="*/ 34253 h 50570"/>
                    <a:gd name="connsiteX3" fmla="*/ 91 w 12847"/>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6" y="0"/>
                      </a:moveTo>
                      <a:cubicBezTo>
                        <a:pt x="13170" y="8346"/>
                        <a:pt x="11426" y="14573"/>
                        <a:pt x="9932" y="18559"/>
                      </a:cubicBezTo>
                      <a:cubicBezTo>
                        <a:pt x="7441" y="25036"/>
                        <a:pt x="4576" y="27527"/>
                        <a:pt x="2209" y="34253"/>
                      </a:cubicBezTo>
                      <a:cubicBezTo>
                        <a:pt x="-33" y="40730"/>
                        <a:pt x="-157" y="46709"/>
                        <a:pt x="91"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0" name="Freeform 5551">
                  <a:extLst>
                    <a:ext uri="{FF2B5EF4-FFF2-40B4-BE49-F238E27FC236}">
                      <a16:creationId xmlns:a16="http://schemas.microsoft.com/office/drawing/2014/main" id="{2FB07CDC-150E-B757-679A-DEEF514FA47F}"/>
                    </a:ext>
                  </a:extLst>
                </p:cNvPr>
                <p:cNvSpPr/>
                <p:nvPr/>
              </p:nvSpPr>
              <p:spPr>
                <a:xfrm>
                  <a:off x="10484814" y="5921852"/>
                  <a:ext cx="26229" cy="26416"/>
                </a:xfrm>
                <a:custGeom>
                  <a:avLst/>
                  <a:gdLst>
                    <a:gd name="connsiteX0" fmla="*/ 450 w 26229"/>
                    <a:gd name="connsiteY0" fmla="*/ 9908 h 26416"/>
                    <a:gd name="connsiteX1" fmla="*/ 16519 w 26229"/>
                    <a:gd name="connsiteY1" fmla="*/ 441 h 26416"/>
                    <a:gd name="connsiteX2" fmla="*/ 25736 w 26229"/>
                    <a:gd name="connsiteY2" fmla="*/ 16509 h 26416"/>
                    <a:gd name="connsiteX3" fmla="*/ 9668 w 26229"/>
                    <a:gd name="connsiteY3" fmla="*/ 25976 h 26416"/>
                    <a:gd name="connsiteX4" fmla="*/ 450 w 26229"/>
                    <a:gd name="connsiteY4" fmla="*/ 9908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416">
                      <a:moveTo>
                        <a:pt x="450" y="9908"/>
                      </a:moveTo>
                      <a:cubicBezTo>
                        <a:pt x="2319" y="2808"/>
                        <a:pt x="9544" y="-1427"/>
                        <a:pt x="16519" y="441"/>
                      </a:cubicBezTo>
                      <a:cubicBezTo>
                        <a:pt x="23494" y="2310"/>
                        <a:pt x="27729" y="9534"/>
                        <a:pt x="25736" y="16509"/>
                      </a:cubicBezTo>
                      <a:cubicBezTo>
                        <a:pt x="23867" y="23609"/>
                        <a:pt x="16643" y="27844"/>
                        <a:pt x="9668" y="25976"/>
                      </a:cubicBezTo>
                      <a:cubicBezTo>
                        <a:pt x="2692" y="24232"/>
                        <a:pt x="-1417" y="17007"/>
                        <a:pt x="450"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5" name="Graphic 2987">
                <a:extLst>
                  <a:ext uri="{FF2B5EF4-FFF2-40B4-BE49-F238E27FC236}">
                    <a16:creationId xmlns:a16="http://schemas.microsoft.com/office/drawing/2014/main" id="{13C20B09-17CB-C9EE-4839-0961583DECA4}"/>
                  </a:ext>
                </a:extLst>
              </p:cNvPr>
              <p:cNvGrpSpPr/>
              <p:nvPr/>
            </p:nvGrpSpPr>
            <p:grpSpPr>
              <a:xfrm>
                <a:off x="10513089" y="5811193"/>
                <a:ext cx="58737" cy="144567"/>
                <a:chOff x="10513089" y="5811193"/>
                <a:chExt cx="58737" cy="144567"/>
              </a:xfrm>
              <a:grpFill/>
            </p:grpSpPr>
            <p:sp>
              <p:nvSpPr>
                <p:cNvPr id="4049" name="Freeform 5553">
                  <a:extLst>
                    <a:ext uri="{FF2B5EF4-FFF2-40B4-BE49-F238E27FC236}">
                      <a16:creationId xmlns:a16="http://schemas.microsoft.com/office/drawing/2014/main" id="{6037FE6E-F3FF-C143-81EF-78A1DAFC5CB3}"/>
                    </a:ext>
                  </a:extLst>
                </p:cNvPr>
                <p:cNvSpPr/>
                <p:nvPr/>
              </p:nvSpPr>
              <p:spPr>
                <a:xfrm>
                  <a:off x="10538824" y="5830370"/>
                  <a:ext cx="14324" cy="50072"/>
                </a:xfrm>
                <a:custGeom>
                  <a:avLst/>
                  <a:gdLst>
                    <a:gd name="connsiteX0" fmla="*/ 14324 w 14324"/>
                    <a:gd name="connsiteY0" fmla="*/ 0 h 50072"/>
                    <a:gd name="connsiteX1" fmla="*/ 7474 w 14324"/>
                    <a:gd name="connsiteY1" fmla="*/ 17563 h 50072"/>
                    <a:gd name="connsiteX2" fmla="*/ 6353 w 14324"/>
                    <a:gd name="connsiteY2" fmla="*/ 34876 h 50072"/>
                    <a:gd name="connsiteX3" fmla="*/ 0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14324" y="0"/>
                      </a:moveTo>
                      <a:cubicBezTo>
                        <a:pt x="9841" y="7100"/>
                        <a:pt x="8097" y="13203"/>
                        <a:pt x="7474" y="17563"/>
                      </a:cubicBezTo>
                      <a:cubicBezTo>
                        <a:pt x="6353" y="24538"/>
                        <a:pt x="7723" y="27901"/>
                        <a:pt x="6353" y="34876"/>
                      </a:cubicBezTo>
                      <a:cubicBezTo>
                        <a:pt x="4983" y="41602"/>
                        <a:pt x="2118"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0" name="Freeform 5554">
                  <a:extLst>
                    <a:ext uri="{FF2B5EF4-FFF2-40B4-BE49-F238E27FC236}">
                      <a16:creationId xmlns:a16="http://schemas.microsoft.com/office/drawing/2014/main" id="{EA764863-4B86-76CB-78C6-2BBD89AC6936}"/>
                    </a:ext>
                  </a:extLst>
                </p:cNvPr>
                <p:cNvSpPr/>
                <p:nvPr/>
              </p:nvSpPr>
              <p:spPr>
                <a:xfrm>
                  <a:off x="10548141" y="5827381"/>
                  <a:ext cx="13182" cy="50445"/>
                </a:xfrm>
                <a:custGeom>
                  <a:avLst/>
                  <a:gdLst>
                    <a:gd name="connsiteX0" fmla="*/ 25 w 13182"/>
                    <a:gd name="connsiteY0" fmla="*/ 50446 h 50445"/>
                    <a:gd name="connsiteX1" fmla="*/ 3015 w 13182"/>
                    <a:gd name="connsiteY1" fmla="*/ 31887 h 50445"/>
                    <a:gd name="connsiteX2" fmla="*/ 10862 w 13182"/>
                    <a:gd name="connsiteY2" fmla="*/ 16317 h 50445"/>
                    <a:gd name="connsiteX3" fmla="*/ 13105 w 13182"/>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25" y="50446"/>
                      </a:moveTo>
                      <a:cubicBezTo>
                        <a:pt x="-223" y="41976"/>
                        <a:pt x="1396" y="35997"/>
                        <a:pt x="3015" y="31887"/>
                      </a:cubicBezTo>
                      <a:cubicBezTo>
                        <a:pt x="5631" y="25409"/>
                        <a:pt x="8496" y="23043"/>
                        <a:pt x="10862" y="16317"/>
                      </a:cubicBezTo>
                      <a:cubicBezTo>
                        <a:pt x="13105" y="9840"/>
                        <a:pt x="13353" y="3861"/>
                        <a:pt x="13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1" name="Freeform 5555">
                  <a:extLst>
                    <a:ext uri="{FF2B5EF4-FFF2-40B4-BE49-F238E27FC236}">
                      <a16:creationId xmlns:a16="http://schemas.microsoft.com/office/drawing/2014/main" id="{5BD91460-07B0-03DA-0CC8-6AA70E251A30}"/>
                    </a:ext>
                  </a:extLst>
                </p:cNvPr>
                <p:cNvSpPr/>
                <p:nvPr/>
              </p:nvSpPr>
              <p:spPr>
                <a:xfrm>
                  <a:off x="10544985" y="5811193"/>
                  <a:ext cx="26842" cy="26486"/>
                </a:xfrm>
                <a:custGeom>
                  <a:avLst/>
                  <a:gdLst>
                    <a:gd name="connsiteX0" fmla="*/ 26350 w 26842"/>
                    <a:gd name="connsiteY0" fmla="*/ 16810 h 26486"/>
                    <a:gd name="connsiteX1" fmla="*/ 9908 w 26842"/>
                    <a:gd name="connsiteY1" fmla="*/ 26027 h 26486"/>
                    <a:gd name="connsiteX2" fmla="*/ 441 w 26842"/>
                    <a:gd name="connsiteY2" fmla="*/ 9835 h 26486"/>
                    <a:gd name="connsiteX3" fmla="*/ 16883 w 26842"/>
                    <a:gd name="connsiteY3" fmla="*/ 493 h 26486"/>
                    <a:gd name="connsiteX4" fmla="*/ 26350 w 26842"/>
                    <a:gd name="connsiteY4" fmla="*/ 16810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486">
                      <a:moveTo>
                        <a:pt x="26350" y="16810"/>
                      </a:moveTo>
                      <a:cubicBezTo>
                        <a:pt x="24356" y="23910"/>
                        <a:pt x="17132" y="27896"/>
                        <a:pt x="9908" y="26027"/>
                      </a:cubicBezTo>
                      <a:cubicBezTo>
                        <a:pt x="2808" y="24159"/>
                        <a:pt x="-1427" y="16935"/>
                        <a:pt x="441" y="9835"/>
                      </a:cubicBezTo>
                      <a:cubicBezTo>
                        <a:pt x="2310" y="2735"/>
                        <a:pt x="9659" y="-1500"/>
                        <a:pt x="16883" y="493"/>
                      </a:cubicBezTo>
                      <a:cubicBezTo>
                        <a:pt x="24108" y="2361"/>
                        <a:pt x="28342" y="9835"/>
                        <a:pt x="26350" y="16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2" name="Freeform 5556">
                  <a:extLst>
                    <a:ext uri="{FF2B5EF4-FFF2-40B4-BE49-F238E27FC236}">
                      <a16:creationId xmlns:a16="http://schemas.microsoft.com/office/drawing/2014/main" id="{2FB74AB0-5682-EAAA-3611-A3AA515A59EC}"/>
                    </a:ext>
                  </a:extLst>
                </p:cNvPr>
                <p:cNvSpPr/>
                <p:nvPr/>
              </p:nvSpPr>
              <p:spPr>
                <a:xfrm>
                  <a:off x="10531600" y="5886545"/>
                  <a:ext cx="14448" cy="50072"/>
                </a:xfrm>
                <a:custGeom>
                  <a:avLst/>
                  <a:gdLst>
                    <a:gd name="connsiteX0" fmla="*/ 0 w 14448"/>
                    <a:gd name="connsiteY0" fmla="*/ 50072 h 50072"/>
                    <a:gd name="connsiteX1" fmla="*/ 6851 w 14448"/>
                    <a:gd name="connsiteY1" fmla="*/ 32634 h 50072"/>
                    <a:gd name="connsiteX2" fmla="*/ 8096 w 14448"/>
                    <a:gd name="connsiteY2" fmla="*/ 15196 h 50072"/>
                    <a:gd name="connsiteX3" fmla="*/ 14448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4484" y="42972"/>
                        <a:pt x="6103" y="36869"/>
                        <a:pt x="6851" y="32634"/>
                      </a:cubicBezTo>
                      <a:cubicBezTo>
                        <a:pt x="7971" y="25659"/>
                        <a:pt x="6726" y="22171"/>
                        <a:pt x="8096" y="15196"/>
                      </a:cubicBezTo>
                      <a:cubicBezTo>
                        <a:pt x="9467" y="8470"/>
                        <a:pt x="12331" y="3238"/>
                        <a:pt x="144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3" name="Freeform 5557">
                  <a:extLst>
                    <a:ext uri="{FF2B5EF4-FFF2-40B4-BE49-F238E27FC236}">
                      <a16:creationId xmlns:a16="http://schemas.microsoft.com/office/drawing/2014/main" id="{E846B394-BD7F-8345-51C0-6AA45C2DAA37}"/>
                    </a:ext>
                  </a:extLst>
                </p:cNvPr>
                <p:cNvSpPr/>
                <p:nvPr/>
              </p:nvSpPr>
              <p:spPr>
                <a:xfrm>
                  <a:off x="10523551" y="5889161"/>
                  <a:ext cx="13057" cy="50445"/>
                </a:xfrm>
                <a:custGeom>
                  <a:avLst/>
                  <a:gdLst>
                    <a:gd name="connsiteX0" fmla="*/ 13032 w 13057"/>
                    <a:gd name="connsiteY0" fmla="*/ 0 h 50445"/>
                    <a:gd name="connsiteX1" fmla="*/ 10042 w 13057"/>
                    <a:gd name="connsiteY1" fmla="*/ 18559 h 50445"/>
                    <a:gd name="connsiteX2" fmla="*/ 2320 w 13057"/>
                    <a:gd name="connsiteY2" fmla="*/ 34129 h 50445"/>
                    <a:gd name="connsiteX3" fmla="*/ 78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0"/>
                      </a:moveTo>
                      <a:cubicBezTo>
                        <a:pt x="13281" y="8345"/>
                        <a:pt x="11662" y="14449"/>
                        <a:pt x="10042" y="18559"/>
                      </a:cubicBezTo>
                      <a:cubicBezTo>
                        <a:pt x="7426" y="25036"/>
                        <a:pt x="4562" y="27527"/>
                        <a:pt x="2320" y="34129"/>
                      </a:cubicBezTo>
                      <a:cubicBezTo>
                        <a:pt x="78" y="40606"/>
                        <a:pt x="-171" y="46584"/>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4" name="Freeform 5558">
                  <a:extLst>
                    <a:ext uri="{FF2B5EF4-FFF2-40B4-BE49-F238E27FC236}">
                      <a16:creationId xmlns:a16="http://schemas.microsoft.com/office/drawing/2014/main" id="{B8EB1999-EE9B-DAED-EA6B-103F4C6F735F}"/>
                    </a:ext>
                  </a:extLst>
                </p:cNvPr>
                <p:cNvSpPr/>
                <p:nvPr/>
              </p:nvSpPr>
              <p:spPr>
                <a:xfrm>
                  <a:off x="10513089" y="5929325"/>
                  <a:ext cx="26238" cy="26434"/>
                </a:xfrm>
                <a:custGeom>
                  <a:avLst/>
                  <a:gdLst>
                    <a:gd name="connsiteX0" fmla="*/ 451 w 26238"/>
                    <a:gd name="connsiteY0" fmla="*/ 9908 h 26434"/>
                    <a:gd name="connsiteX1" fmla="*/ 16643 w 26238"/>
                    <a:gd name="connsiteY1" fmla="*/ 441 h 26434"/>
                    <a:gd name="connsiteX2" fmla="*/ 25735 w 26238"/>
                    <a:gd name="connsiteY2" fmla="*/ 16759 h 26434"/>
                    <a:gd name="connsiteX3" fmla="*/ 9668 w 26238"/>
                    <a:gd name="connsiteY3" fmla="*/ 25976 h 26434"/>
                    <a:gd name="connsiteX4" fmla="*/ 451 w 26238"/>
                    <a:gd name="connsiteY4" fmla="*/ 9908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434">
                      <a:moveTo>
                        <a:pt x="451" y="9908"/>
                      </a:moveTo>
                      <a:cubicBezTo>
                        <a:pt x="2319" y="2808"/>
                        <a:pt x="9543" y="-1427"/>
                        <a:pt x="16643" y="441"/>
                      </a:cubicBezTo>
                      <a:cubicBezTo>
                        <a:pt x="23618" y="2310"/>
                        <a:pt x="27729" y="9783"/>
                        <a:pt x="25735" y="16759"/>
                      </a:cubicBezTo>
                      <a:cubicBezTo>
                        <a:pt x="23743" y="23858"/>
                        <a:pt x="16643" y="27844"/>
                        <a:pt x="9668" y="25976"/>
                      </a:cubicBezTo>
                      <a:cubicBezTo>
                        <a:pt x="2693" y="24108"/>
                        <a:pt x="-1418" y="16883"/>
                        <a:pt x="451"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6" name="Graphic 2987">
                <a:extLst>
                  <a:ext uri="{FF2B5EF4-FFF2-40B4-BE49-F238E27FC236}">
                    <a16:creationId xmlns:a16="http://schemas.microsoft.com/office/drawing/2014/main" id="{85163F3C-7333-7476-7D0D-5242358890BC}"/>
                  </a:ext>
                </a:extLst>
              </p:cNvPr>
              <p:cNvGrpSpPr/>
              <p:nvPr/>
            </p:nvGrpSpPr>
            <p:grpSpPr>
              <a:xfrm>
                <a:off x="10541310" y="5819270"/>
                <a:ext cx="59289" cy="144505"/>
                <a:chOff x="10541310" y="5819270"/>
                <a:chExt cx="59289" cy="144505"/>
              </a:xfrm>
              <a:grpFill/>
            </p:grpSpPr>
            <p:sp>
              <p:nvSpPr>
                <p:cNvPr id="4043" name="Freeform 5560">
                  <a:extLst>
                    <a:ext uri="{FF2B5EF4-FFF2-40B4-BE49-F238E27FC236}">
                      <a16:creationId xmlns:a16="http://schemas.microsoft.com/office/drawing/2014/main" id="{6E693595-BECA-F002-BB90-F2CF8435135B}"/>
                    </a:ext>
                  </a:extLst>
                </p:cNvPr>
                <p:cNvSpPr/>
                <p:nvPr/>
              </p:nvSpPr>
              <p:spPr>
                <a:xfrm>
                  <a:off x="10567224" y="5838341"/>
                  <a:ext cx="14697" cy="50072"/>
                </a:xfrm>
                <a:custGeom>
                  <a:avLst/>
                  <a:gdLst>
                    <a:gd name="connsiteX0" fmla="*/ 14698 w 14697"/>
                    <a:gd name="connsiteY0" fmla="*/ 0 h 50072"/>
                    <a:gd name="connsiteX1" fmla="*/ 7723 w 14697"/>
                    <a:gd name="connsiteY1" fmla="*/ 17438 h 50072"/>
                    <a:gd name="connsiteX2" fmla="*/ 6477 w 14697"/>
                    <a:gd name="connsiteY2" fmla="*/ 34876 h 50072"/>
                    <a:gd name="connsiteX3" fmla="*/ 0 w 1469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0"/>
                      </a:moveTo>
                      <a:cubicBezTo>
                        <a:pt x="10089" y="7100"/>
                        <a:pt x="8470" y="13203"/>
                        <a:pt x="7723" y="17438"/>
                      </a:cubicBezTo>
                      <a:cubicBezTo>
                        <a:pt x="6601" y="24414"/>
                        <a:pt x="7847" y="27901"/>
                        <a:pt x="6477" y="34876"/>
                      </a:cubicBezTo>
                      <a:cubicBezTo>
                        <a:pt x="5107" y="41602"/>
                        <a:pt x="2242"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4" name="Freeform 5561">
                  <a:extLst>
                    <a:ext uri="{FF2B5EF4-FFF2-40B4-BE49-F238E27FC236}">
                      <a16:creationId xmlns:a16="http://schemas.microsoft.com/office/drawing/2014/main" id="{00F67A89-7E9E-0206-7A40-DFA3C7277860}"/>
                    </a:ext>
                  </a:extLst>
                </p:cNvPr>
                <p:cNvSpPr/>
                <p:nvPr/>
              </p:nvSpPr>
              <p:spPr>
                <a:xfrm>
                  <a:off x="10576666" y="583547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1976"/>
                        <a:pt x="1519" y="35873"/>
                        <a:pt x="3138" y="31887"/>
                      </a:cubicBezTo>
                      <a:cubicBezTo>
                        <a:pt x="5753" y="25409"/>
                        <a:pt x="8618" y="23043"/>
                        <a:pt x="10985" y="16317"/>
                      </a:cubicBezTo>
                      <a:cubicBezTo>
                        <a:pt x="13352" y="9840"/>
                        <a:pt x="13476" y="3861"/>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5" name="Freeform 5562">
                  <a:extLst>
                    <a:ext uri="{FF2B5EF4-FFF2-40B4-BE49-F238E27FC236}">
                      <a16:creationId xmlns:a16="http://schemas.microsoft.com/office/drawing/2014/main" id="{0C51CDEB-42AD-4346-1816-06FD6D5F6FCC}"/>
                    </a:ext>
                  </a:extLst>
                </p:cNvPr>
                <p:cNvSpPr/>
                <p:nvPr/>
              </p:nvSpPr>
              <p:spPr>
                <a:xfrm>
                  <a:off x="10573874" y="5819270"/>
                  <a:ext cx="26726" cy="26558"/>
                </a:xfrm>
                <a:custGeom>
                  <a:avLst/>
                  <a:gdLst>
                    <a:gd name="connsiteX0" fmla="*/ 26234 w 26726"/>
                    <a:gd name="connsiteY0" fmla="*/ 16954 h 26558"/>
                    <a:gd name="connsiteX1" fmla="*/ 9792 w 26726"/>
                    <a:gd name="connsiteY1" fmla="*/ 26047 h 26558"/>
                    <a:gd name="connsiteX2" fmla="*/ 450 w 26726"/>
                    <a:gd name="connsiteY2" fmla="*/ 9605 h 26558"/>
                    <a:gd name="connsiteX3" fmla="*/ 16892 w 26726"/>
                    <a:gd name="connsiteY3" fmla="*/ 512 h 26558"/>
                    <a:gd name="connsiteX4" fmla="*/ 26234 w 26726"/>
                    <a:gd name="connsiteY4" fmla="*/ 16954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58">
                      <a:moveTo>
                        <a:pt x="26234" y="16954"/>
                      </a:moveTo>
                      <a:cubicBezTo>
                        <a:pt x="24240" y="24054"/>
                        <a:pt x="16892" y="28040"/>
                        <a:pt x="9792" y="26047"/>
                      </a:cubicBezTo>
                      <a:cubicBezTo>
                        <a:pt x="2692" y="24054"/>
                        <a:pt x="-1419" y="16705"/>
                        <a:pt x="450" y="9605"/>
                      </a:cubicBezTo>
                      <a:cubicBezTo>
                        <a:pt x="2443" y="2505"/>
                        <a:pt x="9792" y="-1481"/>
                        <a:pt x="16892" y="512"/>
                      </a:cubicBezTo>
                      <a:cubicBezTo>
                        <a:pt x="23992" y="2505"/>
                        <a:pt x="28226" y="9979"/>
                        <a:pt x="26234"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6" name="Freeform 5563">
                  <a:extLst>
                    <a:ext uri="{FF2B5EF4-FFF2-40B4-BE49-F238E27FC236}">
                      <a16:creationId xmlns:a16="http://schemas.microsoft.com/office/drawing/2014/main" id="{C31B08B5-C1C7-F37D-477C-FFD4A185A06C}"/>
                    </a:ext>
                  </a:extLst>
                </p:cNvPr>
                <p:cNvSpPr/>
                <p:nvPr/>
              </p:nvSpPr>
              <p:spPr>
                <a:xfrm>
                  <a:off x="10559751" y="5894517"/>
                  <a:ext cx="14821" cy="50072"/>
                </a:xfrm>
                <a:custGeom>
                  <a:avLst/>
                  <a:gdLst>
                    <a:gd name="connsiteX0" fmla="*/ 0 w 14821"/>
                    <a:gd name="connsiteY0" fmla="*/ 50072 h 50072"/>
                    <a:gd name="connsiteX1" fmla="*/ 6975 w 14821"/>
                    <a:gd name="connsiteY1" fmla="*/ 32634 h 50072"/>
                    <a:gd name="connsiteX2" fmla="*/ 8345 w 14821"/>
                    <a:gd name="connsiteY2" fmla="*/ 15196 h 50072"/>
                    <a:gd name="connsiteX3" fmla="*/ 14822 w 14821"/>
                    <a:gd name="connsiteY3" fmla="*/ 0 h 50072"/>
                  </a:gdLst>
                  <a:ahLst/>
                  <a:cxnLst>
                    <a:cxn ang="0">
                      <a:pos x="connsiteX0" y="connsiteY0"/>
                    </a:cxn>
                    <a:cxn ang="0">
                      <a:pos x="connsiteX1" y="connsiteY1"/>
                    </a:cxn>
                    <a:cxn ang="0">
                      <a:pos x="connsiteX2" y="connsiteY2"/>
                    </a:cxn>
                    <a:cxn ang="0">
                      <a:pos x="connsiteX3" y="connsiteY3"/>
                    </a:cxn>
                  </a:cxnLst>
                  <a:rect l="l" t="t" r="r" b="b"/>
                  <a:pathLst>
                    <a:path w="14821" h="50072">
                      <a:moveTo>
                        <a:pt x="0" y="50072"/>
                      </a:moveTo>
                      <a:cubicBezTo>
                        <a:pt x="4484" y="42973"/>
                        <a:pt x="6228" y="36869"/>
                        <a:pt x="6975" y="32634"/>
                      </a:cubicBezTo>
                      <a:cubicBezTo>
                        <a:pt x="8096" y="25784"/>
                        <a:pt x="6851" y="22171"/>
                        <a:pt x="8345" y="15196"/>
                      </a:cubicBezTo>
                      <a:cubicBezTo>
                        <a:pt x="9715" y="8470"/>
                        <a:pt x="12580" y="3239"/>
                        <a:pt x="148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7" name="Freeform 5564">
                  <a:extLst>
                    <a:ext uri="{FF2B5EF4-FFF2-40B4-BE49-F238E27FC236}">
                      <a16:creationId xmlns:a16="http://schemas.microsoft.com/office/drawing/2014/main" id="{330F0A4B-3E05-F3A3-D094-E15D8734D29E}"/>
                    </a:ext>
                  </a:extLst>
                </p:cNvPr>
                <p:cNvSpPr/>
                <p:nvPr/>
              </p:nvSpPr>
              <p:spPr>
                <a:xfrm>
                  <a:off x="10551621" y="5897133"/>
                  <a:ext cx="13384" cy="50446"/>
                </a:xfrm>
                <a:custGeom>
                  <a:avLst/>
                  <a:gdLst>
                    <a:gd name="connsiteX0" fmla="*/ 13360 w 13384"/>
                    <a:gd name="connsiteY0" fmla="*/ 0 h 50446"/>
                    <a:gd name="connsiteX1" fmla="*/ 10246 w 13384"/>
                    <a:gd name="connsiteY1" fmla="*/ 18559 h 50446"/>
                    <a:gd name="connsiteX2" fmla="*/ 2399 w 13384"/>
                    <a:gd name="connsiteY2" fmla="*/ 34129 h 50446"/>
                    <a:gd name="connsiteX3" fmla="*/ 33 w 13384"/>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83" h="50446">
                      <a:moveTo>
                        <a:pt x="13360" y="0"/>
                      </a:moveTo>
                      <a:cubicBezTo>
                        <a:pt x="13609" y="8470"/>
                        <a:pt x="11866" y="14573"/>
                        <a:pt x="10246" y="18559"/>
                      </a:cubicBezTo>
                      <a:cubicBezTo>
                        <a:pt x="7630" y="25036"/>
                        <a:pt x="4766" y="27403"/>
                        <a:pt x="2399" y="34129"/>
                      </a:cubicBezTo>
                      <a:cubicBezTo>
                        <a:pt x="33" y="40606"/>
                        <a:pt x="-92" y="46585"/>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8" name="Freeform 5565">
                  <a:extLst>
                    <a:ext uri="{FF2B5EF4-FFF2-40B4-BE49-F238E27FC236}">
                      <a16:creationId xmlns:a16="http://schemas.microsoft.com/office/drawing/2014/main" id="{0A600F6C-149B-CF93-9D65-818D28846A85}"/>
                    </a:ext>
                  </a:extLst>
                </p:cNvPr>
                <p:cNvSpPr/>
                <p:nvPr/>
              </p:nvSpPr>
              <p:spPr>
                <a:xfrm>
                  <a:off x="10541310" y="5937236"/>
                  <a:ext cx="26177" cy="26539"/>
                </a:xfrm>
                <a:custGeom>
                  <a:avLst/>
                  <a:gdLst>
                    <a:gd name="connsiteX0" fmla="*/ 504 w 26177"/>
                    <a:gd name="connsiteY0" fmla="*/ 9720 h 26539"/>
                    <a:gd name="connsiteX1" fmla="*/ 16696 w 26177"/>
                    <a:gd name="connsiteY1" fmla="*/ 503 h 26539"/>
                    <a:gd name="connsiteX2" fmla="*/ 25664 w 26177"/>
                    <a:gd name="connsiteY2" fmla="*/ 16820 h 26539"/>
                    <a:gd name="connsiteX3" fmla="*/ 9472 w 26177"/>
                    <a:gd name="connsiteY3" fmla="*/ 26037 h 26539"/>
                    <a:gd name="connsiteX4" fmla="*/ 504 w 26177"/>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38">
                      <a:moveTo>
                        <a:pt x="504" y="9720"/>
                      </a:moveTo>
                      <a:cubicBezTo>
                        <a:pt x="2497" y="2620"/>
                        <a:pt x="9721" y="-1490"/>
                        <a:pt x="16696" y="503"/>
                      </a:cubicBezTo>
                      <a:cubicBezTo>
                        <a:pt x="23671" y="2496"/>
                        <a:pt x="27657" y="9844"/>
                        <a:pt x="25664" y="16820"/>
                      </a:cubicBezTo>
                      <a:cubicBezTo>
                        <a:pt x="23671" y="23919"/>
                        <a:pt x="16447" y="28030"/>
                        <a:pt x="9472" y="26037"/>
                      </a:cubicBezTo>
                      <a:cubicBezTo>
                        <a:pt x="2621" y="24044"/>
                        <a:pt x="-1489" y="16695"/>
                        <a:pt x="504"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7" name="Graphic 2987">
                <a:extLst>
                  <a:ext uri="{FF2B5EF4-FFF2-40B4-BE49-F238E27FC236}">
                    <a16:creationId xmlns:a16="http://schemas.microsoft.com/office/drawing/2014/main" id="{C85769EF-47D8-6FF4-7272-D86963276324}"/>
                  </a:ext>
                </a:extLst>
              </p:cNvPr>
              <p:cNvGrpSpPr/>
              <p:nvPr/>
            </p:nvGrpSpPr>
            <p:grpSpPr>
              <a:xfrm>
                <a:off x="10569451" y="5827491"/>
                <a:ext cx="59985" cy="144204"/>
                <a:chOff x="10569451" y="5827491"/>
                <a:chExt cx="59985" cy="144204"/>
              </a:xfrm>
              <a:grpFill/>
            </p:grpSpPr>
            <p:sp>
              <p:nvSpPr>
                <p:cNvPr id="4037" name="Freeform 5567">
                  <a:extLst>
                    <a:ext uri="{FF2B5EF4-FFF2-40B4-BE49-F238E27FC236}">
                      <a16:creationId xmlns:a16="http://schemas.microsoft.com/office/drawing/2014/main" id="{E7D13003-6040-3CBF-BB93-66E2DC37F770}"/>
                    </a:ext>
                  </a:extLst>
                </p:cNvPr>
                <p:cNvSpPr/>
                <p:nvPr/>
              </p:nvSpPr>
              <p:spPr>
                <a:xfrm>
                  <a:off x="10595623" y="5846562"/>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8097" y="27901"/>
                        <a:pt x="6602" y="34752"/>
                      </a:cubicBezTo>
                      <a:cubicBezTo>
                        <a:pt x="5232" y="41478"/>
                        <a:pt x="2243"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8" name="Freeform 5568">
                  <a:extLst>
                    <a:ext uri="{FF2B5EF4-FFF2-40B4-BE49-F238E27FC236}">
                      <a16:creationId xmlns:a16="http://schemas.microsoft.com/office/drawing/2014/main" id="{A983F7BE-B4FF-409D-8D27-C91EC608789D}"/>
                    </a:ext>
                  </a:extLst>
                </p:cNvPr>
                <p:cNvSpPr/>
                <p:nvPr/>
              </p:nvSpPr>
              <p:spPr>
                <a:xfrm>
                  <a:off x="10605207" y="5843698"/>
                  <a:ext cx="13660" cy="50321"/>
                </a:xfrm>
                <a:custGeom>
                  <a:avLst/>
                  <a:gdLst>
                    <a:gd name="connsiteX0" fmla="*/ 6 w 13660"/>
                    <a:gd name="connsiteY0" fmla="*/ 50321 h 50321"/>
                    <a:gd name="connsiteX1" fmla="*/ 3245 w 13660"/>
                    <a:gd name="connsiteY1" fmla="*/ 31762 h 50321"/>
                    <a:gd name="connsiteX2" fmla="*/ 11217 w 13660"/>
                    <a:gd name="connsiteY2" fmla="*/ 16317 h 50321"/>
                    <a:gd name="connsiteX3" fmla="*/ 13583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6" y="50321"/>
                      </a:moveTo>
                      <a:cubicBezTo>
                        <a:pt x="-118" y="41851"/>
                        <a:pt x="1626" y="35872"/>
                        <a:pt x="3245" y="31762"/>
                      </a:cubicBezTo>
                      <a:cubicBezTo>
                        <a:pt x="5861" y="25285"/>
                        <a:pt x="8850" y="22919"/>
                        <a:pt x="11217" y="16317"/>
                      </a:cubicBezTo>
                      <a:cubicBezTo>
                        <a:pt x="13583" y="9840"/>
                        <a:pt x="13832" y="3986"/>
                        <a:pt x="135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9" name="Freeform 5569">
                  <a:extLst>
                    <a:ext uri="{FF2B5EF4-FFF2-40B4-BE49-F238E27FC236}">
                      <a16:creationId xmlns:a16="http://schemas.microsoft.com/office/drawing/2014/main" id="{F93AF755-B657-B715-A8F1-8E7C1E167051}"/>
                    </a:ext>
                  </a:extLst>
                </p:cNvPr>
                <p:cNvSpPr/>
                <p:nvPr/>
              </p:nvSpPr>
              <p:spPr>
                <a:xfrm>
                  <a:off x="10602594" y="5827491"/>
                  <a:ext cx="26842" cy="26549"/>
                </a:xfrm>
                <a:custGeom>
                  <a:avLst/>
                  <a:gdLst>
                    <a:gd name="connsiteX0" fmla="*/ 26286 w 26842"/>
                    <a:gd name="connsiteY0" fmla="*/ 16954 h 26549"/>
                    <a:gd name="connsiteX1" fmla="*/ 9720 w 26842"/>
                    <a:gd name="connsiteY1" fmla="*/ 26047 h 26549"/>
                    <a:gd name="connsiteX2" fmla="*/ 503 w 26842"/>
                    <a:gd name="connsiteY2" fmla="*/ 9605 h 26549"/>
                    <a:gd name="connsiteX3" fmla="*/ 17069 w 26842"/>
                    <a:gd name="connsiteY3" fmla="*/ 512 h 26549"/>
                    <a:gd name="connsiteX4" fmla="*/ 26286 w 26842"/>
                    <a:gd name="connsiteY4" fmla="*/ 16954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549">
                      <a:moveTo>
                        <a:pt x="26286" y="16954"/>
                      </a:moveTo>
                      <a:cubicBezTo>
                        <a:pt x="24293" y="23929"/>
                        <a:pt x="16820" y="28040"/>
                        <a:pt x="9720" y="26047"/>
                      </a:cubicBezTo>
                      <a:cubicBezTo>
                        <a:pt x="2620" y="24054"/>
                        <a:pt x="-1491" y="16705"/>
                        <a:pt x="503" y="9605"/>
                      </a:cubicBezTo>
                      <a:cubicBezTo>
                        <a:pt x="2495" y="2505"/>
                        <a:pt x="9845" y="-1481"/>
                        <a:pt x="17069" y="512"/>
                      </a:cubicBezTo>
                      <a:cubicBezTo>
                        <a:pt x="24293" y="2505"/>
                        <a:pt x="28404" y="9979"/>
                        <a:pt x="26286"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0" name="Freeform 5570">
                  <a:extLst>
                    <a:ext uri="{FF2B5EF4-FFF2-40B4-BE49-F238E27FC236}">
                      <a16:creationId xmlns:a16="http://schemas.microsoft.com/office/drawing/2014/main" id="{2C85C9C0-B287-3675-363D-2A3892494F87}"/>
                    </a:ext>
                  </a:extLst>
                </p:cNvPr>
                <p:cNvSpPr/>
                <p:nvPr/>
              </p:nvSpPr>
              <p:spPr>
                <a:xfrm>
                  <a:off x="10587900" y="5902738"/>
                  <a:ext cx="14947" cy="49947"/>
                </a:xfrm>
                <a:custGeom>
                  <a:avLst/>
                  <a:gdLst>
                    <a:gd name="connsiteX0" fmla="*/ 0 w 14947"/>
                    <a:gd name="connsiteY0" fmla="*/ 49948 h 49947"/>
                    <a:gd name="connsiteX1" fmla="*/ 6975 w 14947"/>
                    <a:gd name="connsiteY1" fmla="*/ 32509 h 49947"/>
                    <a:gd name="connsiteX2" fmla="*/ 8346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3" y="36745"/>
                        <a:pt x="6975" y="32509"/>
                      </a:cubicBezTo>
                      <a:cubicBezTo>
                        <a:pt x="8097" y="25659"/>
                        <a:pt x="6975" y="22047"/>
                        <a:pt x="8346" y="15196"/>
                      </a:cubicBezTo>
                      <a:cubicBezTo>
                        <a:pt x="9716"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1" name="Freeform 5571">
                  <a:extLst>
                    <a:ext uri="{FF2B5EF4-FFF2-40B4-BE49-F238E27FC236}">
                      <a16:creationId xmlns:a16="http://schemas.microsoft.com/office/drawing/2014/main" id="{18128D6C-FBED-29EC-DDB2-A90E09A9BC29}"/>
                    </a:ext>
                  </a:extLst>
                </p:cNvPr>
                <p:cNvSpPr/>
                <p:nvPr/>
              </p:nvSpPr>
              <p:spPr>
                <a:xfrm>
                  <a:off x="10579852" y="5905229"/>
                  <a:ext cx="13659" cy="50321"/>
                </a:xfrm>
                <a:custGeom>
                  <a:avLst/>
                  <a:gdLst>
                    <a:gd name="connsiteX0" fmla="*/ 13653 w 13659"/>
                    <a:gd name="connsiteY0" fmla="*/ 0 h 50321"/>
                    <a:gd name="connsiteX1" fmla="*/ 10415 w 13659"/>
                    <a:gd name="connsiteY1" fmla="*/ 18559 h 50321"/>
                    <a:gd name="connsiteX2" fmla="*/ 2444 w 13659"/>
                    <a:gd name="connsiteY2" fmla="*/ 34004 h 50321"/>
                    <a:gd name="connsiteX3" fmla="*/ 77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13653" y="0"/>
                      </a:moveTo>
                      <a:cubicBezTo>
                        <a:pt x="13778" y="8470"/>
                        <a:pt x="12034" y="14448"/>
                        <a:pt x="10415" y="18559"/>
                      </a:cubicBezTo>
                      <a:cubicBezTo>
                        <a:pt x="7800" y="25036"/>
                        <a:pt x="4934" y="27402"/>
                        <a:pt x="2444" y="34004"/>
                      </a:cubicBezTo>
                      <a:cubicBezTo>
                        <a:pt x="77" y="40481"/>
                        <a:pt x="-172" y="46335"/>
                        <a:pt x="7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2" name="Freeform 5572">
                  <a:extLst>
                    <a:ext uri="{FF2B5EF4-FFF2-40B4-BE49-F238E27FC236}">
                      <a16:creationId xmlns:a16="http://schemas.microsoft.com/office/drawing/2014/main" id="{17302B5E-B48C-0408-02AE-53D2F9134EF1}"/>
                    </a:ext>
                  </a:extLst>
                </p:cNvPr>
                <p:cNvSpPr/>
                <p:nvPr/>
              </p:nvSpPr>
              <p:spPr>
                <a:xfrm>
                  <a:off x="10569451" y="5945251"/>
                  <a:ext cx="26186" cy="26443"/>
                </a:xfrm>
                <a:custGeom>
                  <a:avLst/>
                  <a:gdLst>
                    <a:gd name="connsiteX0" fmla="*/ 513 w 26186"/>
                    <a:gd name="connsiteY0" fmla="*/ 9676 h 26443"/>
                    <a:gd name="connsiteX1" fmla="*/ 16706 w 26186"/>
                    <a:gd name="connsiteY1" fmla="*/ 459 h 26443"/>
                    <a:gd name="connsiteX2" fmla="*/ 25674 w 26186"/>
                    <a:gd name="connsiteY2" fmla="*/ 16776 h 26443"/>
                    <a:gd name="connsiteX3" fmla="*/ 9481 w 26186"/>
                    <a:gd name="connsiteY3" fmla="*/ 25993 h 26443"/>
                    <a:gd name="connsiteX4" fmla="*/ 513 w 26186"/>
                    <a:gd name="connsiteY4" fmla="*/ 9676 h 26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43">
                      <a:moveTo>
                        <a:pt x="513" y="9676"/>
                      </a:moveTo>
                      <a:cubicBezTo>
                        <a:pt x="2506" y="2576"/>
                        <a:pt x="9731" y="-1410"/>
                        <a:pt x="16706" y="459"/>
                      </a:cubicBezTo>
                      <a:cubicBezTo>
                        <a:pt x="23681" y="2452"/>
                        <a:pt x="27667" y="9801"/>
                        <a:pt x="25674" y="16776"/>
                      </a:cubicBezTo>
                      <a:cubicBezTo>
                        <a:pt x="23681" y="23751"/>
                        <a:pt x="16332" y="27862"/>
                        <a:pt x="9481" y="25993"/>
                      </a:cubicBezTo>
                      <a:cubicBezTo>
                        <a:pt x="2506" y="24000"/>
                        <a:pt x="-1480" y="16776"/>
                        <a:pt x="513"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8" name="Graphic 2987">
                <a:extLst>
                  <a:ext uri="{FF2B5EF4-FFF2-40B4-BE49-F238E27FC236}">
                    <a16:creationId xmlns:a16="http://schemas.microsoft.com/office/drawing/2014/main" id="{6FBAD2F3-0A03-44B4-41AE-43FDE1C00B71}"/>
                  </a:ext>
                </a:extLst>
              </p:cNvPr>
              <p:cNvGrpSpPr/>
              <p:nvPr/>
            </p:nvGrpSpPr>
            <p:grpSpPr>
              <a:xfrm>
                <a:off x="10597600" y="5835721"/>
                <a:ext cx="60679" cy="143998"/>
                <a:chOff x="10597600" y="5835721"/>
                <a:chExt cx="60679" cy="143998"/>
              </a:xfrm>
              <a:grpFill/>
            </p:grpSpPr>
            <p:sp>
              <p:nvSpPr>
                <p:cNvPr id="4031" name="Freeform 5574">
                  <a:extLst>
                    <a:ext uri="{FF2B5EF4-FFF2-40B4-BE49-F238E27FC236}">
                      <a16:creationId xmlns:a16="http://schemas.microsoft.com/office/drawing/2014/main" id="{2D84D849-712C-436A-86D0-757B2503C828}"/>
                    </a:ext>
                  </a:extLst>
                </p:cNvPr>
                <p:cNvSpPr/>
                <p:nvPr/>
              </p:nvSpPr>
              <p:spPr>
                <a:xfrm>
                  <a:off x="10624147" y="5854783"/>
                  <a:ext cx="15195" cy="49823"/>
                </a:xfrm>
                <a:custGeom>
                  <a:avLst/>
                  <a:gdLst>
                    <a:gd name="connsiteX0" fmla="*/ 15196 w 15195"/>
                    <a:gd name="connsiteY0" fmla="*/ 0 h 49823"/>
                    <a:gd name="connsiteX1" fmla="*/ 8096 w 15195"/>
                    <a:gd name="connsiteY1" fmla="*/ 17438 h 49823"/>
                    <a:gd name="connsiteX2" fmla="*/ 6601 w 15195"/>
                    <a:gd name="connsiteY2" fmla="*/ 34752 h 49823"/>
                    <a:gd name="connsiteX3" fmla="*/ 0 w 1519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0"/>
                      </a:moveTo>
                      <a:cubicBezTo>
                        <a:pt x="10587" y="7100"/>
                        <a:pt x="8843" y="13079"/>
                        <a:pt x="8096" y="17438"/>
                      </a:cubicBezTo>
                      <a:cubicBezTo>
                        <a:pt x="6975" y="24289"/>
                        <a:pt x="8096" y="27901"/>
                        <a:pt x="6601" y="34752"/>
                      </a:cubicBezTo>
                      <a:cubicBezTo>
                        <a:pt x="5107"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2" name="Freeform 5575">
                  <a:extLst>
                    <a:ext uri="{FF2B5EF4-FFF2-40B4-BE49-F238E27FC236}">
                      <a16:creationId xmlns:a16="http://schemas.microsoft.com/office/drawing/2014/main" id="{28751357-A4AC-8F54-0D1A-B43D5DCB5457}"/>
                    </a:ext>
                  </a:extLst>
                </p:cNvPr>
                <p:cNvSpPr/>
                <p:nvPr/>
              </p:nvSpPr>
              <p:spPr>
                <a:xfrm>
                  <a:off x="10633607" y="5851794"/>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7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8" y="41976"/>
                        <a:pt x="1626" y="35873"/>
                        <a:pt x="3369" y="31762"/>
                      </a:cubicBezTo>
                      <a:cubicBezTo>
                        <a:pt x="6110" y="25285"/>
                        <a:pt x="8974" y="22919"/>
                        <a:pt x="11465" y="16317"/>
                      </a:cubicBezTo>
                      <a:cubicBezTo>
                        <a:pt x="13832" y="9840"/>
                        <a:pt x="14081" y="3986"/>
                        <a:pt x="139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3" name="Freeform 5576">
                  <a:extLst>
                    <a:ext uri="{FF2B5EF4-FFF2-40B4-BE49-F238E27FC236}">
                      <a16:creationId xmlns:a16="http://schemas.microsoft.com/office/drawing/2014/main" id="{0DAC1930-F92A-982F-8490-271D4496EBD2}"/>
                    </a:ext>
                  </a:extLst>
                </p:cNvPr>
                <p:cNvSpPr/>
                <p:nvPr/>
              </p:nvSpPr>
              <p:spPr>
                <a:xfrm>
                  <a:off x="10631491" y="5835721"/>
                  <a:ext cx="26788" cy="26540"/>
                </a:xfrm>
                <a:custGeom>
                  <a:avLst/>
                  <a:gdLst>
                    <a:gd name="connsiteX0" fmla="*/ 26286 w 26788"/>
                    <a:gd name="connsiteY0" fmla="*/ 16945 h 26540"/>
                    <a:gd name="connsiteX1" fmla="*/ 9720 w 26788"/>
                    <a:gd name="connsiteY1" fmla="*/ 26037 h 26540"/>
                    <a:gd name="connsiteX2" fmla="*/ 503 w 26788"/>
                    <a:gd name="connsiteY2" fmla="*/ 9596 h 26540"/>
                    <a:gd name="connsiteX3" fmla="*/ 17068 w 26788"/>
                    <a:gd name="connsiteY3" fmla="*/ 503 h 26540"/>
                    <a:gd name="connsiteX4" fmla="*/ 26286 w 26788"/>
                    <a:gd name="connsiteY4" fmla="*/ 16945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540">
                      <a:moveTo>
                        <a:pt x="26286" y="16945"/>
                      </a:moveTo>
                      <a:cubicBezTo>
                        <a:pt x="24168" y="23920"/>
                        <a:pt x="16820" y="28030"/>
                        <a:pt x="9720" y="26037"/>
                      </a:cubicBezTo>
                      <a:cubicBezTo>
                        <a:pt x="2620" y="24044"/>
                        <a:pt x="-1491" y="16696"/>
                        <a:pt x="503" y="9596"/>
                      </a:cubicBezTo>
                      <a:cubicBezTo>
                        <a:pt x="2495" y="2620"/>
                        <a:pt x="9969" y="-1490"/>
                        <a:pt x="17068" y="503"/>
                      </a:cubicBezTo>
                      <a:cubicBezTo>
                        <a:pt x="24168" y="2496"/>
                        <a:pt x="28279" y="9969"/>
                        <a:pt x="26286" y="16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4" name="Freeform 5577">
                  <a:extLst>
                    <a:ext uri="{FF2B5EF4-FFF2-40B4-BE49-F238E27FC236}">
                      <a16:creationId xmlns:a16="http://schemas.microsoft.com/office/drawing/2014/main" id="{979B4D47-40B9-9657-27E3-ACB0F1742FF9}"/>
                    </a:ext>
                  </a:extLst>
                </p:cNvPr>
                <p:cNvSpPr/>
                <p:nvPr/>
              </p:nvSpPr>
              <p:spPr>
                <a:xfrm>
                  <a:off x="10616050" y="5910834"/>
                  <a:ext cx="15196" cy="49823"/>
                </a:xfrm>
                <a:custGeom>
                  <a:avLst/>
                  <a:gdLst>
                    <a:gd name="connsiteX0" fmla="*/ 0 w 15196"/>
                    <a:gd name="connsiteY0" fmla="*/ 49823 h 49823"/>
                    <a:gd name="connsiteX1" fmla="*/ 7100 w 15196"/>
                    <a:gd name="connsiteY1" fmla="*/ 32385 h 49823"/>
                    <a:gd name="connsiteX2" fmla="*/ 8595 w 15196"/>
                    <a:gd name="connsiteY2" fmla="*/ 15071 h 49823"/>
                    <a:gd name="connsiteX3" fmla="*/ 15196 w 15196"/>
                    <a:gd name="connsiteY3" fmla="*/ 0 h 49823"/>
                  </a:gdLst>
                  <a:ahLst/>
                  <a:cxnLst>
                    <a:cxn ang="0">
                      <a:pos x="connsiteX0" y="connsiteY0"/>
                    </a:cxn>
                    <a:cxn ang="0">
                      <a:pos x="connsiteX1" y="connsiteY1"/>
                    </a:cxn>
                    <a:cxn ang="0">
                      <a:pos x="connsiteX2" y="connsiteY2"/>
                    </a:cxn>
                    <a:cxn ang="0">
                      <a:pos x="connsiteX3" y="connsiteY3"/>
                    </a:cxn>
                  </a:cxnLst>
                  <a:rect l="l" t="t" r="r" b="b"/>
                  <a:pathLst>
                    <a:path w="15196" h="49823">
                      <a:moveTo>
                        <a:pt x="0" y="49823"/>
                      </a:moveTo>
                      <a:cubicBezTo>
                        <a:pt x="4609" y="42723"/>
                        <a:pt x="6353" y="36745"/>
                        <a:pt x="7100" y="32385"/>
                      </a:cubicBezTo>
                      <a:cubicBezTo>
                        <a:pt x="8345" y="25535"/>
                        <a:pt x="7100" y="22047"/>
                        <a:pt x="8595" y="15071"/>
                      </a:cubicBezTo>
                      <a:cubicBezTo>
                        <a:pt x="10089" y="8346"/>
                        <a:pt x="12954" y="3239"/>
                        <a:pt x="151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5" name="Freeform 5578">
                  <a:extLst>
                    <a:ext uri="{FF2B5EF4-FFF2-40B4-BE49-F238E27FC236}">
                      <a16:creationId xmlns:a16="http://schemas.microsoft.com/office/drawing/2014/main" id="{7BB71897-F5F1-5A86-0EF5-252826935BDE}"/>
                    </a:ext>
                  </a:extLst>
                </p:cNvPr>
                <p:cNvSpPr/>
                <p:nvPr/>
              </p:nvSpPr>
              <p:spPr>
                <a:xfrm>
                  <a:off x="10608053" y="5913325"/>
                  <a:ext cx="13858" cy="50321"/>
                </a:xfrm>
                <a:custGeom>
                  <a:avLst/>
                  <a:gdLst>
                    <a:gd name="connsiteX0" fmla="*/ 13852 w 13858"/>
                    <a:gd name="connsiteY0" fmla="*/ 0 h 50321"/>
                    <a:gd name="connsiteX1" fmla="*/ 10489 w 13858"/>
                    <a:gd name="connsiteY1" fmla="*/ 18559 h 50321"/>
                    <a:gd name="connsiteX2" fmla="*/ 2517 w 13858"/>
                    <a:gd name="connsiteY2" fmla="*/ 34004 h 50321"/>
                    <a:gd name="connsiteX3" fmla="*/ 26 w 13858"/>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58" h="50321">
                      <a:moveTo>
                        <a:pt x="13852" y="0"/>
                      </a:moveTo>
                      <a:cubicBezTo>
                        <a:pt x="13977" y="8345"/>
                        <a:pt x="12233" y="14449"/>
                        <a:pt x="10489" y="18559"/>
                      </a:cubicBezTo>
                      <a:cubicBezTo>
                        <a:pt x="7749" y="25036"/>
                        <a:pt x="4884" y="27402"/>
                        <a:pt x="2517" y="34004"/>
                      </a:cubicBezTo>
                      <a:cubicBezTo>
                        <a:pt x="150" y="40481"/>
                        <a:pt x="-98" y="46335"/>
                        <a:pt x="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6" name="Freeform 5579">
                  <a:extLst>
                    <a:ext uri="{FF2B5EF4-FFF2-40B4-BE49-F238E27FC236}">
                      <a16:creationId xmlns:a16="http://schemas.microsoft.com/office/drawing/2014/main" id="{690427F9-993C-7477-7C9D-FBAFB8743FE2}"/>
                    </a:ext>
                  </a:extLst>
                </p:cNvPr>
                <p:cNvSpPr/>
                <p:nvPr/>
              </p:nvSpPr>
              <p:spPr>
                <a:xfrm>
                  <a:off x="10597600" y="5953303"/>
                  <a:ext cx="26242" cy="26415"/>
                </a:xfrm>
                <a:custGeom>
                  <a:avLst/>
                  <a:gdLst>
                    <a:gd name="connsiteX0" fmla="*/ 514 w 26242"/>
                    <a:gd name="connsiteY0" fmla="*/ 9596 h 26415"/>
                    <a:gd name="connsiteX1" fmla="*/ 16831 w 26242"/>
                    <a:gd name="connsiteY1" fmla="*/ 503 h 26415"/>
                    <a:gd name="connsiteX2" fmla="*/ 25674 w 26242"/>
                    <a:gd name="connsiteY2" fmla="*/ 16820 h 26415"/>
                    <a:gd name="connsiteX3" fmla="*/ 9357 w 26242"/>
                    <a:gd name="connsiteY3" fmla="*/ 25913 h 26415"/>
                    <a:gd name="connsiteX4" fmla="*/ 514 w 26242"/>
                    <a:gd name="connsiteY4" fmla="*/ 9596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15">
                      <a:moveTo>
                        <a:pt x="514" y="9596"/>
                      </a:moveTo>
                      <a:cubicBezTo>
                        <a:pt x="2507" y="2620"/>
                        <a:pt x="9855" y="-1490"/>
                        <a:pt x="16831" y="503"/>
                      </a:cubicBezTo>
                      <a:cubicBezTo>
                        <a:pt x="23806" y="2496"/>
                        <a:pt x="27792" y="9845"/>
                        <a:pt x="25674" y="16820"/>
                      </a:cubicBezTo>
                      <a:cubicBezTo>
                        <a:pt x="23557" y="23795"/>
                        <a:pt x="16333" y="27906"/>
                        <a:pt x="9357" y="25913"/>
                      </a:cubicBezTo>
                      <a:cubicBezTo>
                        <a:pt x="2507" y="23920"/>
                        <a:pt x="-1479" y="16696"/>
                        <a:pt x="514"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9" name="Graphic 2987">
                <a:extLst>
                  <a:ext uri="{FF2B5EF4-FFF2-40B4-BE49-F238E27FC236}">
                    <a16:creationId xmlns:a16="http://schemas.microsoft.com/office/drawing/2014/main" id="{C848D606-51AE-A1E0-8673-97FF414F58B5}"/>
                  </a:ext>
                </a:extLst>
              </p:cNvPr>
              <p:cNvGrpSpPr/>
              <p:nvPr/>
            </p:nvGrpSpPr>
            <p:grpSpPr>
              <a:xfrm>
                <a:off x="10625695" y="5843932"/>
                <a:ext cx="61298" cy="143958"/>
                <a:chOff x="10625695" y="5843932"/>
                <a:chExt cx="61298" cy="143958"/>
              </a:xfrm>
              <a:grpFill/>
            </p:grpSpPr>
            <p:sp>
              <p:nvSpPr>
                <p:cNvPr id="4025" name="Freeform 5581">
                  <a:extLst>
                    <a:ext uri="{FF2B5EF4-FFF2-40B4-BE49-F238E27FC236}">
                      <a16:creationId xmlns:a16="http://schemas.microsoft.com/office/drawing/2014/main" id="{17D566A8-97DE-66E5-E5CF-E9B8E2541895}"/>
                    </a:ext>
                  </a:extLst>
                </p:cNvPr>
                <p:cNvSpPr/>
                <p:nvPr/>
              </p:nvSpPr>
              <p:spPr>
                <a:xfrm>
                  <a:off x="10652670" y="5863004"/>
                  <a:ext cx="15445" cy="49823"/>
                </a:xfrm>
                <a:custGeom>
                  <a:avLst/>
                  <a:gdLst>
                    <a:gd name="connsiteX0" fmla="*/ 15445 w 15445"/>
                    <a:gd name="connsiteY0" fmla="*/ 0 h 49823"/>
                    <a:gd name="connsiteX1" fmla="*/ 8221 w 15445"/>
                    <a:gd name="connsiteY1" fmla="*/ 17438 h 49823"/>
                    <a:gd name="connsiteX2" fmla="*/ 6727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712" y="6975"/>
                        <a:pt x="8969" y="13078"/>
                        <a:pt x="8221" y="17438"/>
                      </a:cubicBezTo>
                      <a:cubicBezTo>
                        <a:pt x="6975" y="24289"/>
                        <a:pt x="8221" y="27776"/>
                        <a:pt x="6727" y="34752"/>
                      </a:cubicBezTo>
                      <a:cubicBezTo>
                        <a:pt x="5231"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6" name="Freeform 5582">
                  <a:extLst>
                    <a:ext uri="{FF2B5EF4-FFF2-40B4-BE49-F238E27FC236}">
                      <a16:creationId xmlns:a16="http://schemas.microsoft.com/office/drawing/2014/main" id="{D7D1349F-37C7-ED8D-41B0-E07092666AD8}"/>
                    </a:ext>
                  </a:extLst>
                </p:cNvPr>
                <p:cNvSpPr/>
                <p:nvPr/>
              </p:nvSpPr>
              <p:spPr>
                <a:xfrm>
                  <a:off x="10662131" y="5860264"/>
                  <a:ext cx="14231" cy="50072"/>
                </a:xfrm>
                <a:custGeom>
                  <a:avLst/>
                  <a:gdLst>
                    <a:gd name="connsiteX0" fmla="*/ 6 w 14231"/>
                    <a:gd name="connsiteY0" fmla="*/ 50072 h 50072"/>
                    <a:gd name="connsiteX1" fmla="*/ 3494 w 14231"/>
                    <a:gd name="connsiteY1" fmla="*/ 31638 h 50072"/>
                    <a:gd name="connsiteX2" fmla="*/ 11590 w 14231"/>
                    <a:gd name="connsiteY2" fmla="*/ 16317 h 50072"/>
                    <a:gd name="connsiteX3" fmla="*/ 14206 w 14231"/>
                    <a:gd name="connsiteY3" fmla="*/ 0 h 50072"/>
                  </a:gdLst>
                  <a:ahLst/>
                  <a:cxnLst>
                    <a:cxn ang="0">
                      <a:pos x="connsiteX0" y="connsiteY0"/>
                    </a:cxn>
                    <a:cxn ang="0">
                      <a:pos x="connsiteX1" y="connsiteY1"/>
                    </a:cxn>
                    <a:cxn ang="0">
                      <a:pos x="connsiteX2" y="connsiteY2"/>
                    </a:cxn>
                    <a:cxn ang="0">
                      <a:pos x="connsiteX3" y="connsiteY3"/>
                    </a:cxn>
                  </a:cxnLst>
                  <a:rect l="l" t="t" r="r" b="b"/>
                  <a:pathLst>
                    <a:path w="14231" h="50072">
                      <a:moveTo>
                        <a:pt x="6" y="50072"/>
                      </a:moveTo>
                      <a:cubicBezTo>
                        <a:pt x="-119" y="41602"/>
                        <a:pt x="1750" y="35624"/>
                        <a:pt x="3494" y="31638"/>
                      </a:cubicBezTo>
                      <a:cubicBezTo>
                        <a:pt x="6234" y="25161"/>
                        <a:pt x="9098" y="22919"/>
                        <a:pt x="11590" y="16317"/>
                      </a:cubicBezTo>
                      <a:cubicBezTo>
                        <a:pt x="14081" y="9840"/>
                        <a:pt x="14330" y="3986"/>
                        <a:pt x="14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7" name="Freeform 5583">
                  <a:extLst>
                    <a:ext uri="{FF2B5EF4-FFF2-40B4-BE49-F238E27FC236}">
                      <a16:creationId xmlns:a16="http://schemas.microsoft.com/office/drawing/2014/main" id="{141492F6-A988-447F-697A-D59B5D845FD3}"/>
                    </a:ext>
                  </a:extLst>
                </p:cNvPr>
                <p:cNvSpPr/>
                <p:nvPr/>
              </p:nvSpPr>
              <p:spPr>
                <a:xfrm>
                  <a:off x="10660209" y="5843932"/>
                  <a:ext cx="26783" cy="26579"/>
                </a:xfrm>
                <a:custGeom>
                  <a:avLst/>
                  <a:gdLst>
                    <a:gd name="connsiteX0" fmla="*/ 26216 w 26783"/>
                    <a:gd name="connsiteY0" fmla="*/ 17203 h 26579"/>
                    <a:gd name="connsiteX1" fmla="*/ 9650 w 26783"/>
                    <a:gd name="connsiteY1" fmla="*/ 26047 h 26579"/>
                    <a:gd name="connsiteX2" fmla="*/ 557 w 26783"/>
                    <a:gd name="connsiteY2" fmla="*/ 9605 h 26579"/>
                    <a:gd name="connsiteX3" fmla="*/ 17248 w 26783"/>
                    <a:gd name="connsiteY3" fmla="*/ 512 h 26579"/>
                    <a:gd name="connsiteX4" fmla="*/ 26216 w 26783"/>
                    <a:gd name="connsiteY4" fmla="*/ 1720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79">
                      <a:moveTo>
                        <a:pt x="26216" y="17203"/>
                      </a:moveTo>
                      <a:cubicBezTo>
                        <a:pt x="24099" y="24303"/>
                        <a:pt x="16750" y="28040"/>
                        <a:pt x="9650" y="26047"/>
                      </a:cubicBezTo>
                      <a:cubicBezTo>
                        <a:pt x="2550" y="24054"/>
                        <a:pt x="-1561" y="16705"/>
                        <a:pt x="557" y="9605"/>
                      </a:cubicBezTo>
                      <a:cubicBezTo>
                        <a:pt x="2675" y="2505"/>
                        <a:pt x="10024" y="-1481"/>
                        <a:pt x="17248" y="512"/>
                      </a:cubicBezTo>
                      <a:cubicBezTo>
                        <a:pt x="24347" y="2630"/>
                        <a:pt x="28333" y="10228"/>
                        <a:pt x="26216"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8" name="Freeform 5584">
                  <a:extLst>
                    <a:ext uri="{FF2B5EF4-FFF2-40B4-BE49-F238E27FC236}">
                      <a16:creationId xmlns:a16="http://schemas.microsoft.com/office/drawing/2014/main" id="{4F403404-E6F8-2A6F-62D3-D8CD0266EFA8}"/>
                    </a:ext>
                  </a:extLst>
                </p:cNvPr>
                <p:cNvSpPr/>
                <p:nvPr/>
              </p:nvSpPr>
              <p:spPr>
                <a:xfrm>
                  <a:off x="10644325" y="5919055"/>
                  <a:ext cx="15569" cy="49698"/>
                </a:xfrm>
                <a:custGeom>
                  <a:avLst/>
                  <a:gdLst>
                    <a:gd name="connsiteX0" fmla="*/ 0 w 15569"/>
                    <a:gd name="connsiteY0" fmla="*/ 49698 h 49698"/>
                    <a:gd name="connsiteX1" fmla="*/ 7225 w 15569"/>
                    <a:gd name="connsiteY1" fmla="*/ 32385 h 49698"/>
                    <a:gd name="connsiteX2" fmla="*/ 8844 w 15569"/>
                    <a:gd name="connsiteY2" fmla="*/ 15071 h 49698"/>
                    <a:gd name="connsiteX3" fmla="*/ 1557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0" y="49698"/>
                      </a:moveTo>
                      <a:cubicBezTo>
                        <a:pt x="4609" y="42723"/>
                        <a:pt x="6477" y="36620"/>
                        <a:pt x="7225" y="32385"/>
                      </a:cubicBezTo>
                      <a:cubicBezTo>
                        <a:pt x="8470" y="25534"/>
                        <a:pt x="7348" y="21922"/>
                        <a:pt x="8844" y="15071"/>
                      </a:cubicBezTo>
                      <a:cubicBezTo>
                        <a:pt x="10339" y="8346"/>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9" name="Freeform 5585">
                  <a:extLst>
                    <a:ext uri="{FF2B5EF4-FFF2-40B4-BE49-F238E27FC236}">
                      <a16:creationId xmlns:a16="http://schemas.microsoft.com/office/drawing/2014/main" id="{D87D077F-D6D3-79A9-2D3C-7B0D1BFD1C69}"/>
                    </a:ext>
                  </a:extLst>
                </p:cNvPr>
                <p:cNvSpPr/>
                <p:nvPr/>
              </p:nvSpPr>
              <p:spPr>
                <a:xfrm>
                  <a:off x="10636207" y="5921421"/>
                  <a:ext cx="14102" cy="50196"/>
                </a:xfrm>
                <a:custGeom>
                  <a:avLst/>
                  <a:gdLst>
                    <a:gd name="connsiteX0" fmla="*/ 14096 w 14102"/>
                    <a:gd name="connsiteY0" fmla="*/ 0 h 50196"/>
                    <a:gd name="connsiteX1" fmla="*/ 10734 w 14102"/>
                    <a:gd name="connsiteY1" fmla="*/ 18435 h 50196"/>
                    <a:gd name="connsiteX2" fmla="*/ 2637 w 14102"/>
                    <a:gd name="connsiteY2" fmla="*/ 33880 h 50196"/>
                    <a:gd name="connsiteX3" fmla="*/ 2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14096" y="0"/>
                      </a:moveTo>
                      <a:cubicBezTo>
                        <a:pt x="14221" y="8345"/>
                        <a:pt x="12352" y="14449"/>
                        <a:pt x="10734" y="18435"/>
                      </a:cubicBezTo>
                      <a:cubicBezTo>
                        <a:pt x="7993" y="24912"/>
                        <a:pt x="5128" y="27278"/>
                        <a:pt x="2637" y="33880"/>
                      </a:cubicBezTo>
                      <a:cubicBezTo>
                        <a:pt x="270" y="40357"/>
                        <a:pt x="-104" y="46211"/>
                        <a:pt x="2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0" name="Freeform 5586">
                  <a:extLst>
                    <a:ext uri="{FF2B5EF4-FFF2-40B4-BE49-F238E27FC236}">
                      <a16:creationId xmlns:a16="http://schemas.microsoft.com/office/drawing/2014/main" id="{D5A3F1C0-B167-091F-6EE2-7426D8EB0EFC}"/>
                    </a:ext>
                  </a:extLst>
                </p:cNvPr>
                <p:cNvSpPr/>
                <p:nvPr/>
              </p:nvSpPr>
              <p:spPr>
                <a:xfrm>
                  <a:off x="10625695" y="5961399"/>
                  <a:ext cx="26184" cy="26491"/>
                </a:xfrm>
                <a:custGeom>
                  <a:avLst/>
                  <a:gdLst>
                    <a:gd name="connsiteX0" fmla="*/ 569 w 26184"/>
                    <a:gd name="connsiteY0" fmla="*/ 9596 h 26491"/>
                    <a:gd name="connsiteX1" fmla="*/ 16886 w 26184"/>
                    <a:gd name="connsiteY1" fmla="*/ 503 h 26491"/>
                    <a:gd name="connsiteX2" fmla="*/ 25605 w 26184"/>
                    <a:gd name="connsiteY2" fmla="*/ 17069 h 26491"/>
                    <a:gd name="connsiteX3" fmla="*/ 9288 w 26184"/>
                    <a:gd name="connsiteY3" fmla="*/ 25913 h 26491"/>
                    <a:gd name="connsiteX4" fmla="*/ 569 w 26184"/>
                    <a:gd name="connsiteY4" fmla="*/ 9596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91">
                      <a:moveTo>
                        <a:pt x="569" y="9596"/>
                      </a:moveTo>
                      <a:cubicBezTo>
                        <a:pt x="2686" y="2620"/>
                        <a:pt x="9911" y="-1490"/>
                        <a:pt x="16886" y="503"/>
                      </a:cubicBezTo>
                      <a:cubicBezTo>
                        <a:pt x="23861" y="2496"/>
                        <a:pt x="27723" y="10094"/>
                        <a:pt x="25605" y="17069"/>
                      </a:cubicBezTo>
                      <a:cubicBezTo>
                        <a:pt x="23488" y="24169"/>
                        <a:pt x="16263" y="28030"/>
                        <a:pt x="9288" y="25913"/>
                      </a:cubicBezTo>
                      <a:cubicBezTo>
                        <a:pt x="2438" y="23920"/>
                        <a:pt x="-1548" y="16571"/>
                        <a:pt x="569"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0" name="Graphic 2987">
                <a:extLst>
                  <a:ext uri="{FF2B5EF4-FFF2-40B4-BE49-F238E27FC236}">
                    <a16:creationId xmlns:a16="http://schemas.microsoft.com/office/drawing/2014/main" id="{71F51DD9-1074-323F-BF6E-4EF735D27A2E}"/>
                  </a:ext>
                </a:extLst>
              </p:cNvPr>
              <p:cNvGrpSpPr/>
              <p:nvPr/>
            </p:nvGrpSpPr>
            <p:grpSpPr>
              <a:xfrm>
                <a:off x="10653709" y="5852663"/>
                <a:ext cx="61931" cy="143688"/>
                <a:chOff x="10653709" y="5852663"/>
                <a:chExt cx="61931" cy="143688"/>
              </a:xfrm>
              <a:grpFill/>
            </p:grpSpPr>
            <p:sp>
              <p:nvSpPr>
                <p:cNvPr id="4019" name="Freeform 5588">
                  <a:extLst>
                    <a:ext uri="{FF2B5EF4-FFF2-40B4-BE49-F238E27FC236}">
                      <a16:creationId xmlns:a16="http://schemas.microsoft.com/office/drawing/2014/main" id="{59EED413-746C-DCB8-5092-B9D4D262C2CA}"/>
                    </a:ext>
                  </a:extLst>
                </p:cNvPr>
                <p:cNvSpPr/>
                <p:nvPr/>
              </p:nvSpPr>
              <p:spPr>
                <a:xfrm>
                  <a:off x="10680820" y="5871723"/>
                  <a:ext cx="15819" cy="49698"/>
                </a:xfrm>
                <a:custGeom>
                  <a:avLst/>
                  <a:gdLst>
                    <a:gd name="connsiteX0" fmla="*/ 15819 w 15819"/>
                    <a:gd name="connsiteY0" fmla="*/ 0 h 49698"/>
                    <a:gd name="connsiteX1" fmla="*/ 8470 w 15819"/>
                    <a:gd name="connsiteY1" fmla="*/ 17313 h 49698"/>
                    <a:gd name="connsiteX2" fmla="*/ 6851 w 15819"/>
                    <a:gd name="connsiteY2" fmla="*/ 34627 h 49698"/>
                    <a:gd name="connsiteX3" fmla="*/ 0 w 1581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0"/>
                      </a:moveTo>
                      <a:cubicBezTo>
                        <a:pt x="11086" y="6975"/>
                        <a:pt x="9342" y="13078"/>
                        <a:pt x="8470" y="17313"/>
                      </a:cubicBezTo>
                      <a:cubicBezTo>
                        <a:pt x="7225" y="24164"/>
                        <a:pt x="8345" y="27776"/>
                        <a:pt x="6851" y="34627"/>
                      </a:cubicBezTo>
                      <a:cubicBezTo>
                        <a:pt x="5356" y="41353"/>
                        <a:pt x="2367" y="46460"/>
                        <a:pt x="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0" name="Freeform 5589">
                  <a:extLst>
                    <a:ext uri="{FF2B5EF4-FFF2-40B4-BE49-F238E27FC236}">
                      <a16:creationId xmlns:a16="http://schemas.microsoft.com/office/drawing/2014/main" id="{665CECE9-9FCA-0541-5940-680A11082FAA}"/>
                    </a:ext>
                  </a:extLst>
                </p:cNvPr>
                <p:cNvSpPr/>
                <p:nvPr/>
              </p:nvSpPr>
              <p:spPr>
                <a:xfrm>
                  <a:off x="10690411" y="5868983"/>
                  <a:ext cx="14349" cy="50072"/>
                </a:xfrm>
                <a:custGeom>
                  <a:avLst/>
                  <a:gdLst>
                    <a:gd name="connsiteX0" fmla="*/ 0 w 14349"/>
                    <a:gd name="connsiteY0" fmla="*/ 50072 h 50072"/>
                    <a:gd name="connsiteX1" fmla="*/ 3487 w 14349"/>
                    <a:gd name="connsiteY1" fmla="*/ 31637 h 50072"/>
                    <a:gd name="connsiteX2" fmla="*/ 11708 w 14349"/>
                    <a:gd name="connsiteY2" fmla="*/ 16317 h 50072"/>
                    <a:gd name="connsiteX3" fmla="*/ 14324 w 14349"/>
                    <a:gd name="connsiteY3" fmla="*/ 0 h 50072"/>
                  </a:gdLst>
                  <a:ahLst/>
                  <a:cxnLst>
                    <a:cxn ang="0">
                      <a:pos x="connsiteX0" y="connsiteY0"/>
                    </a:cxn>
                    <a:cxn ang="0">
                      <a:pos x="connsiteX1" y="connsiteY1"/>
                    </a:cxn>
                    <a:cxn ang="0">
                      <a:pos x="connsiteX2" y="connsiteY2"/>
                    </a:cxn>
                    <a:cxn ang="0">
                      <a:pos x="connsiteX3" y="connsiteY3"/>
                    </a:cxn>
                  </a:cxnLst>
                  <a:rect l="l" t="t" r="r" b="b"/>
                  <a:pathLst>
                    <a:path w="14349" h="50072">
                      <a:moveTo>
                        <a:pt x="0" y="50072"/>
                      </a:moveTo>
                      <a:cubicBezTo>
                        <a:pt x="0" y="41602"/>
                        <a:pt x="1868" y="35623"/>
                        <a:pt x="3487" y="31637"/>
                      </a:cubicBezTo>
                      <a:cubicBezTo>
                        <a:pt x="6228" y="25161"/>
                        <a:pt x="9217" y="22919"/>
                        <a:pt x="11708" y="16317"/>
                      </a:cubicBezTo>
                      <a:cubicBezTo>
                        <a:pt x="14199" y="9840"/>
                        <a:pt x="14448" y="3986"/>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1" name="Freeform 5590">
                  <a:extLst>
                    <a:ext uri="{FF2B5EF4-FFF2-40B4-BE49-F238E27FC236}">
                      <a16:creationId xmlns:a16="http://schemas.microsoft.com/office/drawing/2014/main" id="{36F85799-D143-A35A-E103-3987BCC7C84F}"/>
                    </a:ext>
                  </a:extLst>
                </p:cNvPr>
                <p:cNvSpPr/>
                <p:nvPr/>
              </p:nvSpPr>
              <p:spPr>
                <a:xfrm>
                  <a:off x="10688847" y="5852663"/>
                  <a:ext cx="26793" cy="26661"/>
                </a:xfrm>
                <a:custGeom>
                  <a:avLst/>
                  <a:gdLst>
                    <a:gd name="connsiteX0" fmla="*/ 26226 w 26793"/>
                    <a:gd name="connsiteY0" fmla="*/ 17316 h 26661"/>
                    <a:gd name="connsiteX1" fmla="*/ 9535 w 26793"/>
                    <a:gd name="connsiteY1" fmla="*/ 26036 h 26661"/>
                    <a:gd name="connsiteX2" fmla="*/ 568 w 26793"/>
                    <a:gd name="connsiteY2" fmla="*/ 9345 h 26661"/>
                    <a:gd name="connsiteX3" fmla="*/ 17259 w 26793"/>
                    <a:gd name="connsiteY3" fmla="*/ 626 h 26661"/>
                    <a:gd name="connsiteX4" fmla="*/ 26226 w 26793"/>
                    <a:gd name="connsiteY4" fmla="*/ 17316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661">
                      <a:moveTo>
                        <a:pt x="26226" y="17316"/>
                      </a:moveTo>
                      <a:cubicBezTo>
                        <a:pt x="24109" y="24292"/>
                        <a:pt x="16635" y="28278"/>
                        <a:pt x="9535" y="26036"/>
                      </a:cubicBezTo>
                      <a:cubicBezTo>
                        <a:pt x="2436" y="23793"/>
                        <a:pt x="-1550" y="16444"/>
                        <a:pt x="568" y="9345"/>
                      </a:cubicBezTo>
                      <a:cubicBezTo>
                        <a:pt x="2685" y="2369"/>
                        <a:pt x="10159" y="-1616"/>
                        <a:pt x="17259" y="626"/>
                      </a:cubicBezTo>
                      <a:cubicBezTo>
                        <a:pt x="24358" y="2868"/>
                        <a:pt x="28344" y="10216"/>
                        <a:pt x="26226"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2" name="Freeform 5591">
                  <a:extLst>
                    <a:ext uri="{FF2B5EF4-FFF2-40B4-BE49-F238E27FC236}">
                      <a16:creationId xmlns:a16="http://schemas.microsoft.com/office/drawing/2014/main" id="{AD7D6979-56DF-C447-0D8B-2ED2BB06DB87}"/>
                    </a:ext>
                  </a:extLst>
                </p:cNvPr>
                <p:cNvSpPr/>
                <p:nvPr/>
              </p:nvSpPr>
              <p:spPr>
                <a:xfrm>
                  <a:off x="10672226" y="5927774"/>
                  <a:ext cx="15943" cy="49698"/>
                </a:xfrm>
                <a:custGeom>
                  <a:avLst/>
                  <a:gdLst>
                    <a:gd name="connsiteX0" fmla="*/ 0 w 15943"/>
                    <a:gd name="connsiteY0" fmla="*/ 49698 h 49698"/>
                    <a:gd name="connsiteX1" fmla="*/ 7349 w 15943"/>
                    <a:gd name="connsiteY1" fmla="*/ 32385 h 49698"/>
                    <a:gd name="connsiteX2" fmla="*/ 9092 w 15943"/>
                    <a:gd name="connsiteY2" fmla="*/ 15071 h 49698"/>
                    <a:gd name="connsiteX3" fmla="*/ 15944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8"/>
                      </a:moveTo>
                      <a:cubicBezTo>
                        <a:pt x="4733" y="42723"/>
                        <a:pt x="6477" y="36620"/>
                        <a:pt x="7349" y="32385"/>
                      </a:cubicBezTo>
                      <a:cubicBezTo>
                        <a:pt x="8595" y="25534"/>
                        <a:pt x="7473" y="21922"/>
                        <a:pt x="9092" y="15071"/>
                      </a:cubicBezTo>
                      <a:cubicBezTo>
                        <a:pt x="10587" y="8345"/>
                        <a:pt x="13577" y="3238"/>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3" name="Freeform 5592">
                  <a:extLst>
                    <a:ext uri="{FF2B5EF4-FFF2-40B4-BE49-F238E27FC236}">
                      <a16:creationId xmlns:a16="http://schemas.microsoft.com/office/drawing/2014/main" id="{5D94C074-4009-3475-7EF3-8C27C00B6CA4}"/>
                    </a:ext>
                  </a:extLst>
                </p:cNvPr>
                <p:cNvSpPr/>
                <p:nvPr/>
              </p:nvSpPr>
              <p:spPr>
                <a:xfrm>
                  <a:off x="10664129" y="5930016"/>
                  <a:ext cx="14449" cy="50072"/>
                </a:xfrm>
                <a:custGeom>
                  <a:avLst/>
                  <a:gdLst>
                    <a:gd name="connsiteX0" fmla="*/ 14449 w 14449"/>
                    <a:gd name="connsiteY0" fmla="*/ 0 h 50072"/>
                    <a:gd name="connsiteX1" fmla="*/ 10961 w 14449"/>
                    <a:gd name="connsiteY1" fmla="*/ 18434 h 50072"/>
                    <a:gd name="connsiteX2" fmla="*/ 2741 w 14449"/>
                    <a:gd name="connsiteY2" fmla="*/ 33755 h 50072"/>
                    <a:gd name="connsiteX3" fmla="*/ 0 w 144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0"/>
                      </a:moveTo>
                      <a:cubicBezTo>
                        <a:pt x="14449" y="8470"/>
                        <a:pt x="12580" y="14449"/>
                        <a:pt x="10961" y="18434"/>
                      </a:cubicBezTo>
                      <a:cubicBezTo>
                        <a:pt x="8221" y="24912"/>
                        <a:pt x="5357" y="27153"/>
                        <a:pt x="2741" y="33755"/>
                      </a:cubicBezTo>
                      <a:cubicBezTo>
                        <a:pt x="249"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4" name="Freeform 5593">
                  <a:extLst>
                    <a:ext uri="{FF2B5EF4-FFF2-40B4-BE49-F238E27FC236}">
                      <a16:creationId xmlns:a16="http://schemas.microsoft.com/office/drawing/2014/main" id="{6085A1FE-1213-740B-8105-D23B30D63E93}"/>
                    </a:ext>
                  </a:extLst>
                </p:cNvPr>
                <p:cNvSpPr/>
                <p:nvPr/>
              </p:nvSpPr>
              <p:spPr>
                <a:xfrm>
                  <a:off x="10653709" y="5969804"/>
                  <a:ext cx="26118" cy="26546"/>
                </a:xfrm>
                <a:custGeom>
                  <a:avLst/>
                  <a:gdLst>
                    <a:gd name="connsiteX0" fmla="*/ 580 w 26118"/>
                    <a:gd name="connsiteY0" fmla="*/ 9412 h 26546"/>
                    <a:gd name="connsiteX1" fmla="*/ 16897 w 26118"/>
                    <a:gd name="connsiteY1" fmla="*/ 568 h 26546"/>
                    <a:gd name="connsiteX2" fmla="*/ 25492 w 26118"/>
                    <a:gd name="connsiteY2" fmla="*/ 17135 h 26546"/>
                    <a:gd name="connsiteX3" fmla="*/ 9175 w 26118"/>
                    <a:gd name="connsiteY3" fmla="*/ 25978 h 26546"/>
                    <a:gd name="connsiteX4" fmla="*/ 580 w 26118"/>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8" h="26545">
                      <a:moveTo>
                        <a:pt x="580" y="9412"/>
                      </a:moveTo>
                      <a:cubicBezTo>
                        <a:pt x="2697" y="2437"/>
                        <a:pt x="10047" y="-1549"/>
                        <a:pt x="16897" y="568"/>
                      </a:cubicBezTo>
                      <a:cubicBezTo>
                        <a:pt x="23748" y="2686"/>
                        <a:pt x="27734" y="10160"/>
                        <a:pt x="25492" y="17135"/>
                      </a:cubicBezTo>
                      <a:cubicBezTo>
                        <a:pt x="23374" y="24110"/>
                        <a:pt x="16025" y="28095"/>
                        <a:pt x="9175" y="25978"/>
                      </a:cubicBezTo>
                      <a:cubicBezTo>
                        <a:pt x="2324" y="23861"/>
                        <a:pt x="-1537" y="16512"/>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1" name="Graphic 2987">
                <a:extLst>
                  <a:ext uri="{FF2B5EF4-FFF2-40B4-BE49-F238E27FC236}">
                    <a16:creationId xmlns:a16="http://schemas.microsoft.com/office/drawing/2014/main" id="{11DA0485-94D6-BAF9-39C4-542C408784FF}"/>
                  </a:ext>
                </a:extLst>
              </p:cNvPr>
              <p:cNvGrpSpPr/>
              <p:nvPr/>
            </p:nvGrpSpPr>
            <p:grpSpPr>
              <a:xfrm>
                <a:off x="10681610" y="5861677"/>
                <a:ext cx="62611" cy="143392"/>
                <a:chOff x="10681610" y="5861677"/>
                <a:chExt cx="62611" cy="143392"/>
              </a:xfrm>
              <a:grpFill/>
            </p:grpSpPr>
            <p:sp>
              <p:nvSpPr>
                <p:cNvPr id="4013" name="Freeform 5595">
                  <a:extLst>
                    <a:ext uri="{FF2B5EF4-FFF2-40B4-BE49-F238E27FC236}">
                      <a16:creationId xmlns:a16="http://schemas.microsoft.com/office/drawing/2014/main" id="{6CA9F757-531C-4B16-6710-7406FD00FF3F}"/>
                    </a:ext>
                  </a:extLst>
                </p:cNvPr>
                <p:cNvSpPr/>
                <p:nvPr/>
              </p:nvSpPr>
              <p:spPr>
                <a:xfrm>
                  <a:off x="10709220" y="5880567"/>
                  <a:ext cx="16067" cy="49574"/>
                </a:xfrm>
                <a:custGeom>
                  <a:avLst/>
                  <a:gdLst>
                    <a:gd name="connsiteX0" fmla="*/ 16068 w 16067"/>
                    <a:gd name="connsiteY0" fmla="*/ 0 h 49574"/>
                    <a:gd name="connsiteX1" fmla="*/ 8594 w 16067"/>
                    <a:gd name="connsiteY1" fmla="*/ 17313 h 49574"/>
                    <a:gd name="connsiteX2" fmla="*/ 6851 w 16067"/>
                    <a:gd name="connsiteY2" fmla="*/ 34627 h 49574"/>
                    <a:gd name="connsiteX3" fmla="*/ 0 w 16067"/>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067" h="49574">
                      <a:moveTo>
                        <a:pt x="16068" y="0"/>
                      </a:moveTo>
                      <a:cubicBezTo>
                        <a:pt x="11334" y="6975"/>
                        <a:pt x="9466" y="12954"/>
                        <a:pt x="8594" y="17313"/>
                      </a:cubicBezTo>
                      <a:cubicBezTo>
                        <a:pt x="7348" y="24164"/>
                        <a:pt x="8470" y="27776"/>
                        <a:pt x="6851" y="34627"/>
                      </a:cubicBezTo>
                      <a:cubicBezTo>
                        <a:pt x="5231"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4" name="Freeform 5596">
                  <a:extLst>
                    <a:ext uri="{FF2B5EF4-FFF2-40B4-BE49-F238E27FC236}">
                      <a16:creationId xmlns:a16="http://schemas.microsoft.com/office/drawing/2014/main" id="{4FC65231-D25E-1047-84AE-0FB6B8336744}"/>
                    </a:ext>
                  </a:extLst>
                </p:cNvPr>
                <p:cNvSpPr/>
                <p:nvPr/>
              </p:nvSpPr>
              <p:spPr>
                <a:xfrm>
                  <a:off x="10718810" y="5877702"/>
                  <a:ext cx="14718" cy="50072"/>
                </a:xfrm>
                <a:custGeom>
                  <a:avLst/>
                  <a:gdLst>
                    <a:gd name="connsiteX0" fmla="*/ 0 w 14718"/>
                    <a:gd name="connsiteY0" fmla="*/ 50072 h 50072"/>
                    <a:gd name="connsiteX1" fmla="*/ 3613 w 14718"/>
                    <a:gd name="connsiteY1" fmla="*/ 31638 h 50072"/>
                    <a:gd name="connsiteX2" fmla="*/ 11958 w 14718"/>
                    <a:gd name="connsiteY2" fmla="*/ 16317 h 50072"/>
                    <a:gd name="connsiteX3" fmla="*/ 14698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0" y="50072"/>
                      </a:moveTo>
                      <a:cubicBezTo>
                        <a:pt x="0" y="41602"/>
                        <a:pt x="1869" y="35624"/>
                        <a:pt x="3613" y="31638"/>
                      </a:cubicBezTo>
                      <a:cubicBezTo>
                        <a:pt x="6477" y="25161"/>
                        <a:pt x="9342" y="22919"/>
                        <a:pt x="11958" y="16317"/>
                      </a:cubicBezTo>
                      <a:cubicBezTo>
                        <a:pt x="14449" y="9840"/>
                        <a:pt x="14822" y="3986"/>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5" name="Freeform 5597">
                  <a:extLst>
                    <a:ext uri="{FF2B5EF4-FFF2-40B4-BE49-F238E27FC236}">
                      <a16:creationId xmlns:a16="http://schemas.microsoft.com/office/drawing/2014/main" id="{AB6CA4FB-E0C7-D889-4C42-A10B8955868D}"/>
                    </a:ext>
                  </a:extLst>
                </p:cNvPr>
                <p:cNvSpPr/>
                <p:nvPr/>
              </p:nvSpPr>
              <p:spPr>
                <a:xfrm>
                  <a:off x="10717438" y="5861677"/>
                  <a:ext cx="26783" cy="26444"/>
                </a:xfrm>
                <a:custGeom>
                  <a:avLst/>
                  <a:gdLst>
                    <a:gd name="connsiteX0" fmla="*/ 26159 w 26783"/>
                    <a:gd name="connsiteY0" fmla="*/ 17146 h 26444"/>
                    <a:gd name="connsiteX1" fmla="*/ 9469 w 26783"/>
                    <a:gd name="connsiteY1" fmla="*/ 25865 h 26444"/>
                    <a:gd name="connsiteX2" fmla="*/ 625 w 26783"/>
                    <a:gd name="connsiteY2" fmla="*/ 9299 h 26444"/>
                    <a:gd name="connsiteX3" fmla="*/ 17316 w 26783"/>
                    <a:gd name="connsiteY3" fmla="*/ 580 h 26444"/>
                    <a:gd name="connsiteX4" fmla="*/ 26159 w 26783"/>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444">
                      <a:moveTo>
                        <a:pt x="26159" y="17146"/>
                      </a:moveTo>
                      <a:cubicBezTo>
                        <a:pt x="23917" y="24121"/>
                        <a:pt x="16444" y="27982"/>
                        <a:pt x="9469" y="25865"/>
                      </a:cubicBezTo>
                      <a:cubicBezTo>
                        <a:pt x="2369" y="23623"/>
                        <a:pt x="-1617" y="16274"/>
                        <a:pt x="625" y="9299"/>
                      </a:cubicBezTo>
                      <a:cubicBezTo>
                        <a:pt x="2742" y="2323"/>
                        <a:pt x="10216" y="-1538"/>
                        <a:pt x="17316" y="580"/>
                      </a:cubicBezTo>
                      <a:cubicBezTo>
                        <a:pt x="24416" y="2697"/>
                        <a:pt x="28401" y="10170"/>
                        <a:pt x="2615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6" name="Freeform 5598">
                  <a:extLst>
                    <a:ext uri="{FF2B5EF4-FFF2-40B4-BE49-F238E27FC236}">
                      <a16:creationId xmlns:a16="http://schemas.microsoft.com/office/drawing/2014/main" id="{0BB4E5F2-47D4-B7E4-43A5-CBF7AA332C3E}"/>
                    </a:ext>
                  </a:extLst>
                </p:cNvPr>
                <p:cNvSpPr/>
                <p:nvPr/>
              </p:nvSpPr>
              <p:spPr>
                <a:xfrm>
                  <a:off x="10700251" y="5936493"/>
                  <a:ext cx="16192" cy="49574"/>
                </a:xfrm>
                <a:custGeom>
                  <a:avLst/>
                  <a:gdLst>
                    <a:gd name="connsiteX0" fmla="*/ 0 w 16192"/>
                    <a:gd name="connsiteY0" fmla="*/ 49574 h 49574"/>
                    <a:gd name="connsiteX1" fmla="*/ 7473 w 16192"/>
                    <a:gd name="connsiteY1" fmla="*/ 32260 h 49574"/>
                    <a:gd name="connsiteX2" fmla="*/ 9342 w 16192"/>
                    <a:gd name="connsiteY2" fmla="*/ 14947 h 49574"/>
                    <a:gd name="connsiteX3" fmla="*/ 16192 w 16192"/>
                    <a:gd name="connsiteY3" fmla="*/ 0 h 49574"/>
                  </a:gdLst>
                  <a:ahLst/>
                  <a:cxnLst>
                    <a:cxn ang="0">
                      <a:pos x="connsiteX0" y="connsiteY0"/>
                    </a:cxn>
                    <a:cxn ang="0">
                      <a:pos x="connsiteX1" y="connsiteY1"/>
                    </a:cxn>
                    <a:cxn ang="0">
                      <a:pos x="connsiteX2" y="connsiteY2"/>
                    </a:cxn>
                    <a:cxn ang="0">
                      <a:pos x="connsiteX3" y="connsiteY3"/>
                    </a:cxn>
                  </a:cxnLst>
                  <a:rect l="l" t="t" r="r" b="b"/>
                  <a:pathLst>
                    <a:path w="16192" h="49574">
                      <a:moveTo>
                        <a:pt x="0" y="49574"/>
                      </a:moveTo>
                      <a:cubicBezTo>
                        <a:pt x="4733" y="42599"/>
                        <a:pt x="6602" y="36620"/>
                        <a:pt x="7473" y="32260"/>
                      </a:cubicBezTo>
                      <a:cubicBezTo>
                        <a:pt x="8844" y="25410"/>
                        <a:pt x="7723" y="21798"/>
                        <a:pt x="9342" y="14947"/>
                      </a:cubicBezTo>
                      <a:cubicBezTo>
                        <a:pt x="10961" y="8221"/>
                        <a:pt x="13950" y="3114"/>
                        <a:pt x="16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7" name="Freeform 5599">
                  <a:extLst>
                    <a:ext uri="{FF2B5EF4-FFF2-40B4-BE49-F238E27FC236}">
                      <a16:creationId xmlns:a16="http://schemas.microsoft.com/office/drawing/2014/main" id="{895C1729-4800-ECA4-9DA7-1FA57F895C9B}"/>
                    </a:ext>
                  </a:extLst>
                </p:cNvPr>
                <p:cNvSpPr/>
                <p:nvPr/>
              </p:nvSpPr>
              <p:spPr>
                <a:xfrm>
                  <a:off x="10692134" y="5938735"/>
                  <a:ext cx="14594" cy="50072"/>
                </a:xfrm>
                <a:custGeom>
                  <a:avLst/>
                  <a:gdLst>
                    <a:gd name="connsiteX0" fmla="*/ 14595 w 14594"/>
                    <a:gd name="connsiteY0" fmla="*/ 0 h 50072"/>
                    <a:gd name="connsiteX1" fmla="*/ 10982 w 14594"/>
                    <a:gd name="connsiteY1" fmla="*/ 18435 h 50072"/>
                    <a:gd name="connsiteX2" fmla="*/ 2761 w 14594"/>
                    <a:gd name="connsiteY2" fmla="*/ 33755 h 50072"/>
                    <a:gd name="connsiteX3" fmla="*/ 21 w 1459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4" h="50072">
                      <a:moveTo>
                        <a:pt x="14595" y="0"/>
                      </a:moveTo>
                      <a:cubicBezTo>
                        <a:pt x="14595" y="8470"/>
                        <a:pt x="12726" y="14449"/>
                        <a:pt x="10982" y="18435"/>
                      </a:cubicBezTo>
                      <a:cubicBezTo>
                        <a:pt x="8242" y="24912"/>
                        <a:pt x="5253" y="27154"/>
                        <a:pt x="2761" y="33755"/>
                      </a:cubicBezTo>
                      <a:cubicBezTo>
                        <a:pt x="270" y="40232"/>
                        <a:pt x="-103"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8" name="Freeform 5600">
                  <a:extLst>
                    <a:ext uri="{FF2B5EF4-FFF2-40B4-BE49-F238E27FC236}">
                      <a16:creationId xmlns:a16="http://schemas.microsoft.com/office/drawing/2014/main" id="{F1C0B074-D328-270A-2F85-D104B9E8344B}"/>
                    </a:ext>
                  </a:extLst>
                </p:cNvPr>
                <p:cNvSpPr/>
                <p:nvPr/>
              </p:nvSpPr>
              <p:spPr>
                <a:xfrm>
                  <a:off x="10681610" y="5978523"/>
                  <a:ext cx="26207" cy="26546"/>
                </a:xfrm>
                <a:custGeom>
                  <a:avLst/>
                  <a:gdLst>
                    <a:gd name="connsiteX0" fmla="*/ 580 w 26207"/>
                    <a:gd name="connsiteY0" fmla="*/ 9412 h 26546"/>
                    <a:gd name="connsiteX1" fmla="*/ 17022 w 26207"/>
                    <a:gd name="connsiteY1" fmla="*/ 568 h 26546"/>
                    <a:gd name="connsiteX2" fmla="*/ 25616 w 26207"/>
                    <a:gd name="connsiteY2" fmla="*/ 17134 h 26546"/>
                    <a:gd name="connsiteX3" fmla="*/ 9175 w 26207"/>
                    <a:gd name="connsiteY3" fmla="*/ 25978 h 26546"/>
                    <a:gd name="connsiteX4" fmla="*/ 580 w 26207"/>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7" h="26545">
                      <a:moveTo>
                        <a:pt x="580" y="9412"/>
                      </a:moveTo>
                      <a:cubicBezTo>
                        <a:pt x="2698" y="2437"/>
                        <a:pt x="10047" y="-1549"/>
                        <a:pt x="17022" y="568"/>
                      </a:cubicBezTo>
                      <a:cubicBezTo>
                        <a:pt x="23997" y="2686"/>
                        <a:pt x="27734" y="10159"/>
                        <a:pt x="25616" y="17134"/>
                      </a:cubicBezTo>
                      <a:cubicBezTo>
                        <a:pt x="23499" y="24110"/>
                        <a:pt x="16025" y="28096"/>
                        <a:pt x="9175" y="25978"/>
                      </a:cubicBezTo>
                      <a:cubicBezTo>
                        <a:pt x="2324" y="23861"/>
                        <a:pt x="-1537" y="16387"/>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2" name="Graphic 2987">
                <a:extLst>
                  <a:ext uri="{FF2B5EF4-FFF2-40B4-BE49-F238E27FC236}">
                    <a16:creationId xmlns:a16="http://schemas.microsoft.com/office/drawing/2014/main" id="{A9F1D8A5-E139-3208-D8CA-3F12B44E27C9}"/>
                  </a:ext>
                </a:extLst>
              </p:cNvPr>
              <p:cNvGrpSpPr/>
              <p:nvPr/>
            </p:nvGrpSpPr>
            <p:grpSpPr>
              <a:xfrm>
                <a:off x="10709499" y="5870521"/>
                <a:ext cx="63371" cy="143200"/>
                <a:chOff x="10709499" y="5870521"/>
                <a:chExt cx="63371" cy="143200"/>
              </a:xfrm>
              <a:grpFill/>
            </p:grpSpPr>
            <p:sp>
              <p:nvSpPr>
                <p:cNvPr id="4007" name="Freeform 5602">
                  <a:extLst>
                    <a:ext uri="{FF2B5EF4-FFF2-40B4-BE49-F238E27FC236}">
                      <a16:creationId xmlns:a16="http://schemas.microsoft.com/office/drawing/2014/main" id="{CB628D37-2814-3067-0DD9-B3ED0C12F010}"/>
                    </a:ext>
                  </a:extLst>
                </p:cNvPr>
                <p:cNvSpPr/>
                <p:nvPr/>
              </p:nvSpPr>
              <p:spPr>
                <a:xfrm>
                  <a:off x="10737494" y="5889410"/>
                  <a:ext cx="16317" cy="49449"/>
                </a:xfrm>
                <a:custGeom>
                  <a:avLst/>
                  <a:gdLst>
                    <a:gd name="connsiteX0" fmla="*/ 16317 w 16317"/>
                    <a:gd name="connsiteY0" fmla="*/ 0 h 49449"/>
                    <a:gd name="connsiteX1" fmla="*/ 8844 w 16317"/>
                    <a:gd name="connsiteY1" fmla="*/ 17189 h 49449"/>
                    <a:gd name="connsiteX2" fmla="*/ 6975 w 16317"/>
                    <a:gd name="connsiteY2" fmla="*/ 34503 h 49449"/>
                    <a:gd name="connsiteX3" fmla="*/ 0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0"/>
                      </a:moveTo>
                      <a:cubicBezTo>
                        <a:pt x="11459" y="6975"/>
                        <a:pt x="9591" y="12954"/>
                        <a:pt x="8844" y="17189"/>
                      </a:cubicBezTo>
                      <a:cubicBezTo>
                        <a:pt x="7474" y="24040"/>
                        <a:pt x="8595" y="27652"/>
                        <a:pt x="6975" y="34503"/>
                      </a:cubicBezTo>
                      <a:cubicBezTo>
                        <a:pt x="5356"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8" name="Freeform 5603">
                  <a:extLst>
                    <a:ext uri="{FF2B5EF4-FFF2-40B4-BE49-F238E27FC236}">
                      <a16:creationId xmlns:a16="http://schemas.microsoft.com/office/drawing/2014/main" id="{767706A9-197D-73CE-7ED2-C52BCC438EB8}"/>
                    </a:ext>
                  </a:extLst>
                </p:cNvPr>
                <p:cNvSpPr/>
                <p:nvPr/>
              </p:nvSpPr>
              <p:spPr>
                <a:xfrm>
                  <a:off x="10747085" y="5886670"/>
                  <a:ext cx="15092" cy="49947"/>
                </a:xfrm>
                <a:custGeom>
                  <a:avLst/>
                  <a:gdLst>
                    <a:gd name="connsiteX0" fmla="*/ 0 w 15092"/>
                    <a:gd name="connsiteY0" fmla="*/ 49948 h 49947"/>
                    <a:gd name="connsiteX1" fmla="*/ 3737 w 15092"/>
                    <a:gd name="connsiteY1" fmla="*/ 31513 h 49947"/>
                    <a:gd name="connsiteX2" fmla="*/ 12206 w 15092"/>
                    <a:gd name="connsiteY2" fmla="*/ 16193 h 49947"/>
                    <a:gd name="connsiteX3" fmla="*/ 15072 w 15092"/>
                    <a:gd name="connsiteY3" fmla="*/ 0 h 49947"/>
                  </a:gdLst>
                  <a:ahLst/>
                  <a:cxnLst>
                    <a:cxn ang="0">
                      <a:pos x="connsiteX0" y="connsiteY0"/>
                    </a:cxn>
                    <a:cxn ang="0">
                      <a:pos x="connsiteX1" y="connsiteY1"/>
                    </a:cxn>
                    <a:cxn ang="0">
                      <a:pos x="connsiteX2" y="connsiteY2"/>
                    </a:cxn>
                    <a:cxn ang="0">
                      <a:pos x="connsiteX3" y="connsiteY3"/>
                    </a:cxn>
                  </a:cxnLst>
                  <a:rect l="l" t="t" r="r" b="b"/>
                  <a:pathLst>
                    <a:path w="15092" h="49947">
                      <a:moveTo>
                        <a:pt x="0" y="49948"/>
                      </a:moveTo>
                      <a:cubicBezTo>
                        <a:pt x="0" y="41602"/>
                        <a:pt x="1993" y="35499"/>
                        <a:pt x="3737" y="31513"/>
                      </a:cubicBezTo>
                      <a:cubicBezTo>
                        <a:pt x="6601" y="25161"/>
                        <a:pt x="9591" y="22794"/>
                        <a:pt x="12206" y="16193"/>
                      </a:cubicBezTo>
                      <a:cubicBezTo>
                        <a:pt x="14822" y="9715"/>
                        <a:pt x="15196" y="3861"/>
                        <a:pt x="150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9" name="Freeform 5604">
                  <a:extLst>
                    <a:ext uri="{FF2B5EF4-FFF2-40B4-BE49-F238E27FC236}">
                      <a16:creationId xmlns:a16="http://schemas.microsoft.com/office/drawing/2014/main" id="{F8F85A3C-FDAD-E66A-D071-36C09623BAD7}"/>
                    </a:ext>
                  </a:extLst>
                </p:cNvPr>
                <p:cNvSpPr/>
                <p:nvPr/>
              </p:nvSpPr>
              <p:spPr>
                <a:xfrm>
                  <a:off x="10746008" y="5870521"/>
                  <a:ext cx="26862" cy="26444"/>
                </a:xfrm>
                <a:custGeom>
                  <a:avLst/>
                  <a:gdLst>
                    <a:gd name="connsiteX0" fmla="*/ 26238 w 26862"/>
                    <a:gd name="connsiteY0" fmla="*/ 17146 h 26444"/>
                    <a:gd name="connsiteX1" fmla="*/ 9422 w 26862"/>
                    <a:gd name="connsiteY1" fmla="*/ 25865 h 26444"/>
                    <a:gd name="connsiteX2" fmla="*/ 579 w 26862"/>
                    <a:gd name="connsiteY2" fmla="*/ 9299 h 26444"/>
                    <a:gd name="connsiteX3" fmla="*/ 17394 w 26862"/>
                    <a:gd name="connsiteY3" fmla="*/ 579 h 26444"/>
                    <a:gd name="connsiteX4" fmla="*/ 26238 w 26862"/>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26238" y="17146"/>
                      </a:moveTo>
                      <a:cubicBezTo>
                        <a:pt x="23995" y="24121"/>
                        <a:pt x="16522" y="27982"/>
                        <a:pt x="9422" y="25865"/>
                      </a:cubicBezTo>
                      <a:cubicBezTo>
                        <a:pt x="2322" y="23623"/>
                        <a:pt x="-1539" y="16274"/>
                        <a:pt x="579" y="9299"/>
                      </a:cubicBezTo>
                      <a:cubicBezTo>
                        <a:pt x="2696" y="2323"/>
                        <a:pt x="10294" y="-1538"/>
                        <a:pt x="17394" y="579"/>
                      </a:cubicBezTo>
                      <a:cubicBezTo>
                        <a:pt x="24494" y="2697"/>
                        <a:pt x="28480" y="10171"/>
                        <a:pt x="262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0" name="Freeform 5605">
                  <a:extLst>
                    <a:ext uri="{FF2B5EF4-FFF2-40B4-BE49-F238E27FC236}">
                      <a16:creationId xmlns:a16="http://schemas.microsoft.com/office/drawing/2014/main" id="{3AC2E53D-7D9C-4DF9-76BE-B14C4DF60B02}"/>
                    </a:ext>
                  </a:extLst>
                </p:cNvPr>
                <p:cNvSpPr/>
                <p:nvPr/>
              </p:nvSpPr>
              <p:spPr>
                <a:xfrm>
                  <a:off x="10728152" y="5945336"/>
                  <a:ext cx="16317" cy="49449"/>
                </a:xfrm>
                <a:custGeom>
                  <a:avLst/>
                  <a:gdLst>
                    <a:gd name="connsiteX0" fmla="*/ 0 w 16317"/>
                    <a:gd name="connsiteY0" fmla="*/ 49449 h 49449"/>
                    <a:gd name="connsiteX1" fmla="*/ 7474 w 16317"/>
                    <a:gd name="connsiteY1" fmla="*/ 32261 h 49449"/>
                    <a:gd name="connsiteX2" fmla="*/ 9342 w 16317"/>
                    <a:gd name="connsiteY2" fmla="*/ 14947 h 49449"/>
                    <a:gd name="connsiteX3" fmla="*/ 16317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0" y="49449"/>
                      </a:moveTo>
                      <a:cubicBezTo>
                        <a:pt x="4733" y="42474"/>
                        <a:pt x="6727" y="36496"/>
                        <a:pt x="7474" y="32261"/>
                      </a:cubicBezTo>
                      <a:cubicBezTo>
                        <a:pt x="8844" y="25410"/>
                        <a:pt x="7723" y="21922"/>
                        <a:pt x="9342" y="14947"/>
                      </a:cubicBezTo>
                      <a:cubicBezTo>
                        <a:pt x="10961" y="8221"/>
                        <a:pt x="13950" y="3239"/>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1" name="Freeform 5606">
                  <a:extLst>
                    <a:ext uri="{FF2B5EF4-FFF2-40B4-BE49-F238E27FC236}">
                      <a16:creationId xmlns:a16="http://schemas.microsoft.com/office/drawing/2014/main" id="{40E9DA96-6873-F4E6-A4D5-CF967074133D}"/>
                    </a:ext>
                  </a:extLst>
                </p:cNvPr>
                <p:cNvSpPr/>
                <p:nvPr/>
              </p:nvSpPr>
              <p:spPr>
                <a:xfrm>
                  <a:off x="10720056" y="5947579"/>
                  <a:ext cx="14946" cy="49947"/>
                </a:xfrm>
                <a:custGeom>
                  <a:avLst/>
                  <a:gdLst>
                    <a:gd name="connsiteX0" fmla="*/ 14946 w 14946"/>
                    <a:gd name="connsiteY0" fmla="*/ 0 h 49947"/>
                    <a:gd name="connsiteX1" fmla="*/ 11210 w 14946"/>
                    <a:gd name="connsiteY1" fmla="*/ 18434 h 49947"/>
                    <a:gd name="connsiteX2" fmla="*/ 2865 w 14946"/>
                    <a:gd name="connsiteY2" fmla="*/ 33755 h 49947"/>
                    <a:gd name="connsiteX3" fmla="*/ 0 w 14946"/>
                    <a:gd name="connsiteY3" fmla="*/ 49947 h 49947"/>
                  </a:gdLst>
                  <a:ahLst/>
                  <a:cxnLst>
                    <a:cxn ang="0">
                      <a:pos x="connsiteX0" y="connsiteY0"/>
                    </a:cxn>
                    <a:cxn ang="0">
                      <a:pos x="connsiteX1" y="connsiteY1"/>
                    </a:cxn>
                    <a:cxn ang="0">
                      <a:pos x="connsiteX2" y="connsiteY2"/>
                    </a:cxn>
                    <a:cxn ang="0">
                      <a:pos x="connsiteX3" y="connsiteY3"/>
                    </a:cxn>
                  </a:cxnLst>
                  <a:rect l="l" t="t" r="r" b="b"/>
                  <a:pathLst>
                    <a:path w="14946" h="49947">
                      <a:moveTo>
                        <a:pt x="14946" y="0"/>
                      </a:moveTo>
                      <a:cubicBezTo>
                        <a:pt x="14946" y="8345"/>
                        <a:pt x="12954" y="14449"/>
                        <a:pt x="11210" y="18434"/>
                      </a:cubicBezTo>
                      <a:cubicBezTo>
                        <a:pt x="8345" y="24787"/>
                        <a:pt x="5481" y="27153"/>
                        <a:pt x="2865" y="33755"/>
                      </a:cubicBezTo>
                      <a:cubicBezTo>
                        <a:pt x="373" y="40232"/>
                        <a:pt x="0" y="46086"/>
                        <a:pt x="0" y="4994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2" name="Freeform 5607">
                  <a:extLst>
                    <a:ext uri="{FF2B5EF4-FFF2-40B4-BE49-F238E27FC236}">
                      <a16:creationId xmlns:a16="http://schemas.microsoft.com/office/drawing/2014/main" id="{26DBA884-CAEA-A0B3-E09C-13DEB500BC27}"/>
                    </a:ext>
                  </a:extLst>
                </p:cNvPr>
                <p:cNvSpPr/>
                <p:nvPr/>
              </p:nvSpPr>
              <p:spPr>
                <a:xfrm>
                  <a:off x="10709499" y="5987185"/>
                  <a:ext cx="26153" cy="26536"/>
                </a:xfrm>
                <a:custGeom>
                  <a:avLst/>
                  <a:gdLst>
                    <a:gd name="connsiteX0" fmla="*/ 592 w 26153"/>
                    <a:gd name="connsiteY0" fmla="*/ 9345 h 26536"/>
                    <a:gd name="connsiteX1" fmla="*/ 17033 w 26153"/>
                    <a:gd name="connsiteY1" fmla="*/ 626 h 26536"/>
                    <a:gd name="connsiteX2" fmla="*/ 25503 w 26153"/>
                    <a:gd name="connsiteY2" fmla="*/ 17192 h 26536"/>
                    <a:gd name="connsiteX3" fmla="*/ 9062 w 26153"/>
                    <a:gd name="connsiteY3" fmla="*/ 25911 h 26536"/>
                    <a:gd name="connsiteX4" fmla="*/ 592 w 26153"/>
                    <a:gd name="connsiteY4" fmla="*/ 9345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2" h="26536">
                      <a:moveTo>
                        <a:pt x="592" y="9345"/>
                      </a:moveTo>
                      <a:cubicBezTo>
                        <a:pt x="2834" y="2370"/>
                        <a:pt x="10183" y="-1616"/>
                        <a:pt x="17033" y="626"/>
                      </a:cubicBezTo>
                      <a:cubicBezTo>
                        <a:pt x="24009" y="2743"/>
                        <a:pt x="27746" y="10217"/>
                        <a:pt x="25503" y="17192"/>
                      </a:cubicBezTo>
                      <a:cubicBezTo>
                        <a:pt x="23261" y="24167"/>
                        <a:pt x="15913" y="28153"/>
                        <a:pt x="9062" y="25911"/>
                      </a:cubicBezTo>
                      <a:cubicBezTo>
                        <a:pt x="2211" y="23794"/>
                        <a:pt x="-1526" y="16320"/>
                        <a:pt x="59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3" name="Graphic 2987">
                <a:extLst>
                  <a:ext uri="{FF2B5EF4-FFF2-40B4-BE49-F238E27FC236}">
                    <a16:creationId xmlns:a16="http://schemas.microsoft.com/office/drawing/2014/main" id="{4296A4C6-4ADF-99F8-9895-CCCB847DDAA0}"/>
                  </a:ext>
                </a:extLst>
              </p:cNvPr>
              <p:cNvGrpSpPr/>
              <p:nvPr/>
            </p:nvGrpSpPr>
            <p:grpSpPr>
              <a:xfrm>
                <a:off x="10737354" y="5879306"/>
                <a:ext cx="64052" cy="143158"/>
                <a:chOff x="10737354" y="5879306"/>
                <a:chExt cx="64052" cy="143158"/>
              </a:xfrm>
              <a:grpFill/>
            </p:grpSpPr>
            <p:sp>
              <p:nvSpPr>
                <p:cNvPr id="4001" name="Freeform 5609">
                  <a:extLst>
                    <a:ext uri="{FF2B5EF4-FFF2-40B4-BE49-F238E27FC236}">
                      <a16:creationId xmlns:a16="http://schemas.microsoft.com/office/drawing/2014/main" id="{3EEF6BE3-B866-69C9-39C5-FB82C9C4068A}"/>
                    </a:ext>
                  </a:extLst>
                </p:cNvPr>
                <p:cNvSpPr/>
                <p:nvPr/>
              </p:nvSpPr>
              <p:spPr>
                <a:xfrm>
                  <a:off x="10765644" y="5898253"/>
                  <a:ext cx="16691" cy="49449"/>
                </a:xfrm>
                <a:custGeom>
                  <a:avLst/>
                  <a:gdLst>
                    <a:gd name="connsiteX0" fmla="*/ 16691 w 16691"/>
                    <a:gd name="connsiteY0" fmla="*/ 0 h 49449"/>
                    <a:gd name="connsiteX1" fmla="*/ 9092 w 16691"/>
                    <a:gd name="connsiteY1" fmla="*/ 17189 h 49449"/>
                    <a:gd name="connsiteX2" fmla="*/ 7100 w 16691"/>
                    <a:gd name="connsiteY2" fmla="*/ 34503 h 49449"/>
                    <a:gd name="connsiteX3" fmla="*/ 0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0"/>
                      </a:moveTo>
                      <a:cubicBezTo>
                        <a:pt x="11833" y="6976"/>
                        <a:pt x="9964" y="12954"/>
                        <a:pt x="9092" y="17189"/>
                      </a:cubicBezTo>
                      <a:cubicBezTo>
                        <a:pt x="7723" y="24040"/>
                        <a:pt x="8844" y="27528"/>
                        <a:pt x="7100" y="34503"/>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2" name="Freeform 5610">
                  <a:extLst>
                    <a:ext uri="{FF2B5EF4-FFF2-40B4-BE49-F238E27FC236}">
                      <a16:creationId xmlns:a16="http://schemas.microsoft.com/office/drawing/2014/main" id="{812F690B-F9F3-5079-0A0E-EED1CDFCEA4E}"/>
                    </a:ext>
                  </a:extLst>
                </p:cNvPr>
                <p:cNvSpPr/>
                <p:nvPr/>
              </p:nvSpPr>
              <p:spPr>
                <a:xfrm>
                  <a:off x="10775360" y="5895513"/>
                  <a:ext cx="15320" cy="49947"/>
                </a:xfrm>
                <a:custGeom>
                  <a:avLst/>
                  <a:gdLst>
                    <a:gd name="connsiteX0" fmla="*/ 0 w 15320"/>
                    <a:gd name="connsiteY0" fmla="*/ 49948 h 49947"/>
                    <a:gd name="connsiteX1" fmla="*/ 3861 w 15320"/>
                    <a:gd name="connsiteY1" fmla="*/ 31513 h 49947"/>
                    <a:gd name="connsiteX2" fmla="*/ 12331 w 15320"/>
                    <a:gd name="connsiteY2" fmla="*/ 16317 h 49947"/>
                    <a:gd name="connsiteX3" fmla="*/ 15320 w 15320"/>
                    <a:gd name="connsiteY3" fmla="*/ 0 h 49947"/>
                  </a:gdLst>
                  <a:ahLst/>
                  <a:cxnLst>
                    <a:cxn ang="0">
                      <a:pos x="connsiteX0" y="connsiteY0"/>
                    </a:cxn>
                    <a:cxn ang="0">
                      <a:pos x="connsiteX1" y="connsiteY1"/>
                    </a:cxn>
                    <a:cxn ang="0">
                      <a:pos x="connsiteX2" y="connsiteY2"/>
                    </a:cxn>
                    <a:cxn ang="0">
                      <a:pos x="connsiteX3" y="connsiteY3"/>
                    </a:cxn>
                  </a:cxnLst>
                  <a:rect l="l" t="t" r="r" b="b"/>
                  <a:pathLst>
                    <a:path w="15319" h="49947">
                      <a:moveTo>
                        <a:pt x="0" y="49948"/>
                      </a:moveTo>
                      <a:cubicBezTo>
                        <a:pt x="124" y="41478"/>
                        <a:pt x="2117" y="35499"/>
                        <a:pt x="3861" y="31513"/>
                      </a:cubicBezTo>
                      <a:cubicBezTo>
                        <a:pt x="6726" y="25161"/>
                        <a:pt x="9715" y="22919"/>
                        <a:pt x="12331" y="16317"/>
                      </a:cubicBezTo>
                      <a:cubicBezTo>
                        <a:pt x="14946" y="9965"/>
                        <a:pt x="15320" y="3986"/>
                        <a:pt x="153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3" name="Freeform 5611">
                  <a:extLst>
                    <a:ext uri="{FF2B5EF4-FFF2-40B4-BE49-F238E27FC236}">
                      <a16:creationId xmlns:a16="http://schemas.microsoft.com/office/drawing/2014/main" id="{4F9E685D-2F74-4F0B-ACE7-E015C3153934}"/>
                    </a:ext>
                  </a:extLst>
                </p:cNvPr>
                <p:cNvSpPr/>
                <p:nvPr/>
              </p:nvSpPr>
              <p:spPr>
                <a:xfrm>
                  <a:off x="10774599" y="5879306"/>
                  <a:ext cx="26807" cy="26509"/>
                </a:xfrm>
                <a:custGeom>
                  <a:avLst/>
                  <a:gdLst>
                    <a:gd name="connsiteX0" fmla="*/ 26171 w 26807"/>
                    <a:gd name="connsiteY0" fmla="*/ 17453 h 26509"/>
                    <a:gd name="connsiteX1" fmla="*/ 9356 w 26807"/>
                    <a:gd name="connsiteY1" fmla="*/ 25798 h 26509"/>
                    <a:gd name="connsiteX2" fmla="*/ 637 w 26807"/>
                    <a:gd name="connsiteY2" fmla="*/ 9232 h 26509"/>
                    <a:gd name="connsiteX3" fmla="*/ 17452 w 26807"/>
                    <a:gd name="connsiteY3" fmla="*/ 638 h 26509"/>
                    <a:gd name="connsiteX4" fmla="*/ 26171 w 26807"/>
                    <a:gd name="connsiteY4" fmla="*/ 17453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9">
                      <a:moveTo>
                        <a:pt x="26171" y="17453"/>
                      </a:moveTo>
                      <a:cubicBezTo>
                        <a:pt x="23929" y="24428"/>
                        <a:pt x="16331" y="28165"/>
                        <a:pt x="9356" y="25798"/>
                      </a:cubicBezTo>
                      <a:cubicBezTo>
                        <a:pt x="2256" y="23557"/>
                        <a:pt x="-1605" y="16207"/>
                        <a:pt x="637" y="9232"/>
                      </a:cubicBezTo>
                      <a:cubicBezTo>
                        <a:pt x="2879" y="2257"/>
                        <a:pt x="10352" y="-1604"/>
                        <a:pt x="17452" y="638"/>
                      </a:cubicBezTo>
                      <a:cubicBezTo>
                        <a:pt x="24552" y="3004"/>
                        <a:pt x="28413" y="10602"/>
                        <a:pt x="26171" y="174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4" name="Freeform 5612">
                  <a:extLst>
                    <a:ext uri="{FF2B5EF4-FFF2-40B4-BE49-F238E27FC236}">
                      <a16:creationId xmlns:a16="http://schemas.microsoft.com/office/drawing/2014/main" id="{F832173F-96F5-3520-1EC1-5AA3F2982DBD}"/>
                    </a:ext>
                  </a:extLst>
                </p:cNvPr>
                <p:cNvSpPr/>
                <p:nvPr/>
              </p:nvSpPr>
              <p:spPr>
                <a:xfrm>
                  <a:off x="10756053" y="5954055"/>
                  <a:ext cx="16691" cy="49449"/>
                </a:xfrm>
                <a:custGeom>
                  <a:avLst/>
                  <a:gdLst>
                    <a:gd name="connsiteX0" fmla="*/ 0 w 16691"/>
                    <a:gd name="connsiteY0" fmla="*/ 49449 h 49449"/>
                    <a:gd name="connsiteX1" fmla="*/ 7599 w 16691"/>
                    <a:gd name="connsiteY1" fmla="*/ 32260 h 49449"/>
                    <a:gd name="connsiteX2" fmla="*/ 9591 w 16691"/>
                    <a:gd name="connsiteY2" fmla="*/ 14947 h 49449"/>
                    <a:gd name="connsiteX3" fmla="*/ 16691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0" y="49449"/>
                      </a:moveTo>
                      <a:cubicBezTo>
                        <a:pt x="4733" y="42599"/>
                        <a:pt x="6727" y="36495"/>
                        <a:pt x="7599" y="32260"/>
                      </a:cubicBezTo>
                      <a:cubicBezTo>
                        <a:pt x="8969" y="25410"/>
                        <a:pt x="7972" y="21798"/>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5" name="Freeform 5613">
                  <a:extLst>
                    <a:ext uri="{FF2B5EF4-FFF2-40B4-BE49-F238E27FC236}">
                      <a16:creationId xmlns:a16="http://schemas.microsoft.com/office/drawing/2014/main" id="{6DB28E05-11BD-451B-A464-9AA95155577C}"/>
                    </a:ext>
                  </a:extLst>
                </p:cNvPr>
                <p:cNvSpPr/>
                <p:nvPr/>
              </p:nvSpPr>
              <p:spPr>
                <a:xfrm>
                  <a:off x="10747957" y="5956297"/>
                  <a:ext cx="15320" cy="49947"/>
                </a:xfrm>
                <a:custGeom>
                  <a:avLst/>
                  <a:gdLst>
                    <a:gd name="connsiteX0" fmla="*/ 15320 w 15320"/>
                    <a:gd name="connsiteY0" fmla="*/ 0 h 49947"/>
                    <a:gd name="connsiteX1" fmla="*/ 11459 w 15320"/>
                    <a:gd name="connsiteY1" fmla="*/ 18435 h 49947"/>
                    <a:gd name="connsiteX2" fmla="*/ 2989 w 15320"/>
                    <a:gd name="connsiteY2" fmla="*/ 33755 h 49947"/>
                    <a:gd name="connsiteX3" fmla="*/ 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15320" y="0"/>
                      </a:moveTo>
                      <a:cubicBezTo>
                        <a:pt x="15196" y="8346"/>
                        <a:pt x="13203" y="14449"/>
                        <a:pt x="11459" y="18435"/>
                      </a:cubicBezTo>
                      <a:cubicBezTo>
                        <a:pt x="8595" y="24787"/>
                        <a:pt x="5605" y="27154"/>
                        <a:pt x="2989" y="33755"/>
                      </a:cubicBezTo>
                      <a:cubicBezTo>
                        <a:pt x="373" y="40108"/>
                        <a:pt x="0" y="46086"/>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6" name="Freeform 5614">
                  <a:extLst>
                    <a:ext uri="{FF2B5EF4-FFF2-40B4-BE49-F238E27FC236}">
                      <a16:creationId xmlns:a16="http://schemas.microsoft.com/office/drawing/2014/main" id="{2E0FB1F3-AE67-E77B-E514-2C55997C9CCF}"/>
                    </a:ext>
                  </a:extLst>
                </p:cNvPr>
                <p:cNvSpPr/>
                <p:nvPr/>
              </p:nvSpPr>
              <p:spPr>
                <a:xfrm>
                  <a:off x="10737354" y="5995950"/>
                  <a:ext cx="26201" cy="26514"/>
                </a:xfrm>
                <a:custGeom>
                  <a:avLst/>
                  <a:gdLst>
                    <a:gd name="connsiteX0" fmla="*/ 639 w 26201"/>
                    <a:gd name="connsiteY0" fmla="*/ 9299 h 26514"/>
                    <a:gd name="connsiteX1" fmla="*/ 17204 w 26201"/>
                    <a:gd name="connsiteY1" fmla="*/ 580 h 26514"/>
                    <a:gd name="connsiteX2" fmla="*/ 25550 w 26201"/>
                    <a:gd name="connsiteY2" fmla="*/ 17395 h 26514"/>
                    <a:gd name="connsiteX3" fmla="*/ 9109 w 26201"/>
                    <a:gd name="connsiteY3" fmla="*/ 25865 h 26514"/>
                    <a:gd name="connsiteX4" fmla="*/ 639 w 26201"/>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1" h="26513">
                      <a:moveTo>
                        <a:pt x="639" y="9299"/>
                      </a:moveTo>
                      <a:cubicBezTo>
                        <a:pt x="2881" y="2323"/>
                        <a:pt x="10229" y="-1538"/>
                        <a:pt x="17204" y="580"/>
                      </a:cubicBezTo>
                      <a:cubicBezTo>
                        <a:pt x="24055" y="2821"/>
                        <a:pt x="27792" y="10420"/>
                        <a:pt x="25550" y="17395"/>
                      </a:cubicBezTo>
                      <a:cubicBezTo>
                        <a:pt x="23308" y="24370"/>
                        <a:pt x="15959" y="28107"/>
                        <a:pt x="9109" y="25865"/>
                      </a:cubicBezTo>
                      <a:cubicBezTo>
                        <a:pt x="2257" y="23623"/>
                        <a:pt x="-1604" y="16274"/>
                        <a:pt x="639"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4" name="Graphic 2987">
                <a:extLst>
                  <a:ext uri="{FF2B5EF4-FFF2-40B4-BE49-F238E27FC236}">
                    <a16:creationId xmlns:a16="http://schemas.microsoft.com/office/drawing/2014/main" id="{3DF5AF96-91D4-A50D-5E83-C213BDBE2156}"/>
                  </a:ext>
                </a:extLst>
              </p:cNvPr>
              <p:cNvGrpSpPr/>
              <p:nvPr/>
            </p:nvGrpSpPr>
            <p:grpSpPr>
              <a:xfrm>
                <a:off x="10765105" y="5888824"/>
                <a:ext cx="64759" cy="142722"/>
                <a:chOff x="10765105" y="5888824"/>
                <a:chExt cx="64759" cy="142722"/>
              </a:xfrm>
              <a:grpFill/>
            </p:grpSpPr>
            <p:sp>
              <p:nvSpPr>
                <p:cNvPr id="3995" name="Freeform 5616">
                  <a:extLst>
                    <a:ext uri="{FF2B5EF4-FFF2-40B4-BE49-F238E27FC236}">
                      <a16:creationId xmlns:a16="http://schemas.microsoft.com/office/drawing/2014/main" id="{352B2B6C-03F5-7724-2E7A-B56F07F8C7D1}"/>
                    </a:ext>
                  </a:extLst>
                </p:cNvPr>
                <p:cNvSpPr/>
                <p:nvPr/>
              </p:nvSpPr>
              <p:spPr>
                <a:xfrm>
                  <a:off x="10793919" y="5907595"/>
                  <a:ext cx="16939" cy="49325"/>
                </a:xfrm>
                <a:custGeom>
                  <a:avLst/>
                  <a:gdLst>
                    <a:gd name="connsiteX0" fmla="*/ 16940 w 16939"/>
                    <a:gd name="connsiteY0" fmla="*/ 0 h 49325"/>
                    <a:gd name="connsiteX1" fmla="*/ 9217 w 16939"/>
                    <a:gd name="connsiteY1" fmla="*/ 17189 h 49325"/>
                    <a:gd name="connsiteX2" fmla="*/ 7100 w 16939"/>
                    <a:gd name="connsiteY2" fmla="*/ 34503 h 49325"/>
                    <a:gd name="connsiteX3" fmla="*/ 0 w 16939"/>
                    <a:gd name="connsiteY3" fmla="*/ 49325 h 49325"/>
                  </a:gdLst>
                  <a:ahLst/>
                  <a:cxnLst>
                    <a:cxn ang="0">
                      <a:pos x="connsiteX0" y="connsiteY0"/>
                    </a:cxn>
                    <a:cxn ang="0">
                      <a:pos x="connsiteX1" y="connsiteY1"/>
                    </a:cxn>
                    <a:cxn ang="0">
                      <a:pos x="connsiteX2" y="connsiteY2"/>
                    </a:cxn>
                    <a:cxn ang="0">
                      <a:pos x="connsiteX3" y="connsiteY3"/>
                    </a:cxn>
                  </a:cxnLst>
                  <a:rect l="l" t="t" r="r" b="b"/>
                  <a:pathLst>
                    <a:path w="16939" h="49325">
                      <a:moveTo>
                        <a:pt x="16940" y="0"/>
                      </a:moveTo>
                      <a:cubicBezTo>
                        <a:pt x="12082" y="6851"/>
                        <a:pt x="10089" y="12829"/>
                        <a:pt x="9217" y="17189"/>
                      </a:cubicBezTo>
                      <a:cubicBezTo>
                        <a:pt x="7847" y="24040"/>
                        <a:pt x="8843" y="27652"/>
                        <a:pt x="7100" y="34503"/>
                      </a:cubicBezTo>
                      <a:cubicBezTo>
                        <a:pt x="5356" y="41229"/>
                        <a:pt x="2242" y="46211"/>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6" name="Freeform 5617">
                  <a:extLst>
                    <a:ext uri="{FF2B5EF4-FFF2-40B4-BE49-F238E27FC236}">
                      <a16:creationId xmlns:a16="http://schemas.microsoft.com/office/drawing/2014/main" id="{86CD6A17-04A8-A130-C988-1CE87755F533}"/>
                    </a:ext>
                  </a:extLst>
                </p:cNvPr>
                <p:cNvSpPr/>
                <p:nvPr/>
              </p:nvSpPr>
              <p:spPr>
                <a:xfrm>
                  <a:off x="10803385" y="5905104"/>
                  <a:ext cx="15693" cy="49698"/>
                </a:xfrm>
                <a:custGeom>
                  <a:avLst/>
                  <a:gdLst>
                    <a:gd name="connsiteX0" fmla="*/ 0 w 15693"/>
                    <a:gd name="connsiteY0" fmla="*/ 49698 h 49698"/>
                    <a:gd name="connsiteX1" fmla="*/ 3985 w 15693"/>
                    <a:gd name="connsiteY1" fmla="*/ 31264 h 49698"/>
                    <a:gd name="connsiteX2" fmla="*/ 12580 w 15693"/>
                    <a:gd name="connsiteY2" fmla="*/ 16192 h 49698"/>
                    <a:gd name="connsiteX3" fmla="*/ 15694 w 15693"/>
                    <a:gd name="connsiteY3" fmla="*/ 0 h 49698"/>
                  </a:gdLst>
                  <a:ahLst/>
                  <a:cxnLst>
                    <a:cxn ang="0">
                      <a:pos x="connsiteX0" y="connsiteY0"/>
                    </a:cxn>
                    <a:cxn ang="0">
                      <a:pos x="connsiteX1" y="connsiteY1"/>
                    </a:cxn>
                    <a:cxn ang="0">
                      <a:pos x="connsiteX2" y="connsiteY2"/>
                    </a:cxn>
                    <a:cxn ang="0">
                      <a:pos x="connsiteX3" y="connsiteY3"/>
                    </a:cxn>
                  </a:cxnLst>
                  <a:rect l="l" t="t" r="r" b="b"/>
                  <a:pathLst>
                    <a:path w="15693" h="49698">
                      <a:moveTo>
                        <a:pt x="0" y="49698"/>
                      </a:moveTo>
                      <a:cubicBezTo>
                        <a:pt x="124" y="41229"/>
                        <a:pt x="2117" y="35250"/>
                        <a:pt x="3985" y="31264"/>
                      </a:cubicBezTo>
                      <a:cubicBezTo>
                        <a:pt x="6851" y="24912"/>
                        <a:pt x="9840" y="22670"/>
                        <a:pt x="12580" y="16192"/>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7" name="Freeform 5618">
                  <a:extLst>
                    <a:ext uri="{FF2B5EF4-FFF2-40B4-BE49-F238E27FC236}">
                      <a16:creationId xmlns:a16="http://schemas.microsoft.com/office/drawing/2014/main" id="{3EB19C86-FBBB-930D-6341-DEA9CC83A42D}"/>
                    </a:ext>
                  </a:extLst>
                </p:cNvPr>
                <p:cNvSpPr/>
                <p:nvPr/>
              </p:nvSpPr>
              <p:spPr>
                <a:xfrm>
                  <a:off x="10803121" y="5888824"/>
                  <a:ext cx="26743" cy="26581"/>
                </a:xfrm>
                <a:custGeom>
                  <a:avLst/>
                  <a:gdLst>
                    <a:gd name="connsiteX0" fmla="*/ 26047 w 26743"/>
                    <a:gd name="connsiteY0" fmla="*/ 17526 h 26581"/>
                    <a:gd name="connsiteX1" fmla="*/ 9232 w 26743"/>
                    <a:gd name="connsiteY1" fmla="*/ 25871 h 26581"/>
                    <a:gd name="connsiteX2" fmla="*/ 638 w 26743"/>
                    <a:gd name="connsiteY2" fmla="*/ 9056 h 26581"/>
                    <a:gd name="connsiteX3" fmla="*/ 17453 w 26743"/>
                    <a:gd name="connsiteY3" fmla="*/ 711 h 26581"/>
                    <a:gd name="connsiteX4" fmla="*/ 26047 w 26743"/>
                    <a:gd name="connsiteY4" fmla="*/ 17526 h 2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 h="26581">
                      <a:moveTo>
                        <a:pt x="26047" y="17526"/>
                      </a:moveTo>
                      <a:cubicBezTo>
                        <a:pt x="23680" y="24501"/>
                        <a:pt x="16207" y="28238"/>
                        <a:pt x="9232" y="25871"/>
                      </a:cubicBezTo>
                      <a:cubicBezTo>
                        <a:pt x="2257" y="23505"/>
                        <a:pt x="-1604" y="16031"/>
                        <a:pt x="638" y="9056"/>
                      </a:cubicBezTo>
                      <a:cubicBezTo>
                        <a:pt x="2880" y="2081"/>
                        <a:pt x="10477" y="-1656"/>
                        <a:pt x="17453" y="711"/>
                      </a:cubicBezTo>
                      <a:cubicBezTo>
                        <a:pt x="24552" y="3077"/>
                        <a:pt x="28414" y="10551"/>
                        <a:pt x="2604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8" name="Freeform 5619">
                  <a:extLst>
                    <a:ext uri="{FF2B5EF4-FFF2-40B4-BE49-F238E27FC236}">
                      <a16:creationId xmlns:a16="http://schemas.microsoft.com/office/drawing/2014/main" id="{EF511670-B84C-E438-0F20-FE3B97B9B9C1}"/>
                    </a:ext>
                  </a:extLst>
                </p:cNvPr>
                <p:cNvSpPr/>
                <p:nvPr/>
              </p:nvSpPr>
              <p:spPr>
                <a:xfrm>
                  <a:off x="10783830" y="5963397"/>
                  <a:ext cx="17064" cy="49324"/>
                </a:xfrm>
                <a:custGeom>
                  <a:avLst/>
                  <a:gdLst>
                    <a:gd name="connsiteX0" fmla="*/ 0 w 17064"/>
                    <a:gd name="connsiteY0" fmla="*/ 49325 h 49324"/>
                    <a:gd name="connsiteX1" fmla="*/ 7723 w 17064"/>
                    <a:gd name="connsiteY1" fmla="*/ 32136 h 49324"/>
                    <a:gd name="connsiteX2" fmla="*/ 9840 w 17064"/>
                    <a:gd name="connsiteY2" fmla="*/ 14822 h 49324"/>
                    <a:gd name="connsiteX3" fmla="*/ 17064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0" y="49325"/>
                      </a:moveTo>
                      <a:cubicBezTo>
                        <a:pt x="4857" y="42474"/>
                        <a:pt x="6851" y="36495"/>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9" name="Freeform 5620">
                  <a:extLst>
                    <a:ext uri="{FF2B5EF4-FFF2-40B4-BE49-F238E27FC236}">
                      <a16:creationId xmlns:a16="http://schemas.microsoft.com/office/drawing/2014/main" id="{E7E0B037-CFC8-32DC-BDA7-79BA0DC1E0B0}"/>
                    </a:ext>
                  </a:extLst>
                </p:cNvPr>
                <p:cNvSpPr/>
                <p:nvPr/>
              </p:nvSpPr>
              <p:spPr>
                <a:xfrm>
                  <a:off x="10775609" y="5965515"/>
                  <a:ext cx="15694" cy="49823"/>
                </a:xfrm>
                <a:custGeom>
                  <a:avLst/>
                  <a:gdLst>
                    <a:gd name="connsiteX0" fmla="*/ 15694 w 15694"/>
                    <a:gd name="connsiteY0" fmla="*/ 0 h 49823"/>
                    <a:gd name="connsiteX1" fmla="*/ 11708 w 15694"/>
                    <a:gd name="connsiteY1" fmla="*/ 18434 h 49823"/>
                    <a:gd name="connsiteX2" fmla="*/ 3114 w 15694"/>
                    <a:gd name="connsiteY2" fmla="*/ 33630 h 49823"/>
                    <a:gd name="connsiteX3" fmla="*/ 0 w 15694"/>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694" h="49823">
                      <a:moveTo>
                        <a:pt x="15694" y="0"/>
                      </a:moveTo>
                      <a:cubicBezTo>
                        <a:pt x="15570" y="8470"/>
                        <a:pt x="13577" y="14449"/>
                        <a:pt x="11708" y="18434"/>
                      </a:cubicBezTo>
                      <a:cubicBezTo>
                        <a:pt x="8844" y="24787"/>
                        <a:pt x="5855" y="27029"/>
                        <a:pt x="3114" y="33630"/>
                      </a:cubicBezTo>
                      <a:cubicBezTo>
                        <a:pt x="499"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0" name="Freeform 5621">
                  <a:extLst>
                    <a:ext uri="{FF2B5EF4-FFF2-40B4-BE49-F238E27FC236}">
                      <a16:creationId xmlns:a16="http://schemas.microsoft.com/office/drawing/2014/main" id="{A9709D16-B215-8A87-3576-F0646CF71F10}"/>
                    </a:ext>
                  </a:extLst>
                </p:cNvPr>
                <p:cNvSpPr/>
                <p:nvPr/>
              </p:nvSpPr>
              <p:spPr>
                <a:xfrm>
                  <a:off x="10765105" y="6005097"/>
                  <a:ext cx="26162" cy="26449"/>
                </a:xfrm>
                <a:custGeom>
                  <a:avLst/>
                  <a:gdLst>
                    <a:gd name="connsiteX0" fmla="*/ 664 w 26162"/>
                    <a:gd name="connsiteY0" fmla="*/ 9120 h 26449"/>
                    <a:gd name="connsiteX1" fmla="*/ 17230 w 26162"/>
                    <a:gd name="connsiteY1" fmla="*/ 650 h 26449"/>
                    <a:gd name="connsiteX2" fmla="*/ 25450 w 26162"/>
                    <a:gd name="connsiteY2" fmla="*/ 17341 h 26449"/>
                    <a:gd name="connsiteX3" fmla="*/ 8884 w 26162"/>
                    <a:gd name="connsiteY3" fmla="*/ 25811 h 26449"/>
                    <a:gd name="connsiteX4" fmla="*/ 664 w 26162"/>
                    <a:gd name="connsiteY4" fmla="*/ 9120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49">
                      <a:moveTo>
                        <a:pt x="664" y="9120"/>
                      </a:moveTo>
                      <a:cubicBezTo>
                        <a:pt x="2906" y="2145"/>
                        <a:pt x="10379" y="-1592"/>
                        <a:pt x="17230" y="650"/>
                      </a:cubicBezTo>
                      <a:cubicBezTo>
                        <a:pt x="24081" y="2892"/>
                        <a:pt x="27817" y="10490"/>
                        <a:pt x="25450" y="17341"/>
                      </a:cubicBezTo>
                      <a:cubicBezTo>
                        <a:pt x="23084" y="24191"/>
                        <a:pt x="15735" y="28053"/>
                        <a:pt x="8884" y="25811"/>
                      </a:cubicBezTo>
                      <a:cubicBezTo>
                        <a:pt x="2034" y="23568"/>
                        <a:pt x="-1578" y="16095"/>
                        <a:pt x="664"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5" name="Graphic 2987">
                <a:extLst>
                  <a:ext uri="{FF2B5EF4-FFF2-40B4-BE49-F238E27FC236}">
                    <a16:creationId xmlns:a16="http://schemas.microsoft.com/office/drawing/2014/main" id="{6538B41A-94E7-6AC3-1F93-524D90506C5A}"/>
                  </a:ext>
                </a:extLst>
              </p:cNvPr>
              <p:cNvGrpSpPr/>
              <p:nvPr/>
            </p:nvGrpSpPr>
            <p:grpSpPr>
              <a:xfrm>
                <a:off x="10792845" y="5898290"/>
                <a:ext cx="65432" cy="142484"/>
                <a:chOff x="10792845" y="5898290"/>
                <a:chExt cx="65432" cy="142484"/>
              </a:xfrm>
              <a:grpFill/>
            </p:grpSpPr>
            <p:sp>
              <p:nvSpPr>
                <p:cNvPr id="3989" name="Freeform 5623">
                  <a:extLst>
                    <a:ext uri="{FF2B5EF4-FFF2-40B4-BE49-F238E27FC236}">
                      <a16:creationId xmlns:a16="http://schemas.microsoft.com/office/drawing/2014/main" id="{5F8CF9C1-C168-0957-8548-89132C694F4F}"/>
                    </a:ext>
                  </a:extLst>
                </p:cNvPr>
                <p:cNvSpPr/>
                <p:nvPr/>
              </p:nvSpPr>
              <p:spPr>
                <a:xfrm>
                  <a:off x="10821944" y="5917187"/>
                  <a:ext cx="17189" cy="49200"/>
                </a:xfrm>
                <a:custGeom>
                  <a:avLst/>
                  <a:gdLst>
                    <a:gd name="connsiteX0" fmla="*/ 17189 w 17189"/>
                    <a:gd name="connsiteY0" fmla="*/ 0 h 49200"/>
                    <a:gd name="connsiteX1" fmla="*/ 9342 w 17189"/>
                    <a:gd name="connsiteY1" fmla="*/ 17064 h 49200"/>
                    <a:gd name="connsiteX2" fmla="*/ 7224 w 17189"/>
                    <a:gd name="connsiteY2" fmla="*/ 34378 h 49200"/>
                    <a:gd name="connsiteX3" fmla="*/ 0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0"/>
                      </a:moveTo>
                      <a:cubicBezTo>
                        <a:pt x="12206"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0" name="Freeform 5624">
                  <a:extLst>
                    <a:ext uri="{FF2B5EF4-FFF2-40B4-BE49-F238E27FC236}">
                      <a16:creationId xmlns:a16="http://schemas.microsoft.com/office/drawing/2014/main" id="{DEB1F11F-53E6-E627-8A13-58BC7F327CC3}"/>
                    </a:ext>
                  </a:extLst>
                </p:cNvPr>
                <p:cNvSpPr/>
                <p:nvPr/>
              </p:nvSpPr>
              <p:spPr>
                <a:xfrm>
                  <a:off x="10831535" y="5914695"/>
                  <a:ext cx="15943" cy="49574"/>
                </a:xfrm>
                <a:custGeom>
                  <a:avLst/>
                  <a:gdLst>
                    <a:gd name="connsiteX0" fmla="*/ 0 w 15943"/>
                    <a:gd name="connsiteY0" fmla="*/ 49574 h 49574"/>
                    <a:gd name="connsiteX1" fmla="*/ 4111 w 15943"/>
                    <a:gd name="connsiteY1" fmla="*/ 31264 h 49574"/>
                    <a:gd name="connsiteX2" fmla="*/ 12830 w 15943"/>
                    <a:gd name="connsiteY2" fmla="*/ 16193 h 49574"/>
                    <a:gd name="connsiteX3" fmla="*/ 15944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0" y="49574"/>
                      </a:moveTo>
                      <a:cubicBezTo>
                        <a:pt x="249" y="41104"/>
                        <a:pt x="2243" y="35125"/>
                        <a:pt x="4111" y="31264"/>
                      </a:cubicBezTo>
                      <a:cubicBezTo>
                        <a:pt x="7100" y="24912"/>
                        <a:pt x="10089" y="22670"/>
                        <a:pt x="12830" y="16193"/>
                      </a:cubicBezTo>
                      <a:cubicBezTo>
                        <a:pt x="15446" y="9840"/>
                        <a:pt x="15944" y="3986"/>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1" name="Freeform 5625">
                  <a:extLst>
                    <a:ext uri="{FF2B5EF4-FFF2-40B4-BE49-F238E27FC236}">
                      <a16:creationId xmlns:a16="http://schemas.microsoft.com/office/drawing/2014/main" id="{61F2771B-DD34-FE41-E39D-117D3F8C317B}"/>
                    </a:ext>
                  </a:extLst>
                </p:cNvPr>
                <p:cNvSpPr/>
                <p:nvPr/>
              </p:nvSpPr>
              <p:spPr>
                <a:xfrm>
                  <a:off x="10831461" y="5898290"/>
                  <a:ext cx="26816" cy="26533"/>
                </a:xfrm>
                <a:custGeom>
                  <a:avLst/>
                  <a:gdLst>
                    <a:gd name="connsiteX0" fmla="*/ 26107 w 26816"/>
                    <a:gd name="connsiteY0" fmla="*/ 17526 h 26533"/>
                    <a:gd name="connsiteX1" fmla="*/ 9167 w 26816"/>
                    <a:gd name="connsiteY1" fmla="*/ 25871 h 26533"/>
                    <a:gd name="connsiteX2" fmla="*/ 698 w 26816"/>
                    <a:gd name="connsiteY2" fmla="*/ 9056 h 26533"/>
                    <a:gd name="connsiteX3" fmla="*/ 17637 w 26816"/>
                    <a:gd name="connsiteY3" fmla="*/ 711 h 26533"/>
                    <a:gd name="connsiteX4" fmla="*/ 26107 w 26816"/>
                    <a:gd name="connsiteY4" fmla="*/ 17526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6" h="26533">
                      <a:moveTo>
                        <a:pt x="26107" y="17526"/>
                      </a:moveTo>
                      <a:cubicBezTo>
                        <a:pt x="23740" y="24501"/>
                        <a:pt x="16143" y="28113"/>
                        <a:pt x="9167" y="25871"/>
                      </a:cubicBezTo>
                      <a:cubicBezTo>
                        <a:pt x="2192" y="23505"/>
                        <a:pt x="-1669" y="16031"/>
                        <a:pt x="698" y="9056"/>
                      </a:cubicBezTo>
                      <a:cubicBezTo>
                        <a:pt x="3064" y="2081"/>
                        <a:pt x="10537" y="-1656"/>
                        <a:pt x="17637" y="711"/>
                      </a:cubicBezTo>
                      <a:cubicBezTo>
                        <a:pt x="24737" y="3077"/>
                        <a:pt x="28474" y="10675"/>
                        <a:pt x="2610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2" name="Freeform 5626">
                  <a:extLst>
                    <a:ext uri="{FF2B5EF4-FFF2-40B4-BE49-F238E27FC236}">
                      <a16:creationId xmlns:a16="http://schemas.microsoft.com/office/drawing/2014/main" id="{DF7EE3A5-6B0F-4D88-126A-3B64938FD3A2}"/>
                    </a:ext>
                  </a:extLst>
                </p:cNvPr>
                <p:cNvSpPr/>
                <p:nvPr/>
              </p:nvSpPr>
              <p:spPr>
                <a:xfrm>
                  <a:off x="10811606" y="5972864"/>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858" y="42350"/>
                        <a:pt x="6851" y="36371"/>
                        <a:pt x="7847" y="32136"/>
                      </a:cubicBezTo>
                      <a:cubicBezTo>
                        <a:pt x="9342" y="25285"/>
                        <a:pt x="8345" y="21798"/>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3" name="Freeform 5627">
                  <a:extLst>
                    <a:ext uri="{FF2B5EF4-FFF2-40B4-BE49-F238E27FC236}">
                      <a16:creationId xmlns:a16="http://schemas.microsoft.com/office/drawing/2014/main" id="{76F5F2D7-B1F6-A80C-D25C-82EC498F67D7}"/>
                    </a:ext>
                  </a:extLst>
                </p:cNvPr>
                <p:cNvSpPr/>
                <p:nvPr/>
              </p:nvSpPr>
              <p:spPr>
                <a:xfrm>
                  <a:off x="10803385" y="5974981"/>
                  <a:ext cx="15942" cy="49574"/>
                </a:xfrm>
                <a:custGeom>
                  <a:avLst/>
                  <a:gdLst>
                    <a:gd name="connsiteX0" fmla="*/ 15943 w 15942"/>
                    <a:gd name="connsiteY0" fmla="*/ 0 h 49574"/>
                    <a:gd name="connsiteX1" fmla="*/ 11832 w 15942"/>
                    <a:gd name="connsiteY1" fmla="*/ 18310 h 49574"/>
                    <a:gd name="connsiteX2" fmla="*/ 3238 w 15942"/>
                    <a:gd name="connsiteY2" fmla="*/ 33382 h 49574"/>
                    <a:gd name="connsiteX3" fmla="*/ 0 w 1594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2" h="49574">
                      <a:moveTo>
                        <a:pt x="15943" y="0"/>
                      </a:moveTo>
                      <a:cubicBezTo>
                        <a:pt x="15694" y="8470"/>
                        <a:pt x="13701" y="14449"/>
                        <a:pt x="11832" y="18310"/>
                      </a:cubicBezTo>
                      <a:cubicBezTo>
                        <a:pt x="8843" y="24663"/>
                        <a:pt x="5854" y="26905"/>
                        <a:pt x="3238" y="33382"/>
                      </a:cubicBezTo>
                      <a:cubicBezTo>
                        <a:pt x="623" y="39734"/>
                        <a:pt x="124"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4" name="Freeform 5628">
                  <a:extLst>
                    <a:ext uri="{FF2B5EF4-FFF2-40B4-BE49-F238E27FC236}">
                      <a16:creationId xmlns:a16="http://schemas.microsoft.com/office/drawing/2014/main" id="{544EA1F7-346E-1A07-1E8B-0A1D80BA436A}"/>
                    </a:ext>
                  </a:extLst>
                </p:cNvPr>
                <p:cNvSpPr/>
                <p:nvPr/>
              </p:nvSpPr>
              <p:spPr>
                <a:xfrm>
                  <a:off x="10792845" y="6014314"/>
                  <a:ext cx="26150" cy="26460"/>
                </a:xfrm>
                <a:custGeom>
                  <a:avLst/>
                  <a:gdLst>
                    <a:gd name="connsiteX0" fmla="*/ 700 w 26150"/>
                    <a:gd name="connsiteY0" fmla="*/ 9120 h 26460"/>
                    <a:gd name="connsiteX1" fmla="*/ 17266 w 26150"/>
                    <a:gd name="connsiteY1" fmla="*/ 650 h 26460"/>
                    <a:gd name="connsiteX2" fmla="*/ 25486 w 26150"/>
                    <a:gd name="connsiteY2" fmla="*/ 17341 h 26460"/>
                    <a:gd name="connsiteX3" fmla="*/ 8921 w 26150"/>
                    <a:gd name="connsiteY3" fmla="*/ 25811 h 26460"/>
                    <a:gd name="connsiteX4" fmla="*/ 700 w 26150"/>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0" h="26460">
                      <a:moveTo>
                        <a:pt x="700" y="9120"/>
                      </a:moveTo>
                      <a:cubicBezTo>
                        <a:pt x="3066" y="2145"/>
                        <a:pt x="10415" y="-1592"/>
                        <a:pt x="17266" y="650"/>
                      </a:cubicBezTo>
                      <a:cubicBezTo>
                        <a:pt x="24116" y="2892"/>
                        <a:pt x="27728" y="10490"/>
                        <a:pt x="25486" y="17341"/>
                      </a:cubicBezTo>
                      <a:cubicBezTo>
                        <a:pt x="23120" y="24316"/>
                        <a:pt x="15647" y="28052"/>
                        <a:pt x="8921" y="25811"/>
                      </a:cubicBezTo>
                      <a:cubicBezTo>
                        <a:pt x="2194" y="23569"/>
                        <a:pt x="-1667" y="16095"/>
                        <a:pt x="700"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6" name="Graphic 2987">
                <a:extLst>
                  <a:ext uri="{FF2B5EF4-FFF2-40B4-BE49-F238E27FC236}">
                    <a16:creationId xmlns:a16="http://schemas.microsoft.com/office/drawing/2014/main" id="{1BAE4A2A-98BF-BE9E-7023-36A4E20E48D8}"/>
                  </a:ext>
                </a:extLst>
              </p:cNvPr>
              <p:cNvGrpSpPr/>
              <p:nvPr/>
            </p:nvGrpSpPr>
            <p:grpSpPr>
              <a:xfrm>
                <a:off x="10820472" y="5907868"/>
                <a:ext cx="66329" cy="142309"/>
                <a:chOff x="10820472" y="5907868"/>
                <a:chExt cx="66329" cy="142309"/>
              </a:xfrm>
              <a:grpFill/>
            </p:grpSpPr>
            <p:sp>
              <p:nvSpPr>
                <p:cNvPr id="3983" name="Freeform 5630">
                  <a:extLst>
                    <a:ext uri="{FF2B5EF4-FFF2-40B4-BE49-F238E27FC236}">
                      <a16:creationId xmlns:a16="http://schemas.microsoft.com/office/drawing/2014/main" id="{66337DAF-2C52-0533-EE5C-7DA0ADE95B73}"/>
                    </a:ext>
                  </a:extLst>
                </p:cNvPr>
                <p:cNvSpPr/>
                <p:nvPr/>
              </p:nvSpPr>
              <p:spPr>
                <a:xfrm>
                  <a:off x="10849970" y="5926653"/>
                  <a:ext cx="17562" cy="49200"/>
                </a:xfrm>
                <a:custGeom>
                  <a:avLst/>
                  <a:gdLst>
                    <a:gd name="connsiteX0" fmla="*/ 17562 w 17562"/>
                    <a:gd name="connsiteY0" fmla="*/ 0 h 49200"/>
                    <a:gd name="connsiteX1" fmla="*/ 9590 w 17562"/>
                    <a:gd name="connsiteY1" fmla="*/ 17065 h 49200"/>
                    <a:gd name="connsiteX2" fmla="*/ 7348 w 17562"/>
                    <a:gd name="connsiteY2" fmla="*/ 34378 h 49200"/>
                    <a:gd name="connsiteX3" fmla="*/ 0 w 17562"/>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562" h="49200">
                      <a:moveTo>
                        <a:pt x="17562" y="0"/>
                      </a:moveTo>
                      <a:cubicBezTo>
                        <a:pt x="12580" y="6851"/>
                        <a:pt x="10587" y="12830"/>
                        <a:pt x="9590" y="17065"/>
                      </a:cubicBezTo>
                      <a:cubicBezTo>
                        <a:pt x="8096" y="23915"/>
                        <a:pt x="9092" y="27403"/>
                        <a:pt x="7348" y="34378"/>
                      </a:cubicBezTo>
                      <a:cubicBezTo>
                        <a:pt x="5605"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4" name="Freeform 5631">
                  <a:extLst>
                    <a:ext uri="{FF2B5EF4-FFF2-40B4-BE49-F238E27FC236}">
                      <a16:creationId xmlns:a16="http://schemas.microsoft.com/office/drawing/2014/main" id="{AD8ECCC3-C13F-73EE-676C-F844A6F250B5}"/>
                    </a:ext>
                  </a:extLst>
                </p:cNvPr>
                <p:cNvSpPr/>
                <p:nvPr/>
              </p:nvSpPr>
              <p:spPr>
                <a:xfrm>
                  <a:off x="10859685" y="5924162"/>
                  <a:ext cx="16317" cy="49574"/>
                </a:xfrm>
                <a:custGeom>
                  <a:avLst/>
                  <a:gdLst>
                    <a:gd name="connsiteX0" fmla="*/ 0 w 16317"/>
                    <a:gd name="connsiteY0" fmla="*/ 49574 h 49574"/>
                    <a:gd name="connsiteX1" fmla="*/ 4235 w 16317"/>
                    <a:gd name="connsiteY1" fmla="*/ 31264 h 49574"/>
                    <a:gd name="connsiteX2" fmla="*/ 13078 w 16317"/>
                    <a:gd name="connsiteY2" fmla="*/ 16192 h 49574"/>
                    <a:gd name="connsiteX3" fmla="*/ 16317 w 16317"/>
                    <a:gd name="connsiteY3" fmla="*/ 0 h 49574"/>
                  </a:gdLst>
                  <a:ahLst/>
                  <a:cxnLst>
                    <a:cxn ang="0">
                      <a:pos x="connsiteX0" y="connsiteY0"/>
                    </a:cxn>
                    <a:cxn ang="0">
                      <a:pos x="connsiteX1" y="connsiteY1"/>
                    </a:cxn>
                    <a:cxn ang="0">
                      <a:pos x="connsiteX2" y="connsiteY2"/>
                    </a:cxn>
                    <a:cxn ang="0">
                      <a:pos x="connsiteX3" y="connsiteY3"/>
                    </a:cxn>
                  </a:cxnLst>
                  <a:rect l="l" t="t" r="r" b="b"/>
                  <a:pathLst>
                    <a:path w="16317" h="49574">
                      <a:moveTo>
                        <a:pt x="0" y="49574"/>
                      </a:moveTo>
                      <a:cubicBezTo>
                        <a:pt x="249" y="41229"/>
                        <a:pt x="2367" y="35250"/>
                        <a:pt x="4235" y="31264"/>
                      </a:cubicBezTo>
                      <a:cubicBezTo>
                        <a:pt x="7225" y="24912"/>
                        <a:pt x="10214" y="22794"/>
                        <a:pt x="13078" y="16192"/>
                      </a:cubicBezTo>
                      <a:cubicBezTo>
                        <a:pt x="15819" y="9840"/>
                        <a:pt x="16317" y="3986"/>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5" name="Freeform 5632">
                  <a:extLst>
                    <a:ext uri="{FF2B5EF4-FFF2-40B4-BE49-F238E27FC236}">
                      <a16:creationId xmlns:a16="http://schemas.microsoft.com/office/drawing/2014/main" id="{C867723E-39A9-2DF1-5044-33DA2F139477}"/>
                    </a:ext>
                  </a:extLst>
                </p:cNvPr>
                <p:cNvSpPr/>
                <p:nvPr/>
              </p:nvSpPr>
              <p:spPr>
                <a:xfrm>
                  <a:off x="10859907" y="5907868"/>
                  <a:ext cx="26893" cy="26484"/>
                </a:xfrm>
                <a:custGeom>
                  <a:avLst/>
                  <a:gdLst>
                    <a:gd name="connsiteX0" fmla="*/ 26184 w 26893"/>
                    <a:gd name="connsiteY0" fmla="*/ 17540 h 26484"/>
                    <a:gd name="connsiteX1" fmla="*/ 9120 w 26893"/>
                    <a:gd name="connsiteY1" fmla="*/ 25761 h 26484"/>
                    <a:gd name="connsiteX2" fmla="*/ 650 w 26893"/>
                    <a:gd name="connsiteY2" fmla="*/ 8945 h 26484"/>
                    <a:gd name="connsiteX3" fmla="*/ 17714 w 26893"/>
                    <a:gd name="connsiteY3" fmla="*/ 724 h 26484"/>
                    <a:gd name="connsiteX4" fmla="*/ 26184 w 26893"/>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2" h="26484">
                      <a:moveTo>
                        <a:pt x="26184" y="17540"/>
                      </a:moveTo>
                      <a:cubicBezTo>
                        <a:pt x="23817" y="24515"/>
                        <a:pt x="16220" y="28127"/>
                        <a:pt x="9120" y="25761"/>
                      </a:cubicBezTo>
                      <a:cubicBezTo>
                        <a:pt x="2145" y="23394"/>
                        <a:pt x="-1592" y="15920"/>
                        <a:pt x="650" y="8945"/>
                      </a:cubicBezTo>
                      <a:cubicBezTo>
                        <a:pt x="3017" y="1970"/>
                        <a:pt x="10614" y="-1642"/>
                        <a:pt x="17714" y="724"/>
                      </a:cubicBezTo>
                      <a:cubicBezTo>
                        <a:pt x="24814" y="3091"/>
                        <a:pt x="28551" y="10564"/>
                        <a:pt x="26184"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6" name="Freeform 5633">
                  <a:extLst>
                    <a:ext uri="{FF2B5EF4-FFF2-40B4-BE49-F238E27FC236}">
                      <a16:creationId xmlns:a16="http://schemas.microsoft.com/office/drawing/2014/main" id="{711D3988-FFE2-B89E-C67F-BD681A3D88D2}"/>
                    </a:ext>
                  </a:extLst>
                </p:cNvPr>
                <p:cNvSpPr/>
                <p:nvPr/>
              </p:nvSpPr>
              <p:spPr>
                <a:xfrm>
                  <a:off x="10839257" y="5982330"/>
                  <a:ext cx="17687" cy="49075"/>
                </a:xfrm>
                <a:custGeom>
                  <a:avLst/>
                  <a:gdLst>
                    <a:gd name="connsiteX0" fmla="*/ 0 w 17687"/>
                    <a:gd name="connsiteY0" fmla="*/ 49076 h 49075"/>
                    <a:gd name="connsiteX1" fmla="*/ 7972 w 17687"/>
                    <a:gd name="connsiteY1" fmla="*/ 32011 h 49075"/>
                    <a:gd name="connsiteX2" fmla="*/ 10339 w 17687"/>
                    <a:gd name="connsiteY2" fmla="*/ 14822 h 49075"/>
                    <a:gd name="connsiteX3" fmla="*/ 17688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3" y="42225"/>
                        <a:pt x="6976" y="36246"/>
                        <a:pt x="7972" y="32011"/>
                      </a:cubicBezTo>
                      <a:cubicBezTo>
                        <a:pt x="9467" y="25161"/>
                        <a:pt x="8471" y="21673"/>
                        <a:pt x="10339" y="14822"/>
                      </a:cubicBezTo>
                      <a:cubicBezTo>
                        <a:pt x="12082" y="8097"/>
                        <a:pt x="15321" y="3239"/>
                        <a:pt x="176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7" name="Freeform 5634">
                  <a:extLst>
                    <a:ext uri="{FF2B5EF4-FFF2-40B4-BE49-F238E27FC236}">
                      <a16:creationId xmlns:a16="http://schemas.microsoft.com/office/drawing/2014/main" id="{7B908098-34BD-2A62-08D9-B18C8F821E39}"/>
                    </a:ext>
                  </a:extLst>
                </p:cNvPr>
                <p:cNvSpPr/>
                <p:nvPr/>
              </p:nvSpPr>
              <p:spPr>
                <a:xfrm>
                  <a:off x="10831162" y="5984323"/>
                  <a:ext cx="16192" cy="49574"/>
                </a:xfrm>
                <a:custGeom>
                  <a:avLst/>
                  <a:gdLst>
                    <a:gd name="connsiteX0" fmla="*/ 16192 w 16192"/>
                    <a:gd name="connsiteY0" fmla="*/ 0 h 49574"/>
                    <a:gd name="connsiteX1" fmla="*/ 11958 w 16192"/>
                    <a:gd name="connsiteY1" fmla="*/ 18310 h 49574"/>
                    <a:gd name="connsiteX2" fmla="*/ 3239 w 16192"/>
                    <a:gd name="connsiteY2" fmla="*/ 33382 h 49574"/>
                    <a:gd name="connsiteX3" fmla="*/ 0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16192" y="0"/>
                      </a:moveTo>
                      <a:cubicBezTo>
                        <a:pt x="15943" y="8346"/>
                        <a:pt x="13826" y="14324"/>
                        <a:pt x="11958" y="18310"/>
                      </a:cubicBezTo>
                      <a:cubicBezTo>
                        <a:pt x="8968" y="24663"/>
                        <a:pt x="5979" y="26905"/>
                        <a:pt x="3239" y="33382"/>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8" name="Freeform 5635">
                  <a:extLst>
                    <a:ext uri="{FF2B5EF4-FFF2-40B4-BE49-F238E27FC236}">
                      <a16:creationId xmlns:a16="http://schemas.microsoft.com/office/drawing/2014/main" id="{E44F3CAD-DC17-C72A-4DCA-755BC5EA9E6F}"/>
                    </a:ext>
                  </a:extLst>
                </p:cNvPr>
                <p:cNvSpPr/>
                <p:nvPr/>
              </p:nvSpPr>
              <p:spPr>
                <a:xfrm>
                  <a:off x="10820472" y="6023720"/>
                  <a:ext cx="26237" cy="26457"/>
                </a:xfrm>
                <a:custGeom>
                  <a:avLst/>
                  <a:gdLst>
                    <a:gd name="connsiteX0" fmla="*/ 725 w 26237"/>
                    <a:gd name="connsiteY0" fmla="*/ 9056 h 26457"/>
                    <a:gd name="connsiteX1" fmla="*/ 17416 w 26237"/>
                    <a:gd name="connsiteY1" fmla="*/ 711 h 26457"/>
                    <a:gd name="connsiteX2" fmla="*/ 25512 w 26237"/>
                    <a:gd name="connsiteY2" fmla="*/ 17401 h 26457"/>
                    <a:gd name="connsiteX3" fmla="*/ 8821 w 26237"/>
                    <a:gd name="connsiteY3" fmla="*/ 25747 h 26457"/>
                    <a:gd name="connsiteX4" fmla="*/ 725 w 26237"/>
                    <a:gd name="connsiteY4" fmla="*/ 9056 h 26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56">
                      <a:moveTo>
                        <a:pt x="725" y="9056"/>
                      </a:moveTo>
                      <a:cubicBezTo>
                        <a:pt x="3092" y="2081"/>
                        <a:pt x="10565" y="-1656"/>
                        <a:pt x="17416" y="711"/>
                      </a:cubicBezTo>
                      <a:cubicBezTo>
                        <a:pt x="24266" y="2953"/>
                        <a:pt x="27879" y="10426"/>
                        <a:pt x="25512" y="17401"/>
                      </a:cubicBezTo>
                      <a:cubicBezTo>
                        <a:pt x="23146" y="24377"/>
                        <a:pt x="15672" y="28114"/>
                        <a:pt x="8821" y="25747"/>
                      </a:cubicBezTo>
                      <a:cubicBezTo>
                        <a:pt x="1971" y="23505"/>
                        <a:pt x="-1641" y="16031"/>
                        <a:pt x="725" y="90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7" name="Graphic 2987">
                <a:extLst>
                  <a:ext uri="{FF2B5EF4-FFF2-40B4-BE49-F238E27FC236}">
                    <a16:creationId xmlns:a16="http://schemas.microsoft.com/office/drawing/2014/main" id="{C4076419-CC8F-3307-6692-8DA513392104}"/>
                  </a:ext>
                </a:extLst>
              </p:cNvPr>
              <p:cNvGrpSpPr/>
              <p:nvPr/>
            </p:nvGrpSpPr>
            <p:grpSpPr>
              <a:xfrm>
                <a:off x="10848121" y="5917484"/>
                <a:ext cx="66968" cy="142050"/>
                <a:chOff x="10848121" y="5917484"/>
                <a:chExt cx="66968" cy="142050"/>
              </a:xfrm>
              <a:grpFill/>
            </p:grpSpPr>
            <p:sp>
              <p:nvSpPr>
                <p:cNvPr id="3977" name="Freeform 5637">
                  <a:extLst>
                    <a:ext uri="{FF2B5EF4-FFF2-40B4-BE49-F238E27FC236}">
                      <a16:creationId xmlns:a16="http://schemas.microsoft.com/office/drawing/2014/main" id="{4399522C-E2DD-B53C-5193-ECD019AB0B9A}"/>
                    </a:ext>
                  </a:extLst>
                </p:cNvPr>
                <p:cNvSpPr/>
                <p:nvPr/>
              </p:nvSpPr>
              <p:spPr>
                <a:xfrm>
                  <a:off x="10877995" y="5936244"/>
                  <a:ext cx="17936" cy="48951"/>
                </a:xfrm>
                <a:custGeom>
                  <a:avLst/>
                  <a:gdLst>
                    <a:gd name="connsiteX0" fmla="*/ 17936 w 17936"/>
                    <a:gd name="connsiteY0" fmla="*/ 0 h 48951"/>
                    <a:gd name="connsiteX1" fmla="*/ 9840 w 17936"/>
                    <a:gd name="connsiteY1" fmla="*/ 16940 h 48951"/>
                    <a:gd name="connsiteX2" fmla="*/ 7473 w 17936"/>
                    <a:gd name="connsiteY2" fmla="*/ 3425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2954" y="6726"/>
                        <a:pt x="10836" y="12705"/>
                        <a:pt x="9840" y="16940"/>
                      </a:cubicBezTo>
                      <a:cubicBezTo>
                        <a:pt x="8345" y="23791"/>
                        <a:pt x="9342" y="27402"/>
                        <a:pt x="7473" y="34253"/>
                      </a:cubicBezTo>
                      <a:cubicBezTo>
                        <a:pt x="5605" y="40980"/>
                        <a:pt x="2491"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8" name="Freeform 5638">
                  <a:extLst>
                    <a:ext uri="{FF2B5EF4-FFF2-40B4-BE49-F238E27FC236}">
                      <a16:creationId xmlns:a16="http://schemas.microsoft.com/office/drawing/2014/main" id="{89D377A2-1123-1869-3ABC-CC51EC5FB53C}"/>
                    </a:ext>
                  </a:extLst>
                </p:cNvPr>
                <p:cNvSpPr/>
                <p:nvPr/>
              </p:nvSpPr>
              <p:spPr>
                <a:xfrm>
                  <a:off x="10887586" y="5933877"/>
                  <a:ext cx="16566" cy="49449"/>
                </a:xfrm>
                <a:custGeom>
                  <a:avLst/>
                  <a:gdLst>
                    <a:gd name="connsiteX0" fmla="*/ 0 w 16566"/>
                    <a:gd name="connsiteY0" fmla="*/ 49449 h 49449"/>
                    <a:gd name="connsiteX1" fmla="*/ 4360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0980"/>
                        <a:pt x="2491" y="35001"/>
                        <a:pt x="4360" y="31139"/>
                      </a:cubicBezTo>
                      <a:cubicBezTo>
                        <a:pt x="7349" y="24787"/>
                        <a:pt x="10463" y="22670"/>
                        <a:pt x="13203" y="16192"/>
                      </a:cubicBezTo>
                      <a:cubicBezTo>
                        <a:pt x="15944"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9" name="Freeform 5639">
                  <a:extLst>
                    <a:ext uri="{FF2B5EF4-FFF2-40B4-BE49-F238E27FC236}">
                      <a16:creationId xmlns:a16="http://schemas.microsoft.com/office/drawing/2014/main" id="{775D68C5-5BF9-E1E1-C79E-2B918150E4EE}"/>
                    </a:ext>
                  </a:extLst>
                </p:cNvPr>
                <p:cNvSpPr/>
                <p:nvPr/>
              </p:nvSpPr>
              <p:spPr>
                <a:xfrm>
                  <a:off x="10888246" y="5917484"/>
                  <a:ext cx="26843" cy="26648"/>
                </a:xfrm>
                <a:custGeom>
                  <a:avLst/>
                  <a:gdLst>
                    <a:gd name="connsiteX0" fmla="*/ 26120 w 26843"/>
                    <a:gd name="connsiteY0" fmla="*/ 17888 h 26648"/>
                    <a:gd name="connsiteX1" fmla="*/ 9056 w 26843"/>
                    <a:gd name="connsiteY1" fmla="*/ 25860 h 26648"/>
                    <a:gd name="connsiteX2" fmla="*/ 711 w 26843"/>
                    <a:gd name="connsiteY2" fmla="*/ 8920 h 26648"/>
                    <a:gd name="connsiteX3" fmla="*/ 17775 w 26843"/>
                    <a:gd name="connsiteY3" fmla="*/ 824 h 26648"/>
                    <a:gd name="connsiteX4" fmla="*/ 26120 w 26843"/>
                    <a:gd name="connsiteY4" fmla="*/ 17888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648">
                      <a:moveTo>
                        <a:pt x="26120" y="17888"/>
                      </a:moveTo>
                      <a:cubicBezTo>
                        <a:pt x="23629" y="24738"/>
                        <a:pt x="16031" y="28351"/>
                        <a:pt x="9056" y="25860"/>
                      </a:cubicBezTo>
                      <a:cubicBezTo>
                        <a:pt x="2081" y="23244"/>
                        <a:pt x="-1656" y="15895"/>
                        <a:pt x="711" y="8920"/>
                      </a:cubicBezTo>
                      <a:cubicBezTo>
                        <a:pt x="3077" y="2069"/>
                        <a:pt x="10800" y="-1792"/>
                        <a:pt x="17775" y="824"/>
                      </a:cubicBezTo>
                      <a:cubicBezTo>
                        <a:pt x="24875" y="3315"/>
                        <a:pt x="28487" y="11037"/>
                        <a:pt x="26120" y="178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0" name="Freeform 5640">
                  <a:extLst>
                    <a:ext uri="{FF2B5EF4-FFF2-40B4-BE49-F238E27FC236}">
                      <a16:creationId xmlns:a16="http://schemas.microsoft.com/office/drawing/2014/main" id="{CFC7FC4E-F52A-51E7-6B9A-0EF7D5283535}"/>
                    </a:ext>
                  </a:extLst>
                </p:cNvPr>
                <p:cNvSpPr/>
                <p:nvPr/>
              </p:nvSpPr>
              <p:spPr>
                <a:xfrm>
                  <a:off x="10866910" y="5991921"/>
                  <a:ext cx="18061" cy="48951"/>
                </a:xfrm>
                <a:custGeom>
                  <a:avLst/>
                  <a:gdLst>
                    <a:gd name="connsiteX0" fmla="*/ 0 w 18061"/>
                    <a:gd name="connsiteY0" fmla="*/ 48951 h 48951"/>
                    <a:gd name="connsiteX1" fmla="*/ 8097 w 18061"/>
                    <a:gd name="connsiteY1" fmla="*/ 32011 h 48951"/>
                    <a:gd name="connsiteX2" fmla="*/ 10587 w 18061"/>
                    <a:gd name="connsiteY2" fmla="*/ 1469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4983" y="42225"/>
                        <a:pt x="7100" y="36246"/>
                        <a:pt x="8097" y="32011"/>
                      </a:cubicBezTo>
                      <a:cubicBezTo>
                        <a:pt x="9715" y="25161"/>
                        <a:pt x="8719" y="21548"/>
                        <a:pt x="10587" y="14698"/>
                      </a:cubicBezTo>
                      <a:cubicBezTo>
                        <a:pt x="12456" y="7971"/>
                        <a:pt x="15570" y="3114"/>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1" name="Freeform 5641">
                  <a:extLst>
                    <a:ext uri="{FF2B5EF4-FFF2-40B4-BE49-F238E27FC236}">
                      <a16:creationId xmlns:a16="http://schemas.microsoft.com/office/drawing/2014/main" id="{B5D82693-D118-073F-5648-4BA1DEE72E06}"/>
                    </a:ext>
                  </a:extLst>
                </p:cNvPr>
                <p:cNvSpPr/>
                <p:nvPr/>
              </p:nvSpPr>
              <p:spPr>
                <a:xfrm>
                  <a:off x="10858689" y="5993789"/>
                  <a:ext cx="16565" cy="49449"/>
                </a:xfrm>
                <a:custGeom>
                  <a:avLst/>
                  <a:gdLst>
                    <a:gd name="connsiteX0" fmla="*/ 16566 w 16565"/>
                    <a:gd name="connsiteY0" fmla="*/ 0 h 49449"/>
                    <a:gd name="connsiteX1" fmla="*/ 12206 w 16565"/>
                    <a:gd name="connsiteY1" fmla="*/ 18310 h 49449"/>
                    <a:gd name="connsiteX2" fmla="*/ 3363 w 16565"/>
                    <a:gd name="connsiteY2" fmla="*/ 33257 h 49449"/>
                    <a:gd name="connsiteX3" fmla="*/ 0 w 16565"/>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5" h="49449">
                      <a:moveTo>
                        <a:pt x="16566" y="0"/>
                      </a:moveTo>
                      <a:cubicBezTo>
                        <a:pt x="16192" y="8470"/>
                        <a:pt x="14074" y="14449"/>
                        <a:pt x="12206" y="18310"/>
                      </a:cubicBezTo>
                      <a:cubicBezTo>
                        <a:pt x="9217" y="24663"/>
                        <a:pt x="6228" y="26780"/>
                        <a:pt x="3363" y="33257"/>
                      </a:cubicBezTo>
                      <a:cubicBezTo>
                        <a:pt x="623" y="39609"/>
                        <a:pt x="0"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2" name="Freeform 5642">
                  <a:extLst>
                    <a:ext uri="{FF2B5EF4-FFF2-40B4-BE49-F238E27FC236}">
                      <a16:creationId xmlns:a16="http://schemas.microsoft.com/office/drawing/2014/main" id="{445A1EAC-3FBA-AA99-AD9D-CFBAE55F5F13}"/>
                    </a:ext>
                  </a:extLst>
                </p:cNvPr>
                <p:cNvSpPr/>
                <p:nvPr/>
              </p:nvSpPr>
              <p:spPr>
                <a:xfrm>
                  <a:off x="10848121" y="6032963"/>
                  <a:ext cx="26069" cy="26570"/>
                </a:xfrm>
                <a:custGeom>
                  <a:avLst/>
                  <a:gdLst>
                    <a:gd name="connsiteX0" fmla="*/ 728 w 26069"/>
                    <a:gd name="connsiteY0" fmla="*/ 9030 h 26570"/>
                    <a:gd name="connsiteX1" fmla="*/ 17419 w 26069"/>
                    <a:gd name="connsiteY1" fmla="*/ 809 h 26570"/>
                    <a:gd name="connsiteX2" fmla="*/ 25266 w 26069"/>
                    <a:gd name="connsiteY2" fmla="*/ 17749 h 26570"/>
                    <a:gd name="connsiteX3" fmla="*/ 8575 w 26069"/>
                    <a:gd name="connsiteY3" fmla="*/ 25845 h 26570"/>
                    <a:gd name="connsiteX4" fmla="*/ 728 w 26069"/>
                    <a:gd name="connsiteY4" fmla="*/ 9030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9" h="26570">
                      <a:moveTo>
                        <a:pt x="728" y="9030"/>
                      </a:moveTo>
                      <a:cubicBezTo>
                        <a:pt x="3094" y="2179"/>
                        <a:pt x="10692" y="-1807"/>
                        <a:pt x="17419" y="809"/>
                      </a:cubicBezTo>
                      <a:cubicBezTo>
                        <a:pt x="24269" y="3300"/>
                        <a:pt x="27756" y="10898"/>
                        <a:pt x="25266" y="17749"/>
                      </a:cubicBezTo>
                      <a:cubicBezTo>
                        <a:pt x="22775" y="24600"/>
                        <a:pt x="15425" y="28212"/>
                        <a:pt x="8575" y="25845"/>
                      </a:cubicBezTo>
                      <a:cubicBezTo>
                        <a:pt x="1974" y="23354"/>
                        <a:pt x="-1639" y="16005"/>
                        <a:pt x="728" y="90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8" name="Graphic 2987">
                <a:extLst>
                  <a:ext uri="{FF2B5EF4-FFF2-40B4-BE49-F238E27FC236}">
                    <a16:creationId xmlns:a16="http://schemas.microsoft.com/office/drawing/2014/main" id="{20555D1A-0289-384D-2608-53FF96939334}"/>
                  </a:ext>
                </a:extLst>
              </p:cNvPr>
              <p:cNvGrpSpPr/>
              <p:nvPr/>
            </p:nvGrpSpPr>
            <p:grpSpPr>
              <a:xfrm>
                <a:off x="10875572" y="5927667"/>
                <a:ext cx="67731" cy="141894"/>
                <a:chOff x="10875572" y="5927667"/>
                <a:chExt cx="67731" cy="141894"/>
              </a:xfrm>
              <a:grpFill/>
            </p:grpSpPr>
            <p:sp>
              <p:nvSpPr>
                <p:cNvPr id="3971" name="Freeform 5644">
                  <a:extLst>
                    <a:ext uri="{FF2B5EF4-FFF2-40B4-BE49-F238E27FC236}">
                      <a16:creationId xmlns:a16="http://schemas.microsoft.com/office/drawing/2014/main" id="{1CA24606-8206-6936-208A-53BE35DFE3BA}"/>
                    </a:ext>
                  </a:extLst>
                </p:cNvPr>
                <p:cNvSpPr/>
                <p:nvPr/>
              </p:nvSpPr>
              <p:spPr>
                <a:xfrm>
                  <a:off x="10905896" y="5946458"/>
                  <a:ext cx="18185" cy="48951"/>
                </a:xfrm>
                <a:custGeom>
                  <a:avLst/>
                  <a:gdLst>
                    <a:gd name="connsiteX0" fmla="*/ 18186 w 18185"/>
                    <a:gd name="connsiteY0" fmla="*/ 0 h 48951"/>
                    <a:gd name="connsiteX1" fmla="*/ 9964 w 18185"/>
                    <a:gd name="connsiteY1" fmla="*/ 16940 h 48951"/>
                    <a:gd name="connsiteX2" fmla="*/ 7473 w 18185"/>
                    <a:gd name="connsiteY2" fmla="*/ 34253 h 48951"/>
                    <a:gd name="connsiteX3" fmla="*/ 0 w 18185"/>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185" h="48951">
                      <a:moveTo>
                        <a:pt x="18186" y="0"/>
                      </a:moveTo>
                      <a:cubicBezTo>
                        <a:pt x="13078" y="6726"/>
                        <a:pt x="10961" y="12705"/>
                        <a:pt x="9964" y="16940"/>
                      </a:cubicBezTo>
                      <a:cubicBezTo>
                        <a:pt x="8345" y="23790"/>
                        <a:pt x="9342" y="27402"/>
                        <a:pt x="7473" y="34253"/>
                      </a:cubicBezTo>
                      <a:cubicBezTo>
                        <a:pt x="5605" y="40855"/>
                        <a:pt x="2367"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2" name="Freeform 5645">
                  <a:extLst>
                    <a:ext uri="{FF2B5EF4-FFF2-40B4-BE49-F238E27FC236}">
                      <a16:creationId xmlns:a16="http://schemas.microsoft.com/office/drawing/2014/main" id="{A7769957-77C7-70E0-B470-1E548CE696EF}"/>
                    </a:ext>
                  </a:extLst>
                </p:cNvPr>
                <p:cNvSpPr/>
                <p:nvPr/>
              </p:nvSpPr>
              <p:spPr>
                <a:xfrm>
                  <a:off x="10915487" y="5943966"/>
                  <a:ext cx="16939" cy="49449"/>
                </a:xfrm>
                <a:custGeom>
                  <a:avLst/>
                  <a:gdLst>
                    <a:gd name="connsiteX0" fmla="*/ 0 w 16939"/>
                    <a:gd name="connsiteY0" fmla="*/ 49449 h 49449"/>
                    <a:gd name="connsiteX1" fmla="*/ 4484 w 16939"/>
                    <a:gd name="connsiteY1" fmla="*/ 31139 h 49449"/>
                    <a:gd name="connsiteX2" fmla="*/ 13452 w 16939"/>
                    <a:gd name="connsiteY2" fmla="*/ 16192 h 49449"/>
                    <a:gd name="connsiteX3" fmla="*/ 1694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0" y="49449"/>
                      </a:moveTo>
                      <a:cubicBezTo>
                        <a:pt x="373" y="40980"/>
                        <a:pt x="2491" y="35125"/>
                        <a:pt x="4484" y="31139"/>
                      </a:cubicBezTo>
                      <a:cubicBezTo>
                        <a:pt x="7598" y="24912"/>
                        <a:pt x="10587" y="22670"/>
                        <a:pt x="13452" y="16192"/>
                      </a:cubicBezTo>
                      <a:cubicBezTo>
                        <a:pt x="16192" y="9840"/>
                        <a:pt x="16815" y="3986"/>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3" name="Freeform 5646">
                  <a:extLst>
                    <a:ext uri="{FF2B5EF4-FFF2-40B4-BE49-F238E27FC236}">
                      <a16:creationId xmlns:a16="http://schemas.microsoft.com/office/drawing/2014/main" id="{E67E8683-FB90-B786-2428-88EC2D9125F4}"/>
                    </a:ext>
                  </a:extLst>
                </p:cNvPr>
                <p:cNvSpPr/>
                <p:nvPr/>
              </p:nvSpPr>
              <p:spPr>
                <a:xfrm>
                  <a:off x="10916568" y="5927667"/>
                  <a:ext cx="26736" cy="26619"/>
                </a:xfrm>
                <a:custGeom>
                  <a:avLst/>
                  <a:gdLst>
                    <a:gd name="connsiteX0" fmla="*/ 25949 w 26736"/>
                    <a:gd name="connsiteY0" fmla="*/ 17918 h 26619"/>
                    <a:gd name="connsiteX1" fmla="*/ 8884 w 26736"/>
                    <a:gd name="connsiteY1" fmla="*/ 25766 h 26619"/>
                    <a:gd name="connsiteX2" fmla="*/ 788 w 26736"/>
                    <a:gd name="connsiteY2" fmla="*/ 8701 h 26619"/>
                    <a:gd name="connsiteX3" fmla="*/ 17852 w 26736"/>
                    <a:gd name="connsiteY3" fmla="*/ 854 h 26619"/>
                    <a:gd name="connsiteX4" fmla="*/ 25949 w 26736"/>
                    <a:gd name="connsiteY4" fmla="*/ 17918 h 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19">
                      <a:moveTo>
                        <a:pt x="25949" y="17918"/>
                      </a:moveTo>
                      <a:cubicBezTo>
                        <a:pt x="23457" y="24769"/>
                        <a:pt x="15859" y="28381"/>
                        <a:pt x="8884" y="25766"/>
                      </a:cubicBezTo>
                      <a:cubicBezTo>
                        <a:pt x="1909" y="23150"/>
                        <a:pt x="-1704" y="15552"/>
                        <a:pt x="788" y="8701"/>
                      </a:cubicBezTo>
                      <a:cubicBezTo>
                        <a:pt x="3279" y="1850"/>
                        <a:pt x="10877" y="-1762"/>
                        <a:pt x="17852" y="854"/>
                      </a:cubicBezTo>
                      <a:cubicBezTo>
                        <a:pt x="24827" y="3470"/>
                        <a:pt x="28440" y="11068"/>
                        <a:pt x="25949" y="179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4" name="Freeform 5647">
                  <a:extLst>
                    <a:ext uri="{FF2B5EF4-FFF2-40B4-BE49-F238E27FC236}">
                      <a16:creationId xmlns:a16="http://schemas.microsoft.com/office/drawing/2014/main" id="{32F806B6-C7BF-A2DF-2286-C8D873E20026}"/>
                    </a:ext>
                  </a:extLst>
                </p:cNvPr>
                <p:cNvSpPr/>
                <p:nvPr/>
              </p:nvSpPr>
              <p:spPr>
                <a:xfrm>
                  <a:off x="10894437" y="6002010"/>
                  <a:ext cx="18434" cy="48826"/>
                </a:xfrm>
                <a:custGeom>
                  <a:avLst/>
                  <a:gdLst>
                    <a:gd name="connsiteX0" fmla="*/ 0 w 18434"/>
                    <a:gd name="connsiteY0" fmla="*/ 48826 h 48826"/>
                    <a:gd name="connsiteX1" fmla="*/ 8220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6"/>
                      </a:moveTo>
                      <a:cubicBezTo>
                        <a:pt x="4982" y="42101"/>
                        <a:pt x="7099" y="36122"/>
                        <a:pt x="8220" y="31887"/>
                      </a:cubicBezTo>
                      <a:cubicBezTo>
                        <a:pt x="9840" y="25036"/>
                        <a:pt x="8843" y="21549"/>
                        <a:pt x="10836" y="14698"/>
                      </a:cubicBezTo>
                      <a:cubicBezTo>
                        <a:pt x="12704"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5" name="Freeform 5648">
                  <a:extLst>
                    <a:ext uri="{FF2B5EF4-FFF2-40B4-BE49-F238E27FC236}">
                      <a16:creationId xmlns:a16="http://schemas.microsoft.com/office/drawing/2014/main" id="{83D1F719-B7BD-853B-B991-4A59B85603FA}"/>
                    </a:ext>
                  </a:extLst>
                </p:cNvPr>
                <p:cNvSpPr/>
                <p:nvPr/>
              </p:nvSpPr>
              <p:spPr>
                <a:xfrm>
                  <a:off x="10886091" y="6003879"/>
                  <a:ext cx="16940" cy="49449"/>
                </a:xfrm>
                <a:custGeom>
                  <a:avLst/>
                  <a:gdLst>
                    <a:gd name="connsiteX0" fmla="*/ 16940 w 16940"/>
                    <a:gd name="connsiteY0" fmla="*/ 0 h 49449"/>
                    <a:gd name="connsiteX1" fmla="*/ 12456 w 16940"/>
                    <a:gd name="connsiteY1" fmla="*/ 18310 h 49449"/>
                    <a:gd name="connsiteX2" fmla="*/ 3488 w 16940"/>
                    <a:gd name="connsiteY2" fmla="*/ 33257 h 49449"/>
                    <a:gd name="connsiteX3" fmla="*/ 0 w 169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940" h="49449">
                      <a:moveTo>
                        <a:pt x="16940" y="0"/>
                      </a:moveTo>
                      <a:cubicBezTo>
                        <a:pt x="16566" y="8470"/>
                        <a:pt x="14449" y="14324"/>
                        <a:pt x="12456" y="18310"/>
                      </a:cubicBezTo>
                      <a:cubicBezTo>
                        <a:pt x="9342" y="24538"/>
                        <a:pt x="6353" y="26780"/>
                        <a:pt x="3488" y="33257"/>
                      </a:cubicBezTo>
                      <a:cubicBezTo>
                        <a:pt x="747" y="39609"/>
                        <a:pt x="125"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6" name="Freeform 5649">
                  <a:extLst>
                    <a:ext uri="{FF2B5EF4-FFF2-40B4-BE49-F238E27FC236}">
                      <a16:creationId xmlns:a16="http://schemas.microsoft.com/office/drawing/2014/main" id="{30A2383D-B429-A925-5CA3-CCFB3E8088C1}"/>
                    </a:ext>
                  </a:extLst>
                </p:cNvPr>
                <p:cNvSpPr/>
                <p:nvPr/>
              </p:nvSpPr>
              <p:spPr>
                <a:xfrm>
                  <a:off x="10875572" y="6043073"/>
                  <a:ext cx="26145" cy="26489"/>
                </a:xfrm>
                <a:custGeom>
                  <a:avLst/>
                  <a:gdLst>
                    <a:gd name="connsiteX0" fmla="*/ 804 w 26145"/>
                    <a:gd name="connsiteY0" fmla="*/ 8761 h 26489"/>
                    <a:gd name="connsiteX1" fmla="*/ 17494 w 26145"/>
                    <a:gd name="connsiteY1" fmla="*/ 789 h 26489"/>
                    <a:gd name="connsiteX2" fmla="*/ 25341 w 26145"/>
                    <a:gd name="connsiteY2" fmla="*/ 17729 h 26489"/>
                    <a:gd name="connsiteX3" fmla="*/ 8651 w 26145"/>
                    <a:gd name="connsiteY3" fmla="*/ 25700 h 26489"/>
                    <a:gd name="connsiteX4" fmla="*/ 804 w 26145"/>
                    <a:gd name="connsiteY4" fmla="*/ 8761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5" h="26488">
                      <a:moveTo>
                        <a:pt x="804" y="8761"/>
                      </a:moveTo>
                      <a:cubicBezTo>
                        <a:pt x="3295" y="1910"/>
                        <a:pt x="10768" y="-1702"/>
                        <a:pt x="17494" y="789"/>
                      </a:cubicBezTo>
                      <a:cubicBezTo>
                        <a:pt x="24346" y="3280"/>
                        <a:pt x="27833" y="10878"/>
                        <a:pt x="25341" y="17729"/>
                      </a:cubicBezTo>
                      <a:cubicBezTo>
                        <a:pt x="22850" y="24579"/>
                        <a:pt x="15377" y="28192"/>
                        <a:pt x="8651" y="25700"/>
                      </a:cubicBezTo>
                      <a:cubicBezTo>
                        <a:pt x="1801" y="23209"/>
                        <a:pt x="-1687" y="15611"/>
                        <a:pt x="804"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9" name="Graphic 2987">
                <a:extLst>
                  <a:ext uri="{FF2B5EF4-FFF2-40B4-BE49-F238E27FC236}">
                    <a16:creationId xmlns:a16="http://schemas.microsoft.com/office/drawing/2014/main" id="{895B9373-EBCE-60AB-44BE-B5938DF3C3AB}"/>
                  </a:ext>
                </a:extLst>
              </p:cNvPr>
              <p:cNvGrpSpPr/>
              <p:nvPr/>
            </p:nvGrpSpPr>
            <p:grpSpPr>
              <a:xfrm>
                <a:off x="10902974" y="5937881"/>
                <a:ext cx="68604" cy="141645"/>
                <a:chOff x="10902974" y="5937881"/>
                <a:chExt cx="68604" cy="141645"/>
              </a:xfrm>
              <a:grpFill/>
            </p:grpSpPr>
            <p:sp>
              <p:nvSpPr>
                <p:cNvPr id="3965" name="Freeform 5651">
                  <a:extLst>
                    <a:ext uri="{FF2B5EF4-FFF2-40B4-BE49-F238E27FC236}">
                      <a16:creationId xmlns:a16="http://schemas.microsoft.com/office/drawing/2014/main" id="{858EF662-7126-EE62-CFAE-9925A8537A9D}"/>
                    </a:ext>
                  </a:extLst>
                </p:cNvPr>
                <p:cNvSpPr/>
                <p:nvPr/>
              </p:nvSpPr>
              <p:spPr>
                <a:xfrm>
                  <a:off x="10933797" y="5956671"/>
                  <a:ext cx="18434" cy="48702"/>
                </a:xfrm>
                <a:custGeom>
                  <a:avLst/>
                  <a:gdLst>
                    <a:gd name="connsiteX0" fmla="*/ 18434 w 18434"/>
                    <a:gd name="connsiteY0" fmla="*/ 0 h 48702"/>
                    <a:gd name="connsiteX1" fmla="*/ 10214 w 18434"/>
                    <a:gd name="connsiteY1" fmla="*/ 16940 h 48702"/>
                    <a:gd name="connsiteX2" fmla="*/ 7598 w 18434"/>
                    <a:gd name="connsiteY2" fmla="*/ 34129 h 48702"/>
                    <a:gd name="connsiteX3" fmla="*/ 0 w 18434"/>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434" h="48702">
                      <a:moveTo>
                        <a:pt x="18434" y="0"/>
                      </a:moveTo>
                      <a:cubicBezTo>
                        <a:pt x="13328" y="6726"/>
                        <a:pt x="11210" y="12705"/>
                        <a:pt x="10214" y="16940"/>
                      </a:cubicBezTo>
                      <a:cubicBezTo>
                        <a:pt x="8595" y="23791"/>
                        <a:pt x="9591" y="27278"/>
                        <a:pt x="7598" y="34129"/>
                      </a:cubicBezTo>
                      <a:cubicBezTo>
                        <a:pt x="5730" y="40731"/>
                        <a:pt x="2367" y="45713"/>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6" name="Freeform 5652">
                  <a:extLst>
                    <a:ext uri="{FF2B5EF4-FFF2-40B4-BE49-F238E27FC236}">
                      <a16:creationId xmlns:a16="http://schemas.microsoft.com/office/drawing/2014/main" id="{65F770D7-EF37-34E8-E7C6-C84EF9C268BA}"/>
                    </a:ext>
                  </a:extLst>
                </p:cNvPr>
                <p:cNvSpPr/>
                <p:nvPr/>
              </p:nvSpPr>
              <p:spPr>
                <a:xfrm>
                  <a:off x="10943388" y="5954554"/>
                  <a:ext cx="17312" cy="49075"/>
                </a:xfrm>
                <a:custGeom>
                  <a:avLst/>
                  <a:gdLst>
                    <a:gd name="connsiteX0" fmla="*/ 0 w 17312"/>
                    <a:gd name="connsiteY0" fmla="*/ 49076 h 49075"/>
                    <a:gd name="connsiteX1" fmla="*/ 4609 w 17312"/>
                    <a:gd name="connsiteY1" fmla="*/ 30890 h 49075"/>
                    <a:gd name="connsiteX2" fmla="*/ 13701 w 17312"/>
                    <a:gd name="connsiteY2" fmla="*/ 16068 h 49075"/>
                    <a:gd name="connsiteX3" fmla="*/ 17313 w 17312"/>
                    <a:gd name="connsiteY3" fmla="*/ 0 h 49075"/>
                  </a:gdLst>
                  <a:ahLst/>
                  <a:cxnLst>
                    <a:cxn ang="0">
                      <a:pos x="connsiteX0" y="connsiteY0"/>
                    </a:cxn>
                    <a:cxn ang="0">
                      <a:pos x="connsiteX1" y="connsiteY1"/>
                    </a:cxn>
                    <a:cxn ang="0">
                      <a:pos x="connsiteX2" y="connsiteY2"/>
                    </a:cxn>
                    <a:cxn ang="0">
                      <a:pos x="connsiteX3" y="connsiteY3"/>
                    </a:cxn>
                  </a:cxnLst>
                  <a:rect l="l" t="t" r="r" b="b"/>
                  <a:pathLst>
                    <a:path w="17312" h="49075">
                      <a:moveTo>
                        <a:pt x="0" y="49076"/>
                      </a:moveTo>
                      <a:cubicBezTo>
                        <a:pt x="498" y="40730"/>
                        <a:pt x="2615" y="34752"/>
                        <a:pt x="4609" y="30890"/>
                      </a:cubicBezTo>
                      <a:cubicBezTo>
                        <a:pt x="7723" y="24662"/>
                        <a:pt x="10836" y="22545"/>
                        <a:pt x="13701" y="16068"/>
                      </a:cubicBezTo>
                      <a:cubicBezTo>
                        <a:pt x="16566" y="9715"/>
                        <a:pt x="17189" y="3861"/>
                        <a:pt x="173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7" name="Freeform 5653">
                  <a:extLst>
                    <a:ext uri="{FF2B5EF4-FFF2-40B4-BE49-F238E27FC236}">
                      <a16:creationId xmlns:a16="http://schemas.microsoft.com/office/drawing/2014/main" id="{5379E1CF-9C26-D92F-EB91-37B6025557F7}"/>
                    </a:ext>
                  </a:extLst>
                </p:cNvPr>
                <p:cNvSpPr/>
                <p:nvPr/>
              </p:nvSpPr>
              <p:spPr>
                <a:xfrm>
                  <a:off x="10944718" y="5937881"/>
                  <a:ext cx="26860" cy="26569"/>
                </a:xfrm>
                <a:custGeom>
                  <a:avLst/>
                  <a:gdLst>
                    <a:gd name="connsiteX0" fmla="*/ 26073 w 26860"/>
                    <a:gd name="connsiteY0" fmla="*/ 17919 h 26569"/>
                    <a:gd name="connsiteX1" fmla="*/ 8884 w 26860"/>
                    <a:gd name="connsiteY1" fmla="*/ 25765 h 26569"/>
                    <a:gd name="connsiteX2" fmla="*/ 788 w 26860"/>
                    <a:gd name="connsiteY2" fmla="*/ 8701 h 26569"/>
                    <a:gd name="connsiteX3" fmla="*/ 17977 w 26860"/>
                    <a:gd name="connsiteY3" fmla="*/ 854 h 26569"/>
                    <a:gd name="connsiteX4" fmla="*/ 26073 w 26860"/>
                    <a:gd name="connsiteY4" fmla="*/ 17919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569">
                      <a:moveTo>
                        <a:pt x="26073" y="17919"/>
                      </a:moveTo>
                      <a:cubicBezTo>
                        <a:pt x="23582" y="24769"/>
                        <a:pt x="15859" y="28257"/>
                        <a:pt x="8884" y="25765"/>
                      </a:cubicBezTo>
                      <a:cubicBezTo>
                        <a:pt x="1909" y="23275"/>
                        <a:pt x="-1704" y="15676"/>
                        <a:pt x="788" y="8701"/>
                      </a:cubicBezTo>
                      <a:cubicBezTo>
                        <a:pt x="3279" y="1851"/>
                        <a:pt x="11001" y="-1762"/>
                        <a:pt x="17977" y="854"/>
                      </a:cubicBezTo>
                      <a:cubicBezTo>
                        <a:pt x="24952" y="3470"/>
                        <a:pt x="28564" y="11068"/>
                        <a:pt x="26073" y="17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8" name="Freeform 5654">
                  <a:extLst>
                    <a:ext uri="{FF2B5EF4-FFF2-40B4-BE49-F238E27FC236}">
                      <a16:creationId xmlns:a16="http://schemas.microsoft.com/office/drawing/2014/main" id="{2B031F1A-00FB-53B8-76B4-0E7E86FCFD8B}"/>
                    </a:ext>
                  </a:extLst>
                </p:cNvPr>
                <p:cNvSpPr/>
                <p:nvPr/>
              </p:nvSpPr>
              <p:spPr>
                <a:xfrm>
                  <a:off x="10921839" y="6012099"/>
                  <a:ext cx="18559" cy="48702"/>
                </a:xfrm>
                <a:custGeom>
                  <a:avLst/>
                  <a:gdLst>
                    <a:gd name="connsiteX0" fmla="*/ 0 w 18559"/>
                    <a:gd name="connsiteY0" fmla="*/ 48702 h 48702"/>
                    <a:gd name="connsiteX1" fmla="*/ 8221 w 18559"/>
                    <a:gd name="connsiteY1" fmla="*/ 31762 h 48702"/>
                    <a:gd name="connsiteX2" fmla="*/ 10961 w 18559"/>
                    <a:gd name="connsiteY2" fmla="*/ 14573 h 48702"/>
                    <a:gd name="connsiteX3" fmla="*/ 18560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5107" y="41976"/>
                        <a:pt x="7225" y="35997"/>
                        <a:pt x="8221" y="31762"/>
                      </a:cubicBezTo>
                      <a:cubicBezTo>
                        <a:pt x="9841" y="24912"/>
                        <a:pt x="8969" y="21424"/>
                        <a:pt x="10961" y="14573"/>
                      </a:cubicBezTo>
                      <a:cubicBezTo>
                        <a:pt x="12830" y="7971"/>
                        <a:pt x="16193" y="2989"/>
                        <a:pt x="185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9" name="Freeform 5655">
                  <a:extLst>
                    <a:ext uri="{FF2B5EF4-FFF2-40B4-BE49-F238E27FC236}">
                      <a16:creationId xmlns:a16="http://schemas.microsoft.com/office/drawing/2014/main" id="{60E0A405-CAA2-CA53-77F8-DBDEFD7AD6B7}"/>
                    </a:ext>
                  </a:extLst>
                </p:cNvPr>
                <p:cNvSpPr/>
                <p:nvPr/>
              </p:nvSpPr>
              <p:spPr>
                <a:xfrm>
                  <a:off x="10913494" y="6013968"/>
                  <a:ext cx="17313" cy="49200"/>
                </a:xfrm>
                <a:custGeom>
                  <a:avLst/>
                  <a:gdLst>
                    <a:gd name="connsiteX0" fmla="*/ 17314 w 17313"/>
                    <a:gd name="connsiteY0" fmla="*/ 0 h 49200"/>
                    <a:gd name="connsiteX1" fmla="*/ 12705 w 17313"/>
                    <a:gd name="connsiteY1" fmla="*/ 18185 h 49200"/>
                    <a:gd name="connsiteX2" fmla="*/ 3612 w 17313"/>
                    <a:gd name="connsiteY2" fmla="*/ 33132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6940" y="8346"/>
                        <a:pt x="14698" y="14324"/>
                        <a:pt x="12705" y="18185"/>
                      </a:cubicBezTo>
                      <a:cubicBezTo>
                        <a:pt x="9591" y="24413"/>
                        <a:pt x="6602" y="26656"/>
                        <a:pt x="3612" y="33132"/>
                      </a:cubicBezTo>
                      <a:cubicBezTo>
                        <a:pt x="747" y="39485"/>
                        <a:pt x="125"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0" name="Freeform 5656">
                  <a:extLst>
                    <a:ext uri="{FF2B5EF4-FFF2-40B4-BE49-F238E27FC236}">
                      <a16:creationId xmlns:a16="http://schemas.microsoft.com/office/drawing/2014/main" id="{84CE184F-8E89-BA5C-C928-7887AD9DE0A4}"/>
                    </a:ext>
                  </a:extLst>
                </p:cNvPr>
                <p:cNvSpPr/>
                <p:nvPr/>
              </p:nvSpPr>
              <p:spPr>
                <a:xfrm>
                  <a:off x="10902974" y="6053037"/>
                  <a:ext cx="26162" cy="26489"/>
                </a:xfrm>
                <a:custGeom>
                  <a:avLst/>
                  <a:gdLst>
                    <a:gd name="connsiteX0" fmla="*/ 805 w 26162"/>
                    <a:gd name="connsiteY0" fmla="*/ 8760 h 26489"/>
                    <a:gd name="connsiteX1" fmla="*/ 17620 w 26162"/>
                    <a:gd name="connsiteY1" fmla="*/ 789 h 26489"/>
                    <a:gd name="connsiteX2" fmla="*/ 25343 w 26162"/>
                    <a:gd name="connsiteY2" fmla="*/ 17729 h 26489"/>
                    <a:gd name="connsiteX3" fmla="*/ 8528 w 26162"/>
                    <a:gd name="connsiteY3" fmla="*/ 25700 h 26489"/>
                    <a:gd name="connsiteX4" fmla="*/ 805 w 26162"/>
                    <a:gd name="connsiteY4" fmla="*/ 8760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88">
                      <a:moveTo>
                        <a:pt x="805" y="8760"/>
                      </a:moveTo>
                      <a:cubicBezTo>
                        <a:pt x="3296" y="1910"/>
                        <a:pt x="10770" y="-1702"/>
                        <a:pt x="17620" y="789"/>
                      </a:cubicBezTo>
                      <a:cubicBezTo>
                        <a:pt x="24471" y="3280"/>
                        <a:pt x="27834" y="10878"/>
                        <a:pt x="25343" y="17729"/>
                      </a:cubicBezTo>
                      <a:cubicBezTo>
                        <a:pt x="22852" y="24580"/>
                        <a:pt x="15254" y="28191"/>
                        <a:pt x="8528" y="25700"/>
                      </a:cubicBezTo>
                      <a:cubicBezTo>
                        <a:pt x="1801" y="23209"/>
                        <a:pt x="-1686" y="15611"/>
                        <a:pt x="805" y="87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0" name="Graphic 2987">
                <a:extLst>
                  <a:ext uri="{FF2B5EF4-FFF2-40B4-BE49-F238E27FC236}">
                    <a16:creationId xmlns:a16="http://schemas.microsoft.com/office/drawing/2014/main" id="{45EDDE57-CA26-9A05-CC7B-BDEB151FE280}"/>
                  </a:ext>
                </a:extLst>
              </p:cNvPr>
              <p:cNvGrpSpPr/>
              <p:nvPr/>
            </p:nvGrpSpPr>
            <p:grpSpPr>
              <a:xfrm>
                <a:off x="10930360" y="5948394"/>
                <a:ext cx="69432" cy="140972"/>
                <a:chOff x="10930360" y="5948394"/>
                <a:chExt cx="69432" cy="140972"/>
              </a:xfrm>
              <a:grpFill/>
            </p:grpSpPr>
            <p:sp>
              <p:nvSpPr>
                <p:cNvPr id="3959" name="Freeform 5658">
                  <a:extLst>
                    <a:ext uri="{FF2B5EF4-FFF2-40B4-BE49-F238E27FC236}">
                      <a16:creationId xmlns:a16="http://schemas.microsoft.com/office/drawing/2014/main" id="{614ACC59-13B0-B799-3B75-FB194C72AE98}"/>
                    </a:ext>
                  </a:extLst>
                </p:cNvPr>
                <p:cNvSpPr/>
                <p:nvPr/>
              </p:nvSpPr>
              <p:spPr>
                <a:xfrm>
                  <a:off x="10961573" y="5966885"/>
                  <a:ext cx="18808" cy="48577"/>
                </a:xfrm>
                <a:custGeom>
                  <a:avLst/>
                  <a:gdLst>
                    <a:gd name="connsiteX0" fmla="*/ 18808 w 18808"/>
                    <a:gd name="connsiteY0" fmla="*/ 0 h 48577"/>
                    <a:gd name="connsiteX1" fmla="*/ 10463 w 18808"/>
                    <a:gd name="connsiteY1" fmla="*/ 16815 h 48577"/>
                    <a:gd name="connsiteX2" fmla="*/ 7723 w 18808"/>
                    <a:gd name="connsiteY2" fmla="*/ 3400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3702" y="6726"/>
                        <a:pt x="11460" y="12580"/>
                        <a:pt x="10463" y="16815"/>
                      </a:cubicBezTo>
                      <a:cubicBezTo>
                        <a:pt x="8719" y="23666"/>
                        <a:pt x="9716" y="27153"/>
                        <a:pt x="7723" y="34004"/>
                      </a:cubicBezTo>
                      <a:cubicBezTo>
                        <a:pt x="5730" y="40606"/>
                        <a:pt x="2491" y="45463"/>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0" name="Freeform 5659">
                  <a:extLst>
                    <a:ext uri="{FF2B5EF4-FFF2-40B4-BE49-F238E27FC236}">
                      <a16:creationId xmlns:a16="http://schemas.microsoft.com/office/drawing/2014/main" id="{3DADB84C-0155-ABB1-45C3-5B129610E707}"/>
                    </a:ext>
                  </a:extLst>
                </p:cNvPr>
                <p:cNvSpPr/>
                <p:nvPr/>
              </p:nvSpPr>
              <p:spPr>
                <a:xfrm>
                  <a:off x="10971164" y="5964643"/>
                  <a:ext cx="17686" cy="49075"/>
                </a:xfrm>
                <a:custGeom>
                  <a:avLst/>
                  <a:gdLst>
                    <a:gd name="connsiteX0" fmla="*/ 0 w 17686"/>
                    <a:gd name="connsiteY0" fmla="*/ 49076 h 49075"/>
                    <a:gd name="connsiteX1" fmla="*/ 4733 w 17686"/>
                    <a:gd name="connsiteY1" fmla="*/ 30890 h 49075"/>
                    <a:gd name="connsiteX2" fmla="*/ 13950 w 17686"/>
                    <a:gd name="connsiteY2" fmla="*/ 16068 h 49075"/>
                    <a:gd name="connsiteX3" fmla="*/ 17687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0" y="49076"/>
                      </a:moveTo>
                      <a:cubicBezTo>
                        <a:pt x="498" y="40730"/>
                        <a:pt x="2741" y="34752"/>
                        <a:pt x="4733" y="30890"/>
                      </a:cubicBezTo>
                      <a:cubicBezTo>
                        <a:pt x="7847" y="24663"/>
                        <a:pt x="10961" y="22545"/>
                        <a:pt x="13950" y="16068"/>
                      </a:cubicBezTo>
                      <a:cubicBezTo>
                        <a:pt x="16815" y="9840"/>
                        <a:pt x="17562"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1" name="Freeform 5660">
                  <a:extLst>
                    <a:ext uri="{FF2B5EF4-FFF2-40B4-BE49-F238E27FC236}">
                      <a16:creationId xmlns:a16="http://schemas.microsoft.com/office/drawing/2014/main" id="{469EE631-1429-CD51-E97D-9C1F9E138D4F}"/>
                    </a:ext>
                  </a:extLst>
                </p:cNvPr>
                <p:cNvSpPr/>
                <p:nvPr/>
              </p:nvSpPr>
              <p:spPr>
                <a:xfrm>
                  <a:off x="10972853" y="5948394"/>
                  <a:ext cx="26940" cy="26394"/>
                </a:xfrm>
                <a:custGeom>
                  <a:avLst/>
                  <a:gdLst>
                    <a:gd name="connsiteX0" fmla="*/ 26087 w 26940"/>
                    <a:gd name="connsiteY0" fmla="*/ 17744 h 26394"/>
                    <a:gd name="connsiteX1" fmla="*/ 8775 w 26940"/>
                    <a:gd name="connsiteY1" fmla="*/ 25591 h 26394"/>
                    <a:gd name="connsiteX2" fmla="*/ 803 w 26940"/>
                    <a:gd name="connsiteY2" fmla="*/ 8651 h 26394"/>
                    <a:gd name="connsiteX3" fmla="*/ 18116 w 26940"/>
                    <a:gd name="connsiteY3" fmla="*/ 804 h 26394"/>
                    <a:gd name="connsiteX4" fmla="*/ 26087 w 26940"/>
                    <a:gd name="connsiteY4" fmla="*/ 17744 h 2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0" h="26394">
                      <a:moveTo>
                        <a:pt x="26087" y="17744"/>
                      </a:moveTo>
                      <a:cubicBezTo>
                        <a:pt x="23472" y="24594"/>
                        <a:pt x="15750" y="28082"/>
                        <a:pt x="8775" y="25591"/>
                      </a:cubicBezTo>
                      <a:cubicBezTo>
                        <a:pt x="1799" y="23100"/>
                        <a:pt x="-1689" y="15502"/>
                        <a:pt x="803" y="8651"/>
                      </a:cubicBezTo>
                      <a:cubicBezTo>
                        <a:pt x="3294" y="1800"/>
                        <a:pt x="11016" y="-1687"/>
                        <a:pt x="18116" y="804"/>
                      </a:cubicBezTo>
                      <a:cubicBezTo>
                        <a:pt x="25092" y="3295"/>
                        <a:pt x="28703" y="10893"/>
                        <a:pt x="26087" y="177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2" name="Freeform 5661">
                  <a:extLst>
                    <a:ext uri="{FF2B5EF4-FFF2-40B4-BE49-F238E27FC236}">
                      <a16:creationId xmlns:a16="http://schemas.microsoft.com/office/drawing/2014/main" id="{96146421-1F4C-5891-05AE-59E3628C8203}"/>
                    </a:ext>
                  </a:extLst>
                </p:cNvPr>
                <p:cNvSpPr/>
                <p:nvPr/>
              </p:nvSpPr>
              <p:spPr>
                <a:xfrm>
                  <a:off x="10949367" y="6022189"/>
                  <a:ext cx="18933" cy="48577"/>
                </a:xfrm>
                <a:custGeom>
                  <a:avLst/>
                  <a:gdLst>
                    <a:gd name="connsiteX0" fmla="*/ 0 w 18933"/>
                    <a:gd name="connsiteY0" fmla="*/ 48577 h 48577"/>
                    <a:gd name="connsiteX1" fmla="*/ 8345 w 18933"/>
                    <a:gd name="connsiteY1" fmla="*/ 31762 h 48577"/>
                    <a:gd name="connsiteX2" fmla="*/ 11210 w 18933"/>
                    <a:gd name="connsiteY2" fmla="*/ 14573 h 48577"/>
                    <a:gd name="connsiteX3" fmla="*/ 18933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0" y="48577"/>
                      </a:moveTo>
                      <a:cubicBezTo>
                        <a:pt x="5107" y="41852"/>
                        <a:pt x="7349" y="35997"/>
                        <a:pt x="8345" y="31762"/>
                      </a:cubicBezTo>
                      <a:cubicBezTo>
                        <a:pt x="10089" y="25036"/>
                        <a:pt x="9092" y="21424"/>
                        <a:pt x="11210" y="14573"/>
                      </a:cubicBezTo>
                      <a:cubicBezTo>
                        <a:pt x="13203" y="7972"/>
                        <a:pt x="16442" y="3114"/>
                        <a:pt x="189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3" name="Freeform 5662">
                  <a:extLst>
                    <a:ext uri="{FF2B5EF4-FFF2-40B4-BE49-F238E27FC236}">
                      <a16:creationId xmlns:a16="http://schemas.microsoft.com/office/drawing/2014/main" id="{DEB79EA2-B8CB-0AF5-9C80-61F4736E360F}"/>
                    </a:ext>
                  </a:extLst>
                </p:cNvPr>
                <p:cNvSpPr/>
                <p:nvPr/>
              </p:nvSpPr>
              <p:spPr>
                <a:xfrm>
                  <a:off x="10941021" y="6024057"/>
                  <a:ext cx="17562" cy="49075"/>
                </a:xfrm>
                <a:custGeom>
                  <a:avLst/>
                  <a:gdLst>
                    <a:gd name="connsiteX0" fmla="*/ 17562 w 17562"/>
                    <a:gd name="connsiteY0" fmla="*/ 0 h 49075"/>
                    <a:gd name="connsiteX1" fmla="*/ 12829 w 17562"/>
                    <a:gd name="connsiteY1" fmla="*/ 18186 h 49075"/>
                    <a:gd name="connsiteX2" fmla="*/ 3737 w 17562"/>
                    <a:gd name="connsiteY2" fmla="*/ 33008 h 49075"/>
                    <a:gd name="connsiteX3" fmla="*/ 0 w 17562"/>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2" h="49075">
                      <a:moveTo>
                        <a:pt x="17562" y="0"/>
                      </a:moveTo>
                      <a:cubicBezTo>
                        <a:pt x="17064" y="8346"/>
                        <a:pt x="14822" y="14324"/>
                        <a:pt x="12829" y="18186"/>
                      </a:cubicBezTo>
                      <a:cubicBezTo>
                        <a:pt x="9715" y="24414"/>
                        <a:pt x="6601" y="26531"/>
                        <a:pt x="3737" y="33008"/>
                      </a:cubicBezTo>
                      <a:cubicBezTo>
                        <a:pt x="872" y="39236"/>
                        <a:pt x="125" y="45090"/>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4" name="Freeform 5663">
                  <a:extLst>
                    <a:ext uri="{FF2B5EF4-FFF2-40B4-BE49-F238E27FC236}">
                      <a16:creationId xmlns:a16="http://schemas.microsoft.com/office/drawing/2014/main" id="{8C5116F4-C2E6-02F6-0501-60CA814E3B02}"/>
                    </a:ext>
                  </a:extLst>
                </p:cNvPr>
                <p:cNvSpPr/>
                <p:nvPr/>
              </p:nvSpPr>
              <p:spPr>
                <a:xfrm>
                  <a:off x="10930360" y="6063002"/>
                  <a:ext cx="26245" cy="26364"/>
                </a:xfrm>
                <a:custGeom>
                  <a:avLst/>
                  <a:gdLst>
                    <a:gd name="connsiteX0" fmla="*/ 821 w 26245"/>
                    <a:gd name="connsiteY0" fmla="*/ 8761 h 26364"/>
                    <a:gd name="connsiteX1" fmla="*/ 17761 w 26245"/>
                    <a:gd name="connsiteY1" fmla="*/ 789 h 26364"/>
                    <a:gd name="connsiteX2" fmla="*/ 25359 w 26245"/>
                    <a:gd name="connsiteY2" fmla="*/ 17604 h 26364"/>
                    <a:gd name="connsiteX3" fmla="*/ 8419 w 26245"/>
                    <a:gd name="connsiteY3" fmla="*/ 25576 h 26364"/>
                    <a:gd name="connsiteX4" fmla="*/ 821 w 26245"/>
                    <a:gd name="connsiteY4" fmla="*/ 8761 h 2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5" h="26363">
                      <a:moveTo>
                        <a:pt x="821" y="8761"/>
                      </a:moveTo>
                      <a:cubicBezTo>
                        <a:pt x="3312" y="1910"/>
                        <a:pt x="10910" y="-1702"/>
                        <a:pt x="17761" y="789"/>
                      </a:cubicBezTo>
                      <a:cubicBezTo>
                        <a:pt x="24612" y="3280"/>
                        <a:pt x="27975" y="10754"/>
                        <a:pt x="25359" y="17604"/>
                      </a:cubicBezTo>
                      <a:cubicBezTo>
                        <a:pt x="22743" y="24455"/>
                        <a:pt x="15145" y="28067"/>
                        <a:pt x="8419" y="25576"/>
                      </a:cubicBezTo>
                      <a:cubicBezTo>
                        <a:pt x="1693" y="23209"/>
                        <a:pt x="-1670" y="15611"/>
                        <a:pt x="821"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1" name="Graphic 2987">
                <a:extLst>
                  <a:ext uri="{FF2B5EF4-FFF2-40B4-BE49-F238E27FC236}">
                    <a16:creationId xmlns:a16="http://schemas.microsoft.com/office/drawing/2014/main" id="{E4674184-F7A9-0CDC-06E3-D0B5F2BA5D9F}"/>
                  </a:ext>
                </a:extLst>
              </p:cNvPr>
              <p:cNvGrpSpPr/>
              <p:nvPr/>
            </p:nvGrpSpPr>
            <p:grpSpPr>
              <a:xfrm>
                <a:off x="10957745" y="5958706"/>
                <a:ext cx="70089" cy="141096"/>
                <a:chOff x="10957745" y="5958706"/>
                <a:chExt cx="70089" cy="141096"/>
              </a:xfrm>
              <a:grpFill/>
            </p:grpSpPr>
            <p:sp>
              <p:nvSpPr>
                <p:cNvPr id="3953" name="Freeform 5665">
                  <a:extLst>
                    <a:ext uri="{FF2B5EF4-FFF2-40B4-BE49-F238E27FC236}">
                      <a16:creationId xmlns:a16="http://schemas.microsoft.com/office/drawing/2014/main" id="{69BEAF52-0F30-F16F-2137-6A78C1262497}"/>
                    </a:ext>
                  </a:extLst>
                </p:cNvPr>
                <p:cNvSpPr/>
                <p:nvPr/>
              </p:nvSpPr>
              <p:spPr>
                <a:xfrm>
                  <a:off x="10989350" y="5977348"/>
                  <a:ext cx="19181" cy="48328"/>
                </a:xfrm>
                <a:custGeom>
                  <a:avLst/>
                  <a:gdLst>
                    <a:gd name="connsiteX0" fmla="*/ 19182 w 19181"/>
                    <a:gd name="connsiteY0" fmla="*/ 0 h 48328"/>
                    <a:gd name="connsiteX1" fmla="*/ 10712 w 19181"/>
                    <a:gd name="connsiteY1" fmla="*/ 16691 h 48328"/>
                    <a:gd name="connsiteX2" fmla="*/ 7847 w 19181"/>
                    <a:gd name="connsiteY2" fmla="*/ 33880 h 48328"/>
                    <a:gd name="connsiteX3" fmla="*/ 0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19182" y="0"/>
                      </a:moveTo>
                      <a:cubicBezTo>
                        <a:pt x="13950" y="6602"/>
                        <a:pt x="11708" y="12580"/>
                        <a:pt x="10712" y="16691"/>
                      </a:cubicBezTo>
                      <a:cubicBezTo>
                        <a:pt x="8968" y="23542"/>
                        <a:pt x="9840" y="27153"/>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4" name="Freeform 5666">
                  <a:extLst>
                    <a:ext uri="{FF2B5EF4-FFF2-40B4-BE49-F238E27FC236}">
                      <a16:creationId xmlns:a16="http://schemas.microsoft.com/office/drawing/2014/main" id="{AEF27493-5BAF-CF95-F1BA-CA12E68B2CE5}"/>
                    </a:ext>
                  </a:extLst>
                </p:cNvPr>
                <p:cNvSpPr/>
                <p:nvPr/>
              </p:nvSpPr>
              <p:spPr>
                <a:xfrm>
                  <a:off x="10998940" y="5975230"/>
                  <a:ext cx="18061" cy="48951"/>
                </a:xfrm>
                <a:custGeom>
                  <a:avLst/>
                  <a:gdLst>
                    <a:gd name="connsiteX0" fmla="*/ 0 w 18061"/>
                    <a:gd name="connsiteY0" fmla="*/ 48951 h 48951"/>
                    <a:gd name="connsiteX1" fmla="*/ 4858 w 18061"/>
                    <a:gd name="connsiteY1" fmla="*/ 30766 h 48951"/>
                    <a:gd name="connsiteX2" fmla="*/ 14200 w 18061"/>
                    <a:gd name="connsiteY2" fmla="*/ 1606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623" y="40481"/>
                        <a:pt x="2865" y="34627"/>
                        <a:pt x="4858" y="30766"/>
                      </a:cubicBezTo>
                      <a:cubicBezTo>
                        <a:pt x="8097" y="24538"/>
                        <a:pt x="11210" y="22545"/>
                        <a:pt x="14200" y="16068"/>
                      </a:cubicBezTo>
                      <a:cubicBezTo>
                        <a:pt x="17189" y="9840"/>
                        <a:pt x="17812"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5" name="Freeform 5667">
                  <a:extLst>
                    <a:ext uri="{FF2B5EF4-FFF2-40B4-BE49-F238E27FC236}">
                      <a16:creationId xmlns:a16="http://schemas.microsoft.com/office/drawing/2014/main" id="{C5A84812-8C9B-D71A-EE08-E269D0585B6B}"/>
                    </a:ext>
                  </a:extLst>
                </p:cNvPr>
                <p:cNvSpPr/>
                <p:nvPr/>
              </p:nvSpPr>
              <p:spPr>
                <a:xfrm>
                  <a:off x="11001126" y="5958706"/>
                  <a:ext cx="26708" cy="26696"/>
                </a:xfrm>
                <a:custGeom>
                  <a:avLst/>
                  <a:gdLst>
                    <a:gd name="connsiteX0" fmla="*/ 25840 w 26708"/>
                    <a:gd name="connsiteY0" fmla="*/ 18268 h 26696"/>
                    <a:gd name="connsiteX1" fmla="*/ 8650 w 26708"/>
                    <a:gd name="connsiteY1" fmla="*/ 25742 h 26696"/>
                    <a:gd name="connsiteX2" fmla="*/ 804 w 26708"/>
                    <a:gd name="connsiteY2" fmla="*/ 8428 h 26696"/>
                    <a:gd name="connsiteX3" fmla="*/ 17992 w 26708"/>
                    <a:gd name="connsiteY3" fmla="*/ 955 h 26696"/>
                    <a:gd name="connsiteX4" fmla="*/ 25840 w 26708"/>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696">
                      <a:moveTo>
                        <a:pt x="25840" y="18268"/>
                      </a:moveTo>
                      <a:cubicBezTo>
                        <a:pt x="23224" y="25119"/>
                        <a:pt x="15502" y="28482"/>
                        <a:pt x="8650" y="25742"/>
                      </a:cubicBezTo>
                      <a:cubicBezTo>
                        <a:pt x="1800" y="23001"/>
                        <a:pt x="-1687" y="15279"/>
                        <a:pt x="804" y="8428"/>
                      </a:cubicBezTo>
                      <a:cubicBezTo>
                        <a:pt x="3419" y="1577"/>
                        <a:pt x="11142" y="-1786"/>
                        <a:pt x="17992" y="955"/>
                      </a:cubicBezTo>
                      <a:cubicBezTo>
                        <a:pt x="24968" y="3695"/>
                        <a:pt x="28455" y="11418"/>
                        <a:pt x="2584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6" name="Freeform 5668">
                  <a:extLst>
                    <a:ext uri="{FF2B5EF4-FFF2-40B4-BE49-F238E27FC236}">
                      <a16:creationId xmlns:a16="http://schemas.microsoft.com/office/drawing/2014/main" id="{8A636070-422D-2964-FFE3-4FFDDE64FA1C}"/>
                    </a:ext>
                  </a:extLst>
                </p:cNvPr>
                <p:cNvSpPr/>
                <p:nvPr/>
              </p:nvSpPr>
              <p:spPr>
                <a:xfrm>
                  <a:off x="10976645" y="6032776"/>
                  <a:ext cx="19306" cy="48328"/>
                </a:xfrm>
                <a:custGeom>
                  <a:avLst/>
                  <a:gdLst>
                    <a:gd name="connsiteX0" fmla="*/ 0 w 19306"/>
                    <a:gd name="connsiteY0" fmla="*/ 48328 h 48328"/>
                    <a:gd name="connsiteX1" fmla="*/ 8470 w 19306"/>
                    <a:gd name="connsiteY1" fmla="*/ 31638 h 48328"/>
                    <a:gd name="connsiteX2" fmla="*/ 11459 w 19306"/>
                    <a:gd name="connsiteY2" fmla="*/ 14449 h 48328"/>
                    <a:gd name="connsiteX3" fmla="*/ 19306 w 19306"/>
                    <a:gd name="connsiteY3" fmla="*/ 0 h 48328"/>
                  </a:gdLst>
                  <a:ahLst/>
                  <a:cxnLst>
                    <a:cxn ang="0">
                      <a:pos x="connsiteX0" y="connsiteY0"/>
                    </a:cxn>
                    <a:cxn ang="0">
                      <a:pos x="connsiteX1" y="connsiteY1"/>
                    </a:cxn>
                    <a:cxn ang="0">
                      <a:pos x="connsiteX2" y="connsiteY2"/>
                    </a:cxn>
                    <a:cxn ang="0">
                      <a:pos x="connsiteX3" y="connsiteY3"/>
                    </a:cxn>
                  </a:cxnLst>
                  <a:rect l="l" t="t" r="r" b="b"/>
                  <a:pathLst>
                    <a:path w="19306" h="48328">
                      <a:moveTo>
                        <a:pt x="0" y="48328"/>
                      </a:moveTo>
                      <a:cubicBezTo>
                        <a:pt x="5107" y="41727"/>
                        <a:pt x="7349" y="35748"/>
                        <a:pt x="8470" y="31638"/>
                      </a:cubicBezTo>
                      <a:cubicBezTo>
                        <a:pt x="10214" y="24912"/>
                        <a:pt x="9342" y="21299"/>
                        <a:pt x="11459" y="14449"/>
                      </a:cubicBezTo>
                      <a:cubicBezTo>
                        <a:pt x="13452" y="7847"/>
                        <a:pt x="16815" y="2989"/>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7" name="Freeform 5669">
                  <a:extLst>
                    <a:ext uri="{FF2B5EF4-FFF2-40B4-BE49-F238E27FC236}">
                      <a16:creationId xmlns:a16="http://schemas.microsoft.com/office/drawing/2014/main" id="{4F4385F1-36F1-4B3B-A67E-182005D3456E}"/>
                    </a:ext>
                  </a:extLst>
                </p:cNvPr>
                <p:cNvSpPr/>
                <p:nvPr/>
              </p:nvSpPr>
              <p:spPr>
                <a:xfrm>
                  <a:off x="10968300" y="6034395"/>
                  <a:ext cx="17936" cy="48951"/>
                </a:xfrm>
                <a:custGeom>
                  <a:avLst/>
                  <a:gdLst>
                    <a:gd name="connsiteX0" fmla="*/ 17936 w 17936"/>
                    <a:gd name="connsiteY0" fmla="*/ 0 h 48951"/>
                    <a:gd name="connsiteX1" fmla="*/ 13078 w 17936"/>
                    <a:gd name="connsiteY1" fmla="*/ 18185 h 48951"/>
                    <a:gd name="connsiteX2" fmla="*/ 3861 w 17936"/>
                    <a:gd name="connsiteY2" fmla="*/ 3288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7438" y="8470"/>
                        <a:pt x="15071" y="14324"/>
                        <a:pt x="13078" y="18185"/>
                      </a:cubicBezTo>
                      <a:cubicBezTo>
                        <a:pt x="9840" y="24413"/>
                        <a:pt x="6851" y="26531"/>
                        <a:pt x="3861"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8" name="Freeform 5670">
                  <a:extLst>
                    <a:ext uri="{FF2B5EF4-FFF2-40B4-BE49-F238E27FC236}">
                      <a16:creationId xmlns:a16="http://schemas.microsoft.com/office/drawing/2014/main" id="{FE75D557-FB93-1C78-993C-F9A6B97151D0}"/>
                    </a:ext>
                  </a:extLst>
                </p:cNvPr>
                <p:cNvSpPr/>
                <p:nvPr/>
              </p:nvSpPr>
              <p:spPr>
                <a:xfrm>
                  <a:off x="10957745" y="6073243"/>
                  <a:ext cx="25959" cy="26559"/>
                </a:xfrm>
                <a:custGeom>
                  <a:avLst/>
                  <a:gdLst>
                    <a:gd name="connsiteX0" fmla="*/ 839 w 25959"/>
                    <a:gd name="connsiteY0" fmla="*/ 8484 h 26559"/>
                    <a:gd name="connsiteX1" fmla="*/ 17654 w 25959"/>
                    <a:gd name="connsiteY1" fmla="*/ 886 h 26559"/>
                    <a:gd name="connsiteX2" fmla="*/ 25003 w 25959"/>
                    <a:gd name="connsiteY2" fmla="*/ 18075 h 26559"/>
                    <a:gd name="connsiteX3" fmla="*/ 8188 w 25959"/>
                    <a:gd name="connsiteY3" fmla="*/ 25673 h 26559"/>
                    <a:gd name="connsiteX4" fmla="*/ 839 w 2595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59" h="26559">
                      <a:moveTo>
                        <a:pt x="839" y="8484"/>
                      </a:moveTo>
                      <a:cubicBezTo>
                        <a:pt x="3454" y="1634"/>
                        <a:pt x="10928" y="-1730"/>
                        <a:pt x="17654" y="886"/>
                      </a:cubicBezTo>
                      <a:cubicBezTo>
                        <a:pt x="24380" y="3502"/>
                        <a:pt x="27743" y="11225"/>
                        <a:pt x="25003" y="18075"/>
                      </a:cubicBezTo>
                      <a:cubicBezTo>
                        <a:pt x="22388" y="24926"/>
                        <a:pt x="14789" y="28289"/>
                        <a:pt x="8188" y="25673"/>
                      </a:cubicBezTo>
                      <a:cubicBezTo>
                        <a:pt x="1586" y="22933"/>
                        <a:pt x="-1653" y="15335"/>
                        <a:pt x="839"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2" name="Graphic 2987">
                <a:extLst>
                  <a:ext uri="{FF2B5EF4-FFF2-40B4-BE49-F238E27FC236}">
                    <a16:creationId xmlns:a16="http://schemas.microsoft.com/office/drawing/2014/main" id="{77D587EC-339F-020C-DB3E-1D5902C5FFF8}"/>
                  </a:ext>
                </a:extLst>
              </p:cNvPr>
              <p:cNvGrpSpPr/>
              <p:nvPr/>
            </p:nvGrpSpPr>
            <p:grpSpPr>
              <a:xfrm>
                <a:off x="10984833" y="5969667"/>
                <a:ext cx="70970" cy="140583"/>
                <a:chOff x="10984833" y="5969667"/>
                <a:chExt cx="70970" cy="140583"/>
              </a:xfrm>
              <a:grpFill/>
            </p:grpSpPr>
            <p:sp>
              <p:nvSpPr>
                <p:cNvPr id="3947" name="Freeform 5672">
                  <a:extLst>
                    <a:ext uri="{FF2B5EF4-FFF2-40B4-BE49-F238E27FC236}">
                      <a16:creationId xmlns:a16="http://schemas.microsoft.com/office/drawing/2014/main" id="{6BE205E0-BF99-4234-BAC0-03249220841F}"/>
                    </a:ext>
                  </a:extLst>
                </p:cNvPr>
                <p:cNvSpPr/>
                <p:nvPr/>
              </p:nvSpPr>
              <p:spPr>
                <a:xfrm>
                  <a:off x="11016877" y="5988309"/>
                  <a:ext cx="19555" cy="48328"/>
                </a:xfrm>
                <a:custGeom>
                  <a:avLst/>
                  <a:gdLst>
                    <a:gd name="connsiteX0" fmla="*/ 19556 w 19555"/>
                    <a:gd name="connsiteY0" fmla="*/ 0 h 48328"/>
                    <a:gd name="connsiteX1" fmla="*/ 10961 w 19555"/>
                    <a:gd name="connsiteY1" fmla="*/ 16691 h 48328"/>
                    <a:gd name="connsiteX2" fmla="*/ 7972 w 19555"/>
                    <a:gd name="connsiteY2" fmla="*/ 33880 h 48328"/>
                    <a:gd name="connsiteX3" fmla="*/ 0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19556" y="0"/>
                      </a:moveTo>
                      <a:cubicBezTo>
                        <a:pt x="14324" y="6602"/>
                        <a:pt x="12082" y="12456"/>
                        <a:pt x="10961"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8" name="Freeform 5673">
                  <a:extLst>
                    <a:ext uri="{FF2B5EF4-FFF2-40B4-BE49-F238E27FC236}">
                      <a16:creationId xmlns:a16="http://schemas.microsoft.com/office/drawing/2014/main" id="{29EF48E4-D378-5D4F-04FE-C1BAC41B5E73}"/>
                    </a:ext>
                  </a:extLst>
                </p:cNvPr>
                <p:cNvSpPr/>
                <p:nvPr/>
              </p:nvSpPr>
              <p:spPr>
                <a:xfrm>
                  <a:off x="11026468" y="5986067"/>
                  <a:ext cx="18434" cy="48951"/>
                </a:xfrm>
                <a:custGeom>
                  <a:avLst/>
                  <a:gdLst>
                    <a:gd name="connsiteX0" fmla="*/ 0 w 18434"/>
                    <a:gd name="connsiteY0" fmla="*/ 48951 h 48951"/>
                    <a:gd name="connsiteX1" fmla="*/ 4983 w 18434"/>
                    <a:gd name="connsiteY1" fmla="*/ 30766 h 48951"/>
                    <a:gd name="connsiteX2" fmla="*/ 14448 w 18434"/>
                    <a:gd name="connsiteY2" fmla="*/ 16068 h 48951"/>
                    <a:gd name="connsiteX3" fmla="*/ 18434 w 18434"/>
                    <a:gd name="connsiteY3" fmla="*/ 0 h 48951"/>
                  </a:gdLst>
                  <a:ahLst/>
                  <a:cxnLst>
                    <a:cxn ang="0">
                      <a:pos x="connsiteX0" y="connsiteY0"/>
                    </a:cxn>
                    <a:cxn ang="0">
                      <a:pos x="connsiteX1" y="connsiteY1"/>
                    </a:cxn>
                    <a:cxn ang="0">
                      <a:pos x="connsiteX2" y="connsiteY2"/>
                    </a:cxn>
                    <a:cxn ang="0">
                      <a:pos x="connsiteX3" y="connsiteY3"/>
                    </a:cxn>
                  </a:cxnLst>
                  <a:rect l="l" t="t" r="r" b="b"/>
                  <a:pathLst>
                    <a:path w="18434" h="48951">
                      <a:moveTo>
                        <a:pt x="0" y="48951"/>
                      </a:moveTo>
                      <a:cubicBezTo>
                        <a:pt x="623" y="40606"/>
                        <a:pt x="2989" y="34627"/>
                        <a:pt x="4983" y="30766"/>
                      </a:cubicBezTo>
                      <a:cubicBezTo>
                        <a:pt x="8220" y="24538"/>
                        <a:pt x="11334" y="22545"/>
                        <a:pt x="14448" y="16068"/>
                      </a:cubicBezTo>
                      <a:cubicBezTo>
                        <a:pt x="17438" y="9840"/>
                        <a:pt x="18186" y="3986"/>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9" name="Freeform 5674">
                  <a:extLst>
                    <a:ext uri="{FF2B5EF4-FFF2-40B4-BE49-F238E27FC236}">
                      <a16:creationId xmlns:a16="http://schemas.microsoft.com/office/drawing/2014/main" id="{0A0482E7-2445-F481-2C73-637A802FA778}"/>
                    </a:ext>
                  </a:extLst>
                </p:cNvPr>
                <p:cNvSpPr/>
                <p:nvPr/>
              </p:nvSpPr>
              <p:spPr>
                <a:xfrm>
                  <a:off x="11028961" y="5969667"/>
                  <a:ext cx="26841" cy="26644"/>
                </a:xfrm>
                <a:custGeom>
                  <a:avLst/>
                  <a:gdLst>
                    <a:gd name="connsiteX0" fmla="*/ 25906 w 26841"/>
                    <a:gd name="connsiteY0" fmla="*/ 18268 h 26644"/>
                    <a:gd name="connsiteX1" fmla="*/ 8593 w 26841"/>
                    <a:gd name="connsiteY1" fmla="*/ 25742 h 26644"/>
                    <a:gd name="connsiteX2" fmla="*/ 870 w 26841"/>
                    <a:gd name="connsiteY2" fmla="*/ 8428 h 26644"/>
                    <a:gd name="connsiteX3" fmla="*/ 18183 w 26841"/>
                    <a:gd name="connsiteY3" fmla="*/ 955 h 26644"/>
                    <a:gd name="connsiteX4" fmla="*/ 25906 w 26841"/>
                    <a:gd name="connsiteY4" fmla="*/ 18268 h 2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644">
                      <a:moveTo>
                        <a:pt x="25906" y="18268"/>
                      </a:moveTo>
                      <a:cubicBezTo>
                        <a:pt x="23166" y="25119"/>
                        <a:pt x="15443" y="28357"/>
                        <a:pt x="8593" y="25742"/>
                      </a:cubicBezTo>
                      <a:cubicBezTo>
                        <a:pt x="1742" y="23001"/>
                        <a:pt x="-1746" y="15279"/>
                        <a:pt x="870" y="8428"/>
                      </a:cubicBezTo>
                      <a:cubicBezTo>
                        <a:pt x="3485" y="1577"/>
                        <a:pt x="11208" y="-1786"/>
                        <a:pt x="18183" y="955"/>
                      </a:cubicBezTo>
                      <a:cubicBezTo>
                        <a:pt x="25158" y="3819"/>
                        <a:pt x="28646" y="11542"/>
                        <a:pt x="25906"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0" name="Freeform 5675">
                  <a:extLst>
                    <a:ext uri="{FF2B5EF4-FFF2-40B4-BE49-F238E27FC236}">
                      <a16:creationId xmlns:a16="http://schemas.microsoft.com/office/drawing/2014/main" id="{1F61BBEA-2F4E-4AB8-F1DE-8C8178444600}"/>
                    </a:ext>
                  </a:extLst>
                </p:cNvPr>
                <p:cNvSpPr/>
                <p:nvPr/>
              </p:nvSpPr>
              <p:spPr>
                <a:xfrm>
                  <a:off x="11003798" y="6043488"/>
                  <a:ext cx="19680" cy="48328"/>
                </a:xfrm>
                <a:custGeom>
                  <a:avLst/>
                  <a:gdLst>
                    <a:gd name="connsiteX0" fmla="*/ 0 w 19680"/>
                    <a:gd name="connsiteY0" fmla="*/ 48328 h 48328"/>
                    <a:gd name="connsiteX1" fmla="*/ 8595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1" y="41727"/>
                        <a:pt x="7474" y="35873"/>
                        <a:pt x="8595" y="31638"/>
                      </a:cubicBezTo>
                      <a:cubicBezTo>
                        <a:pt x="10463" y="24912"/>
                        <a:pt x="9591" y="21300"/>
                        <a:pt x="11708" y="14449"/>
                      </a:cubicBezTo>
                      <a:cubicBezTo>
                        <a:pt x="13702" y="7847"/>
                        <a:pt x="17189" y="2990"/>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1" name="Freeform 5676">
                  <a:extLst>
                    <a:ext uri="{FF2B5EF4-FFF2-40B4-BE49-F238E27FC236}">
                      <a16:creationId xmlns:a16="http://schemas.microsoft.com/office/drawing/2014/main" id="{7434A775-C0EF-99E7-2269-338164C938E3}"/>
                    </a:ext>
                  </a:extLst>
                </p:cNvPr>
                <p:cNvSpPr/>
                <p:nvPr/>
              </p:nvSpPr>
              <p:spPr>
                <a:xfrm>
                  <a:off x="10995453" y="6045107"/>
                  <a:ext cx="18309" cy="48951"/>
                </a:xfrm>
                <a:custGeom>
                  <a:avLst/>
                  <a:gdLst>
                    <a:gd name="connsiteX0" fmla="*/ 18310 w 18309"/>
                    <a:gd name="connsiteY0" fmla="*/ 0 h 48951"/>
                    <a:gd name="connsiteX1" fmla="*/ 13328 w 18309"/>
                    <a:gd name="connsiteY1" fmla="*/ 18185 h 48951"/>
                    <a:gd name="connsiteX2" fmla="*/ 3986 w 18309"/>
                    <a:gd name="connsiteY2" fmla="*/ 32883 h 48951"/>
                    <a:gd name="connsiteX3" fmla="*/ 0 w 18309"/>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09" h="48951">
                      <a:moveTo>
                        <a:pt x="18310" y="0"/>
                      </a:moveTo>
                      <a:cubicBezTo>
                        <a:pt x="17687" y="8346"/>
                        <a:pt x="15320" y="14324"/>
                        <a:pt x="13328" y="18185"/>
                      </a:cubicBezTo>
                      <a:cubicBezTo>
                        <a:pt x="10089" y="24413"/>
                        <a:pt x="6975" y="26406"/>
                        <a:pt x="3986" y="32883"/>
                      </a:cubicBezTo>
                      <a:cubicBezTo>
                        <a:pt x="997" y="39111"/>
                        <a:pt x="249" y="44966"/>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2" name="Freeform 5677">
                  <a:extLst>
                    <a:ext uri="{FF2B5EF4-FFF2-40B4-BE49-F238E27FC236}">
                      <a16:creationId xmlns:a16="http://schemas.microsoft.com/office/drawing/2014/main" id="{7371DCAF-AF49-3440-1C1A-20E432A3C5A7}"/>
                    </a:ext>
                  </a:extLst>
                </p:cNvPr>
                <p:cNvSpPr/>
                <p:nvPr/>
              </p:nvSpPr>
              <p:spPr>
                <a:xfrm>
                  <a:off x="10984833" y="6083830"/>
                  <a:ext cx="26098" cy="26420"/>
                </a:xfrm>
                <a:custGeom>
                  <a:avLst/>
                  <a:gdLst>
                    <a:gd name="connsiteX0" fmla="*/ 905 w 26098"/>
                    <a:gd name="connsiteY0" fmla="*/ 8484 h 26420"/>
                    <a:gd name="connsiteX1" fmla="*/ 17845 w 26098"/>
                    <a:gd name="connsiteY1" fmla="*/ 886 h 26420"/>
                    <a:gd name="connsiteX2" fmla="*/ 25194 w 26098"/>
                    <a:gd name="connsiteY2" fmla="*/ 17951 h 26420"/>
                    <a:gd name="connsiteX3" fmla="*/ 8254 w 26098"/>
                    <a:gd name="connsiteY3" fmla="*/ 25549 h 26420"/>
                    <a:gd name="connsiteX4" fmla="*/ 905 w 26098"/>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8" h="26420">
                      <a:moveTo>
                        <a:pt x="905" y="8484"/>
                      </a:moveTo>
                      <a:cubicBezTo>
                        <a:pt x="3521" y="1634"/>
                        <a:pt x="11118" y="-1729"/>
                        <a:pt x="17845" y="886"/>
                      </a:cubicBezTo>
                      <a:cubicBezTo>
                        <a:pt x="24571" y="3502"/>
                        <a:pt x="27810" y="11225"/>
                        <a:pt x="25194" y="17951"/>
                      </a:cubicBezTo>
                      <a:cubicBezTo>
                        <a:pt x="22578" y="24677"/>
                        <a:pt x="14980" y="28164"/>
                        <a:pt x="8254" y="25549"/>
                      </a:cubicBezTo>
                      <a:cubicBezTo>
                        <a:pt x="1528" y="23058"/>
                        <a:pt x="-1711" y="15335"/>
                        <a:pt x="905"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3" name="Graphic 2987">
                <a:extLst>
                  <a:ext uri="{FF2B5EF4-FFF2-40B4-BE49-F238E27FC236}">
                    <a16:creationId xmlns:a16="http://schemas.microsoft.com/office/drawing/2014/main" id="{9FA1524F-D324-5674-8822-149952E88731}"/>
                  </a:ext>
                </a:extLst>
              </p:cNvPr>
              <p:cNvGrpSpPr/>
              <p:nvPr/>
            </p:nvGrpSpPr>
            <p:grpSpPr>
              <a:xfrm>
                <a:off x="11011917" y="5980859"/>
                <a:ext cx="71913" cy="140102"/>
                <a:chOff x="11011917" y="5980859"/>
                <a:chExt cx="71913" cy="140102"/>
              </a:xfrm>
              <a:grpFill/>
            </p:grpSpPr>
            <p:sp>
              <p:nvSpPr>
                <p:cNvPr id="3941" name="Freeform 5679">
                  <a:extLst>
                    <a:ext uri="{FF2B5EF4-FFF2-40B4-BE49-F238E27FC236}">
                      <a16:creationId xmlns:a16="http://schemas.microsoft.com/office/drawing/2014/main" id="{AA13E71D-12D3-6F10-4F45-AF9F9A681C74}"/>
                    </a:ext>
                  </a:extLst>
                </p:cNvPr>
                <p:cNvSpPr/>
                <p:nvPr/>
              </p:nvSpPr>
              <p:spPr>
                <a:xfrm>
                  <a:off x="11044404" y="5999270"/>
                  <a:ext cx="19928" cy="48328"/>
                </a:xfrm>
                <a:custGeom>
                  <a:avLst/>
                  <a:gdLst>
                    <a:gd name="connsiteX0" fmla="*/ 19929 w 19928"/>
                    <a:gd name="connsiteY0" fmla="*/ 0 h 48328"/>
                    <a:gd name="connsiteX1" fmla="*/ 11210 w 19928"/>
                    <a:gd name="connsiteY1" fmla="*/ 16691 h 48328"/>
                    <a:gd name="connsiteX2" fmla="*/ 8097 w 19928"/>
                    <a:gd name="connsiteY2" fmla="*/ 33880 h 48328"/>
                    <a:gd name="connsiteX3" fmla="*/ 0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19929" y="0"/>
                      </a:moveTo>
                      <a:cubicBezTo>
                        <a:pt x="14573" y="6602"/>
                        <a:pt x="12331" y="12456"/>
                        <a:pt x="11210" y="16691"/>
                      </a:cubicBezTo>
                      <a:cubicBezTo>
                        <a:pt x="9342" y="23417"/>
                        <a:pt x="10214" y="27029"/>
                        <a:pt x="8097" y="33880"/>
                      </a:cubicBezTo>
                      <a:cubicBezTo>
                        <a:pt x="5979" y="40481"/>
                        <a:pt x="2616" y="45214"/>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2" name="Freeform 5680">
                  <a:extLst>
                    <a:ext uri="{FF2B5EF4-FFF2-40B4-BE49-F238E27FC236}">
                      <a16:creationId xmlns:a16="http://schemas.microsoft.com/office/drawing/2014/main" id="{7105D5CF-E9E9-5D49-B6C4-B8B3669BB09B}"/>
                    </a:ext>
                  </a:extLst>
                </p:cNvPr>
                <p:cNvSpPr/>
                <p:nvPr/>
              </p:nvSpPr>
              <p:spPr>
                <a:xfrm>
                  <a:off x="11054119" y="5997277"/>
                  <a:ext cx="18683" cy="48577"/>
                </a:xfrm>
                <a:custGeom>
                  <a:avLst/>
                  <a:gdLst>
                    <a:gd name="connsiteX0" fmla="*/ 0 w 18683"/>
                    <a:gd name="connsiteY0" fmla="*/ 48577 h 48577"/>
                    <a:gd name="connsiteX1" fmla="*/ 5107 w 18683"/>
                    <a:gd name="connsiteY1" fmla="*/ 30517 h 48577"/>
                    <a:gd name="connsiteX2" fmla="*/ 14698 w 18683"/>
                    <a:gd name="connsiteY2" fmla="*/ 15943 h 48577"/>
                    <a:gd name="connsiteX3" fmla="*/ 18684 w 18683"/>
                    <a:gd name="connsiteY3" fmla="*/ 0 h 48577"/>
                  </a:gdLst>
                  <a:ahLst/>
                  <a:cxnLst>
                    <a:cxn ang="0">
                      <a:pos x="connsiteX0" y="connsiteY0"/>
                    </a:cxn>
                    <a:cxn ang="0">
                      <a:pos x="connsiteX1" y="connsiteY1"/>
                    </a:cxn>
                    <a:cxn ang="0">
                      <a:pos x="connsiteX2" y="connsiteY2"/>
                    </a:cxn>
                    <a:cxn ang="0">
                      <a:pos x="connsiteX3" y="connsiteY3"/>
                    </a:cxn>
                  </a:cxnLst>
                  <a:rect l="l" t="t" r="r" b="b"/>
                  <a:pathLst>
                    <a:path w="18683" h="48577">
                      <a:moveTo>
                        <a:pt x="0" y="48577"/>
                      </a:moveTo>
                      <a:cubicBezTo>
                        <a:pt x="623" y="40232"/>
                        <a:pt x="2990" y="34378"/>
                        <a:pt x="5107" y="30517"/>
                      </a:cubicBezTo>
                      <a:cubicBezTo>
                        <a:pt x="8471" y="24289"/>
                        <a:pt x="11585" y="22296"/>
                        <a:pt x="14698" y="15943"/>
                      </a:cubicBezTo>
                      <a:cubicBezTo>
                        <a:pt x="17688" y="9715"/>
                        <a:pt x="18560" y="3861"/>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3" name="Freeform 5681">
                  <a:extLst>
                    <a:ext uri="{FF2B5EF4-FFF2-40B4-BE49-F238E27FC236}">
                      <a16:creationId xmlns:a16="http://schemas.microsoft.com/office/drawing/2014/main" id="{F3965C24-CAF5-E0A5-55D9-018BCB5CDACA}"/>
                    </a:ext>
                  </a:extLst>
                </p:cNvPr>
                <p:cNvSpPr/>
                <p:nvPr/>
              </p:nvSpPr>
              <p:spPr>
                <a:xfrm>
                  <a:off x="11056919" y="5980859"/>
                  <a:ext cx="26910" cy="26483"/>
                </a:xfrm>
                <a:custGeom>
                  <a:avLst/>
                  <a:gdLst>
                    <a:gd name="connsiteX0" fmla="*/ 25974 w 26910"/>
                    <a:gd name="connsiteY0" fmla="*/ 18162 h 26483"/>
                    <a:gd name="connsiteX1" fmla="*/ 8535 w 26910"/>
                    <a:gd name="connsiteY1" fmla="*/ 25511 h 26483"/>
                    <a:gd name="connsiteX2" fmla="*/ 938 w 26910"/>
                    <a:gd name="connsiteY2" fmla="*/ 8321 h 26483"/>
                    <a:gd name="connsiteX3" fmla="*/ 18375 w 26910"/>
                    <a:gd name="connsiteY3" fmla="*/ 973 h 26483"/>
                    <a:gd name="connsiteX4" fmla="*/ 25974 w 26910"/>
                    <a:gd name="connsiteY4" fmla="*/ 18162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483">
                      <a:moveTo>
                        <a:pt x="25974" y="18162"/>
                      </a:moveTo>
                      <a:cubicBezTo>
                        <a:pt x="23233" y="25012"/>
                        <a:pt x="15386" y="28251"/>
                        <a:pt x="8535" y="25511"/>
                      </a:cubicBezTo>
                      <a:cubicBezTo>
                        <a:pt x="1685" y="22770"/>
                        <a:pt x="-1803" y="15048"/>
                        <a:pt x="938" y="8321"/>
                      </a:cubicBezTo>
                      <a:cubicBezTo>
                        <a:pt x="3677" y="1471"/>
                        <a:pt x="11400" y="-1768"/>
                        <a:pt x="18375" y="973"/>
                      </a:cubicBezTo>
                      <a:cubicBezTo>
                        <a:pt x="25226" y="3588"/>
                        <a:pt x="28714" y="11311"/>
                        <a:pt x="25974" y="181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4" name="Freeform 5682">
                  <a:extLst>
                    <a:ext uri="{FF2B5EF4-FFF2-40B4-BE49-F238E27FC236}">
                      <a16:creationId xmlns:a16="http://schemas.microsoft.com/office/drawing/2014/main" id="{8CEE72A0-8B3E-E47A-C34A-43F6C923BFC9}"/>
                    </a:ext>
                  </a:extLst>
                </p:cNvPr>
                <p:cNvSpPr/>
                <p:nvPr/>
              </p:nvSpPr>
              <p:spPr>
                <a:xfrm>
                  <a:off x="11030952" y="6054324"/>
                  <a:ext cx="20053" cy="48204"/>
                </a:xfrm>
                <a:custGeom>
                  <a:avLst/>
                  <a:gdLst>
                    <a:gd name="connsiteX0" fmla="*/ 0 w 20053"/>
                    <a:gd name="connsiteY0" fmla="*/ 48204 h 48204"/>
                    <a:gd name="connsiteX1" fmla="*/ 8719 w 20053"/>
                    <a:gd name="connsiteY1" fmla="*/ 31513 h 48204"/>
                    <a:gd name="connsiteX2" fmla="*/ 11958 w 20053"/>
                    <a:gd name="connsiteY2" fmla="*/ 14449 h 48204"/>
                    <a:gd name="connsiteX3" fmla="*/ 20054 w 20053"/>
                    <a:gd name="connsiteY3" fmla="*/ 0 h 48204"/>
                  </a:gdLst>
                  <a:ahLst/>
                  <a:cxnLst>
                    <a:cxn ang="0">
                      <a:pos x="connsiteX0" y="connsiteY0"/>
                    </a:cxn>
                    <a:cxn ang="0">
                      <a:pos x="connsiteX1" y="connsiteY1"/>
                    </a:cxn>
                    <a:cxn ang="0">
                      <a:pos x="connsiteX2" y="connsiteY2"/>
                    </a:cxn>
                    <a:cxn ang="0">
                      <a:pos x="connsiteX3" y="connsiteY3"/>
                    </a:cxn>
                  </a:cxnLst>
                  <a:rect l="l" t="t" r="r" b="b"/>
                  <a:pathLst>
                    <a:path w="20053" h="48204">
                      <a:moveTo>
                        <a:pt x="0" y="48204"/>
                      </a:moveTo>
                      <a:cubicBezTo>
                        <a:pt x="5232" y="41603"/>
                        <a:pt x="7598" y="35748"/>
                        <a:pt x="8719" y="31513"/>
                      </a:cubicBezTo>
                      <a:cubicBezTo>
                        <a:pt x="10588" y="24787"/>
                        <a:pt x="9716" y="21175"/>
                        <a:pt x="11958" y="14449"/>
                      </a:cubicBezTo>
                      <a:cubicBezTo>
                        <a:pt x="14075" y="7847"/>
                        <a:pt x="17438"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5" name="Freeform 5683">
                  <a:extLst>
                    <a:ext uri="{FF2B5EF4-FFF2-40B4-BE49-F238E27FC236}">
                      <a16:creationId xmlns:a16="http://schemas.microsoft.com/office/drawing/2014/main" id="{022181A0-F11C-F6DB-2024-CF0F34C288C3}"/>
                    </a:ext>
                  </a:extLst>
                </p:cNvPr>
                <p:cNvSpPr/>
                <p:nvPr/>
              </p:nvSpPr>
              <p:spPr>
                <a:xfrm>
                  <a:off x="11022607" y="6055944"/>
                  <a:ext cx="18683" cy="48702"/>
                </a:xfrm>
                <a:custGeom>
                  <a:avLst/>
                  <a:gdLst>
                    <a:gd name="connsiteX0" fmla="*/ 18684 w 18683"/>
                    <a:gd name="connsiteY0" fmla="*/ 0 h 48702"/>
                    <a:gd name="connsiteX1" fmla="*/ 13577 w 18683"/>
                    <a:gd name="connsiteY1" fmla="*/ 18061 h 48702"/>
                    <a:gd name="connsiteX2" fmla="*/ 4111 w 18683"/>
                    <a:gd name="connsiteY2" fmla="*/ 32759 h 48702"/>
                    <a:gd name="connsiteX3" fmla="*/ 0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18684" y="0"/>
                      </a:moveTo>
                      <a:cubicBezTo>
                        <a:pt x="18061" y="8346"/>
                        <a:pt x="15694" y="14200"/>
                        <a:pt x="13577" y="18061"/>
                      </a:cubicBezTo>
                      <a:cubicBezTo>
                        <a:pt x="10339" y="24289"/>
                        <a:pt x="7225" y="26282"/>
                        <a:pt x="4111" y="32759"/>
                      </a:cubicBezTo>
                      <a:cubicBezTo>
                        <a:pt x="1121" y="38987"/>
                        <a:pt x="249" y="44841"/>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6" name="Freeform 5684">
                  <a:extLst>
                    <a:ext uri="{FF2B5EF4-FFF2-40B4-BE49-F238E27FC236}">
                      <a16:creationId xmlns:a16="http://schemas.microsoft.com/office/drawing/2014/main" id="{90F6541B-2213-3B4B-4043-0EFF31536E7A}"/>
                    </a:ext>
                  </a:extLst>
                </p:cNvPr>
                <p:cNvSpPr/>
                <p:nvPr/>
              </p:nvSpPr>
              <p:spPr>
                <a:xfrm>
                  <a:off x="11011917" y="6094542"/>
                  <a:ext cx="26237" cy="26420"/>
                </a:xfrm>
                <a:custGeom>
                  <a:avLst/>
                  <a:gdLst>
                    <a:gd name="connsiteX0" fmla="*/ 974 w 26237"/>
                    <a:gd name="connsiteY0" fmla="*/ 8484 h 26420"/>
                    <a:gd name="connsiteX1" fmla="*/ 18039 w 26237"/>
                    <a:gd name="connsiteY1" fmla="*/ 886 h 26420"/>
                    <a:gd name="connsiteX2" fmla="*/ 25263 w 26237"/>
                    <a:gd name="connsiteY2" fmla="*/ 17951 h 26420"/>
                    <a:gd name="connsiteX3" fmla="*/ 8199 w 26237"/>
                    <a:gd name="connsiteY3" fmla="*/ 25549 h 26420"/>
                    <a:gd name="connsiteX4" fmla="*/ 974 w 26237"/>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20">
                      <a:moveTo>
                        <a:pt x="974" y="8484"/>
                      </a:moveTo>
                      <a:cubicBezTo>
                        <a:pt x="3715" y="1634"/>
                        <a:pt x="11313" y="-1729"/>
                        <a:pt x="18039" y="886"/>
                      </a:cubicBezTo>
                      <a:cubicBezTo>
                        <a:pt x="24765" y="3502"/>
                        <a:pt x="28004" y="11224"/>
                        <a:pt x="25263" y="17951"/>
                      </a:cubicBezTo>
                      <a:cubicBezTo>
                        <a:pt x="22523" y="24677"/>
                        <a:pt x="14925" y="28164"/>
                        <a:pt x="8199" y="25549"/>
                      </a:cubicBezTo>
                      <a:cubicBezTo>
                        <a:pt x="1473" y="22933"/>
                        <a:pt x="-1766" y="15335"/>
                        <a:pt x="974"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4" name="Graphic 2987">
                <a:extLst>
                  <a:ext uri="{FF2B5EF4-FFF2-40B4-BE49-F238E27FC236}">
                    <a16:creationId xmlns:a16="http://schemas.microsoft.com/office/drawing/2014/main" id="{A1F1B143-2453-D0E3-818E-E3E14B7DD547}"/>
                  </a:ext>
                </a:extLst>
              </p:cNvPr>
              <p:cNvGrpSpPr/>
              <p:nvPr/>
            </p:nvGrpSpPr>
            <p:grpSpPr>
              <a:xfrm>
                <a:off x="11039054" y="5991837"/>
                <a:ext cx="72712" cy="139710"/>
                <a:chOff x="11039054" y="5991837"/>
                <a:chExt cx="72712" cy="139710"/>
              </a:xfrm>
              <a:grpFill/>
            </p:grpSpPr>
            <p:sp>
              <p:nvSpPr>
                <p:cNvPr id="3935" name="Freeform 5686">
                  <a:extLst>
                    <a:ext uri="{FF2B5EF4-FFF2-40B4-BE49-F238E27FC236}">
                      <a16:creationId xmlns:a16="http://schemas.microsoft.com/office/drawing/2014/main" id="{22BF5251-424F-4A64-7643-D590AB00A38B}"/>
                    </a:ext>
                  </a:extLst>
                </p:cNvPr>
                <p:cNvSpPr/>
                <p:nvPr/>
              </p:nvSpPr>
              <p:spPr>
                <a:xfrm>
                  <a:off x="11071932" y="6010231"/>
                  <a:ext cx="20302" cy="47954"/>
                </a:xfrm>
                <a:custGeom>
                  <a:avLst/>
                  <a:gdLst>
                    <a:gd name="connsiteX0" fmla="*/ 20303 w 20302"/>
                    <a:gd name="connsiteY0" fmla="*/ 0 h 47954"/>
                    <a:gd name="connsiteX1" fmla="*/ 11459 w 20302"/>
                    <a:gd name="connsiteY1" fmla="*/ 16566 h 47954"/>
                    <a:gd name="connsiteX2" fmla="*/ 8220 w 20302"/>
                    <a:gd name="connsiteY2" fmla="*/ 33630 h 47954"/>
                    <a:gd name="connsiteX3" fmla="*/ 0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0"/>
                      </a:moveTo>
                      <a:cubicBezTo>
                        <a:pt x="14946" y="6477"/>
                        <a:pt x="12580" y="12456"/>
                        <a:pt x="11459" y="16566"/>
                      </a:cubicBezTo>
                      <a:cubicBezTo>
                        <a:pt x="9590" y="23292"/>
                        <a:pt x="10462" y="26905"/>
                        <a:pt x="8220" y="33630"/>
                      </a:cubicBezTo>
                      <a:cubicBezTo>
                        <a:pt x="6103" y="40232"/>
                        <a:pt x="2615" y="44965"/>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6" name="Freeform 5687">
                  <a:extLst>
                    <a:ext uri="{FF2B5EF4-FFF2-40B4-BE49-F238E27FC236}">
                      <a16:creationId xmlns:a16="http://schemas.microsoft.com/office/drawing/2014/main" id="{CCCE742A-C26E-9A8F-223E-D60C97A04666}"/>
                    </a:ext>
                  </a:extLst>
                </p:cNvPr>
                <p:cNvSpPr/>
                <p:nvPr/>
              </p:nvSpPr>
              <p:spPr>
                <a:xfrm>
                  <a:off x="11081647" y="6008113"/>
                  <a:ext cx="19057" cy="48577"/>
                </a:xfrm>
                <a:custGeom>
                  <a:avLst/>
                  <a:gdLst>
                    <a:gd name="connsiteX0" fmla="*/ 0 w 19057"/>
                    <a:gd name="connsiteY0" fmla="*/ 48577 h 48577"/>
                    <a:gd name="connsiteX1" fmla="*/ 5231 w 19057"/>
                    <a:gd name="connsiteY1" fmla="*/ 30517 h 48577"/>
                    <a:gd name="connsiteX2" fmla="*/ 14947 w 19057"/>
                    <a:gd name="connsiteY2" fmla="*/ 15943 h 48577"/>
                    <a:gd name="connsiteX3" fmla="*/ 19058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5" y="24413"/>
                        <a:pt x="11708" y="22296"/>
                        <a:pt x="14947" y="15943"/>
                      </a:cubicBezTo>
                      <a:cubicBezTo>
                        <a:pt x="18061" y="9715"/>
                        <a:pt x="18933" y="3861"/>
                        <a:pt x="190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7" name="Freeform 5688">
                  <a:extLst>
                    <a:ext uri="{FF2B5EF4-FFF2-40B4-BE49-F238E27FC236}">
                      <a16:creationId xmlns:a16="http://schemas.microsoft.com/office/drawing/2014/main" id="{442B0487-D19C-270F-0CA3-A26A9817AEA1}"/>
                    </a:ext>
                  </a:extLst>
                </p:cNvPr>
                <p:cNvSpPr/>
                <p:nvPr/>
              </p:nvSpPr>
              <p:spPr>
                <a:xfrm>
                  <a:off x="11084927" y="5991837"/>
                  <a:ext cx="26838" cy="26504"/>
                </a:xfrm>
                <a:custGeom>
                  <a:avLst/>
                  <a:gdLst>
                    <a:gd name="connsiteX0" fmla="*/ 25866 w 26838"/>
                    <a:gd name="connsiteY0" fmla="*/ 18394 h 26504"/>
                    <a:gd name="connsiteX1" fmla="*/ 8428 w 26838"/>
                    <a:gd name="connsiteY1" fmla="*/ 25494 h 26504"/>
                    <a:gd name="connsiteX2" fmla="*/ 955 w 26838"/>
                    <a:gd name="connsiteY2" fmla="*/ 8305 h 26504"/>
                    <a:gd name="connsiteX3" fmla="*/ 18517 w 26838"/>
                    <a:gd name="connsiteY3" fmla="*/ 956 h 26504"/>
                    <a:gd name="connsiteX4" fmla="*/ 25866 w 26838"/>
                    <a:gd name="connsiteY4" fmla="*/ 1839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8" h="26504">
                      <a:moveTo>
                        <a:pt x="25866" y="18394"/>
                      </a:moveTo>
                      <a:cubicBezTo>
                        <a:pt x="23001" y="25245"/>
                        <a:pt x="15403" y="28234"/>
                        <a:pt x="8428" y="25494"/>
                      </a:cubicBezTo>
                      <a:cubicBezTo>
                        <a:pt x="1578" y="22754"/>
                        <a:pt x="-1786" y="15031"/>
                        <a:pt x="955" y="8305"/>
                      </a:cubicBezTo>
                      <a:cubicBezTo>
                        <a:pt x="3695" y="1579"/>
                        <a:pt x="11542" y="-1784"/>
                        <a:pt x="18517" y="956"/>
                      </a:cubicBezTo>
                      <a:cubicBezTo>
                        <a:pt x="25368" y="3572"/>
                        <a:pt x="28606" y="11668"/>
                        <a:pt x="25866" y="183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8" name="Freeform 5689">
                  <a:extLst>
                    <a:ext uri="{FF2B5EF4-FFF2-40B4-BE49-F238E27FC236}">
                      <a16:creationId xmlns:a16="http://schemas.microsoft.com/office/drawing/2014/main" id="{C32919F2-2DE6-076A-4767-EFC1FC577045}"/>
                    </a:ext>
                  </a:extLst>
                </p:cNvPr>
                <p:cNvSpPr/>
                <p:nvPr/>
              </p:nvSpPr>
              <p:spPr>
                <a:xfrm>
                  <a:off x="11058105" y="6065285"/>
                  <a:ext cx="20427" cy="47954"/>
                </a:xfrm>
                <a:custGeom>
                  <a:avLst/>
                  <a:gdLst>
                    <a:gd name="connsiteX0" fmla="*/ 0 w 20427"/>
                    <a:gd name="connsiteY0" fmla="*/ 47955 h 47954"/>
                    <a:gd name="connsiteX1" fmla="*/ 8844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353"/>
                        <a:pt x="7723" y="35499"/>
                        <a:pt x="8844" y="31389"/>
                      </a:cubicBezTo>
                      <a:cubicBezTo>
                        <a:pt x="10713" y="24663"/>
                        <a:pt x="9965" y="21050"/>
                        <a:pt x="12207" y="14324"/>
                      </a:cubicBezTo>
                      <a:cubicBezTo>
                        <a:pt x="14324" y="7723"/>
                        <a:pt x="17812" y="2990"/>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9" name="Freeform 5690">
                  <a:extLst>
                    <a:ext uri="{FF2B5EF4-FFF2-40B4-BE49-F238E27FC236}">
                      <a16:creationId xmlns:a16="http://schemas.microsoft.com/office/drawing/2014/main" id="{68775F42-6195-568B-9CDD-177B8563EBC9}"/>
                    </a:ext>
                  </a:extLst>
                </p:cNvPr>
                <p:cNvSpPr/>
                <p:nvPr/>
              </p:nvSpPr>
              <p:spPr>
                <a:xfrm>
                  <a:off x="11049885" y="6066780"/>
                  <a:ext cx="18933" cy="48577"/>
                </a:xfrm>
                <a:custGeom>
                  <a:avLst/>
                  <a:gdLst>
                    <a:gd name="connsiteX0" fmla="*/ 18933 w 18933"/>
                    <a:gd name="connsiteY0" fmla="*/ 0 h 48577"/>
                    <a:gd name="connsiteX1" fmla="*/ 13701 w 18933"/>
                    <a:gd name="connsiteY1" fmla="*/ 18061 h 48577"/>
                    <a:gd name="connsiteX2" fmla="*/ 4111 w 18933"/>
                    <a:gd name="connsiteY2" fmla="*/ 32634 h 48577"/>
                    <a:gd name="connsiteX3" fmla="*/ 0 w 1893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0"/>
                      </a:moveTo>
                      <a:cubicBezTo>
                        <a:pt x="18186" y="8346"/>
                        <a:pt x="15819" y="14200"/>
                        <a:pt x="13701" y="18061"/>
                      </a:cubicBezTo>
                      <a:cubicBezTo>
                        <a:pt x="10339" y="24164"/>
                        <a:pt x="7225" y="26282"/>
                        <a:pt x="4111" y="32634"/>
                      </a:cubicBezTo>
                      <a:cubicBezTo>
                        <a:pt x="1121" y="38862"/>
                        <a:pt x="249" y="44717"/>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0" name="Freeform 5691">
                  <a:extLst>
                    <a:ext uri="{FF2B5EF4-FFF2-40B4-BE49-F238E27FC236}">
                      <a16:creationId xmlns:a16="http://schemas.microsoft.com/office/drawing/2014/main" id="{CFAA9CA2-B773-C292-3995-498E6D019A66}"/>
                    </a:ext>
                  </a:extLst>
                </p:cNvPr>
                <p:cNvSpPr/>
                <p:nvPr/>
              </p:nvSpPr>
              <p:spPr>
                <a:xfrm>
                  <a:off x="11039054" y="6105186"/>
                  <a:ext cx="26272" cy="26361"/>
                </a:xfrm>
                <a:custGeom>
                  <a:avLst/>
                  <a:gdLst>
                    <a:gd name="connsiteX0" fmla="*/ 991 w 26272"/>
                    <a:gd name="connsiteY0" fmla="*/ 8428 h 26361"/>
                    <a:gd name="connsiteX1" fmla="*/ 18180 w 26272"/>
                    <a:gd name="connsiteY1" fmla="*/ 955 h 26361"/>
                    <a:gd name="connsiteX2" fmla="*/ 25279 w 26272"/>
                    <a:gd name="connsiteY2" fmla="*/ 18144 h 26361"/>
                    <a:gd name="connsiteX3" fmla="*/ 8215 w 26272"/>
                    <a:gd name="connsiteY3" fmla="*/ 25493 h 26361"/>
                    <a:gd name="connsiteX4" fmla="*/ 991 w 26272"/>
                    <a:gd name="connsiteY4" fmla="*/ 8428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361">
                      <a:moveTo>
                        <a:pt x="991" y="8428"/>
                      </a:moveTo>
                      <a:cubicBezTo>
                        <a:pt x="3731" y="1578"/>
                        <a:pt x="11454" y="-1786"/>
                        <a:pt x="18180" y="955"/>
                      </a:cubicBezTo>
                      <a:cubicBezTo>
                        <a:pt x="24906" y="3571"/>
                        <a:pt x="28020" y="11542"/>
                        <a:pt x="25279" y="18144"/>
                      </a:cubicBezTo>
                      <a:cubicBezTo>
                        <a:pt x="22415" y="24995"/>
                        <a:pt x="14942" y="27984"/>
                        <a:pt x="8215" y="25493"/>
                      </a:cubicBezTo>
                      <a:cubicBezTo>
                        <a:pt x="1365" y="22877"/>
                        <a:pt x="-1749" y="15279"/>
                        <a:pt x="991"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5" name="Graphic 2987">
                <a:extLst>
                  <a:ext uri="{FF2B5EF4-FFF2-40B4-BE49-F238E27FC236}">
                    <a16:creationId xmlns:a16="http://schemas.microsoft.com/office/drawing/2014/main" id="{5E01DAE0-D03E-02EB-D0A5-B01984DBBF82}"/>
                  </a:ext>
                </a:extLst>
              </p:cNvPr>
              <p:cNvGrpSpPr/>
              <p:nvPr/>
            </p:nvGrpSpPr>
            <p:grpSpPr>
              <a:xfrm>
                <a:off x="11065953" y="6003437"/>
                <a:ext cx="73516" cy="139497"/>
                <a:chOff x="11065953" y="6003437"/>
                <a:chExt cx="73516" cy="139497"/>
              </a:xfrm>
              <a:grpFill/>
            </p:grpSpPr>
            <p:sp>
              <p:nvSpPr>
                <p:cNvPr id="3929" name="Freeform 5693">
                  <a:extLst>
                    <a:ext uri="{FF2B5EF4-FFF2-40B4-BE49-F238E27FC236}">
                      <a16:creationId xmlns:a16="http://schemas.microsoft.com/office/drawing/2014/main" id="{C7ED414D-B514-CA12-4222-030DBC140949}"/>
                    </a:ext>
                  </a:extLst>
                </p:cNvPr>
                <p:cNvSpPr/>
                <p:nvPr/>
              </p:nvSpPr>
              <p:spPr>
                <a:xfrm>
                  <a:off x="11099334" y="6021815"/>
                  <a:ext cx="20552" cy="47830"/>
                </a:xfrm>
                <a:custGeom>
                  <a:avLst/>
                  <a:gdLst>
                    <a:gd name="connsiteX0" fmla="*/ 20552 w 20552"/>
                    <a:gd name="connsiteY0" fmla="*/ 0 h 47830"/>
                    <a:gd name="connsiteX1" fmla="*/ 11585 w 20552"/>
                    <a:gd name="connsiteY1" fmla="*/ 16442 h 47830"/>
                    <a:gd name="connsiteX2" fmla="*/ 8221 w 20552"/>
                    <a:gd name="connsiteY2" fmla="*/ 33506 h 47830"/>
                    <a:gd name="connsiteX3" fmla="*/ 0 w 20552"/>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552" h="47830">
                      <a:moveTo>
                        <a:pt x="20552" y="0"/>
                      </a:moveTo>
                      <a:cubicBezTo>
                        <a:pt x="15196" y="6477"/>
                        <a:pt x="12705" y="12331"/>
                        <a:pt x="11585" y="16442"/>
                      </a:cubicBezTo>
                      <a:cubicBezTo>
                        <a:pt x="9591" y="23168"/>
                        <a:pt x="10463" y="26780"/>
                        <a:pt x="8221" y="33506"/>
                      </a:cubicBezTo>
                      <a:cubicBezTo>
                        <a:pt x="5979" y="40108"/>
                        <a:pt x="2491" y="44841"/>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0" name="Freeform 5694">
                  <a:extLst>
                    <a:ext uri="{FF2B5EF4-FFF2-40B4-BE49-F238E27FC236}">
                      <a16:creationId xmlns:a16="http://schemas.microsoft.com/office/drawing/2014/main" id="{126B9804-BB9D-6C46-137F-C43D8405F0AC}"/>
                    </a:ext>
                  </a:extLst>
                </p:cNvPr>
                <p:cNvSpPr/>
                <p:nvPr/>
              </p:nvSpPr>
              <p:spPr>
                <a:xfrm>
                  <a:off x="11108925" y="6019822"/>
                  <a:ext cx="19306" cy="48453"/>
                </a:xfrm>
                <a:custGeom>
                  <a:avLst/>
                  <a:gdLst>
                    <a:gd name="connsiteX0" fmla="*/ 0 w 19306"/>
                    <a:gd name="connsiteY0" fmla="*/ 48453 h 48453"/>
                    <a:gd name="connsiteX1" fmla="*/ 5356 w 19306"/>
                    <a:gd name="connsiteY1" fmla="*/ 30392 h 48453"/>
                    <a:gd name="connsiteX2" fmla="*/ 15072 w 19306"/>
                    <a:gd name="connsiteY2" fmla="*/ 15943 h 48453"/>
                    <a:gd name="connsiteX3" fmla="*/ 19306 w 19306"/>
                    <a:gd name="connsiteY3" fmla="*/ 0 h 48453"/>
                  </a:gdLst>
                  <a:ahLst/>
                  <a:cxnLst>
                    <a:cxn ang="0">
                      <a:pos x="connsiteX0" y="connsiteY0"/>
                    </a:cxn>
                    <a:cxn ang="0">
                      <a:pos x="connsiteX1" y="connsiteY1"/>
                    </a:cxn>
                    <a:cxn ang="0">
                      <a:pos x="connsiteX2" y="connsiteY2"/>
                    </a:cxn>
                    <a:cxn ang="0">
                      <a:pos x="connsiteX3" y="connsiteY3"/>
                    </a:cxn>
                  </a:cxnLst>
                  <a:rect l="l" t="t" r="r" b="b"/>
                  <a:pathLst>
                    <a:path w="19306" h="48453">
                      <a:moveTo>
                        <a:pt x="0" y="48453"/>
                      </a:moveTo>
                      <a:cubicBezTo>
                        <a:pt x="872" y="40108"/>
                        <a:pt x="3239" y="34253"/>
                        <a:pt x="5356" y="30392"/>
                      </a:cubicBezTo>
                      <a:cubicBezTo>
                        <a:pt x="8719" y="24289"/>
                        <a:pt x="11958" y="22296"/>
                        <a:pt x="15072" y="15943"/>
                      </a:cubicBezTo>
                      <a:cubicBezTo>
                        <a:pt x="18186" y="9840"/>
                        <a:pt x="19058" y="3986"/>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1" name="Freeform 5695">
                  <a:extLst>
                    <a:ext uri="{FF2B5EF4-FFF2-40B4-BE49-F238E27FC236}">
                      <a16:creationId xmlns:a16="http://schemas.microsoft.com/office/drawing/2014/main" id="{CDE5DEC0-825E-CFFB-C1A4-134CD13D52C4}"/>
                    </a:ext>
                  </a:extLst>
                </p:cNvPr>
                <p:cNvSpPr/>
                <p:nvPr/>
              </p:nvSpPr>
              <p:spPr>
                <a:xfrm>
                  <a:off x="11112686" y="6003437"/>
                  <a:ext cx="26783" cy="26542"/>
                </a:xfrm>
                <a:custGeom>
                  <a:avLst/>
                  <a:gdLst>
                    <a:gd name="connsiteX0" fmla="*/ 25759 w 26783"/>
                    <a:gd name="connsiteY0" fmla="*/ 18503 h 26542"/>
                    <a:gd name="connsiteX1" fmla="*/ 8322 w 26783"/>
                    <a:gd name="connsiteY1" fmla="*/ 25478 h 26542"/>
                    <a:gd name="connsiteX2" fmla="*/ 972 w 26783"/>
                    <a:gd name="connsiteY2" fmla="*/ 8040 h 26542"/>
                    <a:gd name="connsiteX3" fmla="*/ 18411 w 26783"/>
                    <a:gd name="connsiteY3" fmla="*/ 1065 h 26542"/>
                    <a:gd name="connsiteX4" fmla="*/ 25759 w 2678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42">
                      <a:moveTo>
                        <a:pt x="25759" y="18503"/>
                      </a:moveTo>
                      <a:cubicBezTo>
                        <a:pt x="22895" y="25229"/>
                        <a:pt x="15048" y="28343"/>
                        <a:pt x="8322" y="25478"/>
                      </a:cubicBezTo>
                      <a:cubicBezTo>
                        <a:pt x="1470" y="22613"/>
                        <a:pt x="-1767" y="14766"/>
                        <a:pt x="972" y="8040"/>
                      </a:cubicBezTo>
                      <a:cubicBezTo>
                        <a:pt x="3712" y="1314"/>
                        <a:pt x="11560" y="-1800"/>
                        <a:pt x="18411" y="1065"/>
                      </a:cubicBezTo>
                      <a:cubicBezTo>
                        <a:pt x="25261" y="3929"/>
                        <a:pt x="28624" y="11777"/>
                        <a:pt x="2575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2" name="Freeform 5696">
                  <a:extLst>
                    <a:ext uri="{FF2B5EF4-FFF2-40B4-BE49-F238E27FC236}">
                      <a16:creationId xmlns:a16="http://schemas.microsoft.com/office/drawing/2014/main" id="{68845065-2D6B-B2E6-AABD-E2D88B91ADDD}"/>
                    </a:ext>
                  </a:extLst>
                </p:cNvPr>
                <p:cNvSpPr/>
                <p:nvPr/>
              </p:nvSpPr>
              <p:spPr>
                <a:xfrm>
                  <a:off x="11085010" y="6076870"/>
                  <a:ext cx="20676" cy="47705"/>
                </a:xfrm>
                <a:custGeom>
                  <a:avLst/>
                  <a:gdLst>
                    <a:gd name="connsiteX0" fmla="*/ 0 w 20676"/>
                    <a:gd name="connsiteY0" fmla="*/ 47705 h 47705"/>
                    <a:gd name="connsiteX1" fmla="*/ 8968 w 20676"/>
                    <a:gd name="connsiteY1" fmla="*/ 31264 h 47705"/>
                    <a:gd name="connsiteX2" fmla="*/ 12456 w 20676"/>
                    <a:gd name="connsiteY2" fmla="*/ 14199 h 47705"/>
                    <a:gd name="connsiteX3" fmla="*/ 20676 w 20676"/>
                    <a:gd name="connsiteY3" fmla="*/ 0 h 47705"/>
                  </a:gdLst>
                  <a:ahLst/>
                  <a:cxnLst>
                    <a:cxn ang="0">
                      <a:pos x="connsiteX0" y="connsiteY0"/>
                    </a:cxn>
                    <a:cxn ang="0">
                      <a:pos x="connsiteX1" y="connsiteY1"/>
                    </a:cxn>
                    <a:cxn ang="0">
                      <a:pos x="connsiteX2" y="connsiteY2"/>
                    </a:cxn>
                    <a:cxn ang="0">
                      <a:pos x="connsiteX3" y="connsiteY3"/>
                    </a:cxn>
                  </a:cxnLst>
                  <a:rect l="l" t="t" r="r" b="b"/>
                  <a:pathLst>
                    <a:path w="20676" h="47705">
                      <a:moveTo>
                        <a:pt x="0" y="47705"/>
                      </a:moveTo>
                      <a:cubicBezTo>
                        <a:pt x="5356" y="41229"/>
                        <a:pt x="7723" y="35374"/>
                        <a:pt x="8968" y="31264"/>
                      </a:cubicBezTo>
                      <a:cubicBezTo>
                        <a:pt x="10961" y="24538"/>
                        <a:pt x="10214" y="20926"/>
                        <a:pt x="12456" y="14199"/>
                      </a:cubicBezTo>
                      <a:cubicBezTo>
                        <a:pt x="14698" y="7598"/>
                        <a:pt x="18185" y="2865"/>
                        <a:pt x="20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3" name="Freeform 5697">
                  <a:extLst>
                    <a:ext uri="{FF2B5EF4-FFF2-40B4-BE49-F238E27FC236}">
                      <a16:creationId xmlns:a16="http://schemas.microsoft.com/office/drawing/2014/main" id="{FDF40933-7E33-EA0D-28A5-980A297E21EF}"/>
                    </a:ext>
                  </a:extLst>
                </p:cNvPr>
                <p:cNvSpPr/>
                <p:nvPr/>
              </p:nvSpPr>
              <p:spPr>
                <a:xfrm>
                  <a:off x="11076665" y="6078115"/>
                  <a:ext cx="19430" cy="48453"/>
                </a:xfrm>
                <a:custGeom>
                  <a:avLst/>
                  <a:gdLst>
                    <a:gd name="connsiteX0" fmla="*/ 19431 w 19430"/>
                    <a:gd name="connsiteY0" fmla="*/ 0 h 48453"/>
                    <a:gd name="connsiteX1" fmla="*/ 14074 w 19430"/>
                    <a:gd name="connsiteY1" fmla="*/ 18061 h 48453"/>
                    <a:gd name="connsiteX2" fmla="*/ 4359 w 19430"/>
                    <a:gd name="connsiteY2" fmla="*/ 32510 h 48453"/>
                    <a:gd name="connsiteX3" fmla="*/ 0 w 19430"/>
                    <a:gd name="connsiteY3" fmla="*/ 48453 h 48453"/>
                  </a:gdLst>
                  <a:ahLst/>
                  <a:cxnLst>
                    <a:cxn ang="0">
                      <a:pos x="connsiteX0" y="connsiteY0"/>
                    </a:cxn>
                    <a:cxn ang="0">
                      <a:pos x="connsiteX1" y="connsiteY1"/>
                    </a:cxn>
                    <a:cxn ang="0">
                      <a:pos x="connsiteX2" y="connsiteY2"/>
                    </a:cxn>
                    <a:cxn ang="0">
                      <a:pos x="connsiteX3" y="connsiteY3"/>
                    </a:cxn>
                  </a:cxnLst>
                  <a:rect l="l" t="t" r="r" b="b"/>
                  <a:pathLst>
                    <a:path w="19430" h="48453">
                      <a:moveTo>
                        <a:pt x="19431" y="0"/>
                      </a:moveTo>
                      <a:cubicBezTo>
                        <a:pt x="18684" y="8346"/>
                        <a:pt x="16192" y="14200"/>
                        <a:pt x="14074" y="18061"/>
                      </a:cubicBezTo>
                      <a:cubicBezTo>
                        <a:pt x="10712" y="24164"/>
                        <a:pt x="7598" y="26157"/>
                        <a:pt x="4359" y="32510"/>
                      </a:cubicBezTo>
                      <a:cubicBezTo>
                        <a:pt x="1245" y="38738"/>
                        <a:pt x="373"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4" name="Freeform 5698">
                  <a:extLst>
                    <a:ext uri="{FF2B5EF4-FFF2-40B4-BE49-F238E27FC236}">
                      <a16:creationId xmlns:a16="http://schemas.microsoft.com/office/drawing/2014/main" id="{369936D2-B1BE-3679-F042-5531F9C77691}"/>
                    </a:ext>
                  </a:extLst>
                </p:cNvPr>
                <p:cNvSpPr/>
                <p:nvPr/>
              </p:nvSpPr>
              <p:spPr>
                <a:xfrm>
                  <a:off x="11065953" y="6116430"/>
                  <a:ext cx="25978" cy="26503"/>
                </a:xfrm>
                <a:custGeom>
                  <a:avLst/>
                  <a:gdLst>
                    <a:gd name="connsiteX0" fmla="*/ 996 w 25978"/>
                    <a:gd name="connsiteY0" fmla="*/ 8145 h 26503"/>
                    <a:gd name="connsiteX1" fmla="*/ 18061 w 25978"/>
                    <a:gd name="connsiteY1" fmla="*/ 1045 h 26503"/>
                    <a:gd name="connsiteX2" fmla="*/ 24911 w 25978"/>
                    <a:gd name="connsiteY2" fmla="*/ 18359 h 26503"/>
                    <a:gd name="connsiteX3" fmla="*/ 7847 w 25978"/>
                    <a:gd name="connsiteY3" fmla="*/ 25459 h 26503"/>
                    <a:gd name="connsiteX4" fmla="*/ 996 w 25978"/>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7" h="26503">
                      <a:moveTo>
                        <a:pt x="996" y="8145"/>
                      </a:moveTo>
                      <a:cubicBezTo>
                        <a:pt x="3736" y="1419"/>
                        <a:pt x="11460" y="-1819"/>
                        <a:pt x="18061" y="1045"/>
                      </a:cubicBezTo>
                      <a:cubicBezTo>
                        <a:pt x="24663" y="3910"/>
                        <a:pt x="27777" y="11633"/>
                        <a:pt x="24911" y="18359"/>
                      </a:cubicBezTo>
                      <a:cubicBezTo>
                        <a:pt x="22047" y="25085"/>
                        <a:pt x="14449" y="28323"/>
                        <a:pt x="7847" y="25459"/>
                      </a:cubicBezTo>
                      <a:cubicBezTo>
                        <a:pt x="1370" y="22718"/>
                        <a:pt x="-1744" y="14995"/>
                        <a:pt x="996"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6" name="Graphic 2987">
                <a:extLst>
                  <a:ext uri="{FF2B5EF4-FFF2-40B4-BE49-F238E27FC236}">
                    <a16:creationId xmlns:a16="http://schemas.microsoft.com/office/drawing/2014/main" id="{20380EAC-653E-103D-CC3D-A7160E5C7806}"/>
                  </a:ext>
                </a:extLst>
              </p:cNvPr>
              <p:cNvGrpSpPr/>
              <p:nvPr/>
            </p:nvGrpSpPr>
            <p:grpSpPr>
              <a:xfrm>
                <a:off x="11092715" y="6015145"/>
                <a:ext cx="74425" cy="139247"/>
                <a:chOff x="11092715" y="6015145"/>
                <a:chExt cx="74425" cy="139247"/>
              </a:xfrm>
              <a:grpFill/>
            </p:grpSpPr>
            <p:sp>
              <p:nvSpPr>
                <p:cNvPr id="3923" name="Freeform 5700">
                  <a:extLst>
                    <a:ext uri="{FF2B5EF4-FFF2-40B4-BE49-F238E27FC236}">
                      <a16:creationId xmlns:a16="http://schemas.microsoft.com/office/drawing/2014/main" id="{C430ED08-0F69-86AB-43FC-34E556D52942}"/>
                    </a:ext>
                  </a:extLst>
                </p:cNvPr>
                <p:cNvSpPr/>
                <p:nvPr/>
              </p:nvSpPr>
              <p:spPr>
                <a:xfrm>
                  <a:off x="11126612" y="6033523"/>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5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446" y="6477"/>
                        <a:pt x="13079" y="12207"/>
                        <a:pt x="11833" y="16442"/>
                      </a:cubicBezTo>
                      <a:cubicBezTo>
                        <a:pt x="9841" y="23168"/>
                        <a:pt x="10588" y="26780"/>
                        <a:pt x="8346" y="33506"/>
                      </a:cubicBezTo>
                      <a:cubicBezTo>
                        <a:pt x="6104" y="39983"/>
                        <a:pt x="2616" y="44716"/>
                        <a:pt x="0" y="4770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4" name="Freeform 5701">
                  <a:extLst>
                    <a:ext uri="{FF2B5EF4-FFF2-40B4-BE49-F238E27FC236}">
                      <a16:creationId xmlns:a16="http://schemas.microsoft.com/office/drawing/2014/main" id="{36C14179-999C-478B-1579-D14A409B551C}"/>
                    </a:ext>
                  </a:extLst>
                </p:cNvPr>
                <p:cNvSpPr/>
                <p:nvPr/>
              </p:nvSpPr>
              <p:spPr>
                <a:xfrm>
                  <a:off x="11136203" y="6031655"/>
                  <a:ext cx="19680" cy="48203"/>
                </a:xfrm>
                <a:custGeom>
                  <a:avLst/>
                  <a:gdLst>
                    <a:gd name="connsiteX0" fmla="*/ 0 w 19680"/>
                    <a:gd name="connsiteY0" fmla="*/ 48204 h 48203"/>
                    <a:gd name="connsiteX1" fmla="*/ 5481 w 19680"/>
                    <a:gd name="connsiteY1" fmla="*/ 30267 h 48203"/>
                    <a:gd name="connsiteX2" fmla="*/ 15320 w 19680"/>
                    <a:gd name="connsiteY2" fmla="*/ 15943 h 48203"/>
                    <a:gd name="connsiteX3" fmla="*/ 19680 w 19680"/>
                    <a:gd name="connsiteY3" fmla="*/ 0 h 48203"/>
                  </a:gdLst>
                  <a:ahLst/>
                  <a:cxnLst>
                    <a:cxn ang="0">
                      <a:pos x="connsiteX0" y="connsiteY0"/>
                    </a:cxn>
                    <a:cxn ang="0">
                      <a:pos x="connsiteX1" y="connsiteY1"/>
                    </a:cxn>
                    <a:cxn ang="0">
                      <a:pos x="connsiteX2" y="connsiteY2"/>
                    </a:cxn>
                    <a:cxn ang="0">
                      <a:pos x="connsiteX3" y="connsiteY3"/>
                    </a:cxn>
                  </a:cxnLst>
                  <a:rect l="l" t="t" r="r" b="b"/>
                  <a:pathLst>
                    <a:path w="19680" h="48203">
                      <a:moveTo>
                        <a:pt x="0" y="48204"/>
                      </a:moveTo>
                      <a:cubicBezTo>
                        <a:pt x="872" y="39858"/>
                        <a:pt x="3363" y="34004"/>
                        <a:pt x="5481" y="30267"/>
                      </a:cubicBezTo>
                      <a:cubicBezTo>
                        <a:pt x="8969" y="24164"/>
                        <a:pt x="12082" y="22171"/>
                        <a:pt x="15320" y="15943"/>
                      </a:cubicBezTo>
                      <a:cubicBezTo>
                        <a:pt x="18434" y="9840"/>
                        <a:pt x="19431" y="3986"/>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5" name="Freeform 5702">
                  <a:extLst>
                    <a:ext uri="{FF2B5EF4-FFF2-40B4-BE49-F238E27FC236}">
                      <a16:creationId xmlns:a16="http://schemas.microsoft.com/office/drawing/2014/main" id="{47A99888-69E5-52E1-D717-A47883D7DA1F}"/>
                    </a:ext>
                  </a:extLst>
                </p:cNvPr>
                <p:cNvSpPr/>
                <p:nvPr/>
              </p:nvSpPr>
              <p:spPr>
                <a:xfrm>
                  <a:off x="11140267" y="6015145"/>
                  <a:ext cx="26873" cy="26542"/>
                </a:xfrm>
                <a:custGeom>
                  <a:avLst/>
                  <a:gdLst>
                    <a:gd name="connsiteX0" fmla="*/ 25831 w 26873"/>
                    <a:gd name="connsiteY0" fmla="*/ 18503 h 26542"/>
                    <a:gd name="connsiteX1" fmla="*/ 8268 w 26873"/>
                    <a:gd name="connsiteY1" fmla="*/ 25478 h 26542"/>
                    <a:gd name="connsiteX2" fmla="*/ 1043 w 26873"/>
                    <a:gd name="connsiteY2" fmla="*/ 8040 h 26542"/>
                    <a:gd name="connsiteX3" fmla="*/ 18606 w 26873"/>
                    <a:gd name="connsiteY3" fmla="*/ 1065 h 26542"/>
                    <a:gd name="connsiteX4" fmla="*/ 25831 w 2687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542">
                      <a:moveTo>
                        <a:pt x="25831" y="18503"/>
                      </a:moveTo>
                      <a:cubicBezTo>
                        <a:pt x="22965" y="25229"/>
                        <a:pt x="15118" y="28343"/>
                        <a:pt x="8268" y="25478"/>
                      </a:cubicBezTo>
                      <a:cubicBezTo>
                        <a:pt x="1417" y="22613"/>
                        <a:pt x="-1821" y="14766"/>
                        <a:pt x="1043" y="8040"/>
                      </a:cubicBezTo>
                      <a:cubicBezTo>
                        <a:pt x="3908" y="1314"/>
                        <a:pt x="11756" y="-1800"/>
                        <a:pt x="18606" y="1065"/>
                      </a:cubicBezTo>
                      <a:cubicBezTo>
                        <a:pt x="25457" y="3929"/>
                        <a:pt x="28695" y="11901"/>
                        <a:pt x="25831"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6" name="Freeform 5703">
                  <a:extLst>
                    <a:ext uri="{FF2B5EF4-FFF2-40B4-BE49-F238E27FC236}">
                      <a16:creationId xmlns:a16="http://schemas.microsoft.com/office/drawing/2014/main" id="{E4A22087-2C8F-F000-8294-744057FEA788}"/>
                    </a:ext>
                  </a:extLst>
                </p:cNvPr>
                <p:cNvSpPr/>
                <p:nvPr/>
              </p:nvSpPr>
              <p:spPr>
                <a:xfrm>
                  <a:off x="11111790" y="6088204"/>
                  <a:ext cx="21050" cy="47705"/>
                </a:xfrm>
                <a:custGeom>
                  <a:avLst/>
                  <a:gdLst>
                    <a:gd name="connsiteX0" fmla="*/ 0 w 21050"/>
                    <a:gd name="connsiteY0" fmla="*/ 47706 h 47705"/>
                    <a:gd name="connsiteX1" fmla="*/ 9093 w 21050"/>
                    <a:gd name="connsiteY1" fmla="*/ 31264 h 47705"/>
                    <a:gd name="connsiteX2" fmla="*/ 12705 w 21050"/>
                    <a:gd name="connsiteY2" fmla="*/ 14200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5357" y="41229"/>
                        <a:pt x="7847" y="35375"/>
                        <a:pt x="9093" y="31264"/>
                      </a:cubicBezTo>
                      <a:cubicBezTo>
                        <a:pt x="11086" y="24538"/>
                        <a:pt x="10339" y="20926"/>
                        <a:pt x="12705" y="14200"/>
                      </a:cubicBezTo>
                      <a:cubicBezTo>
                        <a:pt x="14947" y="7723"/>
                        <a:pt x="18435" y="2990"/>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7" name="Freeform 5704">
                  <a:extLst>
                    <a:ext uri="{FF2B5EF4-FFF2-40B4-BE49-F238E27FC236}">
                      <a16:creationId xmlns:a16="http://schemas.microsoft.com/office/drawing/2014/main" id="{4D090F89-9134-0285-1EDC-AF95489C3861}"/>
                    </a:ext>
                  </a:extLst>
                </p:cNvPr>
                <p:cNvSpPr/>
                <p:nvPr/>
              </p:nvSpPr>
              <p:spPr>
                <a:xfrm>
                  <a:off x="11103444" y="6089574"/>
                  <a:ext cx="19805" cy="48328"/>
                </a:xfrm>
                <a:custGeom>
                  <a:avLst/>
                  <a:gdLst>
                    <a:gd name="connsiteX0" fmla="*/ 19805 w 19805"/>
                    <a:gd name="connsiteY0" fmla="*/ 0 h 48328"/>
                    <a:gd name="connsiteX1" fmla="*/ 14324 w 19805"/>
                    <a:gd name="connsiteY1" fmla="*/ 17936 h 48328"/>
                    <a:gd name="connsiteX2" fmla="*/ 4484 w 19805"/>
                    <a:gd name="connsiteY2" fmla="*/ 32385 h 48328"/>
                    <a:gd name="connsiteX3" fmla="*/ 0 w 1980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0"/>
                      </a:moveTo>
                      <a:cubicBezTo>
                        <a:pt x="18933" y="8345"/>
                        <a:pt x="16442" y="14199"/>
                        <a:pt x="14324" y="17936"/>
                      </a:cubicBezTo>
                      <a:cubicBezTo>
                        <a:pt x="10836" y="24040"/>
                        <a:pt x="7723" y="26033"/>
                        <a:pt x="4484" y="32385"/>
                      </a:cubicBezTo>
                      <a:cubicBezTo>
                        <a:pt x="1370" y="38488"/>
                        <a:pt x="374"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8" name="Freeform 5705">
                  <a:extLst>
                    <a:ext uri="{FF2B5EF4-FFF2-40B4-BE49-F238E27FC236}">
                      <a16:creationId xmlns:a16="http://schemas.microsoft.com/office/drawing/2014/main" id="{24E56731-FC72-40AA-662C-97C2F2549D23}"/>
                    </a:ext>
                  </a:extLst>
                </p:cNvPr>
                <p:cNvSpPr/>
                <p:nvPr/>
              </p:nvSpPr>
              <p:spPr>
                <a:xfrm>
                  <a:off x="11092715" y="6127889"/>
                  <a:ext cx="26120" cy="26503"/>
                </a:xfrm>
                <a:custGeom>
                  <a:avLst/>
                  <a:gdLst>
                    <a:gd name="connsiteX0" fmla="*/ 1014 w 26120"/>
                    <a:gd name="connsiteY0" fmla="*/ 8145 h 26503"/>
                    <a:gd name="connsiteX1" fmla="*/ 18203 w 26120"/>
                    <a:gd name="connsiteY1" fmla="*/ 1045 h 26503"/>
                    <a:gd name="connsiteX2" fmla="*/ 25054 w 26120"/>
                    <a:gd name="connsiteY2" fmla="*/ 18359 h 26503"/>
                    <a:gd name="connsiteX3" fmla="*/ 7865 w 26120"/>
                    <a:gd name="connsiteY3" fmla="*/ 25458 h 26503"/>
                    <a:gd name="connsiteX4" fmla="*/ 1014 w 26120"/>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0" h="26503">
                      <a:moveTo>
                        <a:pt x="1014" y="8145"/>
                      </a:moveTo>
                      <a:cubicBezTo>
                        <a:pt x="3879" y="1419"/>
                        <a:pt x="11601" y="-1820"/>
                        <a:pt x="18203" y="1045"/>
                      </a:cubicBezTo>
                      <a:cubicBezTo>
                        <a:pt x="24804" y="3910"/>
                        <a:pt x="27918" y="11633"/>
                        <a:pt x="25054" y="18359"/>
                      </a:cubicBezTo>
                      <a:cubicBezTo>
                        <a:pt x="22188" y="25085"/>
                        <a:pt x="14466" y="28323"/>
                        <a:pt x="7865" y="25458"/>
                      </a:cubicBezTo>
                      <a:cubicBezTo>
                        <a:pt x="1263" y="22593"/>
                        <a:pt x="-1726" y="14871"/>
                        <a:pt x="1014"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7" name="Graphic 2987">
                <a:extLst>
                  <a:ext uri="{FF2B5EF4-FFF2-40B4-BE49-F238E27FC236}">
                    <a16:creationId xmlns:a16="http://schemas.microsoft.com/office/drawing/2014/main" id="{D3BF09FC-1BE5-7D64-DBA1-A2AF1AAC95F3}"/>
                  </a:ext>
                </a:extLst>
              </p:cNvPr>
              <p:cNvGrpSpPr/>
              <p:nvPr/>
            </p:nvGrpSpPr>
            <p:grpSpPr>
              <a:xfrm>
                <a:off x="11119422" y="6026905"/>
                <a:ext cx="75441" cy="138628"/>
                <a:chOff x="11119422" y="6026905"/>
                <a:chExt cx="75441" cy="138628"/>
              </a:xfrm>
              <a:grpFill/>
            </p:grpSpPr>
            <p:sp>
              <p:nvSpPr>
                <p:cNvPr id="3917" name="Freeform 5707">
                  <a:extLst>
                    <a:ext uri="{FF2B5EF4-FFF2-40B4-BE49-F238E27FC236}">
                      <a16:creationId xmlns:a16="http://schemas.microsoft.com/office/drawing/2014/main" id="{B3C080AC-6CCA-B11E-147A-CB5521D06390}"/>
                    </a:ext>
                  </a:extLst>
                </p:cNvPr>
                <p:cNvSpPr/>
                <p:nvPr/>
              </p:nvSpPr>
              <p:spPr>
                <a:xfrm>
                  <a:off x="11153765" y="6045232"/>
                  <a:ext cx="21424" cy="47581"/>
                </a:xfrm>
                <a:custGeom>
                  <a:avLst/>
                  <a:gdLst>
                    <a:gd name="connsiteX0" fmla="*/ 21424 w 21424"/>
                    <a:gd name="connsiteY0" fmla="*/ 0 h 47581"/>
                    <a:gd name="connsiteX1" fmla="*/ 12082 w 21424"/>
                    <a:gd name="connsiteY1" fmla="*/ 16317 h 47581"/>
                    <a:gd name="connsiteX2" fmla="*/ 8471 w 21424"/>
                    <a:gd name="connsiteY2" fmla="*/ 33381 h 47581"/>
                    <a:gd name="connsiteX3" fmla="*/ 0 w 21424"/>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4" h="47581">
                      <a:moveTo>
                        <a:pt x="21424" y="0"/>
                      </a:moveTo>
                      <a:cubicBezTo>
                        <a:pt x="15944" y="6353"/>
                        <a:pt x="13452" y="12206"/>
                        <a:pt x="12082" y="16317"/>
                      </a:cubicBezTo>
                      <a:cubicBezTo>
                        <a:pt x="10090" y="23043"/>
                        <a:pt x="10837" y="26655"/>
                        <a:pt x="8471" y="33381"/>
                      </a:cubicBezTo>
                      <a:cubicBezTo>
                        <a:pt x="6228" y="39858"/>
                        <a:pt x="2616" y="44591"/>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8" name="Freeform 5708">
                  <a:extLst>
                    <a:ext uri="{FF2B5EF4-FFF2-40B4-BE49-F238E27FC236}">
                      <a16:creationId xmlns:a16="http://schemas.microsoft.com/office/drawing/2014/main" id="{2A48DB18-2138-1193-6F1E-9BDA92EFD865}"/>
                    </a:ext>
                  </a:extLst>
                </p:cNvPr>
                <p:cNvSpPr/>
                <p:nvPr/>
              </p:nvSpPr>
              <p:spPr>
                <a:xfrm>
                  <a:off x="11163606" y="6043488"/>
                  <a:ext cx="20053" cy="48079"/>
                </a:xfrm>
                <a:custGeom>
                  <a:avLst/>
                  <a:gdLst>
                    <a:gd name="connsiteX0" fmla="*/ 0 w 20053"/>
                    <a:gd name="connsiteY0" fmla="*/ 48079 h 48079"/>
                    <a:gd name="connsiteX1" fmla="*/ 5605 w 20053"/>
                    <a:gd name="connsiteY1" fmla="*/ 30143 h 48079"/>
                    <a:gd name="connsiteX2" fmla="*/ 15570 w 20053"/>
                    <a:gd name="connsiteY2" fmla="*/ 1581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872" y="39734"/>
                        <a:pt x="3487" y="33880"/>
                        <a:pt x="5605" y="30143"/>
                      </a:cubicBezTo>
                      <a:cubicBezTo>
                        <a:pt x="9092" y="24040"/>
                        <a:pt x="12331" y="22171"/>
                        <a:pt x="15570" y="15819"/>
                      </a:cubicBezTo>
                      <a:cubicBezTo>
                        <a:pt x="18808" y="9715"/>
                        <a:pt x="19804" y="3861"/>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9" name="Freeform 5709">
                  <a:extLst>
                    <a:ext uri="{FF2B5EF4-FFF2-40B4-BE49-F238E27FC236}">
                      <a16:creationId xmlns:a16="http://schemas.microsoft.com/office/drawing/2014/main" id="{1434FF0E-56D1-C308-C57D-8D4158CED3C9}"/>
                    </a:ext>
                  </a:extLst>
                </p:cNvPr>
                <p:cNvSpPr/>
                <p:nvPr/>
              </p:nvSpPr>
              <p:spPr>
                <a:xfrm>
                  <a:off x="11167899" y="6026905"/>
                  <a:ext cx="26964" cy="26564"/>
                </a:xfrm>
                <a:custGeom>
                  <a:avLst/>
                  <a:gdLst>
                    <a:gd name="connsiteX0" fmla="*/ 25849 w 26964"/>
                    <a:gd name="connsiteY0" fmla="*/ 18576 h 26564"/>
                    <a:gd name="connsiteX1" fmla="*/ 8162 w 26964"/>
                    <a:gd name="connsiteY1" fmla="*/ 25427 h 26564"/>
                    <a:gd name="connsiteX2" fmla="*/ 1063 w 26964"/>
                    <a:gd name="connsiteY2" fmla="*/ 7988 h 26564"/>
                    <a:gd name="connsiteX3" fmla="*/ 18750 w 26964"/>
                    <a:gd name="connsiteY3" fmla="*/ 1138 h 26564"/>
                    <a:gd name="connsiteX4" fmla="*/ 25849 w 26964"/>
                    <a:gd name="connsiteY4" fmla="*/ 18576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4" h="26563">
                      <a:moveTo>
                        <a:pt x="25849" y="18576"/>
                      </a:moveTo>
                      <a:cubicBezTo>
                        <a:pt x="22860" y="25302"/>
                        <a:pt x="15013" y="28416"/>
                        <a:pt x="8162" y="25427"/>
                      </a:cubicBezTo>
                      <a:cubicBezTo>
                        <a:pt x="1312" y="22562"/>
                        <a:pt x="-1802" y="14714"/>
                        <a:pt x="1063" y="7988"/>
                      </a:cubicBezTo>
                      <a:cubicBezTo>
                        <a:pt x="3927" y="1262"/>
                        <a:pt x="11899" y="-1852"/>
                        <a:pt x="18750" y="1138"/>
                      </a:cubicBezTo>
                      <a:cubicBezTo>
                        <a:pt x="25600" y="4127"/>
                        <a:pt x="28839" y="11849"/>
                        <a:pt x="25849" y="185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0" name="Freeform 5710">
                  <a:extLst>
                    <a:ext uri="{FF2B5EF4-FFF2-40B4-BE49-F238E27FC236}">
                      <a16:creationId xmlns:a16="http://schemas.microsoft.com/office/drawing/2014/main" id="{88347DD8-D21C-2E0B-59E8-7CFB878F595E}"/>
                    </a:ext>
                  </a:extLst>
                </p:cNvPr>
                <p:cNvSpPr/>
                <p:nvPr/>
              </p:nvSpPr>
              <p:spPr>
                <a:xfrm>
                  <a:off x="11138694" y="6099912"/>
                  <a:ext cx="21548" cy="47456"/>
                </a:xfrm>
                <a:custGeom>
                  <a:avLst/>
                  <a:gdLst>
                    <a:gd name="connsiteX0" fmla="*/ 0 w 21548"/>
                    <a:gd name="connsiteY0" fmla="*/ 47456 h 47456"/>
                    <a:gd name="connsiteX1" fmla="*/ 9342 w 21548"/>
                    <a:gd name="connsiteY1" fmla="*/ 31139 h 47456"/>
                    <a:gd name="connsiteX2" fmla="*/ 13078 w 21548"/>
                    <a:gd name="connsiteY2" fmla="*/ 14200 h 47456"/>
                    <a:gd name="connsiteX3" fmla="*/ 21548 w 21548"/>
                    <a:gd name="connsiteY3" fmla="*/ 0 h 47456"/>
                  </a:gdLst>
                  <a:ahLst/>
                  <a:cxnLst>
                    <a:cxn ang="0">
                      <a:pos x="connsiteX0" y="connsiteY0"/>
                    </a:cxn>
                    <a:cxn ang="0">
                      <a:pos x="connsiteX1" y="connsiteY1"/>
                    </a:cxn>
                    <a:cxn ang="0">
                      <a:pos x="connsiteX2" y="connsiteY2"/>
                    </a:cxn>
                    <a:cxn ang="0">
                      <a:pos x="connsiteX3" y="connsiteY3"/>
                    </a:cxn>
                  </a:cxnLst>
                  <a:rect l="l" t="t" r="r" b="b"/>
                  <a:pathLst>
                    <a:path w="21548" h="47456">
                      <a:moveTo>
                        <a:pt x="0" y="47456"/>
                      </a:moveTo>
                      <a:cubicBezTo>
                        <a:pt x="5481" y="40980"/>
                        <a:pt x="7972" y="35250"/>
                        <a:pt x="9342" y="31139"/>
                      </a:cubicBezTo>
                      <a:cubicBezTo>
                        <a:pt x="11459" y="24414"/>
                        <a:pt x="10712" y="20801"/>
                        <a:pt x="13078" y="14200"/>
                      </a:cubicBezTo>
                      <a:cubicBezTo>
                        <a:pt x="15320" y="7723"/>
                        <a:pt x="18933" y="2990"/>
                        <a:pt x="215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1" name="Freeform 5711">
                  <a:extLst>
                    <a:ext uri="{FF2B5EF4-FFF2-40B4-BE49-F238E27FC236}">
                      <a16:creationId xmlns:a16="http://schemas.microsoft.com/office/drawing/2014/main" id="{D80CE43B-3D61-8E7B-3FA8-5E12336E4C4E}"/>
                    </a:ext>
                  </a:extLst>
                </p:cNvPr>
                <p:cNvSpPr/>
                <p:nvPr/>
              </p:nvSpPr>
              <p:spPr>
                <a:xfrm>
                  <a:off x="11130225" y="6101158"/>
                  <a:ext cx="20178" cy="48079"/>
                </a:xfrm>
                <a:custGeom>
                  <a:avLst/>
                  <a:gdLst>
                    <a:gd name="connsiteX0" fmla="*/ 20178 w 20178"/>
                    <a:gd name="connsiteY0" fmla="*/ 0 h 48079"/>
                    <a:gd name="connsiteX1" fmla="*/ 14573 w 20178"/>
                    <a:gd name="connsiteY1" fmla="*/ 17936 h 48079"/>
                    <a:gd name="connsiteX2" fmla="*/ 4609 w 20178"/>
                    <a:gd name="connsiteY2" fmla="*/ 32260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9306" y="8346"/>
                        <a:pt x="16690" y="14200"/>
                        <a:pt x="14573" y="17936"/>
                      </a:cubicBezTo>
                      <a:cubicBezTo>
                        <a:pt x="11085" y="24040"/>
                        <a:pt x="7971" y="26033"/>
                        <a:pt x="4609" y="32260"/>
                      </a:cubicBezTo>
                      <a:cubicBezTo>
                        <a:pt x="1370" y="38364"/>
                        <a:pt x="373"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2" name="Freeform 5712">
                  <a:extLst>
                    <a:ext uri="{FF2B5EF4-FFF2-40B4-BE49-F238E27FC236}">
                      <a16:creationId xmlns:a16="http://schemas.microsoft.com/office/drawing/2014/main" id="{DD60A468-8172-3314-CCD1-9662CC1E1232}"/>
                    </a:ext>
                  </a:extLst>
                </p:cNvPr>
                <p:cNvSpPr/>
                <p:nvPr/>
              </p:nvSpPr>
              <p:spPr>
                <a:xfrm>
                  <a:off x="11119422" y="6139276"/>
                  <a:ext cx="26213" cy="26257"/>
                </a:xfrm>
                <a:custGeom>
                  <a:avLst/>
                  <a:gdLst>
                    <a:gd name="connsiteX0" fmla="*/ 1087 w 26213"/>
                    <a:gd name="connsiteY0" fmla="*/ 8092 h 26257"/>
                    <a:gd name="connsiteX1" fmla="*/ 18400 w 26213"/>
                    <a:gd name="connsiteY1" fmla="*/ 993 h 26257"/>
                    <a:gd name="connsiteX2" fmla="*/ 25126 w 26213"/>
                    <a:gd name="connsiteY2" fmla="*/ 18182 h 26257"/>
                    <a:gd name="connsiteX3" fmla="*/ 7813 w 26213"/>
                    <a:gd name="connsiteY3" fmla="*/ 25281 h 26257"/>
                    <a:gd name="connsiteX4" fmla="*/ 1087 w 26213"/>
                    <a:gd name="connsiteY4" fmla="*/ 8092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257">
                      <a:moveTo>
                        <a:pt x="1087" y="8092"/>
                      </a:moveTo>
                      <a:cubicBezTo>
                        <a:pt x="3952" y="1367"/>
                        <a:pt x="11675" y="-1747"/>
                        <a:pt x="18400" y="993"/>
                      </a:cubicBezTo>
                      <a:cubicBezTo>
                        <a:pt x="25002" y="3857"/>
                        <a:pt x="27992" y="11580"/>
                        <a:pt x="25126" y="18182"/>
                      </a:cubicBezTo>
                      <a:cubicBezTo>
                        <a:pt x="22262" y="24783"/>
                        <a:pt x="14414" y="28022"/>
                        <a:pt x="7813" y="25281"/>
                      </a:cubicBezTo>
                      <a:cubicBezTo>
                        <a:pt x="1211" y="22541"/>
                        <a:pt x="-1778" y="14819"/>
                        <a:pt x="1087" y="80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8" name="Graphic 2987">
                <a:extLst>
                  <a:ext uri="{FF2B5EF4-FFF2-40B4-BE49-F238E27FC236}">
                    <a16:creationId xmlns:a16="http://schemas.microsoft.com/office/drawing/2014/main" id="{F654A590-E085-04B4-E15C-23C8CEBADE77}"/>
                  </a:ext>
                </a:extLst>
              </p:cNvPr>
              <p:cNvGrpSpPr/>
              <p:nvPr/>
            </p:nvGrpSpPr>
            <p:grpSpPr>
              <a:xfrm>
                <a:off x="11146200" y="6038837"/>
                <a:ext cx="76214" cy="138463"/>
                <a:chOff x="11146200" y="6038837"/>
                <a:chExt cx="76214" cy="138463"/>
              </a:xfrm>
              <a:grpFill/>
            </p:grpSpPr>
            <p:sp>
              <p:nvSpPr>
                <p:cNvPr id="3911" name="Freeform 5714">
                  <a:extLst>
                    <a:ext uri="{FF2B5EF4-FFF2-40B4-BE49-F238E27FC236}">
                      <a16:creationId xmlns:a16="http://schemas.microsoft.com/office/drawing/2014/main" id="{F93A22EE-F486-BE2D-C34B-D128B25446CC}"/>
                    </a:ext>
                  </a:extLst>
                </p:cNvPr>
                <p:cNvSpPr/>
                <p:nvPr/>
              </p:nvSpPr>
              <p:spPr>
                <a:xfrm>
                  <a:off x="11180920" y="6057189"/>
                  <a:ext cx="21797" cy="47456"/>
                </a:xfrm>
                <a:custGeom>
                  <a:avLst/>
                  <a:gdLst>
                    <a:gd name="connsiteX0" fmla="*/ 21798 w 21797"/>
                    <a:gd name="connsiteY0" fmla="*/ 0 h 47456"/>
                    <a:gd name="connsiteX1" fmla="*/ 12456 w 21797"/>
                    <a:gd name="connsiteY1" fmla="*/ 16317 h 47456"/>
                    <a:gd name="connsiteX2" fmla="*/ 8595 w 21797"/>
                    <a:gd name="connsiteY2" fmla="*/ 33381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16192" y="6353"/>
                        <a:pt x="13701" y="12082"/>
                        <a:pt x="12456" y="16317"/>
                      </a:cubicBezTo>
                      <a:cubicBezTo>
                        <a:pt x="10338" y="23043"/>
                        <a:pt x="11085" y="26656"/>
                        <a:pt x="8595" y="33381"/>
                      </a:cubicBezTo>
                      <a:cubicBezTo>
                        <a:pt x="6228" y="39859"/>
                        <a:pt x="2615" y="44592"/>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2" name="Freeform 5715">
                  <a:extLst>
                    <a:ext uri="{FF2B5EF4-FFF2-40B4-BE49-F238E27FC236}">
                      <a16:creationId xmlns:a16="http://schemas.microsoft.com/office/drawing/2014/main" id="{F7E0AD1B-1419-FB78-D10D-2D51A7AAEDE6}"/>
                    </a:ext>
                  </a:extLst>
                </p:cNvPr>
                <p:cNvSpPr/>
                <p:nvPr/>
              </p:nvSpPr>
              <p:spPr>
                <a:xfrm>
                  <a:off x="11190635" y="6055446"/>
                  <a:ext cx="20677" cy="47954"/>
                </a:xfrm>
                <a:custGeom>
                  <a:avLst/>
                  <a:gdLst>
                    <a:gd name="connsiteX0" fmla="*/ 0 w 20677"/>
                    <a:gd name="connsiteY0" fmla="*/ 47954 h 47954"/>
                    <a:gd name="connsiteX1" fmla="*/ 5855 w 20677"/>
                    <a:gd name="connsiteY1" fmla="*/ 30018 h 47954"/>
                    <a:gd name="connsiteX2" fmla="*/ 15944 w 20677"/>
                    <a:gd name="connsiteY2" fmla="*/ 15819 h 47954"/>
                    <a:gd name="connsiteX3" fmla="*/ 20677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0" y="47954"/>
                      </a:moveTo>
                      <a:cubicBezTo>
                        <a:pt x="997" y="39609"/>
                        <a:pt x="3612" y="33755"/>
                        <a:pt x="5855" y="30018"/>
                      </a:cubicBezTo>
                      <a:cubicBezTo>
                        <a:pt x="9342" y="24040"/>
                        <a:pt x="12580" y="22171"/>
                        <a:pt x="15944" y="15819"/>
                      </a:cubicBezTo>
                      <a:cubicBezTo>
                        <a:pt x="19182" y="9715"/>
                        <a:pt x="20303" y="3861"/>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3" name="Freeform 5716">
                  <a:extLst>
                    <a:ext uri="{FF2B5EF4-FFF2-40B4-BE49-F238E27FC236}">
                      <a16:creationId xmlns:a16="http://schemas.microsoft.com/office/drawing/2014/main" id="{A3C708F8-15AA-1EBD-33D0-4A7ECA4ABFFF}"/>
                    </a:ext>
                  </a:extLst>
                </p:cNvPr>
                <p:cNvSpPr/>
                <p:nvPr/>
              </p:nvSpPr>
              <p:spPr>
                <a:xfrm>
                  <a:off x="11195600" y="6038837"/>
                  <a:ext cx="26813" cy="26708"/>
                </a:xfrm>
                <a:custGeom>
                  <a:avLst/>
                  <a:gdLst>
                    <a:gd name="connsiteX0" fmla="*/ 25676 w 26813"/>
                    <a:gd name="connsiteY0" fmla="*/ 18975 h 26708"/>
                    <a:gd name="connsiteX1" fmla="*/ 7988 w 26813"/>
                    <a:gd name="connsiteY1" fmla="*/ 25452 h 26708"/>
                    <a:gd name="connsiteX2" fmla="*/ 1138 w 26813"/>
                    <a:gd name="connsiteY2" fmla="*/ 7889 h 26708"/>
                    <a:gd name="connsiteX3" fmla="*/ 18825 w 26813"/>
                    <a:gd name="connsiteY3" fmla="*/ 1288 h 26708"/>
                    <a:gd name="connsiteX4" fmla="*/ 25676 w 26813"/>
                    <a:gd name="connsiteY4" fmla="*/ 18975 h 2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708">
                      <a:moveTo>
                        <a:pt x="25676" y="18975"/>
                      </a:moveTo>
                      <a:cubicBezTo>
                        <a:pt x="22687" y="25701"/>
                        <a:pt x="14715" y="28566"/>
                        <a:pt x="7988" y="25452"/>
                      </a:cubicBezTo>
                      <a:cubicBezTo>
                        <a:pt x="1262" y="22338"/>
                        <a:pt x="-1852" y="14491"/>
                        <a:pt x="1138" y="7889"/>
                      </a:cubicBezTo>
                      <a:cubicBezTo>
                        <a:pt x="4127" y="1163"/>
                        <a:pt x="12099" y="-1951"/>
                        <a:pt x="18825" y="1288"/>
                      </a:cubicBezTo>
                      <a:cubicBezTo>
                        <a:pt x="25551" y="4402"/>
                        <a:pt x="28665" y="12373"/>
                        <a:pt x="25676" y="18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4" name="Freeform 5717">
                  <a:extLst>
                    <a:ext uri="{FF2B5EF4-FFF2-40B4-BE49-F238E27FC236}">
                      <a16:creationId xmlns:a16="http://schemas.microsoft.com/office/drawing/2014/main" id="{D9AF6D95-5B31-70F8-5DD6-33D39AF74135}"/>
                    </a:ext>
                  </a:extLst>
                </p:cNvPr>
                <p:cNvSpPr/>
                <p:nvPr/>
              </p:nvSpPr>
              <p:spPr>
                <a:xfrm>
                  <a:off x="11165350" y="6111621"/>
                  <a:ext cx="21797" cy="47456"/>
                </a:xfrm>
                <a:custGeom>
                  <a:avLst/>
                  <a:gdLst>
                    <a:gd name="connsiteX0" fmla="*/ 0 w 21797"/>
                    <a:gd name="connsiteY0" fmla="*/ 47456 h 47456"/>
                    <a:gd name="connsiteX1" fmla="*/ 9342 w 21797"/>
                    <a:gd name="connsiteY1" fmla="*/ 31139 h 47456"/>
                    <a:gd name="connsiteX2" fmla="*/ 13203 w 21797"/>
                    <a:gd name="connsiteY2" fmla="*/ 14075 h 47456"/>
                    <a:gd name="connsiteX3" fmla="*/ 21798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0" y="47456"/>
                      </a:moveTo>
                      <a:cubicBezTo>
                        <a:pt x="5481" y="41104"/>
                        <a:pt x="8096" y="35374"/>
                        <a:pt x="9342" y="31139"/>
                      </a:cubicBezTo>
                      <a:cubicBezTo>
                        <a:pt x="11459" y="24414"/>
                        <a:pt x="10836" y="20801"/>
                        <a:pt x="13203" y="14075"/>
                      </a:cubicBezTo>
                      <a:cubicBezTo>
                        <a:pt x="15570" y="7598"/>
                        <a:pt x="19182" y="2990"/>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5" name="Freeform 5718">
                  <a:extLst>
                    <a:ext uri="{FF2B5EF4-FFF2-40B4-BE49-F238E27FC236}">
                      <a16:creationId xmlns:a16="http://schemas.microsoft.com/office/drawing/2014/main" id="{EF48D091-5763-9502-6EB9-9D33047F734E}"/>
                    </a:ext>
                  </a:extLst>
                </p:cNvPr>
                <p:cNvSpPr/>
                <p:nvPr/>
              </p:nvSpPr>
              <p:spPr>
                <a:xfrm>
                  <a:off x="11157004" y="6112867"/>
                  <a:ext cx="20552" cy="47954"/>
                </a:xfrm>
                <a:custGeom>
                  <a:avLst/>
                  <a:gdLst>
                    <a:gd name="connsiteX0" fmla="*/ 20552 w 20552"/>
                    <a:gd name="connsiteY0" fmla="*/ 0 h 47954"/>
                    <a:gd name="connsiteX1" fmla="*/ 14698 w 20552"/>
                    <a:gd name="connsiteY1" fmla="*/ 17936 h 47954"/>
                    <a:gd name="connsiteX2" fmla="*/ 4733 w 20552"/>
                    <a:gd name="connsiteY2" fmla="*/ 32136 h 47954"/>
                    <a:gd name="connsiteX3" fmla="*/ 0 w 2055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0"/>
                      </a:moveTo>
                      <a:cubicBezTo>
                        <a:pt x="19556" y="8346"/>
                        <a:pt x="16940" y="14200"/>
                        <a:pt x="14698" y="17936"/>
                      </a:cubicBezTo>
                      <a:cubicBezTo>
                        <a:pt x="11210" y="23915"/>
                        <a:pt x="7972" y="25908"/>
                        <a:pt x="4733" y="32136"/>
                      </a:cubicBezTo>
                      <a:cubicBezTo>
                        <a:pt x="1495" y="38239"/>
                        <a:pt x="374" y="44094"/>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6" name="Freeform 5719">
                  <a:extLst>
                    <a:ext uri="{FF2B5EF4-FFF2-40B4-BE49-F238E27FC236}">
                      <a16:creationId xmlns:a16="http://schemas.microsoft.com/office/drawing/2014/main" id="{C394D35C-8F2E-D07D-8045-F811A72048F5}"/>
                    </a:ext>
                  </a:extLst>
                </p:cNvPr>
                <p:cNvSpPr/>
                <p:nvPr/>
              </p:nvSpPr>
              <p:spPr>
                <a:xfrm>
                  <a:off x="11146200" y="6150715"/>
                  <a:ext cx="26062" cy="26585"/>
                </a:xfrm>
                <a:custGeom>
                  <a:avLst/>
                  <a:gdLst>
                    <a:gd name="connsiteX0" fmla="*/ 1089 w 26062"/>
                    <a:gd name="connsiteY0" fmla="*/ 7988 h 26585"/>
                    <a:gd name="connsiteX1" fmla="*/ 18403 w 26062"/>
                    <a:gd name="connsiteY1" fmla="*/ 1138 h 26585"/>
                    <a:gd name="connsiteX2" fmla="*/ 24879 w 26062"/>
                    <a:gd name="connsiteY2" fmla="*/ 18700 h 26585"/>
                    <a:gd name="connsiteX3" fmla="*/ 7690 w 26062"/>
                    <a:gd name="connsiteY3" fmla="*/ 25427 h 26585"/>
                    <a:gd name="connsiteX4" fmla="*/ 1089 w 26062"/>
                    <a:gd name="connsiteY4" fmla="*/ 7988 h 26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2" h="26585">
                      <a:moveTo>
                        <a:pt x="1089" y="7988"/>
                      </a:moveTo>
                      <a:cubicBezTo>
                        <a:pt x="4078" y="1262"/>
                        <a:pt x="11801" y="-1852"/>
                        <a:pt x="18403" y="1138"/>
                      </a:cubicBezTo>
                      <a:cubicBezTo>
                        <a:pt x="25004" y="4127"/>
                        <a:pt x="27869" y="11974"/>
                        <a:pt x="24879" y="18700"/>
                      </a:cubicBezTo>
                      <a:cubicBezTo>
                        <a:pt x="21890" y="25427"/>
                        <a:pt x="14168" y="28416"/>
                        <a:pt x="7690" y="25427"/>
                      </a:cubicBezTo>
                      <a:cubicBezTo>
                        <a:pt x="1214" y="22437"/>
                        <a:pt x="-1776" y="14714"/>
                        <a:pt x="1089"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9" name="Graphic 2987">
                <a:extLst>
                  <a:ext uri="{FF2B5EF4-FFF2-40B4-BE49-F238E27FC236}">
                    <a16:creationId xmlns:a16="http://schemas.microsoft.com/office/drawing/2014/main" id="{24BDC47D-6064-0714-3566-A6ED60CE9A65}"/>
                  </a:ext>
                </a:extLst>
              </p:cNvPr>
              <p:cNvGrpSpPr/>
              <p:nvPr/>
            </p:nvGrpSpPr>
            <p:grpSpPr>
              <a:xfrm>
                <a:off x="11172635" y="6051449"/>
                <a:ext cx="77151" cy="137936"/>
                <a:chOff x="11172635" y="6051449"/>
                <a:chExt cx="77151" cy="137936"/>
              </a:xfrm>
              <a:grpFill/>
            </p:grpSpPr>
            <p:sp>
              <p:nvSpPr>
                <p:cNvPr id="3905" name="Freeform 5721">
                  <a:extLst>
                    <a:ext uri="{FF2B5EF4-FFF2-40B4-BE49-F238E27FC236}">
                      <a16:creationId xmlns:a16="http://schemas.microsoft.com/office/drawing/2014/main" id="{208504A3-BB81-3A9F-E0D8-46AA8A5BB344}"/>
                    </a:ext>
                  </a:extLst>
                </p:cNvPr>
                <p:cNvSpPr/>
                <p:nvPr/>
              </p:nvSpPr>
              <p:spPr>
                <a:xfrm>
                  <a:off x="11207824" y="6069645"/>
                  <a:ext cx="22295" cy="47082"/>
                </a:xfrm>
                <a:custGeom>
                  <a:avLst/>
                  <a:gdLst>
                    <a:gd name="connsiteX0" fmla="*/ 22296 w 22295"/>
                    <a:gd name="connsiteY0" fmla="*/ 0 h 47082"/>
                    <a:gd name="connsiteX1" fmla="*/ 12705 w 22295"/>
                    <a:gd name="connsiteY1" fmla="*/ 16193 h 47082"/>
                    <a:gd name="connsiteX2" fmla="*/ 8719 w 22295"/>
                    <a:gd name="connsiteY2" fmla="*/ 33132 h 47082"/>
                    <a:gd name="connsiteX3" fmla="*/ 0 w 22295"/>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295" h="47082">
                      <a:moveTo>
                        <a:pt x="22296" y="0"/>
                      </a:moveTo>
                      <a:cubicBezTo>
                        <a:pt x="16691" y="6228"/>
                        <a:pt x="14075" y="12082"/>
                        <a:pt x="12705" y="16193"/>
                      </a:cubicBezTo>
                      <a:cubicBezTo>
                        <a:pt x="10587" y="22919"/>
                        <a:pt x="11210" y="26531"/>
                        <a:pt x="8719" y="33132"/>
                      </a:cubicBezTo>
                      <a:cubicBezTo>
                        <a:pt x="6353" y="39609"/>
                        <a:pt x="2616" y="44218"/>
                        <a:pt x="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6" name="Freeform 5722">
                  <a:extLst>
                    <a:ext uri="{FF2B5EF4-FFF2-40B4-BE49-F238E27FC236}">
                      <a16:creationId xmlns:a16="http://schemas.microsoft.com/office/drawing/2014/main" id="{94182B90-45E3-F331-0CD8-4F85B7B10722}"/>
                    </a:ext>
                  </a:extLst>
                </p:cNvPr>
                <p:cNvSpPr/>
                <p:nvPr/>
              </p:nvSpPr>
              <p:spPr>
                <a:xfrm>
                  <a:off x="11217664" y="6068150"/>
                  <a:ext cx="21050" cy="47705"/>
                </a:xfrm>
                <a:custGeom>
                  <a:avLst/>
                  <a:gdLst>
                    <a:gd name="connsiteX0" fmla="*/ 0 w 21050"/>
                    <a:gd name="connsiteY0" fmla="*/ 47705 h 47705"/>
                    <a:gd name="connsiteX1" fmla="*/ 5979 w 21050"/>
                    <a:gd name="connsiteY1" fmla="*/ 29894 h 47705"/>
                    <a:gd name="connsiteX2" fmla="*/ 16193 w 21050"/>
                    <a:gd name="connsiteY2" fmla="*/ 15819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5"/>
                      </a:moveTo>
                      <a:cubicBezTo>
                        <a:pt x="1121" y="39360"/>
                        <a:pt x="3737" y="33631"/>
                        <a:pt x="5979" y="29894"/>
                      </a:cubicBezTo>
                      <a:cubicBezTo>
                        <a:pt x="9591" y="23915"/>
                        <a:pt x="12830" y="22047"/>
                        <a:pt x="16193" y="15819"/>
                      </a:cubicBezTo>
                      <a:cubicBezTo>
                        <a:pt x="19556" y="9715"/>
                        <a:pt x="20552" y="3986"/>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7" name="Freeform 5723">
                  <a:extLst>
                    <a:ext uri="{FF2B5EF4-FFF2-40B4-BE49-F238E27FC236}">
                      <a16:creationId xmlns:a16="http://schemas.microsoft.com/office/drawing/2014/main" id="{77E9797B-0C21-BBF6-4A31-914F395E6865}"/>
                    </a:ext>
                  </a:extLst>
                </p:cNvPr>
                <p:cNvSpPr/>
                <p:nvPr/>
              </p:nvSpPr>
              <p:spPr>
                <a:xfrm>
                  <a:off x="11222982" y="6051449"/>
                  <a:ext cx="26803" cy="26603"/>
                </a:xfrm>
                <a:custGeom>
                  <a:avLst/>
                  <a:gdLst>
                    <a:gd name="connsiteX0" fmla="*/ 25572 w 26803"/>
                    <a:gd name="connsiteY0" fmla="*/ 18944 h 26603"/>
                    <a:gd name="connsiteX1" fmla="*/ 7885 w 26803"/>
                    <a:gd name="connsiteY1" fmla="*/ 25421 h 26603"/>
                    <a:gd name="connsiteX2" fmla="*/ 1159 w 26803"/>
                    <a:gd name="connsiteY2" fmla="*/ 7734 h 26603"/>
                    <a:gd name="connsiteX3" fmla="*/ 18846 w 26803"/>
                    <a:gd name="connsiteY3" fmla="*/ 1257 h 26603"/>
                    <a:gd name="connsiteX4" fmla="*/ 25572 w 26803"/>
                    <a:gd name="connsiteY4" fmla="*/ 18944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03">
                      <a:moveTo>
                        <a:pt x="25572" y="18944"/>
                      </a:moveTo>
                      <a:cubicBezTo>
                        <a:pt x="22458" y="25545"/>
                        <a:pt x="14611" y="28410"/>
                        <a:pt x="7885" y="25421"/>
                      </a:cubicBezTo>
                      <a:cubicBezTo>
                        <a:pt x="1159" y="22307"/>
                        <a:pt x="-1831" y="14460"/>
                        <a:pt x="1159" y="7734"/>
                      </a:cubicBezTo>
                      <a:cubicBezTo>
                        <a:pt x="4148" y="1007"/>
                        <a:pt x="12120" y="-1857"/>
                        <a:pt x="18846" y="1257"/>
                      </a:cubicBezTo>
                      <a:cubicBezTo>
                        <a:pt x="25697" y="4371"/>
                        <a:pt x="28686" y="12342"/>
                        <a:pt x="25572" y="18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8" name="Freeform 5724">
                  <a:extLst>
                    <a:ext uri="{FF2B5EF4-FFF2-40B4-BE49-F238E27FC236}">
                      <a16:creationId xmlns:a16="http://schemas.microsoft.com/office/drawing/2014/main" id="{88558395-CA40-79F1-24C4-7F32E986EE28}"/>
                    </a:ext>
                  </a:extLst>
                </p:cNvPr>
                <p:cNvSpPr/>
                <p:nvPr/>
              </p:nvSpPr>
              <p:spPr>
                <a:xfrm>
                  <a:off x="11191756" y="6124201"/>
                  <a:ext cx="22295" cy="47082"/>
                </a:xfrm>
                <a:custGeom>
                  <a:avLst/>
                  <a:gdLst>
                    <a:gd name="connsiteX0" fmla="*/ 0 w 22295"/>
                    <a:gd name="connsiteY0" fmla="*/ 47083 h 47082"/>
                    <a:gd name="connsiteX1" fmla="*/ 9590 w 22295"/>
                    <a:gd name="connsiteY1" fmla="*/ 30890 h 47082"/>
                    <a:gd name="connsiteX2" fmla="*/ 13576 w 22295"/>
                    <a:gd name="connsiteY2" fmla="*/ 1395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5604" y="40730"/>
                        <a:pt x="8220" y="35001"/>
                        <a:pt x="9590" y="30890"/>
                      </a:cubicBezTo>
                      <a:cubicBezTo>
                        <a:pt x="11832" y="24289"/>
                        <a:pt x="11085" y="20552"/>
                        <a:pt x="13576" y="13950"/>
                      </a:cubicBezTo>
                      <a:cubicBezTo>
                        <a:pt x="15943" y="7474"/>
                        <a:pt x="19680" y="2865"/>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9" name="Freeform 5725">
                  <a:extLst>
                    <a:ext uri="{FF2B5EF4-FFF2-40B4-BE49-F238E27FC236}">
                      <a16:creationId xmlns:a16="http://schemas.microsoft.com/office/drawing/2014/main" id="{88336718-0FF8-CA9A-3419-F7DF7BC63994}"/>
                    </a:ext>
                  </a:extLst>
                </p:cNvPr>
                <p:cNvSpPr/>
                <p:nvPr/>
              </p:nvSpPr>
              <p:spPr>
                <a:xfrm>
                  <a:off x="11183410" y="6125198"/>
                  <a:ext cx="20926" cy="47830"/>
                </a:xfrm>
                <a:custGeom>
                  <a:avLst/>
                  <a:gdLst>
                    <a:gd name="connsiteX0" fmla="*/ 20926 w 20926"/>
                    <a:gd name="connsiteY0" fmla="*/ 0 h 47830"/>
                    <a:gd name="connsiteX1" fmla="*/ 14947 w 20926"/>
                    <a:gd name="connsiteY1" fmla="*/ 17812 h 47830"/>
                    <a:gd name="connsiteX2" fmla="*/ 4858 w 20926"/>
                    <a:gd name="connsiteY2" fmla="*/ 32011 h 47830"/>
                    <a:gd name="connsiteX3" fmla="*/ 0 w 20926"/>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926" h="47830">
                      <a:moveTo>
                        <a:pt x="20926" y="0"/>
                      </a:moveTo>
                      <a:cubicBezTo>
                        <a:pt x="19805" y="8346"/>
                        <a:pt x="17189" y="14075"/>
                        <a:pt x="14947" y="17812"/>
                      </a:cubicBezTo>
                      <a:cubicBezTo>
                        <a:pt x="11335" y="23791"/>
                        <a:pt x="8221" y="25659"/>
                        <a:pt x="4858" y="32011"/>
                      </a:cubicBezTo>
                      <a:cubicBezTo>
                        <a:pt x="1619" y="38115"/>
                        <a:pt x="499" y="43845"/>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0" name="Freeform 5726">
                  <a:extLst>
                    <a:ext uri="{FF2B5EF4-FFF2-40B4-BE49-F238E27FC236}">
                      <a16:creationId xmlns:a16="http://schemas.microsoft.com/office/drawing/2014/main" id="{717F9CF0-3251-A811-9FD3-584164CFE67A}"/>
                    </a:ext>
                  </a:extLst>
                </p:cNvPr>
                <p:cNvSpPr/>
                <p:nvPr/>
              </p:nvSpPr>
              <p:spPr>
                <a:xfrm>
                  <a:off x="11172635" y="6163004"/>
                  <a:ext cx="26055" cy="26381"/>
                </a:xfrm>
                <a:custGeom>
                  <a:avLst/>
                  <a:gdLst>
                    <a:gd name="connsiteX0" fmla="*/ 1185 w 26055"/>
                    <a:gd name="connsiteY0" fmla="*/ 7782 h 26381"/>
                    <a:gd name="connsiteX1" fmla="*/ 18498 w 26055"/>
                    <a:gd name="connsiteY1" fmla="*/ 1180 h 26381"/>
                    <a:gd name="connsiteX2" fmla="*/ 24851 w 26055"/>
                    <a:gd name="connsiteY2" fmla="*/ 18618 h 26381"/>
                    <a:gd name="connsiteX3" fmla="*/ 7538 w 26055"/>
                    <a:gd name="connsiteY3" fmla="*/ 25220 h 26381"/>
                    <a:gd name="connsiteX4" fmla="*/ 1185 w 26055"/>
                    <a:gd name="connsiteY4" fmla="*/ 7782 h 2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55" h="26381">
                      <a:moveTo>
                        <a:pt x="1185" y="7782"/>
                      </a:moveTo>
                      <a:cubicBezTo>
                        <a:pt x="4174" y="1056"/>
                        <a:pt x="11897" y="-1809"/>
                        <a:pt x="18498" y="1180"/>
                      </a:cubicBezTo>
                      <a:cubicBezTo>
                        <a:pt x="25100" y="4170"/>
                        <a:pt x="27840" y="12017"/>
                        <a:pt x="24851" y="18618"/>
                      </a:cubicBezTo>
                      <a:cubicBezTo>
                        <a:pt x="21861" y="25220"/>
                        <a:pt x="14014" y="28210"/>
                        <a:pt x="7538" y="25220"/>
                      </a:cubicBezTo>
                      <a:cubicBezTo>
                        <a:pt x="1061" y="22231"/>
                        <a:pt x="-1804" y="14383"/>
                        <a:pt x="1185" y="778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0" name="Graphic 2987">
                <a:extLst>
                  <a:ext uri="{FF2B5EF4-FFF2-40B4-BE49-F238E27FC236}">
                    <a16:creationId xmlns:a16="http://schemas.microsoft.com/office/drawing/2014/main" id="{5090B328-F187-7B64-2C78-86C1109C8EB4}"/>
                  </a:ext>
                </a:extLst>
              </p:cNvPr>
              <p:cNvGrpSpPr/>
              <p:nvPr/>
            </p:nvGrpSpPr>
            <p:grpSpPr>
              <a:xfrm>
                <a:off x="11198964" y="6064026"/>
                <a:ext cx="78227" cy="137440"/>
                <a:chOff x="11198964" y="6064026"/>
                <a:chExt cx="78227" cy="137440"/>
              </a:xfrm>
              <a:grpFill/>
            </p:grpSpPr>
            <p:sp>
              <p:nvSpPr>
                <p:cNvPr id="3899" name="Freeform 5728">
                  <a:extLst>
                    <a:ext uri="{FF2B5EF4-FFF2-40B4-BE49-F238E27FC236}">
                      <a16:creationId xmlns:a16="http://schemas.microsoft.com/office/drawing/2014/main" id="{D9AEC4C8-44C2-2B08-4D25-90BBCD55226D}"/>
                    </a:ext>
                  </a:extLst>
                </p:cNvPr>
                <p:cNvSpPr/>
                <p:nvPr/>
              </p:nvSpPr>
              <p:spPr>
                <a:xfrm>
                  <a:off x="11234728" y="6082225"/>
                  <a:ext cx="22669" cy="46958"/>
                </a:xfrm>
                <a:custGeom>
                  <a:avLst/>
                  <a:gdLst>
                    <a:gd name="connsiteX0" fmla="*/ 22670 w 22669"/>
                    <a:gd name="connsiteY0" fmla="*/ 0 h 46958"/>
                    <a:gd name="connsiteX1" fmla="*/ 12954 w 22669"/>
                    <a:gd name="connsiteY1" fmla="*/ 16068 h 46958"/>
                    <a:gd name="connsiteX2" fmla="*/ 8844 w 22669"/>
                    <a:gd name="connsiteY2" fmla="*/ 33008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16940" y="6228"/>
                        <a:pt x="14324" y="11957"/>
                        <a:pt x="12954" y="16068"/>
                      </a:cubicBezTo>
                      <a:cubicBezTo>
                        <a:pt x="10713" y="22670"/>
                        <a:pt x="11460" y="26406"/>
                        <a:pt x="8844" y="33008"/>
                      </a:cubicBezTo>
                      <a:cubicBezTo>
                        <a:pt x="6353" y="39485"/>
                        <a:pt x="2741" y="44094"/>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0" name="Freeform 5729">
                  <a:extLst>
                    <a:ext uri="{FF2B5EF4-FFF2-40B4-BE49-F238E27FC236}">
                      <a16:creationId xmlns:a16="http://schemas.microsoft.com/office/drawing/2014/main" id="{BC0E1FCF-BE2C-FBB7-2CB0-6011739D5E4C}"/>
                    </a:ext>
                  </a:extLst>
                </p:cNvPr>
                <p:cNvSpPr/>
                <p:nvPr/>
              </p:nvSpPr>
              <p:spPr>
                <a:xfrm>
                  <a:off x="11244568" y="6080606"/>
                  <a:ext cx="21423" cy="47581"/>
                </a:xfrm>
                <a:custGeom>
                  <a:avLst/>
                  <a:gdLst>
                    <a:gd name="connsiteX0" fmla="*/ 0 w 21423"/>
                    <a:gd name="connsiteY0" fmla="*/ 47581 h 47581"/>
                    <a:gd name="connsiteX1" fmla="*/ 6103 w 21423"/>
                    <a:gd name="connsiteY1" fmla="*/ 29769 h 47581"/>
                    <a:gd name="connsiteX2" fmla="*/ 16442 w 21423"/>
                    <a:gd name="connsiteY2" fmla="*/ 15694 h 47581"/>
                    <a:gd name="connsiteX3" fmla="*/ 21424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0" y="47581"/>
                      </a:moveTo>
                      <a:cubicBezTo>
                        <a:pt x="1121" y="39236"/>
                        <a:pt x="3861" y="33506"/>
                        <a:pt x="6103" y="29769"/>
                      </a:cubicBezTo>
                      <a:cubicBezTo>
                        <a:pt x="9715" y="23791"/>
                        <a:pt x="12954" y="21922"/>
                        <a:pt x="16442" y="15694"/>
                      </a:cubicBezTo>
                      <a:cubicBezTo>
                        <a:pt x="19804" y="9715"/>
                        <a:pt x="20926" y="3861"/>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1" name="Freeform 5730">
                  <a:extLst>
                    <a:ext uri="{FF2B5EF4-FFF2-40B4-BE49-F238E27FC236}">
                      <a16:creationId xmlns:a16="http://schemas.microsoft.com/office/drawing/2014/main" id="{46715A4D-C82C-5302-6CBB-004157D164C2}"/>
                    </a:ext>
                  </a:extLst>
                </p:cNvPr>
                <p:cNvSpPr/>
                <p:nvPr/>
              </p:nvSpPr>
              <p:spPr>
                <a:xfrm>
                  <a:off x="11250310" y="6064026"/>
                  <a:ext cx="26881" cy="26558"/>
                </a:xfrm>
                <a:custGeom>
                  <a:avLst/>
                  <a:gdLst>
                    <a:gd name="connsiteX0" fmla="*/ 25648 w 26881"/>
                    <a:gd name="connsiteY0" fmla="*/ 18947 h 26558"/>
                    <a:gd name="connsiteX1" fmla="*/ 7835 w 26881"/>
                    <a:gd name="connsiteY1" fmla="*/ 25299 h 26558"/>
                    <a:gd name="connsiteX2" fmla="*/ 1234 w 26881"/>
                    <a:gd name="connsiteY2" fmla="*/ 7612 h 26558"/>
                    <a:gd name="connsiteX3" fmla="*/ 19046 w 26881"/>
                    <a:gd name="connsiteY3" fmla="*/ 1259 h 26558"/>
                    <a:gd name="connsiteX4" fmla="*/ 25648 w 26881"/>
                    <a:gd name="connsiteY4" fmla="*/ 1894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1" h="26558">
                      <a:moveTo>
                        <a:pt x="25648" y="18947"/>
                      </a:moveTo>
                      <a:cubicBezTo>
                        <a:pt x="22534" y="25548"/>
                        <a:pt x="14562" y="28413"/>
                        <a:pt x="7835" y="25299"/>
                      </a:cubicBezTo>
                      <a:cubicBezTo>
                        <a:pt x="1109" y="22185"/>
                        <a:pt x="-1880" y="14338"/>
                        <a:pt x="1234" y="7612"/>
                      </a:cubicBezTo>
                      <a:cubicBezTo>
                        <a:pt x="4348" y="1010"/>
                        <a:pt x="12320" y="-1855"/>
                        <a:pt x="19046" y="1259"/>
                      </a:cubicBezTo>
                      <a:cubicBezTo>
                        <a:pt x="25772" y="4498"/>
                        <a:pt x="28762" y="12345"/>
                        <a:pt x="25648" y="18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2" name="Freeform 5731">
                  <a:extLst>
                    <a:ext uri="{FF2B5EF4-FFF2-40B4-BE49-F238E27FC236}">
                      <a16:creationId xmlns:a16="http://schemas.microsoft.com/office/drawing/2014/main" id="{F676214E-6DBA-8E8C-0D2C-DBDD996A8440}"/>
                    </a:ext>
                  </a:extLst>
                </p:cNvPr>
                <p:cNvSpPr/>
                <p:nvPr/>
              </p:nvSpPr>
              <p:spPr>
                <a:xfrm>
                  <a:off x="11218287" y="6136408"/>
                  <a:ext cx="22668" cy="46958"/>
                </a:xfrm>
                <a:custGeom>
                  <a:avLst/>
                  <a:gdLst>
                    <a:gd name="connsiteX0" fmla="*/ 0 w 22668"/>
                    <a:gd name="connsiteY0" fmla="*/ 46958 h 46958"/>
                    <a:gd name="connsiteX1" fmla="*/ 9715 w 22668"/>
                    <a:gd name="connsiteY1" fmla="*/ 30890 h 46958"/>
                    <a:gd name="connsiteX2" fmla="*/ 13826 w 22668"/>
                    <a:gd name="connsiteY2" fmla="*/ 13950 h 46958"/>
                    <a:gd name="connsiteX3" fmla="*/ 22669 w 22668"/>
                    <a:gd name="connsiteY3" fmla="*/ 0 h 46958"/>
                  </a:gdLst>
                  <a:ahLst/>
                  <a:cxnLst>
                    <a:cxn ang="0">
                      <a:pos x="connsiteX0" y="connsiteY0"/>
                    </a:cxn>
                    <a:cxn ang="0">
                      <a:pos x="connsiteX1" y="connsiteY1"/>
                    </a:cxn>
                    <a:cxn ang="0">
                      <a:pos x="connsiteX2" y="connsiteY2"/>
                    </a:cxn>
                    <a:cxn ang="0">
                      <a:pos x="connsiteX3" y="connsiteY3"/>
                    </a:cxn>
                  </a:cxnLst>
                  <a:rect l="l" t="t" r="r" b="b"/>
                  <a:pathLst>
                    <a:path w="22668" h="46958">
                      <a:moveTo>
                        <a:pt x="0" y="46958"/>
                      </a:moveTo>
                      <a:cubicBezTo>
                        <a:pt x="5604" y="40730"/>
                        <a:pt x="8345" y="35001"/>
                        <a:pt x="9715" y="30890"/>
                      </a:cubicBezTo>
                      <a:cubicBezTo>
                        <a:pt x="11957" y="24289"/>
                        <a:pt x="11334" y="20676"/>
                        <a:pt x="13826" y="13950"/>
                      </a:cubicBezTo>
                      <a:cubicBezTo>
                        <a:pt x="16317" y="7473"/>
                        <a:pt x="19929" y="2865"/>
                        <a:pt x="226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3" name="Freeform 5732">
                  <a:extLst>
                    <a:ext uri="{FF2B5EF4-FFF2-40B4-BE49-F238E27FC236}">
                      <a16:creationId xmlns:a16="http://schemas.microsoft.com/office/drawing/2014/main" id="{F7823FA2-2360-ED48-44BD-E51DD73D39F4}"/>
                    </a:ext>
                  </a:extLst>
                </p:cNvPr>
                <p:cNvSpPr/>
                <p:nvPr/>
              </p:nvSpPr>
              <p:spPr>
                <a:xfrm>
                  <a:off x="11209941" y="6137529"/>
                  <a:ext cx="21299" cy="47580"/>
                </a:xfrm>
                <a:custGeom>
                  <a:avLst/>
                  <a:gdLst>
                    <a:gd name="connsiteX0" fmla="*/ 21300 w 21299"/>
                    <a:gd name="connsiteY0" fmla="*/ 0 h 47580"/>
                    <a:gd name="connsiteX1" fmla="*/ 15196 w 21299"/>
                    <a:gd name="connsiteY1" fmla="*/ 17812 h 47580"/>
                    <a:gd name="connsiteX2" fmla="*/ 4983 w 21299"/>
                    <a:gd name="connsiteY2" fmla="*/ 31887 h 47580"/>
                    <a:gd name="connsiteX3" fmla="*/ 0 w 21299"/>
                    <a:gd name="connsiteY3" fmla="*/ 47581 h 47580"/>
                  </a:gdLst>
                  <a:ahLst/>
                  <a:cxnLst>
                    <a:cxn ang="0">
                      <a:pos x="connsiteX0" y="connsiteY0"/>
                    </a:cxn>
                    <a:cxn ang="0">
                      <a:pos x="connsiteX1" y="connsiteY1"/>
                    </a:cxn>
                    <a:cxn ang="0">
                      <a:pos x="connsiteX2" y="connsiteY2"/>
                    </a:cxn>
                    <a:cxn ang="0">
                      <a:pos x="connsiteX3" y="connsiteY3"/>
                    </a:cxn>
                  </a:cxnLst>
                  <a:rect l="l" t="t" r="r" b="b"/>
                  <a:pathLst>
                    <a:path w="21299" h="47580">
                      <a:moveTo>
                        <a:pt x="21300" y="0"/>
                      </a:moveTo>
                      <a:cubicBezTo>
                        <a:pt x="20178" y="8345"/>
                        <a:pt x="17438" y="14075"/>
                        <a:pt x="15196" y="17812"/>
                      </a:cubicBezTo>
                      <a:cubicBezTo>
                        <a:pt x="11584" y="23791"/>
                        <a:pt x="8346" y="25659"/>
                        <a:pt x="4983" y="31887"/>
                      </a:cubicBezTo>
                      <a:cubicBezTo>
                        <a:pt x="1619" y="37990"/>
                        <a:pt x="499" y="43719"/>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4" name="Freeform 5733">
                  <a:extLst>
                    <a:ext uri="{FF2B5EF4-FFF2-40B4-BE49-F238E27FC236}">
                      <a16:creationId xmlns:a16="http://schemas.microsoft.com/office/drawing/2014/main" id="{0EBD9474-800C-995E-9FBA-4DF7F12E65E7}"/>
                    </a:ext>
                  </a:extLst>
                </p:cNvPr>
                <p:cNvSpPr/>
                <p:nvPr/>
              </p:nvSpPr>
              <p:spPr>
                <a:xfrm>
                  <a:off x="11198964" y="6175105"/>
                  <a:ext cx="26209" cy="26361"/>
                </a:xfrm>
                <a:custGeom>
                  <a:avLst/>
                  <a:gdLst>
                    <a:gd name="connsiteX0" fmla="*/ 1262 w 26209"/>
                    <a:gd name="connsiteY0" fmla="*/ 7763 h 26361"/>
                    <a:gd name="connsiteX1" fmla="*/ 18699 w 26209"/>
                    <a:gd name="connsiteY1" fmla="*/ 1161 h 26361"/>
                    <a:gd name="connsiteX2" fmla="*/ 24927 w 26209"/>
                    <a:gd name="connsiteY2" fmla="*/ 18599 h 26361"/>
                    <a:gd name="connsiteX3" fmla="*/ 7490 w 26209"/>
                    <a:gd name="connsiteY3" fmla="*/ 25201 h 26361"/>
                    <a:gd name="connsiteX4" fmla="*/ 1262 w 26209"/>
                    <a:gd name="connsiteY4" fmla="*/ 7763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361">
                      <a:moveTo>
                        <a:pt x="1262" y="7763"/>
                      </a:moveTo>
                      <a:cubicBezTo>
                        <a:pt x="4376" y="1161"/>
                        <a:pt x="12098" y="-1828"/>
                        <a:pt x="18699" y="1161"/>
                      </a:cubicBezTo>
                      <a:cubicBezTo>
                        <a:pt x="25301" y="4151"/>
                        <a:pt x="28041" y="11997"/>
                        <a:pt x="24927" y="18599"/>
                      </a:cubicBezTo>
                      <a:cubicBezTo>
                        <a:pt x="21813" y="25201"/>
                        <a:pt x="13966" y="28190"/>
                        <a:pt x="7490" y="25201"/>
                      </a:cubicBezTo>
                      <a:cubicBezTo>
                        <a:pt x="1012" y="22211"/>
                        <a:pt x="-1852" y="14489"/>
                        <a:pt x="1262" y="77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1" name="Graphic 2987">
                <a:extLst>
                  <a:ext uri="{FF2B5EF4-FFF2-40B4-BE49-F238E27FC236}">
                    <a16:creationId xmlns:a16="http://schemas.microsoft.com/office/drawing/2014/main" id="{2D68238C-DA7C-FAAD-EC74-BB4A4818B58D}"/>
                  </a:ext>
                </a:extLst>
              </p:cNvPr>
              <p:cNvGrpSpPr/>
              <p:nvPr/>
            </p:nvGrpSpPr>
            <p:grpSpPr>
              <a:xfrm>
                <a:off x="11225347" y="6076731"/>
                <a:ext cx="79165" cy="137057"/>
                <a:chOff x="11225347" y="6076731"/>
                <a:chExt cx="79165" cy="137057"/>
              </a:xfrm>
              <a:grpFill/>
            </p:grpSpPr>
            <p:sp>
              <p:nvSpPr>
                <p:cNvPr id="3893" name="Freeform 5735">
                  <a:extLst>
                    <a:ext uri="{FF2B5EF4-FFF2-40B4-BE49-F238E27FC236}">
                      <a16:creationId xmlns:a16="http://schemas.microsoft.com/office/drawing/2014/main" id="{F536F6BF-F84F-14C1-A28E-87AE761870A7}"/>
                    </a:ext>
                  </a:extLst>
                </p:cNvPr>
                <p:cNvSpPr/>
                <p:nvPr/>
              </p:nvSpPr>
              <p:spPr>
                <a:xfrm>
                  <a:off x="11261633" y="6094805"/>
                  <a:ext cx="23042" cy="46709"/>
                </a:xfrm>
                <a:custGeom>
                  <a:avLst/>
                  <a:gdLst>
                    <a:gd name="connsiteX0" fmla="*/ 23043 w 23042"/>
                    <a:gd name="connsiteY0" fmla="*/ 0 h 46709"/>
                    <a:gd name="connsiteX1" fmla="*/ 13203 w 23042"/>
                    <a:gd name="connsiteY1" fmla="*/ 16068 h 46709"/>
                    <a:gd name="connsiteX2" fmla="*/ 8968 w 23042"/>
                    <a:gd name="connsiteY2" fmla="*/ 32883 h 46709"/>
                    <a:gd name="connsiteX3" fmla="*/ 0 w 23042"/>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042" h="46709">
                      <a:moveTo>
                        <a:pt x="23043" y="0"/>
                      </a:moveTo>
                      <a:cubicBezTo>
                        <a:pt x="17314" y="6228"/>
                        <a:pt x="14573" y="11958"/>
                        <a:pt x="13203" y="16068"/>
                      </a:cubicBezTo>
                      <a:cubicBezTo>
                        <a:pt x="10961" y="22670"/>
                        <a:pt x="11584" y="26282"/>
                        <a:pt x="8968" y="32883"/>
                      </a:cubicBezTo>
                      <a:cubicBezTo>
                        <a:pt x="6477" y="39360"/>
                        <a:pt x="2740" y="43845"/>
                        <a:pt x="0"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4" name="Freeform 5736">
                  <a:extLst>
                    <a:ext uri="{FF2B5EF4-FFF2-40B4-BE49-F238E27FC236}">
                      <a16:creationId xmlns:a16="http://schemas.microsoft.com/office/drawing/2014/main" id="{802B2B12-E746-BECB-0BA9-32C171537D36}"/>
                    </a:ext>
                  </a:extLst>
                </p:cNvPr>
                <p:cNvSpPr/>
                <p:nvPr/>
              </p:nvSpPr>
              <p:spPr>
                <a:xfrm>
                  <a:off x="11271473" y="6093311"/>
                  <a:ext cx="21797" cy="47332"/>
                </a:xfrm>
                <a:custGeom>
                  <a:avLst/>
                  <a:gdLst>
                    <a:gd name="connsiteX0" fmla="*/ 0 w 21797"/>
                    <a:gd name="connsiteY0" fmla="*/ 47332 h 47332"/>
                    <a:gd name="connsiteX1" fmla="*/ 6228 w 21797"/>
                    <a:gd name="connsiteY1" fmla="*/ 29645 h 47332"/>
                    <a:gd name="connsiteX2" fmla="*/ 16691 w 21797"/>
                    <a:gd name="connsiteY2" fmla="*/ 15694 h 47332"/>
                    <a:gd name="connsiteX3" fmla="*/ 21798 w 21797"/>
                    <a:gd name="connsiteY3" fmla="*/ 0 h 47332"/>
                  </a:gdLst>
                  <a:ahLst/>
                  <a:cxnLst>
                    <a:cxn ang="0">
                      <a:pos x="connsiteX0" y="connsiteY0"/>
                    </a:cxn>
                    <a:cxn ang="0">
                      <a:pos x="connsiteX1" y="connsiteY1"/>
                    </a:cxn>
                    <a:cxn ang="0">
                      <a:pos x="connsiteX2" y="connsiteY2"/>
                    </a:cxn>
                    <a:cxn ang="0">
                      <a:pos x="connsiteX3" y="connsiteY3"/>
                    </a:cxn>
                  </a:cxnLst>
                  <a:rect l="l" t="t" r="r" b="b"/>
                  <a:pathLst>
                    <a:path w="21797" h="47332">
                      <a:moveTo>
                        <a:pt x="0" y="47332"/>
                      </a:moveTo>
                      <a:cubicBezTo>
                        <a:pt x="1246" y="38987"/>
                        <a:pt x="3986" y="33382"/>
                        <a:pt x="6228" y="29645"/>
                      </a:cubicBezTo>
                      <a:cubicBezTo>
                        <a:pt x="9964" y="23666"/>
                        <a:pt x="13203" y="21798"/>
                        <a:pt x="16691" y="15694"/>
                      </a:cubicBezTo>
                      <a:cubicBezTo>
                        <a:pt x="20054" y="9715"/>
                        <a:pt x="21300" y="3861"/>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5" name="Freeform 5737">
                  <a:extLst>
                    <a:ext uri="{FF2B5EF4-FFF2-40B4-BE49-F238E27FC236}">
                      <a16:creationId xmlns:a16="http://schemas.microsoft.com/office/drawing/2014/main" id="{03B55746-4A9E-23E1-AA70-8FDFD7D67C75}"/>
                    </a:ext>
                  </a:extLst>
                </p:cNvPr>
                <p:cNvSpPr/>
                <p:nvPr/>
              </p:nvSpPr>
              <p:spPr>
                <a:xfrm>
                  <a:off x="11277588" y="6076731"/>
                  <a:ext cx="26924" cy="26426"/>
                </a:xfrm>
                <a:custGeom>
                  <a:avLst/>
                  <a:gdLst>
                    <a:gd name="connsiteX0" fmla="*/ 25647 w 26924"/>
                    <a:gd name="connsiteY0" fmla="*/ 19071 h 26426"/>
                    <a:gd name="connsiteX1" fmla="*/ 7835 w 26924"/>
                    <a:gd name="connsiteY1" fmla="*/ 25174 h 26426"/>
                    <a:gd name="connsiteX2" fmla="*/ 1234 w 26924"/>
                    <a:gd name="connsiteY2" fmla="*/ 7611 h 26426"/>
                    <a:gd name="connsiteX3" fmla="*/ 19170 w 26924"/>
                    <a:gd name="connsiteY3" fmla="*/ 1259 h 26426"/>
                    <a:gd name="connsiteX4" fmla="*/ 25647 w 26924"/>
                    <a:gd name="connsiteY4" fmla="*/ 19071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 h="26426">
                      <a:moveTo>
                        <a:pt x="25647" y="19071"/>
                      </a:moveTo>
                      <a:cubicBezTo>
                        <a:pt x="22409" y="25672"/>
                        <a:pt x="14562" y="28164"/>
                        <a:pt x="7835" y="25174"/>
                      </a:cubicBezTo>
                      <a:cubicBezTo>
                        <a:pt x="1109" y="22060"/>
                        <a:pt x="-1880" y="14213"/>
                        <a:pt x="1234" y="7611"/>
                      </a:cubicBezTo>
                      <a:cubicBezTo>
                        <a:pt x="4348" y="1010"/>
                        <a:pt x="12444" y="-1855"/>
                        <a:pt x="19170" y="1259"/>
                      </a:cubicBezTo>
                      <a:cubicBezTo>
                        <a:pt x="26021" y="4373"/>
                        <a:pt x="28761" y="12594"/>
                        <a:pt x="25647" y="19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6" name="Freeform 5738">
                  <a:extLst>
                    <a:ext uri="{FF2B5EF4-FFF2-40B4-BE49-F238E27FC236}">
                      <a16:creationId xmlns:a16="http://schemas.microsoft.com/office/drawing/2014/main" id="{FDF56111-6A0F-BFB1-1919-3B8190E36002}"/>
                    </a:ext>
                  </a:extLst>
                </p:cNvPr>
                <p:cNvSpPr/>
                <p:nvPr/>
              </p:nvSpPr>
              <p:spPr>
                <a:xfrm>
                  <a:off x="11244693" y="6148864"/>
                  <a:ext cx="23167" cy="46709"/>
                </a:xfrm>
                <a:custGeom>
                  <a:avLst/>
                  <a:gdLst>
                    <a:gd name="connsiteX0" fmla="*/ 0 w 23167"/>
                    <a:gd name="connsiteY0" fmla="*/ 46709 h 46709"/>
                    <a:gd name="connsiteX1" fmla="*/ 9840 w 23167"/>
                    <a:gd name="connsiteY1" fmla="*/ 30641 h 46709"/>
                    <a:gd name="connsiteX2" fmla="*/ 14199 w 23167"/>
                    <a:gd name="connsiteY2" fmla="*/ 13826 h 46709"/>
                    <a:gd name="connsiteX3" fmla="*/ 23168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0" y="46709"/>
                      </a:moveTo>
                      <a:cubicBezTo>
                        <a:pt x="5729" y="40481"/>
                        <a:pt x="8345" y="34751"/>
                        <a:pt x="9840" y="30641"/>
                      </a:cubicBezTo>
                      <a:cubicBezTo>
                        <a:pt x="12206" y="24040"/>
                        <a:pt x="11584" y="20427"/>
                        <a:pt x="14199" y="13826"/>
                      </a:cubicBezTo>
                      <a:cubicBezTo>
                        <a:pt x="16690" y="7349"/>
                        <a:pt x="20427" y="2865"/>
                        <a:pt x="231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7" name="Freeform 5739">
                  <a:extLst>
                    <a:ext uri="{FF2B5EF4-FFF2-40B4-BE49-F238E27FC236}">
                      <a16:creationId xmlns:a16="http://schemas.microsoft.com/office/drawing/2014/main" id="{3829FAA6-0E9F-E268-79B8-0F971AB47454}"/>
                    </a:ext>
                  </a:extLst>
                </p:cNvPr>
                <p:cNvSpPr/>
                <p:nvPr/>
              </p:nvSpPr>
              <p:spPr>
                <a:xfrm>
                  <a:off x="11236223" y="6149860"/>
                  <a:ext cx="21797" cy="47456"/>
                </a:xfrm>
                <a:custGeom>
                  <a:avLst/>
                  <a:gdLst>
                    <a:gd name="connsiteX0" fmla="*/ 21798 w 21797"/>
                    <a:gd name="connsiteY0" fmla="*/ 0 h 47456"/>
                    <a:gd name="connsiteX1" fmla="*/ 15570 w 21797"/>
                    <a:gd name="connsiteY1" fmla="*/ 17687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6"/>
                        <a:pt x="17812" y="13950"/>
                        <a:pt x="15570" y="17687"/>
                      </a:cubicBezTo>
                      <a:cubicBezTo>
                        <a:pt x="11832" y="23666"/>
                        <a:pt x="8595" y="25534"/>
                        <a:pt x="5107" y="31762"/>
                      </a:cubicBezTo>
                      <a:cubicBezTo>
                        <a:pt x="1743"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8" name="Freeform 5740">
                  <a:extLst>
                    <a:ext uri="{FF2B5EF4-FFF2-40B4-BE49-F238E27FC236}">
                      <a16:creationId xmlns:a16="http://schemas.microsoft.com/office/drawing/2014/main" id="{376990F6-E880-E129-CD4A-6BDB176F1780}"/>
                    </a:ext>
                  </a:extLst>
                </p:cNvPr>
                <p:cNvSpPr/>
                <p:nvPr/>
              </p:nvSpPr>
              <p:spPr>
                <a:xfrm>
                  <a:off x="11225347" y="6187361"/>
                  <a:ext cx="26158" cy="26427"/>
                </a:xfrm>
                <a:custGeom>
                  <a:avLst/>
                  <a:gdLst>
                    <a:gd name="connsiteX0" fmla="*/ 1285 w 26158"/>
                    <a:gd name="connsiteY0" fmla="*/ 7713 h 26427"/>
                    <a:gd name="connsiteX1" fmla="*/ 18848 w 26158"/>
                    <a:gd name="connsiteY1" fmla="*/ 1237 h 26427"/>
                    <a:gd name="connsiteX2" fmla="*/ 24827 w 26158"/>
                    <a:gd name="connsiteY2" fmla="*/ 18924 h 26427"/>
                    <a:gd name="connsiteX3" fmla="*/ 7389 w 26158"/>
                    <a:gd name="connsiteY3" fmla="*/ 25276 h 26427"/>
                    <a:gd name="connsiteX4" fmla="*/ 1285 w 26158"/>
                    <a:gd name="connsiteY4" fmla="*/ 7713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8" h="26427">
                      <a:moveTo>
                        <a:pt x="1285" y="7713"/>
                      </a:moveTo>
                      <a:cubicBezTo>
                        <a:pt x="4399" y="1112"/>
                        <a:pt x="12246" y="-1877"/>
                        <a:pt x="18848" y="1237"/>
                      </a:cubicBezTo>
                      <a:cubicBezTo>
                        <a:pt x="25450" y="4226"/>
                        <a:pt x="27941" y="12322"/>
                        <a:pt x="24827" y="18924"/>
                      </a:cubicBezTo>
                      <a:cubicBezTo>
                        <a:pt x="21588" y="25525"/>
                        <a:pt x="13990" y="28141"/>
                        <a:pt x="7389" y="25276"/>
                      </a:cubicBezTo>
                      <a:cubicBezTo>
                        <a:pt x="911" y="22037"/>
                        <a:pt x="-1829" y="14315"/>
                        <a:pt x="1285" y="7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2" name="Graphic 2987">
                <a:extLst>
                  <a:ext uri="{FF2B5EF4-FFF2-40B4-BE49-F238E27FC236}">
                    <a16:creationId xmlns:a16="http://schemas.microsoft.com/office/drawing/2014/main" id="{79099D6A-881B-96AF-1DF7-A7B4EC1F366A}"/>
                  </a:ext>
                </a:extLst>
              </p:cNvPr>
              <p:cNvGrpSpPr/>
              <p:nvPr/>
            </p:nvGrpSpPr>
            <p:grpSpPr>
              <a:xfrm>
                <a:off x="11251477" y="6089851"/>
                <a:ext cx="80145" cy="136727"/>
                <a:chOff x="11251477" y="6089851"/>
                <a:chExt cx="80145" cy="136727"/>
              </a:xfrm>
              <a:grpFill/>
            </p:grpSpPr>
            <p:sp>
              <p:nvSpPr>
                <p:cNvPr id="3887" name="Freeform 5742">
                  <a:extLst>
                    <a:ext uri="{FF2B5EF4-FFF2-40B4-BE49-F238E27FC236}">
                      <a16:creationId xmlns:a16="http://schemas.microsoft.com/office/drawing/2014/main" id="{A7CDF914-697A-294D-AA1C-C5F9CDB2DB3D}"/>
                    </a:ext>
                  </a:extLst>
                </p:cNvPr>
                <p:cNvSpPr/>
                <p:nvPr/>
              </p:nvSpPr>
              <p:spPr>
                <a:xfrm>
                  <a:off x="11288288" y="6108009"/>
                  <a:ext cx="23416" cy="46584"/>
                </a:xfrm>
                <a:custGeom>
                  <a:avLst/>
                  <a:gdLst>
                    <a:gd name="connsiteX0" fmla="*/ 23417 w 23416"/>
                    <a:gd name="connsiteY0" fmla="*/ 0 h 46584"/>
                    <a:gd name="connsiteX1" fmla="*/ 13452 w 23416"/>
                    <a:gd name="connsiteY1" fmla="*/ 15943 h 46584"/>
                    <a:gd name="connsiteX2" fmla="*/ 9092 w 23416"/>
                    <a:gd name="connsiteY2" fmla="*/ 32883 h 46584"/>
                    <a:gd name="connsiteX3" fmla="*/ 0 w 23416"/>
                    <a:gd name="connsiteY3" fmla="*/ 46584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103"/>
                        <a:pt x="14946" y="11833"/>
                        <a:pt x="13452" y="15943"/>
                      </a:cubicBezTo>
                      <a:cubicBezTo>
                        <a:pt x="11085" y="22545"/>
                        <a:pt x="11708" y="26281"/>
                        <a:pt x="9092" y="32883"/>
                      </a:cubicBezTo>
                      <a:cubicBezTo>
                        <a:pt x="6476" y="39236"/>
                        <a:pt x="2740" y="43844"/>
                        <a:pt x="0" y="4658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8" name="Freeform 5743">
                  <a:extLst>
                    <a:ext uri="{FF2B5EF4-FFF2-40B4-BE49-F238E27FC236}">
                      <a16:creationId xmlns:a16="http://schemas.microsoft.com/office/drawing/2014/main" id="{ABC3FFA7-5D32-D77B-31A9-AE4528E02ECE}"/>
                    </a:ext>
                  </a:extLst>
                </p:cNvPr>
                <p:cNvSpPr/>
                <p:nvPr/>
              </p:nvSpPr>
              <p:spPr>
                <a:xfrm>
                  <a:off x="11298003" y="6106639"/>
                  <a:ext cx="22296" cy="47207"/>
                </a:xfrm>
                <a:custGeom>
                  <a:avLst/>
                  <a:gdLst>
                    <a:gd name="connsiteX0" fmla="*/ 0 w 22296"/>
                    <a:gd name="connsiteY0" fmla="*/ 47207 h 47207"/>
                    <a:gd name="connsiteX1" fmla="*/ 6477 w 22296"/>
                    <a:gd name="connsiteY1" fmla="*/ 29520 h 47207"/>
                    <a:gd name="connsiteX2" fmla="*/ 17064 w 22296"/>
                    <a:gd name="connsiteY2" fmla="*/ 15694 h 47207"/>
                    <a:gd name="connsiteX3" fmla="*/ 22296 w 22296"/>
                    <a:gd name="connsiteY3" fmla="*/ 0 h 47207"/>
                  </a:gdLst>
                  <a:ahLst/>
                  <a:cxnLst>
                    <a:cxn ang="0">
                      <a:pos x="connsiteX0" y="connsiteY0"/>
                    </a:cxn>
                    <a:cxn ang="0">
                      <a:pos x="connsiteX1" y="connsiteY1"/>
                    </a:cxn>
                    <a:cxn ang="0">
                      <a:pos x="connsiteX2" y="connsiteY2"/>
                    </a:cxn>
                    <a:cxn ang="0">
                      <a:pos x="connsiteX3" y="connsiteY3"/>
                    </a:cxn>
                  </a:cxnLst>
                  <a:rect l="l" t="t" r="r" b="b"/>
                  <a:pathLst>
                    <a:path w="22296" h="47207">
                      <a:moveTo>
                        <a:pt x="0" y="47207"/>
                      </a:moveTo>
                      <a:cubicBezTo>
                        <a:pt x="1370" y="38862"/>
                        <a:pt x="4111" y="33132"/>
                        <a:pt x="6477" y="29520"/>
                      </a:cubicBezTo>
                      <a:cubicBezTo>
                        <a:pt x="10214" y="23666"/>
                        <a:pt x="13452" y="21798"/>
                        <a:pt x="17064" y="15694"/>
                      </a:cubicBezTo>
                      <a:cubicBezTo>
                        <a:pt x="20552" y="9715"/>
                        <a:pt x="21798" y="3986"/>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9" name="Freeform 5744">
                  <a:extLst>
                    <a:ext uri="{FF2B5EF4-FFF2-40B4-BE49-F238E27FC236}">
                      <a16:creationId xmlns:a16="http://schemas.microsoft.com/office/drawing/2014/main" id="{3E192594-8496-1B4E-5EFD-A65F66742CD8}"/>
                    </a:ext>
                  </a:extLst>
                </p:cNvPr>
                <p:cNvSpPr/>
                <p:nvPr/>
              </p:nvSpPr>
              <p:spPr>
                <a:xfrm>
                  <a:off x="11304763" y="6089851"/>
                  <a:ext cx="26859" cy="26723"/>
                </a:xfrm>
                <a:custGeom>
                  <a:avLst/>
                  <a:gdLst>
                    <a:gd name="connsiteX0" fmla="*/ 25501 w 26859"/>
                    <a:gd name="connsiteY0" fmla="*/ 19403 h 26723"/>
                    <a:gd name="connsiteX1" fmla="*/ 7565 w 26859"/>
                    <a:gd name="connsiteY1" fmla="*/ 25257 h 26723"/>
                    <a:gd name="connsiteX2" fmla="*/ 1337 w 26859"/>
                    <a:gd name="connsiteY2" fmla="*/ 7321 h 26723"/>
                    <a:gd name="connsiteX3" fmla="*/ 19273 w 26859"/>
                    <a:gd name="connsiteY3" fmla="*/ 1467 h 26723"/>
                    <a:gd name="connsiteX4" fmla="*/ 25501 w 26859"/>
                    <a:gd name="connsiteY4" fmla="*/ 19403 h 26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723">
                      <a:moveTo>
                        <a:pt x="25501" y="19403"/>
                      </a:moveTo>
                      <a:cubicBezTo>
                        <a:pt x="22263" y="26004"/>
                        <a:pt x="14291" y="28620"/>
                        <a:pt x="7565" y="25257"/>
                      </a:cubicBezTo>
                      <a:cubicBezTo>
                        <a:pt x="963" y="21894"/>
                        <a:pt x="-1902" y="13922"/>
                        <a:pt x="1337" y="7321"/>
                      </a:cubicBezTo>
                      <a:cubicBezTo>
                        <a:pt x="4576" y="719"/>
                        <a:pt x="12547" y="-1896"/>
                        <a:pt x="19273" y="1467"/>
                      </a:cubicBezTo>
                      <a:cubicBezTo>
                        <a:pt x="25999" y="4830"/>
                        <a:pt x="28740" y="12926"/>
                        <a:pt x="25501" y="194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0" name="Freeform 5745">
                  <a:extLst>
                    <a:ext uri="{FF2B5EF4-FFF2-40B4-BE49-F238E27FC236}">
                      <a16:creationId xmlns:a16="http://schemas.microsoft.com/office/drawing/2014/main" id="{473E755F-667D-0B90-DE7A-2E33009194B9}"/>
                    </a:ext>
                  </a:extLst>
                </p:cNvPr>
                <p:cNvSpPr/>
                <p:nvPr/>
              </p:nvSpPr>
              <p:spPr>
                <a:xfrm>
                  <a:off x="11270725" y="6162067"/>
                  <a:ext cx="23541" cy="46459"/>
                </a:xfrm>
                <a:custGeom>
                  <a:avLst/>
                  <a:gdLst>
                    <a:gd name="connsiteX0" fmla="*/ 0 w 23541"/>
                    <a:gd name="connsiteY0" fmla="*/ 46460 h 46459"/>
                    <a:gd name="connsiteX1" fmla="*/ 9964 w 23541"/>
                    <a:gd name="connsiteY1" fmla="*/ 30516 h 46459"/>
                    <a:gd name="connsiteX2" fmla="*/ 14449 w 23541"/>
                    <a:gd name="connsiteY2" fmla="*/ 13701 h 46459"/>
                    <a:gd name="connsiteX3" fmla="*/ 23542 w 23541"/>
                    <a:gd name="connsiteY3" fmla="*/ 0 h 46459"/>
                  </a:gdLst>
                  <a:ahLst/>
                  <a:cxnLst>
                    <a:cxn ang="0">
                      <a:pos x="connsiteX0" y="connsiteY0"/>
                    </a:cxn>
                    <a:cxn ang="0">
                      <a:pos x="connsiteX1" y="connsiteY1"/>
                    </a:cxn>
                    <a:cxn ang="0">
                      <a:pos x="connsiteX2" y="connsiteY2"/>
                    </a:cxn>
                    <a:cxn ang="0">
                      <a:pos x="connsiteX3" y="connsiteY3"/>
                    </a:cxn>
                  </a:cxnLst>
                  <a:rect l="l" t="t" r="r" b="b"/>
                  <a:pathLst>
                    <a:path w="23541" h="46459">
                      <a:moveTo>
                        <a:pt x="0" y="46460"/>
                      </a:moveTo>
                      <a:cubicBezTo>
                        <a:pt x="5730" y="40357"/>
                        <a:pt x="8470" y="34627"/>
                        <a:pt x="9964" y="30516"/>
                      </a:cubicBezTo>
                      <a:cubicBezTo>
                        <a:pt x="12331" y="23915"/>
                        <a:pt x="11833" y="20303"/>
                        <a:pt x="14449" y="13701"/>
                      </a:cubicBezTo>
                      <a:cubicBezTo>
                        <a:pt x="17064" y="7349"/>
                        <a:pt x="20802" y="2740"/>
                        <a:pt x="235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1" name="Freeform 5746">
                  <a:extLst>
                    <a:ext uri="{FF2B5EF4-FFF2-40B4-BE49-F238E27FC236}">
                      <a16:creationId xmlns:a16="http://schemas.microsoft.com/office/drawing/2014/main" id="{466AA415-A4AE-616C-1BB8-31DD7E398DB9}"/>
                    </a:ext>
                  </a:extLst>
                </p:cNvPr>
                <p:cNvSpPr/>
                <p:nvPr/>
              </p:nvSpPr>
              <p:spPr>
                <a:xfrm>
                  <a:off x="11262380" y="6162814"/>
                  <a:ext cx="22170" cy="47207"/>
                </a:xfrm>
                <a:custGeom>
                  <a:avLst/>
                  <a:gdLst>
                    <a:gd name="connsiteX0" fmla="*/ 22171 w 22170"/>
                    <a:gd name="connsiteY0" fmla="*/ 0 h 47207"/>
                    <a:gd name="connsiteX1" fmla="*/ 15694 w 22170"/>
                    <a:gd name="connsiteY1" fmla="*/ 17687 h 47207"/>
                    <a:gd name="connsiteX2" fmla="*/ 5231 w 22170"/>
                    <a:gd name="connsiteY2" fmla="*/ 31513 h 47207"/>
                    <a:gd name="connsiteX3" fmla="*/ 0 w 2217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170" h="47207">
                      <a:moveTo>
                        <a:pt x="22171" y="0"/>
                      </a:moveTo>
                      <a:cubicBezTo>
                        <a:pt x="20801" y="8345"/>
                        <a:pt x="18061" y="14075"/>
                        <a:pt x="15694" y="17687"/>
                      </a:cubicBezTo>
                      <a:cubicBezTo>
                        <a:pt x="11958" y="23541"/>
                        <a:pt x="8719" y="25409"/>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2" name="Freeform 5747">
                  <a:extLst>
                    <a:ext uri="{FF2B5EF4-FFF2-40B4-BE49-F238E27FC236}">
                      <a16:creationId xmlns:a16="http://schemas.microsoft.com/office/drawing/2014/main" id="{294E8282-5E4D-484A-F510-1A55301D87B4}"/>
                    </a:ext>
                  </a:extLst>
                </p:cNvPr>
                <p:cNvSpPr/>
                <p:nvPr/>
              </p:nvSpPr>
              <p:spPr>
                <a:xfrm>
                  <a:off x="11251477" y="6200066"/>
                  <a:ext cx="25993" cy="26512"/>
                </a:xfrm>
                <a:custGeom>
                  <a:avLst/>
                  <a:gdLst>
                    <a:gd name="connsiteX0" fmla="*/ 1312 w 25993"/>
                    <a:gd name="connsiteY0" fmla="*/ 7464 h 26512"/>
                    <a:gd name="connsiteX1" fmla="*/ 18751 w 25993"/>
                    <a:gd name="connsiteY1" fmla="*/ 1361 h 26512"/>
                    <a:gd name="connsiteX2" fmla="*/ 24605 w 25993"/>
                    <a:gd name="connsiteY2" fmla="*/ 19048 h 26512"/>
                    <a:gd name="connsiteX3" fmla="*/ 7167 w 25993"/>
                    <a:gd name="connsiteY3" fmla="*/ 25151 h 26512"/>
                    <a:gd name="connsiteX4" fmla="*/ 1312 w 25993"/>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93" h="26512">
                      <a:moveTo>
                        <a:pt x="1312" y="7464"/>
                      </a:moveTo>
                      <a:cubicBezTo>
                        <a:pt x="4551" y="863"/>
                        <a:pt x="12273" y="-1877"/>
                        <a:pt x="18751" y="1361"/>
                      </a:cubicBezTo>
                      <a:cubicBezTo>
                        <a:pt x="25228" y="4599"/>
                        <a:pt x="27843" y="12447"/>
                        <a:pt x="24605" y="19048"/>
                      </a:cubicBezTo>
                      <a:cubicBezTo>
                        <a:pt x="21367" y="25650"/>
                        <a:pt x="13520" y="28390"/>
                        <a:pt x="7167" y="25151"/>
                      </a:cubicBezTo>
                      <a:cubicBezTo>
                        <a:pt x="814" y="21913"/>
                        <a:pt x="-1802" y="14066"/>
                        <a:pt x="1312"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3" name="Graphic 2987">
                <a:extLst>
                  <a:ext uri="{FF2B5EF4-FFF2-40B4-BE49-F238E27FC236}">
                    <a16:creationId xmlns:a16="http://schemas.microsoft.com/office/drawing/2014/main" id="{6EB96C1E-D13C-4D29-452C-DD82C1A17563}"/>
                  </a:ext>
                </a:extLst>
              </p:cNvPr>
              <p:cNvGrpSpPr/>
              <p:nvPr/>
            </p:nvGrpSpPr>
            <p:grpSpPr>
              <a:xfrm>
                <a:off x="11277407" y="6103428"/>
                <a:ext cx="81247" cy="136028"/>
                <a:chOff x="11277407" y="6103428"/>
                <a:chExt cx="81247" cy="136028"/>
              </a:xfrm>
              <a:grpFill/>
            </p:grpSpPr>
            <p:sp>
              <p:nvSpPr>
                <p:cNvPr id="3881" name="Freeform 5749">
                  <a:extLst>
                    <a:ext uri="{FF2B5EF4-FFF2-40B4-BE49-F238E27FC236}">
                      <a16:creationId xmlns:a16="http://schemas.microsoft.com/office/drawing/2014/main" id="{68DB3C2B-97FB-D4F8-85DC-AF1527B1EB9D}"/>
                    </a:ext>
                  </a:extLst>
                </p:cNvPr>
                <p:cNvSpPr/>
                <p:nvPr/>
              </p:nvSpPr>
              <p:spPr>
                <a:xfrm>
                  <a:off x="11314943" y="6121461"/>
                  <a:ext cx="23790" cy="46335"/>
                </a:xfrm>
                <a:custGeom>
                  <a:avLst/>
                  <a:gdLst>
                    <a:gd name="connsiteX0" fmla="*/ 23791 w 23790"/>
                    <a:gd name="connsiteY0" fmla="*/ 0 h 46335"/>
                    <a:gd name="connsiteX1" fmla="*/ 13702 w 23790"/>
                    <a:gd name="connsiteY1" fmla="*/ 15819 h 46335"/>
                    <a:gd name="connsiteX2" fmla="*/ 9218 w 23790"/>
                    <a:gd name="connsiteY2" fmla="*/ 32634 h 46335"/>
                    <a:gd name="connsiteX3" fmla="*/ 0 w 23790"/>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790" h="46335">
                      <a:moveTo>
                        <a:pt x="23791" y="0"/>
                      </a:moveTo>
                      <a:cubicBezTo>
                        <a:pt x="17936" y="6103"/>
                        <a:pt x="15196" y="11708"/>
                        <a:pt x="13702" y="15819"/>
                      </a:cubicBezTo>
                      <a:cubicBezTo>
                        <a:pt x="11335" y="22420"/>
                        <a:pt x="11833" y="26033"/>
                        <a:pt x="9218" y="32634"/>
                      </a:cubicBezTo>
                      <a:cubicBezTo>
                        <a:pt x="6602" y="38987"/>
                        <a:pt x="2741"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2" name="Freeform 5750">
                  <a:extLst>
                    <a:ext uri="{FF2B5EF4-FFF2-40B4-BE49-F238E27FC236}">
                      <a16:creationId xmlns:a16="http://schemas.microsoft.com/office/drawing/2014/main" id="{B5A83164-A18B-E1E0-1577-7A294BA3E562}"/>
                    </a:ext>
                  </a:extLst>
                </p:cNvPr>
                <p:cNvSpPr/>
                <p:nvPr/>
              </p:nvSpPr>
              <p:spPr>
                <a:xfrm>
                  <a:off x="11324659" y="6120215"/>
                  <a:ext cx="22669" cy="46833"/>
                </a:xfrm>
                <a:custGeom>
                  <a:avLst/>
                  <a:gdLst>
                    <a:gd name="connsiteX0" fmla="*/ 0 w 22669"/>
                    <a:gd name="connsiteY0" fmla="*/ 46834 h 46833"/>
                    <a:gd name="connsiteX1" fmla="*/ 6601 w 22669"/>
                    <a:gd name="connsiteY1" fmla="*/ 29271 h 46833"/>
                    <a:gd name="connsiteX2" fmla="*/ 17314 w 22669"/>
                    <a:gd name="connsiteY2" fmla="*/ 15570 h 46833"/>
                    <a:gd name="connsiteX3" fmla="*/ 2267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0" y="46834"/>
                      </a:moveTo>
                      <a:cubicBezTo>
                        <a:pt x="1370" y="38488"/>
                        <a:pt x="4235" y="32883"/>
                        <a:pt x="6601" y="29271"/>
                      </a:cubicBezTo>
                      <a:cubicBezTo>
                        <a:pt x="10463" y="23417"/>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3" name="Freeform 5751">
                  <a:extLst>
                    <a:ext uri="{FF2B5EF4-FFF2-40B4-BE49-F238E27FC236}">
                      <a16:creationId xmlns:a16="http://schemas.microsoft.com/office/drawing/2014/main" id="{F9D43012-2077-37B1-D686-A4671F1FF47F}"/>
                    </a:ext>
                  </a:extLst>
                </p:cNvPr>
                <p:cNvSpPr/>
                <p:nvPr/>
              </p:nvSpPr>
              <p:spPr>
                <a:xfrm>
                  <a:off x="11331746" y="6103428"/>
                  <a:ext cx="26908" cy="26521"/>
                </a:xfrm>
                <a:custGeom>
                  <a:avLst/>
                  <a:gdLst>
                    <a:gd name="connsiteX0" fmla="*/ 25547 w 26908"/>
                    <a:gd name="connsiteY0" fmla="*/ 19278 h 26521"/>
                    <a:gd name="connsiteX1" fmla="*/ 7486 w 26908"/>
                    <a:gd name="connsiteY1" fmla="*/ 25133 h 26521"/>
                    <a:gd name="connsiteX2" fmla="*/ 1383 w 26908"/>
                    <a:gd name="connsiteY2" fmla="*/ 7321 h 26521"/>
                    <a:gd name="connsiteX3" fmla="*/ 19444 w 26908"/>
                    <a:gd name="connsiteY3" fmla="*/ 1467 h 26521"/>
                    <a:gd name="connsiteX4" fmla="*/ 25547 w 26908"/>
                    <a:gd name="connsiteY4" fmla="*/ 19278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520">
                      <a:moveTo>
                        <a:pt x="25547" y="19278"/>
                      </a:moveTo>
                      <a:cubicBezTo>
                        <a:pt x="22184" y="25755"/>
                        <a:pt x="14213" y="28371"/>
                        <a:pt x="7486" y="25133"/>
                      </a:cubicBezTo>
                      <a:cubicBezTo>
                        <a:pt x="760" y="21894"/>
                        <a:pt x="-1856" y="13798"/>
                        <a:pt x="1383" y="7321"/>
                      </a:cubicBezTo>
                      <a:cubicBezTo>
                        <a:pt x="4622" y="719"/>
                        <a:pt x="12718" y="-1897"/>
                        <a:pt x="19444" y="1467"/>
                      </a:cubicBezTo>
                      <a:cubicBezTo>
                        <a:pt x="26045" y="4830"/>
                        <a:pt x="28786" y="12801"/>
                        <a:pt x="25547" y="192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4" name="Freeform 5752">
                  <a:extLst>
                    <a:ext uri="{FF2B5EF4-FFF2-40B4-BE49-F238E27FC236}">
                      <a16:creationId xmlns:a16="http://schemas.microsoft.com/office/drawing/2014/main" id="{2F4750DA-BB9A-54B9-AB97-BC3C48BF3BD3}"/>
                    </a:ext>
                  </a:extLst>
                </p:cNvPr>
                <p:cNvSpPr/>
                <p:nvPr/>
              </p:nvSpPr>
              <p:spPr>
                <a:xfrm>
                  <a:off x="11296758" y="6175145"/>
                  <a:ext cx="23914" cy="46335"/>
                </a:xfrm>
                <a:custGeom>
                  <a:avLst/>
                  <a:gdLst>
                    <a:gd name="connsiteX0" fmla="*/ 0 w 23914"/>
                    <a:gd name="connsiteY0" fmla="*/ 46335 h 46335"/>
                    <a:gd name="connsiteX1" fmla="*/ 10089 w 23914"/>
                    <a:gd name="connsiteY1" fmla="*/ 30517 h 46335"/>
                    <a:gd name="connsiteX2" fmla="*/ 14698 w 23914"/>
                    <a:gd name="connsiteY2" fmla="*/ 13701 h 46335"/>
                    <a:gd name="connsiteX3" fmla="*/ 23915 w 23914"/>
                    <a:gd name="connsiteY3" fmla="*/ 0 h 46335"/>
                  </a:gdLst>
                  <a:ahLst/>
                  <a:cxnLst>
                    <a:cxn ang="0">
                      <a:pos x="connsiteX0" y="connsiteY0"/>
                    </a:cxn>
                    <a:cxn ang="0">
                      <a:pos x="connsiteX1" y="connsiteY1"/>
                    </a:cxn>
                    <a:cxn ang="0">
                      <a:pos x="connsiteX2" y="connsiteY2"/>
                    </a:cxn>
                    <a:cxn ang="0">
                      <a:pos x="connsiteX3" y="connsiteY3"/>
                    </a:cxn>
                  </a:cxnLst>
                  <a:rect l="l" t="t" r="r" b="b"/>
                  <a:pathLst>
                    <a:path w="23914" h="46335">
                      <a:moveTo>
                        <a:pt x="0" y="46335"/>
                      </a:moveTo>
                      <a:cubicBezTo>
                        <a:pt x="5729" y="40232"/>
                        <a:pt x="8595" y="34502"/>
                        <a:pt x="10089" y="30517"/>
                      </a:cubicBezTo>
                      <a:cubicBezTo>
                        <a:pt x="12580" y="23915"/>
                        <a:pt x="11957" y="20303"/>
                        <a:pt x="14698" y="13701"/>
                      </a:cubicBezTo>
                      <a:cubicBezTo>
                        <a:pt x="17314" y="7349"/>
                        <a:pt x="21175" y="2865"/>
                        <a:pt x="23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5" name="Freeform 5753">
                  <a:extLst>
                    <a:ext uri="{FF2B5EF4-FFF2-40B4-BE49-F238E27FC236}">
                      <a16:creationId xmlns:a16="http://schemas.microsoft.com/office/drawing/2014/main" id="{00B61B2A-CBB0-7CDD-0270-B21C1E98B284}"/>
                    </a:ext>
                  </a:extLst>
                </p:cNvPr>
                <p:cNvSpPr/>
                <p:nvPr/>
              </p:nvSpPr>
              <p:spPr>
                <a:xfrm>
                  <a:off x="11288413" y="6175893"/>
                  <a:ext cx="22544" cy="46958"/>
                </a:xfrm>
                <a:custGeom>
                  <a:avLst/>
                  <a:gdLst>
                    <a:gd name="connsiteX0" fmla="*/ 22545 w 22544"/>
                    <a:gd name="connsiteY0" fmla="*/ 0 h 46958"/>
                    <a:gd name="connsiteX1" fmla="*/ 15943 w 22544"/>
                    <a:gd name="connsiteY1" fmla="*/ 17563 h 46958"/>
                    <a:gd name="connsiteX2" fmla="*/ 5356 w 22544"/>
                    <a:gd name="connsiteY2" fmla="*/ 31389 h 46958"/>
                    <a:gd name="connsiteX3" fmla="*/ 0 w 2254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544" h="46958">
                      <a:moveTo>
                        <a:pt x="22545" y="0"/>
                      </a:moveTo>
                      <a:cubicBezTo>
                        <a:pt x="21174" y="8346"/>
                        <a:pt x="18310" y="13950"/>
                        <a:pt x="15943" y="17563"/>
                      </a:cubicBezTo>
                      <a:cubicBezTo>
                        <a:pt x="12082" y="23417"/>
                        <a:pt x="8843"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6" name="Freeform 5754">
                  <a:extLst>
                    <a:ext uri="{FF2B5EF4-FFF2-40B4-BE49-F238E27FC236}">
                      <a16:creationId xmlns:a16="http://schemas.microsoft.com/office/drawing/2014/main" id="{116D0885-2BDE-A94D-DCE2-FC2E6B54C16F}"/>
                    </a:ext>
                  </a:extLst>
                </p:cNvPr>
                <p:cNvSpPr/>
                <p:nvPr/>
              </p:nvSpPr>
              <p:spPr>
                <a:xfrm>
                  <a:off x="11277407" y="6213020"/>
                  <a:ext cx="26122" cy="26436"/>
                </a:xfrm>
                <a:custGeom>
                  <a:avLst/>
                  <a:gdLst>
                    <a:gd name="connsiteX0" fmla="*/ 1415 w 26122"/>
                    <a:gd name="connsiteY0" fmla="*/ 7464 h 26436"/>
                    <a:gd name="connsiteX1" fmla="*/ 18977 w 26122"/>
                    <a:gd name="connsiteY1" fmla="*/ 1361 h 26436"/>
                    <a:gd name="connsiteX2" fmla="*/ 24707 w 26122"/>
                    <a:gd name="connsiteY2" fmla="*/ 19048 h 26436"/>
                    <a:gd name="connsiteX3" fmla="*/ 7144 w 26122"/>
                    <a:gd name="connsiteY3" fmla="*/ 25151 h 26436"/>
                    <a:gd name="connsiteX4" fmla="*/ 1415 w 26122"/>
                    <a:gd name="connsiteY4" fmla="*/ 7464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2" h="26436">
                      <a:moveTo>
                        <a:pt x="1415" y="7464"/>
                      </a:moveTo>
                      <a:cubicBezTo>
                        <a:pt x="4654" y="863"/>
                        <a:pt x="12501" y="-1877"/>
                        <a:pt x="18977" y="1361"/>
                      </a:cubicBezTo>
                      <a:cubicBezTo>
                        <a:pt x="25455" y="4600"/>
                        <a:pt x="27946" y="12447"/>
                        <a:pt x="24707" y="19048"/>
                      </a:cubicBezTo>
                      <a:cubicBezTo>
                        <a:pt x="21344" y="25525"/>
                        <a:pt x="13497" y="28265"/>
                        <a:pt x="7144" y="25151"/>
                      </a:cubicBezTo>
                      <a:cubicBezTo>
                        <a:pt x="668" y="21913"/>
                        <a:pt x="-1824" y="13941"/>
                        <a:pt x="1415"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4" name="Graphic 2987">
                <a:extLst>
                  <a:ext uri="{FF2B5EF4-FFF2-40B4-BE49-F238E27FC236}">
                    <a16:creationId xmlns:a16="http://schemas.microsoft.com/office/drawing/2014/main" id="{74E0540D-2E4E-14CD-EEB2-181FBED9338A}"/>
                  </a:ext>
                </a:extLst>
              </p:cNvPr>
              <p:cNvGrpSpPr/>
              <p:nvPr/>
            </p:nvGrpSpPr>
            <p:grpSpPr>
              <a:xfrm>
                <a:off x="11303312" y="6116877"/>
                <a:ext cx="82447" cy="135363"/>
                <a:chOff x="11303312" y="6116877"/>
                <a:chExt cx="82447" cy="135363"/>
              </a:xfrm>
              <a:grpFill/>
            </p:grpSpPr>
            <p:sp>
              <p:nvSpPr>
                <p:cNvPr id="3875" name="Freeform 5756">
                  <a:extLst>
                    <a:ext uri="{FF2B5EF4-FFF2-40B4-BE49-F238E27FC236}">
                      <a16:creationId xmlns:a16="http://schemas.microsoft.com/office/drawing/2014/main" id="{D706E980-7A98-FCE0-C7EA-73A93B832D5D}"/>
                    </a:ext>
                  </a:extLst>
                </p:cNvPr>
                <p:cNvSpPr/>
                <p:nvPr/>
              </p:nvSpPr>
              <p:spPr>
                <a:xfrm>
                  <a:off x="11341225" y="6134789"/>
                  <a:ext cx="24412" cy="46086"/>
                </a:xfrm>
                <a:custGeom>
                  <a:avLst/>
                  <a:gdLst>
                    <a:gd name="connsiteX0" fmla="*/ 24413 w 24412"/>
                    <a:gd name="connsiteY0" fmla="*/ 0 h 46086"/>
                    <a:gd name="connsiteX1" fmla="*/ 14075 w 24412"/>
                    <a:gd name="connsiteY1" fmla="*/ 15819 h 46086"/>
                    <a:gd name="connsiteX2" fmla="*/ 9342 w 24412"/>
                    <a:gd name="connsiteY2" fmla="*/ 32509 h 46086"/>
                    <a:gd name="connsiteX3" fmla="*/ 0 w 24412"/>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412" h="46086">
                      <a:moveTo>
                        <a:pt x="24413" y="0"/>
                      </a:moveTo>
                      <a:cubicBezTo>
                        <a:pt x="18559" y="5979"/>
                        <a:pt x="15694" y="11708"/>
                        <a:pt x="14075" y="15819"/>
                      </a:cubicBezTo>
                      <a:cubicBezTo>
                        <a:pt x="11584" y="22420"/>
                        <a:pt x="12206" y="26033"/>
                        <a:pt x="9342" y="32509"/>
                      </a:cubicBezTo>
                      <a:cubicBezTo>
                        <a:pt x="6601" y="38862"/>
                        <a:pt x="2740" y="43346"/>
                        <a:pt x="0"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6" name="Freeform 5757">
                  <a:extLst>
                    <a:ext uri="{FF2B5EF4-FFF2-40B4-BE49-F238E27FC236}">
                      <a16:creationId xmlns:a16="http://schemas.microsoft.com/office/drawing/2014/main" id="{60284FBA-F2D5-44DB-E084-CCD7516D7CD7}"/>
                    </a:ext>
                  </a:extLst>
                </p:cNvPr>
                <p:cNvSpPr/>
                <p:nvPr/>
              </p:nvSpPr>
              <p:spPr>
                <a:xfrm>
                  <a:off x="11351190" y="6133418"/>
                  <a:ext cx="23042" cy="46833"/>
                </a:xfrm>
                <a:custGeom>
                  <a:avLst/>
                  <a:gdLst>
                    <a:gd name="connsiteX0" fmla="*/ 0 w 23042"/>
                    <a:gd name="connsiteY0" fmla="*/ 46834 h 46833"/>
                    <a:gd name="connsiteX1" fmla="*/ 6726 w 23042"/>
                    <a:gd name="connsiteY1" fmla="*/ 29271 h 46833"/>
                    <a:gd name="connsiteX2" fmla="*/ 17562 w 23042"/>
                    <a:gd name="connsiteY2" fmla="*/ 15570 h 46833"/>
                    <a:gd name="connsiteX3" fmla="*/ 23043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0" y="46834"/>
                      </a:moveTo>
                      <a:cubicBezTo>
                        <a:pt x="1495" y="38613"/>
                        <a:pt x="4359" y="32883"/>
                        <a:pt x="6726" y="29271"/>
                      </a:cubicBezTo>
                      <a:cubicBezTo>
                        <a:pt x="10587" y="23417"/>
                        <a:pt x="13950" y="21673"/>
                        <a:pt x="17562" y="15570"/>
                      </a:cubicBezTo>
                      <a:cubicBezTo>
                        <a:pt x="21175" y="9715"/>
                        <a:pt x="22545" y="3986"/>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7" name="Freeform 5758">
                  <a:extLst>
                    <a:ext uri="{FF2B5EF4-FFF2-40B4-BE49-F238E27FC236}">
                      <a16:creationId xmlns:a16="http://schemas.microsoft.com/office/drawing/2014/main" id="{A4FDB1A2-3AD8-A7E1-DED4-ADB69EF4BE59}"/>
                    </a:ext>
                  </a:extLst>
                </p:cNvPr>
                <p:cNvSpPr/>
                <p:nvPr/>
              </p:nvSpPr>
              <p:spPr>
                <a:xfrm>
                  <a:off x="11358672" y="6116877"/>
                  <a:ext cx="27087" cy="26481"/>
                </a:xfrm>
                <a:custGeom>
                  <a:avLst/>
                  <a:gdLst>
                    <a:gd name="connsiteX0" fmla="*/ 25649 w 27087"/>
                    <a:gd name="connsiteY0" fmla="*/ 19281 h 26481"/>
                    <a:gd name="connsiteX1" fmla="*/ 7464 w 27087"/>
                    <a:gd name="connsiteY1" fmla="*/ 25011 h 26481"/>
                    <a:gd name="connsiteX2" fmla="*/ 1361 w 27087"/>
                    <a:gd name="connsiteY2" fmla="*/ 7199 h 26481"/>
                    <a:gd name="connsiteX3" fmla="*/ 19546 w 27087"/>
                    <a:gd name="connsiteY3" fmla="*/ 1470 h 26481"/>
                    <a:gd name="connsiteX4" fmla="*/ 25649 w 27087"/>
                    <a:gd name="connsiteY4" fmla="*/ 192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87" h="26481">
                      <a:moveTo>
                        <a:pt x="25649" y="19281"/>
                      </a:moveTo>
                      <a:cubicBezTo>
                        <a:pt x="22287" y="25759"/>
                        <a:pt x="14190" y="28374"/>
                        <a:pt x="7464" y="25011"/>
                      </a:cubicBezTo>
                      <a:cubicBezTo>
                        <a:pt x="862" y="21648"/>
                        <a:pt x="-1877" y="13677"/>
                        <a:pt x="1361" y="7199"/>
                      </a:cubicBezTo>
                      <a:cubicBezTo>
                        <a:pt x="4599" y="722"/>
                        <a:pt x="12820" y="-1893"/>
                        <a:pt x="19546" y="1470"/>
                      </a:cubicBezTo>
                      <a:cubicBezTo>
                        <a:pt x="26273" y="4833"/>
                        <a:pt x="29013" y="12805"/>
                        <a:pt x="25649" y="19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8" name="Freeform 5759">
                  <a:extLst>
                    <a:ext uri="{FF2B5EF4-FFF2-40B4-BE49-F238E27FC236}">
                      <a16:creationId xmlns:a16="http://schemas.microsoft.com/office/drawing/2014/main" id="{90A0D62C-9458-A985-C861-A0B68E551467}"/>
                    </a:ext>
                  </a:extLst>
                </p:cNvPr>
                <p:cNvSpPr/>
                <p:nvPr/>
              </p:nvSpPr>
              <p:spPr>
                <a:xfrm>
                  <a:off x="11322790" y="6188348"/>
                  <a:ext cx="24413" cy="46086"/>
                </a:xfrm>
                <a:custGeom>
                  <a:avLst/>
                  <a:gdLst>
                    <a:gd name="connsiteX0" fmla="*/ 0 w 24413"/>
                    <a:gd name="connsiteY0" fmla="*/ 46086 h 46086"/>
                    <a:gd name="connsiteX1" fmla="*/ 10339 w 24413"/>
                    <a:gd name="connsiteY1" fmla="*/ 30267 h 46086"/>
                    <a:gd name="connsiteX2" fmla="*/ 15072 w 24413"/>
                    <a:gd name="connsiteY2" fmla="*/ 13577 h 46086"/>
                    <a:gd name="connsiteX3" fmla="*/ 24414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0" y="46086"/>
                      </a:moveTo>
                      <a:cubicBezTo>
                        <a:pt x="5855" y="39983"/>
                        <a:pt x="8719" y="34378"/>
                        <a:pt x="10339" y="30267"/>
                      </a:cubicBezTo>
                      <a:cubicBezTo>
                        <a:pt x="12830" y="23791"/>
                        <a:pt x="12332" y="20054"/>
                        <a:pt x="15072" y="13577"/>
                      </a:cubicBezTo>
                      <a:cubicBezTo>
                        <a:pt x="17812" y="7225"/>
                        <a:pt x="21674" y="2740"/>
                        <a:pt x="244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9" name="Freeform 5760">
                  <a:extLst>
                    <a:ext uri="{FF2B5EF4-FFF2-40B4-BE49-F238E27FC236}">
                      <a16:creationId xmlns:a16="http://schemas.microsoft.com/office/drawing/2014/main" id="{54005480-2974-F87E-C753-0B9CDE12FF87}"/>
                    </a:ext>
                  </a:extLst>
                </p:cNvPr>
                <p:cNvSpPr/>
                <p:nvPr/>
              </p:nvSpPr>
              <p:spPr>
                <a:xfrm>
                  <a:off x="11314320" y="6189096"/>
                  <a:ext cx="23043" cy="46833"/>
                </a:xfrm>
                <a:custGeom>
                  <a:avLst/>
                  <a:gdLst>
                    <a:gd name="connsiteX0" fmla="*/ 23044 w 23043"/>
                    <a:gd name="connsiteY0" fmla="*/ 0 h 46833"/>
                    <a:gd name="connsiteX1" fmla="*/ 16317 w 23043"/>
                    <a:gd name="connsiteY1" fmla="*/ 17563 h 46833"/>
                    <a:gd name="connsiteX2" fmla="*/ 5481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4" y="0"/>
                      </a:moveTo>
                      <a:cubicBezTo>
                        <a:pt x="21549" y="8221"/>
                        <a:pt x="18684" y="13950"/>
                        <a:pt x="16317" y="17563"/>
                      </a:cubicBezTo>
                      <a:cubicBezTo>
                        <a:pt x="12456" y="23417"/>
                        <a:pt x="9217" y="25161"/>
                        <a:pt x="5481" y="31264"/>
                      </a:cubicBezTo>
                      <a:cubicBezTo>
                        <a:pt x="1869" y="37243"/>
                        <a:pt x="499"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0" name="Freeform 5761">
                  <a:extLst>
                    <a:ext uri="{FF2B5EF4-FFF2-40B4-BE49-F238E27FC236}">
                      <a16:creationId xmlns:a16="http://schemas.microsoft.com/office/drawing/2014/main" id="{45B47BE3-0DF8-326B-1400-9DD25E333921}"/>
                    </a:ext>
                  </a:extLst>
                </p:cNvPr>
                <p:cNvSpPr/>
                <p:nvPr/>
              </p:nvSpPr>
              <p:spPr>
                <a:xfrm>
                  <a:off x="11303312" y="6225971"/>
                  <a:ext cx="26206" cy="26269"/>
                </a:xfrm>
                <a:custGeom>
                  <a:avLst/>
                  <a:gdLst>
                    <a:gd name="connsiteX0" fmla="*/ 1418 w 26206"/>
                    <a:gd name="connsiteY0" fmla="*/ 7343 h 26269"/>
                    <a:gd name="connsiteX1" fmla="*/ 19105 w 26206"/>
                    <a:gd name="connsiteY1" fmla="*/ 1364 h 26269"/>
                    <a:gd name="connsiteX2" fmla="*/ 24711 w 26206"/>
                    <a:gd name="connsiteY2" fmla="*/ 18927 h 26269"/>
                    <a:gd name="connsiteX3" fmla="*/ 7023 w 26206"/>
                    <a:gd name="connsiteY3" fmla="*/ 24906 h 26269"/>
                    <a:gd name="connsiteX4" fmla="*/ 1418 w 26206"/>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6" h="26269">
                      <a:moveTo>
                        <a:pt x="1418" y="7343"/>
                      </a:moveTo>
                      <a:cubicBezTo>
                        <a:pt x="4781" y="866"/>
                        <a:pt x="12628" y="-1875"/>
                        <a:pt x="19105" y="1364"/>
                      </a:cubicBezTo>
                      <a:cubicBezTo>
                        <a:pt x="25583" y="4603"/>
                        <a:pt x="28073" y="12450"/>
                        <a:pt x="24711" y="18927"/>
                      </a:cubicBezTo>
                      <a:cubicBezTo>
                        <a:pt x="21347" y="25404"/>
                        <a:pt x="13375" y="28144"/>
                        <a:pt x="7023" y="24906"/>
                      </a:cubicBezTo>
                      <a:cubicBezTo>
                        <a:pt x="671" y="21792"/>
                        <a:pt x="-1820" y="13944"/>
                        <a:pt x="141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39" name="TextBox 5596">
              <a:extLst>
                <a:ext uri="{FF2B5EF4-FFF2-40B4-BE49-F238E27FC236}">
                  <a16:creationId xmlns:a16="http://schemas.microsoft.com/office/drawing/2014/main" id="{9E0C03A4-D444-B8DD-09A2-EABDAC26CBCB}"/>
                </a:ext>
              </a:extLst>
            </p:cNvPr>
            <p:cNvSpPr txBox="1"/>
            <p:nvPr/>
          </p:nvSpPr>
          <p:spPr>
            <a:xfrm>
              <a:off x="6022703" y="4873117"/>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a:t>
              </a:r>
            </a:p>
          </p:txBody>
        </p:sp>
        <p:sp>
          <p:nvSpPr>
            <p:cNvPr id="7140" name="Freeform 8944">
              <a:extLst>
                <a:ext uri="{FF2B5EF4-FFF2-40B4-BE49-F238E27FC236}">
                  <a16:creationId xmlns:a16="http://schemas.microsoft.com/office/drawing/2014/main" id="{A04FC3E0-3F45-2221-7928-936B90ADDF8B}"/>
                </a:ext>
              </a:extLst>
            </p:cNvPr>
            <p:cNvSpPr/>
            <p:nvPr/>
          </p:nvSpPr>
          <p:spPr>
            <a:xfrm>
              <a:off x="7493290" y="4994214"/>
              <a:ext cx="428727" cy="291589"/>
            </a:xfrm>
            <a:custGeom>
              <a:avLst/>
              <a:gdLst>
                <a:gd name="connsiteX0" fmla="*/ 428727 w 428727"/>
                <a:gd name="connsiteY0" fmla="*/ 86443 h 291589"/>
                <a:gd name="connsiteX1" fmla="*/ 428727 w 428727"/>
                <a:gd name="connsiteY1" fmla="*/ 205147 h 291589"/>
                <a:gd name="connsiteX2" fmla="*/ 342284 w 428727"/>
                <a:gd name="connsiteY2" fmla="*/ 291590 h 291589"/>
                <a:gd name="connsiteX3" fmla="*/ 86443 w 428727"/>
                <a:gd name="connsiteY3" fmla="*/ 291590 h 291589"/>
                <a:gd name="connsiteX4" fmla="*/ 0 w 428727"/>
                <a:gd name="connsiteY4" fmla="*/ 205147 h 291589"/>
                <a:gd name="connsiteX5" fmla="*/ 0 w 428727"/>
                <a:gd name="connsiteY5" fmla="*/ 86443 h 291589"/>
                <a:gd name="connsiteX6" fmla="*/ 86443 w 428727"/>
                <a:gd name="connsiteY6" fmla="*/ 0 h 291589"/>
                <a:gd name="connsiteX7" fmla="*/ 342284 w 428727"/>
                <a:gd name="connsiteY7" fmla="*/ 0 h 291589"/>
                <a:gd name="connsiteX8" fmla="*/ 428727 w 428727"/>
                <a:gd name="connsiteY8" fmla="*/ 86443 h 29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27" h="291589">
                  <a:moveTo>
                    <a:pt x="428727" y="86443"/>
                  </a:moveTo>
                  <a:lnTo>
                    <a:pt x="428727" y="205147"/>
                  </a:lnTo>
                  <a:cubicBezTo>
                    <a:pt x="428727" y="252852"/>
                    <a:pt x="389990" y="291590"/>
                    <a:pt x="342284" y="291590"/>
                  </a:cubicBezTo>
                  <a:lnTo>
                    <a:pt x="86443" y="291590"/>
                  </a:lnTo>
                  <a:cubicBezTo>
                    <a:pt x="38737" y="291590"/>
                    <a:pt x="0" y="252852"/>
                    <a:pt x="0" y="205147"/>
                  </a:cubicBezTo>
                  <a:lnTo>
                    <a:pt x="0" y="86443"/>
                  </a:lnTo>
                  <a:cubicBezTo>
                    <a:pt x="0" y="38738"/>
                    <a:pt x="38737" y="0"/>
                    <a:pt x="86443" y="0"/>
                  </a:cubicBezTo>
                  <a:lnTo>
                    <a:pt x="342284" y="0"/>
                  </a:lnTo>
                  <a:cubicBezTo>
                    <a:pt x="390115" y="0"/>
                    <a:pt x="428727" y="38738"/>
                    <a:pt x="428727" y="86443"/>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41" name="TextBox 5598">
              <a:extLst>
                <a:ext uri="{FF2B5EF4-FFF2-40B4-BE49-F238E27FC236}">
                  <a16:creationId xmlns:a16="http://schemas.microsoft.com/office/drawing/2014/main" id="{BB74A297-512B-E703-1E9D-E0D542AC0DD1}"/>
                </a:ext>
              </a:extLst>
            </p:cNvPr>
            <p:cNvSpPr txBox="1"/>
            <p:nvPr/>
          </p:nvSpPr>
          <p:spPr>
            <a:xfrm>
              <a:off x="7498552" y="4999286"/>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6</a:t>
              </a:r>
            </a:p>
          </p:txBody>
        </p:sp>
        <p:sp>
          <p:nvSpPr>
            <p:cNvPr id="7142" name="TextBox 5599">
              <a:extLst>
                <a:ext uri="{FF2B5EF4-FFF2-40B4-BE49-F238E27FC236}">
                  <a16:creationId xmlns:a16="http://schemas.microsoft.com/office/drawing/2014/main" id="{94B03545-8957-E77F-890E-32FB95536011}"/>
                </a:ext>
              </a:extLst>
            </p:cNvPr>
            <p:cNvSpPr txBox="1"/>
            <p:nvPr/>
          </p:nvSpPr>
          <p:spPr>
            <a:xfrm>
              <a:off x="5160259" y="5067747"/>
              <a:ext cx="393056"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accent4"/>
                  </a:solidFill>
                  <a:ea typeface="ヒラギノ角ゴ Pro W3" panose="020B0300000000000000" pitchFamily="34" charset="-128"/>
                  <a:cs typeface="Arial"/>
                  <a:sym typeface="Arial"/>
                </a:rPr>
                <a:t>C5a</a:t>
              </a:r>
            </a:p>
          </p:txBody>
        </p:sp>
        <p:sp>
          <p:nvSpPr>
            <p:cNvPr id="7143" name="TextBox 5600">
              <a:extLst>
                <a:ext uri="{FF2B5EF4-FFF2-40B4-BE49-F238E27FC236}">
                  <a16:creationId xmlns:a16="http://schemas.microsoft.com/office/drawing/2014/main" id="{96088445-8A26-0007-CBEB-478259C3A5F5}"/>
                </a:ext>
              </a:extLst>
            </p:cNvPr>
            <p:cNvSpPr txBox="1"/>
            <p:nvPr/>
          </p:nvSpPr>
          <p:spPr>
            <a:xfrm>
              <a:off x="6606216" y="4985935"/>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bg1"/>
                  </a:solidFill>
                  <a:ea typeface="ヒラギノ角ゴ Pro W3" panose="020B0300000000000000" pitchFamily="34" charset="-128"/>
                  <a:cs typeface="Arial"/>
                  <a:sym typeface="Arial"/>
                </a:rPr>
                <a:t>C5b</a:t>
              </a:r>
            </a:p>
          </p:txBody>
        </p:sp>
        <p:sp>
          <p:nvSpPr>
            <p:cNvPr id="7145" name="TextBox 5603">
              <a:extLst>
                <a:ext uri="{FF2B5EF4-FFF2-40B4-BE49-F238E27FC236}">
                  <a16:creationId xmlns:a16="http://schemas.microsoft.com/office/drawing/2014/main" id="{8AEEF56B-9EED-5083-12E5-4A0F89C08DE4}"/>
                </a:ext>
              </a:extLst>
            </p:cNvPr>
            <p:cNvSpPr txBox="1"/>
            <p:nvPr/>
          </p:nvSpPr>
          <p:spPr>
            <a:xfrm>
              <a:off x="7903527" y="5043601"/>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b</a:t>
              </a:r>
            </a:p>
          </p:txBody>
        </p:sp>
        <p:sp>
          <p:nvSpPr>
            <p:cNvPr id="7146" name="TextBox 5604">
              <a:extLst>
                <a:ext uri="{FF2B5EF4-FFF2-40B4-BE49-F238E27FC236}">
                  <a16:creationId xmlns:a16="http://schemas.microsoft.com/office/drawing/2014/main" id="{23BA8C48-6F93-46F9-E257-3BC45FD4DDF6}"/>
                </a:ext>
              </a:extLst>
            </p:cNvPr>
            <p:cNvSpPr txBox="1"/>
            <p:nvPr/>
          </p:nvSpPr>
          <p:spPr>
            <a:xfrm>
              <a:off x="8371524" y="5157317"/>
              <a:ext cx="375424"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C9</a:t>
              </a:r>
              <a:r>
                <a:rPr lang="en-US" sz="1067" b="1" baseline="-25000" dirty="0">
                  <a:solidFill>
                    <a:srgbClr val="000000"/>
                  </a:solidFill>
                  <a:ea typeface="ヒラギノ角ゴ Pro W3" panose="020B0300000000000000" pitchFamily="34" charset="-128"/>
                  <a:cs typeface="Arial"/>
                  <a:sym typeface="Arial"/>
                </a:rPr>
                <a:t>n</a:t>
              </a:r>
            </a:p>
          </p:txBody>
        </p:sp>
        <p:sp>
          <p:nvSpPr>
            <p:cNvPr id="7149" name="TextBox 5607">
              <a:extLst>
                <a:ext uri="{FF2B5EF4-FFF2-40B4-BE49-F238E27FC236}">
                  <a16:creationId xmlns:a16="http://schemas.microsoft.com/office/drawing/2014/main" id="{7013A298-ED54-F010-AD7F-131BFAD53086}"/>
                </a:ext>
              </a:extLst>
            </p:cNvPr>
            <p:cNvSpPr txBox="1"/>
            <p:nvPr/>
          </p:nvSpPr>
          <p:spPr>
            <a:xfrm>
              <a:off x="4670523" y="4450867"/>
              <a:ext cx="1393587" cy="297454"/>
            </a:xfrm>
            <a:prstGeom prst="rect">
              <a:avLst/>
            </a:prstGeom>
            <a:noFill/>
          </p:spPr>
          <p:txBody>
            <a:bodyPr wrap="none" rtlCol="0">
              <a:spAutoFit/>
            </a:bodyPr>
            <a:lstStyle/>
            <a:p>
              <a:pPr defTabSz="914377" fontAlgn="base">
                <a:spcBef>
                  <a:spcPct val="0"/>
                </a:spcBef>
                <a:spcAft>
                  <a:spcPct val="0"/>
                </a:spcAft>
                <a:defRPr/>
              </a:pPr>
              <a:r>
                <a:rPr lang="en-US" sz="1333" b="1" dirty="0" err="1">
                  <a:solidFill>
                    <a:schemeClr val="tx2"/>
                  </a:solidFill>
                  <a:ea typeface="ヒラギノ角ゴ Pro W3" panose="020B0300000000000000" pitchFamily="34" charset="-128"/>
                  <a:cs typeface="Arial"/>
                  <a:sym typeface="Arial"/>
                </a:rPr>
                <a:t>Conversão</a:t>
              </a:r>
              <a:r>
                <a:rPr lang="en-US" sz="1333" b="1" dirty="0">
                  <a:solidFill>
                    <a:schemeClr val="tx2"/>
                  </a:solidFill>
                  <a:ea typeface="ヒラギノ角ゴ Pro W3" panose="020B0300000000000000" pitchFamily="34" charset="-128"/>
                  <a:cs typeface="Arial"/>
                  <a:sym typeface="Arial"/>
                </a:rPr>
                <a:t> de C5 </a:t>
              </a:r>
            </a:p>
          </p:txBody>
        </p:sp>
        <p:sp>
          <p:nvSpPr>
            <p:cNvPr id="7159" name="TextBox 5619">
              <a:extLst>
                <a:ext uri="{FF2B5EF4-FFF2-40B4-BE49-F238E27FC236}">
                  <a16:creationId xmlns:a16="http://schemas.microsoft.com/office/drawing/2014/main" id="{614ABBCC-5C29-FAD5-8D67-AC2BDEDD9FB5}"/>
                </a:ext>
              </a:extLst>
            </p:cNvPr>
            <p:cNvSpPr txBox="1"/>
            <p:nvPr/>
          </p:nvSpPr>
          <p:spPr>
            <a:xfrm>
              <a:off x="7414454" y="4483968"/>
              <a:ext cx="1648671"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chemeClr val="tx2"/>
                  </a:solidFill>
                  <a:ea typeface="ヒラギノ角ゴ Pro W3" panose="020B0300000000000000" pitchFamily="34" charset="-128"/>
                  <a:cs typeface="Arial"/>
                  <a:sym typeface="Arial"/>
                </a:rPr>
                <a:t>Complexo</a:t>
              </a:r>
              <a:r>
                <a:rPr lang="en-US" sz="1067" b="1" dirty="0">
                  <a:solidFill>
                    <a:schemeClr val="tx2"/>
                  </a:solidFill>
                  <a:ea typeface="ヒラギノ角ゴ Pro W3" panose="020B0300000000000000" pitchFamily="34" charset="-128"/>
                  <a:cs typeface="Arial"/>
                  <a:sym typeface="Arial"/>
                </a:rPr>
                <a:t> de </a:t>
              </a:r>
              <a:r>
                <a:rPr lang="en-US" sz="1067" b="1" dirty="0" err="1">
                  <a:solidFill>
                    <a:schemeClr val="tx2"/>
                  </a:solidFill>
                  <a:ea typeface="ヒラギノ角ゴ Pro W3" panose="020B0300000000000000" pitchFamily="34" charset="-128"/>
                  <a:cs typeface="Arial"/>
                  <a:sym typeface="Arial"/>
                </a:rPr>
                <a:t>ataque</a:t>
              </a:r>
              <a:r>
                <a:rPr lang="en-US" sz="1067" b="1" dirty="0">
                  <a:solidFill>
                    <a:schemeClr val="tx2"/>
                  </a:solidFill>
                  <a:ea typeface="ヒラギノ角ゴ Pro W3" panose="020B0300000000000000" pitchFamily="34" charset="-128"/>
                  <a:cs typeface="Arial"/>
                  <a:sym typeface="Arial"/>
                </a:rPr>
                <a:t> à membrana (MAC)</a:t>
              </a:r>
            </a:p>
          </p:txBody>
        </p:sp>
        <p:sp>
          <p:nvSpPr>
            <p:cNvPr id="7165" name="TextBox 5626">
              <a:extLst>
                <a:ext uri="{FF2B5EF4-FFF2-40B4-BE49-F238E27FC236}">
                  <a16:creationId xmlns:a16="http://schemas.microsoft.com/office/drawing/2014/main" id="{32083606-8616-9976-649B-E4E680567E39}"/>
                </a:ext>
              </a:extLst>
            </p:cNvPr>
            <p:cNvSpPr txBox="1"/>
            <p:nvPr/>
          </p:nvSpPr>
          <p:spPr>
            <a:xfrm>
              <a:off x="258143" y="4747145"/>
              <a:ext cx="2921427" cy="584775"/>
            </a:xfrm>
            <a:prstGeom prst="rect">
              <a:avLst/>
            </a:prstGeom>
            <a:noFill/>
          </p:spPr>
          <p:txBody>
            <a:bodyPr wrap="square" rtlCol="0">
              <a:spAutoFit/>
            </a:bodyPr>
            <a:lstStyle/>
            <a:p>
              <a:pPr defTabSz="914377" fontAlgn="base">
                <a:spcBef>
                  <a:spcPct val="0"/>
                </a:spcBef>
                <a:spcAft>
                  <a:spcPct val="0"/>
                </a:spcAft>
                <a:defRPr/>
              </a:pPr>
              <a:r>
                <a:rPr lang="en-US" sz="1600" b="1" dirty="0" err="1">
                  <a:solidFill>
                    <a:schemeClr val="tx2"/>
                  </a:solidFill>
                  <a:latin typeface="+mj-lt"/>
                  <a:ea typeface="ヒラギノ角ゴ Pro W3" panose="020B0300000000000000" pitchFamily="34" charset="-128"/>
                  <a:cs typeface="Arial"/>
                  <a:sym typeface="Arial"/>
                </a:rPr>
                <a:t>Complemento</a:t>
              </a:r>
              <a:r>
                <a:rPr lang="en-US" sz="1600" b="1" dirty="0">
                  <a:solidFill>
                    <a:schemeClr val="tx2"/>
                  </a:solidFill>
                  <a:latin typeface="+mj-lt"/>
                  <a:ea typeface="ヒラギノ角ゴ Pro W3" panose="020B0300000000000000" pitchFamily="34" charset="-128"/>
                  <a:cs typeface="Arial"/>
                  <a:sym typeface="Arial"/>
                </a:rPr>
                <a:t> </a:t>
              </a:r>
            </a:p>
            <a:p>
              <a:pPr defTabSz="914377" fontAlgn="base">
                <a:spcBef>
                  <a:spcPct val="0"/>
                </a:spcBef>
                <a:spcAft>
                  <a:spcPct val="0"/>
                </a:spcAft>
                <a:defRPr/>
              </a:pPr>
              <a:r>
                <a:rPr lang="en-US" sz="1600" b="1" dirty="0">
                  <a:solidFill>
                    <a:schemeClr val="tx2"/>
                  </a:solidFill>
                  <a:latin typeface="+mj-lt"/>
                  <a:ea typeface="ヒラギノ角ゴ Pro W3" panose="020B0300000000000000" pitchFamily="34" charset="-128"/>
                  <a:cs typeface="Arial"/>
                  <a:sym typeface="Arial"/>
                </a:rPr>
                <a:t>terminal</a:t>
              </a:r>
            </a:p>
          </p:txBody>
        </p:sp>
        <p:sp>
          <p:nvSpPr>
            <p:cNvPr id="7183" name="Freeform 2993">
              <a:extLst>
                <a:ext uri="{FF2B5EF4-FFF2-40B4-BE49-F238E27FC236}">
                  <a16:creationId xmlns:a16="http://schemas.microsoft.com/office/drawing/2014/main" id="{CD5C6D12-33DE-473E-430F-0B89D21E32A2}"/>
                </a:ext>
              </a:extLst>
            </p:cNvPr>
            <p:cNvSpPr/>
            <p:nvPr/>
          </p:nvSpPr>
          <p:spPr>
            <a:xfrm>
              <a:off x="4767819" y="5626301"/>
              <a:ext cx="6571413" cy="558867"/>
            </a:xfrm>
            <a:custGeom>
              <a:avLst/>
              <a:gdLst>
                <a:gd name="connsiteX0" fmla="*/ 6571414 w 6571413"/>
                <a:gd name="connsiteY0" fmla="*/ 558868 h 558867"/>
                <a:gd name="connsiteX1" fmla="*/ 2284513 w 6571413"/>
                <a:gd name="connsiteY1" fmla="*/ 72221 h 558867"/>
                <a:gd name="connsiteX2" fmla="*/ 0 w 6571413"/>
                <a:gd name="connsiteY2" fmla="*/ 558868 h 558867"/>
                <a:gd name="connsiteX3" fmla="*/ 6571414 w 6571413"/>
                <a:gd name="connsiteY3" fmla="*/ 558868 h 558867"/>
              </a:gdLst>
              <a:ahLst/>
              <a:cxnLst>
                <a:cxn ang="0">
                  <a:pos x="connsiteX0" y="connsiteY0"/>
                </a:cxn>
                <a:cxn ang="0">
                  <a:pos x="connsiteX1" y="connsiteY1"/>
                </a:cxn>
                <a:cxn ang="0">
                  <a:pos x="connsiteX2" y="connsiteY2"/>
                </a:cxn>
                <a:cxn ang="0">
                  <a:pos x="connsiteX3" y="connsiteY3"/>
                </a:cxn>
              </a:cxnLst>
              <a:rect l="l" t="t" r="r" b="b"/>
              <a:pathLst>
                <a:path w="6571413" h="558867">
                  <a:moveTo>
                    <a:pt x="6571414" y="558868"/>
                  </a:moveTo>
                  <a:cubicBezTo>
                    <a:pt x="5644456" y="86420"/>
                    <a:pt x="4052982" y="-121715"/>
                    <a:pt x="2284513" y="72221"/>
                  </a:cubicBezTo>
                  <a:cubicBezTo>
                    <a:pt x="1449353" y="163895"/>
                    <a:pt x="672238" y="334539"/>
                    <a:pt x="0" y="558868"/>
                  </a:cubicBezTo>
                  <a:lnTo>
                    <a:pt x="6571414" y="558868"/>
                  </a:lnTo>
                  <a:close/>
                </a:path>
              </a:pathLst>
            </a:custGeom>
            <a:gradFill>
              <a:gsLst>
                <a:gs pos="99000">
                  <a:srgbClr val="B52455">
                    <a:lumMod val="60000"/>
                    <a:lumOff val="40000"/>
                  </a:srgbClr>
                </a:gs>
                <a:gs pos="0">
                  <a:srgbClr val="FFFFFF"/>
                </a:gs>
              </a:gsLst>
              <a:lin ang="162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nvGrpSpPr>
            <p:cNvPr id="7184" name="Graphic 2987">
              <a:extLst>
                <a:ext uri="{FF2B5EF4-FFF2-40B4-BE49-F238E27FC236}">
                  <a16:creationId xmlns:a16="http://schemas.microsoft.com/office/drawing/2014/main" id="{DC307774-240D-8C87-2487-D5F163D5E73F}"/>
                </a:ext>
              </a:extLst>
            </p:cNvPr>
            <p:cNvGrpSpPr/>
            <p:nvPr/>
          </p:nvGrpSpPr>
          <p:grpSpPr>
            <a:xfrm>
              <a:off x="8216729" y="5428032"/>
              <a:ext cx="654659" cy="689069"/>
              <a:chOff x="7861128" y="5428032"/>
              <a:chExt cx="654659" cy="689069"/>
            </a:xfrm>
            <a:solidFill>
              <a:srgbClr val="FFF4B5"/>
            </a:solidFill>
          </p:grpSpPr>
          <p:sp>
            <p:nvSpPr>
              <p:cNvPr id="7185" name="Freeform 8866">
                <a:extLst>
                  <a:ext uri="{FF2B5EF4-FFF2-40B4-BE49-F238E27FC236}">
                    <a16:creationId xmlns:a16="http://schemas.microsoft.com/office/drawing/2014/main" id="{60FF6E94-A0C7-3BC2-834E-6705D3C29AEE}"/>
                  </a:ext>
                </a:extLst>
              </p:cNvPr>
              <p:cNvSpPr/>
              <p:nvPr/>
            </p:nvSpPr>
            <p:spPr>
              <a:xfrm>
                <a:off x="8046923" y="5428173"/>
                <a:ext cx="277888" cy="606222"/>
              </a:xfrm>
              <a:custGeom>
                <a:avLst/>
                <a:gdLst>
                  <a:gd name="connsiteX0" fmla="*/ 272782 w 277888"/>
                  <a:gd name="connsiteY0" fmla="*/ 606222 h 606222"/>
                  <a:gd name="connsiteX1" fmla="*/ 0 w 277888"/>
                  <a:gd name="connsiteY1" fmla="*/ 603980 h 606222"/>
                  <a:gd name="connsiteX2" fmla="*/ 5107 w 277888"/>
                  <a:gd name="connsiteY2" fmla="*/ 0 h 606222"/>
                  <a:gd name="connsiteX3" fmla="*/ 277888 w 277888"/>
                  <a:gd name="connsiteY3" fmla="*/ 2242 h 606222"/>
                </a:gdLst>
                <a:ahLst/>
                <a:cxnLst>
                  <a:cxn ang="0">
                    <a:pos x="connsiteX0" y="connsiteY0"/>
                  </a:cxn>
                  <a:cxn ang="0">
                    <a:pos x="connsiteX1" y="connsiteY1"/>
                  </a:cxn>
                  <a:cxn ang="0">
                    <a:pos x="connsiteX2" y="connsiteY2"/>
                  </a:cxn>
                  <a:cxn ang="0">
                    <a:pos x="connsiteX3" y="connsiteY3"/>
                  </a:cxn>
                </a:cxnLst>
                <a:rect l="l" t="t" r="r" b="b"/>
                <a:pathLst>
                  <a:path w="277888" h="606222">
                    <a:moveTo>
                      <a:pt x="272782" y="606222"/>
                    </a:moveTo>
                    <a:lnTo>
                      <a:pt x="0" y="603980"/>
                    </a:lnTo>
                    <a:lnTo>
                      <a:pt x="5107" y="0"/>
                    </a:lnTo>
                    <a:lnTo>
                      <a:pt x="277888" y="2242"/>
                    </a:ln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nvGrpSpPr>
              <p:cNvPr id="7186" name="Graphic 2987">
                <a:extLst>
                  <a:ext uri="{FF2B5EF4-FFF2-40B4-BE49-F238E27FC236}">
                    <a16:creationId xmlns:a16="http://schemas.microsoft.com/office/drawing/2014/main" id="{3FAD056D-5F0E-D0F3-405A-FCC23E1521F2}"/>
                  </a:ext>
                </a:extLst>
              </p:cNvPr>
              <p:cNvGrpSpPr/>
              <p:nvPr/>
            </p:nvGrpSpPr>
            <p:grpSpPr>
              <a:xfrm>
                <a:off x="7861128" y="5428032"/>
                <a:ext cx="253183" cy="684711"/>
                <a:chOff x="7861128" y="5428032"/>
                <a:chExt cx="253183" cy="684711"/>
              </a:xfrm>
              <a:solidFill>
                <a:srgbClr val="FFF4B5"/>
              </a:solidFill>
            </p:grpSpPr>
            <p:sp>
              <p:nvSpPr>
                <p:cNvPr id="7191" name="Freeform 8868">
                  <a:extLst>
                    <a:ext uri="{FF2B5EF4-FFF2-40B4-BE49-F238E27FC236}">
                      <a16:creationId xmlns:a16="http://schemas.microsoft.com/office/drawing/2014/main" id="{CB769C21-0274-094C-A464-503D5EAEB735}"/>
                    </a:ext>
                  </a:extLst>
                </p:cNvPr>
                <p:cNvSpPr/>
                <p:nvPr/>
              </p:nvSpPr>
              <p:spPr>
                <a:xfrm>
                  <a:off x="7948772" y="5428032"/>
                  <a:ext cx="165539" cy="618321"/>
                </a:xfrm>
                <a:custGeom>
                  <a:avLst/>
                  <a:gdLst>
                    <a:gd name="connsiteX0" fmla="*/ 102387 w 165539"/>
                    <a:gd name="connsiteY0" fmla="*/ 17 h 618321"/>
                    <a:gd name="connsiteX1" fmla="*/ 165538 w 165539"/>
                    <a:gd name="connsiteY1" fmla="*/ 56441 h 618321"/>
                    <a:gd name="connsiteX2" fmla="*/ 160804 w 165539"/>
                    <a:gd name="connsiteY2" fmla="*/ 606613 h 618321"/>
                    <a:gd name="connsiteX3" fmla="*/ 115465 w 165539"/>
                    <a:gd name="connsiteY3" fmla="*/ 608107 h 618321"/>
                    <a:gd name="connsiteX4" fmla="*/ 74859 w 165539"/>
                    <a:gd name="connsiteY4" fmla="*/ 618321 h 618321"/>
                    <a:gd name="connsiteX5" fmla="*/ 79468 w 165539"/>
                    <a:gd name="connsiteY5" fmla="*/ 79734 h 618321"/>
                    <a:gd name="connsiteX6" fmla="*/ 0 w 165539"/>
                    <a:gd name="connsiteY6" fmla="*/ 16458 h 618321"/>
                    <a:gd name="connsiteX7" fmla="*/ 102387 w 165539"/>
                    <a:gd name="connsiteY7" fmla="*/ 17 h 6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39" h="618321">
                      <a:moveTo>
                        <a:pt x="102387" y="17"/>
                      </a:moveTo>
                      <a:cubicBezTo>
                        <a:pt x="144737" y="390"/>
                        <a:pt x="165786" y="24679"/>
                        <a:pt x="165538" y="56441"/>
                      </a:cubicBezTo>
                      <a:cubicBezTo>
                        <a:pt x="165288" y="88204"/>
                        <a:pt x="160804" y="606613"/>
                        <a:pt x="160804" y="606613"/>
                      </a:cubicBezTo>
                      <a:cubicBezTo>
                        <a:pt x="160804" y="606613"/>
                        <a:pt x="142494" y="604495"/>
                        <a:pt x="115465" y="608107"/>
                      </a:cubicBezTo>
                      <a:cubicBezTo>
                        <a:pt x="88436" y="611720"/>
                        <a:pt x="74859" y="618321"/>
                        <a:pt x="74859" y="618321"/>
                      </a:cubicBezTo>
                      <a:lnTo>
                        <a:pt x="79468" y="79734"/>
                      </a:lnTo>
                      <a:lnTo>
                        <a:pt x="0" y="16458"/>
                      </a:lnTo>
                      <a:cubicBezTo>
                        <a:pt x="0" y="16458"/>
                        <a:pt x="35873" y="-606"/>
                        <a:pt x="102387" y="17"/>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2" name="Freeform 8869">
                  <a:extLst>
                    <a:ext uri="{FF2B5EF4-FFF2-40B4-BE49-F238E27FC236}">
                      <a16:creationId xmlns:a16="http://schemas.microsoft.com/office/drawing/2014/main" id="{05ED7E10-1870-B3BE-AC6E-1F3075D0D1E2}"/>
                    </a:ext>
                  </a:extLst>
                </p:cNvPr>
                <p:cNvSpPr/>
                <p:nvPr/>
              </p:nvSpPr>
              <p:spPr>
                <a:xfrm>
                  <a:off x="7884750" y="5441747"/>
                  <a:ext cx="144613" cy="658414"/>
                </a:xfrm>
                <a:custGeom>
                  <a:avLst/>
                  <a:gdLst>
                    <a:gd name="connsiteX0" fmla="*/ 138881 w 144613"/>
                    <a:gd name="connsiteY0" fmla="*/ 604606 h 658414"/>
                    <a:gd name="connsiteX1" fmla="*/ 102137 w 144613"/>
                    <a:gd name="connsiteY1" fmla="*/ 623538 h 658414"/>
                    <a:gd name="connsiteX2" fmla="*/ 74236 w 144613"/>
                    <a:gd name="connsiteY2" fmla="*/ 658415 h 658414"/>
                    <a:gd name="connsiteX3" fmla="*/ 79592 w 144613"/>
                    <a:gd name="connsiteY3" fmla="*/ 91428 h 658414"/>
                    <a:gd name="connsiteX4" fmla="*/ 0 w 144613"/>
                    <a:gd name="connsiteY4" fmla="*/ 38367 h 658414"/>
                    <a:gd name="connsiteX5" fmla="*/ 92920 w 144613"/>
                    <a:gd name="connsiteY5" fmla="*/ 3 h 658414"/>
                    <a:gd name="connsiteX6" fmla="*/ 144611 w 144613"/>
                    <a:gd name="connsiteY6" fmla="*/ 44844 h 658414"/>
                    <a:gd name="connsiteX7" fmla="*/ 138881 w 144613"/>
                    <a:gd name="connsiteY7" fmla="*/ 604606 h 65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13" h="658414">
                      <a:moveTo>
                        <a:pt x="138881" y="604606"/>
                      </a:moveTo>
                      <a:cubicBezTo>
                        <a:pt x="138881" y="604606"/>
                        <a:pt x="123436" y="608342"/>
                        <a:pt x="102137" y="623538"/>
                      </a:cubicBezTo>
                      <a:cubicBezTo>
                        <a:pt x="80838" y="638734"/>
                        <a:pt x="74236" y="658415"/>
                        <a:pt x="74236" y="658415"/>
                      </a:cubicBezTo>
                      <a:lnTo>
                        <a:pt x="79592" y="91428"/>
                      </a:lnTo>
                      <a:lnTo>
                        <a:pt x="0" y="38367"/>
                      </a:lnTo>
                      <a:cubicBezTo>
                        <a:pt x="0" y="38367"/>
                        <a:pt x="42848" y="-371"/>
                        <a:pt x="92920" y="3"/>
                      </a:cubicBezTo>
                      <a:cubicBezTo>
                        <a:pt x="125678" y="252"/>
                        <a:pt x="144861" y="16818"/>
                        <a:pt x="144611" y="44844"/>
                      </a:cubicBezTo>
                      <a:cubicBezTo>
                        <a:pt x="144611" y="44844"/>
                        <a:pt x="138881" y="604606"/>
                        <a:pt x="138881" y="604606"/>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3" name="Freeform 8870">
                  <a:extLst>
                    <a:ext uri="{FF2B5EF4-FFF2-40B4-BE49-F238E27FC236}">
                      <a16:creationId xmlns:a16="http://schemas.microsoft.com/office/drawing/2014/main" id="{5C6B07F2-FA29-C67F-F3C6-B748465A32A4}"/>
                    </a:ext>
                  </a:extLst>
                </p:cNvPr>
                <p:cNvSpPr/>
                <p:nvPr/>
              </p:nvSpPr>
              <p:spPr>
                <a:xfrm>
                  <a:off x="7861128" y="5465538"/>
                  <a:ext cx="104003" cy="647204"/>
                </a:xfrm>
                <a:custGeom>
                  <a:avLst/>
                  <a:gdLst>
                    <a:gd name="connsiteX0" fmla="*/ 103961 w 104003"/>
                    <a:gd name="connsiteY0" fmla="*/ 49700 h 647204"/>
                    <a:gd name="connsiteX1" fmla="*/ 89140 w 104003"/>
                    <a:gd name="connsiteY1" fmla="*/ 16817 h 647204"/>
                    <a:gd name="connsiteX2" fmla="*/ 53391 w 104003"/>
                    <a:gd name="connsiteY2" fmla="*/ 2 h 647204"/>
                    <a:gd name="connsiteX3" fmla="*/ 23622 w 104003"/>
                    <a:gd name="connsiteY3" fmla="*/ 14575 h 647204"/>
                    <a:gd name="connsiteX4" fmla="*/ 5312 w 104003"/>
                    <a:gd name="connsiteY4" fmla="*/ 47334 h 647204"/>
                    <a:gd name="connsiteX5" fmla="*/ 3568 w 104003"/>
                    <a:gd name="connsiteY5" fmla="*/ 52316 h 647204"/>
                    <a:gd name="connsiteX6" fmla="*/ 6433 w 104003"/>
                    <a:gd name="connsiteY6" fmla="*/ 91676 h 647204"/>
                    <a:gd name="connsiteX7" fmla="*/ 49904 w 104003"/>
                    <a:gd name="connsiteY7" fmla="*/ 93295 h 647204"/>
                    <a:gd name="connsiteX8" fmla="*/ 84032 w 104003"/>
                    <a:gd name="connsiteY8" fmla="*/ 113972 h 647204"/>
                    <a:gd name="connsiteX9" fmla="*/ 78302 w 104003"/>
                    <a:gd name="connsiteY9" fmla="*/ 635869 h 647204"/>
                    <a:gd name="connsiteX10" fmla="*/ 88143 w 104003"/>
                    <a:gd name="connsiteY10" fmla="*/ 647203 h 647204"/>
                    <a:gd name="connsiteX11" fmla="*/ 97983 w 104003"/>
                    <a:gd name="connsiteY11" fmla="*/ 634499 h 647204"/>
                    <a:gd name="connsiteX12" fmla="*/ 103961 w 104003"/>
                    <a:gd name="connsiteY12" fmla="*/ 49700 h 64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003" h="647204">
                      <a:moveTo>
                        <a:pt x="103961" y="49700"/>
                      </a:moveTo>
                      <a:cubicBezTo>
                        <a:pt x="102716" y="37494"/>
                        <a:pt x="97983" y="25661"/>
                        <a:pt x="89140" y="16817"/>
                      </a:cubicBezTo>
                      <a:cubicBezTo>
                        <a:pt x="84406" y="12084"/>
                        <a:pt x="68463" y="126"/>
                        <a:pt x="53391" y="2"/>
                      </a:cubicBezTo>
                      <a:cubicBezTo>
                        <a:pt x="38320" y="-123"/>
                        <a:pt x="31469" y="6354"/>
                        <a:pt x="23622" y="14575"/>
                      </a:cubicBezTo>
                      <a:cubicBezTo>
                        <a:pt x="14903" y="23792"/>
                        <a:pt x="8550" y="35127"/>
                        <a:pt x="5312" y="47334"/>
                      </a:cubicBezTo>
                      <a:cubicBezTo>
                        <a:pt x="4689" y="48953"/>
                        <a:pt x="4066" y="50697"/>
                        <a:pt x="3568" y="52316"/>
                      </a:cubicBezTo>
                      <a:cubicBezTo>
                        <a:pt x="-542" y="65270"/>
                        <a:pt x="-2784" y="80217"/>
                        <a:pt x="6433" y="91676"/>
                      </a:cubicBezTo>
                      <a:cubicBezTo>
                        <a:pt x="18017" y="105876"/>
                        <a:pt x="35579" y="95039"/>
                        <a:pt x="49904" y="93295"/>
                      </a:cubicBezTo>
                      <a:cubicBezTo>
                        <a:pt x="57501" y="92424"/>
                        <a:pt x="84157" y="90181"/>
                        <a:pt x="84032" y="113972"/>
                      </a:cubicBezTo>
                      <a:cubicBezTo>
                        <a:pt x="83908" y="122816"/>
                        <a:pt x="77804" y="634748"/>
                        <a:pt x="78302" y="635869"/>
                      </a:cubicBezTo>
                      <a:cubicBezTo>
                        <a:pt x="77804" y="641349"/>
                        <a:pt x="81043" y="647203"/>
                        <a:pt x="88143" y="647203"/>
                      </a:cubicBezTo>
                      <a:cubicBezTo>
                        <a:pt x="95865" y="647328"/>
                        <a:pt x="99104" y="640353"/>
                        <a:pt x="97983" y="634499"/>
                      </a:cubicBezTo>
                      <a:cubicBezTo>
                        <a:pt x="98107" y="634000"/>
                        <a:pt x="104585" y="55181"/>
                        <a:pt x="103961" y="49700"/>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nvGrpSpPr>
              <p:cNvPr id="7187" name="Graphic 2987">
                <a:extLst>
                  <a:ext uri="{FF2B5EF4-FFF2-40B4-BE49-F238E27FC236}">
                    <a16:creationId xmlns:a16="http://schemas.microsoft.com/office/drawing/2014/main" id="{28C88741-BC70-A67E-2E06-C202C8DFE115}"/>
                  </a:ext>
                </a:extLst>
              </p:cNvPr>
              <p:cNvGrpSpPr/>
              <p:nvPr/>
            </p:nvGrpSpPr>
            <p:grpSpPr>
              <a:xfrm>
                <a:off x="8258796" y="5430411"/>
                <a:ext cx="256991" cy="686690"/>
                <a:chOff x="8258796" y="5430411"/>
                <a:chExt cx="256991" cy="686690"/>
              </a:xfrm>
              <a:solidFill>
                <a:srgbClr val="FFF4B5"/>
              </a:solidFill>
            </p:grpSpPr>
            <p:sp>
              <p:nvSpPr>
                <p:cNvPr id="7188" name="Freeform 8872">
                  <a:extLst>
                    <a:ext uri="{FF2B5EF4-FFF2-40B4-BE49-F238E27FC236}">
                      <a16:creationId xmlns:a16="http://schemas.microsoft.com/office/drawing/2014/main" id="{CA6CDFA2-54A5-DF25-8E3F-3CCA12A1CBC5}"/>
                    </a:ext>
                  </a:extLst>
                </p:cNvPr>
                <p:cNvSpPr/>
                <p:nvPr/>
              </p:nvSpPr>
              <p:spPr>
                <a:xfrm>
                  <a:off x="8258796" y="5430411"/>
                  <a:ext cx="170893" cy="618807"/>
                </a:xfrm>
                <a:custGeom>
                  <a:avLst/>
                  <a:gdLst>
                    <a:gd name="connsiteX0" fmla="*/ 68881 w 170893"/>
                    <a:gd name="connsiteY0" fmla="*/ 4 h 618807"/>
                    <a:gd name="connsiteX1" fmla="*/ 4733 w 170893"/>
                    <a:gd name="connsiteY1" fmla="*/ 55308 h 618807"/>
                    <a:gd name="connsiteX2" fmla="*/ 0 w 170893"/>
                    <a:gd name="connsiteY2" fmla="*/ 605479 h 618807"/>
                    <a:gd name="connsiteX3" fmla="*/ 45339 w 170893"/>
                    <a:gd name="connsiteY3" fmla="*/ 607846 h 618807"/>
                    <a:gd name="connsiteX4" fmla="*/ 85696 w 170893"/>
                    <a:gd name="connsiteY4" fmla="*/ 618807 h 618807"/>
                    <a:gd name="connsiteX5" fmla="*/ 90304 w 170893"/>
                    <a:gd name="connsiteY5" fmla="*/ 80219 h 618807"/>
                    <a:gd name="connsiteX6" fmla="*/ 170894 w 170893"/>
                    <a:gd name="connsiteY6" fmla="*/ 18190 h 618807"/>
                    <a:gd name="connsiteX7" fmla="*/ 68881 w 170893"/>
                    <a:gd name="connsiteY7" fmla="*/ 4 h 6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93" h="618807">
                      <a:moveTo>
                        <a:pt x="68881" y="4"/>
                      </a:moveTo>
                      <a:cubicBezTo>
                        <a:pt x="26531" y="-369"/>
                        <a:pt x="5107" y="23546"/>
                        <a:pt x="4733" y="55308"/>
                      </a:cubicBezTo>
                      <a:cubicBezTo>
                        <a:pt x="4484" y="87070"/>
                        <a:pt x="0" y="605479"/>
                        <a:pt x="0" y="605479"/>
                      </a:cubicBezTo>
                      <a:cubicBezTo>
                        <a:pt x="0" y="605479"/>
                        <a:pt x="18310" y="603735"/>
                        <a:pt x="45339" y="607846"/>
                      </a:cubicBezTo>
                      <a:cubicBezTo>
                        <a:pt x="72243" y="611956"/>
                        <a:pt x="85696" y="618807"/>
                        <a:pt x="85696" y="618807"/>
                      </a:cubicBezTo>
                      <a:lnTo>
                        <a:pt x="90304" y="80219"/>
                      </a:lnTo>
                      <a:lnTo>
                        <a:pt x="170894" y="18190"/>
                      </a:lnTo>
                      <a:cubicBezTo>
                        <a:pt x="170894" y="18190"/>
                        <a:pt x="135394" y="503"/>
                        <a:pt x="68881" y="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89" name="Freeform 8873">
                  <a:extLst>
                    <a:ext uri="{FF2B5EF4-FFF2-40B4-BE49-F238E27FC236}">
                      <a16:creationId xmlns:a16="http://schemas.microsoft.com/office/drawing/2014/main" id="{E9FC8CB3-A68C-5D87-5775-A00B3FDC2D0F}"/>
                    </a:ext>
                  </a:extLst>
                </p:cNvPr>
                <p:cNvSpPr/>
                <p:nvPr/>
              </p:nvSpPr>
              <p:spPr>
                <a:xfrm>
                  <a:off x="8344617" y="5445359"/>
                  <a:ext cx="148472" cy="658663"/>
                </a:xfrm>
                <a:custGeom>
                  <a:avLst/>
                  <a:gdLst>
                    <a:gd name="connsiteX0" fmla="*/ 0 w 148472"/>
                    <a:gd name="connsiteY0" fmla="*/ 603734 h 658663"/>
                    <a:gd name="connsiteX1" fmla="*/ 36495 w 148472"/>
                    <a:gd name="connsiteY1" fmla="*/ 623290 h 658663"/>
                    <a:gd name="connsiteX2" fmla="*/ 63773 w 148472"/>
                    <a:gd name="connsiteY2" fmla="*/ 658664 h 658663"/>
                    <a:gd name="connsiteX3" fmla="*/ 68009 w 148472"/>
                    <a:gd name="connsiteY3" fmla="*/ 91677 h 658663"/>
                    <a:gd name="connsiteX4" fmla="*/ 148473 w 148472"/>
                    <a:gd name="connsiteY4" fmla="*/ 39986 h 658663"/>
                    <a:gd name="connsiteX5" fmla="*/ 56176 w 148472"/>
                    <a:gd name="connsiteY5" fmla="*/ 3 h 658663"/>
                    <a:gd name="connsiteX6" fmla="*/ 3737 w 148472"/>
                    <a:gd name="connsiteY6" fmla="*/ 43847 h 658663"/>
                    <a:gd name="connsiteX7" fmla="*/ 0 w 148472"/>
                    <a:gd name="connsiteY7" fmla="*/ 603734 h 6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72" h="658663">
                      <a:moveTo>
                        <a:pt x="0" y="603734"/>
                      </a:moveTo>
                      <a:cubicBezTo>
                        <a:pt x="0" y="603734"/>
                        <a:pt x="15445" y="607720"/>
                        <a:pt x="36495" y="623290"/>
                      </a:cubicBezTo>
                      <a:cubicBezTo>
                        <a:pt x="57546" y="638859"/>
                        <a:pt x="63773" y="658664"/>
                        <a:pt x="63773" y="658664"/>
                      </a:cubicBezTo>
                      <a:lnTo>
                        <a:pt x="68009" y="91677"/>
                      </a:lnTo>
                      <a:lnTo>
                        <a:pt x="148473" y="39986"/>
                      </a:lnTo>
                      <a:cubicBezTo>
                        <a:pt x="148473" y="39986"/>
                        <a:pt x="106372" y="501"/>
                        <a:pt x="56176" y="3"/>
                      </a:cubicBezTo>
                      <a:cubicBezTo>
                        <a:pt x="23417" y="-246"/>
                        <a:pt x="3986" y="15946"/>
                        <a:pt x="3737" y="43847"/>
                      </a:cubicBezTo>
                      <a:cubicBezTo>
                        <a:pt x="3861" y="43972"/>
                        <a:pt x="0" y="603734"/>
                        <a:pt x="0" y="60373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0" name="Freeform 8874">
                  <a:extLst>
                    <a:ext uri="{FF2B5EF4-FFF2-40B4-BE49-F238E27FC236}">
                      <a16:creationId xmlns:a16="http://schemas.microsoft.com/office/drawing/2014/main" id="{8143E384-FC2D-0A90-60C9-6D90824E017F}"/>
                    </a:ext>
                  </a:extLst>
                </p:cNvPr>
                <p:cNvSpPr/>
                <p:nvPr/>
              </p:nvSpPr>
              <p:spPr>
                <a:xfrm>
                  <a:off x="8407999" y="5470148"/>
                  <a:ext cx="107788" cy="646953"/>
                </a:xfrm>
                <a:custGeom>
                  <a:avLst/>
                  <a:gdLst>
                    <a:gd name="connsiteX0" fmla="*/ 4252 w 107788"/>
                    <a:gd name="connsiteY0" fmla="*/ 48828 h 646953"/>
                    <a:gd name="connsiteX1" fmla="*/ 19572 w 107788"/>
                    <a:gd name="connsiteY1" fmla="*/ 16194 h 646953"/>
                    <a:gd name="connsiteX2" fmla="*/ 55570 w 107788"/>
                    <a:gd name="connsiteY2" fmla="*/ 1 h 646953"/>
                    <a:gd name="connsiteX3" fmla="*/ 85090 w 107788"/>
                    <a:gd name="connsiteY3" fmla="*/ 15197 h 646953"/>
                    <a:gd name="connsiteX4" fmla="*/ 102901 w 107788"/>
                    <a:gd name="connsiteY4" fmla="*/ 48329 h 646953"/>
                    <a:gd name="connsiteX5" fmla="*/ 104521 w 107788"/>
                    <a:gd name="connsiteY5" fmla="*/ 53436 h 646953"/>
                    <a:gd name="connsiteX6" fmla="*/ 101034 w 107788"/>
                    <a:gd name="connsiteY6" fmla="*/ 92672 h 646953"/>
                    <a:gd name="connsiteX7" fmla="*/ 57438 w 107788"/>
                    <a:gd name="connsiteY7" fmla="*/ 93669 h 646953"/>
                    <a:gd name="connsiteX8" fmla="*/ 23060 w 107788"/>
                    <a:gd name="connsiteY8" fmla="*/ 113847 h 646953"/>
                    <a:gd name="connsiteX9" fmla="*/ 19946 w 107788"/>
                    <a:gd name="connsiteY9" fmla="*/ 635744 h 646953"/>
                    <a:gd name="connsiteX10" fmla="*/ 9857 w 107788"/>
                    <a:gd name="connsiteY10" fmla="*/ 646954 h 646953"/>
                    <a:gd name="connsiteX11" fmla="*/ 266 w 107788"/>
                    <a:gd name="connsiteY11" fmla="*/ 634124 h 646953"/>
                    <a:gd name="connsiteX12" fmla="*/ 4252 w 107788"/>
                    <a:gd name="connsiteY12" fmla="*/ 48828 h 64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787" h="646953">
                      <a:moveTo>
                        <a:pt x="4252" y="48828"/>
                      </a:moveTo>
                      <a:cubicBezTo>
                        <a:pt x="5747" y="36621"/>
                        <a:pt x="10729" y="24913"/>
                        <a:pt x="19572" y="16194"/>
                      </a:cubicBezTo>
                      <a:cubicBezTo>
                        <a:pt x="24430" y="11460"/>
                        <a:pt x="40499" y="-123"/>
                        <a:pt x="55570" y="1"/>
                      </a:cubicBezTo>
                      <a:cubicBezTo>
                        <a:pt x="70641" y="126"/>
                        <a:pt x="77367" y="6727"/>
                        <a:pt x="85090" y="15197"/>
                      </a:cubicBezTo>
                      <a:cubicBezTo>
                        <a:pt x="93684" y="24539"/>
                        <a:pt x="99788" y="35998"/>
                        <a:pt x="102901" y="48329"/>
                      </a:cubicBezTo>
                      <a:cubicBezTo>
                        <a:pt x="103400" y="50073"/>
                        <a:pt x="104023" y="51692"/>
                        <a:pt x="104521" y="53436"/>
                      </a:cubicBezTo>
                      <a:cubicBezTo>
                        <a:pt x="108382" y="66515"/>
                        <a:pt x="110500" y="81462"/>
                        <a:pt x="101034" y="92672"/>
                      </a:cubicBezTo>
                      <a:cubicBezTo>
                        <a:pt x="89325" y="106747"/>
                        <a:pt x="71887" y="95537"/>
                        <a:pt x="57438" y="93669"/>
                      </a:cubicBezTo>
                      <a:cubicBezTo>
                        <a:pt x="49964" y="92672"/>
                        <a:pt x="23185" y="90056"/>
                        <a:pt x="23060" y="113847"/>
                      </a:cubicBezTo>
                      <a:cubicBezTo>
                        <a:pt x="22936" y="122690"/>
                        <a:pt x="20444" y="634623"/>
                        <a:pt x="19946" y="635744"/>
                      </a:cubicBezTo>
                      <a:cubicBezTo>
                        <a:pt x="20320" y="641224"/>
                        <a:pt x="16957" y="646954"/>
                        <a:pt x="9857" y="646954"/>
                      </a:cubicBezTo>
                      <a:cubicBezTo>
                        <a:pt x="2135" y="646829"/>
                        <a:pt x="-979" y="639854"/>
                        <a:pt x="266" y="634124"/>
                      </a:cubicBezTo>
                      <a:cubicBezTo>
                        <a:pt x="141" y="633128"/>
                        <a:pt x="3629" y="54433"/>
                        <a:pt x="4252" y="48828"/>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sp>
          <p:nvSpPr>
            <p:cNvPr id="7194" name="Freeform 8946">
              <a:extLst>
                <a:ext uri="{FF2B5EF4-FFF2-40B4-BE49-F238E27FC236}">
                  <a16:creationId xmlns:a16="http://schemas.microsoft.com/office/drawing/2014/main" id="{23087F76-3ADF-48FE-AFCB-2BE60E1E6D19}"/>
                </a:ext>
              </a:extLst>
            </p:cNvPr>
            <p:cNvSpPr/>
            <p:nvPr/>
          </p:nvSpPr>
          <p:spPr>
            <a:xfrm>
              <a:off x="7669698"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852" y="428727"/>
                    <a:pt x="205146" y="428727"/>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5" name="Freeform 8948">
              <a:extLst>
                <a:ext uri="{FF2B5EF4-FFF2-40B4-BE49-F238E27FC236}">
                  <a16:creationId xmlns:a16="http://schemas.microsoft.com/office/drawing/2014/main" id="{6B915EFC-77C0-1005-4664-14070FC86CD5}"/>
                </a:ext>
              </a:extLst>
            </p:cNvPr>
            <p:cNvSpPr/>
            <p:nvPr/>
          </p:nvSpPr>
          <p:spPr>
            <a:xfrm>
              <a:off x="7981856"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977" y="428727"/>
                    <a:pt x="205146" y="42872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2452" cap="flat">
              <a:solidFill>
                <a:schemeClr val="bg1">
                  <a:lumMod val="6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6" name="TextBox 5662">
              <a:extLst>
                <a:ext uri="{FF2B5EF4-FFF2-40B4-BE49-F238E27FC236}">
                  <a16:creationId xmlns:a16="http://schemas.microsoft.com/office/drawing/2014/main" id="{D6286727-AB20-88AD-8AFD-4A3D282EFFEC}"/>
                </a:ext>
              </a:extLst>
            </p:cNvPr>
            <p:cNvSpPr txBox="1"/>
            <p:nvPr/>
          </p:nvSpPr>
          <p:spPr>
            <a:xfrm>
              <a:off x="7966420"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8</a:t>
              </a:r>
            </a:p>
          </p:txBody>
        </p:sp>
        <p:sp>
          <p:nvSpPr>
            <p:cNvPr id="7197" name="TextBox 5663">
              <a:extLst>
                <a:ext uri="{FF2B5EF4-FFF2-40B4-BE49-F238E27FC236}">
                  <a16:creationId xmlns:a16="http://schemas.microsoft.com/office/drawing/2014/main" id="{4EA81FB5-47DE-6020-6850-44BE28A2F617}"/>
                </a:ext>
              </a:extLst>
            </p:cNvPr>
            <p:cNvSpPr txBox="1"/>
            <p:nvPr/>
          </p:nvSpPr>
          <p:spPr>
            <a:xfrm>
              <a:off x="7660393"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7</a:t>
              </a:r>
            </a:p>
          </p:txBody>
        </p:sp>
        <p:sp>
          <p:nvSpPr>
            <p:cNvPr id="7214" name="TextBox 5">
              <a:extLst>
                <a:ext uri="{FF2B5EF4-FFF2-40B4-BE49-F238E27FC236}">
                  <a16:creationId xmlns:a16="http://schemas.microsoft.com/office/drawing/2014/main" id="{1729DBE7-8C98-3150-A739-4780CD03272A}"/>
                </a:ext>
              </a:extLst>
            </p:cNvPr>
            <p:cNvSpPr txBox="1"/>
            <p:nvPr/>
          </p:nvSpPr>
          <p:spPr>
            <a:xfrm>
              <a:off x="292912" y="5954847"/>
              <a:ext cx="2972289" cy="215444"/>
            </a:xfrm>
            <a:prstGeom prst="rect">
              <a:avLst/>
            </a:prstGeom>
            <a:noFill/>
          </p:spPr>
          <p:txBody>
            <a:bodyPr wrap="none" rtlCol="0">
              <a:spAutoFit/>
            </a:bodyPr>
            <a:lstStyle/>
            <a:p>
              <a:pPr fontAlgn="base">
                <a:spcBef>
                  <a:spcPct val="0"/>
                </a:spcBef>
                <a:spcAft>
                  <a:spcPct val="0"/>
                </a:spcAft>
                <a:defRPr/>
              </a:pPr>
              <a:r>
                <a:rPr lang="en-US" sz="800" dirty="0" err="1">
                  <a:ea typeface="ヒラギノ角ゴ Pro W3" panose="020B0300000000000000" pitchFamily="34" charset="-128"/>
                  <a:cs typeface="Arial"/>
                </a:rPr>
                <a:t>Adaptado</a:t>
              </a:r>
              <a:r>
                <a:rPr lang="en-US" sz="800" dirty="0">
                  <a:ea typeface="ヒラギノ角ゴ Pro W3" panose="020B0300000000000000" pitchFamily="34" charset="-128"/>
                  <a:cs typeface="Arial"/>
                </a:rPr>
                <a:t> de </a:t>
              </a:r>
              <a:r>
                <a:rPr lang="en-US" sz="800" dirty="0" err="1">
                  <a:ea typeface="ヒラギノ角ゴ Pro W3" panose="020B0300000000000000" pitchFamily="34" charset="-128"/>
                  <a:cs typeface="Arial"/>
                </a:rPr>
                <a:t>Walport</a:t>
              </a:r>
              <a:r>
                <a:rPr lang="en-US" sz="800" dirty="0">
                  <a:ea typeface="ヒラギノ角ゴ Pro W3" panose="020B0300000000000000" pitchFamily="34" charset="-128"/>
                  <a:cs typeface="Arial"/>
                </a:rPr>
                <a:t> MJ. </a:t>
              </a:r>
              <a:r>
                <a:rPr lang="en-US" sz="800" i="1" dirty="0">
                  <a:ea typeface="ヒラギノ角ゴ Pro W3" panose="020B0300000000000000" pitchFamily="34" charset="-128"/>
                  <a:cs typeface="Arial"/>
                </a:rPr>
                <a:t>N Engl J Med. </a:t>
              </a:r>
              <a:r>
                <a:rPr lang="en-US" sz="800" dirty="0">
                  <a:ea typeface="ヒラギノ角ゴ Pro W3" panose="020B0300000000000000" pitchFamily="34" charset="-128"/>
                  <a:cs typeface="Arial"/>
                </a:rPr>
                <a:t>2001;344(14):1058-1066. </a:t>
              </a:r>
            </a:p>
          </p:txBody>
        </p:sp>
      </p:grpSp>
      <p:sp>
        <p:nvSpPr>
          <p:cNvPr id="7220" name="Rectangle 5670">
            <a:extLst>
              <a:ext uri="{FF2B5EF4-FFF2-40B4-BE49-F238E27FC236}">
                <a16:creationId xmlns:a16="http://schemas.microsoft.com/office/drawing/2014/main" id="{3137282D-823C-33DD-D8FE-02C4236F0AEE}"/>
              </a:ext>
            </a:extLst>
          </p:cNvPr>
          <p:cNvSpPr/>
          <p:nvPr/>
        </p:nvSpPr>
        <p:spPr>
          <a:xfrm>
            <a:off x="183638" y="4461422"/>
            <a:ext cx="11777197" cy="1753206"/>
          </a:xfrm>
          <a:prstGeom prst="rect">
            <a:avLst/>
          </a:prstGeom>
          <a:solidFill>
            <a:srgbClr val="FFFFFF">
              <a:alpha val="74902"/>
            </a:srgbClr>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cs typeface="Arial" panose="020B0604020202020204" pitchFamily="34" charset="0"/>
            </a:endParaRPr>
          </a:p>
        </p:txBody>
      </p:sp>
      <p:grpSp>
        <p:nvGrpSpPr>
          <p:cNvPr id="7218" name="Agrupar 7217">
            <a:extLst>
              <a:ext uri="{FF2B5EF4-FFF2-40B4-BE49-F238E27FC236}">
                <a16:creationId xmlns:a16="http://schemas.microsoft.com/office/drawing/2014/main" id="{98C4402F-DDBD-D8B4-B88C-564531E65350}"/>
              </a:ext>
            </a:extLst>
          </p:cNvPr>
          <p:cNvGrpSpPr/>
          <p:nvPr/>
        </p:nvGrpSpPr>
        <p:grpSpPr>
          <a:xfrm>
            <a:off x="166909" y="2510649"/>
            <a:ext cx="11914936" cy="1943252"/>
            <a:chOff x="166909" y="2510649"/>
            <a:chExt cx="11914936" cy="1943252"/>
          </a:xfrm>
        </p:grpSpPr>
        <p:sp>
          <p:nvSpPr>
            <p:cNvPr id="3637" name="TextBox 2">
              <a:extLst>
                <a:ext uri="{FF2B5EF4-FFF2-40B4-BE49-F238E27FC236}">
                  <a16:creationId xmlns:a16="http://schemas.microsoft.com/office/drawing/2014/main" id="{9875C0F8-9406-059C-59F7-6AF5BAA4342E}"/>
                </a:ext>
              </a:extLst>
            </p:cNvPr>
            <p:cNvSpPr txBox="1"/>
            <p:nvPr/>
          </p:nvSpPr>
          <p:spPr>
            <a:xfrm>
              <a:off x="292912" y="3551826"/>
              <a:ext cx="1825411" cy="640080"/>
            </a:xfrm>
            <a:prstGeom prst="rect">
              <a:avLst/>
            </a:prstGeom>
            <a:noFill/>
          </p:spPr>
          <p:txBody>
            <a:bodyPr wrap="square" rtlCol="0">
              <a:spAutoFit/>
            </a:bodyPr>
            <a:lstStyle/>
            <a:p>
              <a:pPr marL="148163" indent="-148163" fontAlgn="base">
                <a:spcBef>
                  <a:spcPct val="0"/>
                </a:spcBef>
                <a:spcAft>
                  <a:spcPct val="0"/>
                </a:spcAft>
                <a:defRPr/>
              </a:pPr>
              <a:r>
                <a:rPr lang="en-US" sz="1200" dirty="0" err="1">
                  <a:solidFill>
                    <a:schemeClr val="accent1"/>
                  </a:solidFill>
                  <a:ea typeface="ヒラギノ角ゴ Pro W3" panose="020B0300000000000000" pitchFamily="34" charset="-128"/>
                  <a:cs typeface="Arial"/>
                </a:rPr>
                <a:t>Anafilatoxinas</a:t>
              </a:r>
              <a:r>
                <a:rPr lang="en-US" sz="1200" dirty="0">
                  <a:solidFill>
                    <a:schemeClr val="accent1"/>
                  </a:solidFill>
                  <a:ea typeface="ヒラギノ角ゴ Pro W3" panose="020B0300000000000000" pitchFamily="34" charset="-128"/>
                  <a:cs typeface="Arial"/>
                </a:rPr>
                <a:t> fracas</a:t>
              </a:r>
            </a:p>
            <a:p>
              <a:pPr fontAlgn="base">
                <a:spcBef>
                  <a:spcPct val="0"/>
                </a:spcBef>
                <a:spcAft>
                  <a:spcPct val="0"/>
                </a:spcAft>
                <a:defRPr/>
              </a:pPr>
              <a:r>
                <a:rPr lang="en-US" sz="1200" dirty="0" err="1">
                  <a:solidFill>
                    <a:schemeClr val="accent1"/>
                  </a:solidFill>
                  <a:ea typeface="ヒラギノ角ゴ Pro W3" panose="020B0300000000000000" pitchFamily="34" charset="-128"/>
                  <a:cs typeface="Arial"/>
                </a:rPr>
                <a:t>Quimiotaxia</a:t>
              </a:r>
              <a:r>
                <a:rPr lang="en-US" sz="1200" dirty="0">
                  <a:solidFill>
                    <a:schemeClr val="accent1"/>
                  </a:solidFill>
                  <a:ea typeface="ヒラギノ角ゴ Pro W3" panose="020B0300000000000000" pitchFamily="34" charset="-128"/>
                  <a:cs typeface="Arial"/>
                </a:rPr>
                <a:t> das </a:t>
              </a:r>
              <a:r>
                <a:rPr lang="en-US" sz="1200" dirty="0" err="1">
                  <a:solidFill>
                    <a:schemeClr val="accent1"/>
                  </a:solidFill>
                  <a:ea typeface="ヒラギノ角ゴ Pro W3" panose="020B0300000000000000" pitchFamily="34" charset="-128"/>
                  <a:cs typeface="Arial"/>
                </a:rPr>
                <a:t>células</a:t>
              </a:r>
              <a:r>
                <a:rPr lang="en-US" sz="1200" dirty="0">
                  <a:solidFill>
                    <a:schemeClr val="accent1"/>
                  </a:solidFill>
                  <a:ea typeface="ヒラギノ角ゴ Pro W3" panose="020B0300000000000000" pitchFamily="34" charset="-128"/>
                  <a:cs typeface="Arial"/>
                </a:rPr>
                <a:t> do </a:t>
              </a:r>
              <a:r>
                <a:rPr lang="en-US" sz="1200" dirty="0" err="1">
                  <a:solidFill>
                    <a:schemeClr val="accent1"/>
                  </a:solidFill>
                  <a:ea typeface="ヒラギノ角ゴ Pro W3" panose="020B0300000000000000" pitchFamily="34" charset="-128"/>
                  <a:cs typeface="Arial"/>
                </a:rPr>
                <a:t>sistema</a:t>
              </a:r>
              <a:r>
                <a:rPr lang="en-US" sz="1200" dirty="0">
                  <a:solidFill>
                    <a:schemeClr val="accent1"/>
                  </a:solidFill>
                  <a:ea typeface="ヒラギノ角ゴ Pro W3" panose="020B0300000000000000" pitchFamily="34" charset="-128"/>
                  <a:cs typeface="Arial"/>
                </a:rPr>
                <a:t> </a:t>
              </a:r>
              <a:r>
                <a:rPr lang="en-US" sz="1200" dirty="0" err="1">
                  <a:solidFill>
                    <a:schemeClr val="accent1"/>
                  </a:solidFill>
                  <a:ea typeface="ヒラギノ角ゴ Pro W3" panose="020B0300000000000000" pitchFamily="34" charset="-128"/>
                  <a:cs typeface="Arial"/>
                </a:rPr>
                <a:t>imune</a:t>
              </a:r>
              <a:endParaRPr lang="en-US" sz="1200" dirty="0">
                <a:solidFill>
                  <a:schemeClr val="accent1"/>
                </a:solidFill>
                <a:ea typeface="ヒラギノ角ゴ Pro W3" panose="020B0300000000000000" pitchFamily="34" charset="-128"/>
                <a:cs typeface="Arial"/>
              </a:endParaRPr>
            </a:p>
          </p:txBody>
        </p:sp>
        <p:sp>
          <p:nvSpPr>
            <p:cNvPr id="3638" name="TextBox 4">
              <a:extLst>
                <a:ext uri="{FF2B5EF4-FFF2-40B4-BE49-F238E27FC236}">
                  <a16:creationId xmlns:a16="http://schemas.microsoft.com/office/drawing/2014/main" id="{B56594A9-2C1D-77D5-B8AB-064CE1154BA1}"/>
                </a:ext>
              </a:extLst>
            </p:cNvPr>
            <p:cNvSpPr txBox="1"/>
            <p:nvPr/>
          </p:nvSpPr>
          <p:spPr>
            <a:xfrm>
              <a:off x="9776766" y="3546615"/>
              <a:ext cx="2305079" cy="640080"/>
            </a:xfrm>
            <a:prstGeom prst="rect">
              <a:avLst/>
            </a:prstGeom>
            <a:noFill/>
          </p:spPr>
          <p:txBody>
            <a:bodyPr wrap="square" rtlCol="0">
              <a:spAutoFit/>
            </a:bodyPr>
            <a:lstStyle/>
            <a:p>
              <a:pPr fontAlgn="base">
                <a:spcBef>
                  <a:spcPct val="0"/>
                </a:spcBef>
                <a:spcAft>
                  <a:spcPct val="0"/>
                </a:spcAft>
                <a:defRPr/>
              </a:pPr>
              <a:r>
                <a:rPr lang="en-US" sz="1200" dirty="0">
                  <a:solidFill>
                    <a:schemeClr val="accent1"/>
                  </a:solidFill>
                  <a:ea typeface="ヒラギノ角ゴ Pro W3" panose="020B0300000000000000" pitchFamily="34" charset="-128"/>
                  <a:cs typeface="Arial"/>
                </a:rPr>
                <a:t>O </a:t>
              </a:r>
              <a:r>
                <a:rPr lang="en-US" sz="1200" dirty="0" err="1">
                  <a:solidFill>
                    <a:schemeClr val="accent1"/>
                  </a:solidFill>
                  <a:ea typeface="ヒラギノ角ゴ Pro W3" panose="020B0300000000000000" pitchFamily="34" charset="-128"/>
                  <a:cs typeface="Arial"/>
                </a:rPr>
                <a:t>complemento</a:t>
              </a:r>
              <a:r>
                <a:rPr lang="en-US" sz="1200" dirty="0">
                  <a:solidFill>
                    <a:schemeClr val="accent1"/>
                  </a:solidFill>
                  <a:ea typeface="ヒラギノ角ゴ Pro W3" panose="020B0300000000000000" pitchFamily="34" charset="-128"/>
                  <a:cs typeface="Arial"/>
                </a:rPr>
                <a:t> </a:t>
              </a:r>
              <a:r>
                <a:rPr lang="en-US" sz="1200" dirty="0" err="1">
                  <a:solidFill>
                    <a:schemeClr val="accent1"/>
                  </a:solidFill>
                  <a:ea typeface="ヒラギノ角ゴ Pro W3" panose="020B0300000000000000" pitchFamily="34" charset="-128"/>
                  <a:cs typeface="Arial"/>
                </a:rPr>
                <a:t>fragmenta</a:t>
              </a:r>
              <a:r>
                <a:rPr lang="en-US" sz="1200" dirty="0">
                  <a:solidFill>
                    <a:schemeClr val="accent1"/>
                  </a:solidFill>
                  <a:ea typeface="ヒラギノ角ゴ Pro W3" panose="020B0300000000000000" pitchFamily="34" charset="-128"/>
                  <a:cs typeface="Arial"/>
                </a:rPr>
                <a:t> as </a:t>
              </a:r>
              <a:r>
                <a:rPr lang="en-US" sz="1200" dirty="0" err="1">
                  <a:solidFill>
                    <a:schemeClr val="accent1"/>
                  </a:solidFill>
                  <a:ea typeface="ヒラギノ角ゴ Pro W3" panose="020B0300000000000000" pitchFamily="34" charset="-128"/>
                  <a:cs typeface="Arial"/>
                </a:rPr>
                <a:t>células</a:t>
              </a:r>
              <a:r>
                <a:rPr lang="en-US" sz="1200" dirty="0">
                  <a:solidFill>
                    <a:schemeClr val="accent1"/>
                  </a:solidFill>
                  <a:ea typeface="ヒラギノ角ゴ Pro W3" panose="020B0300000000000000" pitchFamily="34" charset="-128"/>
                  <a:cs typeface="Arial"/>
                </a:rPr>
                <a:t> do </a:t>
              </a:r>
              <a:r>
                <a:rPr lang="en-US" sz="1200" dirty="0" err="1">
                  <a:solidFill>
                    <a:schemeClr val="accent1"/>
                  </a:solidFill>
                  <a:ea typeface="ヒラギノ角ゴ Pro W3" panose="020B0300000000000000" pitchFamily="34" charset="-128"/>
                  <a:cs typeface="Arial"/>
                </a:rPr>
                <a:t>revestimento</a:t>
              </a:r>
              <a:r>
                <a:rPr lang="en-US" sz="1200" dirty="0">
                  <a:solidFill>
                    <a:schemeClr val="accent1"/>
                  </a:solidFill>
                  <a:ea typeface="ヒラギノ角ゴ Pro W3" panose="020B0300000000000000" pitchFamily="34" charset="-128"/>
                  <a:cs typeface="Arial"/>
                </a:rPr>
                <a:t>, </a:t>
              </a:r>
              <a:r>
                <a:rPr lang="en-US" sz="1200" dirty="0" err="1">
                  <a:solidFill>
                    <a:schemeClr val="accent1"/>
                  </a:solidFill>
                  <a:ea typeface="ヒラギノ角ゴ Pro W3" panose="020B0300000000000000" pitchFamily="34" charset="-128"/>
                  <a:cs typeface="Arial"/>
                </a:rPr>
                <a:t>marcando</a:t>
              </a:r>
              <a:r>
                <a:rPr lang="en-US" sz="1200" dirty="0">
                  <a:solidFill>
                    <a:schemeClr val="accent1"/>
                  </a:solidFill>
                  <a:ea typeface="ヒラギノ角ゴ Pro W3" panose="020B0300000000000000" pitchFamily="34" charset="-128"/>
                  <a:cs typeface="Arial"/>
                </a:rPr>
                <a:t>-as para </a:t>
              </a:r>
              <a:r>
                <a:rPr lang="en-US" sz="1200" dirty="0" err="1">
                  <a:solidFill>
                    <a:schemeClr val="accent1"/>
                  </a:solidFill>
                  <a:ea typeface="ヒラギノ角ゴ Pro W3" panose="020B0300000000000000" pitchFamily="34" charset="-128"/>
                  <a:cs typeface="Arial"/>
                </a:rPr>
                <a:t>fagocitose</a:t>
              </a:r>
              <a:r>
                <a:rPr lang="en-US" sz="1200" dirty="0">
                  <a:solidFill>
                    <a:schemeClr val="accent1"/>
                  </a:solidFill>
                  <a:ea typeface="ヒラギノ角ゴ Pro W3" panose="020B0300000000000000" pitchFamily="34" charset="-128"/>
                  <a:cs typeface="Arial"/>
                </a:rPr>
                <a:t> </a:t>
              </a:r>
            </a:p>
          </p:txBody>
        </p:sp>
        <p:grpSp>
          <p:nvGrpSpPr>
            <p:cNvPr id="3640" name="Group 63">
              <a:extLst>
                <a:ext uri="{FF2B5EF4-FFF2-40B4-BE49-F238E27FC236}">
                  <a16:creationId xmlns:a16="http://schemas.microsoft.com/office/drawing/2014/main" id="{0B1C1ACC-84F5-0797-933E-9B3B595007C3}"/>
                </a:ext>
              </a:extLst>
            </p:cNvPr>
            <p:cNvGrpSpPr>
              <a:grpSpLocks noChangeAspect="1"/>
            </p:cNvGrpSpPr>
            <p:nvPr/>
          </p:nvGrpSpPr>
          <p:grpSpPr>
            <a:xfrm flipV="1">
              <a:off x="5361519" y="2857499"/>
              <a:ext cx="1559983" cy="1557867"/>
              <a:chOff x="2527" y="1356"/>
              <a:chExt cx="737" cy="736"/>
            </a:xfrm>
            <a:solidFill>
              <a:schemeClr val="accent1"/>
            </a:solidFill>
          </p:grpSpPr>
          <p:sp>
            <p:nvSpPr>
              <p:cNvPr id="3641" name="Freeform 64">
                <a:extLst>
                  <a:ext uri="{FF2B5EF4-FFF2-40B4-BE49-F238E27FC236}">
                    <a16:creationId xmlns:a16="http://schemas.microsoft.com/office/drawing/2014/main" id="{A912EE83-6DDD-AE1E-1822-E7ED93F25B24}"/>
                  </a:ext>
                </a:extLst>
              </p:cNvPr>
              <p:cNvSpPr/>
              <p:nvPr/>
            </p:nvSpPr>
            <p:spPr bwMode="auto">
              <a:xfrm>
                <a:off x="2527" y="1503"/>
                <a:ext cx="139" cy="491"/>
              </a:xfrm>
              <a:custGeom>
                <a:avLst/>
                <a:gdLst>
                  <a:gd name="T0" fmla="*/ 139 w 139"/>
                  <a:gd name="T1" fmla="*/ 491 h 491"/>
                  <a:gd name="T2" fmla="*/ 139 w 139"/>
                  <a:gd name="T3" fmla="*/ 491 h 491"/>
                  <a:gd name="T4" fmla="*/ 116 w 139"/>
                  <a:gd name="T5" fmla="*/ 470 h 491"/>
                  <a:gd name="T6" fmla="*/ 98 w 139"/>
                  <a:gd name="T7" fmla="*/ 447 h 491"/>
                  <a:gd name="T8" fmla="*/ 80 w 139"/>
                  <a:gd name="T9" fmla="*/ 422 h 491"/>
                  <a:gd name="T10" fmla="*/ 66 w 139"/>
                  <a:gd name="T11" fmla="*/ 395 h 491"/>
                  <a:gd name="T12" fmla="*/ 54 w 139"/>
                  <a:gd name="T13" fmla="*/ 368 h 491"/>
                  <a:gd name="T14" fmla="*/ 43 w 139"/>
                  <a:gd name="T15" fmla="*/ 340 h 491"/>
                  <a:gd name="T16" fmla="*/ 36 w 139"/>
                  <a:gd name="T17" fmla="*/ 311 h 491"/>
                  <a:gd name="T18" fmla="*/ 31 w 139"/>
                  <a:gd name="T19" fmla="*/ 281 h 491"/>
                  <a:gd name="T20" fmla="*/ 28 w 139"/>
                  <a:gd name="T21" fmla="*/ 252 h 491"/>
                  <a:gd name="T22" fmla="*/ 28 w 139"/>
                  <a:gd name="T23" fmla="*/ 222 h 491"/>
                  <a:gd name="T24" fmla="*/ 29 w 139"/>
                  <a:gd name="T25" fmla="*/ 193 h 491"/>
                  <a:gd name="T26" fmla="*/ 35 w 139"/>
                  <a:gd name="T27" fmla="*/ 163 h 491"/>
                  <a:gd name="T28" fmla="*/ 41 w 139"/>
                  <a:gd name="T29" fmla="*/ 135 h 491"/>
                  <a:gd name="T30" fmla="*/ 52 w 139"/>
                  <a:gd name="T31" fmla="*/ 109 h 491"/>
                  <a:gd name="T32" fmla="*/ 64 w 139"/>
                  <a:gd name="T33" fmla="*/ 82 h 491"/>
                  <a:gd name="T34" fmla="*/ 79 w 139"/>
                  <a:gd name="T35" fmla="*/ 58 h 491"/>
                  <a:gd name="T36" fmla="*/ 90 w 139"/>
                  <a:gd name="T37" fmla="*/ 63 h 491"/>
                  <a:gd name="T38" fmla="*/ 90 w 139"/>
                  <a:gd name="T39" fmla="*/ 63 h 491"/>
                  <a:gd name="T40" fmla="*/ 88 w 139"/>
                  <a:gd name="T41" fmla="*/ 48 h 491"/>
                  <a:gd name="T42" fmla="*/ 88 w 139"/>
                  <a:gd name="T43" fmla="*/ 32 h 491"/>
                  <a:gd name="T44" fmla="*/ 91 w 139"/>
                  <a:gd name="T45" fmla="*/ 0 h 491"/>
                  <a:gd name="T46" fmla="*/ 91 w 139"/>
                  <a:gd name="T47" fmla="*/ 0 h 491"/>
                  <a:gd name="T48" fmla="*/ 60 w 139"/>
                  <a:gd name="T49" fmla="*/ 14 h 491"/>
                  <a:gd name="T50" fmla="*/ 45 w 139"/>
                  <a:gd name="T51" fmla="*/ 20 h 491"/>
                  <a:gd name="T52" fmla="*/ 31 w 139"/>
                  <a:gd name="T53" fmla="*/ 30 h 491"/>
                  <a:gd name="T54" fmla="*/ 41 w 139"/>
                  <a:gd name="T55" fmla="*/ 36 h 491"/>
                  <a:gd name="T56" fmla="*/ 41 w 139"/>
                  <a:gd name="T57" fmla="*/ 36 h 491"/>
                  <a:gd name="T58" fmla="*/ 33 w 139"/>
                  <a:gd name="T59" fmla="*/ 51 h 491"/>
                  <a:gd name="T60" fmla="*/ 27 w 139"/>
                  <a:gd name="T61" fmla="*/ 66 h 491"/>
                  <a:gd name="T62" fmla="*/ 16 w 139"/>
                  <a:gd name="T63" fmla="*/ 95 h 491"/>
                  <a:gd name="T64" fmla="*/ 8 w 139"/>
                  <a:gd name="T65" fmla="*/ 127 h 491"/>
                  <a:gd name="T66" fmla="*/ 3 w 139"/>
                  <a:gd name="T67" fmla="*/ 158 h 491"/>
                  <a:gd name="T68" fmla="*/ 0 w 139"/>
                  <a:gd name="T69" fmla="*/ 190 h 491"/>
                  <a:gd name="T70" fmla="*/ 0 w 139"/>
                  <a:gd name="T71" fmla="*/ 222 h 491"/>
                  <a:gd name="T72" fmla="*/ 4 w 139"/>
                  <a:gd name="T73" fmla="*/ 254 h 491"/>
                  <a:gd name="T74" fmla="*/ 9 w 139"/>
                  <a:gd name="T75" fmla="*/ 285 h 491"/>
                  <a:gd name="T76" fmla="*/ 17 w 139"/>
                  <a:gd name="T77" fmla="*/ 316 h 491"/>
                  <a:gd name="T78" fmla="*/ 28 w 139"/>
                  <a:gd name="T79" fmla="*/ 345 h 491"/>
                  <a:gd name="T80" fmla="*/ 40 w 139"/>
                  <a:gd name="T81" fmla="*/ 374 h 491"/>
                  <a:gd name="T82" fmla="*/ 56 w 139"/>
                  <a:gd name="T83" fmla="*/ 400 h 491"/>
                  <a:gd name="T84" fmla="*/ 74 w 139"/>
                  <a:gd name="T85" fmla="*/ 426 h 491"/>
                  <a:gd name="T86" fmla="*/ 94 w 139"/>
                  <a:gd name="T87" fmla="*/ 450 h 491"/>
                  <a:gd name="T88" fmla="*/ 115 w 139"/>
                  <a:gd name="T89" fmla="*/ 473 h 491"/>
                  <a:gd name="T90" fmla="*/ 139 w 139"/>
                  <a:gd name="T91" fmla="*/ 491 h 491"/>
                  <a:gd name="T92" fmla="*/ 139 w 139"/>
                  <a:gd name="T93"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491">
                    <a:moveTo>
                      <a:pt x="139" y="491"/>
                    </a:moveTo>
                    <a:lnTo>
                      <a:pt x="139" y="491"/>
                    </a:lnTo>
                    <a:lnTo>
                      <a:pt x="116" y="470"/>
                    </a:lnTo>
                    <a:lnTo>
                      <a:pt x="98" y="447"/>
                    </a:lnTo>
                    <a:lnTo>
                      <a:pt x="80" y="422"/>
                    </a:lnTo>
                    <a:lnTo>
                      <a:pt x="66" y="395"/>
                    </a:lnTo>
                    <a:lnTo>
                      <a:pt x="54" y="368"/>
                    </a:lnTo>
                    <a:lnTo>
                      <a:pt x="43" y="340"/>
                    </a:lnTo>
                    <a:lnTo>
                      <a:pt x="36" y="311"/>
                    </a:lnTo>
                    <a:lnTo>
                      <a:pt x="31" y="281"/>
                    </a:lnTo>
                    <a:lnTo>
                      <a:pt x="28" y="252"/>
                    </a:lnTo>
                    <a:lnTo>
                      <a:pt x="28" y="222"/>
                    </a:lnTo>
                    <a:lnTo>
                      <a:pt x="29" y="193"/>
                    </a:lnTo>
                    <a:lnTo>
                      <a:pt x="35" y="163"/>
                    </a:lnTo>
                    <a:lnTo>
                      <a:pt x="41" y="135"/>
                    </a:lnTo>
                    <a:lnTo>
                      <a:pt x="52" y="109"/>
                    </a:lnTo>
                    <a:lnTo>
                      <a:pt x="64" y="82"/>
                    </a:lnTo>
                    <a:lnTo>
                      <a:pt x="79" y="58"/>
                    </a:lnTo>
                    <a:lnTo>
                      <a:pt x="90" y="63"/>
                    </a:lnTo>
                    <a:lnTo>
                      <a:pt x="90" y="63"/>
                    </a:lnTo>
                    <a:lnTo>
                      <a:pt x="88" y="48"/>
                    </a:lnTo>
                    <a:lnTo>
                      <a:pt x="88" y="32"/>
                    </a:lnTo>
                    <a:lnTo>
                      <a:pt x="91" y="0"/>
                    </a:lnTo>
                    <a:lnTo>
                      <a:pt x="91" y="0"/>
                    </a:lnTo>
                    <a:lnTo>
                      <a:pt x="60" y="14"/>
                    </a:lnTo>
                    <a:lnTo>
                      <a:pt x="45" y="20"/>
                    </a:lnTo>
                    <a:lnTo>
                      <a:pt x="31" y="30"/>
                    </a:lnTo>
                    <a:lnTo>
                      <a:pt x="41" y="36"/>
                    </a:lnTo>
                    <a:lnTo>
                      <a:pt x="41" y="36"/>
                    </a:lnTo>
                    <a:lnTo>
                      <a:pt x="33" y="51"/>
                    </a:lnTo>
                    <a:lnTo>
                      <a:pt x="27" y="66"/>
                    </a:lnTo>
                    <a:lnTo>
                      <a:pt x="16" y="95"/>
                    </a:lnTo>
                    <a:lnTo>
                      <a:pt x="8" y="127"/>
                    </a:lnTo>
                    <a:lnTo>
                      <a:pt x="3" y="158"/>
                    </a:lnTo>
                    <a:lnTo>
                      <a:pt x="0" y="190"/>
                    </a:lnTo>
                    <a:lnTo>
                      <a:pt x="0" y="222"/>
                    </a:lnTo>
                    <a:lnTo>
                      <a:pt x="4" y="254"/>
                    </a:lnTo>
                    <a:lnTo>
                      <a:pt x="9" y="285"/>
                    </a:lnTo>
                    <a:lnTo>
                      <a:pt x="17" y="316"/>
                    </a:lnTo>
                    <a:lnTo>
                      <a:pt x="28" y="345"/>
                    </a:lnTo>
                    <a:lnTo>
                      <a:pt x="40" y="374"/>
                    </a:lnTo>
                    <a:lnTo>
                      <a:pt x="56" y="400"/>
                    </a:lnTo>
                    <a:lnTo>
                      <a:pt x="74" y="426"/>
                    </a:lnTo>
                    <a:lnTo>
                      <a:pt x="94" y="450"/>
                    </a:lnTo>
                    <a:lnTo>
                      <a:pt x="115" y="473"/>
                    </a:lnTo>
                    <a:lnTo>
                      <a:pt x="139" y="491"/>
                    </a:lnTo>
                    <a:lnTo>
                      <a:pt x="139" y="4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2" name="Freeform 65">
                <a:extLst>
                  <a:ext uri="{FF2B5EF4-FFF2-40B4-BE49-F238E27FC236}">
                    <a16:creationId xmlns:a16="http://schemas.microsoft.com/office/drawing/2014/main" id="{7DFE0995-659D-2430-7C63-4155723EA29C}"/>
                  </a:ext>
                </a:extLst>
              </p:cNvPr>
              <p:cNvSpPr/>
              <p:nvPr/>
            </p:nvSpPr>
            <p:spPr bwMode="auto">
              <a:xfrm>
                <a:off x="2675" y="1954"/>
                <a:ext cx="490" cy="138"/>
              </a:xfrm>
              <a:custGeom>
                <a:avLst/>
                <a:gdLst>
                  <a:gd name="T0" fmla="*/ 490 w 490"/>
                  <a:gd name="T1" fmla="*/ 0 h 138"/>
                  <a:gd name="T2" fmla="*/ 490 w 490"/>
                  <a:gd name="T3" fmla="*/ 0 h 138"/>
                  <a:gd name="T4" fmla="*/ 469 w 490"/>
                  <a:gd name="T5" fmla="*/ 22 h 138"/>
                  <a:gd name="T6" fmla="*/ 446 w 490"/>
                  <a:gd name="T7" fmla="*/ 42 h 138"/>
                  <a:gd name="T8" fmla="*/ 420 w 490"/>
                  <a:gd name="T9" fmla="*/ 59 h 138"/>
                  <a:gd name="T10" fmla="*/ 394 w 490"/>
                  <a:gd name="T11" fmla="*/ 74 h 138"/>
                  <a:gd name="T12" fmla="*/ 367 w 490"/>
                  <a:gd name="T13" fmla="*/ 86 h 138"/>
                  <a:gd name="T14" fmla="*/ 339 w 490"/>
                  <a:gd name="T15" fmla="*/ 95 h 138"/>
                  <a:gd name="T16" fmla="*/ 309 w 490"/>
                  <a:gd name="T17" fmla="*/ 103 h 138"/>
                  <a:gd name="T18" fmla="*/ 280 w 490"/>
                  <a:gd name="T19" fmla="*/ 109 h 138"/>
                  <a:gd name="T20" fmla="*/ 251 w 490"/>
                  <a:gd name="T21" fmla="*/ 111 h 138"/>
                  <a:gd name="T22" fmla="*/ 221 w 490"/>
                  <a:gd name="T23" fmla="*/ 111 h 138"/>
                  <a:gd name="T24" fmla="*/ 192 w 490"/>
                  <a:gd name="T25" fmla="*/ 109 h 138"/>
                  <a:gd name="T26" fmla="*/ 164 w 490"/>
                  <a:gd name="T27" fmla="*/ 105 h 138"/>
                  <a:gd name="T28" fmla="*/ 136 w 490"/>
                  <a:gd name="T29" fmla="*/ 97 h 138"/>
                  <a:gd name="T30" fmla="*/ 107 w 490"/>
                  <a:gd name="T31" fmla="*/ 87 h 138"/>
                  <a:gd name="T32" fmla="*/ 81 w 490"/>
                  <a:gd name="T33" fmla="*/ 75 h 138"/>
                  <a:gd name="T34" fmla="*/ 57 w 490"/>
                  <a:gd name="T35" fmla="*/ 60 h 138"/>
                  <a:gd name="T36" fmla="*/ 63 w 490"/>
                  <a:gd name="T37" fmla="*/ 48 h 138"/>
                  <a:gd name="T38" fmla="*/ 63 w 490"/>
                  <a:gd name="T39" fmla="*/ 48 h 138"/>
                  <a:gd name="T40" fmla="*/ 47 w 490"/>
                  <a:gd name="T41" fmla="*/ 50 h 138"/>
                  <a:gd name="T42" fmla="*/ 33 w 490"/>
                  <a:gd name="T43" fmla="*/ 50 h 138"/>
                  <a:gd name="T44" fmla="*/ 0 w 490"/>
                  <a:gd name="T45" fmla="*/ 48 h 138"/>
                  <a:gd name="T46" fmla="*/ 0 w 490"/>
                  <a:gd name="T47" fmla="*/ 48 h 138"/>
                  <a:gd name="T48" fmla="*/ 13 w 490"/>
                  <a:gd name="T49" fmla="*/ 79 h 138"/>
                  <a:gd name="T50" fmla="*/ 21 w 490"/>
                  <a:gd name="T51" fmla="*/ 94 h 138"/>
                  <a:gd name="T52" fmla="*/ 29 w 490"/>
                  <a:gd name="T53" fmla="*/ 109 h 138"/>
                  <a:gd name="T54" fmla="*/ 35 w 490"/>
                  <a:gd name="T55" fmla="*/ 98 h 138"/>
                  <a:gd name="T56" fmla="*/ 35 w 490"/>
                  <a:gd name="T57" fmla="*/ 98 h 138"/>
                  <a:gd name="T58" fmla="*/ 65 w 490"/>
                  <a:gd name="T59" fmla="*/ 111 h 138"/>
                  <a:gd name="T60" fmla="*/ 95 w 490"/>
                  <a:gd name="T61" fmla="*/ 123 h 138"/>
                  <a:gd name="T62" fmla="*/ 126 w 490"/>
                  <a:gd name="T63" fmla="*/ 131 h 138"/>
                  <a:gd name="T64" fmla="*/ 158 w 490"/>
                  <a:gd name="T65" fmla="*/ 135 h 138"/>
                  <a:gd name="T66" fmla="*/ 189 w 490"/>
                  <a:gd name="T67" fmla="*/ 138 h 138"/>
                  <a:gd name="T68" fmla="*/ 221 w 490"/>
                  <a:gd name="T69" fmla="*/ 138 h 138"/>
                  <a:gd name="T70" fmla="*/ 253 w 490"/>
                  <a:gd name="T71" fmla="*/ 135 h 138"/>
                  <a:gd name="T72" fmla="*/ 284 w 490"/>
                  <a:gd name="T73" fmla="*/ 130 h 138"/>
                  <a:gd name="T74" fmla="*/ 315 w 490"/>
                  <a:gd name="T75" fmla="*/ 122 h 138"/>
                  <a:gd name="T76" fmla="*/ 344 w 490"/>
                  <a:gd name="T77" fmla="*/ 111 h 138"/>
                  <a:gd name="T78" fmla="*/ 372 w 490"/>
                  <a:gd name="T79" fmla="*/ 98 h 138"/>
                  <a:gd name="T80" fmla="*/ 399 w 490"/>
                  <a:gd name="T81" fmla="*/ 83 h 138"/>
                  <a:gd name="T82" fmla="*/ 424 w 490"/>
                  <a:gd name="T83" fmla="*/ 66 h 138"/>
                  <a:gd name="T84" fmla="*/ 449 w 490"/>
                  <a:gd name="T85" fmla="*/ 46 h 138"/>
                  <a:gd name="T86" fmla="*/ 471 w 490"/>
                  <a:gd name="T87" fmla="*/ 24 h 138"/>
                  <a:gd name="T88" fmla="*/ 490 w 490"/>
                  <a:gd name="T89" fmla="*/ 0 h 138"/>
                  <a:gd name="T90" fmla="*/ 490 w 490"/>
                  <a:gd name="T9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490" y="0"/>
                    </a:moveTo>
                    <a:lnTo>
                      <a:pt x="490" y="0"/>
                    </a:lnTo>
                    <a:lnTo>
                      <a:pt x="469" y="22"/>
                    </a:lnTo>
                    <a:lnTo>
                      <a:pt x="446" y="42"/>
                    </a:lnTo>
                    <a:lnTo>
                      <a:pt x="420" y="59"/>
                    </a:lnTo>
                    <a:lnTo>
                      <a:pt x="394" y="74"/>
                    </a:lnTo>
                    <a:lnTo>
                      <a:pt x="367" y="86"/>
                    </a:lnTo>
                    <a:lnTo>
                      <a:pt x="339" y="95"/>
                    </a:lnTo>
                    <a:lnTo>
                      <a:pt x="309" y="103"/>
                    </a:lnTo>
                    <a:lnTo>
                      <a:pt x="280" y="109"/>
                    </a:lnTo>
                    <a:lnTo>
                      <a:pt x="251" y="111"/>
                    </a:lnTo>
                    <a:lnTo>
                      <a:pt x="221" y="111"/>
                    </a:lnTo>
                    <a:lnTo>
                      <a:pt x="192" y="109"/>
                    </a:lnTo>
                    <a:lnTo>
                      <a:pt x="164" y="105"/>
                    </a:lnTo>
                    <a:lnTo>
                      <a:pt x="136" y="97"/>
                    </a:lnTo>
                    <a:lnTo>
                      <a:pt x="107" y="87"/>
                    </a:lnTo>
                    <a:lnTo>
                      <a:pt x="81" y="75"/>
                    </a:lnTo>
                    <a:lnTo>
                      <a:pt x="57" y="60"/>
                    </a:lnTo>
                    <a:lnTo>
                      <a:pt x="63" y="48"/>
                    </a:lnTo>
                    <a:lnTo>
                      <a:pt x="63" y="48"/>
                    </a:lnTo>
                    <a:lnTo>
                      <a:pt x="47" y="50"/>
                    </a:lnTo>
                    <a:lnTo>
                      <a:pt x="33" y="50"/>
                    </a:lnTo>
                    <a:lnTo>
                      <a:pt x="0" y="48"/>
                    </a:lnTo>
                    <a:lnTo>
                      <a:pt x="0" y="48"/>
                    </a:lnTo>
                    <a:lnTo>
                      <a:pt x="13" y="79"/>
                    </a:lnTo>
                    <a:lnTo>
                      <a:pt x="21" y="94"/>
                    </a:lnTo>
                    <a:lnTo>
                      <a:pt x="29" y="109"/>
                    </a:lnTo>
                    <a:lnTo>
                      <a:pt x="35" y="98"/>
                    </a:lnTo>
                    <a:lnTo>
                      <a:pt x="35" y="98"/>
                    </a:lnTo>
                    <a:lnTo>
                      <a:pt x="65" y="111"/>
                    </a:lnTo>
                    <a:lnTo>
                      <a:pt x="95" y="123"/>
                    </a:lnTo>
                    <a:lnTo>
                      <a:pt x="126" y="131"/>
                    </a:lnTo>
                    <a:lnTo>
                      <a:pt x="158" y="135"/>
                    </a:lnTo>
                    <a:lnTo>
                      <a:pt x="189" y="138"/>
                    </a:lnTo>
                    <a:lnTo>
                      <a:pt x="221" y="138"/>
                    </a:lnTo>
                    <a:lnTo>
                      <a:pt x="253" y="135"/>
                    </a:lnTo>
                    <a:lnTo>
                      <a:pt x="284" y="130"/>
                    </a:lnTo>
                    <a:lnTo>
                      <a:pt x="315" y="122"/>
                    </a:lnTo>
                    <a:lnTo>
                      <a:pt x="344" y="111"/>
                    </a:lnTo>
                    <a:lnTo>
                      <a:pt x="372" y="98"/>
                    </a:lnTo>
                    <a:lnTo>
                      <a:pt x="399" y="83"/>
                    </a:lnTo>
                    <a:lnTo>
                      <a:pt x="424" y="66"/>
                    </a:lnTo>
                    <a:lnTo>
                      <a:pt x="449" y="46"/>
                    </a:lnTo>
                    <a:lnTo>
                      <a:pt x="471" y="24"/>
                    </a:lnTo>
                    <a:lnTo>
                      <a:pt x="490" y="0"/>
                    </a:lnTo>
                    <a:lnTo>
                      <a:pt x="4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3" name="Freeform 66">
                <a:extLst>
                  <a:ext uri="{FF2B5EF4-FFF2-40B4-BE49-F238E27FC236}">
                    <a16:creationId xmlns:a16="http://schemas.microsoft.com/office/drawing/2014/main" id="{022D8BEE-E85B-0A95-7BCD-8F0C5F0DEA58}"/>
                  </a:ext>
                </a:extLst>
              </p:cNvPr>
              <p:cNvSpPr/>
              <p:nvPr/>
            </p:nvSpPr>
            <p:spPr bwMode="auto">
              <a:xfrm>
                <a:off x="3125" y="1454"/>
                <a:ext cx="139" cy="491"/>
              </a:xfrm>
              <a:custGeom>
                <a:avLst/>
                <a:gdLst>
                  <a:gd name="T0" fmla="*/ 0 w 139"/>
                  <a:gd name="T1" fmla="*/ 0 h 491"/>
                  <a:gd name="T2" fmla="*/ 0 w 139"/>
                  <a:gd name="T3" fmla="*/ 0 h 491"/>
                  <a:gd name="T4" fmla="*/ 23 w 139"/>
                  <a:gd name="T5" fmla="*/ 22 h 491"/>
                  <a:gd name="T6" fmla="*/ 41 w 139"/>
                  <a:gd name="T7" fmla="*/ 45 h 491"/>
                  <a:gd name="T8" fmla="*/ 59 w 139"/>
                  <a:gd name="T9" fmla="*/ 71 h 491"/>
                  <a:gd name="T10" fmla="*/ 73 w 139"/>
                  <a:gd name="T11" fmla="*/ 97 h 491"/>
                  <a:gd name="T12" fmla="*/ 85 w 139"/>
                  <a:gd name="T13" fmla="*/ 124 h 491"/>
                  <a:gd name="T14" fmla="*/ 96 w 139"/>
                  <a:gd name="T15" fmla="*/ 152 h 491"/>
                  <a:gd name="T16" fmla="*/ 103 w 139"/>
                  <a:gd name="T17" fmla="*/ 182 h 491"/>
                  <a:gd name="T18" fmla="*/ 108 w 139"/>
                  <a:gd name="T19" fmla="*/ 211 h 491"/>
                  <a:gd name="T20" fmla="*/ 111 w 139"/>
                  <a:gd name="T21" fmla="*/ 241 h 491"/>
                  <a:gd name="T22" fmla="*/ 111 w 139"/>
                  <a:gd name="T23" fmla="*/ 270 h 491"/>
                  <a:gd name="T24" fmla="*/ 108 w 139"/>
                  <a:gd name="T25" fmla="*/ 299 h 491"/>
                  <a:gd name="T26" fmla="*/ 104 w 139"/>
                  <a:gd name="T27" fmla="*/ 328 h 491"/>
                  <a:gd name="T28" fmla="*/ 96 w 139"/>
                  <a:gd name="T29" fmla="*/ 356 h 491"/>
                  <a:gd name="T30" fmla="*/ 87 w 139"/>
                  <a:gd name="T31" fmla="*/ 384 h 491"/>
                  <a:gd name="T32" fmla="*/ 75 w 139"/>
                  <a:gd name="T33" fmla="*/ 409 h 491"/>
                  <a:gd name="T34" fmla="*/ 60 w 139"/>
                  <a:gd name="T35" fmla="*/ 435 h 491"/>
                  <a:gd name="T36" fmla="*/ 49 w 139"/>
                  <a:gd name="T37" fmla="*/ 428 h 491"/>
                  <a:gd name="T38" fmla="*/ 49 w 139"/>
                  <a:gd name="T39" fmla="*/ 428 h 491"/>
                  <a:gd name="T40" fmla="*/ 49 w 139"/>
                  <a:gd name="T41" fmla="*/ 444 h 491"/>
                  <a:gd name="T42" fmla="*/ 49 w 139"/>
                  <a:gd name="T43" fmla="*/ 459 h 491"/>
                  <a:gd name="T44" fmla="*/ 48 w 139"/>
                  <a:gd name="T45" fmla="*/ 491 h 491"/>
                  <a:gd name="T46" fmla="*/ 48 w 139"/>
                  <a:gd name="T47" fmla="*/ 491 h 491"/>
                  <a:gd name="T48" fmla="*/ 79 w 139"/>
                  <a:gd name="T49" fmla="*/ 479 h 491"/>
                  <a:gd name="T50" fmla="*/ 94 w 139"/>
                  <a:gd name="T51" fmla="*/ 471 h 491"/>
                  <a:gd name="T52" fmla="*/ 108 w 139"/>
                  <a:gd name="T53" fmla="*/ 461 h 491"/>
                  <a:gd name="T54" fmla="*/ 98 w 139"/>
                  <a:gd name="T55" fmla="*/ 456 h 491"/>
                  <a:gd name="T56" fmla="*/ 98 w 139"/>
                  <a:gd name="T57" fmla="*/ 456 h 491"/>
                  <a:gd name="T58" fmla="*/ 111 w 139"/>
                  <a:gd name="T59" fmla="*/ 427 h 491"/>
                  <a:gd name="T60" fmla="*/ 123 w 139"/>
                  <a:gd name="T61" fmla="*/ 396 h 491"/>
                  <a:gd name="T62" fmla="*/ 131 w 139"/>
                  <a:gd name="T63" fmla="*/ 365 h 491"/>
                  <a:gd name="T64" fmla="*/ 136 w 139"/>
                  <a:gd name="T65" fmla="*/ 333 h 491"/>
                  <a:gd name="T66" fmla="*/ 139 w 139"/>
                  <a:gd name="T67" fmla="*/ 301 h 491"/>
                  <a:gd name="T68" fmla="*/ 138 w 139"/>
                  <a:gd name="T69" fmla="*/ 270 h 491"/>
                  <a:gd name="T70" fmla="*/ 135 w 139"/>
                  <a:gd name="T71" fmla="*/ 238 h 491"/>
                  <a:gd name="T72" fmla="*/ 130 w 139"/>
                  <a:gd name="T73" fmla="*/ 207 h 491"/>
                  <a:gd name="T74" fmla="*/ 122 w 139"/>
                  <a:gd name="T75" fmla="*/ 176 h 491"/>
                  <a:gd name="T76" fmla="*/ 111 w 139"/>
                  <a:gd name="T77" fmla="*/ 147 h 491"/>
                  <a:gd name="T78" fmla="*/ 98 w 139"/>
                  <a:gd name="T79" fmla="*/ 119 h 491"/>
                  <a:gd name="T80" fmla="*/ 83 w 139"/>
                  <a:gd name="T81" fmla="*/ 91 h 491"/>
                  <a:gd name="T82" fmla="*/ 65 w 139"/>
                  <a:gd name="T83" fmla="*/ 65 h 491"/>
                  <a:gd name="T84" fmla="*/ 45 w 139"/>
                  <a:gd name="T85" fmla="*/ 41 h 491"/>
                  <a:gd name="T86" fmla="*/ 24 w 139"/>
                  <a:gd name="T87" fmla="*/ 20 h 491"/>
                  <a:gd name="T88" fmla="*/ 0 w 139"/>
                  <a:gd name="T89" fmla="*/ 0 h 491"/>
                  <a:gd name="T90" fmla="*/ 0 w 139"/>
                  <a:gd name="T9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491">
                    <a:moveTo>
                      <a:pt x="0" y="0"/>
                    </a:moveTo>
                    <a:lnTo>
                      <a:pt x="0" y="0"/>
                    </a:lnTo>
                    <a:lnTo>
                      <a:pt x="23" y="22"/>
                    </a:lnTo>
                    <a:lnTo>
                      <a:pt x="41" y="45"/>
                    </a:lnTo>
                    <a:lnTo>
                      <a:pt x="59" y="71"/>
                    </a:lnTo>
                    <a:lnTo>
                      <a:pt x="73" y="97"/>
                    </a:lnTo>
                    <a:lnTo>
                      <a:pt x="85" y="124"/>
                    </a:lnTo>
                    <a:lnTo>
                      <a:pt x="96" y="152"/>
                    </a:lnTo>
                    <a:lnTo>
                      <a:pt x="103" y="182"/>
                    </a:lnTo>
                    <a:lnTo>
                      <a:pt x="108" y="211"/>
                    </a:lnTo>
                    <a:lnTo>
                      <a:pt x="111" y="241"/>
                    </a:lnTo>
                    <a:lnTo>
                      <a:pt x="111" y="270"/>
                    </a:lnTo>
                    <a:lnTo>
                      <a:pt x="108" y="299"/>
                    </a:lnTo>
                    <a:lnTo>
                      <a:pt x="104" y="328"/>
                    </a:lnTo>
                    <a:lnTo>
                      <a:pt x="96" y="356"/>
                    </a:lnTo>
                    <a:lnTo>
                      <a:pt x="87" y="384"/>
                    </a:lnTo>
                    <a:lnTo>
                      <a:pt x="75" y="409"/>
                    </a:lnTo>
                    <a:lnTo>
                      <a:pt x="60" y="435"/>
                    </a:lnTo>
                    <a:lnTo>
                      <a:pt x="49" y="428"/>
                    </a:lnTo>
                    <a:lnTo>
                      <a:pt x="49" y="428"/>
                    </a:lnTo>
                    <a:lnTo>
                      <a:pt x="49" y="444"/>
                    </a:lnTo>
                    <a:lnTo>
                      <a:pt x="49" y="459"/>
                    </a:lnTo>
                    <a:lnTo>
                      <a:pt x="48" y="491"/>
                    </a:lnTo>
                    <a:lnTo>
                      <a:pt x="48" y="491"/>
                    </a:lnTo>
                    <a:lnTo>
                      <a:pt x="79" y="479"/>
                    </a:lnTo>
                    <a:lnTo>
                      <a:pt x="94" y="471"/>
                    </a:lnTo>
                    <a:lnTo>
                      <a:pt x="108" y="461"/>
                    </a:lnTo>
                    <a:lnTo>
                      <a:pt x="98" y="456"/>
                    </a:lnTo>
                    <a:lnTo>
                      <a:pt x="98" y="456"/>
                    </a:lnTo>
                    <a:lnTo>
                      <a:pt x="111" y="427"/>
                    </a:lnTo>
                    <a:lnTo>
                      <a:pt x="123" y="396"/>
                    </a:lnTo>
                    <a:lnTo>
                      <a:pt x="131" y="365"/>
                    </a:lnTo>
                    <a:lnTo>
                      <a:pt x="136" y="333"/>
                    </a:lnTo>
                    <a:lnTo>
                      <a:pt x="139" y="301"/>
                    </a:lnTo>
                    <a:lnTo>
                      <a:pt x="138" y="270"/>
                    </a:lnTo>
                    <a:lnTo>
                      <a:pt x="135" y="238"/>
                    </a:lnTo>
                    <a:lnTo>
                      <a:pt x="130" y="207"/>
                    </a:lnTo>
                    <a:lnTo>
                      <a:pt x="122" y="176"/>
                    </a:lnTo>
                    <a:lnTo>
                      <a:pt x="111" y="147"/>
                    </a:lnTo>
                    <a:lnTo>
                      <a:pt x="98" y="119"/>
                    </a:lnTo>
                    <a:lnTo>
                      <a:pt x="83" y="91"/>
                    </a:lnTo>
                    <a:lnTo>
                      <a:pt x="65" y="65"/>
                    </a:lnTo>
                    <a:lnTo>
                      <a:pt x="45" y="41"/>
                    </a:lnTo>
                    <a:lnTo>
                      <a:pt x="24" y="2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4" name="Freeform 67">
                <a:extLst>
                  <a:ext uri="{FF2B5EF4-FFF2-40B4-BE49-F238E27FC236}">
                    <a16:creationId xmlns:a16="http://schemas.microsoft.com/office/drawing/2014/main" id="{1CE6A897-A122-4614-F53E-1BC628330574}"/>
                  </a:ext>
                </a:extLst>
              </p:cNvPr>
              <p:cNvSpPr/>
              <p:nvPr/>
            </p:nvSpPr>
            <p:spPr bwMode="auto">
              <a:xfrm>
                <a:off x="2626" y="1356"/>
                <a:ext cx="490" cy="138"/>
              </a:xfrm>
              <a:custGeom>
                <a:avLst/>
                <a:gdLst>
                  <a:gd name="T0" fmla="*/ 0 w 490"/>
                  <a:gd name="T1" fmla="*/ 138 h 138"/>
                  <a:gd name="T2" fmla="*/ 0 w 490"/>
                  <a:gd name="T3" fmla="*/ 138 h 138"/>
                  <a:gd name="T4" fmla="*/ 21 w 490"/>
                  <a:gd name="T5" fmla="*/ 116 h 138"/>
                  <a:gd name="T6" fmla="*/ 44 w 490"/>
                  <a:gd name="T7" fmla="*/ 96 h 138"/>
                  <a:gd name="T8" fmla="*/ 70 w 490"/>
                  <a:gd name="T9" fmla="*/ 79 h 138"/>
                  <a:gd name="T10" fmla="*/ 96 w 490"/>
                  <a:gd name="T11" fmla="*/ 64 h 138"/>
                  <a:gd name="T12" fmla="*/ 123 w 490"/>
                  <a:gd name="T13" fmla="*/ 52 h 138"/>
                  <a:gd name="T14" fmla="*/ 151 w 490"/>
                  <a:gd name="T15" fmla="*/ 43 h 138"/>
                  <a:gd name="T16" fmla="*/ 181 w 490"/>
                  <a:gd name="T17" fmla="*/ 35 h 138"/>
                  <a:gd name="T18" fmla="*/ 210 w 490"/>
                  <a:gd name="T19" fmla="*/ 31 h 138"/>
                  <a:gd name="T20" fmla="*/ 239 w 490"/>
                  <a:gd name="T21" fmla="*/ 28 h 138"/>
                  <a:gd name="T22" fmla="*/ 269 w 490"/>
                  <a:gd name="T23" fmla="*/ 27 h 138"/>
                  <a:gd name="T24" fmla="*/ 298 w 490"/>
                  <a:gd name="T25" fmla="*/ 29 h 138"/>
                  <a:gd name="T26" fmla="*/ 326 w 490"/>
                  <a:gd name="T27" fmla="*/ 35 h 138"/>
                  <a:gd name="T28" fmla="*/ 354 w 490"/>
                  <a:gd name="T29" fmla="*/ 41 h 138"/>
                  <a:gd name="T30" fmla="*/ 383 w 490"/>
                  <a:gd name="T31" fmla="*/ 51 h 138"/>
                  <a:gd name="T32" fmla="*/ 409 w 490"/>
                  <a:gd name="T33" fmla="*/ 64 h 138"/>
                  <a:gd name="T34" fmla="*/ 433 w 490"/>
                  <a:gd name="T35" fmla="*/ 79 h 138"/>
                  <a:gd name="T36" fmla="*/ 427 w 490"/>
                  <a:gd name="T37" fmla="*/ 90 h 138"/>
                  <a:gd name="T38" fmla="*/ 427 w 490"/>
                  <a:gd name="T39" fmla="*/ 90 h 138"/>
                  <a:gd name="T40" fmla="*/ 443 w 490"/>
                  <a:gd name="T41" fmla="*/ 88 h 138"/>
                  <a:gd name="T42" fmla="*/ 457 w 490"/>
                  <a:gd name="T43" fmla="*/ 88 h 138"/>
                  <a:gd name="T44" fmla="*/ 490 w 490"/>
                  <a:gd name="T45" fmla="*/ 91 h 138"/>
                  <a:gd name="T46" fmla="*/ 490 w 490"/>
                  <a:gd name="T47" fmla="*/ 91 h 138"/>
                  <a:gd name="T48" fmla="*/ 477 w 490"/>
                  <a:gd name="T49" fmla="*/ 60 h 138"/>
                  <a:gd name="T50" fmla="*/ 469 w 490"/>
                  <a:gd name="T51" fmla="*/ 45 h 138"/>
                  <a:gd name="T52" fmla="*/ 461 w 490"/>
                  <a:gd name="T53" fmla="*/ 29 h 138"/>
                  <a:gd name="T54" fmla="*/ 455 w 490"/>
                  <a:gd name="T55" fmla="*/ 41 h 138"/>
                  <a:gd name="T56" fmla="*/ 455 w 490"/>
                  <a:gd name="T57" fmla="*/ 41 h 138"/>
                  <a:gd name="T58" fmla="*/ 425 w 490"/>
                  <a:gd name="T59" fmla="*/ 27 h 138"/>
                  <a:gd name="T60" fmla="*/ 395 w 490"/>
                  <a:gd name="T61" fmla="*/ 16 h 138"/>
                  <a:gd name="T62" fmla="*/ 364 w 490"/>
                  <a:gd name="T63" fmla="*/ 8 h 138"/>
                  <a:gd name="T64" fmla="*/ 332 w 490"/>
                  <a:gd name="T65" fmla="*/ 3 h 138"/>
                  <a:gd name="T66" fmla="*/ 301 w 490"/>
                  <a:gd name="T67" fmla="*/ 0 h 138"/>
                  <a:gd name="T68" fmla="*/ 269 w 490"/>
                  <a:gd name="T69" fmla="*/ 0 h 138"/>
                  <a:gd name="T70" fmla="*/ 237 w 490"/>
                  <a:gd name="T71" fmla="*/ 4 h 138"/>
                  <a:gd name="T72" fmla="*/ 206 w 490"/>
                  <a:gd name="T73" fmla="*/ 9 h 138"/>
                  <a:gd name="T74" fmla="*/ 175 w 490"/>
                  <a:gd name="T75" fmla="*/ 17 h 138"/>
                  <a:gd name="T76" fmla="*/ 146 w 490"/>
                  <a:gd name="T77" fmla="*/ 28 h 138"/>
                  <a:gd name="T78" fmla="*/ 118 w 490"/>
                  <a:gd name="T79" fmla="*/ 40 h 138"/>
                  <a:gd name="T80" fmla="*/ 91 w 490"/>
                  <a:gd name="T81" fmla="*/ 56 h 138"/>
                  <a:gd name="T82" fmla="*/ 66 w 490"/>
                  <a:gd name="T83" fmla="*/ 74 h 138"/>
                  <a:gd name="T84" fmla="*/ 41 w 490"/>
                  <a:gd name="T85" fmla="*/ 92 h 138"/>
                  <a:gd name="T86" fmla="*/ 19 w 490"/>
                  <a:gd name="T87" fmla="*/ 114 h 138"/>
                  <a:gd name="T88" fmla="*/ 0 w 490"/>
                  <a:gd name="T89" fmla="*/ 138 h 138"/>
                  <a:gd name="T90" fmla="*/ 0 w 490"/>
                  <a:gd name="T9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0" y="138"/>
                    </a:moveTo>
                    <a:lnTo>
                      <a:pt x="0" y="138"/>
                    </a:lnTo>
                    <a:lnTo>
                      <a:pt x="21" y="116"/>
                    </a:lnTo>
                    <a:lnTo>
                      <a:pt x="44" y="96"/>
                    </a:lnTo>
                    <a:lnTo>
                      <a:pt x="70" y="79"/>
                    </a:lnTo>
                    <a:lnTo>
                      <a:pt x="96" y="64"/>
                    </a:lnTo>
                    <a:lnTo>
                      <a:pt x="123" y="52"/>
                    </a:lnTo>
                    <a:lnTo>
                      <a:pt x="151" y="43"/>
                    </a:lnTo>
                    <a:lnTo>
                      <a:pt x="181" y="35"/>
                    </a:lnTo>
                    <a:lnTo>
                      <a:pt x="210" y="31"/>
                    </a:lnTo>
                    <a:lnTo>
                      <a:pt x="239" y="28"/>
                    </a:lnTo>
                    <a:lnTo>
                      <a:pt x="269" y="27"/>
                    </a:lnTo>
                    <a:lnTo>
                      <a:pt x="298" y="29"/>
                    </a:lnTo>
                    <a:lnTo>
                      <a:pt x="326" y="35"/>
                    </a:lnTo>
                    <a:lnTo>
                      <a:pt x="354" y="41"/>
                    </a:lnTo>
                    <a:lnTo>
                      <a:pt x="383" y="51"/>
                    </a:lnTo>
                    <a:lnTo>
                      <a:pt x="409" y="64"/>
                    </a:lnTo>
                    <a:lnTo>
                      <a:pt x="433" y="79"/>
                    </a:lnTo>
                    <a:lnTo>
                      <a:pt x="427" y="90"/>
                    </a:lnTo>
                    <a:lnTo>
                      <a:pt x="427" y="90"/>
                    </a:lnTo>
                    <a:lnTo>
                      <a:pt x="443" y="88"/>
                    </a:lnTo>
                    <a:lnTo>
                      <a:pt x="457" y="88"/>
                    </a:lnTo>
                    <a:lnTo>
                      <a:pt x="490" y="91"/>
                    </a:lnTo>
                    <a:lnTo>
                      <a:pt x="490" y="91"/>
                    </a:lnTo>
                    <a:lnTo>
                      <a:pt x="477" y="60"/>
                    </a:lnTo>
                    <a:lnTo>
                      <a:pt x="469" y="45"/>
                    </a:lnTo>
                    <a:lnTo>
                      <a:pt x="461" y="29"/>
                    </a:lnTo>
                    <a:lnTo>
                      <a:pt x="455" y="41"/>
                    </a:lnTo>
                    <a:lnTo>
                      <a:pt x="455" y="41"/>
                    </a:lnTo>
                    <a:lnTo>
                      <a:pt x="425" y="27"/>
                    </a:lnTo>
                    <a:lnTo>
                      <a:pt x="395" y="16"/>
                    </a:lnTo>
                    <a:lnTo>
                      <a:pt x="364" y="8"/>
                    </a:lnTo>
                    <a:lnTo>
                      <a:pt x="332" y="3"/>
                    </a:lnTo>
                    <a:lnTo>
                      <a:pt x="301" y="0"/>
                    </a:lnTo>
                    <a:lnTo>
                      <a:pt x="269" y="0"/>
                    </a:lnTo>
                    <a:lnTo>
                      <a:pt x="237" y="4"/>
                    </a:lnTo>
                    <a:lnTo>
                      <a:pt x="206" y="9"/>
                    </a:lnTo>
                    <a:lnTo>
                      <a:pt x="175" y="17"/>
                    </a:lnTo>
                    <a:lnTo>
                      <a:pt x="146" y="28"/>
                    </a:lnTo>
                    <a:lnTo>
                      <a:pt x="118" y="40"/>
                    </a:lnTo>
                    <a:lnTo>
                      <a:pt x="91" y="56"/>
                    </a:lnTo>
                    <a:lnTo>
                      <a:pt x="66" y="74"/>
                    </a:lnTo>
                    <a:lnTo>
                      <a:pt x="41" y="92"/>
                    </a:lnTo>
                    <a:lnTo>
                      <a:pt x="19" y="114"/>
                    </a:lnTo>
                    <a:lnTo>
                      <a:pt x="0" y="138"/>
                    </a:ln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grpSp>
        <p:grpSp>
          <p:nvGrpSpPr>
            <p:cNvPr id="7134" name="Graphic 2987">
              <a:extLst>
                <a:ext uri="{FF2B5EF4-FFF2-40B4-BE49-F238E27FC236}">
                  <a16:creationId xmlns:a16="http://schemas.microsoft.com/office/drawing/2014/main" id="{E7899141-F7FE-2A30-8FDF-2BF40E1F6BA6}"/>
                </a:ext>
              </a:extLst>
            </p:cNvPr>
            <p:cNvGrpSpPr/>
            <p:nvPr/>
          </p:nvGrpSpPr>
          <p:grpSpPr>
            <a:xfrm>
              <a:off x="5147620" y="3585279"/>
              <a:ext cx="230560" cy="306163"/>
              <a:chOff x="5579561" y="3590947"/>
              <a:chExt cx="230560" cy="306162"/>
            </a:xfrm>
            <a:solidFill>
              <a:schemeClr val="accent1"/>
            </a:solidFill>
          </p:grpSpPr>
          <p:sp>
            <p:nvSpPr>
              <p:cNvPr id="7135" name="Freeform 8806">
                <a:extLst>
                  <a:ext uri="{FF2B5EF4-FFF2-40B4-BE49-F238E27FC236}">
                    <a16:creationId xmlns:a16="http://schemas.microsoft.com/office/drawing/2014/main" id="{C935B185-3200-8315-ECC1-472494838072}"/>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6" name="Freeform 8807">
                <a:extLst>
                  <a:ext uri="{FF2B5EF4-FFF2-40B4-BE49-F238E27FC236}">
                    <a16:creationId xmlns:a16="http://schemas.microsoft.com/office/drawing/2014/main" id="{CA4B5022-A620-2BF8-6C87-99B7D83360DB}"/>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sp>
          <p:nvSpPr>
            <p:cNvPr id="7147" name="TextBox 5605">
              <a:extLst>
                <a:ext uri="{FF2B5EF4-FFF2-40B4-BE49-F238E27FC236}">
                  <a16:creationId xmlns:a16="http://schemas.microsoft.com/office/drawing/2014/main" id="{0BBA47AC-D6C7-1827-FCAC-B967F35B1FC6}"/>
                </a:ext>
              </a:extLst>
            </p:cNvPr>
            <p:cNvSpPr txBox="1"/>
            <p:nvPr/>
          </p:nvSpPr>
          <p:spPr>
            <a:xfrm>
              <a:off x="5578150" y="3348918"/>
              <a:ext cx="1147622" cy="523220"/>
            </a:xfrm>
            <a:prstGeom prst="rect">
              <a:avLst/>
            </a:prstGeom>
            <a:noFill/>
          </p:spPr>
          <p:txBody>
            <a:bodyPr wrap="none" rtlCol="0">
              <a:spAutoFit/>
            </a:bodyPr>
            <a:lstStyle/>
            <a:p>
              <a:pP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Amplificação</a:t>
              </a:r>
              <a:endParaRPr lang="en-US" sz="1400" b="1" dirty="0">
                <a:solidFill>
                  <a:schemeClr val="accent1"/>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iclo</a:t>
              </a:r>
              <a:endParaRPr lang="en-US" sz="1400" b="1" dirty="0">
                <a:solidFill>
                  <a:schemeClr val="accent1"/>
                </a:solidFill>
                <a:ea typeface="ヒラギノ角ゴ Pro W3" panose="020B0300000000000000" pitchFamily="34" charset="-128"/>
                <a:cs typeface="Arial"/>
                <a:sym typeface="Arial"/>
              </a:endParaRPr>
            </a:p>
          </p:txBody>
        </p:sp>
        <p:sp>
          <p:nvSpPr>
            <p:cNvPr id="7150" name="Freeform 8975">
              <a:extLst>
                <a:ext uri="{FF2B5EF4-FFF2-40B4-BE49-F238E27FC236}">
                  <a16:creationId xmlns:a16="http://schemas.microsoft.com/office/drawing/2014/main" id="{0A9540B6-6E49-B59F-678D-8F5E9F2FF790}"/>
                </a:ext>
              </a:extLst>
            </p:cNvPr>
            <p:cNvSpPr/>
            <p:nvPr/>
          </p:nvSpPr>
          <p:spPr>
            <a:xfrm>
              <a:off x="4897597" y="3738770"/>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4" name="Freeform 8974">
              <a:extLst>
                <a:ext uri="{FF2B5EF4-FFF2-40B4-BE49-F238E27FC236}">
                  <a16:creationId xmlns:a16="http://schemas.microsoft.com/office/drawing/2014/main" id="{D83A5ED8-3730-53F3-C908-32FB4E288086}"/>
                </a:ext>
              </a:extLst>
            </p:cNvPr>
            <p:cNvSpPr/>
            <p:nvPr/>
          </p:nvSpPr>
          <p:spPr>
            <a:xfrm>
              <a:off x="6033504" y="4036955"/>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55" name="TextBox 5614">
              <a:extLst>
                <a:ext uri="{FF2B5EF4-FFF2-40B4-BE49-F238E27FC236}">
                  <a16:creationId xmlns:a16="http://schemas.microsoft.com/office/drawing/2014/main" id="{DB14BAC0-B6B0-1BE6-266A-67F74A516E1B}"/>
                </a:ext>
              </a:extLst>
            </p:cNvPr>
            <p:cNvSpPr txBox="1"/>
            <p:nvPr/>
          </p:nvSpPr>
          <p:spPr>
            <a:xfrm>
              <a:off x="6021721" y="4093367"/>
              <a:ext cx="399468"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b</a:t>
              </a:r>
            </a:p>
          </p:txBody>
        </p:sp>
        <p:sp>
          <p:nvSpPr>
            <p:cNvPr id="7156" name="TextBox 5616">
              <a:extLst>
                <a:ext uri="{FF2B5EF4-FFF2-40B4-BE49-F238E27FC236}">
                  <a16:creationId xmlns:a16="http://schemas.microsoft.com/office/drawing/2014/main" id="{105F77D3-4361-8529-09F4-CDA975DA54BE}"/>
                </a:ext>
              </a:extLst>
            </p:cNvPr>
            <p:cNvSpPr txBox="1"/>
            <p:nvPr/>
          </p:nvSpPr>
          <p:spPr>
            <a:xfrm>
              <a:off x="4551649" y="3764628"/>
              <a:ext cx="393056"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accent1"/>
                  </a:solidFill>
                  <a:ea typeface="ヒラギノ角ゴ Pro W3" panose="020B0300000000000000" pitchFamily="34" charset="-128"/>
                  <a:cs typeface="Arial"/>
                  <a:sym typeface="Arial"/>
                </a:rPr>
                <a:t>C3a</a:t>
              </a:r>
            </a:p>
          </p:txBody>
        </p:sp>
        <p:sp>
          <p:nvSpPr>
            <p:cNvPr id="7164" name="TextBox 5625">
              <a:extLst>
                <a:ext uri="{FF2B5EF4-FFF2-40B4-BE49-F238E27FC236}">
                  <a16:creationId xmlns:a16="http://schemas.microsoft.com/office/drawing/2014/main" id="{140F391C-A2A2-E14C-47FD-D66DF5A6D784}"/>
                </a:ext>
              </a:extLst>
            </p:cNvPr>
            <p:cNvSpPr txBox="1"/>
            <p:nvPr/>
          </p:nvSpPr>
          <p:spPr>
            <a:xfrm>
              <a:off x="276344" y="2655396"/>
              <a:ext cx="2762792" cy="584775"/>
            </a:xfrm>
            <a:prstGeom prst="rect">
              <a:avLst/>
            </a:prstGeom>
            <a:noFill/>
          </p:spPr>
          <p:txBody>
            <a:bodyPr wrap="squar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accent1"/>
                  </a:solidFill>
                  <a:effectLst/>
                  <a:uLnTx/>
                  <a:uFillTx/>
                  <a:latin typeface="+mj-lt"/>
                  <a:ea typeface="ヒラギノ角ゴ Pro W3" panose="020B0300000000000000" pitchFamily="34" charset="-128"/>
                  <a:cs typeface="Arial"/>
                  <a:sym typeface="Arial"/>
                </a:rPr>
                <a:t>Complemento</a:t>
              </a:r>
              <a:endPar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endParaRPr>
            </a:p>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rPr>
                <a:t>Proximal </a:t>
              </a:r>
            </a:p>
          </p:txBody>
        </p:sp>
        <p:sp>
          <p:nvSpPr>
            <p:cNvPr id="7169" name="Freeform 8973">
              <a:extLst>
                <a:ext uri="{FF2B5EF4-FFF2-40B4-BE49-F238E27FC236}">
                  <a16:creationId xmlns:a16="http://schemas.microsoft.com/office/drawing/2014/main" id="{74B9A309-E7B8-16AC-866A-9DC628AC74D1}"/>
                </a:ext>
              </a:extLst>
            </p:cNvPr>
            <p:cNvSpPr/>
            <p:nvPr/>
          </p:nvSpPr>
          <p:spPr>
            <a:xfrm>
              <a:off x="5988179" y="2788682"/>
              <a:ext cx="291589" cy="428727"/>
            </a:xfrm>
            <a:custGeom>
              <a:avLst/>
              <a:gdLst>
                <a:gd name="connsiteX0" fmla="*/ 206392 w 291589"/>
                <a:gd name="connsiteY0" fmla="*/ 428728 h 428727"/>
                <a:gd name="connsiteX1" fmla="*/ 85197 w 291589"/>
                <a:gd name="connsiteY1" fmla="*/ 428728 h 428727"/>
                <a:gd name="connsiteX2" fmla="*/ 0 w 291589"/>
                <a:gd name="connsiteY2" fmla="*/ 343530 h 428727"/>
                <a:gd name="connsiteX3" fmla="*/ 0 w 291589"/>
                <a:gd name="connsiteY3" fmla="*/ 85197 h 428727"/>
                <a:gd name="connsiteX4" fmla="*/ 85197 w 291589"/>
                <a:gd name="connsiteY4" fmla="*/ 0 h 428727"/>
                <a:gd name="connsiteX5" fmla="*/ 206392 w 291589"/>
                <a:gd name="connsiteY5" fmla="*/ 0 h 428727"/>
                <a:gd name="connsiteX6" fmla="*/ 291590 w 291589"/>
                <a:gd name="connsiteY6" fmla="*/ 85197 h 428727"/>
                <a:gd name="connsiteX7" fmla="*/ 291590 w 291589"/>
                <a:gd name="connsiteY7" fmla="*/ 343530 h 428727"/>
                <a:gd name="connsiteX8" fmla="*/ 206392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6392" y="428728"/>
                  </a:moveTo>
                  <a:lnTo>
                    <a:pt x="85197" y="428728"/>
                  </a:lnTo>
                  <a:cubicBezTo>
                    <a:pt x="38115" y="428728"/>
                    <a:pt x="0" y="390613"/>
                    <a:pt x="0" y="343530"/>
                  </a:cubicBezTo>
                  <a:lnTo>
                    <a:pt x="0" y="85197"/>
                  </a:lnTo>
                  <a:cubicBezTo>
                    <a:pt x="0" y="38115"/>
                    <a:pt x="38115" y="0"/>
                    <a:pt x="85197" y="0"/>
                  </a:cubicBezTo>
                  <a:lnTo>
                    <a:pt x="206392" y="0"/>
                  </a:lnTo>
                  <a:cubicBezTo>
                    <a:pt x="253475" y="0"/>
                    <a:pt x="291590" y="38115"/>
                    <a:pt x="291590" y="85197"/>
                  </a:cubicBezTo>
                  <a:lnTo>
                    <a:pt x="291590" y="343530"/>
                  </a:lnTo>
                  <a:cubicBezTo>
                    <a:pt x="291590" y="390613"/>
                    <a:pt x="253475" y="428728"/>
                    <a:pt x="206392" y="428728"/>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70" name="TextBox 5632">
              <a:extLst>
                <a:ext uri="{FF2B5EF4-FFF2-40B4-BE49-F238E27FC236}">
                  <a16:creationId xmlns:a16="http://schemas.microsoft.com/office/drawing/2014/main" id="{6466CDE8-E9ED-780A-86AE-A8BE608E9A0E}"/>
                </a:ext>
              </a:extLst>
            </p:cNvPr>
            <p:cNvSpPr txBox="1"/>
            <p:nvPr/>
          </p:nvSpPr>
          <p:spPr>
            <a:xfrm>
              <a:off x="5975280" y="2872421"/>
              <a:ext cx="325729"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a:t>
              </a:r>
            </a:p>
          </p:txBody>
        </p:sp>
        <p:sp>
          <p:nvSpPr>
            <p:cNvPr id="7171" name="TextBox 5633">
              <a:extLst>
                <a:ext uri="{FF2B5EF4-FFF2-40B4-BE49-F238E27FC236}">
                  <a16:creationId xmlns:a16="http://schemas.microsoft.com/office/drawing/2014/main" id="{AF384C4C-0105-3F03-CC5B-5DA0ED274C7D}"/>
                </a:ext>
              </a:extLst>
            </p:cNvPr>
            <p:cNvSpPr txBox="1"/>
            <p:nvPr/>
          </p:nvSpPr>
          <p:spPr>
            <a:xfrm>
              <a:off x="71158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FFFFFF"/>
                  </a:solidFill>
                  <a:ea typeface="ヒラギノ角ゴ Pro W3" panose="020B0300000000000000" pitchFamily="34" charset="-128"/>
                  <a:cs typeface="Arial"/>
                  <a:sym typeface="Arial"/>
                </a:rPr>
                <a:t>C3b</a:t>
              </a:r>
            </a:p>
          </p:txBody>
        </p:sp>
        <p:sp>
          <p:nvSpPr>
            <p:cNvPr id="7202" name="TextBox 5669">
              <a:extLst>
                <a:ext uri="{FF2B5EF4-FFF2-40B4-BE49-F238E27FC236}">
                  <a16:creationId xmlns:a16="http://schemas.microsoft.com/office/drawing/2014/main" id="{95353DE7-9B04-8999-202A-0177CA2218CF}"/>
                </a:ext>
              </a:extLst>
            </p:cNvPr>
            <p:cNvSpPr txBox="1"/>
            <p:nvPr/>
          </p:nvSpPr>
          <p:spPr>
            <a:xfrm>
              <a:off x="5302172" y="2510649"/>
              <a:ext cx="1649736" cy="307777"/>
            </a:xfrm>
            <a:prstGeom prst="rect">
              <a:avLst/>
            </a:prstGeom>
            <a:noFill/>
          </p:spPr>
          <p:txBody>
            <a:bodyPr wrap="square" rtlCol="0">
              <a:spAutoFit/>
            </a:bodyPr>
            <a:lstStyle/>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onversão</a:t>
              </a:r>
              <a:r>
                <a:rPr lang="en-US" sz="1400" b="1" dirty="0">
                  <a:solidFill>
                    <a:schemeClr val="accent1"/>
                  </a:solidFill>
                  <a:ea typeface="ヒラギノ角ゴ Pro W3" panose="020B0300000000000000" pitchFamily="34" charset="-128"/>
                  <a:cs typeface="Arial"/>
                  <a:sym typeface="Arial"/>
                </a:rPr>
                <a:t> de C3</a:t>
              </a:r>
            </a:p>
          </p:txBody>
        </p:sp>
        <p:sp>
          <p:nvSpPr>
            <p:cNvPr id="7205" name="Rounded Rectangle 3632">
              <a:extLst>
                <a:ext uri="{FF2B5EF4-FFF2-40B4-BE49-F238E27FC236}">
                  <a16:creationId xmlns:a16="http://schemas.microsoft.com/office/drawing/2014/main" id="{06057863-CB17-A4DE-50B9-8324B81E0EE9}"/>
                </a:ext>
              </a:extLst>
            </p:cNvPr>
            <p:cNvSpPr/>
            <p:nvPr/>
          </p:nvSpPr>
          <p:spPr>
            <a:xfrm>
              <a:off x="2466894" y="3672741"/>
              <a:ext cx="1491853" cy="471050"/>
            </a:xfrm>
            <a:prstGeom prst="roundRect">
              <a:avLst>
                <a:gd name="adj" fmla="val 0"/>
              </a:avLst>
            </a:prstGeom>
            <a:solidFill>
              <a:srgbClr val="FFFFFF"/>
            </a:solidFill>
            <a:ln w="12700" cap="flat" cmpd="sng" algn="ctr">
              <a:solidFill>
                <a:schemeClr val="accent1"/>
              </a:solidFill>
              <a:prstDash val="sys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accent1"/>
                  </a:solidFill>
                  <a:effectLst/>
                  <a:uLnTx/>
                  <a:uFillTx/>
                  <a:cs typeface="Arial"/>
                </a:rPr>
                <a:t>Inflamação</a:t>
              </a:r>
              <a:endParaRPr kumimoji="0" lang="en-US" sz="1100" b="1" i="0" u="none" strike="noStrike" kern="0" cap="none" spc="0" normalizeH="0" baseline="0" noProof="0" dirty="0">
                <a:ln>
                  <a:noFill/>
                </a:ln>
                <a:solidFill>
                  <a:schemeClr val="accent1"/>
                </a:solidFill>
                <a:effectLst/>
                <a:uLnTx/>
                <a:uFillTx/>
                <a:cs typeface="Arial"/>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accent1"/>
                  </a:solidFill>
                  <a:effectLst/>
                  <a:uLnTx/>
                  <a:uFillTx/>
                  <a:cs typeface="Arial"/>
                </a:rPr>
                <a:t>Anafilaxia</a:t>
              </a:r>
              <a:endParaRPr kumimoji="0" lang="en-US" sz="1100" b="1" i="0" u="none" strike="noStrike" kern="0" cap="none" spc="0" normalizeH="0" baseline="0" noProof="0" dirty="0">
                <a:ln>
                  <a:noFill/>
                </a:ln>
                <a:solidFill>
                  <a:schemeClr val="accent1"/>
                </a:solidFill>
                <a:effectLst/>
                <a:uLnTx/>
                <a:uFillTx/>
                <a:cs typeface="Arial"/>
              </a:endParaRPr>
            </a:p>
          </p:txBody>
        </p:sp>
        <p:sp>
          <p:nvSpPr>
            <p:cNvPr id="7206" name="Right Arrow 3633">
              <a:extLst>
                <a:ext uri="{FF2B5EF4-FFF2-40B4-BE49-F238E27FC236}">
                  <a16:creationId xmlns:a16="http://schemas.microsoft.com/office/drawing/2014/main" id="{A7054FF7-7F17-3B2E-6B67-819B854E6A67}"/>
                </a:ext>
              </a:extLst>
            </p:cNvPr>
            <p:cNvSpPr/>
            <p:nvPr/>
          </p:nvSpPr>
          <p:spPr>
            <a:xfrm flipH="1" flipV="1">
              <a:off x="4060701" y="3776745"/>
              <a:ext cx="436880" cy="243840"/>
            </a:xfrm>
            <a:prstGeom prst="rightArrow">
              <a:avLst/>
            </a:prstGeom>
            <a:solidFill>
              <a:schemeClr val="accent1"/>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Arial" panose="020B0604020202020204" pitchFamily="34" charset="0"/>
              </a:endParaRPr>
            </a:p>
          </p:txBody>
        </p:sp>
        <p:sp>
          <p:nvSpPr>
            <p:cNvPr id="7207" name="Right Arrow 3634">
              <a:extLst>
                <a:ext uri="{FF2B5EF4-FFF2-40B4-BE49-F238E27FC236}">
                  <a16:creationId xmlns:a16="http://schemas.microsoft.com/office/drawing/2014/main" id="{E79084C1-7A43-677A-AEB4-108D8D2C9601}"/>
                </a:ext>
              </a:extLst>
            </p:cNvPr>
            <p:cNvSpPr/>
            <p:nvPr/>
          </p:nvSpPr>
          <p:spPr>
            <a:xfrm flipV="1">
              <a:off x="7732855" y="3776745"/>
              <a:ext cx="436880" cy="243840"/>
            </a:xfrm>
            <a:prstGeom prst="rightArrow">
              <a:avLst/>
            </a:prstGeom>
            <a:solidFill>
              <a:schemeClr val="accent1"/>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Arial" panose="020B0604020202020204" pitchFamily="34" charset="0"/>
              </a:endParaRPr>
            </a:p>
          </p:txBody>
        </p:sp>
        <p:sp>
          <p:nvSpPr>
            <p:cNvPr id="7208" name="Rounded Rectangle 3635">
              <a:extLst>
                <a:ext uri="{FF2B5EF4-FFF2-40B4-BE49-F238E27FC236}">
                  <a16:creationId xmlns:a16="http://schemas.microsoft.com/office/drawing/2014/main" id="{B7242F8A-496B-97AC-BC08-242F5F745DC0}"/>
                </a:ext>
              </a:extLst>
            </p:cNvPr>
            <p:cNvSpPr/>
            <p:nvPr/>
          </p:nvSpPr>
          <p:spPr>
            <a:xfrm>
              <a:off x="8284207" y="3672741"/>
              <a:ext cx="1491853" cy="471050"/>
            </a:xfrm>
            <a:prstGeom prst="roundRect">
              <a:avLst>
                <a:gd name="adj" fmla="val 0"/>
              </a:avLst>
            </a:prstGeom>
            <a:solidFill>
              <a:srgbClr val="FFFFFF"/>
            </a:solidFill>
            <a:ln w="12700" cap="flat" cmpd="sng" algn="ctr">
              <a:solidFill>
                <a:schemeClr val="accent1"/>
              </a:solidFill>
              <a:prstDash val="sys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cs typeface="Arial"/>
                </a:rPr>
                <a:t>Opsonização</a:t>
              </a:r>
            </a:p>
          </p:txBody>
        </p:sp>
        <p:sp>
          <p:nvSpPr>
            <p:cNvPr id="7209" name="Freeform 3672">
              <a:extLst>
                <a:ext uri="{FF2B5EF4-FFF2-40B4-BE49-F238E27FC236}">
                  <a16:creationId xmlns:a16="http://schemas.microsoft.com/office/drawing/2014/main" id="{460E699A-A47A-DDAC-E8AB-AF28240C106B}"/>
                </a:ext>
              </a:extLst>
            </p:cNvPr>
            <p:cNvSpPr/>
            <p:nvPr/>
          </p:nvSpPr>
          <p:spPr>
            <a:xfrm>
              <a:off x="7178478" y="3654033"/>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0" name="TextBox 5679">
              <a:extLst>
                <a:ext uri="{FF2B5EF4-FFF2-40B4-BE49-F238E27FC236}">
                  <a16:creationId xmlns:a16="http://schemas.microsoft.com/office/drawing/2014/main" id="{37152788-7C01-C169-DEB6-BAAE4239CAD9}"/>
                </a:ext>
              </a:extLst>
            </p:cNvPr>
            <p:cNvSpPr txBox="1"/>
            <p:nvPr/>
          </p:nvSpPr>
          <p:spPr>
            <a:xfrm>
              <a:off x="71666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FFFFFF"/>
                  </a:solidFill>
                  <a:ea typeface="ヒラギノ角ゴ Pro W3" panose="020B0300000000000000" pitchFamily="34" charset="-128"/>
                  <a:cs typeface="Arial"/>
                  <a:sym typeface="Arial"/>
                </a:rPr>
                <a:t>C3b</a:t>
              </a:r>
            </a:p>
          </p:txBody>
        </p:sp>
        <p:grpSp>
          <p:nvGrpSpPr>
            <p:cNvPr id="7211" name="Graphic 2987">
              <a:extLst>
                <a:ext uri="{FF2B5EF4-FFF2-40B4-BE49-F238E27FC236}">
                  <a16:creationId xmlns:a16="http://schemas.microsoft.com/office/drawing/2014/main" id="{5840535C-F5AE-99E2-06E6-451BE55346FC}"/>
                </a:ext>
              </a:extLst>
            </p:cNvPr>
            <p:cNvGrpSpPr/>
            <p:nvPr/>
          </p:nvGrpSpPr>
          <p:grpSpPr>
            <a:xfrm rot="2286810" flipH="1" flipV="1">
              <a:off x="6916689" y="3600573"/>
              <a:ext cx="230560" cy="306163"/>
              <a:chOff x="5579561" y="3590947"/>
              <a:chExt cx="230560" cy="306162"/>
            </a:xfrm>
            <a:solidFill>
              <a:schemeClr val="accent1"/>
            </a:solidFill>
          </p:grpSpPr>
          <p:sp>
            <p:nvSpPr>
              <p:cNvPr id="7212" name="Freeform 3675">
                <a:extLst>
                  <a:ext uri="{FF2B5EF4-FFF2-40B4-BE49-F238E27FC236}">
                    <a16:creationId xmlns:a16="http://schemas.microsoft.com/office/drawing/2014/main" id="{AF0C0EE8-94E4-B73D-D3E1-7EC2F1CF3791}"/>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3" name="Freeform 3676">
                <a:extLst>
                  <a:ext uri="{FF2B5EF4-FFF2-40B4-BE49-F238E27FC236}">
                    <a16:creationId xmlns:a16="http://schemas.microsoft.com/office/drawing/2014/main" id="{552B4669-50D8-4443-606E-9F3A3A8CFCD3}"/>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cxnSp>
          <p:nvCxnSpPr>
            <p:cNvPr id="7204" name="Straight Connector 5672">
              <a:extLst>
                <a:ext uri="{FF2B5EF4-FFF2-40B4-BE49-F238E27FC236}">
                  <a16:creationId xmlns:a16="http://schemas.microsoft.com/office/drawing/2014/main" id="{ACFF6347-1E42-122B-CAA6-7F6E66498F7B}"/>
                </a:ext>
              </a:extLst>
            </p:cNvPr>
            <p:cNvCxnSpPr>
              <a:cxnSpLocks/>
            </p:cNvCxnSpPr>
            <p:nvPr/>
          </p:nvCxnSpPr>
          <p:spPr>
            <a:xfrm>
              <a:off x="166909" y="4453901"/>
              <a:ext cx="11793926" cy="0"/>
            </a:xfrm>
            <a:prstGeom prst="line">
              <a:avLst/>
            </a:prstGeom>
            <a:noFill/>
            <a:ln w="19050" cap="flat" cmpd="sng" algn="ctr">
              <a:solidFill>
                <a:schemeClr val="bg1">
                  <a:lumMod val="65000"/>
                </a:schemeClr>
              </a:solidFill>
              <a:prstDash val="sysDash"/>
              <a:miter lim="800000"/>
            </a:ln>
            <a:effectLst/>
          </p:spPr>
        </p:cxnSp>
      </p:grpSp>
    </p:spTree>
    <p:extLst>
      <p:ext uri="{BB962C8B-B14F-4D97-AF65-F5344CB8AC3E}">
        <p14:creationId xmlns:p14="http://schemas.microsoft.com/office/powerpoint/2010/main" val="215893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15"/>
                                        </p:tgtEl>
                                        <p:attrNameLst>
                                          <p:attrName>style.visibility</p:attrName>
                                        </p:attrNameLst>
                                      </p:cBhvr>
                                      <p:to>
                                        <p:strVal val="visible"/>
                                      </p:to>
                                    </p:set>
                                    <p:animEffect transition="in" filter="fade">
                                      <p:cBhvr>
                                        <p:cTn id="7" dur="500"/>
                                        <p:tgtEl>
                                          <p:spTgt spid="7215"/>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7217"/>
                                        </p:tgtEl>
                                        <p:attrNameLst>
                                          <p:attrName>style.visibility</p:attrName>
                                        </p:attrNameLst>
                                      </p:cBhvr>
                                      <p:to>
                                        <p:strVal val="visible"/>
                                      </p:to>
                                    </p:set>
                                    <p:animEffect transition="in" filter="fade">
                                      <p:cBhvr>
                                        <p:cTn id="11" dur="500"/>
                                        <p:tgtEl>
                                          <p:spTgt spid="7217"/>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7218"/>
                                        </p:tgtEl>
                                        <p:attrNameLst>
                                          <p:attrName>style.visibility</p:attrName>
                                        </p:attrNameLst>
                                      </p:cBhvr>
                                      <p:to>
                                        <p:strVal val="visible"/>
                                      </p:to>
                                    </p:set>
                                    <p:animEffect transition="in" filter="fade">
                                      <p:cBhvr>
                                        <p:cTn id="15" dur="500"/>
                                        <p:tgtEl>
                                          <p:spTgt spid="7218"/>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par>
                          <p:cTn id="20" fill="hold">
                            <p:stCondLst>
                              <p:cond delay="3000"/>
                            </p:stCondLst>
                            <p:childTnLst>
                              <p:par>
                                <p:cTn id="21" presetID="10" presetClass="entr" presetSubtype="0" fill="hold" grpId="0" nodeType="afterEffect">
                                  <p:stCondLst>
                                    <p:cond delay="500"/>
                                  </p:stCondLst>
                                  <p:childTnLst>
                                    <p:set>
                                      <p:cBhvr>
                                        <p:cTn id="22" dur="1" fill="hold">
                                          <p:stCondLst>
                                            <p:cond delay="0"/>
                                          </p:stCondLst>
                                        </p:cTn>
                                        <p:tgtEl>
                                          <p:spTgt spid="7220"/>
                                        </p:tgtEl>
                                        <p:attrNameLst>
                                          <p:attrName>style.visibility</p:attrName>
                                        </p:attrNameLst>
                                      </p:cBhvr>
                                      <p:to>
                                        <p:strVal val="visible"/>
                                      </p:to>
                                    </p:set>
                                    <p:animEffect transition="in" filter="fade">
                                      <p:cBhvr>
                                        <p:cTn id="23" dur="500"/>
                                        <p:tgtEl>
                                          <p:spTgt spid="7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15" grpId="0" animBg="1"/>
      <p:bldP spid="72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5" name="Retângulo: Cantos Arredondados 7214">
            <a:extLst>
              <a:ext uri="{FF2B5EF4-FFF2-40B4-BE49-F238E27FC236}">
                <a16:creationId xmlns:a16="http://schemas.microsoft.com/office/drawing/2014/main" id="{769A6CAC-DC4D-55B6-191A-192E8DB4CC72}"/>
              </a:ext>
            </a:extLst>
          </p:cNvPr>
          <p:cNvSpPr/>
          <p:nvPr/>
        </p:nvSpPr>
        <p:spPr>
          <a:xfrm flipH="1">
            <a:off x="161813" y="952501"/>
            <a:ext cx="11799021" cy="524827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8" y="240866"/>
            <a:ext cx="11418809" cy="781752"/>
          </a:xfrm>
          <a:prstGeom prst="rect">
            <a:avLst/>
          </a:prstGeom>
          <a:noFill/>
        </p:spPr>
        <p:txBody>
          <a:bodyPr wrap="square" rtlCol="0">
            <a:spAutoFit/>
          </a:bodyPr>
          <a:lstStyle/>
          <a:p>
            <a:pPr lvl="0">
              <a:lnSpc>
                <a:spcPct val="80000"/>
              </a:lnSpc>
              <a:defRPr/>
            </a:pPr>
            <a:r>
              <a:rPr lang="pt-BR" sz="2800" b="1" dirty="0">
                <a:gradFill>
                  <a:gsLst>
                    <a:gs pos="0">
                      <a:schemeClr val="accent1"/>
                    </a:gs>
                    <a:gs pos="100000">
                      <a:schemeClr val="bg2"/>
                    </a:gs>
                  </a:gsLst>
                  <a:lin ang="2700000" scaled="0"/>
                </a:gradFill>
                <a:latin typeface="Calisto MT"/>
              </a:rPr>
              <a:t>O complemento terminal leva à formação do complexo de ataque à membrana e subsequente lise celular</a:t>
            </a:r>
            <a:r>
              <a:rPr lang="pt-BR" sz="2800" b="1" baseline="30000" dirty="0">
                <a:gradFill>
                  <a:gsLst>
                    <a:gs pos="0">
                      <a:schemeClr val="accent1"/>
                    </a:gs>
                    <a:gs pos="100000">
                      <a:schemeClr val="bg2"/>
                    </a:gs>
                  </a:gsLst>
                  <a:lin ang="2700000" scaled="0"/>
                </a:gradFill>
                <a:latin typeface="Calisto MT"/>
              </a:rPr>
              <a:t>1-3</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407988" y="6200775"/>
            <a:ext cx="10199052" cy="565786"/>
          </a:xfrm>
        </p:spPr>
        <p:txBody>
          <a:bodyPr/>
          <a:lstStyle/>
          <a:p>
            <a:pPr algn="l" fontAlgn="base"/>
            <a:r>
              <a:rPr lang="pt-BR" b="0" i="0" dirty="0">
                <a:solidFill>
                  <a:srgbClr val="1D1D1D"/>
                </a:solidFill>
                <a:effectLst/>
                <a:latin typeface="Arial" panose="020B0604020202020204" pitchFamily="34" charset="0"/>
              </a:rPr>
              <a:t>1. </a:t>
            </a:r>
            <a:r>
              <a:rPr lang="pt-BR" b="0" i="0" dirty="0" err="1">
                <a:solidFill>
                  <a:srgbClr val="1D1D1D"/>
                </a:solidFill>
                <a:effectLst/>
                <a:latin typeface="Arial" panose="020B0604020202020204" pitchFamily="34" charset="0"/>
              </a:rPr>
              <a:t>Dunkelberger</a:t>
            </a:r>
            <a:r>
              <a:rPr lang="pt-BR" b="0" i="0" dirty="0">
                <a:solidFill>
                  <a:srgbClr val="1D1D1D"/>
                </a:solidFill>
                <a:effectLst/>
                <a:latin typeface="Arial" panose="020B0604020202020204" pitchFamily="34" charset="0"/>
              </a:rPr>
              <a:t> JR, Song WC.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and</a:t>
            </a:r>
            <a:r>
              <a:rPr lang="pt-BR" b="0" i="0" dirty="0">
                <a:solidFill>
                  <a:srgbClr val="1D1D1D"/>
                </a:solidFill>
                <a:effectLst/>
                <a:latin typeface="Arial" panose="020B0604020202020204" pitchFamily="34" charset="0"/>
              </a:rPr>
              <a:t> its role in </a:t>
            </a:r>
            <a:r>
              <a:rPr lang="pt-BR" b="0" i="0" dirty="0" err="1">
                <a:solidFill>
                  <a:srgbClr val="1D1D1D"/>
                </a:solidFill>
                <a:effectLst/>
                <a:latin typeface="Arial" panose="020B0604020202020204" pitchFamily="34" charset="0"/>
              </a:rPr>
              <a:t>innat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and</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adaptiv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immune</a:t>
            </a:r>
            <a:r>
              <a:rPr lang="pt-BR" b="0" i="0" dirty="0">
                <a:solidFill>
                  <a:srgbClr val="1D1D1D"/>
                </a:solidFill>
                <a:effectLst/>
                <a:latin typeface="Arial" panose="020B0604020202020204" pitchFamily="34" charset="0"/>
              </a:rPr>
              <a:t> responses. </a:t>
            </a:r>
            <a:r>
              <a:rPr lang="pt-BR" b="0" i="0" dirty="0" err="1">
                <a:solidFill>
                  <a:srgbClr val="1D1D1D"/>
                </a:solidFill>
                <a:effectLst/>
                <a:latin typeface="Arial" panose="020B0604020202020204" pitchFamily="34" charset="0"/>
              </a:rPr>
              <a:t>Cell</a:t>
            </a:r>
            <a:r>
              <a:rPr lang="pt-BR" b="0" i="0" dirty="0">
                <a:solidFill>
                  <a:srgbClr val="1D1D1D"/>
                </a:solidFill>
                <a:effectLst/>
                <a:latin typeface="Arial" panose="020B0604020202020204" pitchFamily="34" charset="0"/>
              </a:rPr>
              <a:t> Res. 2010 Jan;20(1):34-50.</a:t>
            </a:r>
          </a:p>
          <a:p>
            <a:pPr algn="l" fontAlgn="base"/>
            <a:r>
              <a:rPr lang="pt-BR" b="0" i="0" dirty="0">
                <a:solidFill>
                  <a:srgbClr val="1D1D1D"/>
                </a:solidFill>
                <a:effectLst/>
                <a:latin typeface="Arial" panose="020B0604020202020204" pitchFamily="34" charset="0"/>
              </a:rPr>
              <a:t>2. </a:t>
            </a:r>
            <a:r>
              <a:rPr lang="pt-BR" b="0" i="0" dirty="0" err="1">
                <a:solidFill>
                  <a:srgbClr val="1D1D1D"/>
                </a:solidFill>
                <a:effectLst/>
                <a:latin typeface="Arial" panose="020B0604020202020204" pitchFamily="34" charset="0"/>
              </a:rPr>
              <a:t>Ricklin</a:t>
            </a:r>
            <a:r>
              <a:rPr lang="pt-BR" b="0" i="0" dirty="0">
                <a:solidFill>
                  <a:srgbClr val="1D1D1D"/>
                </a:solidFill>
                <a:effectLst/>
                <a:latin typeface="Arial" panose="020B0604020202020204" pitchFamily="34" charset="0"/>
              </a:rPr>
              <a:t> D, </a:t>
            </a:r>
            <a:r>
              <a:rPr lang="pt-BR" b="0" i="0" dirty="0" err="1">
                <a:solidFill>
                  <a:srgbClr val="1D1D1D"/>
                </a:solidFill>
                <a:effectLst/>
                <a:latin typeface="Arial" panose="020B0604020202020204" pitchFamily="34" charset="0"/>
              </a:rPr>
              <a:t>Mastellos</a:t>
            </a:r>
            <a:r>
              <a:rPr lang="pt-BR" b="0" i="0" dirty="0">
                <a:solidFill>
                  <a:srgbClr val="1D1D1D"/>
                </a:solidFill>
                <a:effectLst/>
                <a:latin typeface="Arial" panose="020B0604020202020204" pitchFamily="34" charset="0"/>
              </a:rPr>
              <a:t> DC, Lambris JD. </a:t>
            </a:r>
            <a:r>
              <a:rPr lang="pt-BR" b="0" i="0" dirty="0" err="1">
                <a:solidFill>
                  <a:srgbClr val="1D1D1D"/>
                </a:solidFill>
                <a:effectLst/>
                <a:latin typeface="Arial" panose="020B0604020202020204" pitchFamily="34" charset="0"/>
              </a:rPr>
              <a:t>Therapeutic</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argeting</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of</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he</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system. Nat </a:t>
            </a:r>
            <a:r>
              <a:rPr lang="pt-BR" b="0" i="0" dirty="0" err="1">
                <a:solidFill>
                  <a:srgbClr val="1D1D1D"/>
                </a:solidFill>
                <a:effectLst/>
                <a:latin typeface="Arial" panose="020B0604020202020204" pitchFamily="34" charset="0"/>
              </a:rPr>
              <a:t>Rev</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Drug</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Discov</a:t>
            </a:r>
            <a:r>
              <a:rPr lang="pt-BR" b="0" i="0" dirty="0">
                <a:solidFill>
                  <a:srgbClr val="1D1D1D"/>
                </a:solidFill>
                <a:effectLst/>
                <a:latin typeface="Arial" panose="020B0604020202020204" pitchFamily="34" charset="0"/>
              </a:rPr>
              <a:t> (2019).</a:t>
            </a:r>
          </a:p>
          <a:p>
            <a:pPr algn="l" fontAlgn="base"/>
            <a:r>
              <a:rPr lang="pt-BR" b="0" i="0" dirty="0">
                <a:solidFill>
                  <a:srgbClr val="1D1D1D"/>
                </a:solidFill>
                <a:effectLst/>
                <a:latin typeface="Arial" panose="020B0604020202020204" pitchFamily="34" charset="0"/>
              </a:rPr>
              <a:t>3. </a:t>
            </a:r>
            <a:r>
              <a:rPr lang="pt-BR" b="0" i="0" dirty="0" err="1">
                <a:solidFill>
                  <a:srgbClr val="1D1D1D"/>
                </a:solidFill>
                <a:effectLst/>
                <a:latin typeface="Arial" panose="020B0604020202020204" pitchFamily="34" charset="0"/>
              </a:rPr>
              <a:t>Walport</a:t>
            </a:r>
            <a:r>
              <a:rPr lang="pt-BR" b="0" i="0" dirty="0">
                <a:solidFill>
                  <a:srgbClr val="1D1D1D"/>
                </a:solidFill>
                <a:effectLst/>
                <a:latin typeface="Arial" panose="020B0604020202020204" pitchFamily="34" charset="0"/>
              </a:rPr>
              <a:t> MJ. </a:t>
            </a:r>
            <a:r>
              <a:rPr lang="pt-BR" b="0" i="0" dirty="0" err="1">
                <a:solidFill>
                  <a:srgbClr val="1D1D1D"/>
                </a:solidFill>
                <a:effectLst/>
                <a:latin typeface="Arial" panose="020B0604020202020204" pitchFamily="34" charset="0"/>
              </a:rPr>
              <a:t>Complemen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First</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of</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two</a:t>
            </a:r>
            <a:r>
              <a:rPr lang="pt-BR" b="0" i="0" dirty="0">
                <a:solidFill>
                  <a:srgbClr val="1D1D1D"/>
                </a:solidFill>
                <a:effectLst/>
                <a:latin typeface="Arial" panose="020B0604020202020204" pitchFamily="34" charset="0"/>
              </a:rPr>
              <a:t> </a:t>
            </a:r>
            <a:r>
              <a:rPr lang="pt-BR" b="0" i="0" dirty="0" err="1">
                <a:solidFill>
                  <a:srgbClr val="1D1D1D"/>
                </a:solidFill>
                <a:effectLst/>
                <a:latin typeface="Arial" panose="020B0604020202020204" pitchFamily="34" charset="0"/>
              </a:rPr>
              <a:t>parts</a:t>
            </a:r>
            <a:r>
              <a:rPr lang="pt-BR" b="0" i="0" dirty="0">
                <a:solidFill>
                  <a:srgbClr val="1D1D1D"/>
                </a:solidFill>
                <a:effectLst/>
                <a:latin typeface="Arial" panose="020B0604020202020204" pitchFamily="34" charset="0"/>
              </a:rPr>
              <a:t>. N </a:t>
            </a:r>
            <a:r>
              <a:rPr lang="pt-BR" b="0" i="0" dirty="0" err="1">
                <a:solidFill>
                  <a:srgbClr val="1D1D1D"/>
                </a:solidFill>
                <a:effectLst/>
                <a:latin typeface="Arial" panose="020B0604020202020204" pitchFamily="34" charset="0"/>
              </a:rPr>
              <a:t>Engl</a:t>
            </a:r>
            <a:r>
              <a:rPr lang="pt-BR" b="0" i="0" dirty="0">
                <a:solidFill>
                  <a:srgbClr val="1D1D1D"/>
                </a:solidFill>
                <a:effectLst/>
                <a:latin typeface="Arial" panose="020B0604020202020204" pitchFamily="34" charset="0"/>
              </a:rPr>
              <a:t> J Med. 2001 </a:t>
            </a:r>
            <a:r>
              <a:rPr lang="pt-BR" b="0" i="0" dirty="0" err="1">
                <a:solidFill>
                  <a:srgbClr val="1D1D1D"/>
                </a:solidFill>
                <a:effectLst/>
                <a:latin typeface="Arial" panose="020B0604020202020204" pitchFamily="34" charset="0"/>
              </a:rPr>
              <a:t>Apr</a:t>
            </a:r>
            <a:r>
              <a:rPr lang="pt-BR" b="0" i="0" dirty="0">
                <a:solidFill>
                  <a:srgbClr val="1D1D1D"/>
                </a:solidFill>
                <a:effectLst/>
                <a:latin typeface="Arial" panose="020B0604020202020204" pitchFamily="34" charset="0"/>
              </a:rPr>
              <a:t> 5;344(14):1058-66.</a:t>
            </a:r>
          </a:p>
        </p:txBody>
      </p:sp>
      <p:grpSp>
        <p:nvGrpSpPr>
          <p:cNvPr id="7217" name="Agrupar 7216">
            <a:extLst>
              <a:ext uri="{FF2B5EF4-FFF2-40B4-BE49-F238E27FC236}">
                <a16:creationId xmlns:a16="http://schemas.microsoft.com/office/drawing/2014/main" id="{DD7038F3-1480-5FBD-A92A-C3826D92E3A0}"/>
              </a:ext>
            </a:extLst>
          </p:cNvPr>
          <p:cNvGrpSpPr/>
          <p:nvPr/>
        </p:nvGrpSpPr>
        <p:grpSpPr>
          <a:xfrm>
            <a:off x="1118813" y="977364"/>
            <a:ext cx="10661325" cy="1784015"/>
            <a:chOff x="1118813" y="977364"/>
            <a:chExt cx="10661325" cy="1784015"/>
          </a:xfrm>
        </p:grpSpPr>
        <p:cxnSp>
          <p:nvCxnSpPr>
            <p:cNvPr id="3639" name="Straight Arrow Connector 160">
              <a:extLst>
                <a:ext uri="{FF2B5EF4-FFF2-40B4-BE49-F238E27FC236}">
                  <a16:creationId xmlns:a16="http://schemas.microsoft.com/office/drawing/2014/main" id="{C20F730F-0A9E-619C-363B-3C0B13B84AFB}"/>
                </a:ext>
              </a:extLst>
            </p:cNvPr>
            <p:cNvCxnSpPr/>
            <p:nvPr/>
          </p:nvCxnSpPr>
          <p:spPr>
            <a:xfrm rot="10800000" flipV="1">
              <a:off x="6994152" y="2128778"/>
              <a:ext cx="3873553" cy="616943"/>
            </a:xfrm>
            <a:prstGeom prst="bentConnector3">
              <a:avLst>
                <a:gd name="adj1" fmla="val 4311"/>
              </a:avLst>
            </a:prstGeom>
            <a:noFill/>
            <a:ln w="38100" cap="flat" cmpd="sng" algn="ctr">
              <a:solidFill>
                <a:schemeClr val="tx2"/>
              </a:solidFill>
              <a:prstDash val="solid"/>
              <a:miter lim="800000"/>
              <a:headEnd type="none" w="med" len="med"/>
              <a:tailEnd type="arrow" w="med" len="med"/>
            </a:ln>
            <a:effectLst/>
          </p:spPr>
        </p:cxnSp>
        <p:sp>
          <p:nvSpPr>
            <p:cNvPr id="3645" name="Freeform 2991">
              <a:extLst>
                <a:ext uri="{FF2B5EF4-FFF2-40B4-BE49-F238E27FC236}">
                  <a16:creationId xmlns:a16="http://schemas.microsoft.com/office/drawing/2014/main" id="{81DA05E4-91A5-6985-A1E3-BAA038BF7ED1}"/>
                </a:ext>
              </a:extLst>
            </p:cNvPr>
            <p:cNvSpPr/>
            <p:nvPr/>
          </p:nvSpPr>
          <p:spPr>
            <a:xfrm>
              <a:off x="2175774" y="1092056"/>
              <a:ext cx="7704639" cy="747347"/>
            </a:xfrm>
            <a:custGeom>
              <a:avLst/>
              <a:gdLst>
                <a:gd name="connsiteX0" fmla="*/ 0 w 7704639"/>
                <a:gd name="connsiteY0" fmla="*/ 0 h 747346"/>
                <a:gd name="connsiteX1" fmla="*/ 3852320 w 7704639"/>
                <a:gd name="connsiteY1" fmla="*/ 747346 h 747346"/>
                <a:gd name="connsiteX2" fmla="*/ 7704640 w 7704639"/>
                <a:gd name="connsiteY2" fmla="*/ 0 h 747346"/>
                <a:gd name="connsiteX3" fmla="*/ 0 w 7704639"/>
                <a:gd name="connsiteY3" fmla="*/ 0 h 747346"/>
              </a:gdLst>
              <a:ahLst/>
              <a:cxnLst>
                <a:cxn ang="0">
                  <a:pos x="connsiteX0" y="connsiteY0"/>
                </a:cxn>
                <a:cxn ang="0">
                  <a:pos x="connsiteX1" y="connsiteY1"/>
                </a:cxn>
                <a:cxn ang="0">
                  <a:pos x="connsiteX2" y="connsiteY2"/>
                </a:cxn>
                <a:cxn ang="0">
                  <a:pos x="connsiteX3" y="connsiteY3"/>
                </a:cxn>
              </a:cxnLst>
              <a:rect l="l" t="t" r="r" b="b"/>
              <a:pathLst>
                <a:path w="7704639" h="747346">
                  <a:moveTo>
                    <a:pt x="0" y="0"/>
                  </a:moveTo>
                  <a:cubicBezTo>
                    <a:pt x="905534" y="455632"/>
                    <a:pt x="2294726" y="747346"/>
                    <a:pt x="3852320" y="747346"/>
                  </a:cubicBezTo>
                  <a:cubicBezTo>
                    <a:pt x="5409914" y="747346"/>
                    <a:pt x="6799105" y="455632"/>
                    <a:pt x="7704640" y="0"/>
                  </a:cubicBezTo>
                  <a:lnTo>
                    <a:pt x="0" y="0"/>
                  </a:lnTo>
                  <a:close/>
                </a:path>
              </a:pathLst>
            </a:custGeom>
            <a:gradFill>
              <a:gsLst>
                <a:gs pos="99000">
                  <a:srgbClr val="B52455">
                    <a:lumMod val="60000"/>
                    <a:lumOff val="40000"/>
                  </a:srgbClr>
                </a:gs>
                <a:gs pos="0">
                  <a:srgbClr val="FFFFFF"/>
                </a:gs>
              </a:gsLst>
              <a:lin ang="54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37302C"/>
                  </a:solidFill>
                  <a:effectLst/>
                  <a:uLnTx/>
                  <a:uFillTx/>
                  <a:ea typeface="ヒラギノ角ゴ Pro W3" panose="020B0300000000000000" pitchFamily="34" charset="-128"/>
                  <a:cs typeface="Arial"/>
                </a:rPr>
                <a:t> </a:t>
              </a:r>
            </a:p>
          </p:txBody>
        </p:sp>
        <p:grpSp>
          <p:nvGrpSpPr>
            <p:cNvPr id="5243" name="Graphic 2987">
              <a:extLst>
                <a:ext uri="{FF2B5EF4-FFF2-40B4-BE49-F238E27FC236}">
                  <a16:creationId xmlns:a16="http://schemas.microsoft.com/office/drawing/2014/main" id="{F0493B4C-92C9-96EA-3626-3A081C3CE18B}"/>
                </a:ext>
              </a:extLst>
            </p:cNvPr>
            <p:cNvGrpSpPr/>
            <p:nvPr/>
          </p:nvGrpSpPr>
          <p:grpSpPr>
            <a:xfrm>
              <a:off x="2121649" y="977364"/>
              <a:ext cx="7845799" cy="865404"/>
              <a:chOff x="2121647" y="1092700"/>
              <a:chExt cx="7845799" cy="912627"/>
            </a:xfrm>
            <a:solidFill>
              <a:srgbClr val="B52455"/>
            </a:solidFill>
          </p:grpSpPr>
          <p:grpSp>
            <p:nvGrpSpPr>
              <p:cNvPr id="5244" name="Graphic 2987">
                <a:extLst>
                  <a:ext uri="{FF2B5EF4-FFF2-40B4-BE49-F238E27FC236}">
                    <a16:creationId xmlns:a16="http://schemas.microsoft.com/office/drawing/2014/main" id="{82507854-77DC-AA43-A891-8A2939BEBF46}"/>
                  </a:ext>
                </a:extLst>
              </p:cNvPr>
              <p:cNvGrpSpPr/>
              <p:nvPr/>
            </p:nvGrpSpPr>
            <p:grpSpPr>
              <a:xfrm>
                <a:off x="9884396" y="1092700"/>
                <a:ext cx="83050" cy="135033"/>
                <a:chOff x="9884396" y="1092700"/>
                <a:chExt cx="83050" cy="135033"/>
              </a:xfrm>
              <a:grpFill/>
            </p:grpSpPr>
            <p:sp>
              <p:nvSpPr>
                <p:cNvPr id="7128" name="Freeform 6909">
                  <a:extLst>
                    <a:ext uri="{FF2B5EF4-FFF2-40B4-BE49-F238E27FC236}">
                      <a16:creationId xmlns:a16="http://schemas.microsoft.com/office/drawing/2014/main" id="{5774D533-883D-89B4-21C4-53D855F24096}"/>
                    </a:ext>
                  </a:extLst>
                </p:cNvPr>
                <p:cNvSpPr/>
                <p:nvPr/>
              </p:nvSpPr>
              <p:spPr>
                <a:xfrm>
                  <a:off x="9930485" y="1160080"/>
                  <a:ext cx="23416" cy="46460"/>
                </a:xfrm>
                <a:custGeom>
                  <a:avLst/>
                  <a:gdLst>
                    <a:gd name="connsiteX0" fmla="*/ 23417 w 23416"/>
                    <a:gd name="connsiteY0" fmla="*/ 46460 h 46460"/>
                    <a:gd name="connsiteX1" fmla="*/ 16566 w 23416"/>
                    <a:gd name="connsiteY1" fmla="*/ 29022 h 46460"/>
                    <a:gd name="connsiteX2" fmla="*/ 5605 w 23416"/>
                    <a:gd name="connsiteY2" fmla="*/ 15445 h 46460"/>
                    <a:gd name="connsiteX3" fmla="*/ 0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23417" y="46460"/>
                      </a:moveTo>
                      <a:cubicBezTo>
                        <a:pt x="21922" y="38239"/>
                        <a:pt x="19057" y="32634"/>
                        <a:pt x="16566" y="29022"/>
                      </a:cubicBezTo>
                      <a:cubicBezTo>
                        <a:pt x="12705" y="23168"/>
                        <a:pt x="9342" y="21424"/>
                        <a:pt x="5605" y="15445"/>
                      </a:cubicBezTo>
                      <a:cubicBezTo>
                        <a:pt x="1993"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9" name="Freeform 6910">
                  <a:extLst>
                    <a:ext uri="{FF2B5EF4-FFF2-40B4-BE49-F238E27FC236}">
                      <a16:creationId xmlns:a16="http://schemas.microsoft.com/office/drawing/2014/main" id="{86A8AEA1-B52F-E653-CC98-2FED7C661755}"/>
                    </a:ext>
                  </a:extLst>
                </p:cNvPr>
                <p:cNvSpPr/>
                <p:nvPr/>
              </p:nvSpPr>
              <p:spPr>
                <a:xfrm>
                  <a:off x="9925254" y="1168176"/>
                  <a:ext cx="24537" cy="45961"/>
                </a:xfrm>
                <a:custGeom>
                  <a:avLst/>
                  <a:gdLst>
                    <a:gd name="connsiteX0" fmla="*/ 0 w 24537"/>
                    <a:gd name="connsiteY0" fmla="*/ 0 h 45961"/>
                    <a:gd name="connsiteX1" fmla="*/ 10338 w 24537"/>
                    <a:gd name="connsiteY1" fmla="*/ 15694 h 45961"/>
                    <a:gd name="connsiteX2" fmla="*/ 15071 w 24537"/>
                    <a:gd name="connsiteY2" fmla="*/ 32385 h 45961"/>
                    <a:gd name="connsiteX3" fmla="*/ 24537 w 24537"/>
                    <a:gd name="connsiteY3" fmla="*/ 45962 h 45961"/>
                  </a:gdLst>
                  <a:ahLst/>
                  <a:cxnLst>
                    <a:cxn ang="0">
                      <a:pos x="connsiteX0" y="connsiteY0"/>
                    </a:cxn>
                    <a:cxn ang="0">
                      <a:pos x="connsiteX1" y="connsiteY1"/>
                    </a:cxn>
                    <a:cxn ang="0">
                      <a:pos x="connsiteX2" y="connsiteY2"/>
                    </a:cxn>
                    <a:cxn ang="0">
                      <a:pos x="connsiteX3" y="connsiteY3"/>
                    </a:cxn>
                  </a:cxnLst>
                  <a:rect l="l" t="t" r="r" b="b"/>
                  <a:pathLst>
                    <a:path w="24537" h="45961">
                      <a:moveTo>
                        <a:pt x="0" y="0"/>
                      </a:moveTo>
                      <a:cubicBezTo>
                        <a:pt x="5979" y="5979"/>
                        <a:pt x="8843" y="11708"/>
                        <a:pt x="10338" y="15694"/>
                      </a:cubicBezTo>
                      <a:cubicBezTo>
                        <a:pt x="12829" y="22171"/>
                        <a:pt x="12331" y="25908"/>
                        <a:pt x="15071" y="32385"/>
                      </a:cubicBezTo>
                      <a:cubicBezTo>
                        <a:pt x="17812" y="38737"/>
                        <a:pt x="21673" y="43222"/>
                        <a:pt x="24537" y="4596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0" name="Freeform 6911">
                  <a:extLst>
                    <a:ext uri="{FF2B5EF4-FFF2-40B4-BE49-F238E27FC236}">
                      <a16:creationId xmlns:a16="http://schemas.microsoft.com/office/drawing/2014/main" id="{1144904F-183A-07EC-598C-3984F1CF5B62}"/>
                    </a:ext>
                  </a:extLst>
                </p:cNvPr>
                <p:cNvSpPr/>
                <p:nvPr/>
              </p:nvSpPr>
              <p:spPr>
                <a:xfrm>
                  <a:off x="9940379" y="1201391"/>
                  <a:ext cx="27068" cy="26342"/>
                </a:xfrm>
                <a:custGeom>
                  <a:avLst/>
                  <a:gdLst>
                    <a:gd name="connsiteX0" fmla="*/ 1440 w 27068"/>
                    <a:gd name="connsiteY0" fmla="*/ 19099 h 26342"/>
                    <a:gd name="connsiteX1" fmla="*/ 7420 w 27068"/>
                    <a:gd name="connsiteY1" fmla="*/ 1412 h 26342"/>
                    <a:gd name="connsiteX2" fmla="*/ 25605 w 27068"/>
                    <a:gd name="connsiteY2" fmla="*/ 7266 h 26342"/>
                    <a:gd name="connsiteX3" fmla="*/ 19626 w 27068"/>
                    <a:gd name="connsiteY3" fmla="*/ 24953 h 26342"/>
                    <a:gd name="connsiteX4" fmla="*/ 1440 w 27068"/>
                    <a:gd name="connsiteY4" fmla="*/ 19099 h 2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7" h="26342">
                      <a:moveTo>
                        <a:pt x="1440" y="19099"/>
                      </a:moveTo>
                      <a:cubicBezTo>
                        <a:pt x="-1922" y="12622"/>
                        <a:pt x="818" y="4650"/>
                        <a:pt x="7420" y="1412"/>
                      </a:cubicBezTo>
                      <a:cubicBezTo>
                        <a:pt x="14021" y="-1827"/>
                        <a:pt x="22242" y="664"/>
                        <a:pt x="25605" y="7266"/>
                      </a:cubicBezTo>
                      <a:cubicBezTo>
                        <a:pt x="28968" y="13743"/>
                        <a:pt x="26352" y="21715"/>
                        <a:pt x="19626" y="24953"/>
                      </a:cubicBezTo>
                      <a:cubicBezTo>
                        <a:pt x="12900" y="28192"/>
                        <a:pt x="4804" y="25576"/>
                        <a:pt x="1440" y="190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1" name="Freeform 6912">
                  <a:extLst>
                    <a:ext uri="{FF2B5EF4-FFF2-40B4-BE49-F238E27FC236}">
                      <a16:creationId xmlns:a16="http://schemas.microsoft.com/office/drawing/2014/main" id="{66967D44-7F0B-9926-AA2B-F88FC6A828A6}"/>
                    </a:ext>
                  </a:extLst>
                </p:cNvPr>
                <p:cNvSpPr/>
                <p:nvPr/>
              </p:nvSpPr>
              <p:spPr>
                <a:xfrm>
                  <a:off x="9897602" y="1113744"/>
                  <a:ext cx="23416" cy="46584"/>
                </a:xfrm>
                <a:custGeom>
                  <a:avLst/>
                  <a:gdLst>
                    <a:gd name="connsiteX0" fmla="*/ 0 w 23416"/>
                    <a:gd name="connsiteY0" fmla="*/ 0 h 46584"/>
                    <a:gd name="connsiteX1" fmla="*/ 6851 w 23416"/>
                    <a:gd name="connsiteY1" fmla="*/ 17438 h 46584"/>
                    <a:gd name="connsiteX2" fmla="*/ 17812 w 23416"/>
                    <a:gd name="connsiteY2" fmla="*/ 31139 h 46584"/>
                    <a:gd name="connsiteX3" fmla="*/ 23417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0" y="0"/>
                      </a:moveTo>
                      <a:cubicBezTo>
                        <a:pt x="1495" y="8221"/>
                        <a:pt x="4484" y="13826"/>
                        <a:pt x="6851" y="17438"/>
                      </a:cubicBezTo>
                      <a:cubicBezTo>
                        <a:pt x="10712" y="23292"/>
                        <a:pt x="14075" y="25036"/>
                        <a:pt x="17812" y="31139"/>
                      </a:cubicBezTo>
                      <a:cubicBezTo>
                        <a:pt x="21424" y="36994"/>
                        <a:pt x="22794" y="42723"/>
                        <a:pt x="23417"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2" name="Freeform 6913">
                  <a:extLst>
                    <a:ext uri="{FF2B5EF4-FFF2-40B4-BE49-F238E27FC236}">
                      <a16:creationId xmlns:a16="http://schemas.microsoft.com/office/drawing/2014/main" id="{801BD114-F000-503C-4885-27CEC8134232}"/>
                    </a:ext>
                  </a:extLst>
                </p:cNvPr>
                <p:cNvSpPr/>
                <p:nvPr/>
              </p:nvSpPr>
              <p:spPr>
                <a:xfrm>
                  <a:off x="9901463" y="1106146"/>
                  <a:ext cx="24662" cy="45961"/>
                </a:xfrm>
                <a:custGeom>
                  <a:avLst/>
                  <a:gdLst>
                    <a:gd name="connsiteX0" fmla="*/ 24662 w 24662"/>
                    <a:gd name="connsiteY0" fmla="*/ 45962 h 45961"/>
                    <a:gd name="connsiteX1" fmla="*/ 14324 w 24662"/>
                    <a:gd name="connsiteY1" fmla="*/ 30268 h 45961"/>
                    <a:gd name="connsiteX2" fmla="*/ 9467 w 24662"/>
                    <a:gd name="connsiteY2" fmla="*/ 13577 h 45961"/>
                    <a:gd name="connsiteX3" fmla="*/ 0 w 24662"/>
                    <a:gd name="connsiteY3" fmla="*/ 0 h 45961"/>
                  </a:gdLst>
                  <a:ahLst/>
                  <a:cxnLst>
                    <a:cxn ang="0">
                      <a:pos x="connsiteX0" y="connsiteY0"/>
                    </a:cxn>
                    <a:cxn ang="0">
                      <a:pos x="connsiteX1" y="connsiteY1"/>
                    </a:cxn>
                    <a:cxn ang="0">
                      <a:pos x="connsiteX2" y="connsiteY2"/>
                    </a:cxn>
                    <a:cxn ang="0">
                      <a:pos x="connsiteX3" y="connsiteY3"/>
                    </a:cxn>
                  </a:cxnLst>
                  <a:rect l="l" t="t" r="r" b="b"/>
                  <a:pathLst>
                    <a:path w="24662" h="45961">
                      <a:moveTo>
                        <a:pt x="24662" y="45962"/>
                      </a:moveTo>
                      <a:cubicBezTo>
                        <a:pt x="18684" y="39983"/>
                        <a:pt x="15819" y="34253"/>
                        <a:pt x="14324" y="30268"/>
                      </a:cubicBezTo>
                      <a:cubicBezTo>
                        <a:pt x="11833" y="23791"/>
                        <a:pt x="12331" y="20054"/>
                        <a:pt x="9467" y="13577"/>
                      </a:cubicBezTo>
                      <a:cubicBezTo>
                        <a:pt x="6726" y="7224"/>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3" name="Freeform 6914">
                  <a:extLst>
                    <a:ext uri="{FF2B5EF4-FFF2-40B4-BE49-F238E27FC236}">
                      <a16:creationId xmlns:a16="http://schemas.microsoft.com/office/drawing/2014/main" id="{3BC61FDB-DF1C-F304-89AF-87641BEEA0E6}"/>
                    </a:ext>
                  </a:extLst>
                </p:cNvPr>
                <p:cNvSpPr/>
                <p:nvPr/>
              </p:nvSpPr>
              <p:spPr>
                <a:xfrm>
                  <a:off x="9884396" y="1092700"/>
                  <a:ext cx="26410" cy="26269"/>
                </a:xfrm>
                <a:custGeom>
                  <a:avLst/>
                  <a:gdLst>
                    <a:gd name="connsiteX0" fmla="*/ 24914 w 26410"/>
                    <a:gd name="connsiteY0" fmla="*/ 7343 h 26269"/>
                    <a:gd name="connsiteX1" fmla="*/ 19308 w 26410"/>
                    <a:gd name="connsiteY1" fmla="*/ 24905 h 26269"/>
                    <a:gd name="connsiteX2" fmla="*/ 1497 w 26410"/>
                    <a:gd name="connsiteY2" fmla="*/ 18927 h 26269"/>
                    <a:gd name="connsiteX3" fmla="*/ 7102 w 26410"/>
                    <a:gd name="connsiteY3" fmla="*/ 1364 h 26269"/>
                    <a:gd name="connsiteX4" fmla="*/ 24914 w 26410"/>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269">
                      <a:moveTo>
                        <a:pt x="24914" y="7343"/>
                      </a:moveTo>
                      <a:cubicBezTo>
                        <a:pt x="28277" y="13820"/>
                        <a:pt x="25786" y="21667"/>
                        <a:pt x="19308" y="24905"/>
                      </a:cubicBezTo>
                      <a:cubicBezTo>
                        <a:pt x="12832" y="28144"/>
                        <a:pt x="4860" y="25404"/>
                        <a:pt x="1497" y="18927"/>
                      </a:cubicBezTo>
                      <a:cubicBezTo>
                        <a:pt x="-1867" y="12450"/>
                        <a:pt x="625" y="4602"/>
                        <a:pt x="7102" y="1364"/>
                      </a:cubicBezTo>
                      <a:cubicBezTo>
                        <a:pt x="13579" y="-1875"/>
                        <a:pt x="21426" y="866"/>
                        <a:pt x="24914"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5" name="Graphic 2987">
                <a:extLst>
                  <a:ext uri="{FF2B5EF4-FFF2-40B4-BE49-F238E27FC236}">
                    <a16:creationId xmlns:a16="http://schemas.microsoft.com/office/drawing/2014/main" id="{7C351F24-9EDF-F8C9-66C2-0BA19654C81F}"/>
                  </a:ext>
                </a:extLst>
              </p:cNvPr>
              <p:cNvGrpSpPr/>
              <p:nvPr/>
            </p:nvGrpSpPr>
            <p:grpSpPr>
              <a:xfrm>
                <a:off x="9858017" y="1105709"/>
                <a:ext cx="82378" cy="135352"/>
                <a:chOff x="9858017" y="1105709"/>
                <a:chExt cx="82378" cy="135352"/>
              </a:xfrm>
              <a:grpFill/>
            </p:grpSpPr>
            <p:sp>
              <p:nvSpPr>
                <p:cNvPr id="7122" name="Freeform 6916">
                  <a:extLst>
                    <a:ext uri="{FF2B5EF4-FFF2-40B4-BE49-F238E27FC236}">
                      <a16:creationId xmlns:a16="http://schemas.microsoft.com/office/drawing/2014/main" id="{39195410-C50C-2E88-D68C-8556E0F03CE8}"/>
                    </a:ext>
                  </a:extLst>
                </p:cNvPr>
                <p:cNvSpPr/>
                <p:nvPr/>
              </p:nvSpPr>
              <p:spPr>
                <a:xfrm>
                  <a:off x="9903954" y="1173034"/>
                  <a:ext cx="23042" cy="46833"/>
                </a:xfrm>
                <a:custGeom>
                  <a:avLst/>
                  <a:gdLst>
                    <a:gd name="connsiteX0" fmla="*/ 23043 w 23042"/>
                    <a:gd name="connsiteY0" fmla="*/ 46834 h 46833"/>
                    <a:gd name="connsiteX1" fmla="*/ 16317 w 23042"/>
                    <a:gd name="connsiteY1" fmla="*/ 29271 h 46833"/>
                    <a:gd name="connsiteX2" fmla="*/ 5481 w 23042"/>
                    <a:gd name="connsiteY2" fmla="*/ 15570 h 46833"/>
                    <a:gd name="connsiteX3" fmla="*/ 0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23043" y="46834"/>
                      </a:moveTo>
                      <a:cubicBezTo>
                        <a:pt x="21673" y="38613"/>
                        <a:pt x="18684" y="32883"/>
                        <a:pt x="16317" y="29271"/>
                      </a:cubicBezTo>
                      <a:cubicBezTo>
                        <a:pt x="12456" y="23417"/>
                        <a:pt x="9092" y="21673"/>
                        <a:pt x="5481" y="15570"/>
                      </a:cubicBezTo>
                      <a:cubicBezTo>
                        <a:pt x="1869" y="9715"/>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3" name="Freeform 6917">
                  <a:extLst>
                    <a:ext uri="{FF2B5EF4-FFF2-40B4-BE49-F238E27FC236}">
                      <a16:creationId xmlns:a16="http://schemas.microsoft.com/office/drawing/2014/main" id="{763E922C-4C95-BF1C-60E4-80A8522823C7}"/>
                    </a:ext>
                  </a:extLst>
                </p:cNvPr>
                <p:cNvSpPr/>
                <p:nvPr/>
              </p:nvSpPr>
              <p:spPr>
                <a:xfrm>
                  <a:off x="9898598" y="1181379"/>
                  <a:ext cx="24164" cy="46086"/>
                </a:xfrm>
                <a:custGeom>
                  <a:avLst/>
                  <a:gdLst>
                    <a:gd name="connsiteX0" fmla="*/ 0 w 24164"/>
                    <a:gd name="connsiteY0" fmla="*/ 0 h 46086"/>
                    <a:gd name="connsiteX1" fmla="*/ 10214 w 24164"/>
                    <a:gd name="connsiteY1" fmla="*/ 15819 h 46086"/>
                    <a:gd name="connsiteX2" fmla="*/ 14822 w 24164"/>
                    <a:gd name="connsiteY2" fmla="*/ 32510 h 46086"/>
                    <a:gd name="connsiteX3" fmla="*/ 24164 w 24164"/>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164" h="46086">
                      <a:moveTo>
                        <a:pt x="0" y="0"/>
                      </a:moveTo>
                      <a:cubicBezTo>
                        <a:pt x="5854" y="6103"/>
                        <a:pt x="8719" y="11708"/>
                        <a:pt x="10214" y="15819"/>
                      </a:cubicBezTo>
                      <a:cubicBezTo>
                        <a:pt x="12704" y="22420"/>
                        <a:pt x="12082" y="26033"/>
                        <a:pt x="14822" y="32510"/>
                      </a:cubicBezTo>
                      <a:cubicBezTo>
                        <a:pt x="17438" y="38862"/>
                        <a:pt x="21424" y="43346"/>
                        <a:pt x="24164"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4" name="Freeform 6918">
                  <a:extLst>
                    <a:ext uri="{FF2B5EF4-FFF2-40B4-BE49-F238E27FC236}">
                      <a16:creationId xmlns:a16="http://schemas.microsoft.com/office/drawing/2014/main" id="{5C93D6EE-BF69-3985-BD56-14440AC2A194}"/>
                    </a:ext>
                  </a:extLst>
                </p:cNvPr>
                <p:cNvSpPr/>
                <p:nvPr/>
              </p:nvSpPr>
              <p:spPr>
                <a:xfrm>
                  <a:off x="9913474" y="1214562"/>
                  <a:ext cx="26921" cy="26498"/>
                </a:xfrm>
                <a:custGeom>
                  <a:avLst/>
                  <a:gdLst>
                    <a:gd name="connsiteX0" fmla="*/ 1441 w 26921"/>
                    <a:gd name="connsiteY0" fmla="*/ 19256 h 26498"/>
                    <a:gd name="connsiteX1" fmla="*/ 7419 w 26921"/>
                    <a:gd name="connsiteY1" fmla="*/ 1444 h 26498"/>
                    <a:gd name="connsiteX2" fmla="*/ 25480 w 26921"/>
                    <a:gd name="connsiteY2" fmla="*/ 7298 h 26498"/>
                    <a:gd name="connsiteX3" fmla="*/ 19502 w 26921"/>
                    <a:gd name="connsiteY3" fmla="*/ 25110 h 26498"/>
                    <a:gd name="connsiteX4" fmla="*/ 1441 w 26921"/>
                    <a:gd name="connsiteY4" fmla="*/ 19256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1" h="26498">
                      <a:moveTo>
                        <a:pt x="1441" y="19256"/>
                      </a:moveTo>
                      <a:cubicBezTo>
                        <a:pt x="-1923" y="12779"/>
                        <a:pt x="818" y="4807"/>
                        <a:pt x="7419" y="1444"/>
                      </a:cubicBezTo>
                      <a:cubicBezTo>
                        <a:pt x="14021" y="-1919"/>
                        <a:pt x="22117" y="821"/>
                        <a:pt x="25480" y="7298"/>
                      </a:cubicBezTo>
                      <a:cubicBezTo>
                        <a:pt x="28844" y="13775"/>
                        <a:pt x="26103" y="21747"/>
                        <a:pt x="19502" y="25110"/>
                      </a:cubicBezTo>
                      <a:cubicBezTo>
                        <a:pt x="12775" y="28348"/>
                        <a:pt x="4679" y="25733"/>
                        <a:pt x="1441" y="192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5" name="Freeform 6919">
                  <a:extLst>
                    <a:ext uri="{FF2B5EF4-FFF2-40B4-BE49-F238E27FC236}">
                      <a16:creationId xmlns:a16="http://schemas.microsoft.com/office/drawing/2014/main" id="{CB7056BF-468D-676A-3F2C-DE753514C0FC}"/>
                    </a:ext>
                  </a:extLst>
                </p:cNvPr>
                <p:cNvSpPr/>
                <p:nvPr/>
              </p:nvSpPr>
              <p:spPr>
                <a:xfrm>
                  <a:off x="9871320" y="1126698"/>
                  <a:ext cx="23042" cy="46833"/>
                </a:xfrm>
                <a:custGeom>
                  <a:avLst/>
                  <a:gdLst>
                    <a:gd name="connsiteX0" fmla="*/ 0 w 23042"/>
                    <a:gd name="connsiteY0" fmla="*/ 0 h 46833"/>
                    <a:gd name="connsiteX1" fmla="*/ 6726 w 23042"/>
                    <a:gd name="connsiteY1" fmla="*/ 17563 h 46833"/>
                    <a:gd name="connsiteX2" fmla="*/ 17562 w 23042"/>
                    <a:gd name="connsiteY2" fmla="*/ 31264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1495" y="8221"/>
                        <a:pt x="4359" y="13950"/>
                        <a:pt x="6726" y="17563"/>
                      </a:cubicBezTo>
                      <a:cubicBezTo>
                        <a:pt x="10587" y="23417"/>
                        <a:pt x="13826" y="25161"/>
                        <a:pt x="17562" y="31264"/>
                      </a:cubicBezTo>
                      <a:cubicBezTo>
                        <a:pt x="21175" y="37243"/>
                        <a:pt x="22420" y="42848"/>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6" name="Freeform 6920">
                  <a:extLst>
                    <a:ext uri="{FF2B5EF4-FFF2-40B4-BE49-F238E27FC236}">
                      <a16:creationId xmlns:a16="http://schemas.microsoft.com/office/drawing/2014/main" id="{A86CFDB7-88A3-F5CE-DCED-3BFD17F2A8E2}"/>
                    </a:ext>
                  </a:extLst>
                </p:cNvPr>
                <p:cNvSpPr/>
                <p:nvPr/>
              </p:nvSpPr>
              <p:spPr>
                <a:xfrm>
                  <a:off x="9875181" y="1119100"/>
                  <a:ext cx="24413" cy="46086"/>
                </a:xfrm>
                <a:custGeom>
                  <a:avLst/>
                  <a:gdLst>
                    <a:gd name="connsiteX0" fmla="*/ 24414 w 24413"/>
                    <a:gd name="connsiteY0" fmla="*/ 46086 h 46086"/>
                    <a:gd name="connsiteX1" fmla="*/ 14075 w 24413"/>
                    <a:gd name="connsiteY1" fmla="*/ 30268 h 46086"/>
                    <a:gd name="connsiteX2" fmla="*/ 9342 w 24413"/>
                    <a:gd name="connsiteY2" fmla="*/ 13577 h 46086"/>
                    <a:gd name="connsiteX3" fmla="*/ 0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24414" y="46086"/>
                      </a:moveTo>
                      <a:cubicBezTo>
                        <a:pt x="18559" y="39983"/>
                        <a:pt x="15694" y="34378"/>
                        <a:pt x="14075" y="30268"/>
                      </a:cubicBezTo>
                      <a:cubicBezTo>
                        <a:pt x="11584" y="23666"/>
                        <a:pt x="12082" y="20054"/>
                        <a:pt x="9342" y="13577"/>
                      </a:cubicBezTo>
                      <a:cubicBezTo>
                        <a:pt x="6601" y="7224"/>
                        <a:pt x="2740"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7" name="Freeform 6921">
                  <a:extLst>
                    <a:ext uri="{FF2B5EF4-FFF2-40B4-BE49-F238E27FC236}">
                      <a16:creationId xmlns:a16="http://schemas.microsoft.com/office/drawing/2014/main" id="{8E7D0520-472B-5EFB-A79B-2FDBC55BF1C1}"/>
                    </a:ext>
                  </a:extLst>
                </p:cNvPr>
                <p:cNvSpPr/>
                <p:nvPr/>
              </p:nvSpPr>
              <p:spPr>
                <a:xfrm>
                  <a:off x="9858017" y="1105709"/>
                  <a:ext cx="26481" cy="26214"/>
                </a:xfrm>
                <a:custGeom>
                  <a:avLst/>
                  <a:gdLst>
                    <a:gd name="connsiteX0" fmla="*/ 25011 w 26481"/>
                    <a:gd name="connsiteY0" fmla="*/ 7288 h 26214"/>
                    <a:gd name="connsiteX1" fmla="*/ 19282 w 26481"/>
                    <a:gd name="connsiteY1" fmla="*/ 24851 h 26214"/>
                    <a:gd name="connsiteX2" fmla="*/ 1470 w 26481"/>
                    <a:gd name="connsiteY2" fmla="*/ 18872 h 26214"/>
                    <a:gd name="connsiteX3" fmla="*/ 7200 w 26481"/>
                    <a:gd name="connsiteY3" fmla="*/ 1309 h 26214"/>
                    <a:gd name="connsiteX4" fmla="*/ 25011 w 26481"/>
                    <a:gd name="connsiteY4" fmla="*/ 7288 h 26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81" h="26213">
                      <a:moveTo>
                        <a:pt x="25011" y="7288"/>
                      </a:moveTo>
                      <a:cubicBezTo>
                        <a:pt x="28374" y="13765"/>
                        <a:pt x="25759" y="21737"/>
                        <a:pt x="19282" y="24851"/>
                      </a:cubicBezTo>
                      <a:cubicBezTo>
                        <a:pt x="12804" y="28089"/>
                        <a:pt x="4833" y="25349"/>
                        <a:pt x="1470" y="18872"/>
                      </a:cubicBezTo>
                      <a:cubicBezTo>
                        <a:pt x="-1893" y="12395"/>
                        <a:pt x="723" y="4423"/>
                        <a:pt x="7200" y="1309"/>
                      </a:cubicBezTo>
                      <a:cubicBezTo>
                        <a:pt x="13676" y="-1804"/>
                        <a:pt x="21648" y="811"/>
                        <a:pt x="25011" y="72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6" name="Graphic 2987">
                <a:extLst>
                  <a:ext uri="{FF2B5EF4-FFF2-40B4-BE49-F238E27FC236}">
                    <a16:creationId xmlns:a16="http://schemas.microsoft.com/office/drawing/2014/main" id="{B37FFFE4-8A86-20F9-E5F0-0B2F2CDF7E71}"/>
                  </a:ext>
                </a:extLst>
              </p:cNvPr>
              <p:cNvGrpSpPr/>
              <p:nvPr/>
            </p:nvGrpSpPr>
            <p:grpSpPr>
              <a:xfrm>
                <a:off x="9832062" y="1118541"/>
                <a:ext cx="81425" cy="135847"/>
                <a:chOff x="9832062" y="1118541"/>
                <a:chExt cx="81425" cy="135847"/>
              </a:xfrm>
              <a:grpFill/>
            </p:grpSpPr>
            <p:sp>
              <p:nvSpPr>
                <p:cNvPr id="7116" name="Freeform 6923">
                  <a:extLst>
                    <a:ext uri="{FF2B5EF4-FFF2-40B4-BE49-F238E27FC236}">
                      <a16:creationId xmlns:a16="http://schemas.microsoft.com/office/drawing/2014/main" id="{93432972-E7A0-01E6-DFE6-3803054E6CDD}"/>
                    </a:ext>
                  </a:extLst>
                </p:cNvPr>
                <p:cNvSpPr/>
                <p:nvPr/>
              </p:nvSpPr>
              <p:spPr>
                <a:xfrm>
                  <a:off x="9877423" y="1186361"/>
                  <a:ext cx="22669" cy="46833"/>
                </a:xfrm>
                <a:custGeom>
                  <a:avLst/>
                  <a:gdLst>
                    <a:gd name="connsiteX0" fmla="*/ 22670 w 22669"/>
                    <a:gd name="connsiteY0" fmla="*/ 46834 h 46833"/>
                    <a:gd name="connsiteX1" fmla="*/ 16068 w 22669"/>
                    <a:gd name="connsiteY1" fmla="*/ 29271 h 46833"/>
                    <a:gd name="connsiteX2" fmla="*/ 5356 w 22669"/>
                    <a:gd name="connsiteY2" fmla="*/ 15570 h 46833"/>
                    <a:gd name="connsiteX3" fmla="*/ 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22670" y="46834"/>
                      </a:moveTo>
                      <a:cubicBezTo>
                        <a:pt x="21300" y="38488"/>
                        <a:pt x="18434" y="32883"/>
                        <a:pt x="16068" y="29271"/>
                      </a:cubicBezTo>
                      <a:cubicBezTo>
                        <a:pt x="12206" y="23417"/>
                        <a:pt x="8968" y="21673"/>
                        <a:pt x="5356" y="15570"/>
                      </a:cubicBezTo>
                      <a:cubicBezTo>
                        <a:pt x="1869" y="9591"/>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7" name="Freeform 6924">
                  <a:extLst>
                    <a:ext uri="{FF2B5EF4-FFF2-40B4-BE49-F238E27FC236}">
                      <a16:creationId xmlns:a16="http://schemas.microsoft.com/office/drawing/2014/main" id="{F002B82C-A2E6-24BA-D6DF-F0D6FB4EC031}"/>
                    </a:ext>
                  </a:extLst>
                </p:cNvPr>
                <p:cNvSpPr/>
                <p:nvPr/>
              </p:nvSpPr>
              <p:spPr>
                <a:xfrm>
                  <a:off x="9871943" y="1194458"/>
                  <a:ext cx="24164" cy="46335"/>
                </a:xfrm>
                <a:custGeom>
                  <a:avLst/>
                  <a:gdLst>
                    <a:gd name="connsiteX0" fmla="*/ 0 w 24164"/>
                    <a:gd name="connsiteY0" fmla="*/ 0 h 46335"/>
                    <a:gd name="connsiteX1" fmla="*/ 10214 w 24164"/>
                    <a:gd name="connsiteY1" fmla="*/ 15819 h 46335"/>
                    <a:gd name="connsiteX2" fmla="*/ 14822 w 24164"/>
                    <a:gd name="connsiteY2" fmla="*/ 32634 h 46335"/>
                    <a:gd name="connsiteX3" fmla="*/ 24164 w 24164"/>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4164" h="46335">
                      <a:moveTo>
                        <a:pt x="0" y="0"/>
                      </a:moveTo>
                      <a:cubicBezTo>
                        <a:pt x="5855" y="6103"/>
                        <a:pt x="8719" y="11708"/>
                        <a:pt x="10214" y="15819"/>
                      </a:cubicBezTo>
                      <a:cubicBezTo>
                        <a:pt x="12580" y="22420"/>
                        <a:pt x="12082" y="26033"/>
                        <a:pt x="14822" y="32634"/>
                      </a:cubicBezTo>
                      <a:cubicBezTo>
                        <a:pt x="17438" y="38987"/>
                        <a:pt x="21300" y="43471"/>
                        <a:pt x="24164"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8" name="Freeform 6925">
                  <a:extLst>
                    <a:ext uri="{FF2B5EF4-FFF2-40B4-BE49-F238E27FC236}">
                      <a16:creationId xmlns:a16="http://schemas.microsoft.com/office/drawing/2014/main" id="{E15E4BCA-82C0-778F-CB01-BA7B825BFCAD}"/>
                    </a:ext>
                  </a:extLst>
                </p:cNvPr>
                <p:cNvSpPr/>
                <p:nvPr/>
              </p:nvSpPr>
              <p:spPr>
                <a:xfrm>
                  <a:off x="9886525" y="1227945"/>
                  <a:ext cx="26962" cy="26444"/>
                </a:xfrm>
                <a:custGeom>
                  <a:avLst/>
                  <a:gdLst>
                    <a:gd name="connsiteX0" fmla="*/ 1361 w 26962"/>
                    <a:gd name="connsiteY0" fmla="*/ 19201 h 26444"/>
                    <a:gd name="connsiteX1" fmla="*/ 7464 w 26962"/>
                    <a:gd name="connsiteY1" fmla="*/ 1389 h 26444"/>
                    <a:gd name="connsiteX2" fmla="*/ 25525 w 26962"/>
                    <a:gd name="connsiteY2" fmla="*/ 7243 h 26444"/>
                    <a:gd name="connsiteX3" fmla="*/ 19421 w 26962"/>
                    <a:gd name="connsiteY3" fmla="*/ 25055 h 26444"/>
                    <a:gd name="connsiteX4" fmla="*/ 1361 w 26962"/>
                    <a:gd name="connsiteY4" fmla="*/ 19201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2" h="26444">
                      <a:moveTo>
                        <a:pt x="1361" y="19201"/>
                      </a:moveTo>
                      <a:cubicBezTo>
                        <a:pt x="-1877" y="12599"/>
                        <a:pt x="862" y="4628"/>
                        <a:pt x="7464" y="1389"/>
                      </a:cubicBezTo>
                      <a:cubicBezTo>
                        <a:pt x="14066" y="-1849"/>
                        <a:pt x="22162" y="766"/>
                        <a:pt x="25525" y="7243"/>
                      </a:cubicBezTo>
                      <a:cubicBezTo>
                        <a:pt x="28888" y="13720"/>
                        <a:pt x="26148" y="21692"/>
                        <a:pt x="19421" y="25055"/>
                      </a:cubicBezTo>
                      <a:cubicBezTo>
                        <a:pt x="12696" y="28294"/>
                        <a:pt x="4599" y="25678"/>
                        <a:pt x="1361" y="192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9" name="Freeform 6926">
                  <a:extLst>
                    <a:ext uri="{FF2B5EF4-FFF2-40B4-BE49-F238E27FC236}">
                      <a16:creationId xmlns:a16="http://schemas.microsoft.com/office/drawing/2014/main" id="{CDC01959-0164-10A9-A7C8-C2411159C3BA}"/>
                    </a:ext>
                  </a:extLst>
                </p:cNvPr>
                <p:cNvSpPr/>
                <p:nvPr/>
              </p:nvSpPr>
              <p:spPr>
                <a:xfrm>
                  <a:off x="9845039" y="1139652"/>
                  <a:ext cx="22668" cy="46958"/>
                </a:xfrm>
                <a:custGeom>
                  <a:avLst/>
                  <a:gdLst>
                    <a:gd name="connsiteX0" fmla="*/ 0 w 22668"/>
                    <a:gd name="connsiteY0" fmla="*/ 0 h 46958"/>
                    <a:gd name="connsiteX1" fmla="*/ 6601 w 22668"/>
                    <a:gd name="connsiteY1" fmla="*/ 17563 h 46958"/>
                    <a:gd name="connsiteX2" fmla="*/ 17313 w 22668"/>
                    <a:gd name="connsiteY2" fmla="*/ 31389 h 46958"/>
                    <a:gd name="connsiteX3" fmla="*/ 22669 w 22668"/>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8" h="46958">
                      <a:moveTo>
                        <a:pt x="0" y="0"/>
                      </a:moveTo>
                      <a:cubicBezTo>
                        <a:pt x="1370" y="8221"/>
                        <a:pt x="4235" y="13950"/>
                        <a:pt x="6601" y="17563"/>
                      </a:cubicBezTo>
                      <a:cubicBezTo>
                        <a:pt x="10462" y="23417"/>
                        <a:pt x="13701" y="25285"/>
                        <a:pt x="17313" y="31389"/>
                      </a:cubicBezTo>
                      <a:cubicBezTo>
                        <a:pt x="20801" y="37367"/>
                        <a:pt x="22171" y="43097"/>
                        <a:pt x="22669"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0" name="Freeform 6927">
                  <a:extLst>
                    <a:ext uri="{FF2B5EF4-FFF2-40B4-BE49-F238E27FC236}">
                      <a16:creationId xmlns:a16="http://schemas.microsoft.com/office/drawing/2014/main" id="{7FB14392-88CB-DE2D-5D73-2528D40C71B0}"/>
                    </a:ext>
                  </a:extLst>
                </p:cNvPr>
                <p:cNvSpPr/>
                <p:nvPr/>
              </p:nvSpPr>
              <p:spPr>
                <a:xfrm>
                  <a:off x="9849024" y="1132054"/>
                  <a:ext cx="24040" cy="46335"/>
                </a:xfrm>
                <a:custGeom>
                  <a:avLst/>
                  <a:gdLst>
                    <a:gd name="connsiteX0" fmla="*/ 24040 w 24040"/>
                    <a:gd name="connsiteY0" fmla="*/ 46335 h 46335"/>
                    <a:gd name="connsiteX1" fmla="*/ 13826 w 24040"/>
                    <a:gd name="connsiteY1" fmla="*/ 30517 h 46335"/>
                    <a:gd name="connsiteX2" fmla="*/ 9218 w 24040"/>
                    <a:gd name="connsiteY2" fmla="*/ 13701 h 46335"/>
                    <a:gd name="connsiteX3" fmla="*/ 0 w 24040"/>
                    <a:gd name="connsiteY3" fmla="*/ 0 h 46335"/>
                  </a:gdLst>
                  <a:ahLst/>
                  <a:cxnLst>
                    <a:cxn ang="0">
                      <a:pos x="connsiteX0" y="connsiteY0"/>
                    </a:cxn>
                    <a:cxn ang="0">
                      <a:pos x="connsiteX1" y="connsiteY1"/>
                    </a:cxn>
                    <a:cxn ang="0">
                      <a:pos x="connsiteX2" y="connsiteY2"/>
                    </a:cxn>
                    <a:cxn ang="0">
                      <a:pos x="connsiteX3" y="connsiteY3"/>
                    </a:cxn>
                  </a:cxnLst>
                  <a:rect l="l" t="t" r="r" b="b"/>
                  <a:pathLst>
                    <a:path w="24040" h="46335">
                      <a:moveTo>
                        <a:pt x="24040" y="46335"/>
                      </a:moveTo>
                      <a:cubicBezTo>
                        <a:pt x="18186" y="40232"/>
                        <a:pt x="15321" y="34627"/>
                        <a:pt x="13826" y="30517"/>
                      </a:cubicBezTo>
                      <a:cubicBezTo>
                        <a:pt x="11460" y="23915"/>
                        <a:pt x="11958" y="20303"/>
                        <a:pt x="9218" y="13701"/>
                      </a:cubicBezTo>
                      <a:cubicBezTo>
                        <a:pt x="6602" y="7349"/>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1" name="Freeform 6928">
                  <a:extLst>
                    <a:ext uri="{FF2B5EF4-FFF2-40B4-BE49-F238E27FC236}">
                      <a16:creationId xmlns:a16="http://schemas.microsoft.com/office/drawing/2014/main" id="{2E0DAA56-0EC5-2E38-64A4-BA5296362DB5}"/>
                    </a:ext>
                  </a:extLst>
                </p:cNvPr>
                <p:cNvSpPr/>
                <p:nvPr/>
              </p:nvSpPr>
              <p:spPr>
                <a:xfrm>
                  <a:off x="9832062" y="1118541"/>
                  <a:ext cx="26278" cy="26458"/>
                </a:xfrm>
                <a:custGeom>
                  <a:avLst/>
                  <a:gdLst>
                    <a:gd name="connsiteX0" fmla="*/ 24809 w 26278"/>
                    <a:gd name="connsiteY0" fmla="*/ 7410 h 26458"/>
                    <a:gd name="connsiteX1" fmla="*/ 19080 w 26278"/>
                    <a:gd name="connsiteY1" fmla="*/ 25097 h 26458"/>
                    <a:gd name="connsiteX2" fmla="*/ 1392 w 26278"/>
                    <a:gd name="connsiteY2" fmla="*/ 18994 h 26458"/>
                    <a:gd name="connsiteX3" fmla="*/ 7122 w 26278"/>
                    <a:gd name="connsiteY3" fmla="*/ 1307 h 26458"/>
                    <a:gd name="connsiteX4" fmla="*/ 24809 w 26278"/>
                    <a:gd name="connsiteY4" fmla="*/ 7410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58">
                      <a:moveTo>
                        <a:pt x="24809" y="7410"/>
                      </a:moveTo>
                      <a:cubicBezTo>
                        <a:pt x="28172" y="13887"/>
                        <a:pt x="25556" y="21859"/>
                        <a:pt x="19080" y="25097"/>
                      </a:cubicBezTo>
                      <a:cubicBezTo>
                        <a:pt x="12602" y="28336"/>
                        <a:pt x="4630" y="25595"/>
                        <a:pt x="1392" y="18994"/>
                      </a:cubicBezTo>
                      <a:cubicBezTo>
                        <a:pt x="-1846" y="12392"/>
                        <a:pt x="769" y="4545"/>
                        <a:pt x="7122" y="1307"/>
                      </a:cubicBezTo>
                      <a:cubicBezTo>
                        <a:pt x="13599" y="-1807"/>
                        <a:pt x="21446" y="808"/>
                        <a:pt x="24809" y="74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7" name="Graphic 2987">
                <a:extLst>
                  <a:ext uri="{FF2B5EF4-FFF2-40B4-BE49-F238E27FC236}">
                    <a16:creationId xmlns:a16="http://schemas.microsoft.com/office/drawing/2014/main" id="{F71BBEDD-DBCC-0F5F-8B1F-3C48DE22A78C}"/>
                  </a:ext>
                </a:extLst>
              </p:cNvPr>
              <p:cNvGrpSpPr/>
              <p:nvPr/>
            </p:nvGrpSpPr>
            <p:grpSpPr>
              <a:xfrm>
                <a:off x="9805783" y="1131440"/>
                <a:ext cx="80720" cy="136375"/>
                <a:chOff x="9805783" y="1131440"/>
                <a:chExt cx="80720" cy="136375"/>
              </a:xfrm>
              <a:grpFill/>
            </p:grpSpPr>
            <p:sp>
              <p:nvSpPr>
                <p:cNvPr id="7110" name="Freeform 6930">
                  <a:extLst>
                    <a:ext uri="{FF2B5EF4-FFF2-40B4-BE49-F238E27FC236}">
                      <a16:creationId xmlns:a16="http://schemas.microsoft.com/office/drawing/2014/main" id="{E3F1D9F2-0391-8E54-E22C-2D03F38692F3}"/>
                    </a:ext>
                  </a:extLst>
                </p:cNvPr>
                <p:cNvSpPr/>
                <p:nvPr/>
              </p:nvSpPr>
              <p:spPr>
                <a:xfrm>
                  <a:off x="9850643" y="1199440"/>
                  <a:ext cx="22544" cy="47082"/>
                </a:xfrm>
                <a:custGeom>
                  <a:avLst/>
                  <a:gdLst>
                    <a:gd name="connsiteX0" fmla="*/ 22545 w 22544"/>
                    <a:gd name="connsiteY0" fmla="*/ 47083 h 47082"/>
                    <a:gd name="connsiteX1" fmla="*/ 16068 w 22544"/>
                    <a:gd name="connsiteY1" fmla="*/ 29396 h 47082"/>
                    <a:gd name="connsiteX2" fmla="*/ 5357 w 22544"/>
                    <a:gd name="connsiteY2" fmla="*/ 15570 h 47082"/>
                    <a:gd name="connsiteX3" fmla="*/ 0 w 22544"/>
                    <a:gd name="connsiteY3" fmla="*/ 0 h 47082"/>
                  </a:gdLst>
                  <a:ahLst/>
                  <a:cxnLst>
                    <a:cxn ang="0">
                      <a:pos x="connsiteX0" y="connsiteY0"/>
                    </a:cxn>
                    <a:cxn ang="0">
                      <a:pos x="connsiteX1" y="connsiteY1"/>
                    </a:cxn>
                    <a:cxn ang="0">
                      <a:pos x="connsiteX2" y="connsiteY2"/>
                    </a:cxn>
                    <a:cxn ang="0">
                      <a:pos x="connsiteX3" y="connsiteY3"/>
                    </a:cxn>
                  </a:cxnLst>
                  <a:rect l="l" t="t" r="r" b="b"/>
                  <a:pathLst>
                    <a:path w="22544" h="47082">
                      <a:moveTo>
                        <a:pt x="22545" y="47083"/>
                      </a:moveTo>
                      <a:cubicBezTo>
                        <a:pt x="21175" y="38737"/>
                        <a:pt x="18435" y="33132"/>
                        <a:pt x="16068" y="29396"/>
                      </a:cubicBezTo>
                      <a:cubicBezTo>
                        <a:pt x="12332" y="23541"/>
                        <a:pt x="8969" y="21673"/>
                        <a:pt x="5357" y="15570"/>
                      </a:cubicBezTo>
                      <a:cubicBezTo>
                        <a:pt x="1869"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1" name="Freeform 6931">
                  <a:extLst>
                    <a:ext uri="{FF2B5EF4-FFF2-40B4-BE49-F238E27FC236}">
                      <a16:creationId xmlns:a16="http://schemas.microsoft.com/office/drawing/2014/main" id="{723EA3E7-8164-C677-F031-6BCAF34DD509}"/>
                    </a:ext>
                  </a:extLst>
                </p:cNvPr>
                <p:cNvSpPr/>
                <p:nvPr/>
              </p:nvSpPr>
              <p:spPr>
                <a:xfrm>
                  <a:off x="9845412" y="1207661"/>
                  <a:ext cx="23790" cy="46460"/>
                </a:xfrm>
                <a:custGeom>
                  <a:avLst/>
                  <a:gdLst>
                    <a:gd name="connsiteX0" fmla="*/ 0 w 23790"/>
                    <a:gd name="connsiteY0" fmla="*/ 0 h 46460"/>
                    <a:gd name="connsiteX1" fmla="*/ 10089 w 23790"/>
                    <a:gd name="connsiteY1" fmla="*/ 15943 h 46460"/>
                    <a:gd name="connsiteX2" fmla="*/ 14573 w 23790"/>
                    <a:gd name="connsiteY2" fmla="*/ 32759 h 46460"/>
                    <a:gd name="connsiteX3" fmla="*/ 23791 w 23790"/>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790" h="46460">
                      <a:moveTo>
                        <a:pt x="0" y="0"/>
                      </a:moveTo>
                      <a:cubicBezTo>
                        <a:pt x="5730" y="6103"/>
                        <a:pt x="8595" y="11833"/>
                        <a:pt x="10089" y="15943"/>
                      </a:cubicBezTo>
                      <a:cubicBezTo>
                        <a:pt x="12456" y="22545"/>
                        <a:pt x="11833" y="26157"/>
                        <a:pt x="14573" y="32759"/>
                      </a:cubicBezTo>
                      <a:cubicBezTo>
                        <a:pt x="17189" y="39111"/>
                        <a:pt x="20926" y="43720"/>
                        <a:pt x="23791"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2" name="Freeform 6932">
                  <a:extLst>
                    <a:ext uri="{FF2B5EF4-FFF2-40B4-BE49-F238E27FC236}">
                      <a16:creationId xmlns:a16="http://schemas.microsoft.com/office/drawing/2014/main" id="{94D40368-90BE-7BD4-A01F-35A1F6B1F9E5}"/>
                    </a:ext>
                  </a:extLst>
                </p:cNvPr>
                <p:cNvSpPr/>
                <p:nvPr/>
              </p:nvSpPr>
              <p:spPr>
                <a:xfrm>
                  <a:off x="9859623" y="1241275"/>
                  <a:ext cx="26880" cy="26540"/>
                </a:xfrm>
                <a:custGeom>
                  <a:avLst/>
                  <a:gdLst>
                    <a:gd name="connsiteX0" fmla="*/ 1358 w 26880"/>
                    <a:gd name="connsiteY0" fmla="*/ 19198 h 26540"/>
                    <a:gd name="connsiteX1" fmla="*/ 7586 w 26880"/>
                    <a:gd name="connsiteY1" fmla="*/ 1386 h 26540"/>
                    <a:gd name="connsiteX2" fmla="*/ 25522 w 26880"/>
                    <a:gd name="connsiteY2" fmla="*/ 7365 h 26540"/>
                    <a:gd name="connsiteX3" fmla="*/ 19295 w 26880"/>
                    <a:gd name="connsiteY3" fmla="*/ 25177 h 26540"/>
                    <a:gd name="connsiteX4" fmla="*/ 1358 w 26880"/>
                    <a:gd name="connsiteY4" fmla="*/ 19198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540">
                      <a:moveTo>
                        <a:pt x="1358" y="19198"/>
                      </a:moveTo>
                      <a:cubicBezTo>
                        <a:pt x="-1880" y="12596"/>
                        <a:pt x="860" y="4625"/>
                        <a:pt x="7586" y="1386"/>
                      </a:cubicBezTo>
                      <a:cubicBezTo>
                        <a:pt x="14312" y="-1852"/>
                        <a:pt x="22284" y="763"/>
                        <a:pt x="25522" y="7365"/>
                      </a:cubicBezTo>
                      <a:cubicBezTo>
                        <a:pt x="28761" y="13966"/>
                        <a:pt x="26020" y="21938"/>
                        <a:pt x="19295" y="25177"/>
                      </a:cubicBezTo>
                      <a:cubicBezTo>
                        <a:pt x="12569" y="28415"/>
                        <a:pt x="4597" y="25675"/>
                        <a:pt x="1358" y="19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3" name="Freeform 6933">
                  <a:extLst>
                    <a:ext uri="{FF2B5EF4-FFF2-40B4-BE49-F238E27FC236}">
                      <a16:creationId xmlns:a16="http://schemas.microsoft.com/office/drawing/2014/main" id="{487C13E7-6CDE-4F84-89AB-3A32FA9D8A9F}"/>
                    </a:ext>
                  </a:extLst>
                </p:cNvPr>
                <p:cNvSpPr/>
                <p:nvPr/>
              </p:nvSpPr>
              <p:spPr>
                <a:xfrm>
                  <a:off x="9818756" y="1152606"/>
                  <a:ext cx="22296" cy="47207"/>
                </a:xfrm>
                <a:custGeom>
                  <a:avLst/>
                  <a:gdLst>
                    <a:gd name="connsiteX0" fmla="*/ 0 w 22296"/>
                    <a:gd name="connsiteY0" fmla="*/ 0 h 47207"/>
                    <a:gd name="connsiteX1" fmla="*/ 6477 w 22296"/>
                    <a:gd name="connsiteY1" fmla="*/ 17687 h 47207"/>
                    <a:gd name="connsiteX2" fmla="*/ 17064 w 22296"/>
                    <a:gd name="connsiteY2" fmla="*/ 31513 h 47207"/>
                    <a:gd name="connsiteX3" fmla="*/ 22296 w 2229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6" h="47207">
                      <a:moveTo>
                        <a:pt x="0" y="0"/>
                      </a:moveTo>
                      <a:cubicBezTo>
                        <a:pt x="1371" y="8345"/>
                        <a:pt x="4111" y="13950"/>
                        <a:pt x="6477" y="17687"/>
                      </a:cubicBezTo>
                      <a:cubicBezTo>
                        <a:pt x="10214" y="23541"/>
                        <a:pt x="13452" y="25410"/>
                        <a:pt x="17064" y="31513"/>
                      </a:cubicBezTo>
                      <a:cubicBezTo>
                        <a:pt x="20552" y="37492"/>
                        <a:pt x="21798" y="43222"/>
                        <a:pt x="2229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4" name="Freeform 6934">
                  <a:extLst>
                    <a:ext uri="{FF2B5EF4-FFF2-40B4-BE49-F238E27FC236}">
                      <a16:creationId xmlns:a16="http://schemas.microsoft.com/office/drawing/2014/main" id="{FE5633E5-F8CC-22FE-6D08-10F42B5FBF93}"/>
                    </a:ext>
                  </a:extLst>
                </p:cNvPr>
                <p:cNvSpPr/>
                <p:nvPr/>
              </p:nvSpPr>
              <p:spPr>
                <a:xfrm>
                  <a:off x="9822742" y="1145008"/>
                  <a:ext cx="23790" cy="46460"/>
                </a:xfrm>
                <a:custGeom>
                  <a:avLst/>
                  <a:gdLst>
                    <a:gd name="connsiteX0" fmla="*/ 23791 w 23790"/>
                    <a:gd name="connsiteY0" fmla="*/ 46460 h 46460"/>
                    <a:gd name="connsiteX1" fmla="*/ 13702 w 23790"/>
                    <a:gd name="connsiteY1" fmla="*/ 30517 h 46460"/>
                    <a:gd name="connsiteX2" fmla="*/ 9217 w 23790"/>
                    <a:gd name="connsiteY2" fmla="*/ 13701 h 46460"/>
                    <a:gd name="connsiteX3" fmla="*/ 0 w 23790"/>
                    <a:gd name="connsiteY3" fmla="*/ 0 h 46460"/>
                  </a:gdLst>
                  <a:ahLst/>
                  <a:cxnLst>
                    <a:cxn ang="0">
                      <a:pos x="connsiteX0" y="connsiteY0"/>
                    </a:cxn>
                    <a:cxn ang="0">
                      <a:pos x="connsiteX1" y="connsiteY1"/>
                    </a:cxn>
                    <a:cxn ang="0">
                      <a:pos x="connsiteX2" y="connsiteY2"/>
                    </a:cxn>
                    <a:cxn ang="0">
                      <a:pos x="connsiteX3" y="connsiteY3"/>
                    </a:cxn>
                  </a:cxnLst>
                  <a:rect l="l" t="t" r="r" b="b"/>
                  <a:pathLst>
                    <a:path w="23790" h="46460">
                      <a:moveTo>
                        <a:pt x="23791" y="46460"/>
                      </a:moveTo>
                      <a:cubicBezTo>
                        <a:pt x="18061" y="40357"/>
                        <a:pt x="15196" y="34627"/>
                        <a:pt x="13702" y="30517"/>
                      </a:cubicBezTo>
                      <a:cubicBezTo>
                        <a:pt x="11335" y="23915"/>
                        <a:pt x="11833" y="20303"/>
                        <a:pt x="9217" y="13701"/>
                      </a:cubicBezTo>
                      <a:cubicBezTo>
                        <a:pt x="6602" y="7349"/>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5" name="Freeform 6935">
                  <a:extLst>
                    <a:ext uri="{FF2B5EF4-FFF2-40B4-BE49-F238E27FC236}">
                      <a16:creationId xmlns:a16="http://schemas.microsoft.com/office/drawing/2014/main" id="{0F721558-07A3-9E68-A7B2-447A478DF8FE}"/>
                    </a:ext>
                  </a:extLst>
                </p:cNvPr>
                <p:cNvSpPr/>
                <p:nvPr/>
              </p:nvSpPr>
              <p:spPr>
                <a:xfrm>
                  <a:off x="9805783" y="1131440"/>
                  <a:ext cx="26195" cy="26512"/>
                </a:xfrm>
                <a:custGeom>
                  <a:avLst/>
                  <a:gdLst>
                    <a:gd name="connsiteX0" fmla="*/ 24806 w 26195"/>
                    <a:gd name="connsiteY0" fmla="*/ 7464 h 26512"/>
                    <a:gd name="connsiteX1" fmla="*/ 18952 w 26195"/>
                    <a:gd name="connsiteY1" fmla="*/ 25152 h 26512"/>
                    <a:gd name="connsiteX2" fmla="*/ 1389 w 26195"/>
                    <a:gd name="connsiteY2" fmla="*/ 19048 h 26512"/>
                    <a:gd name="connsiteX3" fmla="*/ 7244 w 26195"/>
                    <a:gd name="connsiteY3" fmla="*/ 1361 h 26512"/>
                    <a:gd name="connsiteX4" fmla="*/ 24806 w 26195"/>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12">
                      <a:moveTo>
                        <a:pt x="24806" y="7464"/>
                      </a:moveTo>
                      <a:cubicBezTo>
                        <a:pt x="28045" y="14066"/>
                        <a:pt x="25429" y="21913"/>
                        <a:pt x="18952" y="25152"/>
                      </a:cubicBezTo>
                      <a:cubicBezTo>
                        <a:pt x="12475" y="28390"/>
                        <a:pt x="4628" y="25650"/>
                        <a:pt x="1389" y="19048"/>
                      </a:cubicBezTo>
                      <a:cubicBezTo>
                        <a:pt x="-1850" y="12447"/>
                        <a:pt x="766" y="4600"/>
                        <a:pt x="7244" y="1361"/>
                      </a:cubicBezTo>
                      <a:cubicBezTo>
                        <a:pt x="13720" y="-1877"/>
                        <a:pt x="21567" y="863"/>
                        <a:pt x="24806"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8" name="Graphic 2987">
                <a:extLst>
                  <a:ext uri="{FF2B5EF4-FFF2-40B4-BE49-F238E27FC236}">
                    <a16:creationId xmlns:a16="http://schemas.microsoft.com/office/drawing/2014/main" id="{F016E2C4-6B0A-8FBB-400D-1652296E5251}"/>
                  </a:ext>
                </a:extLst>
              </p:cNvPr>
              <p:cNvGrpSpPr/>
              <p:nvPr/>
            </p:nvGrpSpPr>
            <p:grpSpPr>
              <a:xfrm>
                <a:off x="9779582" y="1144394"/>
                <a:ext cx="79747" cy="136771"/>
                <a:chOff x="9779582" y="1144394"/>
                <a:chExt cx="79747" cy="136771"/>
              </a:xfrm>
              <a:grpFill/>
            </p:grpSpPr>
            <p:sp>
              <p:nvSpPr>
                <p:cNvPr id="7104" name="Freeform 6937">
                  <a:extLst>
                    <a:ext uri="{FF2B5EF4-FFF2-40B4-BE49-F238E27FC236}">
                      <a16:creationId xmlns:a16="http://schemas.microsoft.com/office/drawing/2014/main" id="{D95CE10E-3E76-264E-6115-B375A628517C}"/>
                    </a:ext>
                  </a:extLst>
                </p:cNvPr>
                <p:cNvSpPr/>
                <p:nvPr/>
              </p:nvSpPr>
              <p:spPr>
                <a:xfrm>
                  <a:off x="9824112" y="1212518"/>
                  <a:ext cx="22171" cy="47207"/>
                </a:xfrm>
                <a:custGeom>
                  <a:avLst/>
                  <a:gdLst>
                    <a:gd name="connsiteX0" fmla="*/ 22172 w 22171"/>
                    <a:gd name="connsiteY0" fmla="*/ 47207 h 47207"/>
                    <a:gd name="connsiteX1" fmla="*/ 15819 w 22171"/>
                    <a:gd name="connsiteY1" fmla="*/ 29520 h 47207"/>
                    <a:gd name="connsiteX2" fmla="*/ 5232 w 22171"/>
                    <a:gd name="connsiteY2" fmla="*/ 15694 h 47207"/>
                    <a:gd name="connsiteX3" fmla="*/ 0 w 22171"/>
                    <a:gd name="connsiteY3" fmla="*/ 0 h 47207"/>
                  </a:gdLst>
                  <a:ahLst/>
                  <a:cxnLst>
                    <a:cxn ang="0">
                      <a:pos x="connsiteX0" y="connsiteY0"/>
                    </a:cxn>
                    <a:cxn ang="0">
                      <a:pos x="connsiteX1" y="connsiteY1"/>
                    </a:cxn>
                    <a:cxn ang="0">
                      <a:pos x="connsiteX2" y="connsiteY2"/>
                    </a:cxn>
                    <a:cxn ang="0">
                      <a:pos x="connsiteX3" y="connsiteY3"/>
                    </a:cxn>
                  </a:cxnLst>
                  <a:rect l="l" t="t" r="r" b="b"/>
                  <a:pathLst>
                    <a:path w="22171" h="47207">
                      <a:moveTo>
                        <a:pt x="22172" y="47207"/>
                      </a:moveTo>
                      <a:cubicBezTo>
                        <a:pt x="20926" y="38862"/>
                        <a:pt x="18061" y="33132"/>
                        <a:pt x="15819" y="29520"/>
                      </a:cubicBezTo>
                      <a:cubicBezTo>
                        <a:pt x="12082" y="23666"/>
                        <a:pt x="8844" y="21798"/>
                        <a:pt x="5232" y="15694"/>
                      </a:cubicBezTo>
                      <a:cubicBezTo>
                        <a:pt x="1744" y="9715"/>
                        <a:pt x="49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5" name="Freeform 6938">
                  <a:extLst>
                    <a:ext uri="{FF2B5EF4-FFF2-40B4-BE49-F238E27FC236}">
                      <a16:creationId xmlns:a16="http://schemas.microsoft.com/office/drawing/2014/main" id="{A44BDDEB-49F4-C954-3F15-4775875F7BC0}"/>
                    </a:ext>
                  </a:extLst>
                </p:cNvPr>
                <p:cNvSpPr/>
                <p:nvPr/>
              </p:nvSpPr>
              <p:spPr>
                <a:xfrm>
                  <a:off x="9818756" y="1220864"/>
                  <a:ext cx="23416" cy="46709"/>
                </a:xfrm>
                <a:custGeom>
                  <a:avLst/>
                  <a:gdLst>
                    <a:gd name="connsiteX0" fmla="*/ 0 w 23416"/>
                    <a:gd name="connsiteY0" fmla="*/ 0 h 46709"/>
                    <a:gd name="connsiteX1" fmla="*/ 9965 w 23416"/>
                    <a:gd name="connsiteY1" fmla="*/ 15943 h 46709"/>
                    <a:gd name="connsiteX2" fmla="*/ 14324 w 23416"/>
                    <a:gd name="connsiteY2" fmla="*/ 32883 h 46709"/>
                    <a:gd name="connsiteX3" fmla="*/ 23417 w 23416"/>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416" h="46709">
                      <a:moveTo>
                        <a:pt x="0" y="0"/>
                      </a:moveTo>
                      <a:cubicBezTo>
                        <a:pt x="5730" y="6103"/>
                        <a:pt x="8470" y="11833"/>
                        <a:pt x="9965" y="15943"/>
                      </a:cubicBezTo>
                      <a:cubicBezTo>
                        <a:pt x="12332" y="22545"/>
                        <a:pt x="11708" y="26282"/>
                        <a:pt x="14324" y="32883"/>
                      </a:cubicBezTo>
                      <a:cubicBezTo>
                        <a:pt x="16816" y="39360"/>
                        <a:pt x="20677" y="43844"/>
                        <a:pt x="23417"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6" name="Freeform 6939">
                  <a:extLst>
                    <a:ext uri="{FF2B5EF4-FFF2-40B4-BE49-F238E27FC236}">
                      <a16:creationId xmlns:a16="http://schemas.microsoft.com/office/drawing/2014/main" id="{B1BC9A16-80E4-39BF-489A-075F8E69DE04}"/>
                    </a:ext>
                  </a:extLst>
                </p:cNvPr>
                <p:cNvSpPr/>
                <p:nvPr/>
              </p:nvSpPr>
              <p:spPr>
                <a:xfrm>
                  <a:off x="9832670" y="1254424"/>
                  <a:ext cx="26658" cy="26741"/>
                </a:xfrm>
                <a:custGeom>
                  <a:avLst/>
                  <a:gdLst>
                    <a:gd name="connsiteX0" fmla="*/ 1283 w 26658"/>
                    <a:gd name="connsiteY0" fmla="*/ 19377 h 26741"/>
                    <a:gd name="connsiteX1" fmla="*/ 7511 w 26658"/>
                    <a:gd name="connsiteY1" fmla="*/ 1441 h 26741"/>
                    <a:gd name="connsiteX2" fmla="*/ 25322 w 26658"/>
                    <a:gd name="connsiteY2" fmla="*/ 7419 h 26741"/>
                    <a:gd name="connsiteX3" fmla="*/ 19094 w 26658"/>
                    <a:gd name="connsiteY3" fmla="*/ 25356 h 26741"/>
                    <a:gd name="connsiteX4" fmla="*/ 1283 w 26658"/>
                    <a:gd name="connsiteY4" fmla="*/ 19377 h 26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741">
                      <a:moveTo>
                        <a:pt x="1283" y="19377"/>
                      </a:moveTo>
                      <a:cubicBezTo>
                        <a:pt x="-1831" y="12775"/>
                        <a:pt x="909" y="4804"/>
                        <a:pt x="7511" y="1441"/>
                      </a:cubicBezTo>
                      <a:cubicBezTo>
                        <a:pt x="14112" y="-1922"/>
                        <a:pt x="22084" y="818"/>
                        <a:pt x="25322" y="7419"/>
                      </a:cubicBezTo>
                      <a:cubicBezTo>
                        <a:pt x="28561" y="14021"/>
                        <a:pt x="25695" y="21993"/>
                        <a:pt x="19094" y="25356"/>
                      </a:cubicBezTo>
                      <a:cubicBezTo>
                        <a:pt x="12492" y="28594"/>
                        <a:pt x="4521" y="25979"/>
                        <a:pt x="1283" y="19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7" name="Freeform 6940">
                  <a:extLst>
                    <a:ext uri="{FF2B5EF4-FFF2-40B4-BE49-F238E27FC236}">
                      <a16:creationId xmlns:a16="http://schemas.microsoft.com/office/drawing/2014/main" id="{10E5B0DD-9758-D07E-460D-EC49BD4DFAD4}"/>
                    </a:ext>
                  </a:extLst>
                </p:cNvPr>
                <p:cNvSpPr/>
                <p:nvPr/>
              </p:nvSpPr>
              <p:spPr>
                <a:xfrm>
                  <a:off x="9792600" y="1165560"/>
                  <a:ext cx="22046" cy="47207"/>
                </a:xfrm>
                <a:custGeom>
                  <a:avLst/>
                  <a:gdLst>
                    <a:gd name="connsiteX0" fmla="*/ 0 w 22046"/>
                    <a:gd name="connsiteY0" fmla="*/ 0 h 47207"/>
                    <a:gd name="connsiteX1" fmla="*/ 6353 w 22046"/>
                    <a:gd name="connsiteY1" fmla="*/ 17687 h 47207"/>
                    <a:gd name="connsiteX2" fmla="*/ 16815 w 22046"/>
                    <a:gd name="connsiteY2" fmla="*/ 31513 h 47207"/>
                    <a:gd name="connsiteX3" fmla="*/ 22047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1245" y="8345"/>
                        <a:pt x="4111" y="14075"/>
                        <a:pt x="6353" y="17687"/>
                      </a:cubicBezTo>
                      <a:cubicBezTo>
                        <a:pt x="10089" y="23666"/>
                        <a:pt x="13328" y="25410"/>
                        <a:pt x="16815" y="31513"/>
                      </a:cubicBezTo>
                      <a:cubicBezTo>
                        <a:pt x="20303" y="37492"/>
                        <a:pt x="21548" y="43222"/>
                        <a:pt x="22047"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8" name="Freeform 6941">
                  <a:extLst>
                    <a:ext uri="{FF2B5EF4-FFF2-40B4-BE49-F238E27FC236}">
                      <a16:creationId xmlns:a16="http://schemas.microsoft.com/office/drawing/2014/main" id="{B4D59CCB-70CF-D8A7-5D97-B0BB7AF5BDB8}"/>
                    </a:ext>
                  </a:extLst>
                </p:cNvPr>
                <p:cNvSpPr/>
                <p:nvPr/>
              </p:nvSpPr>
              <p:spPr>
                <a:xfrm>
                  <a:off x="9796585" y="1157962"/>
                  <a:ext cx="23416" cy="46584"/>
                </a:xfrm>
                <a:custGeom>
                  <a:avLst/>
                  <a:gdLst>
                    <a:gd name="connsiteX0" fmla="*/ 23417 w 23416"/>
                    <a:gd name="connsiteY0" fmla="*/ 46585 h 46584"/>
                    <a:gd name="connsiteX1" fmla="*/ 13452 w 23416"/>
                    <a:gd name="connsiteY1" fmla="*/ 30641 h 46584"/>
                    <a:gd name="connsiteX2" fmla="*/ 9092 w 23416"/>
                    <a:gd name="connsiteY2" fmla="*/ 13826 h 46584"/>
                    <a:gd name="connsiteX3" fmla="*/ 0 w 23416"/>
                    <a:gd name="connsiteY3" fmla="*/ 0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46585"/>
                      </a:moveTo>
                      <a:cubicBezTo>
                        <a:pt x="17687" y="40481"/>
                        <a:pt x="14947" y="34752"/>
                        <a:pt x="13452" y="30641"/>
                      </a:cubicBezTo>
                      <a:cubicBezTo>
                        <a:pt x="11086" y="24040"/>
                        <a:pt x="11708" y="20303"/>
                        <a:pt x="9092" y="13826"/>
                      </a:cubicBezTo>
                      <a:cubicBezTo>
                        <a:pt x="6477" y="7473"/>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9" name="Freeform 6942">
                  <a:extLst>
                    <a:ext uri="{FF2B5EF4-FFF2-40B4-BE49-F238E27FC236}">
                      <a16:creationId xmlns:a16="http://schemas.microsoft.com/office/drawing/2014/main" id="{5A696FF3-B949-E8BB-E6FD-9E46B204B0EF}"/>
                    </a:ext>
                  </a:extLst>
                </p:cNvPr>
                <p:cNvSpPr/>
                <p:nvPr/>
              </p:nvSpPr>
              <p:spPr>
                <a:xfrm>
                  <a:off x="9779582" y="1144394"/>
                  <a:ext cx="26214" cy="26512"/>
                </a:xfrm>
                <a:custGeom>
                  <a:avLst/>
                  <a:gdLst>
                    <a:gd name="connsiteX0" fmla="*/ 24851 w 26214"/>
                    <a:gd name="connsiteY0" fmla="*/ 7464 h 26512"/>
                    <a:gd name="connsiteX1" fmla="*/ 18872 w 26214"/>
                    <a:gd name="connsiteY1" fmla="*/ 25152 h 26512"/>
                    <a:gd name="connsiteX2" fmla="*/ 1309 w 26214"/>
                    <a:gd name="connsiteY2" fmla="*/ 19048 h 26512"/>
                    <a:gd name="connsiteX3" fmla="*/ 7288 w 26214"/>
                    <a:gd name="connsiteY3" fmla="*/ 1361 h 26512"/>
                    <a:gd name="connsiteX4" fmla="*/ 24851 w 26214"/>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12">
                      <a:moveTo>
                        <a:pt x="24851" y="7464"/>
                      </a:moveTo>
                      <a:cubicBezTo>
                        <a:pt x="28090" y="14066"/>
                        <a:pt x="25349" y="22038"/>
                        <a:pt x="18872" y="25152"/>
                      </a:cubicBezTo>
                      <a:cubicBezTo>
                        <a:pt x="12395" y="28390"/>
                        <a:pt x="4548" y="25650"/>
                        <a:pt x="1309" y="19048"/>
                      </a:cubicBezTo>
                      <a:cubicBezTo>
                        <a:pt x="-1804" y="12447"/>
                        <a:pt x="811" y="4475"/>
                        <a:pt x="7288" y="1361"/>
                      </a:cubicBezTo>
                      <a:cubicBezTo>
                        <a:pt x="13765" y="-1877"/>
                        <a:pt x="21612" y="863"/>
                        <a:pt x="24851"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9" name="Graphic 2987">
                <a:extLst>
                  <a:ext uri="{FF2B5EF4-FFF2-40B4-BE49-F238E27FC236}">
                    <a16:creationId xmlns:a16="http://schemas.microsoft.com/office/drawing/2014/main" id="{E7F47D85-598C-CB0A-59D2-E733294F7854}"/>
                  </a:ext>
                </a:extLst>
              </p:cNvPr>
              <p:cNvGrpSpPr/>
              <p:nvPr/>
            </p:nvGrpSpPr>
            <p:grpSpPr>
              <a:xfrm>
                <a:off x="9753446" y="1157302"/>
                <a:ext cx="79100" cy="137143"/>
                <a:chOff x="9753446" y="1157302"/>
                <a:chExt cx="79100" cy="137143"/>
              </a:xfrm>
              <a:grpFill/>
            </p:grpSpPr>
            <p:sp>
              <p:nvSpPr>
                <p:cNvPr id="7098" name="Freeform 6944">
                  <a:extLst>
                    <a:ext uri="{FF2B5EF4-FFF2-40B4-BE49-F238E27FC236}">
                      <a16:creationId xmlns:a16="http://schemas.microsoft.com/office/drawing/2014/main" id="{6B5DF19E-D684-E4D9-B392-47EEB3C3D455}"/>
                    </a:ext>
                  </a:extLst>
                </p:cNvPr>
                <p:cNvSpPr/>
                <p:nvPr/>
              </p:nvSpPr>
              <p:spPr>
                <a:xfrm>
                  <a:off x="9797582" y="1225597"/>
                  <a:ext cx="21797" cy="47456"/>
                </a:xfrm>
                <a:custGeom>
                  <a:avLst/>
                  <a:gdLst>
                    <a:gd name="connsiteX0" fmla="*/ 21798 w 21797"/>
                    <a:gd name="connsiteY0" fmla="*/ 47456 h 47456"/>
                    <a:gd name="connsiteX1" fmla="*/ 15570 w 21797"/>
                    <a:gd name="connsiteY1" fmla="*/ 29645 h 47456"/>
                    <a:gd name="connsiteX2" fmla="*/ 5107 w 21797"/>
                    <a:gd name="connsiteY2" fmla="*/ 15694 h 47456"/>
                    <a:gd name="connsiteX3" fmla="*/ 0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47456"/>
                      </a:moveTo>
                      <a:cubicBezTo>
                        <a:pt x="20552" y="39111"/>
                        <a:pt x="17812" y="33381"/>
                        <a:pt x="15570" y="29645"/>
                      </a:cubicBezTo>
                      <a:cubicBezTo>
                        <a:pt x="11832" y="23666"/>
                        <a:pt x="8595" y="21922"/>
                        <a:pt x="5107" y="15694"/>
                      </a:cubicBezTo>
                      <a:cubicBezTo>
                        <a:pt x="1743" y="9715"/>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9" name="Freeform 6945">
                  <a:extLst>
                    <a:ext uri="{FF2B5EF4-FFF2-40B4-BE49-F238E27FC236}">
                      <a16:creationId xmlns:a16="http://schemas.microsoft.com/office/drawing/2014/main" id="{192A0BBE-6D5C-3072-8507-263E1241ABAA}"/>
                    </a:ext>
                  </a:extLst>
                </p:cNvPr>
                <p:cNvSpPr/>
                <p:nvPr/>
              </p:nvSpPr>
              <p:spPr>
                <a:xfrm>
                  <a:off x="9792102" y="1233942"/>
                  <a:ext cx="23042" cy="46833"/>
                </a:xfrm>
                <a:custGeom>
                  <a:avLst/>
                  <a:gdLst>
                    <a:gd name="connsiteX0" fmla="*/ 0 w 23042"/>
                    <a:gd name="connsiteY0" fmla="*/ 0 h 46833"/>
                    <a:gd name="connsiteX1" fmla="*/ 9840 w 23042"/>
                    <a:gd name="connsiteY1" fmla="*/ 16068 h 46833"/>
                    <a:gd name="connsiteX2" fmla="*/ 14075 w 23042"/>
                    <a:gd name="connsiteY2" fmla="*/ 33008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5729" y="6103"/>
                        <a:pt x="8345" y="11833"/>
                        <a:pt x="9840" y="16068"/>
                      </a:cubicBezTo>
                      <a:cubicBezTo>
                        <a:pt x="12082" y="22669"/>
                        <a:pt x="11459" y="26406"/>
                        <a:pt x="14075" y="33008"/>
                      </a:cubicBezTo>
                      <a:cubicBezTo>
                        <a:pt x="16566" y="39485"/>
                        <a:pt x="20303" y="43969"/>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0" name="Freeform 6946">
                  <a:extLst>
                    <a:ext uri="{FF2B5EF4-FFF2-40B4-BE49-F238E27FC236}">
                      <a16:creationId xmlns:a16="http://schemas.microsoft.com/office/drawing/2014/main" id="{D3E57639-EF83-FBFA-9490-1D5676CB13BB}"/>
                    </a:ext>
                  </a:extLst>
                </p:cNvPr>
                <p:cNvSpPr/>
                <p:nvPr/>
              </p:nvSpPr>
              <p:spPr>
                <a:xfrm>
                  <a:off x="9805789" y="1267682"/>
                  <a:ext cx="26757" cy="26764"/>
                </a:xfrm>
                <a:custGeom>
                  <a:avLst/>
                  <a:gdLst>
                    <a:gd name="connsiteX0" fmla="*/ 1259 w 26757"/>
                    <a:gd name="connsiteY0" fmla="*/ 19322 h 26764"/>
                    <a:gd name="connsiteX1" fmla="*/ 7612 w 26757"/>
                    <a:gd name="connsiteY1" fmla="*/ 1386 h 26764"/>
                    <a:gd name="connsiteX2" fmla="*/ 25423 w 26757"/>
                    <a:gd name="connsiteY2" fmla="*/ 7365 h 26764"/>
                    <a:gd name="connsiteX3" fmla="*/ 19072 w 26757"/>
                    <a:gd name="connsiteY3" fmla="*/ 25301 h 26764"/>
                    <a:gd name="connsiteX4" fmla="*/ 1259 w 26757"/>
                    <a:gd name="connsiteY4" fmla="*/ 19322 h 2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764">
                      <a:moveTo>
                        <a:pt x="1259" y="19322"/>
                      </a:moveTo>
                      <a:cubicBezTo>
                        <a:pt x="-1855" y="12721"/>
                        <a:pt x="1011" y="4625"/>
                        <a:pt x="7612" y="1386"/>
                      </a:cubicBezTo>
                      <a:cubicBezTo>
                        <a:pt x="14214" y="-1852"/>
                        <a:pt x="22185" y="763"/>
                        <a:pt x="25423" y="7365"/>
                      </a:cubicBezTo>
                      <a:cubicBezTo>
                        <a:pt x="28662" y="13966"/>
                        <a:pt x="25797" y="21938"/>
                        <a:pt x="19072" y="25301"/>
                      </a:cubicBezTo>
                      <a:cubicBezTo>
                        <a:pt x="12345" y="28664"/>
                        <a:pt x="4373" y="26048"/>
                        <a:pt x="1259" y="193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1" name="Freeform 6947">
                  <a:extLst>
                    <a:ext uri="{FF2B5EF4-FFF2-40B4-BE49-F238E27FC236}">
                      <a16:creationId xmlns:a16="http://schemas.microsoft.com/office/drawing/2014/main" id="{8BADA9D7-AFA6-53DE-7C53-A5CC41D395D3}"/>
                    </a:ext>
                  </a:extLst>
                </p:cNvPr>
                <p:cNvSpPr/>
                <p:nvPr/>
              </p:nvSpPr>
              <p:spPr>
                <a:xfrm>
                  <a:off x="9766318" y="1178514"/>
                  <a:ext cx="21672" cy="47456"/>
                </a:xfrm>
                <a:custGeom>
                  <a:avLst/>
                  <a:gdLst>
                    <a:gd name="connsiteX0" fmla="*/ 0 w 21672"/>
                    <a:gd name="connsiteY0" fmla="*/ 0 h 47456"/>
                    <a:gd name="connsiteX1" fmla="*/ 6228 w 21672"/>
                    <a:gd name="connsiteY1" fmla="*/ 17812 h 47456"/>
                    <a:gd name="connsiteX2" fmla="*/ 16566 w 21672"/>
                    <a:gd name="connsiteY2" fmla="*/ 31762 h 47456"/>
                    <a:gd name="connsiteX3" fmla="*/ 21673 w 21672"/>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2" h="47456">
                      <a:moveTo>
                        <a:pt x="0" y="0"/>
                      </a:moveTo>
                      <a:cubicBezTo>
                        <a:pt x="1245" y="8345"/>
                        <a:pt x="3986" y="14075"/>
                        <a:pt x="6228" y="17812"/>
                      </a:cubicBezTo>
                      <a:cubicBezTo>
                        <a:pt x="9964" y="23791"/>
                        <a:pt x="13078" y="25534"/>
                        <a:pt x="16566" y="31762"/>
                      </a:cubicBezTo>
                      <a:cubicBezTo>
                        <a:pt x="19929" y="37741"/>
                        <a:pt x="21175" y="43595"/>
                        <a:pt x="21673"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2" name="Freeform 6948">
                  <a:extLst>
                    <a:ext uri="{FF2B5EF4-FFF2-40B4-BE49-F238E27FC236}">
                      <a16:creationId xmlns:a16="http://schemas.microsoft.com/office/drawing/2014/main" id="{C4F865C5-77DA-1E6D-11E2-1AE5A00D5708}"/>
                    </a:ext>
                  </a:extLst>
                </p:cNvPr>
                <p:cNvSpPr/>
                <p:nvPr/>
              </p:nvSpPr>
              <p:spPr>
                <a:xfrm>
                  <a:off x="9770304" y="1171041"/>
                  <a:ext cx="23167" cy="46709"/>
                </a:xfrm>
                <a:custGeom>
                  <a:avLst/>
                  <a:gdLst>
                    <a:gd name="connsiteX0" fmla="*/ 23168 w 23167"/>
                    <a:gd name="connsiteY0" fmla="*/ 46709 h 46709"/>
                    <a:gd name="connsiteX1" fmla="*/ 13327 w 23167"/>
                    <a:gd name="connsiteY1" fmla="*/ 30766 h 46709"/>
                    <a:gd name="connsiteX2" fmla="*/ 8968 w 23167"/>
                    <a:gd name="connsiteY2" fmla="*/ 13826 h 46709"/>
                    <a:gd name="connsiteX3" fmla="*/ 0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23168" y="46709"/>
                      </a:moveTo>
                      <a:cubicBezTo>
                        <a:pt x="17438" y="40606"/>
                        <a:pt x="14822" y="34876"/>
                        <a:pt x="13327" y="30766"/>
                      </a:cubicBezTo>
                      <a:cubicBezTo>
                        <a:pt x="11085" y="24164"/>
                        <a:pt x="11584" y="20427"/>
                        <a:pt x="8968" y="13826"/>
                      </a:cubicBezTo>
                      <a:cubicBezTo>
                        <a:pt x="6476" y="7349"/>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3" name="Freeform 6949">
                  <a:extLst>
                    <a:ext uri="{FF2B5EF4-FFF2-40B4-BE49-F238E27FC236}">
                      <a16:creationId xmlns:a16="http://schemas.microsoft.com/office/drawing/2014/main" id="{3830DA52-B7E7-ADD5-E349-B598A8EC38A1}"/>
                    </a:ext>
                  </a:extLst>
                </p:cNvPr>
                <p:cNvSpPr/>
                <p:nvPr/>
              </p:nvSpPr>
              <p:spPr>
                <a:xfrm>
                  <a:off x="9753446" y="1157302"/>
                  <a:ext cx="26014" cy="26680"/>
                </a:xfrm>
                <a:custGeom>
                  <a:avLst/>
                  <a:gdLst>
                    <a:gd name="connsiteX0" fmla="*/ 24705 w 26014"/>
                    <a:gd name="connsiteY0" fmla="*/ 7510 h 26680"/>
                    <a:gd name="connsiteX1" fmla="*/ 18726 w 26014"/>
                    <a:gd name="connsiteY1" fmla="*/ 25322 h 26680"/>
                    <a:gd name="connsiteX2" fmla="*/ 1288 w 26014"/>
                    <a:gd name="connsiteY2" fmla="*/ 19094 h 26680"/>
                    <a:gd name="connsiteX3" fmla="*/ 7267 w 26014"/>
                    <a:gd name="connsiteY3" fmla="*/ 1283 h 26680"/>
                    <a:gd name="connsiteX4" fmla="*/ 24705 w 26014"/>
                    <a:gd name="connsiteY4" fmla="*/ 7510 h 2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4" h="26680">
                      <a:moveTo>
                        <a:pt x="24705" y="7510"/>
                      </a:moveTo>
                      <a:cubicBezTo>
                        <a:pt x="27819" y="14112"/>
                        <a:pt x="25203" y="22084"/>
                        <a:pt x="18726" y="25322"/>
                      </a:cubicBezTo>
                      <a:cubicBezTo>
                        <a:pt x="12249" y="28561"/>
                        <a:pt x="4402" y="25820"/>
                        <a:pt x="1288" y="19094"/>
                      </a:cubicBezTo>
                      <a:cubicBezTo>
                        <a:pt x="-1826" y="12493"/>
                        <a:pt x="914" y="4521"/>
                        <a:pt x="7267" y="1283"/>
                      </a:cubicBezTo>
                      <a:cubicBezTo>
                        <a:pt x="13744" y="-1831"/>
                        <a:pt x="21591" y="909"/>
                        <a:pt x="24705" y="75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0" name="Graphic 2987">
                <a:extLst>
                  <a:ext uri="{FF2B5EF4-FFF2-40B4-BE49-F238E27FC236}">
                    <a16:creationId xmlns:a16="http://schemas.microsoft.com/office/drawing/2014/main" id="{B628F453-C41A-A375-CBE5-01BE857813B1}"/>
                  </a:ext>
                </a:extLst>
              </p:cNvPr>
              <p:cNvGrpSpPr/>
              <p:nvPr/>
            </p:nvGrpSpPr>
            <p:grpSpPr>
              <a:xfrm>
                <a:off x="9727089" y="1170202"/>
                <a:ext cx="78350" cy="137523"/>
                <a:chOff x="9727089" y="1170202"/>
                <a:chExt cx="78350" cy="137523"/>
              </a:xfrm>
              <a:grpFill/>
            </p:grpSpPr>
            <p:sp>
              <p:nvSpPr>
                <p:cNvPr id="7092" name="Freeform 6951">
                  <a:extLst>
                    <a:ext uri="{FF2B5EF4-FFF2-40B4-BE49-F238E27FC236}">
                      <a16:creationId xmlns:a16="http://schemas.microsoft.com/office/drawing/2014/main" id="{C53E5C4C-8233-B84B-387B-A0E96F7AB5D7}"/>
                    </a:ext>
                  </a:extLst>
                </p:cNvPr>
                <p:cNvSpPr/>
                <p:nvPr/>
              </p:nvSpPr>
              <p:spPr>
                <a:xfrm>
                  <a:off x="9771051" y="1238800"/>
                  <a:ext cx="21423" cy="47581"/>
                </a:xfrm>
                <a:custGeom>
                  <a:avLst/>
                  <a:gdLst>
                    <a:gd name="connsiteX0" fmla="*/ 21424 w 21423"/>
                    <a:gd name="connsiteY0" fmla="*/ 47581 h 47581"/>
                    <a:gd name="connsiteX1" fmla="*/ 15320 w 21423"/>
                    <a:gd name="connsiteY1" fmla="*/ 29769 h 47581"/>
                    <a:gd name="connsiteX2" fmla="*/ 4982 w 21423"/>
                    <a:gd name="connsiteY2" fmla="*/ 15819 h 47581"/>
                    <a:gd name="connsiteX3" fmla="*/ 0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47581"/>
                      </a:moveTo>
                      <a:cubicBezTo>
                        <a:pt x="20303" y="39236"/>
                        <a:pt x="17562" y="33506"/>
                        <a:pt x="15320" y="29769"/>
                      </a:cubicBezTo>
                      <a:cubicBezTo>
                        <a:pt x="11708" y="23791"/>
                        <a:pt x="8470" y="22047"/>
                        <a:pt x="4982" y="15819"/>
                      </a:cubicBezTo>
                      <a:cubicBezTo>
                        <a:pt x="1619" y="9840"/>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3" name="Freeform 6952">
                  <a:extLst>
                    <a:ext uri="{FF2B5EF4-FFF2-40B4-BE49-F238E27FC236}">
                      <a16:creationId xmlns:a16="http://schemas.microsoft.com/office/drawing/2014/main" id="{31562854-F9B0-B9F9-915C-C0A06AA44212}"/>
                    </a:ext>
                  </a:extLst>
                </p:cNvPr>
                <p:cNvSpPr/>
                <p:nvPr/>
              </p:nvSpPr>
              <p:spPr>
                <a:xfrm>
                  <a:off x="9765446" y="1247145"/>
                  <a:ext cx="22794" cy="46958"/>
                </a:xfrm>
                <a:custGeom>
                  <a:avLst/>
                  <a:gdLst>
                    <a:gd name="connsiteX0" fmla="*/ 0 w 22794"/>
                    <a:gd name="connsiteY0" fmla="*/ 0 h 46958"/>
                    <a:gd name="connsiteX1" fmla="*/ 9715 w 22794"/>
                    <a:gd name="connsiteY1" fmla="*/ 16068 h 46958"/>
                    <a:gd name="connsiteX2" fmla="*/ 13826 w 22794"/>
                    <a:gd name="connsiteY2" fmla="*/ 33008 h 46958"/>
                    <a:gd name="connsiteX3" fmla="*/ 22794 w 2279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794" h="46958">
                      <a:moveTo>
                        <a:pt x="0" y="0"/>
                      </a:moveTo>
                      <a:cubicBezTo>
                        <a:pt x="5729" y="6228"/>
                        <a:pt x="8345" y="11958"/>
                        <a:pt x="9715" y="16068"/>
                      </a:cubicBezTo>
                      <a:cubicBezTo>
                        <a:pt x="11957" y="22794"/>
                        <a:pt x="11210" y="26282"/>
                        <a:pt x="13826" y="33008"/>
                      </a:cubicBezTo>
                      <a:cubicBezTo>
                        <a:pt x="16317" y="39485"/>
                        <a:pt x="20054" y="44093"/>
                        <a:pt x="22794"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4" name="Freeform 6953">
                  <a:extLst>
                    <a:ext uri="{FF2B5EF4-FFF2-40B4-BE49-F238E27FC236}">
                      <a16:creationId xmlns:a16="http://schemas.microsoft.com/office/drawing/2014/main" id="{AECCB400-633F-289C-D4A3-B5CA8E7089ED}"/>
                    </a:ext>
                  </a:extLst>
                </p:cNvPr>
                <p:cNvSpPr/>
                <p:nvPr/>
              </p:nvSpPr>
              <p:spPr>
                <a:xfrm>
                  <a:off x="9778680" y="1281012"/>
                  <a:ext cx="26760" cy="26712"/>
                </a:xfrm>
                <a:custGeom>
                  <a:avLst/>
                  <a:gdLst>
                    <a:gd name="connsiteX0" fmla="*/ 1215 w 26760"/>
                    <a:gd name="connsiteY0" fmla="*/ 18946 h 26712"/>
                    <a:gd name="connsiteX1" fmla="*/ 7816 w 26760"/>
                    <a:gd name="connsiteY1" fmla="*/ 1383 h 26712"/>
                    <a:gd name="connsiteX2" fmla="*/ 25503 w 26760"/>
                    <a:gd name="connsiteY2" fmla="*/ 7486 h 26712"/>
                    <a:gd name="connsiteX3" fmla="*/ 19026 w 26760"/>
                    <a:gd name="connsiteY3" fmla="*/ 25423 h 26712"/>
                    <a:gd name="connsiteX4" fmla="*/ 1215 w 26760"/>
                    <a:gd name="connsiteY4" fmla="*/ 18946 h 2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712">
                      <a:moveTo>
                        <a:pt x="1215" y="18946"/>
                      </a:moveTo>
                      <a:cubicBezTo>
                        <a:pt x="-1899" y="12220"/>
                        <a:pt x="1215" y="4622"/>
                        <a:pt x="7816" y="1383"/>
                      </a:cubicBezTo>
                      <a:cubicBezTo>
                        <a:pt x="14418" y="-1855"/>
                        <a:pt x="22389" y="760"/>
                        <a:pt x="25503" y="7486"/>
                      </a:cubicBezTo>
                      <a:cubicBezTo>
                        <a:pt x="28617" y="14088"/>
                        <a:pt x="25753" y="22184"/>
                        <a:pt x="19026" y="25423"/>
                      </a:cubicBezTo>
                      <a:cubicBezTo>
                        <a:pt x="12300" y="28661"/>
                        <a:pt x="4204" y="25547"/>
                        <a:pt x="1215"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5" name="Freeform 6954">
                  <a:extLst>
                    <a:ext uri="{FF2B5EF4-FFF2-40B4-BE49-F238E27FC236}">
                      <a16:creationId xmlns:a16="http://schemas.microsoft.com/office/drawing/2014/main" id="{5A37D087-9BC7-C7FD-2096-03D4787E3ED3}"/>
                    </a:ext>
                  </a:extLst>
                </p:cNvPr>
                <p:cNvSpPr/>
                <p:nvPr/>
              </p:nvSpPr>
              <p:spPr>
                <a:xfrm>
                  <a:off x="9740036" y="1191468"/>
                  <a:ext cx="21424" cy="47456"/>
                </a:xfrm>
                <a:custGeom>
                  <a:avLst/>
                  <a:gdLst>
                    <a:gd name="connsiteX0" fmla="*/ 0 w 21424"/>
                    <a:gd name="connsiteY0" fmla="*/ 0 h 47456"/>
                    <a:gd name="connsiteX1" fmla="*/ 6104 w 21424"/>
                    <a:gd name="connsiteY1" fmla="*/ 17687 h 47456"/>
                    <a:gd name="connsiteX2" fmla="*/ 16442 w 21424"/>
                    <a:gd name="connsiteY2" fmla="*/ 31762 h 47456"/>
                    <a:gd name="connsiteX3" fmla="*/ 21424 w 21424"/>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424" h="47456">
                      <a:moveTo>
                        <a:pt x="0" y="0"/>
                      </a:moveTo>
                      <a:cubicBezTo>
                        <a:pt x="1121" y="8221"/>
                        <a:pt x="3862" y="14075"/>
                        <a:pt x="6104" y="17687"/>
                      </a:cubicBezTo>
                      <a:cubicBezTo>
                        <a:pt x="9716" y="23666"/>
                        <a:pt x="12954" y="25659"/>
                        <a:pt x="16442" y="31762"/>
                      </a:cubicBezTo>
                      <a:cubicBezTo>
                        <a:pt x="19805" y="37741"/>
                        <a:pt x="20926" y="43595"/>
                        <a:pt x="2142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6" name="Freeform 6955">
                  <a:extLst>
                    <a:ext uri="{FF2B5EF4-FFF2-40B4-BE49-F238E27FC236}">
                      <a16:creationId xmlns:a16="http://schemas.microsoft.com/office/drawing/2014/main" id="{01A3B00E-F280-E255-DC30-C1F8C31423BC}"/>
                    </a:ext>
                  </a:extLst>
                </p:cNvPr>
                <p:cNvSpPr/>
                <p:nvPr/>
              </p:nvSpPr>
              <p:spPr>
                <a:xfrm>
                  <a:off x="9744146" y="1183995"/>
                  <a:ext cx="22794" cy="46833"/>
                </a:xfrm>
                <a:custGeom>
                  <a:avLst/>
                  <a:gdLst>
                    <a:gd name="connsiteX0" fmla="*/ 22794 w 22794"/>
                    <a:gd name="connsiteY0" fmla="*/ 46834 h 46833"/>
                    <a:gd name="connsiteX1" fmla="*/ 13078 w 22794"/>
                    <a:gd name="connsiteY1" fmla="*/ 30766 h 46833"/>
                    <a:gd name="connsiteX2" fmla="*/ 8844 w 22794"/>
                    <a:gd name="connsiteY2" fmla="*/ 13826 h 46833"/>
                    <a:gd name="connsiteX3" fmla="*/ 0 w 22794"/>
                    <a:gd name="connsiteY3" fmla="*/ 0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46834"/>
                      </a:moveTo>
                      <a:cubicBezTo>
                        <a:pt x="17189" y="40606"/>
                        <a:pt x="14449" y="34876"/>
                        <a:pt x="13078" y="30766"/>
                      </a:cubicBezTo>
                      <a:cubicBezTo>
                        <a:pt x="10836" y="24164"/>
                        <a:pt x="11459" y="20427"/>
                        <a:pt x="8844" y="13826"/>
                      </a:cubicBezTo>
                      <a:cubicBezTo>
                        <a:pt x="6353" y="7349"/>
                        <a:pt x="2616"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7" name="Freeform 6956">
                  <a:extLst>
                    <a:ext uri="{FF2B5EF4-FFF2-40B4-BE49-F238E27FC236}">
                      <a16:creationId xmlns:a16="http://schemas.microsoft.com/office/drawing/2014/main" id="{9F55B2A1-01EA-CEF9-F818-D5B0FC31BE76}"/>
                    </a:ext>
                  </a:extLst>
                </p:cNvPr>
                <p:cNvSpPr/>
                <p:nvPr/>
              </p:nvSpPr>
              <p:spPr>
                <a:xfrm>
                  <a:off x="9727089" y="1170202"/>
                  <a:ext cx="26189" cy="26590"/>
                </a:xfrm>
                <a:custGeom>
                  <a:avLst/>
                  <a:gdLst>
                    <a:gd name="connsiteX0" fmla="*/ 24905 w 26189"/>
                    <a:gd name="connsiteY0" fmla="*/ 7565 h 26590"/>
                    <a:gd name="connsiteX1" fmla="*/ 18801 w 26189"/>
                    <a:gd name="connsiteY1" fmla="*/ 25376 h 26590"/>
                    <a:gd name="connsiteX2" fmla="*/ 1239 w 26189"/>
                    <a:gd name="connsiteY2" fmla="*/ 18775 h 26590"/>
                    <a:gd name="connsiteX3" fmla="*/ 7591 w 26189"/>
                    <a:gd name="connsiteY3" fmla="*/ 1337 h 26590"/>
                    <a:gd name="connsiteX4" fmla="*/ 24905 w 2618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90">
                      <a:moveTo>
                        <a:pt x="24905" y="7565"/>
                      </a:moveTo>
                      <a:cubicBezTo>
                        <a:pt x="28018" y="14166"/>
                        <a:pt x="25279" y="22138"/>
                        <a:pt x="18801" y="25376"/>
                      </a:cubicBezTo>
                      <a:cubicBezTo>
                        <a:pt x="12324" y="28490"/>
                        <a:pt x="4353" y="25376"/>
                        <a:pt x="1239" y="18775"/>
                      </a:cubicBezTo>
                      <a:cubicBezTo>
                        <a:pt x="-1875" y="12049"/>
                        <a:pt x="1114" y="4451"/>
                        <a:pt x="7591" y="1337"/>
                      </a:cubicBezTo>
                      <a:cubicBezTo>
                        <a:pt x="13943" y="-1902"/>
                        <a:pt x="21791" y="963"/>
                        <a:pt x="24905"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1" name="Graphic 2987">
                <a:extLst>
                  <a:ext uri="{FF2B5EF4-FFF2-40B4-BE49-F238E27FC236}">
                    <a16:creationId xmlns:a16="http://schemas.microsoft.com/office/drawing/2014/main" id="{1463F5C0-FBBA-0BF2-34D7-FB28812287AD}"/>
                  </a:ext>
                </a:extLst>
              </p:cNvPr>
              <p:cNvGrpSpPr/>
              <p:nvPr/>
            </p:nvGrpSpPr>
            <p:grpSpPr>
              <a:xfrm>
                <a:off x="9700240" y="1182338"/>
                <a:ext cx="77876" cy="137537"/>
                <a:chOff x="9700240" y="1182338"/>
                <a:chExt cx="77876" cy="137537"/>
              </a:xfrm>
              <a:grpFill/>
            </p:grpSpPr>
            <p:sp>
              <p:nvSpPr>
                <p:cNvPr id="7086" name="Freeform 6958">
                  <a:extLst>
                    <a:ext uri="{FF2B5EF4-FFF2-40B4-BE49-F238E27FC236}">
                      <a16:creationId xmlns:a16="http://schemas.microsoft.com/office/drawing/2014/main" id="{5E437F2C-CA48-8D77-B935-1D9B4C4BC235}"/>
                    </a:ext>
                  </a:extLst>
                </p:cNvPr>
                <p:cNvSpPr/>
                <p:nvPr/>
              </p:nvSpPr>
              <p:spPr>
                <a:xfrm>
                  <a:off x="9743898" y="1251131"/>
                  <a:ext cx="21174" cy="47581"/>
                </a:xfrm>
                <a:custGeom>
                  <a:avLst/>
                  <a:gdLst>
                    <a:gd name="connsiteX0" fmla="*/ 21174 w 21174"/>
                    <a:gd name="connsiteY0" fmla="*/ 47581 h 47581"/>
                    <a:gd name="connsiteX1" fmla="*/ 15196 w 21174"/>
                    <a:gd name="connsiteY1" fmla="*/ 29769 h 47581"/>
                    <a:gd name="connsiteX2" fmla="*/ 4857 w 21174"/>
                    <a:gd name="connsiteY2" fmla="*/ 15694 h 47581"/>
                    <a:gd name="connsiteX3" fmla="*/ 0 w 21174"/>
                    <a:gd name="connsiteY3" fmla="*/ 0 h 47581"/>
                  </a:gdLst>
                  <a:ahLst/>
                  <a:cxnLst>
                    <a:cxn ang="0">
                      <a:pos x="connsiteX0" y="connsiteY0"/>
                    </a:cxn>
                    <a:cxn ang="0">
                      <a:pos x="connsiteX1" y="connsiteY1"/>
                    </a:cxn>
                    <a:cxn ang="0">
                      <a:pos x="connsiteX2" y="connsiteY2"/>
                    </a:cxn>
                    <a:cxn ang="0">
                      <a:pos x="connsiteX3" y="connsiteY3"/>
                    </a:cxn>
                  </a:cxnLst>
                  <a:rect l="l" t="t" r="r" b="b"/>
                  <a:pathLst>
                    <a:path w="21174" h="47581">
                      <a:moveTo>
                        <a:pt x="21174" y="47581"/>
                      </a:moveTo>
                      <a:cubicBezTo>
                        <a:pt x="20054" y="39236"/>
                        <a:pt x="17438" y="33506"/>
                        <a:pt x="15196" y="29769"/>
                      </a:cubicBezTo>
                      <a:cubicBezTo>
                        <a:pt x="11584" y="23791"/>
                        <a:pt x="8345" y="21922"/>
                        <a:pt x="4857" y="15694"/>
                      </a:cubicBezTo>
                      <a:cubicBezTo>
                        <a:pt x="1495" y="9591"/>
                        <a:pt x="37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7" name="Freeform 6959">
                  <a:extLst>
                    <a:ext uri="{FF2B5EF4-FFF2-40B4-BE49-F238E27FC236}">
                      <a16:creationId xmlns:a16="http://schemas.microsoft.com/office/drawing/2014/main" id="{9FA973A3-4591-6ECC-F16F-D83ED9AE90CA}"/>
                    </a:ext>
                  </a:extLst>
                </p:cNvPr>
                <p:cNvSpPr/>
                <p:nvPr/>
              </p:nvSpPr>
              <p:spPr>
                <a:xfrm>
                  <a:off x="9738293" y="1259103"/>
                  <a:ext cx="22420" cy="47082"/>
                </a:xfrm>
                <a:custGeom>
                  <a:avLst/>
                  <a:gdLst>
                    <a:gd name="connsiteX0" fmla="*/ 0 w 22420"/>
                    <a:gd name="connsiteY0" fmla="*/ 0 h 47082"/>
                    <a:gd name="connsiteX1" fmla="*/ 9590 w 22420"/>
                    <a:gd name="connsiteY1" fmla="*/ 16192 h 47082"/>
                    <a:gd name="connsiteX2" fmla="*/ 13576 w 22420"/>
                    <a:gd name="connsiteY2" fmla="*/ 33132 h 47082"/>
                    <a:gd name="connsiteX3" fmla="*/ 22420 w 22420"/>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420" h="47082">
                      <a:moveTo>
                        <a:pt x="0" y="0"/>
                      </a:moveTo>
                      <a:cubicBezTo>
                        <a:pt x="5605" y="6352"/>
                        <a:pt x="8220" y="12082"/>
                        <a:pt x="9590" y="16192"/>
                      </a:cubicBezTo>
                      <a:cubicBezTo>
                        <a:pt x="11833" y="22794"/>
                        <a:pt x="11085" y="26406"/>
                        <a:pt x="13576" y="33132"/>
                      </a:cubicBezTo>
                      <a:cubicBezTo>
                        <a:pt x="15943" y="39609"/>
                        <a:pt x="19680" y="44218"/>
                        <a:pt x="2242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8" name="Freeform 6960">
                  <a:extLst>
                    <a:ext uri="{FF2B5EF4-FFF2-40B4-BE49-F238E27FC236}">
                      <a16:creationId xmlns:a16="http://schemas.microsoft.com/office/drawing/2014/main" id="{4F2E48BE-54CA-4DEB-DAC9-7C50E889B275}"/>
                    </a:ext>
                  </a:extLst>
                </p:cNvPr>
                <p:cNvSpPr/>
                <p:nvPr/>
              </p:nvSpPr>
              <p:spPr>
                <a:xfrm>
                  <a:off x="9751209" y="1293441"/>
                  <a:ext cx="26908" cy="26434"/>
                </a:xfrm>
                <a:custGeom>
                  <a:avLst/>
                  <a:gdLst>
                    <a:gd name="connsiteX0" fmla="*/ 1159 w 26908"/>
                    <a:gd name="connsiteY0" fmla="*/ 18599 h 26434"/>
                    <a:gd name="connsiteX1" fmla="*/ 7885 w 26908"/>
                    <a:gd name="connsiteY1" fmla="*/ 1161 h 26434"/>
                    <a:gd name="connsiteX2" fmla="*/ 25697 w 26908"/>
                    <a:gd name="connsiteY2" fmla="*/ 7763 h 26434"/>
                    <a:gd name="connsiteX3" fmla="*/ 18971 w 26908"/>
                    <a:gd name="connsiteY3" fmla="*/ 25201 h 26434"/>
                    <a:gd name="connsiteX4" fmla="*/ 1159 w 26908"/>
                    <a:gd name="connsiteY4" fmla="*/ 18599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434">
                      <a:moveTo>
                        <a:pt x="1159" y="18599"/>
                      </a:moveTo>
                      <a:cubicBezTo>
                        <a:pt x="-1831" y="11998"/>
                        <a:pt x="1159" y="4150"/>
                        <a:pt x="7885" y="1161"/>
                      </a:cubicBezTo>
                      <a:cubicBezTo>
                        <a:pt x="14611" y="-1828"/>
                        <a:pt x="22583" y="1161"/>
                        <a:pt x="25697" y="7763"/>
                      </a:cubicBezTo>
                      <a:cubicBezTo>
                        <a:pt x="28810" y="14364"/>
                        <a:pt x="25697" y="22211"/>
                        <a:pt x="18971" y="25201"/>
                      </a:cubicBezTo>
                      <a:cubicBezTo>
                        <a:pt x="12244" y="28315"/>
                        <a:pt x="4273" y="25325"/>
                        <a:pt x="1159" y="185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9" name="Freeform 6961">
                  <a:extLst>
                    <a:ext uri="{FF2B5EF4-FFF2-40B4-BE49-F238E27FC236}">
                      <a16:creationId xmlns:a16="http://schemas.microsoft.com/office/drawing/2014/main" id="{2AA5FB91-D397-130A-8A5D-DBB53506A2C1}"/>
                    </a:ext>
                  </a:extLst>
                </p:cNvPr>
                <p:cNvSpPr/>
                <p:nvPr/>
              </p:nvSpPr>
              <p:spPr>
                <a:xfrm>
                  <a:off x="9713132" y="1203301"/>
                  <a:ext cx="21050" cy="47705"/>
                </a:xfrm>
                <a:custGeom>
                  <a:avLst/>
                  <a:gdLst>
                    <a:gd name="connsiteX0" fmla="*/ 0 w 21050"/>
                    <a:gd name="connsiteY0" fmla="*/ 0 h 47705"/>
                    <a:gd name="connsiteX1" fmla="*/ 5979 w 21050"/>
                    <a:gd name="connsiteY1" fmla="*/ 17812 h 47705"/>
                    <a:gd name="connsiteX2" fmla="*/ 16192 w 21050"/>
                    <a:gd name="connsiteY2" fmla="*/ 32011 h 47705"/>
                    <a:gd name="connsiteX3" fmla="*/ 2105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0" y="0"/>
                      </a:moveTo>
                      <a:cubicBezTo>
                        <a:pt x="1121" y="8345"/>
                        <a:pt x="3737" y="14075"/>
                        <a:pt x="5979" y="17812"/>
                      </a:cubicBezTo>
                      <a:cubicBezTo>
                        <a:pt x="9591" y="23791"/>
                        <a:pt x="12830" y="25783"/>
                        <a:pt x="16192" y="32011"/>
                      </a:cubicBezTo>
                      <a:cubicBezTo>
                        <a:pt x="19556" y="38115"/>
                        <a:pt x="20676" y="43844"/>
                        <a:pt x="2105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0" name="Freeform 6962">
                  <a:extLst>
                    <a:ext uri="{FF2B5EF4-FFF2-40B4-BE49-F238E27FC236}">
                      <a16:creationId xmlns:a16="http://schemas.microsoft.com/office/drawing/2014/main" id="{4DA8F67C-F7BB-11D9-33F9-C236B43A28BA}"/>
                    </a:ext>
                  </a:extLst>
                </p:cNvPr>
                <p:cNvSpPr/>
                <p:nvPr/>
              </p:nvSpPr>
              <p:spPr>
                <a:xfrm>
                  <a:off x="9717491" y="1195952"/>
                  <a:ext cx="22420" cy="47082"/>
                </a:xfrm>
                <a:custGeom>
                  <a:avLst/>
                  <a:gdLst>
                    <a:gd name="connsiteX0" fmla="*/ 22421 w 22420"/>
                    <a:gd name="connsiteY0" fmla="*/ 47083 h 47082"/>
                    <a:gd name="connsiteX1" fmla="*/ 12830 w 22420"/>
                    <a:gd name="connsiteY1" fmla="*/ 30890 h 47082"/>
                    <a:gd name="connsiteX2" fmla="*/ 8844 w 22420"/>
                    <a:gd name="connsiteY2" fmla="*/ 13950 h 47082"/>
                    <a:gd name="connsiteX3" fmla="*/ 0 w 22420"/>
                    <a:gd name="connsiteY3" fmla="*/ 0 h 47082"/>
                  </a:gdLst>
                  <a:ahLst/>
                  <a:cxnLst>
                    <a:cxn ang="0">
                      <a:pos x="connsiteX0" y="connsiteY0"/>
                    </a:cxn>
                    <a:cxn ang="0">
                      <a:pos x="connsiteX1" y="connsiteY1"/>
                    </a:cxn>
                    <a:cxn ang="0">
                      <a:pos x="connsiteX2" y="connsiteY2"/>
                    </a:cxn>
                    <a:cxn ang="0">
                      <a:pos x="connsiteX3" y="connsiteY3"/>
                    </a:cxn>
                  </a:cxnLst>
                  <a:rect l="l" t="t" r="r" b="b"/>
                  <a:pathLst>
                    <a:path w="22420" h="47082">
                      <a:moveTo>
                        <a:pt x="22421" y="47083"/>
                      </a:moveTo>
                      <a:cubicBezTo>
                        <a:pt x="16816" y="40730"/>
                        <a:pt x="14200" y="35001"/>
                        <a:pt x="12830" y="30890"/>
                      </a:cubicBezTo>
                      <a:cubicBezTo>
                        <a:pt x="10588" y="24289"/>
                        <a:pt x="11335" y="20677"/>
                        <a:pt x="8844" y="13950"/>
                      </a:cubicBezTo>
                      <a:cubicBezTo>
                        <a:pt x="6353" y="7473"/>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1" name="Freeform 6963">
                  <a:extLst>
                    <a:ext uri="{FF2B5EF4-FFF2-40B4-BE49-F238E27FC236}">
                      <a16:creationId xmlns:a16="http://schemas.microsoft.com/office/drawing/2014/main" id="{A400E289-8D5B-D5F0-77AE-58AEE1375F5F}"/>
                    </a:ext>
                  </a:extLst>
                </p:cNvPr>
                <p:cNvSpPr/>
                <p:nvPr/>
              </p:nvSpPr>
              <p:spPr>
                <a:xfrm>
                  <a:off x="9700240" y="1182338"/>
                  <a:ext cx="26478" cy="26338"/>
                </a:xfrm>
                <a:custGeom>
                  <a:avLst/>
                  <a:gdLst>
                    <a:gd name="connsiteX0" fmla="*/ 25222 w 26478"/>
                    <a:gd name="connsiteY0" fmla="*/ 7885 h 26338"/>
                    <a:gd name="connsiteX1" fmla="*/ 18746 w 26478"/>
                    <a:gd name="connsiteY1" fmla="*/ 25198 h 26338"/>
                    <a:gd name="connsiteX2" fmla="*/ 1183 w 26478"/>
                    <a:gd name="connsiteY2" fmla="*/ 18472 h 26338"/>
                    <a:gd name="connsiteX3" fmla="*/ 7660 w 26478"/>
                    <a:gd name="connsiteY3" fmla="*/ 1159 h 26338"/>
                    <a:gd name="connsiteX4" fmla="*/ 25222 w 26478"/>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338">
                      <a:moveTo>
                        <a:pt x="25222" y="7885"/>
                      </a:moveTo>
                      <a:cubicBezTo>
                        <a:pt x="28336" y="14486"/>
                        <a:pt x="25472" y="22334"/>
                        <a:pt x="18746" y="25198"/>
                      </a:cubicBezTo>
                      <a:cubicBezTo>
                        <a:pt x="12144" y="28188"/>
                        <a:pt x="4297" y="25074"/>
                        <a:pt x="1183" y="18472"/>
                      </a:cubicBezTo>
                      <a:cubicBezTo>
                        <a:pt x="-1806" y="11871"/>
                        <a:pt x="1058" y="4024"/>
                        <a:pt x="7660" y="1159"/>
                      </a:cubicBezTo>
                      <a:cubicBezTo>
                        <a:pt x="14386" y="-1831"/>
                        <a:pt x="22233" y="1159"/>
                        <a:pt x="25222"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2" name="Graphic 2987">
                <a:extLst>
                  <a:ext uri="{FF2B5EF4-FFF2-40B4-BE49-F238E27FC236}">
                    <a16:creationId xmlns:a16="http://schemas.microsoft.com/office/drawing/2014/main" id="{1D7FE3ED-E499-7459-D511-E3CEC452037E}"/>
                  </a:ext>
                </a:extLst>
              </p:cNvPr>
              <p:cNvGrpSpPr/>
              <p:nvPr/>
            </p:nvGrpSpPr>
            <p:grpSpPr>
              <a:xfrm>
                <a:off x="9673585" y="1194171"/>
                <a:ext cx="77198" cy="137888"/>
                <a:chOff x="9673585" y="1194171"/>
                <a:chExt cx="77198" cy="137888"/>
              </a:xfrm>
              <a:grpFill/>
            </p:grpSpPr>
            <p:sp>
              <p:nvSpPr>
                <p:cNvPr id="7080" name="Freeform 6965">
                  <a:extLst>
                    <a:ext uri="{FF2B5EF4-FFF2-40B4-BE49-F238E27FC236}">
                      <a16:creationId xmlns:a16="http://schemas.microsoft.com/office/drawing/2014/main" id="{E129FA82-19F5-33F0-5DB4-E6F6834CE8DD}"/>
                    </a:ext>
                  </a:extLst>
                </p:cNvPr>
                <p:cNvSpPr/>
                <p:nvPr/>
              </p:nvSpPr>
              <p:spPr>
                <a:xfrm>
                  <a:off x="9716868" y="1263089"/>
                  <a:ext cx="20801" cy="47830"/>
                </a:xfrm>
                <a:custGeom>
                  <a:avLst/>
                  <a:gdLst>
                    <a:gd name="connsiteX0" fmla="*/ 20802 w 20801"/>
                    <a:gd name="connsiteY0" fmla="*/ 47830 h 47830"/>
                    <a:gd name="connsiteX1" fmla="*/ 14947 w 20801"/>
                    <a:gd name="connsiteY1" fmla="*/ 30018 h 47830"/>
                    <a:gd name="connsiteX2" fmla="*/ 4733 w 20801"/>
                    <a:gd name="connsiteY2" fmla="*/ 15819 h 47830"/>
                    <a:gd name="connsiteX3" fmla="*/ 0 w 20801"/>
                    <a:gd name="connsiteY3" fmla="*/ 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2" y="47830"/>
                      </a:moveTo>
                      <a:cubicBezTo>
                        <a:pt x="19805" y="39485"/>
                        <a:pt x="17064" y="33755"/>
                        <a:pt x="14947" y="30018"/>
                      </a:cubicBezTo>
                      <a:cubicBezTo>
                        <a:pt x="11335" y="24040"/>
                        <a:pt x="8097" y="22047"/>
                        <a:pt x="4733" y="15819"/>
                      </a:cubicBezTo>
                      <a:cubicBezTo>
                        <a:pt x="1495" y="9715"/>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1" name="Freeform 6966">
                  <a:extLst>
                    <a:ext uri="{FF2B5EF4-FFF2-40B4-BE49-F238E27FC236}">
                      <a16:creationId xmlns:a16="http://schemas.microsoft.com/office/drawing/2014/main" id="{E8CC5231-CC1D-BE65-B0EF-6962AD901CCD}"/>
                    </a:ext>
                  </a:extLst>
                </p:cNvPr>
                <p:cNvSpPr/>
                <p:nvPr/>
              </p:nvSpPr>
              <p:spPr>
                <a:xfrm>
                  <a:off x="9711139" y="1271061"/>
                  <a:ext cx="22046" cy="47207"/>
                </a:xfrm>
                <a:custGeom>
                  <a:avLst/>
                  <a:gdLst>
                    <a:gd name="connsiteX0" fmla="*/ 0 w 22046"/>
                    <a:gd name="connsiteY0" fmla="*/ 0 h 47207"/>
                    <a:gd name="connsiteX1" fmla="*/ 9466 w 22046"/>
                    <a:gd name="connsiteY1" fmla="*/ 16192 h 47207"/>
                    <a:gd name="connsiteX2" fmla="*/ 13327 w 22046"/>
                    <a:gd name="connsiteY2" fmla="*/ 33132 h 47207"/>
                    <a:gd name="connsiteX3" fmla="*/ 22046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5604" y="6352"/>
                        <a:pt x="8220" y="12082"/>
                        <a:pt x="9466" y="16192"/>
                      </a:cubicBezTo>
                      <a:cubicBezTo>
                        <a:pt x="11584" y="22794"/>
                        <a:pt x="10961" y="26531"/>
                        <a:pt x="13327" y="33132"/>
                      </a:cubicBezTo>
                      <a:cubicBezTo>
                        <a:pt x="15694" y="39609"/>
                        <a:pt x="19306" y="44218"/>
                        <a:pt x="2204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2" name="Freeform 6967">
                  <a:extLst>
                    <a:ext uri="{FF2B5EF4-FFF2-40B4-BE49-F238E27FC236}">
                      <a16:creationId xmlns:a16="http://schemas.microsoft.com/office/drawing/2014/main" id="{AD74F4B5-8C96-5929-BABD-242F661D2FC4}"/>
                    </a:ext>
                  </a:extLst>
                </p:cNvPr>
                <p:cNvSpPr/>
                <p:nvPr/>
              </p:nvSpPr>
              <p:spPr>
                <a:xfrm>
                  <a:off x="9723808" y="1305701"/>
                  <a:ext cx="26975" cy="26358"/>
                </a:xfrm>
                <a:custGeom>
                  <a:avLst/>
                  <a:gdLst>
                    <a:gd name="connsiteX0" fmla="*/ 1156 w 26975"/>
                    <a:gd name="connsiteY0" fmla="*/ 18546 h 26358"/>
                    <a:gd name="connsiteX1" fmla="*/ 8007 w 26975"/>
                    <a:gd name="connsiteY1" fmla="*/ 1108 h 26358"/>
                    <a:gd name="connsiteX2" fmla="*/ 25819 w 26975"/>
                    <a:gd name="connsiteY2" fmla="*/ 7709 h 26358"/>
                    <a:gd name="connsiteX3" fmla="*/ 18968 w 26975"/>
                    <a:gd name="connsiteY3" fmla="*/ 25272 h 26358"/>
                    <a:gd name="connsiteX4" fmla="*/ 1156 w 26975"/>
                    <a:gd name="connsiteY4" fmla="*/ 18546 h 26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4" h="26358">
                      <a:moveTo>
                        <a:pt x="1156" y="18546"/>
                      </a:moveTo>
                      <a:cubicBezTo>
                        <a:pt x="-1833" y="11820"/>
                        <a:pt x="1156" y="3973"/>
                        <a:pt x="8007" y="1108"/>
                      </a:cubicBezTo>
                      <a:cubicBezTo>
                        <a:pt x="14858" y="-1757"/>
                        <a:pt x="22705" y="1108"/>
                        <a:pt x="25819" y="7709"/>
                      </a:cubicBezTo>
                      <a:cubicBezTo>
                        <a:pt x="28808" y="14311"/>
                        <a:pt x="25819" y="22158"/>
                        <a:pt x="18968" y="25272"/>
                      </a:cubicBezTo>
                      <a:cubicBezTo>
                        <a:pt x="12118" y="28137"/>
                        <a:pt x="4146" y="25147"/>
                        <a:pt x="1156" y="185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3" name="Freeform 6968">
                  <a:extLst>
                    <a:ext uri="{FF2B5EF4-FFF2-40B4-BE49-F238E27FC236}">
                      <a16:creationId xmlns:a16="http://schemas.microsoft.com/office/drawing/2014/main" id="{A52C1563-1CA9-8EAD-8648-5354623C9C4D}"/>
                    </a:ext>
                  </a:extLst>
                </p:cNvPr>
                <p:cNvSpPr/>
                <p:nvPr/>
              </p:nvSpPr>
              <p:spPr>
                <a:xfrm>
                  <a:off x="9686351" y="1215259"/>
                  <a:ext cx="20677" cy="47830"/>
                </a:xfrm>
                <a:custGeom>
                  <a:avLst/>
                  <a:gdLst>
                    <a:gd name="connsiteX0" fmla="*/ 0 w 20677"/>
                    <a:gd name="connsiteY0" fmla="*/ 0 h 47830"/>
                    <a:gd name="connsiteX1" fmla="*/ 5855 w 20677"/>
                    <a:gd name="connsiteY1" fmla="*/ 17812 h 47830"/>
                    <a:gd name="connsiteX2" fmla="*/ 15944 w 20677"/>
                    <a:gd name="connsiteY2" fmla="*/ 32011 h 47830"/>
                    <a:gd name="connsiteX3" fmla="*/ 20677 w 20677"/>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677" h="47830">
                      <a:moveTo>
                        <a:pt x="0" y="0"/>
                      </a:moveTo>
                      <a:cubicBezTo>
                        <a:pt x="1121" y="8345"/>
                        <a:pt x="3737" y="14075"/>
                        <a:pt x="5855" y="17812"/>
                      </a:cubicBezTo>
                      <a:cubicBezTo>
                        <a:pt x="9467" y="23791"/>
                        <a:pt x="12580" y="25783"/>
                        <a:pt x="15944" y="32011"/>
                      </a:cubicBezTo>
                      <a:cubicBezTo>
                        <a:pt x="19182" y="38115"/>
                        <a:pt x="20303" y="43844"/>
                        <a:pt x="20677"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4" name="Freeform 6969">
                  <a:extLst>
                    <a:ext uri="{FF2B5EF4-FFF2-40B4-BE49-F238E27FC236}">
                      <a16:creationId xmlns:a16="http://schemas.microsoft.com/office/drawing/2014/main" id="{FE8EADB6-A4A1-D2AA-7148-E00B6CBC558F}"/>
                    </a:ext>
                  </a:extLst>
                </p:cNvPr>
                <p:cNvSpPr/>
                <p:nvPr/>
              </p:nvSpPr>
              <p:spPr>
                <a:xfrm>
                  <a:off x="9690587" y="1207785"/>
                  <a:ext cx="22295" cy="47207"/>
                </a:xfrm>
                <a:custGeom>
                  <a:avLst/>
                  <a:gdLst>
                    <a:gd name="connsiteX0" fmla="*/ 22296 w 22295"/>
                    <a:gd name="connsiteY0" fmla="*/ 47207 h 47207"/>
                    <a:gd name="connsiteX1" fmla="*/ 12705 w 22295"/>
                    <a:gd name="connsiteY1" fmla="*/ 31015 h 47207"/>
                    <a:gd name="connsiteX2" fmla="*/ 8719 w 22295"/>
                    <a:gd name="connsiteY2" fmla="*/ 14075 h 47207"/>
                    <a:gd name="connsiteX3" fmla="*/ 0 w 22295"/>
                    <a:gd name="connsiteY3" fmla="*/ 0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47207"/>
                      </a:moveTo>
                      <a:cubicBezTo>
                        <a:pt x="16691" y="40855"/>
                        <a:pt x="14075" y="35125"/>
                        <a:pt x="12705" y="31015"/>
                      </a:cubicBezTo>
                      <a:cubicBezTo>
                        <a:pt x="10587" y="24413"/>
                        <a:pt x="11210" y="20801"/>
                        <a:pt x="8719" y="14075"/>
                      </a:cubicBezTo>
                      <a:cubicBezTo>
                        <a:pt x="6353" y="7598"/>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5" name="Freeform 6970">
                  <a:extLst>
                    <a:ext uri="{FF2B5EF4-FFF2-40B4-BE49-F238E27FC236}">
                      <a16:creationId xmlns:a16="http://schemas.microsoft.com/office/drawing/2014/main" id="{DE135B05-203C-3162-0272-6B29C9900A69}"/>
                    </a:ext>
                  </a:extLst>
                </p:cNvPr>
                <p:cNvSpPr/>
                <p:nvPr/>
              </p:nvSpPr>
              <p:spPr>
                <a:xfrm>
                  <a:off x="9673585" y="1194171"/>
                  <a:ext cx="26281" cy="26338"/>
                </a:xfrm>
                <a:custGeom>
                  <a:avLst/>
                  <a:gdLst>
                    <a:gd name="connsiteX0" fmla="*/ 25098 w 26281"/>
                    <a:gd name="connsiteY0" fmla="*/ 7885 h 26338"/>
                    <a:gd name="connsiteX1" fmla="*/ 18621 w 26281"/>
                    <a:gd name="connsiteY1" fmla="*/ 25198 h 26338"/>
                    <a:gd name="connsiteX2" fmla="*/ 1183 w 26281"/>
                    <a:gd name="connsiteY2" fmla="*/ 18472 h 26338"/>
                    <a:gd name="connsiteX3" fmla="*/ 7660 w 26281"/>
                    <a:gd name="connsiteY3" fmla="*/ 1159 h 26338"/>
                    <a:gd name="connsiteX4" fmla="*/ 25098 w 26281"/>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338">
                      <a:moveTo>
                        <a:pt x="25098" y="7885"/>
                      </a:moveTo>
                      <a:cubicBezTo>
                        <a:pt x="28088" y="14486"/>
                        <a:pt x="25222" y="22334"/>
                        <a:pt x="18621" y="25198"/>
                      </a:cubicBezTo>
                      <a:cubicBezTo>
                        <a:pt x="12019" y="28188"/>
                        <a:pt x="4172" y="25074"/>
                        <a:pt x="1183" y="18472"/>
                      </a:cubicBezTo>
                      <a:cubicBezTo>
                        <a:pt x="-1806" y="11871"/>
                        <a:pt x="1058" y="4024"/>
                        <a:pt x="7660" y="1159"/>
                      </a:cubicBezTo>
                      <a:cubicBezTo>
                        <a:pt x="14262" y="-1831"/>
                        <a:pt x="22108" y="1159"/>
                        <a:pt x="25098"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3" name="Graphic 2987">
                <a:extLst>
                  <a:ext uri="{FF2B5EF4-FFF2-40B4-BE49-F238E27FC236}">
                    <a16:creationId xmlns:a16="http://schemas.microsoft.com/office/drawing/2014/main" id="{C4A2A09F-AF8B-660F-D385-A4F7341B1572}"/>
                  </a:ext>
                </a:extLst>
              </p:cNvPr>
              <p:cNvGrpSpPr/>
              <p:nvPr/>
            </p:nvGrpSpPr>
            <p:grpSpPr>
              <a:xfrm>
                <a:off x="9646703" y="1205900"/>
                <a:ext cx="76410" cy="138313"/>
                <a:chOff x="9646703" y="1205900"/>
                <a:chExt cx="76410" cy="138313"/>
              </a:xfrm>
              <a:grpFill/>
            </p:grpSpPr>
            <p:sp>
              <p:nvSpPr>
                <p:cNvPr id="7074" name="Freeform 6972">
                  <a:extLst>
                    <a:ext uri="{FF2B5EF4-FFF2-40B4-BE49-F238E27FC236}">
                      <a16:creationId xmlns:a16="http://schemas.microsoft.com/office/drawing/2014/main" id="{D40D7DD5-FD2A-F0C7-C2A1-BA2D485930CA}"/>
                    </a:ext>
                  </a:extLst>
                </p:cNvPr>
                <p:cNvSpPr/>
                <p:nvPr/>
              </p:nvSpPr>
              <p:spPr>
                <a:xfrm>
                  <a:off x="9689590" y="1275046"/>
                  <a:ext cx="20677" cy="47954"/>
                </a:xfrm>
                <a:custGeom>
                  <a:avLst/>
                  <a:gdLst>
                    <a:gd name="connsiteX0" fmla="*/ 20677 w 20677"/>
                    <a:gd name="connsiteY0" fmla="*/ 47955 h 47954"/>
                    <a:gd name="connsiteX1" fmla="*/ 14822 w 20677"/>
                    <a:gd name="connsiteY1" fmla="*/ 30018 h 47954"/>
                    <a:gd name="connsiteX2" fmla="*/ 4733 w 20677"/>
                    <a:gd name="connsiteY2" fmla="*/ 15819 h 47954"/>
                    <a:gd name="connsiteX3" fmla="*/ 0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20677" y="47955"/>
                      </a:moveTo>
                      <a:cubicBezTo>
                        <a:pt x="19680" y="39609"/>
                        <a:pt x="17064" y="33880"/>
                        <a:pt x="14822" y="30018"/>
                      </a:cubicBezTo>
                      <a:cubicBezTo>
                        <a:pt x="11210" y="24040"/>
                        <a:pt x="8097" y="22047"/>
                        <a:pt x="4733" y="15819"/>
                      </a:cubicBezTo>
                      <a:cubicBezTo>
                        <a:pt x="1495" y="9716"/>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5" name="Freeform 6973">
                  <a:extLst>
                    <a:ext uri="{FF2B5EF4-FFF2-40B4-BE49-F238E27FC236}">
                      <a16:creationId xmlns:a16="http://schemas.microsoft.com/office/drawing/2014/main" id="{FDDEC68D-E1D4-67D6-3045-32A519C5E794}"/>
                    </a:ext>
                  </a:extLst>
                </p:cNvPr>
                <p:cNvSpPr/>
                <p:nvPr/>
              </p:nvSpPr>
              <p:spPr>
                <a:xfrm>
                  <a:off x="9683985" y="1283143"/>
                  <a:ext cx="21797" cy="47331"/>
                </a:xfrm>
                <a:custGeom>
                  <a:avLst/>
                  <a:gdLst>
                    <a:gd name="connsiteX0" fmla="*/ 0 w 21797"/>
                    <a:gd name="connsiteY0" fmla="*/ 0 h 47331"/>
                    <a:gd name="connsiteX1" fmla="*/ 9467 w 21797"/>
                    <a:gd name="connsiteY1" fmla="*/ 16317 h 47331"/>
                    <a:gd name="connsiteX2" fmla="*/ 13204 w 21797"/>
                    <a:gd name="connsiteY2" fmla="*/ 33257 h 47331"/>
                    <a:gd name="connsiteX3" fmla="*/ 21798 w 21797"/>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797" h="47331">
                      <a:moveTo>
                        <a:pt x="0" y="0"/>
                      </a:moveTo>
                      <a:cubicBezTo>
                        <a:pt x="5605" y="6352"/>
                        <a:pt x="8097" y="12082"/>
                        <a:pt x="9467" y="16317"/>
                      </a:cubicBezTo>
                      <a:cubicBezTo>
                        <a:pt x="11585" y="23043"/>
                        <a:pt x="10837" y="26655"/>
                        <a:pt x="13204" y="33257"/>
                      </a:cubicBezTo>
                      <a:cubicBezTo>
                        <a:pt x="15570" y="39734"/>
                        <a:pt x="19182" y="44467"/>
                        <a:pt x="21798"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6" name="Freeform 6974">
                  <a:extLst>
                    <a:ext uri="{FF2B5EF4-FFF2-40B4-BE49-F238E27FC236}">
                      <a16:creationId xmlns:a16="http://schemas.microsoft.com/office/drawing/2014/main" id="{130BB071-6FD8-9ECA-DC47-5DCE334042D8}"/>
                    </a:ext>
                  </a:extLst>
                </p:cNvPr>
                <p:cNvSpPr/>
                <p:nvPr/>
              </p:nvSpPr>
              <p:spPr>
                <a:xfrm>
                  <a:off x="9696300" y="1317607"/>
                  <a:ext cx="26813" cy="26606"/>
                </a:xfrm>
                <a:custGeom>
                  <a:avLst/>
                  <a:gdLst>
                    <a:gd name="connsiteX0" fmla="*/ 1138 w 26813"/>
                    <a:gd name="connsiteY0" fmla="*/ 18721 h 26606"/>
                    <a:gd name="connsiteX1" fmla="*/ 7988 w 26813"/>
                    <a:gd name="connsiteY1" fmla="*/ 1159 h 26606"/>
                    <a:gd name="connsiteX2" fmla="*/ 25676 w 26813"/>
                    <a:gd name="connsiteY2" fmla="*/ 7885 h 26606"/>
                    <a:gd name="connsiteX3" fmla="*/ 18825 w 26813"/>
                    <a:gd name="connsiteY3" fmla="*/ 25448 h 26606"/>
                    <a:gd name="connsiteX4" fmla="*/ 1138 w 26813"/>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606">
                      <a:moveTo>
                        <a:pt x="1138" y="18721"/>
                      </a:moveTo>
                      <a:cubicBezTo>
                        <a:pt x="-1852" y="11995"/>
                        <a:pt x="1262" y="4148"/>
                        <a:pt x="7988" y="1159"/>
                      </a:cubicBezTo>
                      <a:cubicBezTo>
                        <a:pt x="14715" y="-1831"/>
                        <a:pt x="22687" y="1159"/>
                        <a:pt x="25676" y="7885"/>
                      </a:cubicBezTo>
                      <a:cubicBezTo>
                        <a:pt x="28665" y="14611"/>
                        <a:pt x="25551" y="22458"/>
                        <a:pt x="18825" y="25448"/>
                      </a:cubicBezTo>
                      <a:cubicBezTo>
                        <a:pt x="12099" y="28437"/>
                        <a:pt x="4127" y="25448"/>
                        <a:pt x="1138"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7" name="Freeform 6975">
                  <a:extLst>
                    <a:ext uri="{FF2B5EF4-FFF2-40B4-BE49-F238E27FC236}">
                      <a16:creationId xmlns:a16="http://schemas.microsoft.com/office/drawing/2014/main" id="{A6724E39-B484-A5E6-5D59-DEDB62C7FE8F}"/>
                    </a:ext>
                  </a:extLst>
                </p:cNvPr>
                <p:cNvSpPr/>
                <p:nvPr/>
              </p:nvSpPr>
              <p:spPr>
                <a:xfrm>
                  <a:off x="9659572" y="1227092"/>
                  <a:ext cx="20676" cy="47954"/>
                </a:xfrm>
                <a:custGeom>
                  <a:avLst/>
                  <a:gdLst>
                    <a:gd name="connsiteX0" fmla="*/ 0 w 20676"/>
                    <a:gd name="connsiteY0" fmla="*/ 0 h 47954"/>
                    <a:gd name="connsiteX1" fmla="*/ 5854 w 20676"/>
                    <a:gd name="connsiteY1" fmla="*/ 17936 h 47954"/>
                    <a:gd name="connsiteX2" fmla="*/ 15943 w 20676"/>
                    <a:gd name="connsiteY2" fmla="*/ 32136 h 47954"/>
                    <a:gd name="connsiteX3" fmla="*/ 20676 w 2067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676" h="47954">
                      <a:moveTo>
                        <a:pt x="0" y="0"/>
                      </a:moveTo>
                      <a:cubicBezTo>
                        <a:pt x="997" y="8345"/>
                        <a:pt x="3612" y="14075"/>
                        <a:pt x="5854" y="17936"/>
                      </a:cubicBezTo>
                      <a:cubicBezTo>
                        <a:pt x="9342" y="24040"/>
                        <a:pt x="12580" y="25908"/>
                        <a:pt x="15943" y="32136"/>
                      </a:cubicBezTo>
                      <a:cubicBezTo>
                        <a:pt x="19182" y="38239"/>
                        <a:pt x="20303" y="43969"/>
                        <a:pt x="20676"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8" name="Freeform 6976">
                  <a:extLst>
                    <a:ext uri="{FF2B5EF4-FFF2-40B4-BE49-F238E27FC236}">
                      <a16:creationId xmlns:a16="http://schemas.microsoft.com/office/drawing/2014/main" id="{5FBA512A-6015-2632-21F2-507AE988E7FD}"/>
                    </a:ext>
                  </a:extLst>
                </p:cNvPr>
                <p:cNvSpPr/>
                <p:nvPr/>
              </p:nvSpPr>
              <p:spPr>
                <a:xfrm>
                  <a:off x="9663807" y="1219618"/>
                  <a:ext cx="21922" cy="47331"/>
                </a:xfrm>
                <a:custGeom>
                  <a:avLst/>
                  <a:gdLst>
                    <a:gd name="connsiteX0" fmla="*/ 21922 w 21922"/>
                    <a:gd name="connsiteY0" fmla="*/ 47332 h 47331"/>
                    <a:gd name="connsiteX1" fmla="*/ 12456 w 21922"/>
                    <a:gd name="connsiteY1" fmla="*/ 31015 h 47331"/>
                    <a:gd name="connsiteX2" fmla="*/ 8595 w 21922"/>
                    <a:gd name="connsiteY2" fmla="*/ 14075 h 47331"/>
                    <a:gd name="connsiteX3" fmla="*/ 0 w 21922"/>
                    <a:gd name="connsiteY3" fmla="*/ 0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47332"/>
                      </a:moveTo>
                      <a:cubicBezTo>
                        <a:pt x="16317" y="40979"/>
                        <a:pt x="13826" y="35250"/>
                        <a:pt x="12456" y="31015"/>
                      </a:cubicBezTo>
                      <a:cubicBezTo>
                        <a:pt x="10339" y="24289"/>
                        <a:pt x="11086" y="20677"/>
                        <a:pt x="8595" y="14075"/>
                      </a:cubicBezTo>
                      <a:cubicBezTo>
                        <a:pt x="6228" y="7598"/>
                        <a:pt x="2616"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9" name="Freeform 6977">
                  <a:extLst>
                    <a:ext uri="{FF2B5EF4-FFF2-40B4-BE49-F238E27FC236}">
                      <a16:creationId xmlns:a16="http://schemas.microsoft.com/office/drawing/2014/main" id="{0146987C-DD3B-0CCC-32BD-246187F54862}"/>
                    </a:ext>
                  </a:extLst>
                </p:cNvPr>
                <p:cNvSpPr/>
                <p:nvPr/>
              </p:nvSpPr>
              <p:spPr>
                <a:xfrm>
                  <a:off x="9646703" y="1205900"/>
                  <a:ext cx="26361" cy="26564"/>
                </a:xfrm>
                <a:custGeom>
                  <a:avLst/>
                  <a:gdLst>
                    <a:gd name="connsiteX0" fmla="*/ 25201 w 26361"/>
                    <a:gd name="connsiteY0" fmla="*/ 7988 h 26564"/>
                    <a:gd name="connsiteX1" fmla="*/ 18599 w 26361"/>
                    <a:gd name="connsiteY1" fmla="*/ 25427 h 26564"/>
                    <a:gd name="connsiteX2" fmla="*/ 1161 w 26361"/>
                    <a:gd name="connsiteY2" fmla="*/ 18576 h 26564"/>
                    <a:gd name="connsiteX3" fmla="*/ 7762 w 26361"/>
                    <a:gd name="connsiteY3" fmla="*/ 1138 h 26564"/>
                    <a:gd name="connsiteX4" fmla="*/ 25201 w 26361"/>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63">
                      <a:moveTo>
                        <a:pt x="25201" y="7988"/>
                      </a:moveTo>
                      <a:cubicBezTo>
                        <a:pt x="28190" y="14715"/>
                        <a:pt x="25201" y="22437"/>
                        <a:pt x="18599" y="25427"/>
                      </a:cubicBezTo>
                      <a:cubicBezTo>
                        <a:pt x="11997" y="28416"/>
                        <a:pt x="4150" y="25302"/>
                        <a:pt x="1161" y="18576"/>
                      </a:cubicBezTo>
                      <a:cubicBezTo>
                        <a:pt x="-1828" y="11850"/>
                        <a:pt x="1161" y="4127"/>
                        <a:pt x="7762" y="1138"/>
                      </a:cubicBezTo>
                      <a:cubicBezTo>
                        <a:pt x="14364" y="-1852"/>
                        <a:pt x="22211" y="1262"/>
                        <a:pt x="2520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4" name="Graphic 2987">
                <a:extLst>
                  <a:ext uri="{FF2B5EF4-FFF2-40B4-BE49-F238E27FC236}">
                    <a16:creationId xmlns:a16="http://schemas.microsoft.com/office/drawing/2014/main" id="{73DA0612-5DF5-B08A-261C-560F1948DBDF}"/>
                  </a:ext>
                </a:extLst>
              </p:cNvPr>
              <p:cNvGrpSpPr/>
              <p:nvPr/>
            </p:nvGrpSpPr>
            <p:grpSpPr>
              <a:xfrm>
                <a:off x="9620119" y="1217733"/>
                <a:ext cx="75589" cy="138668"/>
                <a:chOff x="9620119" y="1217733"/>
                <a:chExt cx="75589" cy="138668"/>
              </a:xfrm>
              <a:grpFill/>
            </p:grpSpPr>
            <p:sp>
              <p:nvSpPr>
                <p:cNvPr id="7068" name="Freeform 6979">
                  <a:extLst>
                    <a:ext uri="{FF2B5EF4-FFF2-40B4-BE49-F238E27FC236}">
                      <a16:creationId xmlns:a16="http://schemas.microsoft.com/office/drawing/2014/main" id="{7607B4AB-D47C-9F31-0339-18F330E38436}"/>
                    </a:ext>
                  </a:extLst>
                </p:cNvPr>
                <p:cNvSpPr/>
                <p:nvPr/>
              </p:nvSpPr>
              <p:spPr>
                <a:xfrm>
                  <a:off x="9662561" y="1287128"/>
                  <a:ext cx="20302" cy="47954"/>
                </a:xfrm>
                <a:custGeom>
                  <a:avLst/>
                  <a:gdLst>
                    <a:gd name="connsiteX0" fmla="*/ 20303 w 20302"/>
                    <a:gd name="connsiteY0" fmla="*/ 47955 h 47954"/>
                    <a:gd name="connsiteX1" fmla="*/ 14573 w 20302"/>
                    <a:gd name="connsiteY1" fmla="*/ 30018 h 47954"/>
                    <a:gd name="connsiteX2" fmla="*/ 4609 w 20302"/>
                    <a:gd name="connsiteY2" fmla="*/ 15819 h 47954"/>
                    <a:gd name="connsiteX3" fmla="*/ 0 w 20302"/>
                    <a:gd name="connsiteY3" fmla="*/ 0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47955"/>
                      </a:moveTo>
                      <a:cubicBezTo>
                        <a:pt x="19306" y="39609"/>
                        <a:pt x="16815" y="33755"/>
                        <a:pt x="14573" y="30018"/>
                      </a:cubicBezTo>
                      <a:cubicBezTo>
                        <a:pt x="11086" y="23915"/>
                        <a:pt x="7847" y="22047"/>
                        <a:pt x="4609" y="15819"/>
                      </a:cubicBezTo>
                      <a:cubicBezTo>
                        <a:pt x="1370" y="9715"/>
                        <a:pt x="374"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9" name="Freeform 6980">
                  <a:extLst>
                    <a:ext uri="{FF2B5EF4-FFF2-40B4-BE49-F238E27FC236}">
                      <a16:creationId xmlns:a16="http://schemas.microsoft.com/office/drawing/2014/main" id="{E4EB8715-C0DE-E6CA-D8CC-020D1537C101}"/>
                    </a:ext>
                  </a:extLst>
                </p:cNvPr>
                <p:cNvSpPr/>
                <p:nvPr/>
              </p:nvSpPr>
              <p:spPr>
                <a:xfrm>
                  <a:off x="9656831" y="1295100"/>
                  <a:ext cx="21673" cy="47456"/>
                </a:xfrm>
                <a:custGeom>
                  <a:avLst/>
                  <a:gdLst>
                    <a:gd name="connsiteX0" fmla="*/ 0 w 21673"/>
                    <a:gd name="connsiteY0" fmla="*/ 0 h 47456"/>
                    <a:gd name="connsiteX1" fmla="*/ 9342 w 21673"/>
                    <a:gd name="connsiteY1" fmla="*/ 16317 h 47456"/>
                    <a:gd name="connsiteX2" fmla="*/ 13079 w 21673"/>
                    <a:gd name="connsiteY2" fmla="*/ 33381 h 47456"/>
                    <a:gd name="connsiteX3" fmla="*/ 21674 w 21673"/>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3" h="47456">
                      <a:moveTo>
                        <a:pt x="0" y="0"/>
                      </a:moveTo>
                      <a:cubicBezTo>
                        <a:pt x="5481" y="6352"/>
                        <a:pt x="7972" y="12207"/>
                        <a:pt x="9342" y="16317"/>
                      </a:cubicBezTo>
                      <a:cubicBezTo>
                        <a:pt x="11460" y="23043"/>
                        <a:pt x="10713" y="26655"/>
                        <a:pt x="13079" y="33381"/>
                      </a:cubicBezTo>
                      <a:cubicBezTo>
                        <a:pt x="15446" y="39858"/>
                        <a:pt x="18933" y="44592"/>
                        <a:pt x="2167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0" name="Freeform 6981">
                  <a:extLst>
                    <a:ext uri="{FF2B5EF4-FFF2-40B4-BE49-F238E27FC236}">
                      <a16:creationId xmlns:a16="http://schemas.microsoft.com/office/drawing/2014/main" id="{349A612E-512B-29DB-ED94-50A167DF222B}"/>
                    </a:ext>
                  </a:extLst>
                </p:cNvPr>
                <p:cNvSpPr/>
                <p:nvPr/>
              </p:nvSpPr>
              <p:spPr>
                <a:xfrm>
                  <a:off x="9668970" y="1329814"/>
                  <a:ext cx="26738" cy="26587"/>
                </a:xfrm>
                <a:custGeom>
                  <a:avLst/>
                  <a:gdLst>
                    <a:gd name="connsiteX0" fmla="*/ 1065 w 26738"/>
                    <a:gd name="connsiteY0" fmla="*/ 18721 h 26587"/>
                    <a:gd name="connsiteX1" fmla="*/ 8040 w 26738"/>
                    <a:gd name="connsiteY1" fmla="*/ 1159 h 26587"/>
                    <a:gd name="connsiteX2" fmla="*/ 25603 w 26738"/>
                    <a:gd name="connsiteY2" fmla="*/ 7885 h 26587"/>
                    <a:gd name="connsiteX3" fmla="*/ 18628 w 26738"/>
                    <a:gd name="connsiteY3" fmla="*/ 25448 h 26587"/>
                    <a:gd name="connsiteX4" fmla="*/ 1065 w 26738"/>
                    <a:gd name="connsiteY4" fmla="*/ 1872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87">
                      <a:moveTo>
                        <a:pt x="1065" y="18721"/>
                      </a:moveTo>
                      <a:cubicBezTo>
                        <a:pt x="-1800" y="11995"/>
                        <a:pt x="1314" y="4148"/>
                        <a:pt x="8040" y="1159"/>
                      </a:cubicBezTo>
                      <a:cubicBezTo>
                        <a:pt x="14766" y="-1831"/>
                        <a:pt x="22738" y="1159"/>
                        <a:pt x="25603" y="7885"/>
                      </a:cubicBezTo>
                      <a:cubicBezTo>
                        <a:pt x="28592" y="14611"/>
                        <a:pt x="25478" y="22458"/>
                        <a:pt x="18628" y="25448"/>
                      </a:cubicBezTo>
                      <a:cubicBezTo>
                        <a:pt x="11901" y="28437"/>
                        <a:pt x="3930" y="25323"/>
                        <a:pt x="106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1" name="Freeform 6982">
                  <a:extLst>
                    <a:ext uri="{FF2B5EF4-FFF2-40B4-BE49-F238E27FC236}">
                      <a16:creationId xmlns:a16="http://schemas.microsoft.com/office/drawing/2014/main" id="{39D1368F-B348-FFCA-BF4F-7E78F86BFF73}"/>
                    </a:ext>
                  </a:extLst>
                </p:cNvPr>
                <p:cNvSpPr/>
                <p:nvPr/>
              </p:nvSpPr>
              <p:spPr>
                <a:xfrm>
                  <a:off x="9632667" y="1238925"/>
                  <a:ext cx="20302" cy="48079"/>
                </a:xfrm>
                <a:custGeom>
                  <a:avLst/>
                  <a:gdLst>
                    <a:gd name="connsiteX0" fmla="*/ 0 w 20302"/>
                    <a:gd name="connsiteY0" fmla="*/ 0 h 48079"/>
                    <a:gd name="connsiteX1" fmla="*/ 5730 w 20302"/>
                    <a:gd name="connsiteY1" fmla="*/ 17936 h 48079"/>
                    <a:gd name="connsiteX2" fmla="*/ 15694 w 20302"/>
                    <a:gd name="connsiteY2" fmla="*/ 32260 h 48079"/>
                    <a:gd name="connsiteX3" fmla="*/ 20303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0" y="0"/>
                      </a:moveTo>
                      <a:cubicBezTo>
                        <a:pt x="997" y="8345"/>
                        <a:pt x="3488" y="14200"/>
                        <a:pt x="5730" y="17936"/>
                      </a:cubicBezTo>
                      <a:cubicBezTo>
                        <a:pt x="9218" y="24040"/>
                        <a:pt x="12332" y="25908"/>
                        <a:pt x="15694" y="32260"/>
                      </a:cubicBezTo>
                      <a:cubicBezTo>
                        <a:pt x="18933" y="38364"/>
                        <a:pt x="19930" y="44218"/>
                        <a:pt x="20303"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2" name="Freeform 6983">
                  <a:extLst>
                    <a:ext uri="{FF2B5EF4-FFF2-40B4-BE49-F238E27FC236}">
                      <a16:creationId xmlns:a16="http://schemas.microsoft.com/office/drawing/2014/main" id="{85F9FBB0-0615-1220-484B-02F8EEAE3441}"/>
                    </a:ext>
                  </a:extLst>
                </p:cNvPr>
                <p:cNvSpPr/>
                <p:nvPr/>
              </p:nvSpPr>
              <p:spPr>
                <a:xfrm>
                  <a:off x="9637027" y="1231451"/>
                  <a:ext cx="21672" cy="47456"/>
                </a:xfrm>
                <a:custGeom>
                  <a:avLst/>
                  <a:gdLst>
                    <a:gd name="connsiteX0" fmla="*/ 21673 w 21672"/>
                    <a:gd name="connsiteY0" fmla="*/ 47456 h 47456"/>
                    <a:gd name="connsiteX1" fmla="*/ 12331 w 21672"/>
                    <a:gd name="connsiteY1" fmla="*/ 31139 h 47456"/>
                    <a:gd name="connsiteX2" fmla="*/ 8595 w 21672"/>
                    <a:gd name="connsiteY2" fmla="*/ 14075 h 47456"/>
                    <a:gd name="connsiteX3" fmla="*/ 0 w 21672"/>
                    <a:gd name="connsiteY3" fmla="*/ 0 h 47456"/>
                  </a:gdLst>
                  <a:ahLst/>
                  <a:cxnLst>
                    <a:cxn ang="0">
                      <a:pos x="connsiteX0" y="connsiteY0"/>
                    </a:cxn>
                    <a:cxn ang="0">
                      <a:pos x="connsiteX1" y="connsiteY1"/>
                    </a:cxn>
                    <a:cxn ang="0">
                      <a:pos x="connsiteX2" y="connsiteY2"/>
                    </a:cxn>
                    <a:cxn ang="0">
                      <a:pos x="connsiteX3" y="connsiteY3"/>
                    </a:cxn>
                  </a:cxnLst>
                  <a:rect l="l" t="t" r="r" b="b"/>
                  <a:pathLst>
                    <a:path w="21672" h="47456">
                      <a:moveTo>
                        <a:pt x="21673" y="47456"/>
                      </a:moveTo>
                      <a:cubicBezTo>
                        <a:pt x="16192" y="41104"/>
                        <a:pt x="13701" y="35250"/>
                        <a:pt x="12331" y="31139"/>
                      </a:cubicBezTo>
                      <a:cubicBezTo>
                        <a:pt x="10214" y="24413"/>
                        <a:pt x="10961" y="20801"/>
                        <a:pt x="8595" y="14075"/>
                      </a:cubicBezTo>
                      <a:cubicBezTo>
                        <a:pt x="6228" y="7598"/>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3" name="Freeform 6984">
                  <a:extLst>
                    <a:ext uri="{FF2B5EF4-FFF2-40B4-BE49-F238E27FC236}">
                      <a16:creationId xmlns:a16="http://schemas.microsoft.com/office/drawing/2014/main" id="{F7722555-3DF3-ACAE-299F-DE7E87D2EC59}"/>
                    </a:ext>
                  </a:extLst>
                </p:cNvPr>
                <p:cNvSpPr/>
                <p:nvPr/>
              </p:nvSpPr>
              <p:spPr>
                <a:xfrm>
                  <a:off x="9620119" y="1217733"/>
                  <a:ext cx="26165" cy="26564"/>
                </a:xfrm>
                <a:custGeom>
                  <a:avLst/>
                  <a:gdLst>
                    <a:gd name="connsiteX0" fmla="*/ 25004 w 26165"/>
                    <a:gd name="connsiteY0" fmla="*/ 7988 h 26564"/>
                    <a:gd name="connsiteX1" fmla="*/ 18403 w 26165"/>
                    <a:gd name="connsiteY1" fmla="*/ 25427 h 26564"/>
                    <a:gd name="connsiteX2" fmla="*/ 1089 w 26165"/>
                    <a:gd name="connsiteY2" fmla="*/ 18576 h 26564"/>
                    <a:gd name="connsiteX3" fmla="*/ 7691 w 26165"/>
                    <a:gd name="connsiteY3" fmla="*/ 1138 h 26564"/>
                    <a:gd name="connsiteX4" fmla="*/ 25004 w 26165"/>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5" h="26563">
                      <a:moveTo>
                        <a:pt x="25004" y="7988"/>
                      </a:moveTo>
                      <a:cubicBezTo>
                        <a:pt x="27994" y="14715"/>
                        <a:pt x="25004" y="22437"/>
                        <a:pt x="18403" y="25427"/>
                      </a:cubicBezTo>
                      <a:cubicBezTo>
                        <a:pt x="11801" y="28416"/>
                        <a:pt x="3953" y="25302"/>
                        <a:pt x="1089" y="18576"/>
                      </a:cubicBezTo>
                      <a:cubicBezTo>
                        <a:pt x="-1776" y="11850"/>
                        <a:pt x="1214" y="4003"/>
                        <a:pt x="7691" y="1138"/>
                      </a:cubicBezTo>
                      <a:cubicBezTo>
                        <a:pt x="14292" y="-1852"/>
                        <a:pt x="22014" y="1262"/>
                        <a:pt x="25004"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5" name="Graphic 2987">
                <a:extLst>
                  <a:ext uri="{FF2B5EF4-FFF2-40B4-BE49-F238E27FC236}">
                    <a16:creationId xmlns:a16="http://schemas.microsoft.com/office/drawing/2014/main" id="{AFC5B97A-BFB6-BF4E-E12A-24C12AA18FE1}"/>
                  </a:ext>
                </a:extLst>
              </p:cNvPr>
              <p:cNvGrpSpPr/>
              <p:nvPr/>
            </p:nvGrpSpPr>
            <p:grpSpPr>
              <a:xfrm>
                <a:off x="9593341" y="1229566"/>
                <a:ext cx="74943" cy="138936"/>
                <a:chOff x="9593341" y="1229566"/>
                <a:chExt cx="74943" cy="138936"/>
              </a:xfrm>
              <a:grpFill/>
            </p:grpSpPr>
            <p:sp>
              <p:nvSpPr>
                <p:cNvPr id="7062" name="Freeform 6986">
                  <a:extLst>
                    <a:ext uri="{FF2B5EF4-FFF2-40B4-BE49-F238E27FC236}">
                      <a16:creationId xmlns:a16="http://schemas.microsoft.com/office/drawing/2014/main" id="{9813C3D5-6CDD-88EC-83A9-03429737B91B}"/>
                    </a:ext>
                  </a:extLst>
                </p:cNvPr>
                <p:cNvSpPr/>
                <p:nvPr/>
              </p:nvSpPr>
              <p:spPr>
                <a:xfrm>
                  <a:off x="9635283" y="1298961"/>
                  <a:ext cx="20053" cy="48203"/>
                </a:xfrm>
                <a:custGeom>
                  <a:avLst/>
                  <a:gdLst>
                    <a:gd name="connsiteX0" fmla="*/ 20054 w 20053"/>
                    <a:gd name="connsiteY0" fmla="*/ 48204 h 48203"/>
                    <a:gd name="connsiteX1" fmla="*/ 14448 w 20053"/>
                    <a:gd name="connsiteY1" fmla="*/ 30268 h 48203"/>
                    <a:gd name="connsiteX2" fmla="*/ 4484 w 20053"/>
                    <a:gd name="connsiteY2" fmla="*/ 15943 h 48203"/>
                    <a:gd name="connsiteX3" fmla="*/ 0 w 20053"/>
                    <a:gd name="connsiteY3" fmla="*/ 0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48204"/>
                      </a:moveTo>
                      <a:cubicBezTo>
                        <a:pt x="19182" y="39858"/>
                        <a:pt x="16566" y="34004"/>
                        <a:pt x="14448" y="30268"/>
                      </a:cubicBezTo>
                      <a:cubicBezTo>
                        <a:pt x="10961" y="24164"/>
                        <a:pt x="7847" y="22296"/>
                        <a:pt x="4484" y="15943"/>
                      </a:cubicBezTo>
                      <a:cubicBezTo>
                        <a:pt x="1245" y="9840"/>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3" name="Freeform 6987">
                  <a:extLst>
                    <a:ext uri="{FF2B5EF4-FFF2-40B4-BE49-F238E27FC236}">
                      <a16:creationId xmlns:a16="http://schemas.microsoft.com/office/drawing/2014/main" id="{FB9F3590-3950-B614-4513-2F48B7962886}"/>
                    </a:ext>
                  </a:extLst>
                </p:cNvPr>
                <p:cNvSpPr/>
                <p:nvPr/>
              </p:nvSpPr>
              <p:spPr>
                <a:xfrm>
                  <a:off x="9629553" y="1307058"/>
                  <a:ext cx="21299" cy="47581"/>
                </a:xfrm>
                <a:custGeom>
                  <a:avLst/>
                  <a:gdLst>
                    <a:gd name="connsiteX0" fmla="*/ 0 w 21299"/>
                    <a:gd name="connsiteY0" fmla="*/ 0 h 47581"/>
                    <a:gd name="connsiteX1" fmla="*/ 9218 w 21299"/>
                    <a:gd name="connsiteY1" fmla="*/ 16317 h 47581"/>
                    <a:gd name="connsiteX2" fmla="*/ 12830 w 21299"/>
                    <a:gd name="connsiteY2" fmla="*/ 33381 h 47581"/>
                    <a:gd name="connsiteX3" fmla="*/ 21300 w 21299"/>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299" h="47581">
                      <a:moveTo>
                        <a:pt x="0" y="0"/>
                      </a:moveTo>
                      <a:cubicBezTo>
                        <a:pt x="5481" y="6352"/>
                        <a:pt x="7972" y="12207"/>
                        <a:pt x="9218" y="16317"/>
                      </a:cubicBezTo>
                      <a:cubicBezTo>
                        <a:pt x="11210" y="23043"/>
                        <a:pt x="10463" y="26655"/>
                        <a:pt x="12830" y="33381"/>
                      </a:cubicBezTo>
                      <a:cubicBezTo>
                        <a:pt x="15072" y="39858"/>
                        <a:pt x="18684" y="44592"/>
                        <a:pt x="2130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4" name="Freeform 6988">
                  <a:extLst>
                    <a:ext uri="{FF2B5EF4-FFF2-40B4-BE49-F238E27FC236}">
                      <a16:creationId xmlns:a16="http://schemas.microsoft.com/office/drawing/2014/main" id="{5D380BFA-CEEA-4655-5725-A8A6E527FD73}"/>
                    </a:ext>
                  </a:extLst>
                </p:cNvPr>
                <p:cNvSpPr/>
                <p:nvPr/>
              </p:nvSpPr>
              <p:spPr>
                <a:xfrm>
                  <a:off x="9641445" y="1341896"/>
                  <a:ext cx="26840" cy="26606"/>
                </a:xfrm>
                <a:custGeom>
                  <a:avLst/>
                  <a:gdLst>
                    <a:gd name="connsiteX0" fmla="*/ 1063 w 26840"/>
                    <a:gd name="connsiteY0" fmla="*/ 18721 h 26606"/>
                    <a:gd name="connsiteX1" fmla="*/ 8163 w 26840"/>
                    <a:gd name="connsiteY1" fmla="*/ 1159 h 26606"/>
                    <a:gd name="connsiteX2" fmla="*/ 25725 w 26840"/>
                    <a:gd name="connsiteY2" fmla="*/ 7885 h 26606"/>
                    <a:gd name="connsiteX3" fmla="*/ 18625 w 26840"/>
                    <a:gd name="connsiteY3" fmla="*/ 25448 h 26606"/>
                    <a:gd name="connsiteX4" fmla="*/ 1063 w 26840"/>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0" h="26606">
                      <a:moveTo>
                        <a:pt x="1063" y="18721"/>
                      </a:moveTo>
                      <a:cubicBezTo>
                        <a:pt x="-1802" y="11995"/>
                        <a:pt x="1312" y="4148"/>
                        <a:pt x="8163" y="1159"/>
                      </a:cubicBezTo>
                      <a:cubicBezTo>
                        <a:pt x="14889" y="-1831"/>
                        <a:pt x="22736" y="1159"/>
                        <a:pt x="25725" y="7885"/>
                      </a:cubicBezTo>
                      <a:cubicBezTo>
                        <a:pt x="28714" y="14611"/>
                        <a:pt x="25476" y="22458"/>
                        <a:pt x="18625" y="25448"/>
                      </a:cubicBezTo>
                      <a:cubicBezTo>
                        <a:pt x="11899" y="28437"/>
                        <a:pt x="3928" y="25448"/>
                        <a:pt x="1063"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5" name="Freeform 6989">
                  <a:extLst>
                    <a:ext uri="{FF2B5EF4-FFF2-40B4-BE49-F238E27FC236}">
                      <a16:creationId xmlns:a16="http://schemas.microsoft.com/office/drawing/2014/main" id="{2E07CCDD-B173-E406-FCC8-3DAE92D8E50C}"/>
                    </a:ext>
                  </a:extLst>
                </p:cNvPr>
                <p:cNvSpPr/>
                <p:nvPr/>
              </p:nvSpPr>
              <p:spPr>
                <a:xfrm>
                  <a:off x="9605888" y="1250758"/>
                  <a:ext cx="19928" cy="48203"/>
                </a:xfrm>
                <a:custGeom>
                  <a:avLst/>
                  <a:gdLst>
                    <a:gd name="connsiteX0" fmla="*/ 0 w 19928"/>
                    <a:gd name="connsiteY0" fmla="*/ 0 h 48203"/>
                    <a:gd name="connsiteX1" fmla="*/ 5605 w 19928"/>
                    <a:gd name="connsiteY1" fmla="*/ 17936 h 48203"/>
                    <a:gd name="connsiteX2" fmla="*/ 15445 w 19928"/>
                    <a:gd name="connsiteY2" fmla="*/ 32260 h 48203"/>
                    <a:gd name="connsiteX3" fmla="*/ 19929 w 19928"/>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8" h="48203">
                      <a:moveTo>
                        <a:pt x="0" y="0"/>
                      </a:moveTo>
                      <a:cubicBezTo>
                        <a:pt x="997" y="8345"/>
                        <a:pt x="3487" y="14200"/>
                        <a:pt x="5605" y="17936"/>
                      </a:cubicBezTo>
                      <a:cubicBezTo>
                        <a:pt x="9092" y="24040"/>
                        <a:pt x="12206" y="25908"/>
                        <a:pt x="15445" y="32260"/>
                      </a:cubicBezTo>
                      <a:cubicBezTo>
                        <a:pt x="18684" y="38364"/>
                        <a:pt x="19556" y="44218"/>
                        <a:pt x="19929"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6" name="Freeform 6990">
                  <a:extLst>
                    <a:ext uri="{FF2B5EF4-FFF2-40B4-BE49-F238E27FC236}">
                      <a16:creationId xmlns:a16="http://schemas.microsoft.com/office/drawing/2014/main" id="{1A4507E0-6B96-BD66-0C36-66A9F96BA6A0}"/>
                    </a:ext>
                  </a:extLst>
                </p:cNvPr>
                <p:cNvSpPr/>
                <p:nvPr/>
              </p:nvSpPr>
              <p:spPr>
                <a:xfrm>
                  <a:off x="9610247" y="1243284"/>
                  <a:ext cx="21299" cy="47581"/>
                </a:xfrm>
                <a:custGeom>
                  <a:avLst/>
                  <a:gdLst>
                    <a:gd name="connsiteX0" fmla="*/ 21300 w 21299"/>
                    <a:gd name="connsiteY0" fmla="*/ 47581 h 47581"/>
                    <a:gd name="connsiteX1" fmla="*/ 12082 w 21299"/>
                    <a:gd name="connsiteY1" fmla="*/ 31264 h 47581"/>
                    <a:gd name="connsiteX2" fmla="*/ 8470 w 21299"/>
                    <a:gd name="connsiteY2" fmla="*/ 14200 h 47581"/>
                    <a:gd name="connsiteX3" fmla="*/ 0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21300" y="47581"/>
                      </a:moveTo>
                      <a:cubicBezTo>
                        <a:pt x="15819" y="41229"/>
                        <a:pt x="13328" y="35374"/>
                        <a:pt x="12082" y="31264"/>
                      </a:cubicBezTo>
                      <a:cubicBezTo>
                        <a:pt x="10089" y="24538"/>
                        <a:pt x="10712" y="20926"/>
                        <a:pt x="8470" y="14200"/>
                      </a:cubicBezTo>
                      <a:cubicBezTo>
                        <a:pt x="6228"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7" name="Freeform 6991">
                  <a:extLst>
                    <a:ext uri="{FF2B5EF4-FFF2-40B4-BE49-F238E27FC236}">
                      <a16:creationId xmlns:a16="http://schemas.microsoft.com/office/drawing/2014/main" id="{75093402-B137-52DA-ED37-5315775AE52B}"/>
                    </a:ext>
                  </a:extLst>
                </p:cNvPr>
                <p:cNvSpPr/>
                <p:nvPr/>
              </p:nvSpPr>
              <p:spPr>
                <a:xfrm>
                  <a:off x="9593341" y="1229566"/>
                  <a:ext cx="26088" cy="26511"/>
                </a:xfrm>
                <a:custGeom>
                  <a:avLst/>
                  <a:gdLst>
                    <a:gd name="connsiteX0" fmla="*/ 25002 w 26088"/>
                    <a:gd name="connsiteY0" fmla="*/ 7988 h 26511"/>
                    <a:gd name="connsiteX1" fmla="*/ 18275 w 26088"/>
                    <a:gd name="connsiteY1" fmla="*/ 25427 h 26511"/>
                    <a:gd name="connsiteX2" fmla="*/ 1087 w 26088"/>
                    <a:gd name="connsiteY2" fmla="*/ 18576 h 26511"/>
                    <a:gd name="connsiteX3" fmla="*/ 7813 w 26088"/>
                    <a:gd name="connsiteY3" fmla="*/ 1138 h 26511"/>
                    <a:gd name="connsiteX4" fmla="*/ 25002 w 26088"/>
                    <a:gd name="connsiteY4" fmla="*/ 7988 h 26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8" h="26511">
                      <a:moveTo>
                        <a:pt x="25002" y="7988"/>
                      </a:moveTo>
                      <a:cubicBezTo>
                        <a:pt x="27867" y="14715"/>
                        <a:pt x="24877" y="22562"/>
                        <a:pt x="18275" y="25427"/>
                      </a:cubicBezTo>
                      <a:cubicBezTo>
                        <a:pt x="11674" y="28291"/>
                        <a:pt x="3952" y="25302"/>
                        <a:pt x="1087" y="18576"/>
                      </a:cubicBezTo>
                      <a:cubicBezTo>
                        <a:pt x="-1778" y="11850"/>
                        <a:pt x="1211" y="4003"/>
                        <a:pt x="7813" y="1138"/>
                      </a:cubicBezTo>
                      <a:cubicBezTo>
                        <a:pt x="14290" y="-1852"/>
                        <a:pt x="22013" y="1262"/>
                        <a:pt x="25002"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6" name="Graphic 2987">
                <a:extLst>
                  <a:ext uri="{FF2B5EF4-FFF2-40B4-BE49-F238E27FC236}">
                    <a16:creationId xmlns:a16="http://schemas.microsoft.com/office/drawing/2014/main" id="{A5344803-1AD5-5FE1-CA8E-71D28E207000}"/>
                  </a:ext>
                </a:extLst>
              </p:cNvPr>
              <p:cNvGrpSpPr/>
              <p:nvPr/>
            </p:nvGrpSpPr>
            <p:grpSpPr>
              <a:xfrm>
                <a:off x="9566457" y="1241380"/>
                <a:ext cx="74248" cy="139307"/>
                <a:chOff x="9566457" y="1241380"/>
                <a:chExt cx="74248" cy="139307"/>
              </a:xfrm>
              <a:grpFill/>
            </p:grpSpPr>
            <p:sp>
              <p:nvSpPr>
                <p:cNvPr id="7056" name="Freeform 6993">
                  <a:extLst>
                    <a:ext uri="{FF2B5EF4-FFF2-40B4-BE49-F238E27FC236}">
                      <a16:creationId xmlns:a16="http://schemas.microsoft.com/office/drawing/2014/main" id="{3E61BC91-39CF-EDE4-C507-EDFC28CE2139}"/>
                    </a:ext>
                  </a:extLst>
                </p:cNvPr>
                <p:cNvSpPr/>
                <p:nvPr/>
              </p:nvSpPr>
              <p:spPr>
                <a:xfrm>
                  <a:off x="9608130" y="1310919"/>
                  <a:ext cx="19804" cy="48328"/>
                </a:xfrm>
                <a:custGeom>
                  <a:avLst/>
                  <a:gdLst>
                    <a:gd name="connsiteX0" fmla="*/ 19804 w 19804"/>
                    <a:gd name="connsiteY0" fmla="*/ 48328 h 48328"/>
                    <a:gd name="connsiteX1" fmla="*/ 14324 w 19804"/>
                    <a:gd name="connsiteY1" fmla="*/ 30268 h 48328"/>
                    <a:gd name="connsiteX2" fmla="*/ 4484 w 19804"/>
                    <a:gd name="connsiteY2" fmla="*/ 15943 h 48328"/>
                    <a:gd name="connsiteX3" fmla="*/ 0 w 19804"/>
                    <a:gd name="connsiteY3" fmla="*/ 0 h 48328"/>
                  </a:gdLst>
                  <a:ahLst/>
                  <a:cxnLst>
                    <a:cxn ang="0">
                      <a:pos x="connsiteX0" y="connsiteY0"/>
                    </a:cxn>
                    <a:cxn ang="0">
                      <a:pos x="connsiteX1" y="connsiteY1"/>
                    </a:cxn>
                    <a:cxn ang="0">
                      <a:pos x="connsiteX2" y="connsiteY2"/>
                    </a:cxn>
                    <a:cxn ang="0">
                      <a:pos x="connsiteX3" y="connsiteY3"/>
                    </a:cxn>
                  </a:cxnLst>
                  <a:rect l="l" t="t" r="r" b="b"/>
                  <a:pathLst>
                    <a:path w="19804" h="48328">
                      <a:moveTo>
                        <a:pt x="19804" y="48328"/>
                      </a:moveTo>
                      <a:cubicBezTo>
                        <a:pt x="18933" y="39858"/>
                        <a:pt x="16442" y="34129"/>
                        <a:pt x="14324" y="30268"/>
                      </a:cubicBezTo>
                      <a:cubicBezTo>
                        <a:pt x="10836" y="24164"/>
                        <a:pt x="7723" y="22296"/>
                        <a:pt x="4484" y="15943"/>
                      </a:cubicBezTo>
                      <a:cubicBezTo>
                        <a:pt x="1370"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7" name="Freeform 6994">
                  <a:extLst>
                    <a:ext uri="{FF2B5EF4-FFF2-40B4-BE49-F238E27FC236}">
                      <a16:creationId xmlns:a16="http://schemas.microsoft.com/office/drawing/2014/main" id="{F2D6BBA6-7BF3-D501-B609-4A9803E502DB}"/>
                    </a:ext>
                  </a:extLst>
                </p:cNvPr>
                <p:cNvSpPr/>
                <p:nvPr/>
              </p:nvSpPr>
              <p:spPr>
                <a:xfrm>
                  <a:off x="9602400" y="1319015"/>
                  <a:ext cx="20925" cy="47705"/>
                </a:xfrm>
                <a:custGeom>
                  <a:avLst/>
                  <a:gdLst>
                    <a:gd name="connsiteX0" fmla="*/ 0 w 20925"/>
                    <a:gd name="connsiteY0" fmla="*/ 0 h 47705"/>
                    <a:gd name="connsiteX1" fmla="*/ 9093 w 20925"/>
                    <a:gd name="connsiteY1" fmla="*/ 16442 h 47705"/>
                    <a:gd name="connsiteX2" fmla="*/ 12580 w 20925"/>
                    <a:gd name="connsiteY2" fmla="*/ 33506 h 47705"/>
                    <a:gd name="connsiteX3" fmla="*/ 20926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0" y="0"/>
                      </a:moveTo>
                      <a:cubicBezTo>
                        <a:pt x="5356" y="6352"/>
                        <a:pt x="7847" y="12207"/>
                        <a:pt x="9093" y="16442"/>
                      </a:cubicBezTo>
                      <a:cubicBezTo>
                        <a:pt x="11086" y="23168"/>
                        <a:pt x="10339" y="26780"/>
                        <a:pt x="12580" y="33506"/>
                      </a:cubicBezTo>
                      <a:cubicBezTo>
                        <a:pt x="14822" y="40108"/>
                        <a:pt x="18310" y="44716"/>
                        <a:pt x="20926"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8" name="Freeform 6995">
                  <a:extLst>
                    <a:ext uri="{FF2B5EF4-FFF2-40B4-BE49-F238E27FC236}">
                      <a16:creationId xmlns:a16="http://schemas.microsoft.com/office/drawing/2014/main" id="{FAF608DA-A510-B04B-1572-5541483E1769}"/>
                    </a:ext>
                  </a:extLst>
                </p:cNvPr>
                <p:cNvSpPr/>
                <p:nvPr/>
              </p:nvSpPr>
              <p:spPr>
                <a:xfrm>
                  <a:off x="9614060" y="1353978"/>
                  <a:ext cx="26645" cy="26709"/>
                </a:xfrm>
                <a:custGeom>
                  <a:avLst/>
                  <a:gdLst>
                    <a:gd name="connsiteX0" fmla="*/ 1045 w 26645"/>
                    <a:gd name="connsiteY0" fmla="*/ 18721 h 26709"/>
                    <a:gd name="connsiteX1" fmla="*/ 8145 w 26645"/>
                    <a:gd name="connsiteY1" fmla="*/ 1159 h 26709"/>
                    <a:gd name="connsiteX2" fmla="*/ 25583 w 26645"/>
                    <a:gd name="connsiteY2" fmla="*/ 7885 h 26709"/>
                    <a:gd name="connsiteX3" fmla="*/ 18484 w 26645"/>
                    <a:gd name="connsiteY3" fmla="*/ 25572 h 26709"/>
                    <a:gd name="connsiteX4" fmla="*/ 1045 w 26645"/>
                    <a:gd name="connsiteY4" fmla="*/ 18721 h 26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5" h="26709">
                      <a:moveTo>
                        <a:pt x="1045" y="18721"/>
                      </a:moveTo>
                      <a:cubicBezTo>
                        <a:pt x="-1819" y="11995"/>
                        <a:pt x="1418" y="4024"/>
                        <a:pt x="8145" y="1159"/>
                      </a:cubicBezTo>
                      <a:cubicBezTo>
                        <a:pt x="14871" y="-1831"/>
                        <a:pt x="22718" y="1159"/>
                        <a:pt x="25583" y="7885"/>
                      </a:cubicBezTo>
                      <a:cubicBezTo>
                        <a:pt x="28448" y="14611"/>
                        <a:pt x="25334" y="22458"/>
                        <a:pt x="18484" y="25572"/>
                      </a:cubicBezTo>
                      <a:cubicBezTo>
                        <a:pt x="11632" y="28561"/>
                        <a:pt x="3910" y="25448"/>
                        <a:pt x="104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9" name="Freeform 6996">
                  <a:extLst>
                    <a:ext uri="{FF2B5EF4-FFF2-40B4-BE49-F238E27FC236}">
                      <a16:creationId xmlns:a16="http://schemas.microsoft.com/office/drawing/2014/main" id="{FB031941-EFAB-3E8E-18EE-8611DED5B731}"/>
                    </a:ext>
                  </a:extLst>
                </p:cNvPr>
                <p:cNvSpPr/>
                <p:nvPr/>
              </p:nvSpPr>
              <p:spPr>
                <a:xfrm>
                  <a:off x="9578983" y="1262591"/>
                  <a:ext cx="19555" cy="48328"/>
                </a:xfrm>
                <a:custGeom>
                  <a:avLst/>
                  <a:gdLst>
                    <a:gd name="connsiteX0" fmla="*/ 0 w 19555"/>
                    <a:gd name="connsiteY0" fmla="*/ 0 h 48328"/>
                    <a:gd name="connsiteX1" fmla="*/ 5481 w 19555"/>
                    <a:gd name="connsiteY1" fmla="*/ 18061 h 48328"/>
                    <a:gd name="connsiteX2" fmla="*/ 15196 w 19555"/>
                    <a:gd name="connsiteY2" fmla="*/ 32385 h 48328"/>
                    <a:gd name="connsiteX3" fmla="*/ 19556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0" y="0"/>
                      </a:moveTo>
                      <a:cubicBezTo>
                        <a:pt x="872" y="8345"/>
                        <a:pt x="3363" y="14200"/>
                        <a:pt x="5481" y="18061"/>
                      </a:cubicBezTo>
                      <a:cubicBezTo>
                        <a:pt x="8844" y="24164"/>
                        <a:pt x="12082" y="26157"/>
                        <a:pt x="15196" y="32385"/>
                      </a:cubicBezTo>
                      <a:cubicBezTo>
                        <a:pt x="18310" y="38488"/>
                        <a:pt x="19307" y="44343"/>
                        <a:pt x="19556"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0" name="Freeform 6997">
                  <a:extLst>
                    <a:ext uri="{FF2B5EF4-FFF2-40B4-BE49-F238E27FC236}">
                      <a16:creationId xmlns:a16="http://schemas.microsoft.com/office/drawing/2014/main" id="{2636AA86-4EDD-B27E-CA0E-CAA6137F3F37}"/>
                    </a:ext>
                  </a:extLst>
                </p:cNvPr>
                <p:cNvSpPr/>
                <p:nvPr/>
              </p:nvSpPr>
              <p:spPr>
                <a:xfrm>
                  <a:off x="9583467" y="1255117"/>
                  <a:ext cx="21050" cy="47705"/>
                </a:xfrm>
                <a:custGeom>
                  <a:avLst/>
                  <a:gdLst>
                    <a:gd name="connsiteX0" fmla="*/ 21050 w 21050"/>
                    <a:gd name="connsiteY0" fmla="*/ 47706 h 47705"/>
                    <a:gd name="connsiteX1" fmla="*/ 11957 w 21050"/>
                    <a:gd name="connsiteY1" fmla="*/ 31264 h 47705"/>
                    <a:gd name="connsiteX2" fmla="*/ 8345 w 21050"/>
                    <a:gd name="connsiteY2" fmla="*/ 14200 h 47705"/>
                    <a:gd name="connsiteX3" fmla="*/ 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47706"/>
                      </a:moveTo>
                      <a:cubicBezTo>
                        <a:pt x="15694" y="41353"/>
                        <a:pt x="13203" y="35499"/>
                        <a:pt x="11957" y="31264"/>
                      </a:cubicBezTo>
                      <a:cubicBezTo>
                        <a:pt x="9964" y="24538"/>
                        <a:pt x="10712" y="20926"/>
                        <a:pt x="8345" y="14200"/>
                      </a:cubicBezTo>
                      <a:cubicBezTo>
                        <a:pt x="6103" y="7723"/>
                        <a:pt x="2615"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1" name="Freeform 6998">
                  <a:extLst>
                    <a:ext uri="{FF2B5EF4-FFF2-40B4-BE49-F238E27FC236}">
                      <a16:creationId xmlns:a16="http://schemas.microsoft.com/office/drawing/2014/main" id="{D32D3639-915A-7950-BB5D-EB6201BA910F}"/>
                    </a:ext>
                  </a:extLst>
                </p:cNvPr>
                <p:cNvSpPr/>
                <p:nvPr/>
              </p:nvSpPr>
              <p:spPr>
                <a:xfrm>
                  <a:off x="9566457" y="1241380"/>
                  <a:ext cx="26191" cy="26529"/>
                </a:xfrm>
                <a:custGeom>
                  <a:avLst/>
                  <a:gdLst>
                    <a:gd name="connsiteX0" fmla="*/ 25106 w 26191"/>
                    <a:gd name="connsiteY0" fmla="*/ 8007 h 26529"/>
                    <a:gd name="connsiteX1" fmla="*/ 18256 w 26191"/>
                    <a:gd name="connsiteY1" fmla="*/ 25445 h 26529"/>
                    <a:gd name="connsiteX2" fmla="*/ 1067 w 26191"/>
                    <a:gd name="connsiteY2" fmla="*/ 18595 h 26529"/>
                    <a:gd name="connsiteX3" fmla="*/ 7917 w 26191"/>
                    <a:gd name="connsiteY3" fmla="*/ 1157 h 26529"/>
                    <a:gd name="connsiteX4" fmla="*/ 25106 w 26191"/>
                    <a:gd name="connsiteY4" fmla="*/ 8007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29">
                      <a:moveTo>
                        <a:pt x="25106" y="8007"/>
                      </a:moveTo>
                      <a:cubicBezTo>
                        <a:pt x="27971" y="14733"/>
                        <a:pt x="24981" y="22580"/>
                        <a:pt x="18256" y="25445"/>
                      </a:cubicBezTo>
                      <a:cubicBezTo>
                        <a:pt x="11530" y="28310"/>
                        <a:pt x="3931" y="25321"/>
                        <a:pt x="1067" y="18595"/>
                      </a:cubicBezTo>
                      <a:cubicBezTo>
                        <a:pt x="-1798" y="11868"/>
                        <a:pt x="1316" y="4021"/>
                        <a:pt x="7917" y="1157"/>
                      </a:cubicBezTo>
                      <a:cubicBezTo>
                        <a:pt x="14519" y="-1833"/>
                        <a:pt x="22241" y="1157"/>
                        <a:pt x="25106" y="8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7" name="Graphic 2987">
                <a:extLst>
                  <a:ext uri="{FF2B5EF4-FFF2-40B4-BE49-F238E27FC236}">
                    <a16:creationId xmlns:a16="http://schemas.microsoft.com/office/drawing/2014/main" id="{CBC8AA27-2F89-7FC2-6BAB-3BB268015788}"/>
                  </a:ext>
                </a:extLst>
              </p:cNvPr>
              <p:cNvGrpSpPr/>
              <p:nvPr/>
            </p:nvGrpSpPr>
            <p:grpSpPr>
              <a:xfrm>
                <a:off x="9539627" y="1253163"/>
                <a:ext cx="73656" cy="139442"/>
                <a:chOff x="9539627" y="1253163"/>
                <a:chExt cx="73656" cy="139442"/>
              </a:xfrm>
              <a:grpFill/>
            </p:grpSpPr>
            <p:sp>
              <p:nvSpPr>
                <p:cNvPr id="7050" name="Freeform 7000">
                  <a:extLst>
                    <a:ext uri="{FF2B5EF4-FFF2-40B4-BE49-F238E27FC236}">
                      <a16:creationId xmlns:a16="http://schemas.microsoft.com/office/drawing/2014/main" id="{89A156F2-98BE-2EDC-A842-858AD994E87C}"/>
                    </a:ext>
                  </a:extLst>
                </p:cNvPr>
                <p:cNvSpPr/>
                <p:nvPr/>
              </p:nvSpPr>
              <p:spPr>
                <a:xfrm>
                  <a:off x="9581101" y="1323126"/>
                  <a:ext cx="19430" cy="48328"/>
                </a:xfrm>
                <a:custGeom>
                  <a:avLst/>
                  <a:gdLst>
                    <a:gd name="connsiteX0" fmla="*/ 19431 w 19430"/>
                    <a:gd name="connsiteY0" fmla="*/ 48328 h 48328"/>
                    <a:gd name="connsiteX1" fmla="*/ 14075 w 19430"/>
                    <a:gd name="connsiteY1" fmla="*/ 30268 h 48328"/>
                    <a:gd name="connsiteX2" fmla="*/ 4359 w 19430"/>
                    <a:gd name="connsiteY2" fmla="*/ 15943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8684" y="39858"/>
                        <a:pt x="16192" y="34004"/>
                        <a:pt x="14075" y="30268"/>
                      </a:cubicBezTo>
                      <a:cubicBezTo>
                        <a:pt x="10712" y="24164"/>
                        <a:pt x="7473" y="22171"/>
                        <a:pt x="4359" y="15943"/>
                      </a:cubicBezTo>
                      <a:cubicBezTo>
                        <a:pt x="1245"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1" name="Freeform 7001">
                  <a:extLst>
                    <a:ext uri="{FF2B5EF4-FFF2-40B4-BE49-F238E27FC236}">
                      <a16:creationId xmlns:a16="http://schemas.microsoft.com/office/drawing/2014/main" id="{44F032DC-4DDC-65A4-3109-AD1195ADB5C7}"/>
                    </a:ext>
                  </a:extLst>
                </p:cNvPr>
                <p:cNvSpPr/>
                <p:nvPr/>
              </p:nvSpPr>
              <p:spPr>
                <a:xfrm>
                  <a:off x="9575246" y="1330848"/>
                  <a:ext cx="20800" cy="47954"/>
                </a:xfrm>
                <a:custGeom>
                  <a:avLst/>
                  <a:gdLst>
                    <a:gd name="connsiteX0" fmla="*/ 0 w 20800"/>
                    <a:gd name="connsiteY0" fmla="*/ 0 h 47954"/>
                    <a:gd name="connsiteX1" fmla="*/ 9092 w 20800"/>
                    <a:gd name="connsiteY1" fmla="*/ 16566 h 47954"/>
                    <a:gd name="connsiteX2" fmla="*/ 12456 w 20800"/>
                    <a:gd name="connsiteY2" fmla="*/ 33631 h 47954"/>
                    <a:gd name="connsiteX3" fmla="*/ 20801 w 20800"/>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800" h="47954">
                      <a:moveTo>
                        <a:pt x="0" y="0"/>
                      </a:moveTo>
                      <a:cubicBezTo>
                        <a:pt x="5356" y="6477"/>
                        <a:pt x="7847" y="12331"/>
                        <a:pt x="9092" y="16566"/>
                      </a:cubicBezTo>
                      <a:cubicBezTo>
                        <a:pt x="11086" y="23292"/>
                        <a:pt x="10214" y="26904"/>
                        <a:pt x="12456" y="33631"/>
                      </a:cubicBezTo>
                      <a:cubicBezTo>
                        <a:pt x="14698" y="40232"/>
                        <a:pt x="18186" y="44965"/>
                        <a:pt x="20801"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2" name="Freeform 7002">
                  <a:extLst>
                    <a:ext uri="{FF2B5EF4-FFF2-40B4-BE49-F238E27FC236}">
                      <a16:creationId xmlns:a16="http://schemas.microsoft.com/office/drawing/2014/main" id="{80A416AB-F638-A49B-7CC8-96E745826B18}"/>
                    </a:ext>
                  </a:extLst>
                </p:cNvPr>
                <p:cNvSpPr/>
                <p:nvPr/>
              </p:nvSpPr>
              <p:spPr>
                <a:xfrm>
                  <a:off x="9586480" y="1365957"/>
                  <a:ext cx="26803" cy="26648"/>
                </a:xfrm>
                <a:custGeom>
                  <a:avLst/>
                  <a:gdLst>
                    <a:gd name="connsiteX0" fmla="*/ 972 w 26803"/>
                    <a:gd name="connsiteY0" fmla="*/ 18327 h 26648"/>
                    <a:gd name="connsiteX1" fmla="*/ 8322 w 26803"/>
                    <a:gd name="connsiteY1" fmla="*/ 1138 h 26648"/>
                    <a:gd name="connsiteX2" fmla="*/ 25760 w 26803"/>
                    <a:gd name="connsiteY2" fmla="*/ 7988 h 26648"/>
                    <a:gd name="connsiteX3" fmla="*/ 18535 w 26803"/>
                    <a:gd name="connsiteY3" fmla="*/ 25676 h 26648"/>
                    <a:gd name="connsiteX4" fmla="*/ 972 w 26803"/>
                    <a:gd name="connsiteY4" fmla="*/ 18327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48">
                      <a:moveTo>
                        <a:pt x="972" y="18327"/>
                      </a:moveTo>
                      <a:cubicBezTo>
                        <a:pt x="-1768" y="11601"/>
                        <a:pt x="1471" y="3878"/>
                        <a:pt x="8322" y="1138"/>
                      </a:cubicBezTo>
                      <a:cubicBezTo>
                        <a:pt x="15047" y="-1852"/>
                        <a:pt x="22895" y="1262"/>
                        <a:pt x="25760" y="7988"/>
                      </a:cubicBezTo>
                      <a:cubicBezTo>
                        <a:pt x="28625" y="14715"/>
                        <a:pt x="25386" y="22686"/>
                        <a:pt x="18535" y="25676"/>
                      </a:cubicBezTo>
                      <a:cubicBezTo>
                        <a:pt x="11560" y="28416"/>
                        <a:pt x="3713" y="25177"/>
                        <a:pt x="972" y="18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3" name="Freeform 7003">
                  <a:extLst>
                    <a:ext uri="{FF2B5EF4-FFF2-40B4-BE49-F238E27FC236}">
                      <a16:creationId xmlns:a16="http://schemas.microsoft.com/office/drawing/2014/main" id="{33B7B7CC-5050-A774-1D78-F5EA265286E5}"/>
                    </a:ext>
                  </a:extLst>
                </p:cNvPr>
                <p:cNvSpPr/>
                <p:nvPr/>
              </p:nvSpPr>
              <p:spPr>
                <a:xfrm>
                  <a:off x="9552079" y="1274299"/>
                  <a:ext cx="19306" cy="48452"/>
                </a:xfrm>
                <a:custGeom>
                  <a:avLst/>
                  <a:gdLst>
                    <a:gd name="connsiteX0" fmla="*/ 0 w 19306"/>
                    <a:gd name="connsiteY0" fmla="*/ 0 h 48452"/>
                    <a:gd name="connsiteX1" fmla="*/ 5356 w 19306"/>
                    <a:gd name="connsiteY1" fmla="*/ 17936 h 48452"/>
                    <a:gd name="connsiteX2" fmla="*/ 15072 w 19306"/>
                    <a:gd name="connsiteY2" fmla="*/ 32510 h 48452"/>
                    <a:gd name="connsiteX3" fmla="*/ 19306 w 19306"/>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306" h="48452">
                      <a:moveTo>
                        <a:pt x="0" y="0"/>
                      </a:moveTo>
                      <a:cubicBezTo>
                        <a:pt x="747" y="8345"/>
                        <a:pt x="3239" y="14200"/>
                        <a:pt x="5356" y="17936"/>
                      </a:cubicBezTo>
                      <a:cubicBezTo>
                        <a:pt x="8719" y="24040"/>
                        <a:pt x="11958" y="26157"/>
                        <a:pt x="15072" y="32510"/>
                      </a:cubicBezTo>
                      <a:cubicBezTo>
                        <a:pt x="18186" y="38737"/>
                        <a:pt x="19057" y="44467"/>
                        <a:pt x="19306"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4" name="Freeform 7004">
                  <a:extLst>
                    <a:ext uri="{FF2B5EF4-FFF2-40B4-BE49-F238E27FC236}">
                      <a16:creationId xmlns:a16="http://schemas.microsoft.com/office/drawing/2014/main" id="{8735AA4B-5F58-1565-74AB-75982AE58331}"/>
                    </a:ext>
                  </a:extLst>
                </p:cNvPr>
                <p:cNvSpPr/>
                <p:nvPr/>
              </p:nvSpPr>
              <p:spPr>
                <a:xfrm>
                  <a:off x="9556687" y="1266950"/>
                  <a:ext cx="20676" cy="47830"/>
                </a:xfrm>
                <a:custGeom>
                  <a:avLst/>
                  <a:gdLst>
                    <a:gd name="connsiteX0" fmla="*/ 20676 w 20676"/>
                    <a:gd name="connsiteY0" fmla="*/ 47830 h 47830"/>
                    <a:gd name="connsiteX1" fmla="*/ 11708 w 20676"/>
                    <a:gd name="connsiteY1" fmla="*/ 31389 h 47830"/>
                    <a:gd name="connsiteX2" fmla="*/ 8220 w 20676"/>
                    <a:gd name="connsiteY2" fmla="*/ 14200 h 47830"/>
                    <a:gd name="connsiteX3" fmla="*/ 0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20676" y="47830"/>
                      </a:moveTo>
                      <a:cubicBezTo>
                        <a:pt x="15320" y="41353"/>
                        <a:pt x="12830" y="35499"/>
                        <a:pt x="11708" y="31389"/>
                      </a:cubicBezTo>
                      <a:cubicBezTo>
                        <a:pt x="9716" y="24662"/>
                        <a:pt x="10463" y="21050"/>
                        <a:pt x="8220" y="14200"/>
                      </a:cubicBezTo>
                      <a:cubicBezTo>
                        <a:pt x="5979" y="7598"/>
                        <a:pt x="249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5" name="Freeform 7005">
                  <a:extLst>
                    <a:ext uri="{FF2B5EF4-FFF2-40B4-BE49-F238E27FC236}">
                      <a16:creationId xmlns:a16="http://schemas.microsoft.com/office/drawing/2014/main" id="{B79F1B17-AEB3-6ACB-DD8E-E1DFFE24EEC1}"/>
                    </a:ext>
                  </a:extLst>
                </p:cNvPr>
                <p:cNvSpPr/>
                <p:nvPr/>
              </p:nvSpPr>
              <p:spPr>
                <a:xfrm>
                  <a:off x="9539627" y="1253163"/>
                  <a:ext cx="26223" cy="26523"/>
                </a:xfrm>
                <a:custGeom>
                  <a:avLst/>
                  <a:gdLst>
                    <a:gd name="connsiteX0" fmla="*/ 25157 w 26223"/>
                    <a:gd name="connsiteY0" fmla="*/ 8058 h 26523"/>
                    <a:gd name="connsiteX1" fmla="*/ 18306 w 26223"/>
                    <a:gd name="connsiteY1" fmla="*/ 25621 h 26523"/>
                    <a:gd name="connsiteX2" fmla="*/ 993 w 26223"/>
                    <a:gd name="connsiteY2" fmla="*/ 18147 h 26523"/>
                    <a:gd name="connsiteX3" fmla="*/ 8093 w 26223"/>
                    <a:gd name="connsiteY3" fmla="*/ 1083 h 26523"/>
                    <a:gd name="connsiteX4" fmla="*/ 25157 w 26223"/>
                    <a:gd name="connsiteY4" fmla="*/ 8058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3" h="26523">
                      <a:moveTo>
                        <a:pt x="25157" y="8058"/>
                      </a:moveTo>
                      <a:cubicBezTo>
                        <a:pt x="28022" y="14784"/>
                        <a:pt x="24908" y="22631"/>
                        <a:pt x="18306" y="25621"/>
                      </a:cubicBezTo>
                      <a:cubicBezTo>
                        <a:pt x="11580" y="28236"/>
                        <a:pt x="3733" y="24998"/>
                        <a:pt x="993" y="18147"/>
                      </a:cubicBezTo>
                      <a:cubicBezTo>
                        <a:pt x="-1748" y="11421"/>
                        <a:pt x="1366" y="3698"/>
                        <a:pt x="8093" y="1083"/>
                      </a:cubicBezTo>
                      <a:cubicBezTo>
                        <a:pt x="14569" y="-1782"/>
                        <a:pt x="22292" y="1207"/>
                        <a:pt x="25157"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8" name="Graphic 2987">
                <a:extLst>
                  <a:ext uri="{FF2B5EF4-FFF2-40B4-BE49-F238E27FC236}">
                    <a16:creationId xmlns:a16="http://schemas.microsoft.com/office/drawing/2014/main" id="{B4CFA363-0466-5689-D593-B6738F5E1024}"/>
                  </a:ext>
                </a:extLst>
              </p:cNvPr>
              <p:cNvGrpSpPr/>
              <p:nvPr/>
            </p:nvGrpSpPr>
            <p:grpSpPr>
              <a:xfrm>
                <a:off x="9512242" y="1264054"/>
                <a:ext cx="73368" cy="139620"/>
                <a:chOff x="9512242" y="1264054"/>
                <a:chExt cx="73368" cy="139620"/>
              </a:xfrm>
              <a:grpFill/>
            </p:grpSpPr>
            <p:sp>
              <p:nvSpPr>
                <p:cNvPr id="7044" name="Freeform 7007">
                  <a:extLst>
                    <a:ext uri="{FF2B5EF4-FFF2-40B4-BE49-F238E27FC236}">
                      <a16:creationId xmlns:a16="http://schemas.microsoft.com/office/drawing/2014/main" id="{C3B6EED3-8722-51A9-2286-169DB00D5A53}"/>
                    </a:ext>
                  </a:extLst>
                </p:cNvPr>
                <p:cNvSpPr/>
                <p:nvPr/>
              </p:nvSpPr>
              <p:spPr>
                <a:xfrm>
                  <a:off x="9553573" y="1333962"/>
                  <a:ext cx="19181" cy="48577"/>
                </a:xfrm>
                <a:custGeom>
                  <a:avLst/>
                  <a:gdLst>
                    <a:gd name="connsiteX0" fmla="*/ 19182 w 19181"/>
                    <a:gd name="connsiteY0" fmla="*/ 48577 h 48577"/>
                    <a:gd name="connsiteX1" fmla="*/ 13950 w 19181"/>
                    <a:gd name="connsiteY1" fmla="*/ 30517 h 48577"/>
                    <a:gd name="connsiteX2" fmla="*/ 4235 w 19181"/>
                    <a:gd name="connsiteY2" fmla="*/ 15943 h 48577"/>
                    <a:gd name="connsiteX3" fmla="*/ 0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48577"/>
                      </a:moveTo>
                      <a:cubicBezTo>
                        <a:pt x="18434" y="40232"/>
                        <a:pt x="16068" y="34378"/>
                        <a:pt x="13950" y="30517"/>
                      </a:cubicBezTo>
                      <a:cubicBezTo>
                        <a:pt x="10587" y="24413"/>
                        <a:pt x="7473" y="22296"/>
                        <a:pt x="4235" y="15943"/>
                      </a:cubicBezTo>
                      <a:cubicBezTo>
                        <a:pt x="1121" y="9715"/>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5" name="Freeform 7008">
                  <a:extLst>
                    <a:ext uri="{FF2B5EF4-FFF2-40B4-BE49-F238E27FC236}">
                      <a16:creationId xmlns:a16="http://schemas.microsoft.com/office/drawing/2014/main" id="{CF47720D-F3C5-D0A8-24C9-460752B599B9}"/>
                    </a:ext>
                  </a:extLst>
                </p:cNvPr>
                <p:cNvSpPr/>
                <p:nvPr/>
              </p:nvSpPr>
              <p:spPr>
                <a:xfrm>
                  <a:off x="9547595" y="1341809"/>
                  <a:ext cx="20426" cy="47954"/>
                </a:xfrm>
                <a:custGeom>
                  <a:avLst/>
                  <a:gdLst>
                    <a:gd name="connsiteX0" fmla="*/ 0 w 20426"/>
                    <a:gd name="connsiteY0" fmla="*/ 0 h 47954"/>
                    <a:gd name="connsiteX1" fmla="*/ 8968 w 20426"/>
                    <a:gd name="connsiteY1" fmla="*/ 16566 h 47954"/>
                    <a:gd name="connsiteX2" fmla="*/ 12206 w 20426"/>
                    <a:gd name="connsiteY2" fmla="*/ 33631 h 47954"/>
                    <a:gd name="connsiteX3" fmla="*/ 20427 w 2042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6" h="47954">
                      <a:moveTo>
                        <a:pt x="0" y="0"/>
                      </a:moveTo>
                      <a:cubicBezTo>
                        <a:pt x="5356" y="6477"/>
                        <a:pt x="7723" y="12456"/>
                        <a:pt x="8968" y="16566"/>
                      </a:cubicBezTo>
                      <a:cubicBezTo>
                        <a:pt x="10836" y="23292"/>
                        <a:pt x="10089" y="26904"/>
                        <a:pt x="12206" y="33631"/>
                      </a:cubicBezTo>
                      <a:cubicBezTo>
                        <a:pt x="14324" y="40232"/>
                        <a:pt x="17812" y="44965"/>
                        <a:pt x="20427"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6" name="Freeform 7009">
                  <a:extLst>
                    <a:ext uri="{FF2B5EF4-FFF2-40B4-BE49-F238E27FC236}">
                      <a16:creationId xmlns:a16="http://schemas.microsoft.com/office/drawing/2014/main" id="{2AAF3BB4-8185-8AA0-F715-564DA5A90846}"/>
                    </a:ext>
                  </a:extLst>
                </p:cNvPr>
                <p:cNvSpPr/>
                <p:nvPr/>
              </p:nvSpPr>
              <p:spPr>
                <a:xfrm>
                  <a:off x="9558597" y="1377224"/>
                  <a:ext cx="27013" cy="26450"/>
                </a:xfrm>
                <a:custGeom>
                  <a:avLst/>
                  <a:gdLst>
                    <a:gd name="connsiteX0" fmla="*/ 954 w 27013"/>
                    <a:gd name="connsiteY0" fmla="*/ 18145 h 26450"/>
                    <a:gd name="connsiteX1" fmla="*/ 8428 w 27013"/>
                    <a:gd name="connsiteY1" fmla="*/ 956 h 26450"/>
                    <a:gd name="connsiteX2" fmla="*/ 25991 w 27013"/>
                    <a:gd name="connsiteY2" fmla="*/ 8305 h 26450"/>
                    <a:gd name="connsiteX3" fmla="*/ 18518 w 27013"/>
                    <a:gd name="connsiteY3" fmla="*/ 25494 h 26450"/>
                    <a:gd name="connsiteX4" fmla="*/ 954 w 27013"/>
                    <a:gd name="connsiteY4" fmla="*/ 18145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3" h="26449">
                      <a:moveTo>
                        <a:pt x="954" y="18145"/>
                      </a:moveTo>
                      <a:cubicBezTo>
                        <a:pt x="-1785" y="11419"/>
                        <a:pt x="1578" y="3697"/>
                        <a:pt x="8428" y="956"/>
                      </a:cubicBezTo>
                      <a:cubicBezTo>
                        <a:pt x="15279" y="-1784"/>
                        <a:pt x="23126" y="1579"/>
                        <a:pt x="25991" y="8305"/>
                      </a:cubicBezTo>
                      <a:cubicBezTo>
                        <a:pt x="28855" y="15031"/>
                        <a:pt x="25493" y="22754"/>
                        <a:pt x="18518" y="25494"/>
                      </a:cubicBezTo>
                      <a:cubicBezTo>
                        <a:pt x="11542" y="28234"/>
                        <a:pt x="3695" y="24871"/>
                        <a:pt x="954"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7" name="Freeform 7010">
                  <a:extLst>
                    <a:ext uri="{FF2B5EF4-FFF2-40B4-BE49-F238E27FC236}">
                      <a16:creationId xmlns:a16="http://schemas.microsoft.com/office/drawing/2014/main" id="{0C3DAEE3-6209-D985-6BE9-02BCEBE67C40}"/>
                    </a:ext>
                  </a:extLst>
                </p:cNvPr>
                <p:cNvSpPr/>
                <p:nvPr/>
              </p:nvSpPr>
              <p:spPr>
                <a:xfrm>
                  <a:off x="9524801" y="1285136"/>
                  <a:ext cx="19056" cy="48577"/>
                </a:xfrm>
                <a:custGeom>
                  <a:avLst/>
                  <a:gdLst>
                    <a:gd name="connsiteX0" fmla="*/ 0 w 19056"/>
                    <a:gd name="connsiteY0" fmla="*/ 0 h 48577"/>
                    <a:gd name="connsiteX1" fmla="*/ 5231 w 19056"/>
                    <a:gd name="connsiteY1" fmla="*/ 18061 h 48577"/>
                    <a:gd name="connsiteX2" fmla="*/ 14822 w 19056"/>
                    <a:gd name="connsiteY2" fmla="*/ 32634 h 48577"/>
                    <a:gd name="connsiteX3" fmla="*/ 19057 w 19056"/>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056" h="48577">
                      <a:moveTo>
                        <a:pt x="0" y="0"/>
                      </a:moveTo>
                      <a:cubicBezTo>
                        <a:pt x="747" y="8345"/>
                        <a:pt x="3239" y="14200"/>
                        <a:pt x="5231" y="18061"/>
                      </a:cubicBezTo>
                      <a:cubicBezTo>
                        <a:pt x="8595" y="24164"/>
                        <a:pt x="11708" y="26282"/>
                        <a:pt x="14822" y="32634"/>
                      </a:cubicBezTo>
                      <a:cubicBezTo>
                        <a:pt x="17936" y="38862"/>
                        <a:pt x="18808" y="44592"/>
                        <a:pt x="19057"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8" name="Freeform 7011">
                  <a:extLst>
                    <a:ext uri="{FF2B5EF4-FFF2-40B4-BE49-F238E27FC236}">
                      <a16:creationId xmlns:a16="http://schemas.microsoft.com/office/drawing/2014/main" id="{287FCA8D-CE4B-5719-8D53-CDB6A158B1BA}"/>
                    </a:ext>
                  </a:extLst>
                </p:cNvPr>
                <p:cNvSpPr/>
                <p:nvPr/>
              </p:nvSpPr>
              <p:spPr>
                <a:xfrm>
                  <a:off x="9529284" y="1277911"/>
                  <a:ext cx="20552" cy="47954"/>
                </a:xfrm>
                <a:custGeom>
                  <a:avLst/>
                  <a:gdLst>
                    <a:gd name="connsiteX0" fmla="*/ 20552 w 20552"/>
                    <a:gd name="connsiteY0" fmla="*/ 47955 h 47954"/>
                    <a:gd name="connsiteX1" fmla="*/ 11584 w 20552"/>
                    <a:gd name="connsiteY1" fmla="*/ 31389 h 47954"/>
                    <a:gd name="connsiteX2" fmla="*/ 8221 w 20552"/>
                    <a:gd name="connsiteY2" fmla="*/ 14324 h 47954"/>
                    <a:gd name="connsiteX3" fmla="*/ 0 w 20552"/>
                    <a:gd name="connsiteY3" fmla="*/ 0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47955"/>
                      </a:moveTo>
                      <a:cubicBezTo>
                        <a:pt x="15196" y="41478"/>
                        <a:pt x="12830" y="35499"/>
                        <a:pt x="11584" y="31389"/>
                      </a:cubicBezTo>
                      <a:cubicBezTo>
                        <a:pt x="9716" y="24662"/>
                        <a:pt x="10463" y="21050"/>
                        <a:pt x="8221" y="14324"/>
                      </a:cubicBezTo>
                      <a:cubicBezTo>
                        <a:pt x="6103"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9" name="Freeform 7012">
                  <a:extLst>
                    <a:ext uri="{FF2B5EF4-FFF2-40B4-BE49-F238E27FC236}">
                      <a16:creationId xmlns:a16="http://schemas.microsoft.com/office/drawing/2014/main" id="{D2F7E55B-1256-4F91-9437-C98FACFE0D6E}"/>
                    </a:ext>
                  </a:extLst>
                </p:cNvPr>
                <p:cNvSpPr/>
                <p:nvPr/>
              </p:nvSpPr>
              <p:spPr>
                <a:xfrm>
                  <a:off x="9512242" y="1264054"/>
                  <a:ext cx="26430" cy="26344"/>
                </a:xfrm>
                <a:custGeom>
                  <a:avLst/>
                  <a:gdLst>
                    <a:gd name="connsiteX0" fmla="*/ 25387 w 26430"/>
                    <a:gd name="connsiteY0" fmla="*/ 8377 h 26344"/>
                    <a:gd name="connsiteX1" fmla="*/ 18164 w 26430"/>
                    <a:gd name="connsiteY1" fmla="*/ 25441 h 26344"/>
                    <a:gd name="connsiteX2" fmla="*/ 975 w 26430"/>
                    <a:gd name="connsiteY2" fmla="*/ 17968 h 26344"/>
                    <a:gd name="connsiteX3" fmla="*/ 8199 w 26430"/>
                    <a:gd name="connsiteY3" fmla="*/ 903 h 26344"/>
                    <a:gd name="connsiteX4" fmla="*/ 25387 w 26430"/>
                    <a:gd name="connsiteY4" fmla="*/ 8377 h 26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344">
                      <a:moveTo>
                        <a:pt x="25387" y="8377"/>
                      </a:moveTo>
                      <a:cubicBezTo>
                        <a:pt x="28253" y="15103"/>
                        <a:pt x="25014" y="22825"/>
                        <a:pt x="18164" y="25441"/>
                      </a:cubicBezTo>
                      <a:cubicBezTo>
                        <a:pt x="11437" y="28057"/>
                        <a:pt x="3714" y="24818"/>
                        <a:pt x="975" y="17968"/>
                      </a:cubicBezTo>
                      <a:cubicBezTo>
                        <a:pt x="-1766" y="11117"/>
                        <a:pt x="1472" y="3519"/>
                        <a:pt x="8199" y="903"/>
                      </a:cubicBezTo>
                      <a:cubicBezTo>
                        <a:pt x="14925" y="-1712"/>
                        <a:pt x="22647" y="1526"/>
                        <a:pt x="2538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9" name="Graphic 2987">
                <a:extLst>
                  <a:ext uri="{FF2B5EF4-FFF2-40B4-BE49-F238E27FC236}">
                    <a16:creationId xmlns:a16="http://schemas.microsoft.com/office/drawing/2014/main" id="{4E0A0A16-1E2D-944C-9627-209E3C4E38A6}"/>
                  </a:ext>
                </a:extLst>
              </p:cNvPr>
              <p:cNvGrpSpPr/>
              <p:nvPr/>
            </p:nvGrpSpPr>
            <p:grpSpPr>
              <a:xfrm>
                <a:off x="9484964" y="1274781"/>
                <a:ext cx="72553" cy="139870"/>
                <a:chOff x="9484964" y="1274781"/>
                <a:chExt cx="72553" cy="139870"/>
              </a:xfrm>
              <a:grpFill/>
            </p:grpSpPr>
            <p:sp>
              <p:nvSpPr>
                <p:cNvPr id="7038" name="Freeform 7014">
                  <a:extLst>
                    <a:ext uri="{FF2B5EF4-FFF2-40B4-BE49-F238E27FC236}">
                      <a16:creationId xmlns:a16="http://schemas.microsoft.com/office/drawing/2014/main" id="{C536881C-6944-C89F-04E9-A152E7034905}"/>
                    </a:ext>
                  </a:extLst>
                </p:cNvPr>
                <p:cNvSpPr/>
                <p:nvPr/>
              </p:nvSpPr>
              <p:spPr>
                <a:xfrm>
                  <a:off x="9525922" y="1344923"/>
                  <a:ext cx="18932" cy="48577"/>
                </a:xfrm>
                <a:custGeom>
                  <a:avLst/>
                  <a:gdLst>
                    <a:gd name="connsiteX0" fmla="*/ 18932 w 18932"/>
                    <a:gd name="connsiteY0" fmla="*/ 48577 h 48577"/>
                    <a:gd name="connsiteX1" fmla="*/ 13701 w 18932"/>
                    <a:gd name="connsiteY1" fmla="*/ 30517 h 48577"/>
                    <a:gd name="connsiteX2" fmla="*/ 4110 w 18932"/>
                    <a:gd name="connsiteY2" fmla="*/ 15943 h 48577"/>
                    <a:gd name="connsiteX3" fmla="*/ 0 w 18932"/>
                    <a:gd name="connsiteY3" fmla="*/ 0 h 48577"/>
                  </a:gdLst>
                  <a:ahLst/>
                  <a:cxnLst>
                    <a:cxn ang="0">
                      <a:pos x="connsiteX0" y="connsiteY0"/>
                    </a:cxn>
                    <a:cxn ang="0">
                      <a:pos x="connsiteX1" y="connsiteY1"/>
                    </a:cxn>
                    <a:cxn ang="0">
                      <a:pos x="connsiteX2" y="connsiteY2"/>
                    </a:cxn>
                    <a:cxn ang="0">
                      <a:pos x="connsiteX3" y="connsiteY3"/>
                    </a:cxn>
                  </a:cxnLst>
                  <a:rect l="l" t="t" r="r" b="b"/>
                  <a:pathLst>
                    <a:path w="18932" h="48577">
                      <a:moveTo>
                        <a:pt x="18932" y="48577"/>
                      </a:moveTo>
                      <a:cubicBezTo>
                        <a:pt x="18185" y="40232"/>
                        <a:pt x="15818" y="34378"/>
                        <a:pt x="13701" y="30517"/>
                      </a:cubicBezTo>
                      <a:cubicBezTo>
                        <a:pt x="10338" y="24413"/>
                        <a:pt x="7224" y="22296"/>
                        <a:pt x="4110"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9" name="Freeform 7015">
                  <a:extLst>
                    <a:ext uri="{FF2B5EF4-FFF2-40B4-BE49-F238E27FC236}">
                      <a16:creationId xmlns:a16="http://schemas.microsoft.com/office/drawing/2014/main" id="{19F509FE-010F-F39C-9F96-49DC6FE95F35}"/>
                    </a:ext>
                  </a:extLst>
                </p:cNvPr>
                <p:cNvSpPr/>
                <p:nvPr/>
              </p:nvSpPr>
              <p:spPr>
                <a:xfrm>
                  <a:off x="9519943" y="1352770"/>
                  <a:ext cx="20302" cy="47954"/>
                </a:xfrm>
                <a:custGeom>
                  <a:avLst/>
                  <a:gdLst>
                    <a:gd name="connsiteX0" fmla="*/ 0 w 20302"/>
                    <a:gd name="connsiteY0" fmla="*/ 0 h 47954"/>
                    <a:gd name="connsiteX1" fmla="*/ 8844 w 20302"/>
                    <a:gd name="connsiteY1" fmla="*/ 16566 h 47954"/>
                    <a:gd name="connsiteX2" fmla="*/ 12082 w 20302"/>
                    <a:gd name="connsiteY2" fmla="*/ 33631 h 47954"/>
                    <a:gd name="connsiteX3" fmla="*/ 20303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0" y="0"/>
                      </a:moveTo>
                      <a:cubicBezTo>
                        <a:pt x="5356" y="6602"/>
                        <a:pt x="7723" y="12456"/>
                        <a:pt x="8844" y="16566"/>
                      </a:cubicBezTo>
                      <a:cubicBezTo>
                        <a:pt x="10712" y="23292"/>
                        <a:pt x="9841" y="26904"/>
                        <a:pt x="12082" y="33631"/>
                      </a:cubicBezTo>
                      <a:cubicBezTo>
                        <a:pt x="14200" y="40232"/>
                        <a:pt x="17687" y="44965"/>
                        <a:pt x="20303"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0" name="Freeform 7016">
                  <a:extLst>
                    <a:ext uri="{FF2B5EF4-FFF2-40B4-BE49-F238E27FC236}">
                      <a16:creationId xmlns:a16="http://schemas.microsoft.com/office/drawing/2014/main" id="{91137169-1242-A8A1-C9B1-1053F3C49F80}"/>
                    </a:ext>
                  </a:extLst>
                </p:cNvPr>
                <p:cNvSpPr/>
                <p:nvPr/>
              </p:nvSpPr>
              <p:spPr>
                <a:xfrm>
                  <a:off x="9530696" y="1388185"/>
                  <a:ext cx="26820" cy="26466"/>
                </a:xfrm>
                <a:custGeom>
                  <a:avLst/>
                  <a:gdLst>
                    <a:gd name="connsiteX0" fmla="*/ 955 w 26820"/>
                    <a:gd name="connsiteY0" fmla="*/ 18145 h 26466"/>
                    <a:gd name="connsiteX1" fmla="*/ 8428 w 26820"/>
                    <a:gd name="connsiteY1" fmla="*/ 956 h 26466"/>
                    <a:gd name="connsiteX2" fmla="*/ 25866 w 26820"/>
                    <a:gd name="connsiteY2" fmla="*/ 8305 h 26466"/>
                    <a:gd name="connsiteX3" fmla="*/ 18393 w 26820"/>
                    <a:gd name="connsiteY3" fmla="*/ 25494 h 26466"/>
                    <a:gd name="connsiteX4" fmla="*/ 955 w 26820"/>
                    <a:gd name="connsiteY4" fmla="*/ 1814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20" h="26466">
                      <a:moveTo>
                        <a:pt x="955" y="18145"/>
                      </a:moveTo>
                      <a:cubicBezTo>
                        <a:pt x="-1785" y="11295"/>
                        <a:pt x="1577" y="3697"/>
                        <a:pt x="8428" y="956"/>
                      </a:cubicBezTo>
                      <a:cubicBezTo>
                        <a:pt x="15279" y="-1784"/>
                        <a:pt x="23126" y="1579"/>
                        <a:pt x="25866" y="8305"/>
                      </a:cubicBezTo>
                      <a:cubicBezTo>
                        <a:pt x="28607" y="15031"/>
                        <a:pt x="25243" y="22754"/>
                        <a:pt x="18393" y="25494"/>
                      </a:cubicBezTo>
                      <a:cubicBezTo>
                        <a:pt x="11542" y="28234"/>
                        <a:pt x="3695" y="24996"/>
                        <a:pt x="955"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1" name="Freeform 7017">
                  <a:extLst>
                    <a:ext uri="{FF2B5EF4-FFF2-40B4-BE49-F238E27FC236}">
                      <a16:creationId xmlns:a16="http://schemas.microsoft.com/office/drawing/2014/main" id="{6E11012C-8894-C31A-0845-0B6B2935FA75}"/>
                    </a:ext>
                  </a:extLst>
                </p:cNvPr>
                <p:cNvSpPr/>
                <p:nvPr/>
              </p:nvSpPr>
              <p:spPr>
                <a:xfrm>
                  <a:off x="9497522" y="1295848"/>
                  <a:ext cx="18933" cy="48577"/>
                </a:xfrm>
                <a:custGeom>
                  <a:avLst/>
                  <a:gdLst>
                    <a:gd name="connsiteX0" fmla="*/ 0 w 18933"/>
                    <a:gd name="connsiteY0" fmla="*/ 0 h 48577"/>
                    <a:gd name="connsiteX1" fmla="*/ 5231 w 18933"/>
                    <a:gd name="connsiteY1" fmla="*/ 18061 h 48577"/>
                    <a:gd name="connsiteX2" fmla="*/ 14822 w 18933"/>
                    <a:gd name="connsiteY2" fmla="*/ 32634 h 48577"/>
                    <a:gd name="connsiteX3" fmla="*/ 18933 w 18933"/>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933" h="48577">
                      <a:moveTo>
                        <a:pt x="0" y="0"/>
                      </a:moveTo>
                      <a:cubicBezTo>
                        <a:pt x="747" y="8345"/>
                        <a:pt x="3114" y="14200"/>
                        <a:pt x="5231" y="18061"/>
                      </a:cubicBezTo>
                      <a:cubicBezTo>
                        <a:pt x="8595" y="24289"/>
                        <a:pt x="11708" y="26282"/>
                        <a:pt x="14822" y="32634"/>
                      </a:cubicBezTo>
                      <a:cubicBezTo>
                        <a:pt x="17812" y="38862"/>
                        <a:pt x="18684" y="44716"/>
                        <a:pt x="18933"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2" name="Freeform 7018">
                  <a:extLst>
                    <a:ext uri="{FF2B5EF4-FFF2-40B4-BE49-F238E27FC236}">
                      <a16:creationId xmlns:a16="http://schemas.microsoft.com/office/drawing/2014/main" id="{D98DA8AA-5F44-716C-354F-481DDC6E9F0F}"/>
                    </a:ext>
                  </a:extLst>
                </p:cNvPr>
                <p:cNvSpPr/>
                <p:nvPr/>
              </p:nvSpPr>
              <p:spPr>
                <a:xfrm>
                  <a:off x="9502131" y="1288748"/>
                  <a:ext cx="20178" cy="47954"/>
                </a:xfrm>
                <a:custGeom>
                  <a:avLst/>
                  <a:gdLst>
                    <a:gd name="connsiteX0" fmla="*/ 20178 w 20178"/>
                    <a:gd name="connsiteY0" fmla="*/ 47955 h 47954"/>
                    <a:gd name="connsiteX1" fmla="*/ 11335 w 20178"/>
                    <a:gd name="connsiteY1" fmla="*/ 31389 h 47954"/>
                    <a:gd name="connsiteX2" fmla="*/ 8097 w 20178"/>
                    <a:gd name="connsiteY2" fmla="*/ 14324 h 47954"/>
                    <a:gd name="connsiteX3" fmla="*/ 0 w 20178"/>
                    <a:gd name="connsiteY3" fmla="*/ 0 h 47954"/>
                  </a:gdLst>
                  <a:ahLst/>
                  <a:cxnLst>
                    <a:cxn ang="0">
                      <a:pos x="connsiteX0" y="connsiteY0"/>
                    </a:cxn>
                    <a:cxn ang="0">
                      <a:pos x="connsiteX1" y="connsiteY1"/>
                    </a:cxn>
                    <a:cxn ang="0">
                      <a:pos x="connsiteX2" y="connsiteY2"/>
                    </a:cxn>
                    <a:cxn ang="0">
                      <a:pos x="connsiteX3" y="connsiteY3"/>
                    </a:cxn>
                  </a:cxnLst>
                  <a:rect l="l" t="t" r="r" b="b"/>
                  <a:pathLst>
                    <a:path w="20178" h="47954">
                      <a:moveTo>
                        <a:pt x="20178" y="47955"/>
                      </a:moveTo>
                      <a:cubicBezTo>
                        <a:pt x="14822" y="41353"/>
                        <a:pt x="12456" y="35499"/>
                        <a:pt x="11335" y="31389"/>
                      </a:cubicBezTo>
                      <a:cubicBezTo>
                        <a:pt x="9467" y="24662"/>
                        <a:pt x="10214" y="21050"/>
                        <a:pt x="8097" y="14324"/>
                      </a:cubicBezTo>
                      <a:cubicBezTo>
                        <a:pt x="5979" y="7723"/>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3" name="Freeform 7019">
                  <a:extLst>
                    <a:ext uri="{FF2B5EF4-FFF2-40B4-BE49-F238E27FC236}">
                      <a16:creationId xmlns:a16="http://schemas.microsoft.com/office/drawing/2014/main" id="{6214FD80-8DA8-B098-429E-F2B1370411E0}"/>
                    </a:ext>
                  </a:extLst>
                </p:cNvPr>
                <p:cNvSpPr/>
                <p:nvPr/>
              </p:nvSpPr>
              <p:spPr>
                <a:xfrm>
                  <a:off x="9484964" y="1274781"/>
                  <a:ext cx="26362" cy="26328"/>
                </a:xfrm>
                <a:custGeom>
                  <a:avLst/>
                  <a:gdLst>
                    <a:gd name="connsiteX0" fmla="*/ 25388 w 26362"/>
                    <a:gd name="connsiteY0" fmla="*/ 8361 h 26328"/>
                    <a:gd name="connsiteX1" fmla="*/ 18164 w 26362"/>
                    <a:gd name="connsiteY1" fmla="*/ 25426 h 26328"/>
                    <a:gd name="connsiteX2" fmla="*/ 975 w 26362"/>
                    <a:gd name="connsiteY2" fmla="*/ 17952 h 26328"/>
                    <a:gd name="connsiteX3" fmla="*/ 8199 w 26362"/>
                    <a:gd name="connsiteY3" fmla="*/ 888 h 26328"/>
                    <a:gd name="connsiteX4" fmla="*/ 25388 w 26362"/>
                    <a:gd name="connsiteY4" fmla="*/ 8361 h 2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327">
                      <a:moveTo>
                        <a:pt x="25388" y="8361"/>
                      </a:moveTo>
                      <a:cubicBezTo>
                        <a:pt x="28128" y="15087"/>
                        <a:pt x="24889" y="22810"/>
                        <a:pt x="18164" y="25426"/>
                      </a:cubicBezTo>
                      <a:cubicBezTo>
                        <a:pt x="11437" y="28041"/>
                        <a:pt x="3714" y="24803"/>
                        <a:pt x="975" y="17952"/>
                      </a:cubicBezTo>
                      <a:cubicBezTo>
                        <a:pt x="-1766" y="11102"/>
                        <a:pt x="1472" y="3504"/>
                        <a:pt x="8199" y="888"/>
                      </a:cubicBezTo>
                      <a:cubicBezTo>
                        <a:pt x="14925" y="-1728"/>
                        <a:pt x="22647" y="1635"/>
                        <a:pt x="25388"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0" name="Graphic 2987">
                <a:extLst>
                  <a:ext uri="{FF2B5EF4-FFF2-40B4-BE49-F238E27FC236}">
                    <a16:creationId xmlns:a16="http://schemas.microsoft.com/office/drawing/2014/main" id="{73A6FA4C-E899-2D3F-5818-A1FAE39A0DD0}"/>
                  </a:ext>
                </a:extLst>
              </p:cNvPr>
              <p:cNvGrpSpPr/>
              <p:nvPr/>
            </p:nvGrpSpPr>
            <p:grpSpPr>
              <a:xfrm>
                <a:off x="9457704" y="1285551"/>
                <a:ext cx="72035" cy="140170"/>
                <a:chOff x="9457704" y="1285551"/>
                <a:chExt cx="72035" cy="140170"/>
              </a:xfrm>
              <a:grpFill/>
            </p:grpSpPr>
            <p:sp>
              <p:nvSpPr>
                <p:cNvPr id="7032" name="Freeform 7021">
                  <a:extLst>
                    <a:ext uri="{FF2B5EF4-FFF2-40B4-BE49-F238E27FC236}">
                      <a16:creationId xmlns:a16="http://schemas.microsoft.com/office/drawing/2014/main" id="{C642F0BB-9331-3F3B-B947-65AECA2D1F89}"/>
                    </a:ext>
                  </a:extLst>
                </p:cNvPr>
                <p:cNvSpPr/>
                <p:nvPr/>
              </p:nvSpPr>
              <p:spPr>
                <a:xfrm>
                  <a:off x="9498270" y="1356009"/>
                  <a:ext cx="18808" cy="48577"/>
                </a:xfrm>
                <a:custGeom>
                  <a:avLst/>
                  <a:gdLst>
                    <a:gd name="connsiteX0" fmla="*/ 18808 w 18808"/>
                    <a:gd name="connsiteY0" fmla="*/ 48578 h 48577"/>
                    <a:gd name="connsiteX1" fmla="*/ 13701 w 18808"/>
                    <a:gd name="connsiteY1" fmla="*/ 30517 h 48577"/>
                    <a:gd name="connsiteX2" fmla="*/ 4111 w 18808"/>
                    <a:gd name="connsiteY2" fmla="*/ 15943 h 48577"/>
                    <a:gd name="connsiteX3" fmla="*/ 0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48578"/>
                      </a:moveTo>
                      <a:cubicBezTo>
                        <a:pt x="18186" y="40232"/>
                        <a:pt x="15819" y="34253"/>
                        <a:pt x="13701" y="30517"/>
                      </a:cubicBezTo>
                      <a:cubicBezTo>
                        <a:pt x="10339" y="24289"/>
                        <a:pt x="7225" y="22296"/>
                        <a:pt x="4111"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3" name="Freeform 7022">
                  <a:extLst>
                    <a:ext uri="{FF2B5EF4-FFF2-40B4-BE49-F238E27FC236}">
                      <a16:creationId xmlns:a16="http://schemas.microsoft.com/office/drawing/2014/main" id="{6F6A8BDC-007E-C955-66A6-C112208B8BDB}"/>
                    </a:ext>
                  </a:extLst>
                </p:cNvPr>
                <p:cNvSpPr/>
                <p:nvPr/>
              </p:nvSpPr>
              <p:spPr>
                <a:xfrm>
                  <a:off x="9492291" y="1363607"/>
                  <a:ext cx="19928" cy="48328"/>
                </a:xfrm>
                <a:custGeom>
                  <a:avLst/>
                  <a:gdLst>
                    <a:gd name="connsiteX0" fmla="*/ 0 w 19928"/>
                    <a:gd name="connsiteY0" fmla="*/ 0 h 48328"/>
                    <a:gd name="connsiteX1" fmla="*/ 8719 w 19928"/>
                    <a:gd name="connsiteY1" fmla="*/ 16691 h 48328"/>
                    <a:gd name="connsiteX2" fmla="*/ 11833 w 19928"/>
                    <a:gd name="connsiteY2" fmla="*/ 33880 h 48328"/>
                    <a:gd name="connsiteX3" fmla="*/ 19929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0" y="0"/>
                      </a:moveTo>
                      <a:cubicBezTo>
                        <a:pt x="5231" y="6602"/>
                        <a:pt x="7598" y="12456"/>
                        <a:pt x="8719" y="16691"/>
                      </a:cubicBezTo>
                      <a:cubicBezTo>
                        <a:pt x="10587" y="23417"/>
                        <a:pt x="9715" y="27029"/>
                        <a:pt x="11833" y="33880"/>
                      </a:cubicBezTo>
                      <a:cubicBezTo>
                        <a:pt x="13950" y="40481"/>
                        <a:pt x="17313" y="45214"/>
                        <a:pt x="19929"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4" name="Freeform 7023">
                  <a:extLst>
                    <a:ext uri="{FF2B5EF4-FFF2-40B4-BE49-F238E27FC236}">
                      <a16:creationId xmlns:a16="http://schemas.microsoft.com/office/drawing/2014/main" id="{3CDB5A29-4627-1EBF-F675-39A8E85E24F9}"/>
                    </a:ext>
                  </a:extLst>
                </p:cNvPr>
                <p:cNvSpPr/>
                <p:nvPr/>
              </p:nvSpPr>
              <p:spPr>
                <a:xfrm>
                  <a:off x="9502813" y="1399322"/>
                  <a:ext cx="26926" cy="26399"/>
                </a:xfrm>
                <a:custGeom>
                  <a:avLst/>
                  <a:gdLst>
                    <a:gd name="connsiteX0" fmla="*/ 937 w 26926"/>
                    <a:gd name="connsiteY0" fmla="*/ 18094 h 26399"/>
                    <a:gd name="connsiteX1" fmla="*/ 8535 w 26926"/>
                    <a:gd name="connsiteY1" fmla="*/ 905 h 26399"/>
                    <a:gd name="connsiteX2" fmla="*/ 25973 w 26926"/>
                    <a:gd name="connsiteY2" fmla="*/ 8254 h 26399"/>
                    <a:gd name="connsiteX3" fmla="*/ 18376 w 26926"/>
                    <a:gd name="connsiteY3" fmla="*/ 25443 h 26399"/>
                    <a:gd name="connsiteX4" fmla="*/ 937 w 26926"/>
                    <a:gd name="connsiteY4" fmla="*/ 18094 h 26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6" h="26399">
                      <a:moveTo>
                        <a:pt x="937" y="18094"/>
                      </a:moveTo>
                      <a:cubicBezTo>
                        <a:pt x="-1803" y="11243"/>
                        <a:pt x="1685" y="3521"/>
                        <a:pt x="8535" y="905"/>
                      </a:cubicBezTo>
                      <a:cubicBezTo>
                        <a:pt x="15386" y="-1711"/>
                        <a:pt x="23233" y="1528"/>
                        <a:pt x="25973" y="8254"/>
                      </a:cubicBezTo>
                      <a:cubicBezTo>
                        <a:pt x="28713" y="15104"/>
                        <a:pt x="25351" y="22702"/>
                        <a:pt x="18376" y="25443"/>
                      </a:cubicBezTo>
                      <a:cubicBezTo>
                        <a:pt x="11400" y="28183"/>
                        <a:pt x="3677" y="24820"/>
                        <a:pt x="937" y="180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5" name="Freeform 7024">
                  <a:extLst>
                    <a:ext uri="{FF2B5EF4-FFF2-40B4-BE49-F238E27FC236}">
                      <a16:creationId xmlns:a16="http://schemas.microsoft.com/office/drawing/2014/main" id="{4BD8B378-183F-7045-608D-DB582354D00D}"/>
                    </a:ext>
                  </a:extLst>
                </p:cNvPr>
                <p:cNvSpPr/>
                <p:nvPr/>
              </p:nvSpPr>
              <p:spPr>
                <a:xfrm>
                  <a:off x="9470120" y="1306684"/>
                  <a:ext cx="18683" cy="48577"/>
                </a:xfrm>
                <a:custGeom>
                  <a:avLst/>
                  <a:gdLst>
                    <a:gd name="connsiteX0" fmla="*/ 0 w 18683"/>
                    <a:gd name="connsiteY0" fmla="*/ 0 h 48577"/>
                    <a:gd name="connsiteX1" fmla="*/ 5107 w 18683"/>
                    <a:gd name="connsiteY1" fmla="*/ 18061 h 48577"/>
                    <a:gd name="connsiteX2" fmla="*/ 14573 w 18683"/>
                    <a:gd name="connsiteY2" fmla="*/ 32634 h 48577"/>
                    <a:gd name="connsiteX3" fmla="*/ 18684 w 1868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683" h="48577">
                      <a:moveTo>
                        <a:pt x="0" y="0"/>
                      </a:moveTo>
                      <a:cubicBezTo>
                        <a:pt x="747" y="8345"/>
                        <a:pt x="2989" y="14200"/>
                        <a:pt x="5107" y="18061"/>
                      </a:cubicBezTo>
                      <a:cubicBezTo>
                        <a:pt x="8345" y="24289"/>
                        <a:pt x="11459" y="26282"/>
                        <a:pt x="14573" y="32634"/>
                      </a:cubicBezTo>
                      <a:cubicBezTo>
                        <a:pt x="17563" y="38862"/>
                        <a:pt x="18435" y="44716"/>
                        <a:pt x="18684"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6" name="Freeform 7025">
                  <a:extLst>
                    <a:ext uri="{FF2B5EF4-FFF2-40B4-BE49-F238E27FC236}">
                      <a16:creationId xmlns:a16="http://schemas.microsoft.com/office/drawing/2014/main" id="{3FDA9228-C24C-74A2-A46A-2942F4366E47}"/>
                    </a:ext>
                  </a:extLst>
                </p:cNvPr>
                <p:cNvSpPr/>
                <p:nvPr/>
              </p:nvSpPr>
              <p:spPr>
                <a:xfrm>
                  <a:off x="9474728" y="1299335"/>
                  <a:ext cx="20054" cy="48203"/>
                </a:xfrm>
                <a:custGeom>
                  <a:avLst/>
                  <a:gdLst>
                    <a:gd name="connsiteX0" fmla="*/ 20054 w 20054"/>
                    <a:gd name="connsiteY0" fmla="*/ 48204 h 48203"/>
                    <a:gd name="connsiteX1" fmla="*/ 11335 w 20054"/>
                    <a:gd name="connsiteY1" fmla="*/ 31513 h 48203"/>
                    <a:gd name="connsiteX2" fmla="*/ 8097 w 20054"/>
                    <a:gd name="connsiteY2" fmla="*/ 14449 h 48203"/>
                    <a:gd name="connsiteX3" fmla="*/ 0 w 20054"/>
                    <a:gd name="connsiteY3" fmla="*/ 0 h 48203"/>
                  </a:gdLst>
                  <a:ahLst/>
                  <a:cxnLst>
                    <a:cxn ang="0">
                      <a:pos x="connsiteX0" y="connsiteY0"/>
                    </a:cxn>
                    <a:cxn ang="0">
                      <a:pos x="connsiteX1" y="connsiteY1"/>
                    </a:cxn>
                    <a:cxn ang="0">
                      <a:pos x="connsiteX2" y="connsiteY2"/>
                    </a:cxn>
                    <a:cxn ang="0">
                      <a:pos x="connsiteX3" y="connsiteY3"/>
                    </a:cxn>
                  </a:cxnLst>
                  <a:rect l="l" t="t" r="r" b="b"/>
                  <a:pathLst>
                    <a:path w="20054" h="48203">
                      <a:moveTo>
                        <a:pt x="20054" y="48204"/>
                      </a:moveTo>
                      <a:cubicBezTo>
                        <a:pt x="14822" y="41602"/>
                        <a:pt x="12456" y="35748"/>
                        <a:pt x="11335" y="31513"/>
                      </a:cubicBezTo>
                      <a:cubicBezTo>
                        <a:pt x="9467" y="24787"/>
                        <a:pt x="10339" y="21175"/>
                        <a:pt x="8097" y="14449"/>
                      </a:cubicBezTo>
                      <a:cubicBezTo>
                        <a:pt x="5979" y="7847"/>
                        <a:pt x="2616"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7" name="Freeform 7026">
                  <a:extLst>
                    <a:ext uri="{FF2B5EF4-FFF2-40B4-BE49-F238E27FC236}">
                      <a16:creationId xmlns:a16="http://schemas.microsoft.com/office/drawing/2014/main" id="{48BE1FB0-EC6E-2A47-E3DB-E2152E05B538}"/>
                    </a:ext>
                  </a:extLst>
                </p:cNvPr>
                <p:cNvSpPr/>
                <p:nvPr/>
              </p:nvSpPr>
              <p:spPr>
                <a:xfrm>
                  <a:off x="9457704" y="1285551"/>
                  <a:ext cx="26342" cy="26571"/>
                </a:xfrm>
                <a:custGeom>
                  <a:avLst/>
                  <a:gdLst>
                    <a:gd name="connsiteX0" fmla="*/ 25370 w 26342"/>
                    <a:gd name="connsiteY0" fmla="*/ 8428 h 26571"/>
                    <a:gd name="connsiteX1" fmla="*/ 18021 w 26342"/>
                    <a:gd name="connsiteY1" fmla="*/ 25617 h 26571"/>
                    <a:gd name="connsiteX2" fmla="*/ 957 w 26342"/>
                    <a:gd name="connsiteY2" fmla="*/ 18144 h 26571"/>
                    <a:gd name="connsiteX3" fmla="*/ 8305 w 26342"/>
                    <a:gd name="connsiteY3" fmla="*/ 955 h 26571"/>
                    <a:gd name="connsiteX4" fmla="*/ 25370 w 26342"/>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2" h="26570">
                      <a:moveTo>
                        <a:pt x="25370" y="8428"/>
                      </a:moveTo>
                      <a:cubicBezTo>
                        <a:pt x="28110" y="15279"/>
                        <a:pt x="24871" y="22877"/>
                        <a:pt x="18021" y="25617"/>
                      </a:cubicBezTo>
                      <a:cubicBezTo>
                        <a:pt x="11170" y="28357"/>
                        <a:pt x="3573" y="24994"/>
                        <a:pt x="957" y="18144"/>
                      </a:cubicBezTo>
                      <a:cubicBezTo>
                        <a:pt x="-1784" y="11293"/>
                        <a:pt x="1579" y="3695"/>
                        <a:pt x="8305" y="955"/>
                      </a:cubicBezTo>
                      <a:cubicBezTo>
                        <a:pt x="15032" y="-1786"/>
                        <a:pt x="22629" y="1577"/>
                        <a:pt x="25370"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1" name="Graphic 2987">
                <a:extLst>
                  <a:ext uri="{FF2B5EF4-FFF2-40B4-BE49-F238E27FC236}">
                    <a16:creationId xmlns:a16="http://schemas.microsoft.com/office/drawing/2014/main" id="{4491F658-EF53-25DB-C1A6-A2873178A060}"/>
                  </a:ext>
                </a:extLst>
              </p:cNvPr>
              <p:cNvGrpSpPr/>
              <p:nvPr/>
            </p:nvGrpSpPr>
            <p:grpSpPr>
              <a:xfrm>
                <a:off x="9430477" y="1296279"/>
                <a:ext cx="71220" cy="140471"/>
                <a:chOff x="9430477" y="1296279"/>
                <a:chExt cx="71220" cy="140471"/>
              </a:xfrm>
              <a:grpFill/>
            </p:grpSpPr>
            <p:sp>
              <p:nvSpPr>
                <p:cNvPr id="7026" name="Freeform 7028">
                  <a:extLst>
                    <a:ext uri="{FF2B5EF4-FFF2-40B4-BE49-F238E27FC236}">
                      <a16:creationId xmlns:a16="http://schemas.microsoft.com/office/drawing/2014/main" id="{3772BBED-887B-4B95-B2EE-B95BF5B55F35}"/>
                    </a:ext>
                  </a:extLst>
                </p:cNvPr>
                <p:cNvSpPr/>
                <p:nvPr/>
              </p:nvSpPr>
              <p:spPr>
                <a:xfrm>
                  <a:off x="9470742" y="1366721"/>
                  <a:ext cx="18435" cy="48826"/>
                </a:xfrm>
                <a:custGeom>
                  <a:avLst/>
                  <a:gdLst>
                    <a:gd name="connsiteX0" fmla="*/ 18435 w 18435"/>
                    <a:gd name="connsiteY0" fmla="*/ 48827 h 48826"/>
                    <a:gd name="connsiteX1" fmla="*/ 13452 w 18435"/>
                    <a:gd name="connsiteY1" fmla="*/ 30641 h 48826"/>
                    <a:gd name="connsiteX2" fmla="*/ 3986 w 18435"/>
                    <a:gd name="connsiteY2" fmla="*/ 1606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7812" y="40481"/>
                        <a:pt x="15446" y="34502"/>
                        <a:pt x="13452" y="30641"/>
                      </a:cubicBezTo>
                      <a:cubicBezTo>
                        <a:pt x="10214" y="24413"/>
                        <a:pt x="7100" y="22420"/>
                        <a:pt x="3986"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7" name="Freeform 7029">
                  <a:extLst>
                    <a:ext uri="{FF2B5EF4-FFF2-40B4-BE49-F238E27FC236}">
                      <a16:creationId xmlns:a16="http://schemas.microsoft.com/office/drawing/2014/main" id="{595B72C4-20BA-360C-9DDE-FD7BDBF43781}"/>
                    </a:ext>
                  </a:extLst>
                </p:cNvPr>
                <p:cNvSpPr/>
                <p:nvPr/>
              </p:nvSpPr>
              <p:spPr>
                <a:xfrm>
                  <a:off x="9464764" y="1374568"/>
                  <a:ext cx="19680" cy="48328"/>
                </a:xfrm>
                <a:custGeom>
                  <a:avLst/>
                  <a:gdLst>
                    <a:gd name="connsiteX0" fmla="*/ 0 w 19680"/>
                    <a:gd name="connsiteY0" fmla="*/ 0 h 48328"/>
                    <a:gd name="connsiteX1" fmla="*/ 8719 w 19680"/>
                    <a:gd name="connsiteY1" fmla="*/ 16691 h 48328"/>
                    <a:gd name="connsiteX2" fmla="*/ 11708 w 19680"/>
                    <a:gd name="connsiteY2" fmla="*/ 33880 h 48328"/>
                    <a:gd name="connsiteX3" fmla="*/ 1968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0" y="0"/>
                      </a:moveTo>
                      <a:cubicBezTo>
                        <a:pt x="5231" y="6602"/>
                        <a:pt x="7598" y="12456"/>
                        <a:pt x="8719" y="16691"/>
                      </a:cubicBezTo>
                      <a:cubicBezTo>
                        <a:pt x="10587" y="23417"/>
                        <a:pt x="9591" y="27029"/>
                        <a:pt x="11708" y="33880"/>
                      </a:cubicBezTo>
                      <a:cubicBezTo>
                        <a:pt x="13701" y="40481"/>
                        <a:pt x="17189" y="45339"/>
                        <a:pt x="1968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8" name="Freeform 7030">
                  <a:extLst>
                    <a:ext uri="{FF2B5EF4-FFF2-40B4-BE49-F238E27FC236}">
                      <a16:creationId xmlns:a16="http://schemas.microsoft.com/office/drawing/2014/main" id="{E130AE2F-B0B7-4654-D83A-459FC5FBBF9D}"/>
                    </a:ext>
                  </a:extLst>
                </p:cNvPr>
                <p:cNvSpPr/>
                <p:nvPr/>
              </p:nvSpPr>
              <p:spPr>
                <a:xfrm>
                  <a:off x="9474963" y="1410107"/>
                  <a:ext cx="26735" cy="26643"/>
                </a:xfrm>
                <a:custGeom>
                  <a:avLst/>
                  <a:gdLst>
                    <a:gd name="connsiteX0" fmla="*/ 886 w 26735"/>
                    <a:gd name="connsiteY0" fmla="*/ 18270 h 26643"/>
                    <a:gd name="connsiteX1" fmla="*/ 8484 w 26735"/>
                    <a:gd name="connsiteY1" fmla="*/ 956 h 26643"/>
                    <a:gd name="connsiteX2" fmla="*/ 25798 w 26735"/>
                    <a:gd name="connsiteY2" fmla="*/ 8305 h 26643"/>
                    <a:gd name="connsiteX3" fmla="*/ 18200 w 26735"/>
                    <a:gd name="connsiteY3" fmla="*/ 25619 h 26643"/>
                    <a:gd name="connsiteX4" fmla="*/ 886 w 26735"/>
                    <a:gd name="connsiteY4" fmla="*/ 18270 h 2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42">
                      <a:moveTo>
                        <a:pt x="886" y="18270"/>
                      </a:moveTo>
                      <a:cubicBezTo>
                        <a:pt x="-1730" y="11419"/>
                        <a:pt x="1634" y="3697"/>
                        <a:pt x="8484" y="956"/>
                      </a:cubicBezTo>
                      <a:cubicBezTo>
                        <a:pt x="15335" y="-1784"/>
                        <a:pt x="23057" y="1579"/>
                        <a:pt x="25798" y="8305"/>
                      </a:cubicBezTo>
                      <a:cubicBezTo>
                        <a:pt x="28538" y="15156"/>
                        <a:pt x="25051" y="22879"/>
                        <a:pt x="18200" y="25619"/>
                      </a:cubicBezTo>
                      <a:cubicBezTo>
                        <a:pt x="11349" y="28484"/>
                        <a:pt x="3626" y="25121"/>
                        <a:pt x="886" y="182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9" name="Freeform 7031">
                  <a:extLst>
                    <a:ext uri="{FF2B5EF4-FFF2-40B4-BE49-F238E27FC236}">
                      <a16:creationId xmlns:a16="http://schemas.microsoft.com/office/drawing/2014/main" id="{DF93B5D8-78EC-B93A-A4C9-CA247A2875A8}"/>
                    </a:ext>
                  </a:extLst>
                </p:cNvPr>
                <p:cNvSpPr/>
                <p:nvPr/>
              </p:nvSpPr>
              <p:spPr>
                <a:xfrm>
                  <a:off x="9442841" y="1317396"/>
                  <a:ext cx="18310" cy="48951"/>
                </a:xfrm>
                <a:custGeom>
                  <a:avLst/>
                  <a:gdLst>
                    <a:gd name="connsiteX0" fmla="*/ 0 w 18310"/>
                    <a:gd name="connsiteY0" fmla="*/ 0 h 48951"/>
                    <a:gd name="connsiteX1" fmla="*/ 4983 w 18310"/>
                    <a:gd name="connsiteY1" fmla="*/ 18185 h 48951"/>
                    <a:gd name="connsiteX2" fmla="*/ 14324 w 18310"/>
                    <a:gd name="connsiteY2" fmla="*/ 32883 h 48951"/>
                    <a:gd name="connsiteX3" fmla="*/ 18310 w 1831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10" h="48951">
                      <a:moveTo>
                        <a:pt x="0" y="0"/>
                      </a:moveTo>
                      <a:cubicBezTo>
                        <a:pt x="623" y="8345"/>
                        <a:pt x="2989" y="14324"/>
                        <a:pt x="4983" y="18185"/>
                      </a:cubicBezTo>
                      <a:cubicBezTo>
                        <a:pt x="8221" y="24413"/>
                        <a:pt x="11335" y="26406"/>
                        <a:pt x="14324" y="32883"/>
                      </a:cubicBezTo>
                      <a:cubicBezTo>
                        <a:pt x="17314" y="39111"/>
                        <a:pt x="18061" y="44965"/>
                        <a:pt x="1831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0" name="Freeform 7032">
                  <a:extLst>
                    <a:ext uri="{FF2B5EF4-FFF2-40B4-BE49-F238E27FC236}">
                      <a16:creationId xmlns:a16="http://schemas.microsoft.com/office/drawing/2014/main" id="{7CEC4892-F439-65E7-CBF7-7BCD8358EBE3}"/>
                    </a:ext>
                  </a:extLst>
                </p:cNvPr>
                <p:cNvSpPr/>
                <p:nvPr/>
              </p:nvSpPr>
              <p:spPr>
                <a:xfrm>
                  <a:off x="9447450" y="1310172"/>
                  <a:ext cx="19805" cy="48328"/>
                </a:xfrm>
                <a:custGeom>
                  <a:avLst/>
                  <a:gdLst>
                    <a:gd name="connsiteX0" fmla="*/ 19805 w 19805"/>
                    <a:gd name="connsiteY0" fmla="*/ 48328 h 48328"/>
                    <a:gd name="connsiteX1" fmla="*/ 11086 w 19805"/>
                    <a:gd name="connsiteY1" fmla="*/ 31638 h 48328"/>
                    <a:gd name="connsiteX2" fmla="*/ 7972 w 19805"/>
                    <a:gd name="connsiteY2" fmla="*/ 14449 h 48328"/>
                    <a:gd name="connsiteX3" fmla="*/ 0 w 19805"/>
                    <a:gd name="connsiteY3" fmla="*/ 0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48328"/>
                      </a:moveTo>
                      <a:cubicBezTo>
                        <a:pt x="14574" y="41727"/>
                        <a:pt x="12207" y="35873"/>
                        <a:pt x="11086" y="31638"/>
                      </a:cubicBezTo>
                      <a:cubicBezTo>
                        <a:pt x="9217" y="24912"/>
                        <a:pt x="10089" y="21299"/>
                        <a:pt x="7972"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1" name="Freeform 7033">
                  <a:extLst>
                    <a:ext uri="{FF2B5EF4-FFF2-40B4-BE49-F238E27FC236}">
                      <a16:creationId xmlns:a16="http://schemas.microsoft.com/office/drawing/2014/main" id="{23B193F7-C6C9-C34B-FB36-FAEB094DE35E}"/>
                    </a:ext>
                  </a:extLst>
                </p:cNvPr>
                <p:cNvSpPr/>
                <p:nvPr/>
              </p:nvSpPr>
              <p:spPr>
                <a:xfrm>
                  <a:off x="9430477" y="1296279"/>
                  <a:ext cx="26274" cy="26489"/>
                </a:xfrm>
                <a:custGeom>
                  <a:avLst/>
                  <a:gdLst>
                    <a:gd name="connsiteX0" fmla="*/ 25319 w 26274"/>
                    <a:gd name="connsiteY0" fmla="*/ 8412 h 26489"/>
                    <a:gd name="connsiteX1" fmla="*/ 17969 w 26274"/>
                    <a:gd name="connsiteY1" fmla="*/ 25601 h 26489"/>
                    <a:gd name="connsiteX2" fmla="*/ 905 w 26274"/>
                    <a:gd name="connsiteY2" fmla="*/ 18128 h 26489"/>
                    <a:gd name="connsiteX3" fmla="*/ 8254 w 26274"/>
                    <a:gd name="connsiteY3" fmla="*/ 939 h 26489"/>
                    <a:gd name="connsiteX4" fmla="*/ 25319 w 26274"/>
                    <a:gd name="connsiteY4" fmla="*/ 8412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4" h="26488">
                      <a:moveTo>
                        <a:pt x="25319" y="8412"/>
                      </a:moveTo>
                      <a:cubicBezTo>
                        <a:pt x="28059" y="15263"/>
                        <a:pt x="24695" y="22861"/>
                        <a:pt x="17969" y="25601"/>
                      </a:cubicBezTo>
                      <a:cubicBezTo>
                        <a:pt x="11244" y="28217"/>
                        <a:pt x="3521" y="24854"/>
                        <a:pt x="905" y="18128"/>
                      </a:cubicBezTo>
                      <a:cubicBezTo>
                        <a:pt x="-1711" y="11277"/>
                        <a:pt x="1528" y="3679"/>
                        <a:pt x="8254" y="939"/>
                      </a:cubicBezTo>
                      <a:cubicBezTo>
                        <a:pt x="14980" y="-1801"/>
                        <a:pt x="22578" y="1686"/>
                        <a:pt x="25319" y="8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2" name="Graphic 2987">
                <a:extLst>
                  <a:ext uri="{FF2B5EF4-FFF2-40B4-BE49-F238E27FC236}">
                    <a16:creationId xmlns:a16="http://schemas.microsoft.com/office/drawing/2014/main" id="{E2F1735B-CF41-6D43-8E06-C85A398F5C33}"/>
                  </a:ext>
                </a:extLst>
              </p:cNvPr>
              <p:cNvGrpSpPr/>
              <p:nvPr/>
            </p:nvGrpSpPr>
            <p:grpSpPr>
              <a:xfrm>
                <a:off x="9403216" y="1307043"/>
                <a:ext cx="70653" cy="140780"/>
                <a:chOff x="9403216" y="1307043"/>
                <a:chExt cx="70653" cy="140780"/>
              </a:xfrm>
              <a:grpFill/>
            </p:grpSpPr>
            <p:sp>
              <p:nvSpPr>
                <p:cNvPr id="7020" name="Freeform 7035">
                  <a:extLst>
                    <a:ext uri="{FF2B5EF4-FFF2-40B4-BE49-F238E27FC236}">
                      <a16:creationId xmlns:a16="http://schemas.microsoft.com/office/drawing/2014/main" id="{E6802D1D-EC02-1B9E-CEF6-67223297E39B}"/>
                    </a:ext>
                  </a:extLst>
                </p:cNvPr>
                <p:cNvSpPr/>
                <p:nvPr/>
              </p:nvSpPr>
              <p:spPr>
                <a:xfrm>
                  <a:off x="9443215" y="1377557"/>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438" y="40481"/>
                        <a:pt x="15196" y="34627"/>
                        <a:pt x="13203" y="30766"/>
                      </a:cubicBezTo>
                      <a:cubicBezTo>
                        <a:pt x="9964" y="24538"/>
                        <a:pt x="6851" y="22545"/>
                        <a:pt x="3861" y="16068"/>
                      </a:cubicBezTo>
                      <a:cubicBezTo>
                        <a:pt x="872"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1" name="Freeform 7036">
                  <a:extLst>
                    <a:ext uri="{FF2B5EF4-FFF2-40B4-BE49-F238E27FC236}">
                      <a16:creationId xmlns:a16="http://schemas.microsoft.com/office/drawing/2014/main" id="{D97754B8-51A9-BA9E-4102-EFCFFEA27008}"/>
                    </a:ext>
                  </a:extLst>
                </p:cNvPr>
                <p:cNvSpPr/>
                <p:nvPr/>
              </p:nvSpPr>
              <p:spPr>
                <a:xfrm>
                  <a:off x="9437112" y="1385404"/>
                  <a:ext cx="19554" cy="48328"/>
                </a:xfrm>
                <a:custGeom>
                  <a:avLst/>
                  <a:gdLst>
                    <a:gd name="connsiteX0" fmla="*/ 0 w 19554"/>
                    <a:gd name="connsiteY0" fmla="*/ 0 h 48328"/>
                    <a:gd name="connsiteX1" fmla="*/ 8595 w 19554"/>
                    <a:gd name="connsiteY1" fmla="*/ 16691 h 48328"/>
                    <a:gd name="connsiteX2" fmla="*/ 11584 w 19554"/>
                    <a:gd name="connsiteY2" fmla="*/ 33880 h 48328"/>
                    <a:gd name="connsiteX3" fmla="*/ 19555 w 1955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4" h="48328">
                      <a:moveTo>
                        <a:pt x="0" y="0"/>
                      </a:moveTo>
                      <a:cubicBezTo>
                        <a:pt x="5231" y="6602"/>
                        <a:pt x="7473" y="12456"/>
                        <a:pt x="8595" y="16691"/>
                      </a:cubicBezTo>
                      <a:cubicBezTo>
                        <a:pt x="10338" y="23417"/>
                        <a:pt x="9466" y="27154"/>
                        <a:pt x="11584" y="33880"/>
                      </a:cubicBezTo>
                      <a:cubicBezTo>
                        <a:pt x="13576" y="40481"/>
                        <a:pt x="16940" y="45339"/>
                        <a:pt x="19555"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2" name="Freeform 7037">
                  <a:extLst>
                    <a:ext uri="{FF2B5EF4-FFF2-40B4-BE49-F238E27FC236}">
                      <a16:creationId xmlns:a16="http://schemas.microsoft.com/office/drawing/2014/main" id="{0BD1E997-512B-2182-8DC3-DF4EE3A305F4}"/>
                    </a:ext>
                  </a:extLst>
                </p:cNvPr>
                <p:cNvSpPr/>
                <p:nvPr/>
              </p:nvSpPr>
              <p:spPr>
                <a:xfrm>
                  <a:off x="9447079" y="1421194"/>
                  <a:ext cx="26790" cy="26629"/>
                </a:xfrm>
                <a:custGeom>
                  <a:avLst/>
                  <a:gdLst>
                    <a:gd name="connsiteX0" fmla="*/ 870 w 26790"/>
                    <a:gd name="connsiteY0" fmla="*/ 18268 h 26629"/>
                    <a:gd name="connsiteX1" fmla="*/ 8593 w 26790"/>
                    <a:gd name="connsiteY1" fmla="*/ 955 h 26629"/>
                    <a:gd name="connsiteX2" fmla="*/ 25906 w 26790"/>
                    <a:gd name="connsiteY2" fmla="*/ 8428 h 26629"/>
                    <a:gd name="connsiteX3" fmla="*/ 18183 w 26790"/>
                    <a:gd name="connsiteY3" fmla="*/ 25742 h 26629"/>
                    <a:gd name="connsiteX4" fmla="*/ 870 w 26790"/>
                    <a:gd name="connsiteY4" fmla="*/ 18268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629">
                      <a:moveTo>
                        <a:pt x="870" y="18268"/>
                      </a:moveTo>
                      <a:cubicBezTo>
                        <a:pt x="-1746" y="11418"/>
                        <a:pt x="1742" y="3695"/>
                        <a:pt x="8593" y="955"/>
                      </a:cubicBezTo>
                      <a:cubicBezTo>
                        <a:pt x="15443" y="-1786"/>
                        <a:pt x="23166" y="1578"/>
                        <a:pt x="25906" y="8428"/>
                      </a:cubicBezTo>
                      <a:cubicBezTo>
                        <a:pt x="28521" y="15279"/>
                        <a:pt x="25158" y="23001"/>
                        <a:pt x="18183" y="25742"/>
                      </a:cubicBezTo>
                      <a:cubicBezTo>
                        <a:pt x="11208" y="28357"/>
                        <a:pt x="3485" y="24994"/>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3" name="Freeform 7038">
                  <a:extLst>
                    <a:ext uri="{FF2B5EF4-FFF2-40B4-BE49-F238E27FC236}">
                      <a16:creationId xmlns:a16="http://schemas.microsoft.com/office/drawing/2014/main" id="{B9892B13-D684-905B-538A-E3D8E5FA8F06}"/>
                    </a:ext>
                  </a:extLst>
                </p:cNvPr>
                <p:cNvSpPr/>
                <p:nvPr/>
              </p:nvSpPr>
              <p:spPr>
                <a:xfrm>
                  <a:off x="9415563" y="1328233"/>
                  <a:ext cx="18061" cy="48951"/>
                </a:xfrm>
                <a:custGeom>
                  <a:avLst/>
                  <a:gdLst>
                    <a:gd name="connsiteX0" fmla="*/ 0 w 18061"/>
                    <a:gd name="connsiteY0" fmla="*/ 0 h 48951"/>
                    <a:gd name="connsiteX1" fmla="*/ 4858 w 18061"/>
                    <a:gd name="connsiteY1" fmla="*/ 18185 h 48951"/>
                    <a:gd name="connsiteX2" fmla="*/ 14200 w 18061"/>
                    <a:gd name="connsiteY2" fmla="*/ 3288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623" y="8345"/>
                        <a:pt x="2865" y="14324"/>
                        <a:pt x="4858" y="18185"/>
                      </a:cubicBezTo>
                      <a:cubicBezTo>
                        <a:pt x="8097" y="24413"/>
                        <a:pt x="11210" y="26406"/>
                        <a:pt x="14200" y="32883"/>
                      </a:cubicBezTo>
                      <a:cubicBezTo>
                        <a:pt x="17189" y="39111"/>
                        <a:pt x="17936" y="44965"/>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4" name="Freeform 7039">
                  <a:extLst>
                    <a:ext uri="{FF2B5EF4-FFF2-40B4-BE49-F238E27FC236}">
                      <a16:creationId xmlns:a16="http://schemas.microsoft.com/office/drawing/2014/main" id="{AEB7294D-1CD6-AD5B-FCC0-604677D15CB9}"/>
                    </a:ext>
                  </a:extLst>
                </p:cNvPr>
                <p:cNvSpPr/>
                <p:nvPr/>
              </p:nvSpPr>
              <p:spPr>
                <a:xfrm>
                  <a:off x="9420296" y="1321008"/>
                  <a:ext cx="19430" cy="48328"/>
                </a:xfrm>
                <a:custGeom>
                  <a:avLst/>
                  <a:gdLst>
                    <a:gd name="connsiteX0" fmla="*/ 19431 w 19430"/>
                    <a:gd name="connsiteY0" fmla="*/ 48328 h 48328"/>
                    <a:gd name="connsiteX1" fmla="*/ 10836 w 19430"/>
                    <a:gd name="connsiteY1" fmla="*/ 31638 h 48328"/>
                    <a:gd name="connsiteX2" fmla="*/ 7847 w 19430"/>
                    <a:gd name="connsiteY2" fmla="*/ 14449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4200" y="41727"/>
                        <a:pt x="11958" y="35873"/>
                        <a:pt x="10836" y="31638"/>
                      </a:cubicBezTo>
                      <a:cubicBezTo>
                        <a:pt x="9093" y="24912"/>
                        <a:pt x="9964" y="21299"/>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5" name="Freeform 7040">
                  <a:extLst>
                    <a:ext uri="{FF2B5EF4-FFF2-40B4-BE49-F238E27FC236}">
                      <a16:creationId xmlns:a16="http://schemas.microsoft.com/office/drawing/2014/main" id="{9197C42E-7426-DC44-EFDA-C339FB2A740E}"/>
                    </a:ext>
                  </a:extLst>
                </p:cNvPr>
                <p:cNvSpPr/>
                <p:nvPr/>
              </p:nvSpPr>
              <p:spPr>
                <a:xfrm>
                  <a:off x="9403216" y="1307043"/>
                  <a:ext cx="26204" cy="26559"/>
                </a:xfrm>
                <a:custGeom>
                  <a:avLst/>
                  <a:gdLst>
                    <a:gd name="connsiteX0" fmla="*/ 25302 w 26204"/>
                    <a:gd name="connsiteY0" fmla="*/ 8484 h 26559"/>
                    <a:gd name="connsiteX1" fmla="*/ 17828 w 26204"/>
                    <a:gd name="connsiteY1" fmla="*/ 25673 h 26559"/>
                    <a:gd name="connsiteX2" fmla="*/ 888 w 26204"/>
                    <a:gd name="connsiteY2" fmla="*/ 18075 h 26559"/>
                    <a:gd name="connsiteX3" fmla="*/ 8361 w 26204"/>
                    <a:gd name="connsiteY3" fmla="*/ 886 h 26559"/>
                    <a:gd name="connsiteX4" fmla="*/ 25302 w 26204"/>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4" h="26559">
                      <a:moveTo>
                        <a:pt x="25302" y="8484"/>
                      </a:moveTo>
                      <a:cubicBezTo>
                        <a:pt x="27917" y="15335"/>
                        <a:pt x="24678" y="23058"/>
                        <a:pt x="17828" y="25673"/>
                      </a:cubicBezTo>
                      <a:cubicBezTo>
                        <a:pt x="10977"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3" name="Graphic 2987">
                <a:extLst>
                  <a:ext uri="{FF2B5EF4-FFF2-40B4-BE49-F238E27FC236}">
                    <a16:creationId xmlns:a16="http://schemas.microsoft.com/office/drawing/2014/main" id="{2B42AF2D-6A09-C3DA-EF19-CA99C609F120}"/>
                  </a:ext>
                </a:extLst>
              </p:cNvPr>
              <p:cNvGrpSpPr/>
              <p:nvPr/>
            </p:nvGrpSpPr>
            <p:grpSpPr>
              <a:xfrm>
                <a:off x="9375938" y="1317755"/>
                <a:ext cx="69891" cy="141096"/>
                <a:chOff x="9375938" y="1317755"/>
                <a:chExt cx="69891" cy="141096"/>
              </a:xfrm>
              <a:grpFill/>
            </p:grpSpPr>
            <p:sp>
              <p:nvSpPr>
                <p:cNvPr id="7014" name="Freeform 7042">
                  <a:extLst>
                    <a:ext uri="{FF2B5EF4-FFF2-40B4-BE49-F238E27FC236}">
                      <a16:creationId xmlns:a16="http://schemas.microsoft.com/office/drawing/2014/main" id="{439A5455-CEE2-FED2-3567-AC87B5D52E1C}"/>
                    </a:ext>
                  </a:extLst>
                </p:cNvPr>
                <p:cNvSpPr/>
                <p:nvPr/>
              </p:nvSpPr>
              <p:spPr>
                <a:xfrm>
                  <a:off x="9415439" y="1388518"/>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563" y="40481"/>
                        <a:pt x="15196" y="34627"/>
                        <a:pt x="13203" y="30766"/>
                      </a:cubicBezTo>
                      <a:cubicBezTo>
                        <a:pt x="9965" y="24538"/>
                        <a:pt x="6975" y="22545"/>
                        <a:pt x="3861"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5" name="Freeform 7043">
                  <a:extLst>
                    <a:ext uri="{FF2B5EF4-FFF2-40B4-BE49-F238E27FC236}">
                      <a16:creationId xmlns:a16="http://schemas.microsoft.com/office/drawing/2014/main" id="{5E929D49-806D-8B46-6EF3-B914859271C5}"/>
                    </a:ext>
                  </a:extLst>
                </p:cNvPr>
                <p:cNvSpPr/>
                <p:nvPr/>
              </p:nvSpPr>
              <p:spPr>
                <a:xfrm>
                  <a:off x="9409460" y="1396366"/>
                  <a:ext cx="19181" cy="48328"/>
                </a:xfrm>
                <a:custGeom>
                  <a:avLst/>
                  <a:gdLst>
                    <a:gd name="connsiteX0" fmla="*/ 0 w 19181"/>
                    <a:gd name="connsiteY0" fmla="*/ 0 h 48328"/>
                    <a:gd name="connsiteX1" fmla="*/ 8470 w 19181"/>
                    <a:gd name="connsiteY1" fmla="*/ 16691 h 48328"/>
                    <a:gd name="connsiteX2" fmla="*/ 11335 w 19181"/>
                    <a:gd name="connsiteY2" fmla="*/ 33880 h 48328"/>
                    <a:gd name="connsiteX3" fmla="*/ 19182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0" y="0"/>
                      </a:moveTo>
                      <a:cubicBezTo>
                        <a:pt x="5107" y="6602"/>
                        <a:pt x="7349" y="12580"/>
                        <a:pt x="8470" y="16691"/>
                      </a:cubicBezTo>
                      <a:cubicBezTo>
                        <a:pt x="10214" y="23541"/>
                        <a:pt x="9342" y="27154"/>
                        <a:pt x="11335" y="33880"/>
                      </a:cubicBezTo>
                      <a:cubicBezTo>
                        <a:pt x="13328" y="40481"/>
                        <a:pt x="16691" y="45339"/>
                        <a:pt x="19182"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6" name="Freeform 7044">
                  <a:extLst>
                    <a:ext uri="{FF2B5EF4-FFF2-40B4-BE49-F238E27FC236}">
                      <a16:creationId xmlns:a16="http://schemas.microsoft.com/office/drawing/2014/main" id="{EDC75CDA-C51E-3FB6-0C9B-0AFCA5E75F7B}"/>
                    </a:ext>
                  </a:extLst>
                </p:cNvPr>
                <p:cNvSpPr/>
                <p:nvPr/>
              </p:nvSpPr>
              <p:spPr>
                <a:xfrm>
                  <a:off x="9419178" y="1432155"/>
                  <a:ext cx="26651" cy="26696"/>
                </a:xfrm>
                <a:custGeom>
                  <a:avLst/>
                  <a:gdLst>
                    <a:gd name="connsiteX0" fmla="*/ 870 w 26651"/>
                    <a:gd name="connsiteY0" fmla="*/ 18268 h 26696"/>
                    <a:gd name="connsiteX1" fmla="*/ 8593 w 26651"/>
                    <a:gd name="connsiteY1" fmla="*/ 955 h 26696"/>
                    <a:gd name="connsiteX2" fmla="*/ 25782 w 26651"/>
                    <a:gd name="connsiteY2" fmla="*/ 8428 h 26696"/>
                    <a:gd name="connsiteX3" fmla="*/ 18058 w 26651"/>
                    <a:gd name="connsiteY3" fmla="*/ 25742 h 26696"/>
                    <a:gd name="connsiteX4" fmla="*/ 870 w 26651"/>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1" h="26696">
                      <a:moveTo>
                        <a:pt x="870" y="18268"/>
                      </a:moveTo>
                      <a:cubicBezTo>
                        <a:pt x="-1746" y="11418"/>
                        <a:pt x="1741" y="3695"/>
                        <a:pt x="8593" y="955"/>
                      </a:cubicBezTo>
                      <a:cubicBezTo>
                        <a:pt x="15443" y="-1786"/>
                        <a:pt x="23166" y="1577"/>
                        <a:pt x="25782" y="8428"/>
                      </a:cubicBezTo>
                      <a:cubicBezTo>
                        <a:pt x="28397" y="15279"/>
                        <a:pt x="24910" y="23001"/>
                        <a:pt x="18058" y="25742"/>
                      </a:cubicBezTo>
                      <a:cubicBezTo>
                        <a:pt x="11208" y="28482"/>
                        <a:pt x="3485" y="25119"/>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7" name="Freeform 7045">
                  <a:extLst>
                    <a:ext uri="{FF2B5EF4-FFF2-40B4-BE49-F238E27FC236}">
                      <a16:creationId xmlns:a16="http://schemas.microsoft.com/office/drawing/2014/main" id="{3482A12C-0B51-C4C3-B0AE-7311D38A4490}"/>
                    </a:ext>
                  </a:extLst>
                </p:cNvPr>
                <p:cNvSpPr/>
                <p:nvPr/>
              </p:nvSpPr>
              <p:spPr>
                <a:xfrm>
                  <a:off x="9388160" y="1339069"/>
                  <a:ext cx="17936" cy="48951"/>
                </a:xfrm>
                <a:custGeom>
                  <a:avLst/>
                  <a:gdLst>
                    <a:gd name="connsiteX0" fmla="*/ 0 w 17936"/>
                    <a:gd name="connsiteY0" fmla="*/ 0 h 48951"/>
                    <a:gd name="connsiteX1" fmla="*/ 4858 w 17936"/>
                    <a:gd name="connsiteY1" fmla="*/ 18185 h 48951"/>
                    <a:gd name="connsiteX2" fmla="*/ 14075 w 17936"/>
                    <a:gd name="connsiteY2" fmla="*/ 32883 h 48951"/>
                    <a:gd name="connsiteX3" fmla="*/ 17936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0" y="0"/>
                      </a:moveTo>
                      <a:cubicBezTo>
                        <a:pt x="623" y="8470"/>
                        <a:pt x="2865" y="14324"/>
                        <a:pt x="4858" y="18185"/>
                      </a:cubicBezTo>
                      <a:cubicBezTo>
                        <a:pt x="8097" y="24413"/>
                        <a:pt x="11086" y="26531"/>
                        <a:pt x="14075" y="32883"/>
                      </a:cubicBezTo>
                      <a:cubicBezTo>
                        <a:pt x="16940" y="39111"/>
                        <a:pt x="17688" y="44965"/>
                        <a:pt x="17936"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8" name="Freeform 7046">
                  <a:extLst>
                    <a:ext uri="{FF2B5EF4-FFF2-40B4-BE49-F238E27FC236}">
                      <a16:creationId xmlns:a16="http://schemas.microsoft.com/office/drawing/2014/main" id="{EB5A3F72-82E2-224B-964B-347CFFE0ABB8}"/>
                    </a:ext>
                  </a:extLst>
                </p:cNvPr>
                <p:cNvSpPr/>
                <p:nvPr/>
              </p:nvSpPr>
              <p:spPr>
                <a:xfrm>
                  <a:off x="9392894" y="1331845"/>
                  <a:ext cx="19182" cy="48328"/>
                </a:xfrm>
                <a:custGeom>
                  <a:avLst/>
                  <a:gdLst>
                    <a:gd name="connsiteX0" fmla="*/ 19182 w 19182"/>
                    <a:gd name="connsiteY0" fmla="*/ 48328 h 48328"/>
                    <a:gd name="connsiteX1" fmla="*/ 10713 w 19182"/>
                    <a:gd name="connsiteY1" fmla="*/ 31638 h 48328"/>
                    <a:gd name="connsiteX2" fmla="*/ 7847 w 19182"/>
                    <a:gd name="connsiteY2" fmla="*/ 14449 h 48328"/>
                    <a:gd name="connsiteX3" fmla="*/ 0 w 19182"/>
                    <a:gd name="connsiteY3" fmla="*/ 0 h 48328"/>
                  </a:gdLst>
                  <a:ahLst/>
                  <a:cxnLst>
                    <a:cxn ang="0">
                      <a:pos x="connsiteX0" y="connsiteY0"/>
                    </a:cxn>
                    <a:cxn ang="0">
                      <a:pos x="connsiteX1" y="connsiteY1"/>
                    </a:cxn>
                    <a:cxn ang="0">
                      <a:pos x="connsiteX2" y="connsiteY2"/>
                    </a:cxn>
                    <a:cxn ang="0">
                      <a:pos x="connsiteX3" y="connsiteY3"/>
                    </a:cxn>
                  </a:cxnLst>
                  <a:rect l="l" t="t" r="r" b="b"/>
                  <a:pathLst>
                    <a:path w="19182" h="48328">
                      <a:moveTo>
                        <a:pt x="19182" y="48328"/>
                      </a:moveTo>
                      <a:cubicBezTo>
                        <a:pt x="13950" y="41727"/>
                        <a:pt x="11833" y="35748"/>
                        <a:pt x="10713" y="31638"/>
                      </a:cubicBezTo>
                      <a:cubicBezTo>
                        <a:pt x="8969" y="24912"/>
                        <a:pt x="9841" y="21175"/>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9" name="Freeform 7047">
                  <a:extLst>
                    <a:ext uri="{FF2B5EF4-FFF2-40B4-BE49-F238E27FC236}">
                      <a16:creationId xmlns:a16="http://schemas.microsoft.com/office/drawing/2014/main" id="{5DCC9A7B-45AD-26FA-3812-51AC737581E2}"/>
                    </a:ext>
                  </a:extLst>
                </p:cNvPr>
                <p:cNvSpPr/>
                <p:nvPr/>
              </p:nvSpPr>
              <p:spPr>
                <a:xfrm>
                  <a:off x="9375938" y="1317755"/>
                  <a:ext cx="26189" cy="26559"/>
                </a:xfrm>
                <a:custGeom>
                  <a:avLst/>
                  <a:gdLst>
                    <a:gd name="connsiteX0" fmla="*/ 25302 w 26189"/>
                    <a:gd name="connsiteY0" fmla="*/ 8484 h 26559"/>
                    <a:gd name="connsiteX1" fmla="*/ 17828 w 26189"/>
                    <a:gd name="connsiteY1" fmla="*/ 25673 h 26559"/>
                    <a:gd name="connsiteX2" fmla="*/ 888 w 26189"/>
                    <a:gd name="connsiteY2" fmla="*/ 18075 h 26559"/>
                    <a:gd name="connsiteX3" fmla="*/ 8361 w 26189"/>
                    <a:gd name="connsiteY3" fmla="*/ 886 h 26559"/>
                    <a:gd name="connsiteX4" fmla="*/ 25302 w 2618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59">
                      <a:moveTo>
                        <a:pt x="25302" y="8484"/>
                      </a:moveTo>
                      <a:cubicBezTo>
                        <a:pt x="27917" y="15335"/>
                        <a:pt x="24554" y="23058"/>
                        <a:pt x="17828" y="25673"/>
                      </a:cubicBezTo>
                      <a:cubicBezTo>
                        <a:pt x="11102"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4" name="Graphic 2987">
                <a:extLst>
                  <a:ext uri="{FF2B5EF4-FFF2-40B4-BE49-F238E27FC236}">
                    <a16:creationId xmlns:a16="http://schemas.microsoft.com/office/drawing/2014/main" id="{82D77E7D-2FCA-7E3E-0269-A9CAB573E304}"/>
                  </a:ext>
                </a:extLst>
              </p:cNvPr>
              <p:cNvGrpSpPr/>
              <p:nvPr/>
            </p:nvGrpSpPr>
            <p:grpSpPr>
              <a:xfrm>
                <a:off x="9348568" y="1328541"/>
                <a:ext cx="69607" cy="141273"/>
                <a:chOff x="9348568" y="1328541"/>
                <a:chExt cx="69607" cy="141273"/>
              </a:xfrm>
              <a:grpFill/>
            </p:grpSpPr>
            <p:sp>
              <p:nvSpPr>
                <p:cNvPr id="7008" name="Freeform 7049">
                  <a:extLst>
                    <a:ext uri="{FF2B5EF4-FFF2-40B4-BE49-F238E27FC236}">
                      <a16:creationId xmlns:a16="http://schemas.microsoft.com/office/drawing/2014/main" id="{43C38DB4-965E-F4B0-9988-5EAFFF46930F}"/>
                    </a:ext>
                  </a:extLst>
                </p:cNvPr>
                <p:cNvSpPr/>
                <p:nvPr/>
              </p:nvSpPr>
              <p:spPr>
                <a:xfrm>
                  <a:off x="9387912" y="1399604"/>
                  <a:ext cx="17686" cy="48951"/>
                </a:xfrm>
                <a:custGeom>
                  <a:avLst/>
                  <a:gdLst>
                    <a:gd name="connsiteX0" fmla="*/ 17687 w 17686"/>
                    <a:gd name="connsiteY0" fmla="*/ 48951 h 48951"/>
                    <a:gd name="connsiteX1" fmla="*/ 12954 w 17686"/>
                    <a:gd name="connsiteY1" fmla="*/ 30766 h 48951"/>
                    <a:gd name="connsiteX2" fmla="*/ 3737 w 17686"/>
                    <a:gd name="connsiteY2" fmla="*/ 16068 h 48951"/>
                    <a:gd name="connsiteX3" fmla="*/ 0 w 17686"/>
                    <a:gd name="connsiteY3" fmla="*/ 0 h 48951"/>
                  </a:gdLst>
                  <a:ahLst/>
                  <a:cxnLst>
                    <a:cxn ang="0">
                      <a:pos x="connsiteX0" y="connsiteY0"/>
                    </a:cxn>
                    <a:cxn ang="0">
                      <a:pos x="connsiteX1" y="connsiteY1"/>
                    </a:cxn>
                    <a:cxn ang="0">
                      <a:pos x="connsiteX2" y="connsiteY2"/>
                    </a:cxn>
                    <a:cxn ang="0">
                      <a:pos x="connsiteX3" y="connsiteY3"/>
                    </a:cxn>
                  </a:cxnLst>
                  <a:rect l="l" t="t" r="r" b="b"/>
                  <a:pathLst>
                    <a:path w="17686" h="48951">
                      <a:moveTo>
                        <a:pt x="17687" y="48951"/>
                      </a:moveTo>
                      <a:cubicBezTo>
                        <a:pt x="17189" y="40481"/>
                        <a:pt x="14947" y="34627"/>
                        <a:pt x="12954" y="30766"/>
                      </a:cubicBezTo>
                      <a:cubicBezTo>
                        <a:pt x="9715" y="24538"/>
                        <a:pt x="6726" y="22420"/>
                        <a:pt x="3737" y="16068"/>
                      </a:cubicBezTo>
                      <a:cubicBezTo>
                        <a:pt x="872" y="9840"/>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9" name="Freeform 7050">
                  <a:extLst>
                    <a:ext uri="{FF2B5EF4-FFF2-40B4-BE49-F238E27FC236}">
                      <a16:creationId xmlns:a16="http://schemas.microsoft.com/office/drawing/2014/main" id="{2AD0A1B4-B299-E3F2-77A0-B8C74D9F83FE}"/>
                    </a:ext>
                  </a:extLst>
                </p:cNvPr>
                <p:cNvSpPr/>
                <p:nvPr/>
              </p:nvSpPr>
              <p:spPr>
                <a:xfrm>
                  <a:off x="9381809" y="1407202"/>
                  <a:ext cx="18807" cy="48577"/>
                </a:xfrm>
                <a:custGeom>
                  <a:avLst/>
                  <a:gdLst>
                    <a:gd name="connsiteX0" fmla="*/ 0 w 18807"/>
                    <a:gd name="connsiteY0" fmla="*/ 0 h 48577"/>
                    <a:gd name="connsiteX1" fmla="*/ 8345 w 18807"/>
                    <a:gd name="connsiteY1" fmla="*/ 16815 h 48577"/>
                    <a:gd name="connsiteX2" fmla="*/ 11085 w 18807"/>
                    <a:gd name="connsiteY2" fmla="*/ 34004 h 48577"/>
                    <a:gd name="connsiteX3" fmla="*/ 18808 w 18807"/>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7" h="48577">
                      <a:moveTo>
                        <a:pt x="0" y="0"/>
                      </a:moveTo>
                      <a:cubicBezTo>
                        <a:pt x="5107" y="6602"/>
                        <a:pt x="7348" y="12580"/>
                        <a:pt x="8345" y="16815"/>
                      </a:cubicBezTo>
                      <a:cubicBezTo>
                        <a:pt x="10089" y="23666"/>
                        <a:pt x="9092" y="27278"/>
                        <a:pt x="11085" y="34004"/>
                      </a:cubicBezTo>
                      <a:cubicBezTo>
                        <a:pt x="13078" y="40606"/>
                        <a:pt x="16317" y="45588"/>
                        <a:pt x="18808"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0" name="Freeform 7051">
                  <a:extLst>
                    <a:ext uri="{FF2B5EF4-FFF2-40B4-BE49-F238E27FC236}">
                      <a16:creationId xmlns:a16="http://schemas.microsoft.com/office/drawing/2014/main" id="{C48615F7-543E-B28C-6854-C734ABB47F10}"/>
                    </a:ext>
                  </a:extLst>
                </p:cNvPr>
                <p:cNvSpPr/>
                <p:nvPr/>
              </p:nvSpPr>
              <p:spPr>
                <a:xfrm>
                  <a:off x="9391308" y="1443116"/>
                  <a:ext cx="26867" cy="26698"/>
                </a:xfrm>
                <a:custGeom>
                  <a:avLst/>
                  <a:gdLst>
                    <a:gd name="connsiteX0" fmla="*/ 838 w 26867"/>
                    <a:gd name="connsiteY0" fmla="*/ 18019 h 26698"/>
                    <a:gd name="connsiteX1" fmla="*/ 8810 w 26867"/>
                    <a:gd name="connsiteY1" fmla="*/ 955 h 26698"/>
                    <a:gd name="connsiteX2" fmla="*/ 25999 w 26867"/>
                    <a:gd name="connsiteY2" fmla="*/ 8428 h 26698"/>
                    <a:gd name="connsiteX3" fmla="*/ 18152 w 26867"/>
                    <a:gd name="connsiteY3" fmla="*/ 25742 h 26698"/>
                    <a:gd name="connsiteX4" fmla="*/ 838 w 26867"/>
                    <a:gd name="connsiteY4" fmla="*/ 18019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7" h="26698">
                      <a:moveTo>
                        <a:pt x="838" y="18019"/>
                      </a:moveTo>
                      <a:cubicBezTo>
                        <a:pt x="-1777" y="11044"/>
                        <a:pt x="1960" y="3820"/>
                        <a:pt x="8810" y="955"/>
                      </a:cubicBezTo>
                      <a:cubicBezTo>
                        <a:pt x="15661" y="-1786"/>
                        <a:pt x="23383" y="1578"/>
                        <a:pt x="25999" y="8428"/>
                      </a:cubicBezTo>
                      <a:cubicBezTo>
                        <a:pt x="28615" y="15279"/>
                        <a:pt x="25127" y="23001"/>
                        <a:pt x="18152" y="25742"/>
                      </a:cubicBezTo>
                      <a:cubicBezTo>
                        <a:pt x="11177" y="28607"/>
                        <a:pt x="3330" y="24745"/>
                        <a:pt x="838" y="18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1" name="Freeform 7052">
                  <a:extLst>
                    <a:ext uri="{FF2B5EF4-FFF2-40B4-BE49-F238E27FC236}">
                      <a16:creationId xmlns:a16="http://schemas.microsoft.com/office/drawing/2014/main" id="{3A9ECAE2-80B8-75B7-992F-F9B78445F82B}"/>
                    </a:ext>
                  </a:extLst>
                </p:cNvPr>
                <p:cNvSpPr/>
                <p:nvPr/>
              </p:nvSpPr>
              <p:spPr>
                <a:xfrm>
                  <a:off x="9360883" y="1349781"/>
                  <a:ext cx="17686" cy="49075"/>
                </a:xfrm>
                <a:custGeom>
                  <a:avLst/>
                  <a:gdLst>
                    <a:gd name="connsiteX0" fmla="*/ 0 w 17686"/>
                    <a:gd name="connsiteY0" fmla="*/ 0 h 49075"/>
                    <a:gd name="connsiteX1" fmla="*/ 4732 w 17686"/>
                    <a:gd name="connsiteY1" fmla="*/ 18185 h 49075"/>
                    <a:gd name="connsiteX2" fmla="*/ 13950 w 17686"/>
                    <a:gd name="connsiteY2" fmla="*/ 33008 h 49075"/>
                    <a:gd name="connsiteX3" fmla="*/ 17687 w 17686"/>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6" h="49075">
                      <a:moveTo>
                        <a:pt x="0" y="0"/>
                      </a:moveTo>
                      <a:cubicBezTo>
                        <a:pt x="498" y="8470"/>
                        <a:pt x="2740" y="14324"/>
                        <a:pt x="4732" y="18185"/>
                      </a:cubicBezTo>
                      <a:cubicBezTo>
                        <a:pt x="7846" y="24413"/>
                        <a:pt x="10960" y="26531"/>
                        <a:pt x="13950" y="33008"/>
                      </a:cubicBezTo>
                      <a:cubicBezTo>
                        <a:pt x="16815" y="39236"/>
                        <a:pt x="17562" y="45214"/>
                        <a:pt x="17687"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2" name="Freeform 7053">
                  <a:extLst>
                    <a:ext uri="{FF2B5EF4-FFF2-40B4-BE49-F238E27FC236}">
                      <a16:creationId xmlns:a16="http://schemas.microsoft.com/office/drawing/2014/main" id="{740A6E44-48AD-FFE3-5049-CCA80C7584A7}"/>
                    </a:ext>
                  </a:extLst>
                </p:cNvPr>
                <p:cNvSpPr/>
                <p:nvPr/>
              </p:nvSpPr>
              <p:spPr>
                <a:xfrm>
                  <a:off x="9365615" y="1342557"/>
                  <a:ext cx="18933" cy="48577"/>
                </a:xfrm>
                <a:custGeom>
                  <a:avLst/>
                  <a:gdLst>
                    <a:gd name="connsiteX0" fmla="*/ 18933 w 18933"/>
                    <a:gd name="connsiteY0" fmla="*/ 48577 h 48577"/>
                    <a:gd name="connsiteX1" fmla="*/ 10588 w 18933"/>
                    <a:gd name="connsiteY1" fmla="*/ 31762 h 48577"/>
                    <a:gd name="connsiteX2" fmla="*/ 7723 w 18933"/>
                    <a:gd name="connsiteY2" fmla="*/ 14573 h 48577"/>
                    <a:gd name="connsiteX3" fmla="*/ 0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48577"/>
                      </a:moveTo>
                      <a:cubicBezTo>
                        <a:pt x="13826" y="41976"/>
                        <a:pt x="11585" y="35997"/>
                        <a:pt x="10588" y="31762"/>
                      </a:cubicBezTo>
                      <a:cubicBezTo>
                        <a:pt x="8844" y="24912"/>
                        <a:pt x="9716" y="21299"/>
                        <a:pt x="7723" y="14573"/>
                      </a:cubicBezTo>
                      <a:cubicBezTo>
                        <a:pt x="5730" y="7972"/>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3" name="Freeform 7054">
                  <a:extLst>
                    <a:ext uri="{FF2B5EF4-FFF2-40B4-BE49-F238E27FC236}">
                      <a16:creationId xmlns:a16="http://schemas.microsoft.com/office/drawing/2014/main" id="{187582E2-3EB6-71C5-B372-7C4C732B77EF}"/>
                    </a:ext>
                  </a:extLst>
                </p:cNvPr>
                <p:cNvSpPr/>
                <p:nvPr/>
              </p:nvSpPr>
              <p:spPr>
                <a:xfrm>
                  <a:off x="9348568" y="1328541"/>
                  <a:ext cx="26279" cy="26614"/>
                </a:xfrm>
                <a:custGeom>
                  <a:avLst/>
                  <a:gdLst>
                    <a:gd name="connsiteX0" fmla="*/ 25393 w 26279"/>
                    <a:gd name="connsiteY0" fmla="*/ 8535 h 26614"/>
                    <a:gd name="connsiteX1" fmla="*/ 17795 w 26279"/>
                    <a:gd name="connsiteY1" fmla="*/ 25724 h 26614"/>
                    <a:gd name="connsiteX2" fmla="*/ 855 w 26279"/>
                    <a:gd name="connsiteY2" fmla="*/ 17877 h 26614"/>
                    <a:gd name="connsiteX3" fmla="*/ 8578 w 26279"/>
                    <a:gd name="connsiteY3" fmla="*/ 937 h 26614"/>
                    <a:gd name="connsiteX4" fmla="*/ 25393 w 26279"/>
                    <a:gd name="connsiteY4" fmla="*/ 8535 h 26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9" h="26613">
                      <a:moveTo>
                        <a:pt x="25393" y="8535"/>
                      </a:moveTo>
                      <a:cubicBezTo>
                        <a:pt x="28009" y="15386"/>
                        <a:pt x="24646" y="23109"/>
                        <a:pt x="17795" y="25724"/>
                      </a:cubicBezTo>
                      <a:cubicBezTo>
                        <a:pt x="11069" y="28465"/>
                        <a:pt x="3346" y="24603"/>
                        <a:pt x="855" y="17877"/>
                      </a:cubicBezTo>
                      <a:cubicBezTo>
                        <a:pt x="-1760" y="10902"/>
                        <a:pt x="1852" y="3678"/>
                        <a:pt x="8578" y="937"/>
                      </a:cubicBezTo>
                      <a:cubicBezTo>
                        <a:pt x="15304" y="-1803"/>
                        <a:pt x="22777" y="1685"/>
                        <a:pt x="25393" y="85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5" name="Graphic 2987">
                <a:extLst>
                  <a:ext uri="{FF2B5EF4-FFF2-40B4-BE49-F238E27FC236}">
                    <a16:creationId xmlns:a16="http://schemas.microsoft.com/office/drawing/2014/main" id="{7A82E08A-45DA-FBBD-7658-E5E31AAF6248}"/>
                  </a:ext>
                </a:extLst>
              </p:cNvPr>
              <p:cNvGrpSpPr/>
              <p:nvPr/>
            </p:nvGrpSpPr>
            <p:grpSpPr>
              <a:xfrm>
                <a:off x="9320968" y="1338593"/>
                <a:ext cx="68990" cy="141268"/>
                <a:chOff x="9320968" y="1338593"/>
                <a:chExt cx="68990" cy="141268"/>
              </a:xfrm>
              <a:grpFill/>
            </p:grpSpPr>
            <p:sp>
              <p:nvSpPr>
                <p:cNvPr id="7002" name="Freeform 7056">
                  <a:extLst>
                    <a:ext uri="{FF2B5EF4-FFF2-40B4-BE49-F238E27FC236}">
                      <a16:creationId xmlns:a16="http://schemas.microsoft.com/office/drawing/2014/main" id="{A1C94C4F-0B20-25D3-D8B4-41B9CCD90F98}"/>
                    </a:ext>
                  </a:extLst>
                </p:cNvPr>
                <p:cNvSpPr/>
                <p:nvPr/>
              </p:nvSpPr>
              <p:spPr>
                <a:xfrm>
                  <a:off x="9360135" y="1409693"/>
                  <a:ext cx="17438" cy="49075"/>
                </a:xfrm>
                <a:custGeom>
                  <a:avLst/>
                  <a:gdLst>
                    <a:gd name="connsiteX0" fmla="*/ 17438 w 17438"/>
                    <a:gd name="connsiteY0" fmla="*/ 49076 h 49075"/>
                    <a:gd name="connsiteX1" fmla="*/ 12830 w 17438"/>
                    <a:gd name="connsiteY1" fmla="*/ 30890 h 49075"/>
                    <a:gd name="connsiteX2" fmla="*/ 3613 w 17438"/>
                    <a:gd name="connsiteY2" fmla="*/ 16068 h 49075"/>
                    <a:gd name="connsiteX3" fmla="*/ 0 w 17438"/>
                    <a:gd name="connsiteY3" fmla="*/ 0 h 49075"/>
                  </a:gdLst>
                  <a:ahLst/>
                  <a:cxnLst>
                    <a:cxn ang="0">
                      <a:pos x="connsiteX0" y="connsiteY0"/>
                    </a:cxn>
                    <a:cxn ang="0">
                      <a:pos x="connsiteX1" y="connsiteY1"/>
                    </a:cxn>
                    <a:cxn ang="0">
                      <a:pos x="connsiteX2" y="connsiteY2"/>
                    </a:cxn>
                    <a:cxn ang="0">
                      <a:pos x="connsiteX3" y="connsiteY3"/>
                    </a:cxn>
                  </a:cxnLst>
                  <a:rect l="l" t="t" r="r" b="b"/>
                  <a:pathLst>
                    <a:path w="17438" h="49075">
                      <a:moveTo>
                        <a:pt x="17438" y="49076"/>
                      </a:moveTo>
                      <a:cubicBezTo>
                        <a:pt x="17065" y="40730"/>
                        <a:pt x="14822" y="34752"/>
                        <a:pt x="12830" y="30890"/>
                      </a:cubicBezTo>
                      <a:cubicBezTo>
                        <a:pt x="9716" y="24662"/>
                        <a:pt x="6602" y="22545"/>
                        <a:pt x="3613" y="16068"/>
                      </a:cubicBezTo>
                      <a:cubicBezTo>
                        <a:pt x="748" y="9715"/>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3" name="Freeform 7057">
                  <a:extLst>
                    <a:ext uri="{FF2B5EF4-FFF2-40B4-BE49-F238E27FC236}">
                      <a16:creationId xmlns:a16="http://schemas.microsoft.com/office/drawing/2014/main" id="{6C88CBD2-93FB-36E4-7D47-045F5358D9AE}"/>
                    </a:ext>
                  </a:extLst>
                </p:cNvPr>
                <p:cNvSpPr/>
                <p:nvPr/>
              </p:nvSpPr>
              <p:spPr>
                <a:xfrm>
                  <a:off x="9353907" y="1417167"/>
                  <a:ext cx="18683" cy="48702"/>
                </a:xfrm>
                <a:custGeom>
                  <a:avLst/>
                  <a:gdLst>
                    <a:gd name="connsiteX0" fmla="*/ 0 w 18683"/>
                    <a:gd name="connsiteY0" fmla="*/ 0 h 48702"/>
                    <a:gd name="connsiteX1" fmla="*/ 8346 w 18683"/>
                    <a:gd name="connsiteY1" fmla="*/ 16940 h 48702"/>
                    <a:gd name="connsiteX2" fmla="*/ 10961 w 18683"/>
                    <a:gd name="connsiteY2" fmla="*/ 34129 h 48702"/>
                    <a:gd name="connsiteX3" fmla="*/ 18684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0" y="0"/>
                      </a:moveTo>
                      <a:cubicBezTo>
                        <a:pt x="5107" y="6726"/>
                        <a:pt x="7349" y="12705"/>
                        <a:pt x="8346" y="16940"/>
                      </a:cubicBezTo>
                      <a:cubicBezTo>
                        <a:pt x="9965" y="23791"/>
                        <a:pt x="9093" y="27278"/>
                        <a:pt x="10961" y="34129"/>
                      </a:cubicBezTo>
                      <a:cubicBezTo>
                        <a:pt x="12830" y="40730"/>
                        <a:pt x="16193" y="45713"/>
                        <a:pt x="18684"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4" name="Freeform 7058">
                  <a:extLst>
                    <a:ext uri="{FF2B5EF4-FFF2-40B4-BE49-F238E27FC236}">
                      <a16:creationId xmlns:a16="http://schemas.microsoft.com/office/drawing/2014/main" id="{C665E3F4-4896-FEE3-8DAD-21DB33E6A766}"/>
                    </a:ext>
                  </a:extLst>
                </p:cNvPr>
                <p:cNvSpPr/>
                <p:nvPr/>
              </p:nvSpPr>
              <p:spPr>
                <a:xfrm>
                  <a:off x="9363084" y="1453371"/>
                  <a:ext cx="26873" cy="26489"/>
                </a:xfrm>
                <a:custGeom>
                  <a:avLst/>
                  <a:gdLst>
                    <a:gd name="connsiteX0" fmla="*/ 788 w 26873"/>
                    <a:gd name="connsiteY0" fmla="*/ 17729 h 26489"/>
                    <a:gd name="connsiteX1" fmla="*/ 8884 w 26873"/>
                    <a:gd name="connsiteY1" fmla="*/ 789 h 26489"/>
                    <a:gd name="connsiteX2" fmla="*/ 26073 w 26873"/>
                    <a:gd name="connsiteY2" fmla="*/ 8761 h 26489"/>
                    <a:gd name="connsiteX3" fmla="*/ 17977 w 26873"/>
                    <a:gd name="connsiteY3" fmla="*/ 25700 h 26489"/>
                    <a:gd name="connsiteX4" fmla="*/ 788 w 26873"/>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488">
                      <a:moveTo>
                        <a:pt x="788" y="17729"/>
                      </a:moveTo>
                      <a:cubicBezTo>
                        <a:pt x="-1704" y="10878"/>
                        <a:pt x="1908" y="3280"/>
                        <a:pt x="8884" y="789"/>
                      </a:cubicBezTo>
                      <a:cubicBezTo>
                        <a:pt x="15859" y="-1702"/>
                        <a:pt x="23581" y="1910"/>
                        <a:pt x="26073" y="8761"/>
                      </a:cubicBezTo>
                      <a:cubicBezTo>
                        <a:pt x="28564" y="15611"/>
                        <a:pt x="25076" y="23209"/>
                        <a:pt x="17977" y="25700"/>
                      </a:cubicBezTo>
                      <a:cubicBezTo>
                        <a:pt x="10877" y="28192"/>
                        <a:pt x="3278"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5" name="Freeform 7059">
                  <a:extLst>
                    <a:ext uri="{FF2B5EF4-FFF2-40B4-BE49-F238E27FC236}">
                      <a16:creationId xmlns:a16="http://schemas.microsoft.com/office/drawing/2014/main" id="{988837BD-5984-6D05-2C4D-A02D9FE5A66D}"/>
                    </a:ext>
                  </a:extLst>
                </p:cNvPr>
                <p:cNvSpPr/>
                <p:nvPr/>
              </p:nvSpPr>
              <p:spPr>
                <a:xfrm>
                  <a:off x="9333231" y="1359621"/>
                  <a:ext cx="17313" cy="49200"/>
                </a:xfrm>
                <a:custGeom>
                  <a:avLst/>
                  <a:gdLst>
                    <a:gd name="connsiteX0" fmla="*/ 0 w 17313"/>
                    <a:gd name="connsiteY0" fmla="*/ 0 h 49200"/>
                    <a:gd name="connsiteX1" fmla="*/ 4609 w 17313"/>
                    <a:gd name="connsiteY1" fmla="*/ 18185 h 49200"/>
                    <a:gd name="connsiteX2" fmla="*/ 13701 w 17313"/>
                    <a:gd name="connsiteY2" fmla="*/ 33132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98" y="8345"/>
                        <a:pt x="2616" y="14324"/>
                        <a:pt x="4609" y="18185"/>
                      </a:cubicBezTo>
                      <a:cubicBezTo>
                        <a:pt x="7723" y="24413"/>
                        <a:pt x="10836" y="26655"/>
                        <a:pt x="13701" y="33132"/>
                      </a:cubicBezTo>
                      <a:cubicBezTo>
                        <a:pt x="16566" y="39485"/>
                        <a:pt x="17189" y="45214"/>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6" name="Freeform 7060">
                  <a:extLst>
                    <a:ext uri="{FF2B5EF4-FFF2-40B4-BE49-F238E27FC236}">
                      <a16:creationId xmlns:a16="http://schemas.microsoft.com/office/drawing/2014/main" id="{8B3A5559-B815-DD63-4C89-755C75F2CA31}"/>
                    </a:ext>
                  </a:extLst>
                </p:cNvPr>
                <p:cNvSpPr/>
                <p:nvPr/>
              </p:nvSpPr>
              <p:spPr>
                <a:xfrm>
                  <a:off x="9337964" y="1352521"/>
                  <a:ext cx="18808" cy="48702"/>
                </a:xfrm>
                <a:custGeom>
                  <a:avLst/>
                  <a:gdLst>
                    <a:gd name="connsiteX0" fmla="*/ 18808 w 18808"/>
                    <a:gd name="connsiteY0" fmla="*/ 48702 h 48702"/>
                    <a:gd name="connsiteX1" fmla="*/ 10463 w 18808"/>
                    <a:gd name="connsiteY1" fmla="*/ 31762 h 48702"/>
                    <a:gd name="connsiteX2" fmla="*/ 7723 w 18808"/>
                    <a:gd name="connsiteY2" fmla="*/ 14573 h 48702"/>
                    <a:gd name="connsiteX3" fmla="*/ 0 w 18808"/>
                    <a:gd name="connsiteY3" fmla="*/ 0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48702"/>
                      </a:moveTo>
                      <a:cubicBezTo>
                        <a:pt x="13701" y="41976"/>
                        <a:pt x="11459" y="35997"/>
                        <a:pt x="10463" y="31762"/>
                      </a:cubicBezTo>
                      <a:cubicBezTo>
                        <a:pt x="8844" y="25036"/>
                        <a:pt x="9715" y="21424"/>
                        <a:pt x="7723" y="14573"/>
                      </a:cubicBezTo>
                      <a:cubicBezTo>
                        <a:pt x="5854" y="7972"/>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7" name="Freeform 7061">
                  <a:extLst>
                    <a:ext uri="{FF2B5EF4-FFF2-40B4-BE49-F238E27FC236}">
                      <a16:creationId xmlns:a16="http://schemas.microsoft.com/office/drawing/2014/main" id="{AE7D7DC4-9C7F-0D8D-9717-278AE5D1C0F8}"/>
                    </a:ext>
                  </a:extLst>
                </p:cNvPr>
                <p:cNvSpPr/>
                <p:nvPr/>
              </p:nvSpPr>
              <p:spPr>
                <a:xfrm>
                  <a:off x="9320968" y="1338593"/>
                  <a:ext cx="26394" cy="26362"/>
                </a:xfrm>
                <a:custGeom>
                  <a:avLst/>
                  <a:gdLst>
                    <a:gd name="connsiteX0" fmla="*/ 25591 w 26394"/>
                    <a:gd name="connsiteY0" fmla="*/ 8822 h 26362"/>
                    <a:gd name="connsiteX1" fmla="*/ 17744 w 26394"/>
                    <a:gd name="connsiteY1" fmla="*/ 25637 h 26362"/>
                    <a:gd name="connsiteX2" fmla="*/ 804 w 26394"/>
                    <a:gd name="connsiteY2" fmla="*/ 17541 h 26362"/>
                    <a:gd name="connsiteX3" fmla="*/ 8651 w 26394"/>
                    <a:gd name="connsiteY3" fmla="*/ 725 h 26362"/>
                    <a:gd name="connsiteX4" fmla="*/ 25591 w 26394"/>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362">
                      <a:moveTo>
                        <a:pt x="25591" y="8822"/>
                      </a:moveTo>
                      <a:cubicBezTo>
                        <a:pt x="28082" y="15672"/>
                        <a:pt x="24594" y="23270"/>
                        <a:pt x="17744" y="25637"/>
                      </a:cubicBezTo>
                      <a:cubicBezTo>
                        <a:pt x="10893" y="28004"/>
                        <a:pt x="3295" y="24391"/>
                        <a:pt x="804" y="17541"/>
                      </a:cubicBezTo>
                      <a:cubicBezTo>
                        <a:pt x="-1687" y="10690"/>
                        <a:pt x="1800" y="3092"/>
                        <a:pt x="8651" y="725"/>
                      </a:cubicBezTo>
                      <a:cubicBezTo>
                        <a:pt x="15377" y="-1641"/>
                        <a:pt x="22975" y="1971"/>
                        <a:pt x="25591"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6" name="Graphic 2987">
                <a:extLst>
                  <a:ext uri="{FF2B5EF4-FFF2-40B4-BE49-F238E27FC236}">
                    <a16:creationId xmlns:a16="http://schemas.microsoft.com/office/drawing/2014/main" id="{41A64788-D15D-5A55-7D08-04E787DF8291}"/>
                  </a:ext>
                </a:extLst>
              </p:cNvPr>
              <p:cNvGrpSpPr/>
              <p:nvPr/>
            </p:nvGrpSpPr>
            <p:grpSpPr>
              <a:xfrm>
                <a:off x="9293191" y="1348371"/>
                <a:ext cx="68479" cy="141454"/>
                <a:chOff x="9293191" y="1348371"/>
                <a:chExt cx="68479" cy="141454"/>
              </a:xfrm>
              <a:grpFill/>
            </p:grpSpPr>
            <p:sp>
              <p:nvSpPr>
                <p:cNvPr id="6996" name="Freeform 7063">
                  <a:extLst>
                    <a:ext uri="{FF2B5EF4-FFF2-40B4-BE49-F238E27FC236}">
                      <a16:creationId xmlns:a16="http://schemas.microsoft.com/office/drawing/2014/main" id="{221C9354-E4E3-F369-8CFE-5AD653279199}"/>
                    </a:ext>
                  </a:extLst>
                </p:cNvPr>
                <p:cNvSpPr/>
                <p:nvPr/>
              </p:nvSpPr>
              <p:spPr>
                <a:xfrm>
                  <a:off x="9332109" y="1419533"/>
                  <a:ext cx="17189" cy="49200"/>
                </a:xfrm>
                <a:custGeom>
                  <a:avLst/>
                  <a:gdLst>
                    <a:gd name="connsiteX0" fmla="*/ 17189 w 17189"/>
                    <a:gd name="connsiteY0" fmla="*/ 49200 h 49200"/>
                    <a:gd name="connsiteX1" fmla="*/ 12705 w 17189"/>
                    <a:gd name="connsiteY1" fmla="*/ 31015 h 49200"/>
                    <a:gd name="connsiteX2" fmla="*/ 3613 w 17189"/>
                    <a:gd name="connsiteY2" fmla="*/ 16068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6816" y="40855"/>
                        <a:pt x="14574" y="34876"/>
                        <a:pt x="12705" y="31015"/>
                      </a:cubicBezTo>
                      <a:cubicBezTo>
                        <a:pt x="9591" y="24787"/>
                        <a:pt x="6477" y="22545"/>
                        <a:pt x="3613" y="16068"/>
                      </a:cubicBezTo>
                      <a:cubicBezTo>
                        <a:pt x="748"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7" name="Freeform 7064">
                  <a:extLst>
                    <a:ext uri="{FF2B5EF4-FFF2-40B4-BE49-F238E27FC236}">
                      <a16:creationId xmlns:a16="http://schemas.microsoft.com/office/drawing/2014/main" id="{198BBB16-AADF-4F39-FF9F-5DC60CBEC181}"/>
                    </a:ext>
                  </a:extLst>
                </p:cNvPr>
                <p:cNvSpPr/>
                <p:nvPr/>
              </p:nvSpPr>
              <p:spPr>
                <a:xfrm>
                  <a:off x="9325882" y="1427007"/>
                  <a:ext cx="18435" cy="48826"/>
                </a:xfrm>
                <a:custGeom>
                  <a:avLst/>
                  <a:gdLst>
                    <a:gd name="connsiteX0" fmla="*/ 0 w 18435"/>
                    <a:gd name="connsiteY0" fmla="*/ 0 h 48826"/>
                    <a:gd name="connsiteX1" fmla="*/ 8221 w 18435"/>
                    <a:gd name="connsiteY1" fmla="*/ 16940 h 48826"/>
                    <a:gd name="connsiteX2" fmla="*/ 10837 w 18435"/>
                    <a:gd name="connsiteY2" fmla="*/ 34129 h 48826"/>
                    <a:gd name="connsiteX3" fmla="*/ 18435 w 1843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5" h="48826">
                      <a:moveTo>
                        <a:pt x="0" y="0"/>
                      </a:moveTo>
                      <a:cubicBezTo>
                        <a:pt x="5107" y="6726"/>
                        <a:pt x="7225" y="12705"/>
                        <a:pt x="8221" y="16940"/>
                      </a:cubicBezTo>
                      <a:cubicBezTo>
                        <a:pt x="9841" y="23791"/>
                        <a:pt x="8844" y="27278"/>
                        <a:pt x="10837" y="34129"/>
                      </a:cubicBezTo>
                      <a:cubicBezTo>
                        <a:pt x="12705" y="40730"/>
                        <a:pt x="15944" y="45713"/>
                        <a:pt x="18435"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8" name="Freeform 7065">
                  <a:extLst>
                    <a:ext uri="{FF2B5EF4-FFF2-40B4-BE49-F238E27FC236}">
                      <a16:creationId xmlns:a16="http://schemas.microsoft.com/office/drawing/2014/main" id="{028115A4-F4EC-12E6-99F3-2FCE260CE409}"/>
                    </a:ext>
                  </a:extLst>
                </p:cNvPr>
                <p:cNvSpPr/>
                <p:nvPr/>
              </p:nvSpPr>
              <p:spPr>
                <a:xfrm>
                  <a:off x="9334810" y="1463336"/>
                  <a:ext cx="26860" cy="26489"/>
                </a:xfrm>
                <a:custGeom>
                  <a:avLst/>
                  <a:gdLst>
                    <a:gd name="connsiteX0" fmla="*/ 788 w 26860"/>
                    <a:gd name="connsiteY0" fmla="*/ 17729 h 26489"/>
                    <a:gd name="connsiteX1" fmla="*/ 8884 w 26860"/>
                    <a:gd name="connsiteY1" fmla="*/ 789 h 26489"/>
                    <a:gd name="connsiteX2" fmla="*/ 26073 w 26860"/>
                    <a:gd name="connsiteY2" fmla="*/ 8761 h 26489"/>
                    <a:gd name="connsiteX3" fmla="*/ 17977 w 26860"/>
                    <a:gd name="connsiteY3" fmla="*/ 25700 h 26489"/>
                    <a:gd name="connsiteX4" fmla="*/ 788 w 26860"/>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488">
                      <a:moveTo>
                        <a:pt x="788" y="17729"/>
                      </a:moveTo>
                      <a:cubicBezTo>
                        <a:pt x="-1704" y="10878"/>
                        <a:pt x="1909" y="3280"/>
                        <a:pt x="8884" y="789"/>
                      </a:cubicBezTo>
                      <a:cubicBezTo>
                        <a:pt x="15859" y="-1702"/>
                        <a:pt x="23582" y="1910"/>
                        <a:pt x="26073" y="8761"/>
                      </a:cubicBezTo>
                      <a:cubicBezTo>
                        <a:pt x="28564" y="15611"/>
                        <a:pt x="24952" y="23209"/>
                        <a:pt x="17977" y="25700"/>
                      </a:cubicBezTo>
                      <a:cubicBezTo>
                        <a:pt x="11001" y="28192"/>
                        <a:pt x="3279"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9" name="Freeform 7066">
                  <a:extLst>
                    <a:ext uri="{FF2B5EF4-FFF2-40B4-BE49-F238E27FC236}">
                      <a16:creationId xmlns:a16="http://schemas.microsoft.com/office/drawing/2014/main" id="{05A2BC81-EBE3-E82D-0165-3543ACBFFD1F}"/>
                    </a:ext>
                  </a:extLst>
                </p:cNvPr>
                <p:cNvSpPr/>
                <p:nvPr/>
              </p:nvSpPr>
              <p:spPr>
                <a:xfrm>
                  <a:off x="9305455" y="1369461"/>
                  <a:ext cx="17189" cy="49200"/>
                </a:xfrm>
                <a:custGeom>
                  <a:avLst/>
                  <a:gdLst>
                    <a:gd name="connsiteX0" fmla="*/ 0 w 17189"/>
                    <a:gd name="connsiteY0" fmla="*/ 0 h 49200"/>
                    <a:gd name="connsiteX1" fmla="*/ 4484 w 17189"/>
                    <a:gd name="connsiteY1" fmla="*/ 18185 h 49200"/>
                    <a:gd name="connsiteX2" fmla="*/ 13576 w 17189"/>
                    <a:gd name="connsiteY2" fmla="*/ 33132 h 49200"/>
                    <a:gd name="connsiteX3" fmla="*/ 17189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0" y="0"/>
                      </a:moveTo>
                      <a:cubicBezTo>
                        <a:pt x="373" y="8345"/>
                        <a:pt x="2615" y="14324"/>
                        <a:pt x="4484" y="18185"/>
                      </a:cubicBezTo>
                      <a:cubicBezTo>
                        <a:pt x="7598" y="24413"/>
                        <a:pt x="10587" y="26655"/>
                        <a:pt x="13576" y="33132"/>
                      </a:cubicBezTo>
                      <a:cubicBezTo>
                        <a:pt x="16442" y="39485"/>
                        <a:pt x="17064" y="45339"/>
                        <a:pt x="17189"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0" name="Freeform 7067">
                  <a:extLst>
                    <a:ext uri="{FF2B5EF4-FFF2-40B4-BE49-F238E27FC236}">
                      <a16:creationId xmlns:a16="http://schemas.microsoft.com/office/drawing/2014/main" id="{014A589C-A92B-2C90-046D-E5CFAB237D3C}"/>
                    </a:ext>
                  </a:extLst>
                </p:cNvPr>
                <p:cNvSpPr/>
                <p:nvPr/>
              </p:nvSpPr>
              <p:spPr>
                <a:xfrm>
                  <a:off x="9310437" y="136236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467" y="21548"/>
                        <a:pt x="7599" y="14698"/>
                      </a:cubicBezTo>
                      <a:cubicBezTo>
                        <a:pt x="5730"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1" name="Freeform 7068">
                  <a:extLst>
                    <a:ext uri="{FF2B5EF4-FFF2-40B4-BE49-F238E27FC236}">
                      <a16:creationId xmlns:a16="http://schemas.microsoft.com/office/drawing/2014/main" id="{805587AF-16E7-EB39-9612-CFDC4C8DFB12}"/>
                    </a:ext>
                  </a:extLst>
                </p:cNvPr>
                <p:cNvSpPr/>
                <p:nvPr/>
              </p:nvSpPr>
              <p:spPr>
                <a:xfrm>
                  <a:off x="9293191" y="1348371"/>
                  <a:ext cx="26394" cy="26424"/>
                </a:xfrm>
                <a:custGeom>
                  <a:avLst/>
                  <a:gdLst>
                    <a:gd name="connsiteX0" fmla="*/ 25591 w 26394"/>
                    <a:gd name="connsiteY0" fmla="*/ 8884 h 26424"/>
                    <a:gd name="connsiteX1" fmla="*/ 17744 w 26394"/>
                    <a:gd name="connsiteY1" fmla="*/ 25699 h 26424"/>
                    <a:gd name="connsiteX2" fmla="*/ 804 w 26394"/>
                    <a:gd name="connsiteY2" fmla="*/ 17603 h 26424"/>
                    <a:gd name="connsiteX3" fmla="*/ 8651 w 26394"/>
                    <a:gd name="connsiteY3" fmla="*/ 788 h 26424"/>
                    <a:gd name="connsiteX4" fmla="*/ 25591 w 26394"/>
                    <a:gd name="connsiteY4" fmla="*/ 8884 h 26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424">
                      <a:moveTo>
                        <a:pt x="25591" y="8884"/>
                      </a:moveTo>
                      <a:cubicBezTo>
                        <a:pt x="28082" y="15735"/>
                        <a:pt x="24595" y="23333"/>
                        <a:pt x="17744" y="25699"/>
                      </a:cubicBezTo>
                      <a:cubicBezTo>
                        <a:pt x="10893" y="28066"/>
                        <a:pt x="3295" y="24454"/>
                        <a:pt x="804" y="17603"/>
                      </a:cubicBezTo>
                      <a:cubicBezTo>
                        <a:pt x="-1687" y="10752"/>
                        <a:pt x="1800" y="3154"/>
                        <a:pt x="8651" y="788"/>
                      </a:cubicBezTo>
                      <a:cubicBezTo>
                        <a:pt x="15502" y="-1703"/>
                        <a:pt x="23100" y="1909"/>
                        <a:pt x="2559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7" name="Graphic 2987">
                <a:extLst>
                  <a:ext uri="{FF2B5EF4-FFF2-40B4-BE49-F238E27FC236}">
                    <a16:creationId xmlns:a16="http://schemas.microsoft.com/office/drawing/2014/main" id="{1FB01ACC-A5C8-69C7-8D21-A2835FF420E9}"/>
                  </a:ext>
                </a:extLst>
              </p:cNvPr>
              <p:cNvGrpSpPr/>
              <p:nvPr/>
            </p:nvGrpSpPr>
            <p:grpSpPr>
              <a:xfrm>
                <a:off x="9265604" y="1358148"/>
                <a:ext cx="67915" cy="141655"/>
                <a:chOff x="9265604" y="1358148"/>
                <a:chExt cx="67915" cy="141655"/>
              </a:xfrm>
              <a:grpFill/>
            </p:grpSpPr>
            <p:sp>
              <p:nvSpPr>
                <p:cNvPr id="6990" name="Freeform 7070">
                  <a:extLst>
                    <a:ext uri="{FF2B5EF4-FFF2-40B4-BE49-F238E27FC236}">
                      <a16:creationId xmlns:a16="http://schemas.microsoft.com/office/drawing/2014/main" id="{D9A8EC7E-CB73-5BCA-A1A4-12C4042E043F}"/>
                    </a:ext>
                  </a:extLst>
                </p:cNvPr>
                <p:cNvSpPr/>
                <p:nvPr/>
              </p:nvSpPr>
              <p:spPr>
                <a:xfrm>
                  <a:off x="9304209" y="1429373"/>
                  <a:ext cx="16940" cy="49324"/>
                </a:xfrm>
                <a:custGeom>
                  <a:avLst/>
                  <a:gdLst>
                    <a:gd name="connsiteX0" fmla="*/ 16940 w 16940"/>
                    <a:gd name="connsiteY0" fmla="*/ 49325 h 49324"/>
                    <a:gd name="connsiteX1" fmla="*/ 12456 w 16940"/>
                    <a:gd name="connsiteY1" fmla="*/ 31015 h 49324"/>
                    <a:gd name="connsiteX2" fmla="*/ 3488 w 16940"/>
                    <a:gd name="connsiteY2" fmla="*/ 16068 h 49324"/>
                    <a:gd name="connsiteX3" fmla="*/ 0 w 16940"/>
                    <a:gd name="connsiteY3" fmla="*/ 0 h 49324"/>
                  </a:gdLst>
                  <a:ahLst/>
                  <a:cxnLst>
                    <a:cxn ang="0">
                      <a:pos x="connsiteX0" y="connsiteY0"/>
                    </a:cxn>
                    <a:cxn ang="0">
                      <a:pos x="connsiteX1" y="connsiteY1"/>
                    </a:cxn>
                    <a:cxn ang="0">
                      <a:pos x="connsiteX2" y="connsiteY2"/>
                    </a:cxn>
                    <a:cxn ang="0">
                      <a:pos x="connsiteX3" y="connsiteY3"/>
                    </a:cxn>
                  </a:cxnLst>
                  <a:rect l="l" t="t" r="r" b="b"/>
                  <a:pathLst>
                    <a:path w="16940" h="49324">
                      <a:moveTo>
                        <a:pt x="16940" y="49325"/>
                      </a:moveTo>
                      <a:cubicBezTo>
                        <a:pt x="16566" y="40979"/>
                        <a:pt x="14449" y="35001"/>
                        <a:pt x="12456" y="31015"/>
                      </a:cubicBezTo>
                      <a:cubicBezTo>
                        <a:pt x="9342" y="24787"/>
                        <a:pt x="6353" y="22545"/>
                        <a:pt x="3488" y="16068"/>
                      </a:cubicBezTo>
                      <a:cubicBezTo>
                        <a:pt x="747"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1" name="Freeform 7071">
                  <a:extLst>
                    <a:ext uri="{FF2B5EF4-FFF2-40B4-BE49-F238E27FC236}">
                      <a16:creationId xmlns:a16="http://schemas.microsoft.com/office/drawing/2014/main" id="{420540EB-D521-E5DF-F371-627F33F33D9C}"/>
                    </a:ext>
                  </a:extLst>
                </p:cNvPr>
                <p:cNvSpPr/>
                <p:nvPr/>
              </p:nvSpPr>
              <p:spPr>
                <a:xfrm>
                  <a:off x="9297856" y="1436971"/>
                  <a:ext cx="18310" cy="48826"/>
                </a:xfrm>
                <a:custGeom>
                  <a:avLst/>
                  <a:gdLst>
                    <a:gd name="connsiteX0" fmla="*/ 0 w 18310"/>
                    <a:gd name="connsiteY0" fmla="*/ 0 h 48826"/>
                    <a:gd name="connsiteX1" fmla="*/ 8221 w 18310"/>
                    <a:gd name="connsiteY1" fmla="*/ 16940 h 48826"/>
                    <a:gd name="connsiteX2" fmla="*/ 10713 w 18310"/>
                    <a:gd name="connsiteY2" fmla="*/ 34129 h 48826"/>
                    <a:gd name="connsiteX3" fmla="*/ 18310 w 1831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310" h="48826">
                      <a:moveTo>
                        <a:pt x="0" y="0"/>
                      </a:moveTo>
                      <a:cubicBezTo>
                        <a:pt x="5107" y="6726"/>
                        <a:pt x="7225" y="12705"/>
                        <a:pt x="8221" y="16940"/>
                      </a:cubicBezTo>
                      <a:cubicBezTo>
                        <a:pt x="9841" y="23791"/>
                        <a:pt x="8844" y="27278"/>
                        <a:pt x="10713" y="34129"/>
                      </a:cubicBezTo>
                      <a:cubicBezTo>
                        <a:pt x="12580" y="40730"/>
                        <a:pt x="15819" y="45713"/>
                        <a:pt x="1831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2" name="Freeform 7072">
                  <a:extLst>
                    <a:ext uri="{FF2B5EF4-FFF2-40B4-BE49-F238E27FC236}">
                      <a16:creationId xmlns:a16="http://schemas.microsoft.com/office/drawing/2014/main" id="{3F50AD43-77A8-8527-CDCB-B60EBAE560B5}"/>
                    </a:ext>
                  </a:extLst>
                </p:cNvPr>
                <p:cNvSpPr/>
                <p:nvPr/>
              </p:nvSpPr>
              <p:spPr>
                <a:xfrm>
                  <a:off x="9306674" y="1473301"/>
                  <a:ext cx="26844" cy="26503"/>
                </a:xfrm>
                <a:custGeom>
                  <a:avLst/>
                  <a:gdLst>
                    <a:gd name="connsiteX0" fmla="*/ 773 w 26844"/>
                    <a:gd name="connsiteY0" fmla="*/ 17729 h 26503"/>
                    <a:gd name="connsiteX1" fmla="*/ 8994 w 26844"/>
                    <a:gd name="connsiteY1" fmla="*/ 789 h 26503"/>
                    <a:gd name="connsiteX2" fmla="*/ 26059 w 26844"/>
                    <a:gd name="connsiteY2" fmla="*/ 8761 h 26503"/>
                    <a:gd name="connsiteX3" fmla="*/ 17838 w 26844"/>
                    <a:gd name="connsiteY3" fmla="*/ 25700 h 26503"/>
                    <a:gd name="connsiteX4" fmla="*/ 773 w 26844"/>
                    <a:gd name="connsiteY4" fmla="*/ 17729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4" h="26503">
                      <a:moveTo>
                        <a:pt x="773" y="17729"/>
                      </a:moveTo>
                      <a:cubicBezTo>
                        <a:pt x="-1718" y="10878"/>
                        <a:pt x="2019" y="3280"/>
                        <a:pt x="8994" y="789"/>
                      </a:cubicBezTo>
                      <a:cubicBezTo>
                        <a:pt x="15970" y="-1702"/>
                        <a:pt x="23567" y="1910"/>
                        <a:pt x="26059" y="8761"/>
                      </a:cubicBezTo>
                      <a:cubicBezTo>
                        <a:pt x="28549" y="15611"/>
                        <a:pt x="24937" y="23209"/>
                        <a:pt x="17838" y="25700"/>
                      </a:cubicBezTo>
                      <a:cubicBezTo>
                        <a:pt x="10862" y="28192"/>
                        <a:pt x="3140" y="24704"/>
                        <a:pt x="773"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3" name="Freeform 7073">
                  <a:extLst>
                    <a:ext uri="{FF2B5EF4-FFF2-40B4-BE49-F238E27FC236}">
                      <a16:creationId xmlns:a16="http://schemas.microsoft.com/office/drawing/2014/main" id="{84EC788C-D901-591E-E18C-1E2DAC885C4C}"/>
                    </a:ext>
                  </a:extLst>
                </p:cNvPr>
                <p:cNvSpPr/>
                <p:nvPr/>
              </p:nvSpPr>
              <p:spPr>
                <a:xfrm>
                  <a:off x="9277678" y="1379177"/>
                  <a:ext cx="16940" cy="49324"/>
                </a:xfrm>
                <a:custGeom>
                  <a:avLst/>
                  <a:gdLst>
                    <a:gd name="connsiteX0" fmla="*/ 0 w 16940"/>
                    <a:gd name="connsiteY0" fmla="*/ 0 h 49324"/>
                    <a:gd name="connsiteX1" fmla="*/ 4485 w 16940"/>
                    <a:gd name="connsiteY1" fmla="*/ 18310 h 49324"/>
                    <a:gd name="connsiteX2" fmla="*/ 13452 w 16940"/>
                    <a:gd name="connsiteY2" fmla="*/ 33257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374" y="8345"/>
                        <a:pt x="2491" y="14324"/>
                        <a:pt x="4485" y="18310"/>
                      </a:cubicBezTo>
                      <a:cubicBezTo>
                        <a:pt x="7599" y="24662"/>
                        <a:pt x="10588" y="26780"/>
                        <a:pt x="13452" y="33257"/>
                      </a:cubicBezTo>
                      <a:cubicBezTo>
                        <a:pt x="16193" y="39609"/>
                        <a:pt x="16816" y="45464"/>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4" name="Freeform 7074">
                  <a:extLst>
                    <a:ext uri="{FF2B5EF4-FFF2-40B4-BE49-F238E27FC236}">
                      <a16:creationId xmlns:a16="http://schemas.microsoft.com/office/drawing/2014/main" id="{1B941D90-A877-B1C9-DA86-0F22B1CBD639}"/>
                    </a:ext>
                  </a:extLst>
                </p:cNvPr>
                <p:cNvSpPr/>
                <p:nvPr/>
              </p:nvSpPr>
              <p:spPr>
                <a:xfrm>
                  <a:off x="9282411" y="137220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591" y="21548"/>
                        <a:pt x="7599" y="14698"/>
                      </a:cubicBezTo>
                      <a:cubicBezTo>
                        <a:pt x="5730" y="8096"/>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5" name="Freeform 7075">
                  <a:extLst>
                    <a:ext uri="{FF2B5EF4-FFF2-40B4-BE49-F238E27FC236}">
                      <a16:creationId xmlns:a16="http://schemas.microsoft.com/office/drawing/2014/main" id="{7C79201B-5563-EA6B-4CA2-A652AA89054A}"/>
                    </a:ext>
                  </a:extLst>
                </p:cNvPr>
                <p:cNvSpPr/>
                <p:nvPr/>
              </p:nvSpPr>
              <p:spPr>
                <a:xfrm>
                  <a:off x="9265604" y="1358148"/>
                  <a:ext cx="26315" cy="26362"/>
                </a:xfrm>
                <a:custGeom>
                  <a:avLst/>
                  <a:gdLst>
                    <a:gd name="connsiteX0" fmla="*/ 25526 w 26315"/>
                    <a:gd name="connsiteY0" fmla="*/ 8822 h 26362"/>
                    <a:gd name="connsiteX1" fmla="*/ 17555 w 26315"/>
                    <a:gd name="connsiteY1" fmla="*/ 25637 h 26362"/>
                    <a:gd name="connsiteX2" fmla="*/ 740 w 26315"/>
                    <a:gd name="connsiteY2" fmla="*/ 17541 h 26362"/>
                    <a:gd name="connsiteX3" fmla="*/ 8711 w 26315"/>
                    <a:gd name="connsiteY3" fmla="*/ 725 h 26362"/>
                    <a:gd name="connsiteX4" fmla="*/ 25526 w 26315"/>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62">
                      <a:moveTo>
                        <a:pt x="25526" y="8822"/>
                      </a:moveTo>
                      <a:cubicBezTo>
                        <a:pt x="28018" y="15672"/>
                        <a:pt x="24406" y="23270"/>
                        <a:pt x="17555" y="25637"/>
                      </a:cubicBezTo>
                      <a:cubicBezTo>
                        <a:pt x="10704" y="28004"/>
                        <a:pt x="3106" y="24391"/>
                        <a:pt x="740" y="17541"/>
                      </a:cubicBezTo>
                      <a:cubicBezTo>
                        <a:pt x="-1627" y="10690"/>
                        <a:pt x="1861" y="3092"/>
                        <a:pt x="8711" y="725"/>
                      </a:cubicBezTo>
                      <a:cubicBezTo>
                        <a:pt x="15437" y="-1641"/>
                        <a:pt x="23035" y="1971"/>
                        <a:pt x="25526"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8" name="Graphic 2987">
                <a:extLst>
                  <a:ext uri="{FF2B5EF4-FFF2-40B4-BE49-F238E27FC236}">
                    <a16:creationId xmlns:a16="http://schemas.microsoft.com/office/drawing/2014/main" id="{80B4A231-7048-78B3-3279-6F11543A2D86}"/>
                  </a:ext>
                </a:extLst>
              </p:cNvPr>
              <p:cNvGrpSpPr/>
              <p:nvPr/>
            </p:nvGrpSpPr>
            <p:grpSpPr>
              <a:xfrm>
                <a:off x="9237952" y="1367975"/>
                <a:ext cx="67279" cy="141902"/>
                <a:chOff x="9237952" y="1367975"/>
                <a:chExt cx="67279" cy="141902"/>
              </a:xfrm>
              <a:grpFill/>
            </p:grpSpPr>
            <p:sp>
              <p:nvSpPr>
                <p:cNvPr id="6984" name="Freeform 7077">
                  <a:extLst>
                    <a:ext uri="{FF2B5EF4-FFF2-40B4-BE49-F238E27FC236}">
                      <a16:creationId xmlns:a16="http://schemas.microsoft.com/office/drawing/2014/main" id="{6078A2B3-DEB5-C3E3-E5E9-8F7C6C671E8F}"/>
                    </a:ext>
                  </a:extLst>
                </p:cNvPr>
                <p:cNvSpPr/>
                <p:nvPr/>
              </p:nvSpPr>
              <p:spPr>
                <a:xfrm>
                  <a:off x="9276183" y="1439213"/>
                  <a:ext cx="16691" cy="49449"/>
                </a:xfrm>
                <a:custGeom>
                  <a:avLst/>
                  <a:gdLst>
                    <a:gd name="connsiteX0" fmla="*/ 16691 w 16691"/>
                    <a:gd name="connsiteY0" fmla="*/ 49449 h 49449"/>
                    <a:gd name="connsiteX1" fmla="*/ 12331 w 16691"/>
                    <a:gd name="connsiteY1" fmla="*/ 31139 h 49449"/>
                    <a:gd name="connsiteX2" fmla="*/ 3363 w 16691"/>
                    <a:gd name="connsiteY2" fmla="*/ 16192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6317" y="40979"/>
                        <a:pt x="14200" y="35125"/>
                        <a:pt x="12331" y="31139"/>
                      </a:cubicBezTo>
                      <a:cubicBezTo>
                        <a:pt x="9217" y="24787"/>
                        <a:pt x="6228" y="22669"/>
                        <a:pt x="3363" y="16192"/>
                      </a:cubicBezTo>
                      <a:cubicBezTo>
                        <a:pt x="62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5" name="Freeform 7078">
                  <a:extLst>
                    <a:ext uri="{FF2B5EF4-FFF2-40B4-BE49-F238E27FC236}">
                      <a16:creationId xmlns:a16="http://schemas.microsoft.com/office/drawing/2014/main" id="{E134C74D-D6E7-DAAA-FE9A-A1A74AD99F52}"/>
                    </a:ext>
                  </a:extLst>
                </p:cNvPr>
                <p:cNvSpPr/>
                <p:nvPr/>
              </p:nvSpPr>
              <p:spPr>
                <a:xfrm>
                  <a:off x="9269831" y="1446811"/>
                  <a:ext cx="18061" cy="48951"/>
                </a:xfrm>
                <a:custGeom>
                  <a:avLst/>
                  <a:gdLst>
                    <a:gd name="connsiteX0" fmla="*/ 0 w 18061"/>
                    <a:gd name="connsiteY0" fmla="*/ 0 h 48951"/>
                    <a:gd name="connsiteX1" fmla="*/ 8097 w 18061"/>
                    <a:gd name="connsiteY1" fmla="*/ 16940 h 48951"/>
                    <a:gd name="connsiteX2" fmla="*/ 10588 w 18061"/>
                    <a:gd name="connsiteY2" fmla="*/ 3425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4983" y="6726"/>
                        <a:pt x="7100" y="12705"/>
                        <a:pt x="8097" y="16940"/>
                      </a:cubicBezTo>
                      <a:cubicBezTo>
                        <a:pt x="9716" y="23791"/>
                        <a:pt x="8719" y="27403"/>
                        <a:pt x="10588" y="34253"/>
                      </a:cubicBezTo>
                      <a:cubicBezTo>
                        <a:pt x="12456" y="40855"/>
                        <a:pt x="15694" y="45837"/>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6" name="Freeform 7079">
                  <a:extLst>
                    <a:ext uri="{FF2B5EF4-FFF2-40B4-BE49-F238E27FC236}">
                      <a16:creationId xmlns:a16="http://schemas.microsoft.com/office/drawing/2014/main" id="{156D0D45-D661-4E09-AE23-0B8D7ABA55EA}"/>
                    </a:ext>
                  </a:extLst>
                </p:cNvPr>
                <p:cNvSpPr/>
                <p:nvPr/>
              </p:nvSpPr>
              <p:spPr>
                <a:xfrm>
                  <a:off x="9278448" y="1483267"/>
                  <a:ext cx="26782" cy="26611"/>
                </a:xfrm>
                <a:custGeom>
                  <a:avLst/>
                  <a:gdLst>
                    <a:gd name="connsiteX0" fmla="*/ 724 w 26782"/>
                    <a:gd name="connsiteY0" fmla="*/ 17727 h 26611"/>
                    <a:gd name="connsiteX1" fmla="*/ 8945 w 26782"/>
                    <a:gd name="connsiteY1" fmla="*/ 788 h 26611"/>
                    <a:gd name="connsiteX2" fmla="*/ 26010 w 26782"/>
                    <a:gd name="connsiteY2" fmla="*/ 8884 h 26611"/>
                    <a:gd name="connsiteX3" fmla="*/ 17789 w 26782"/>
                    <a:gd name="connsiteY3" fmla="*/ 25824 h 26611"/>
                    <a:gd name="connsiteX4" fmla="*/ 724 w 26782"/>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611">
                      <a:moveTo>
                        <a:pt x="724" y="17727"/>
                      </a:moveTo>
                      <a:cubicBezTo>
                        <a:pt x="-1642" y="10877"/>
                        <a:pt x="1970" y="3279"/>
                        <a:pt x="8945" y="788"/>
                      </a:cubicBezTo>
                      <a:cubicBezTo>
                        <a:pt x="15920" y="-1704"/>
                        <a:pt x="23518" y="1909"/>
                        <a:pt x="26010" y="8884"/>
                      </a:cubicBezTo>
                      <a:cubicBezTo>
                        <a:pt x="28501" y="15735"/>
                        <a:pt x="24764" y="23333"/>
                        <a:pt x="17789" y="25824"/>
                      </a:cubicBezTo>
                      <a:cubicBezTo>
                        <a:pt x="10814" y="28315"/>
                        <a:pt x="3091" y="24703"/>
                        <a:pt x="724"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7" name="Freeform 7080">
                  <a:extLst>
                    <a:ext uri="{FF2B5EF4-FFF2-40B4-BE49-F238E27FC236}">
                      <a16:creationId xmlns:a16="http://schemas.microsoft.com/office/drawing/2014/main" id="{138CCC1A-3917-7350-E249-4A3DCE0499F8}"/>
                    </a:ext>
                  </a:extLst>
                </p:cNvPr>
                <p:cNvSpPr/>
                <p:nvPr/>
              </p:nvSpPr>
              <p:spPr>
                <a:xfrm>
                  <a:off x="9250026" y="1389017"/>
                  <a:ext cx="16566" cy="49449"/>
                </a:xfrm>
                <a:custGeom>
                  <a:avLst/>
                  <a:gdLst>
                    <a:gd name="connsiteX0" fmla="*/ 0 w 16566"/>
                    <a:gd name="connsiteY0" fmla="*/ 0 h 49449"/>
                    <a:gd name="connsiteX1" fmla="*/ 4359 w 16566"/>
                    <a:gd name="connsiteY1" fmla="*/ 18310 h 49449"/>
                    <a:gd name="connsiteX2" fmla="*/ 13203 w 16566"/>
                    <a:gd name="connsiteY2" fmla="*/ 33257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373" y="8345"/>
                        <a:pt x="2491" y="14324"/>
                        <a:pt x="4359" y="18310"/>
                      </a:cubicBezTo>
                      <a:cubicBezTo>
                        <a:pt x="7348" y="24662"/>
                        <a:pt x="10462" y="26780"/>
                        <a:pt x="13203" y="33257"/>
                      </a:cubicBezTo>
                      <a:cubicBezTo>
                        <a:pt x="15943" y="39609"/>
                        <a:pt x="16566" y="45464"/>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8" name="Freeform 7081">
                  <a:extLst>
                    <a:ext uri="{FF2B5EF4-FFF2-40B4-BE49-F238E27FC236}">
                      <a16:creationId xmlns:a16="http://schemas.microsoft.com/office/drawing/2014/main" id="{08157112-B465-9DDA-C141-F8C38D946328}"/>
                    </a:ext>
                  </a:extLst>
                </p:cNvPr>
                <p:cNvSpPr/>
                <p:nvPr/>
              </p:nvSpPr>
              <p:spPr>
                <a:xfrm>
                  <a:off x="9254884" y="1382041"/>
                  <a:ext cx="18060" cy="48826"/>
                </a:xfrm>
                <a:custGeom>
                  <a:avLst/>
                  <a:gdLst>
                    <a:gd name="connsiteX0" fmla="*/ 18060 w 18060"/>
                    <a:gd name="connsiteY0" fmla="*/ 48827 h 48826"/>
                    <a:gd name="connsiteX1" fmla="*/ 9964 w 18060"/>
                    <a:gd name="connsiteY1" fmla="*/ 31887 h 48826"/>
                    <a:gd name="connsiteX2" fmla="*/ 7473 w 18060"/>
                    <a:gd name="connsiteY2" fmla="*/ 14698 h 48826"/>
                    <a:gd name="connsiteX3" fmla="*/ 0 w 18060"/>
                    <a:gd name="connsiteY3" fmla="*/ 0 h 48826"/>
                  </a:gdLst>
                  <a:ahLst/>
                  <a:cxnLst>
                    <a:cxn ang="0">
                      <a:pos x="connsiteX0" y="connsiteY0"/>
                    </a:cxn>
                    <a:cxn ang="0">
                      <a:pos x="connsiteX1" y="connsiteY1"/>
                    </a:cxn>
                    <a:cxn ang="0">
                      <a:pos x="connsiteX2" y="connsiteY2"/>
                    </a:cxn>
                    <a:cxn ang="0">
                      <a:pos x="connsiteX3" y="connsiteY3"/>
                    </a:cxn>
                  </a:cxnLst>
                  <a:rect l="l" t="t" r="r" b="b"/>
                  <a:pathLst>
                    <a:path w="18060" h="48826">
                      <a:moveTo>
                        <a:pt x="18060" y="48827"/>
                      </a:moveTo>
                      <a:cubicBezTo>
                        <a:pt x="13078" y="42100"/>
                        <a:pt x="10961" y="36122"/>
                        <a:pt x="9964" y="31887"/>
                      </a:cubicBezTo>
                      <a:cubicBezTo>
                        <a:pt x="8345" y="25036"/>
                        <a:pt x="9342" y="21548"/>
                        <a:pt x="7473" y="14698"/>
                      </a:cubicBezTo>
                      <a:cubicBezTo>
                        <a:pt x="5604"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9" name="Freeform 7082">
                  <a:extLst>
                    <a:ext uri="{FF2B5EF4-FFF2-40B4-BE49-F238E27FC236}">
                      <a16:creationId xmlns:a16="http://schemas.microsoft.com/office/drawing/2014/main" id="{FBA67708-A5A3-9809-EFD2-5CABAF80300F}"/>
                    </a:ext>
                  </a:extLst>
                </p:cNvPr>
                <p:cNvSpPr/>
                <p:nvPr/>
              </p:nvSpPr>
              <p:spPr>
                <a:xfrm>
                  <a:off x="9237952" y="1367975"/>
                  <a:ext cx="26315" cy="26375"/>
                </a:xfrm>
                <a:custGeom>
                  <a:avLst/>
                  <a:gdLst>
                    <a:gd name="connsiteX0" fmla="*/ 25527 w 26315"/>
                    <a:gd name="connsiteY0" fmla="*/ 8835 h 26375"/>
                    <a:gd name="connsiteX1" fmla="*/ 17555 w 26315"/>
                    <a:gd name="connsiteY1" fmla="*/ 25650 h 26375"/>
                    <a:gd name="connsiteX2" fmla="*/ 739 w 26315"/>
                    <a:gd name="connsiteY2" fmla="*/ 17554 h 26375"/>
                    <a:gd name="connsiteX3" fmla="*/ 8711 w 26315"/>
                    <a:gd name="connsiteY3" fmla="*/ 738 h 26375"/>
                    <a:gd name="connsiteX4" fmla="*/ 25527 w 26315"/>
                    <a:gd name="connsiteY4" fmla="*/ 8835 h 2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75">
                      <a:moveTo>
                        <a:pt x="25527" y="8835"/>
                      </a:moveTo>
                      <a:cubicBezTo>
                        <a:pt x="28017" y="15685"/>
                        <a:pt x="24405" y="23283"/>
                        <a:pt x="17555" y="25650"/>
                      </a:cubicBezTo>
                      <a:cubicBezTo>
                        <a:pt x="10704" y="28017"/>
                        <a:pt x="3231" y="24404"/>
                        <a:pt x="739" y="17554"/>
                      </a:cubicBezTo>
                      <a:cubicBezTo>
                        <a:pt x="-1627" y="10703"/>
                        <a:pt x="1861" y="3105"/>
                        <a:pt x="8711" y="738"/>
                      </a:cubicBezTo>
                      <a:cubicBezTo>
                        <a:pt x="15562" y="-1628"/>
                        <a:pt x="23036" y="1859"/>
                        <a:pt x="25527" y="8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9" name="Graphic 2987">
                <a:extLst>
                  <a:ext uri="{FF2B5EF4-FFF2-40B4-BE49-F238E27FC236}">
                    <a16:creationId xmlns:a16="http://schemas.microsoft.com/office/drawing/2014/main" id="{21CF0E71-327E-8759-50AE-1B9AB943BE04}"/>
                  </a:ext>
                </a:extLst>
              </p:cNvPr>
              <p:cNvGrpSpPr/>
              <p:nvPr/>
            </p:nvGrpSpPr>
            <p:grpSpPr>
              <a:xfrm>
                <a:off x="9210190" y="1377655"/>
                <a:ext cx="66593" cy="142187"/>
                <a:chOff x="9210190" y="1377655"/>
                <a:chExt cx="66593" cy="142187"/>
              </a:xfrm>
              <a:grpFill/>
            </p:grpSpPr>
            <p:sp>
              <p:nvSpPr>
                <p:cNvPr id="6978" name="Freeform 7084">
                  <a:extLst>
                    <a:ext uri="{FF2B5EF4-FFF2-40B4-BE49-F238E27FC236}">
                      <a16:creationId xmlns:a16="http://schemas.microsoft.com/office/drawing/2014/main" id="{AD1386DF-C50F-83AD-212A-89A453C07126}"/>
                    </a:ext>
                  </a:extLst>
                </p:cNvPr>
                <p:cNvSpPr/>
                <p:nvPr/>
              </p:nvSpPr>
              <p:spPr>
                <a:xfrm>
                  <a:off x="9248282" y="1449178"/>
                  <a:ext cx="16441" cy="49449"/>
                </a:xfrm>
                <a:custGeom>
                  <a:avLst/>
                  <a:gdLst>
                    <a:gd name="connsiteX0" fmla="*/ 16442 w 16441"/>
                    <a:gd name="connsiteY0" fmla="*/ 49449 h 49449"/>
                    <a:gd name="connsiteX1" fmla="*/ 12206 w 16441"/>
                    <a:gd name="connsiteY1" fmla="*/ 31139 h 49449"/>
                    <a:gd name="connsiteX2" fmla="*/ 3363 w 16441"/>
                    <a:gd name="connsiteY2" fmla="*/ 16193 h 49449"/>
                    <a:gd name="connsiteX3" fmla="*/ 0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49449"/>
                      </a:moveTo>
                      <a:cubicBezTo>
                        <a:pt x="16192" y="40979"/>
                        <a:pt x="14075" y="35001"/>
                        <a:pt x="12206" y="31139"/>
                      </a:cubicBezTo>
                      <a:cubicBezTo>
                        <a:pt x="9217" y="24787"/>
                        <a:pt x="6103" y="22669"/>
                        <a:pt x="3363"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9" name="Freeform 7085">
                  <a:extLst>
                    <a:ext uri="{FF2B5EF4-FFF2-40B4-BE49-F238E27FC236}">
                      <a16:creationId xmlns:a16="http://schemas.microsoft.com/office/drawing/2014/main" id="{01CAE849-55F8-9E9C-267D-CB00F438E742}"/>
                    </a:ext>
                  </a:extLst>
                </p:cNvPr>
                <p:cNvSpPr/>
                <p:nvPr/>
              </p:nvSpPr>
              <p:spPr>
                <a:xfrm>
                  <a:off x="9241930" y="1456776"/>
                  <a:ext cx="17811" cy="49075"/>
                </a:xfrm>
                <a:custGeom>
                  <a:avLst/>
                  <a:gdLst>
                    <a:gd name="connsiteX0" fmla="*/ 0 w 17811"/>
                    <a:gd name="connsiteY0" fmla="*/ 0 h 49075"/>
                    <a:gd name="connsiteX1" fmla="*/ 7972 w 17811"/>
                    <a:gd name="connsiteY1" fmla="*/ 17064 h 49075"/>
                    <a:gd name="connsiteX2" fmla="*/ 10339 w 17811"/>
                    <a:gd name="connsiteY2" fmla="*/ 34378 h 49075"/>
                    <a:gd name="connsiteX3" fmla="*/ 17812 w 17811"/>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811" h="49075">
                      <a:moveTo>
                        <a:pt x="0" y="0"/>
                      </a:moveTo>
                      <a:cubicBezTo>
                        <a:pt x="4983" y="6726"/>
                        <a:pt x="7100" y="12705"/>
                        <a:pt x="7972" y="17064"/>
                      </a:cubicBezTo>
                      <a:cubicBezTo>
                        <a:pt x="9467" y="23915"/>
                        <a:pt x="8470" y="27527"/>
                        <a:pt x="10339" y="34378"/>
                      </a:cubicBezTo>
                      <a:cubicBezTo>
                        <a:pt x="12082" y="41104"/>
                        <a:pt x="15321" y="45962"/>
                        <a:pt x="17812"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0" name="Freeform 7086">
                  <a:extLst>
                    <a:ext uri="{FF2B5EF4-FFF2-40B4-BE49-F238E27FC236}">
                      <a16:creationId xmlns:a16="http://schemas.microsoft.com/office/drawing/2014/main" id="{7B20791D-8EBF-99DE-534A-E7CEBB7006CA}"/>
                    </a:ext>
                  </a:extLst>
                </p:cNvPr>
                <p:cNvSpPr/>
                <p:nvPr/>
              </p:nvSpPr>
              <p:spPr>
                <a:xfrm>
                  <a:off x="9250187" y="1493231"/>
                  <a:ext cx="26596" cy="26611"/>
                </a:xfrm>
                <a:custGeom>
                  <a:avLst/>
                  <a:gdLst>
                    <a:gd name="connsiteX0" fmla="*/ 712 w 26596"/>
                    <a:gd name="connsiteY0" fmla="*/ 17728 h 26611"/>
                    <a:gd name="connsiteX1" fmla="*/ 8932 w 26596"/>
                    <a:gd name="connsiteY1" fmla="*/ 788 h 26611"/>
                    <a:gd name="connsiteX2" fmla="*/ 25872 w 26596"/>
                    <a:gd name="connsiteY2" fmla="*/ 8884 h 26611"/>
                    <a:gd name="connsiteX3" fmla="*/ 17651 w 26596"/>
                    <a:gd name="connsiteY3" fmla="*/ 25824 h 26611"/>
                    <a:gd name="connsiteX4" fmla="*/ 712 w 26596"/>
                    <a:gd name="connsiteY4" fmla="*/ 17728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611">
                      <a:moveTo>
                        <a:pt x="712" y="17728"/>
                      </a:moveTo>
                      <a:cubicBezTo>
                        <a:pt x="-1655" y="10752"/>
                        <a:pt x="2082" y="3154"/>
                        <a:pt x="8932" y="788"/>
                      </a:cubicBezTo>
                      <a:cubicBezTo>
                        <a:pt x="15907" y="-1703"/>
                        <a:pt x="23506" y="1909"/>
                        <a:pt x="25872" y="8884"/>
                      </a:cubicBezTo>
                      <a:cubicBezTo>
                        <a:pt x="28239" y="15735"/>
                        <a:pt x="24627" y="23457"/>
                        <a:pt x="17651" y="25824"/>
                      </a:cubicBezTo>
                      <a:cubicBezTo>
                        <a:pt x="10676" y="28315"/>
                        <a:pt x="3078" y="24703"/>
                        <a:pt x="712" y="177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1" name="Freeform 7087">
                  <a:extLst>
                    <a:ext uri="{FF2B5EF4-FFF2-40B4-BE49-F238E27FC236}">
                      <a16:creationId xmlns:a16="http://schemas.microsoft.com/office/drawing/2014/main" id="{58C1426A-3C83-E501-B91D-C626AEF14392}"/>
                    </a:ext>
                  </a:extLst>
                </p:cNvPr>
                <p:cNvSpPr/>
                <p:nvPr/>
              </p:nvSpPr>
              <p:spPr>
                <a:xfrm>
                  <a:off x="9222250" y="1398857"/>
                  <a:ext cx="16440" cy="49449"/>
                </a:xfrm>
                <a:custGeom>
                  <a:avLst/>
                  <a:gdLst>
                    <a:gd name="connsiteX0" fmla="*/ 0 w 16440"/>
                    <a:gd name="connsiteY0" fmla="*/ 0 h 49449"/>
                    <a:gd name="connsiteX1" fmla="*/ 4235 w 16440"/>
                    <a:gd name="connsiteY1" fmla="*/ 18310 h 49449"/>
                    <a:gd name="connsiteX2" fmla="*/ 13078 w 16440"/>
                    <a:gd name="connsiteY2" fmla="*/ 33257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373" y="8470"/>
                        <a:pt x="2367" y="14449"/>
                        <a:pt x="4235" y="18310"/>
                      </a:cubicBezTo>
                      <a:cubicBezTo>
                        <a:pt x="7224" y="24662"/>
                        <a:pt x="10213" y="26780"/>
                        <a:pt x="13078" y="33257"/>
                      </a:cubicBezTo>
                      <a:cubicBezTo>
                        <a:pt x="15818" y="39609"/>
                        <a:pt x="16317" y="45464"/>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2" name="Freeform 7088">
                  <a:extLst>
                    <a:ext uri="{FF2B5EF4-FFF2-40B4-BE49-F238E27FC236}">
                      <a16:creationId xmlns:a16="http://schemas.microsoft.com/office/drawing/2014/main" id="{96293BA4-2817-35D1-1EE8-BD3D716E6850}"/>
                    </a:ext>
                  </a:extLst>
                </p:cNvPr>
                <p:cNvSpPr/>
                <p:nvPr/>
              </p:nvSpPr>
              <p:spPr>
                <a:xfrm>
                  <a:off x="9227357" y="1391632"/>
                  <a:ext cx="17686" cy="49075"/>
                </a:xfrm>
                <a:custGeom>
                  <a:avLst/>
                  <a:gdLst>
                    <a:gd name="connsiteX0" fmla="*/ 17687 w 17686"/>
                    <a:gd name="connsiteY0" fmla="*/ 49076 h 49075"/>
                    <a:gd name="connsiteX1" fmla="*/ 9716 w 17686"/>
                    <a:gd name="connsiteY1" fmla="*/ 32011 h 49075"/>
                    <a:gd name="connsiteX2" fmla="*/ 7349 w 17686"/>
                    <a:gd name="connsiteY2" fmla="*/ 14698 h 49075"/>
                    <a:gd name="connsiteX3" fmla="*/ 0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17687" y="49076"/>
                      </a:moveTo>
                      <a:cubicBezTo>
                        <a:pt x="12705" y="42350"/>
                        <a:pt x="10587" y="36371"/>
                        <a:pt x="9716" y="32011"/>
                      </a:cubicBezTo>
                      <a:cubicBezTo>
                        <a:pt x="8220" y="25161"/>
                        <a:pt x="9217" y="21548"/>
                        <a:pt x="7349" y="14698"/>
                      </a:cubicBezTo>
                      <a:cubicBezTo>
                        <a:pt x="5481" y="7972"/>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3" name="Freeform 7089">
                  <a:extLst>
                    <a:ext uri="{FF2B5EF4-FFF2-40B4-BE49-F238E27FC236}">
                      <a16:creationId xmlns:a16="http://schemas.microsoft.com/office/drawing/2014/main" id="{5A8DAD1B-2342-23EB-2AA3-416486384B84}"/>
                    </a:ext>
                  </a:extLst>
                </p:cNvPr>
                <p:cNvSpPr/>
                <p:nvPr/>
              </p:nvSpPr>
              <p:spPr>
                <a:xfrm>
                  <a:off x="9210190" y="1377655"/>
                  <a:ext cx="26250" cy="26535"/>
                </a:xfrm>
                <a:custGeom>
                  <a:avLst/>
                  <a:gdLst>
                    <a:gd name="connsiteX0" fmla="*/ 25512 w 26250"/>
                    <a:gd name="connsiteY0" fmla="*/ 8871 h 26535"/>
                    <a:gd name="connsiteX1" fmla="*/ 17416 w 26250"/>
                    <a:gd name="connsiteY1" fmla="*/ 25810 h 26535"/>
                    <a:gd name="connsiteX2" fmla="*/ 725 w 26250"/>
                    <a:gd name="connsiteY2" fmla="*/ 17714 h 26535"/>
                    <a:gd name="connsiteX3" fmla="*/ 8822 w 26250"/>
                    <a:gd name="connsiteY3" fmla="*/ 774 h 26535"/>
                    <a:gd name="connsiteX4" fmla="*/ 25512 w 26250"/>
                    <a:gd name="connsiteY4" fmla="*/ 8871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0" h="26535">
                      <a:moveTo>
                        <a:pt x="25512" y="8871"/>
                      </a:moveTo>
                      <a:cubicBezTo>
                        <a:pt x="27879" y="15721"/>
                        <a:pt x="24392" y="23319"/>
                        <a:pt x="17416" y="25810"/>
                      </a:cubicBezTo>
                      <a:cubicBezTo>
                        <a:pt x="10566" y="28177"/>
                        <a:pt x="3092" y="24565"/>
                        <a:pt x="725" y="17714"/>
                      </a:cubicBezTo>
                      <a:cubicBezTo>
                        <a:pt x="-1641" y="10739"/>
                        <a:pt x="1971" y="3265"/>
                        <a:pt x="8822" y="774"/>
                      </a:cubicBezTo>
                      <a:cubicBezTo>
                        <a:pt x="15672" y="-1717"/>
                        <a:pt x="23146" y="2020"/>
                        <a:pt x="25512"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0" name="Graphic 2987">
                <a:extLst>
                  <a:ext uri="{FF2B5EF4-FFF2-40B4-BE49-F238E27FC236}">
                    <a16:creationId xmlns:a16="http://schemas.microsoft.com/office/drawing/2014/main" id="{458163EA-2A5B-F74D-F53F-6B8CC470BF68}"/>
                  </a:ext>
                </a:extLst>
              </p:cNvPr>
              <p:cNvGrpSpPr/>
              <p:nvPr/>
            </p:nvGrpSpPr>
            <p:grpSpPr>
              <a:xfrm>
                <a:off x="9182538" y="1387420"/>
                <a:ext cx="66081" cy="142386"/>
                <a:chOff x="9182538" y="1387420"/>
                <a:chExt cx="66081" cy="142386"/>
              </a:xfrm>
              <a:grpFill/>
            </p:grpSpPr>
            <p:sp>
              <p:nvSpPr>
                <p:cNvPr id="6972" name="Freeform 7091">
                  <a:extLst>
                    <a:ext uri="{FF2B5EF4-FFF2-40B4-BE49-F238E27FC236}">
                      <a16:creationId xmlns:a16="http://schemas.microsoft.com/office/drawing/2014/main" id="{92283C59-672C-5DD8-A72C-09F2AB4C2519}"/>
                    </a:ext>
                  </a:extLst>
                </p:cNvPr>
                <p:cNvSpPr/>
                <p:nvPr/>
              </p:nvSpPr>
              <p:spPr>
                <a:xfrm>
                  <a:off x="9220132" y="1459018"/>
                  <a:ext cx="16317" cy="49573"/>
                </a:xfrm>
                <a:custGeom>
                  <a:avLst/>
                  <a:gdLst>
                    <a:gd name="connsiteX0" fmla="*/ 16317 w 16317"/>
                    <a:gd name="connsiteY0" fmla="*/ 49574 h 49573"/>
                    <a:gd name="connsiteX1" fmla="*/ 12082 w 16317"/>
                    <a:gd name="connsiteY1" fmla="*/ 31264 h 49573"/>
                    <a:gd name="connsiteX2" fmla="*/ 3239 w 16317"/>
                    <a:gd name="connsiteY2" fmla="*/ 16192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6068" y="41104"/>
                        <a:pt x="13950" y="35125"/>
                        <a:pt x="12082" y="31264"/>
                      </a:cubicBezTo>
                      <a:cubicBezTo>
                        <a:pt x="9093" y="24912"/>
                        <a:pt x="6103" y="22794"/>
                        <a:pt x="3239"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3" name="Freeform 7092">
                  <a:extLst>
                    <a:ext uri="{FF2B5EF4-FFF2-40B4-BE49-F238E27FC236}">
                      <a16:creationId xmlns:a16="http://schemas.microsoft.com/office/drawing/2014/main" id="{1286DB76-9835-6861-5F7F-B74E2FBEF6EF}"/>
                    </a:ext>
                  </a:extLst>
                </p:cNvPr>
                <p:cNvSpPr/>
                <p:nvPr/>
              </p:nvSpPr>
              <p:spPr>
                <a:xfrm>
                  <a:off x="9213904" y="1466616"/>
                  <a:ext cx="17563" cy="49075"/>
                </a:xfrm>
                <a:custGeom>
                  <a:avLst/>
                  <a:gdLst>
                    <a:gd name="connsiteX0" fmla="*/ 0 w 17563"/>
                    <a:gd name="connsiteY0" fmla="*/ 0 h 49075"/>
                    <a:gd name="connsiteX1" fmla="*/ 7972 w 17563"/>
                    <a:gd name="connsiteY1" fmla="*/ 17064 h 49075"/>
                    <a:gd name="connsiteX2" fmla="*/ 10214 w 17563"/>
                    <a:gd name="connsiteY2" fmla="*/ 34378 h 49075"/>
                    <a:gd name="connsiteX3" fmla="*/ 17563 w 17563"/>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3" h="49075">
                      <a:moveTo>
                        <a:pt x="0" y="0"/>
                      </a:moveTo>
                      <a:cubicBezTo>
                        <a:pt x="4983" y="6726"/>
                        <a:pt x="6975" y="12829"/>
                        <a:pt x="7972" y="17064"/>
                      </a:cubicBezTo>
                      <a:cubicBezTo>
                        <a:pt x="9467" y="23915"/>
                        <a:pt x="8470" y="27527"/>
                        <a:pt x="10214" y="34378"/>
                      </a:cubicBezTo>
                      <a:cubicBezTo>
                        <a:pt x="11958" y="41104"/>
                        <a:pt x="15196" y="45962"/>
                        <a:pt x="17563"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4" name="Freeform 7093">
                  <a:extLst>
                    <a:ext uri="{FF2B5EF4-FFF2-40B4-BE49-F238E27FC236}">
                      <a16:creationId xmlns:a16="http://schemas.microsoft.com/office/drawing/2014/main" id="{B0C45575-74DB-AEB6-049A-6C1916AB8F4D}"/>
                    </a:ext>
                  </a:extLst>
                </p:cNvPr>
                <p:cNvSpPr/>
                <p:nvPr/>
              </p:nvSpPr>
              <p:spPr>
                <a:xfrm>
                  <a:off x="9221913" y="1503196"/>
                  <a:ext cx="26706" cy="26611"/>
                </a:xfrm>
                <a:custGeom>
                  <a:avLst/>
                  <a:gdLst>
                    <a:gd name="connsiteX0" fmla="*/ 711 w 26706"/>
                    <a:gd name="connsiteY0" fmla="*/ 17727 h 26611"/>
                    <a:gd name="connsiteX1" fmla="*/ 9056 w 26706"/>
                    <a:gd name="connsiteY1" fmla="*/ 788 h 26611"/>
                    <a:gd name="connsiteX2" fmla="*/ 25996 w 26706"/>
                    <a:gd name="connsiteY2" fmla="*/ 8884 h 26611"/>
                    <a:gd name="connsiteX3" fmla="*/ 17650 w 26706"/>
                    <a:gd name="connsiteY3" fmla="*/ 25824 h 26611"/>
                    <a:gd name="connsiteX4" fmla="*/ 711 w 26706"/>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17727"/>
                      </a:moveTo>
                      <a:cubicBezTo>
                        <a:pt x="-1656" y="10752"/>
                        <a:pt x="2081" y="3154"/>
                        <a:pt x="9056" y="788"/>
                      </a:cubicBezTo>
                      <a:cubicBezTo>
                        <a:pt x="16031" y="-1704"/>
                        <a:pt x="23630" y="1909"/>
                        <a:pt x="25996" y="8884"/>
                      </a:cubicBezTo>
                      <a:cubicBezTo>
                        <a:pt x="28363" y="15859"/>
                        <a:pt x="24626" y="23457"/>
                        <a:pt x="17650" y="25824"/>
                      </a:cubicBezTo>
                      <a:cubicBezTo>
                        <a:pt x="10675" y="28315"/>
                        <a:pt x="3077" y="24703"/>
                        <a:pt x="711"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5" name="Freeform 7094">
                  <a:extLst>
                    <a:ext uri="{FF2B5EF4-FFF2-40B4-BE49-F238E27FC236}">
                      <a16:creationId xmlns:a16="http://schemas.microsoft.com/office/drawing/2014/main" id="{672DAD81-3044-C31F-EC07-B1E1723D7A86}"/>
                    </a:ext>
                  </a:extLst>
                </p:cNvPr>
                <p:cNvSpPr/>
                <p:nvPr/>
              </p:nvSpPr>
              <p:spPr>
                <a:xfrm>
                  <a:off x="9194598" y="1408572"/>
                  <a:ext cx="16192" cy="49573"/>
                </a:xfrm>
                <a:custGeom>
                  <a:avLst/>
                  <a:gdLst>
                    <a:gd name="connsiteX0" fmla="*/ 0 w 16192"/>
                    <a:gd name="connsiteY0" fmla="*/ 0 h 49573"/>
                    <a:gd name="connsiteX1" fmla="*/ 4235 w 16192"/>
                    <a:gd name="connsiteY1" fmla="*/ 18310 h 49573"/>
                    <a:gd name="connsiteX2" fmla="*/ 12954 w 16192"/>
                    <a:gd name="connsiteY2" fmla="*/ 33381 h 49573"/>
                    <a:gd name="connsiteX3" fmla="*/ 16192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0" y="0"/>
                      </a:moveTo>
                      <a:cubicBezTo>
                        <a:pt x="249" y="8470"/>
                        <a:pt x="2367" y="14449"/>
                        <a:pt x="4235" y="18310"/>
                      </a:cubicBezTo>
                      <a:cubicBezTo>
                        <a:pt x="7225" y="24662"/>
                        <a:pt x="10214" y="26780"/>
                        <a:pt x="12954" y="33381"/>
                      </a:cubicBezTo>
                      <a:cubicBezTo>
                        <a:pt x="15694" y="39734"/>
                        <a:pt x="16192" y="45588"/>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6" name="Freeform 7095">
                  <a:extLst>
                    <a:ext uri="{FF2B5EF4-FFF2-40B4-BE49-F238E27FC236}">
                      <a16:creationId xmlns:a16="http://schemas.microsoft.com/office/drawing/2014/main" id="{359FCD07-C9C8-663C-6971-DE1DD15944CC}"/>
                    </a:ext>
                  </a:extLst>
                </p:cNvPr>
                <p:cNvSpPr/>
                <p:nvPr/>
              </p:nvSpPr>
              <p:spPr>
                <a:xfrm>
                  <a:off x="9199456" y="1401472"/>
                  <a:ext cx="17686" cy="49200"/>
                </a:xfrm>
                <a:custGeom>
                  <a:avLst/>
                  <a:gdLst>
                    <a:gd name="connsiteX0" fmla="*/ 17687 w 17686"/>
                    <a:gd name="connsiteY0" fmla="*/ 49200 h 49200"/>
                    <a:gd name="connsiteX1" fmla="*/ 9715 w 17686"/>
                    <a:gd name="connsiteY1" fmla="*/ 32136 h 49200"/>
                    <a:gd name="connsiteX2" fmla="*/ 7348 w 17686"/>
                    <a:gd name="connsiteY2" fmla="*/ 14822 h 49200"/>
                    <a:gd name="connsiteX3" fmla="*/ 0 w 17686"/>
                    <a:gd name="connsiteY3" fmla="*/ 0 h 49200"/>
                  </a:gdLst>
                  <a:ahLst/>
                  <a:cxnLst>
                    <a:cxn ang="0">
                      <a:pos x="connsiteX0" y="connsiteY0"/>
                    </a:cxn>
                    <a:cxn ang="0">
                      <a:pos x="connsiteX1" y="connsiteY1"/>
                    </a:cxn>
                    <a:cxn ang="0">
                      <a:pos x="connsiteX2" y="connsiteY2"/>
                    </a:cxn>
                    <a:cxn ang="0">
                      <a:pos x="connsiteX3" y="connsiteY3"/>
                    </a:cxn>
                  </a:cxnLst>
                  <a:rect l="l" t="t" r="r" b="b"/>
                  <a:pathLst>
                    <a:path w="17686" h="49200">
                      <a:moveTo>
                        <a:pt x="17687" y="49200"/>
                      </a:moveTo>
                      <a:cubicBezTo>
                        <a:pt x="12705" y="42474"/>
                        <a:pt x="10712" y="36371"/>
                        <a:pt x="9715" y="32136"/>
                      </a:cubicBezTo>
                      <a:cubicBezTo>
                        <a:pt x="8220" y="25285"/>
                        <a:pt x="9217" y="21673"/>
                        <a:pt x="7348" y="14822"/>
                      </a:cubicBezTo>
                      <a:cubicBezTo>
                        <a:pt x="5605" y="8096"/>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7" name="Freeform 7096">
                  <a:extLst>
                    <a:ext uri="{FF2B5EF4-FFF2-40B4-BE49-F238E27FC236}">
                      <a16:creationId xmlns:a16="http://schemas.microsoft.com/office/drawing/2014/main" id="{FBA743EC-B0E7-4EE4-6038-C986AFB57566}"/>
                    </a:ext>
                  </a:extLst>
                </p:cNvPr>
                <p:cNvSpPr/>
                <p:nvPr/>
              </p:nvSpPr>
              <p:spPr>
                <a:xfrm>
                  <a:off x="9182538" y="1387420"/>
                  <a:ext cx="26237" cy="26609"/>
                </a:xfrm>
                <a:custGeom>
                  <a:avLst/>
                  <a:gdLst>
                    <a:gd name="connsiteX0" fmla="*/ 25512 w 26237"/>
                    <a:gd name="connsiteY0" fmla="*/ 8945 h 26609"/>
                    <a:gd name="connsiteX1" fmla="*/ 17416 w 26237"/>
                    <a:gd name="connsiteY1" fmla="*/ 25885 h 26609"/>
                    <a:gd name="connsiteX2" fmla="*/ 725 w 26237"/>
                    <a:gd name="connsiteY2" fmla="*/ 17664 h 26609"/>
                    <a:gd name="connsiteX3" fmla="*/ 8821 w 26237"/>
                    <a:gd name="connsiteY3" fmla="*/ 724 h 26609"/>
                    <a:gd name="connsiteX4" fmla="*/ 25512 w 26237"/>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609">
                      <a:moveTo>
                        <a:pt x="25512" y="8945"/>
                      </a:moveTo>
                      <a:cubicBezTo>
                        <a:pt x="27879" y="15920"/>
                        <a:pt x="24266" y="23394"/>
                        <a:pt x="17416" y="25885"/>
                      </a:cubicBezTo>
                      <a:cubicBezTo>
                        <a:pt x="10565" y="28252"/>
                        <a:pt x="3092" y="24639"/>
                        <a:pt x="725" y="17664"/>
                      </a:cubicBezTo>
                      <a:cubicBezTo>
                        <a:pt x="-1641" y="10689"/>
                        <a:pt x="1971" y="3215"/>
                        <a:pt x="8821" y="724"/>
                      </a:cubicBezTo>
                      <a:cubicBezTo>
                        <a:pt x="15672" y="-1642"/>
                        <a:pt x="23146" y="1970"/>
                        <a:pt x="25512"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1" name="Graphic 2987">
                <a:extLst>
                  <a:ext uri="{FF2B5EF4-FFF2-40B4-BE49-F238E27FC236}">
                    <a16:creationId xmlns:a16="http://schemas.microsoft.com/office/drawing/2014/main" id="{DCF0ACD3-1FAA-23B4-8CF5-8999DF8499C2}"/>
                  </a:ext>
                </a:extLst>
              </p:cNvPr>
              <p:cNvGrpSpPr/>
              <p:nvPr/>
            </p:nvGrpSpPr>
            <p:grpSpPr>
              <a:xfrm>
                <a:off x="9155023" y="1397149"/>
                <a:ext cx="65273" cy="142685"/>
                <a:chOff x="9155023" y="1397149"/>
                <a:chExt cx="65273" cy="142685"/>
              </a:xfrm>
              <a:grpFill/>
            </p:grpSpPr>
            <p:sp>
              <p:nvSpPr>
                <p:cNvPr id="6966" name="Freeform 7098">
                  <a:extLst>
                    <a:ext uri="{FF2B5EF4-FFF2-40B4-BE49-F238E27FC236}">
                      <a16:creationId xmlns:a16="http://schemas.microsoft.com/office/drawing/2014/main" id="{ADAEDAE8-19CD-D12A-F588-0B7429661462}"/>
                    </a:ext>
                  </a:extLst>
                </p:cNvPr>
                <p:cNvSpPr/>
                <p:nvPr/>
              </p:nvSpPr>
              <p:spPr>
                <a:xfrm>
                  <a:off x="9192231" y="1468858"/>
                  <a:ext cx="16068" cy="49698"/>
                </a:xfrm>
                <a:custGeom>
                  <a:avLst/>
                  <a:gdLst>
                    <a:gd name="connsiteX0" fmla="*/ 16068 w 16068"/>
                    <a:gd name="connsiteY0" fmla="*/ 49699 h 49698"/>
                    <a:gd name="connsiteX1" fmla="*/ 11958 w 16068"/>
                    <a:gd name="connsiteY1" fmla="*/ 31264 h 49698"/>
                    <a:gd name="connsiteX2" fmla="*/ 3239 w 16068"/>
                    <a:gd name="connsiteY2" fmla="*/ 16193 h 49698"/>
                    <a:gd name="connsiteX3" fmla="*/ 0 w 16068"/>
                    <a:gd name="connsiteY3" fmla="*/ 0 h 49698"/>
                  </a:gdLst>
                  <a:ahLst/>
                  <a:cxnLst>
                    <a:cxn ang="0">
                      <a:pos x="connsiteX0" y="connsiteY0"/>
                    </a:cxn>
                    <a:cxn ang="0">
                      <a:pos x="connsiteX1" y="connsiteY1"/>
                    </a:cxn>
                    <a:cxn ang="0">
                      <a:pos x="connsiteX2" y="connsiteY2"/>
                    </a:cxn>
                    <a:cxn ang="0">
                      <a:pos x="connsiteX3" y="connsiteY3"/>
                    </a:cxn>
                  </a:cxnLst>
                  <a:rect l="l" t="t" r="r" b="b"/>
                  <a:pathLst>
                    <a:path w="16068" h="49698">
                      <a:moveTo>
                        <a:pt x="16068" y="49699"/>
                      </a:moveTo>
                      <a:cubicBezTo>
                        <a:pt x="15819" y="41229"/>
                        <a:pt x="13826" y="35250"/>
                        <a:pt x="11958" y="31264"/>
                      </a:cubicBezTo>
                      <a:cubicBezTo>
                        <a:pt x="8969" y="24912"/>
                        <a:pt x="5979" y="22794"/>
                        <a:pt x="3239"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7" name="Freeform 7099">
                  <a:extLst>
                    <a:ext uri="{FF2B5EF4-FFF2-40B4-BE49-F238E27FC236}">
                      <a16:creationId xmlns:a16="http://schemas.microsoft.com/office/drawing/2014/main" id="{B3D24E08-5E1C-71C1-FE8C-D16E3B6B292E}"/>
                    </a:ext>
                  </a:extLst>
                </p:cNvPr>
                <p:cNvSpPr/>
                <p:nvPr/>
              </p:nvSpPr>
              <p:spPr>
                <a:xfrm>
                  <a:off x="9185879" y="1476456"/>
                  <a:ext cx="17313" cy="49200"/>
                </a:xfrm>
                <a:custGeom>
                  <a:avLst/>
                  <a:gdLst>
                    <a:gd name="connsiteX0" fmla="*/ 0 w 17313"/>
                    <a:gd name="connsiteY0" fmla="*/ 0 h 49200"/>
                    <a:gd name="connsiteX1" fmla="*/ 7847 w 17313"/>
                    <a:gd name="connsiteY1" fmla="*/ 17064 h 49200"/>
                    <a:gd name="connsiteX2" fmla="*/ 10089 w 17313"/>
                    <a:gd name="connsiteY2" fmla="*/ 34378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975" y="12829"/>
                        <a:pt x="7847" y="17064"/>
                      </a:cubicBezTo>
                      <a:cubicBezTo>
                        <a:pt x="9342" y="23915"/>
                        <a:pt x="8221" y="27527"/>
                        <a:pt x="10089" y="34378"/>
                      </a:cubicBezTo>
                      <a:cubicBezTo>
                        <a:pt x="11833" y="41104"/>
                        <a:pt x="14947" y="46086"/>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8" name="Freeform 7100">
                  <a:extLst>
                    <a:ext uri="{FF2B5EF4-FFF2-40B4-BE49-F238E27FC236}">
                      <a16:creationId xmlns:a16="http://schemas.microsoft.com/office/drawing/2014/main" id="{C86A36CD-676A-9675-F0B0-16522F4E77C0}"/>
                    </a:ext>
                  </a:extLst>
                </p:cNvPr>
                <p:cNvSpPr/>
                <p:nvPr/>
              </p:nvSpPr>
              <p:spPr>
                <a:xfrm>
                  <a:off x="9193775" y="1513160"/>
                  <a:ext cx="26522" cy="26673"/>
                </a:xfrm>
                <a:custGeom>
                  <a:avLst/>
                  <a:gdLst>
                    <a:gd name="connsiteX0" fmla="*/ 699 w 26522"/>
                    <a:gd name="connsiteY0" fmla="*/ 17852 h 26673"/>
                    <a:gd name="connsiteX1" fmla="*/ 9044 w 26522"/>
                    <a:gd name="connsiteY1" fmla="*/ 788 h 26673"/>
                    <a:gd name="connsiteX2" fmla="*/ 25859 w 26522"/>
                    <a:gd name="connsiteY2" fmla="*/ 8884 h 26673"/>
                    <a:gd name="connsiteX3" fmla="*/ 17514 w 26522"/>
                    <a:gd name="connsiteY3" fmla="*/ 25948 h 26673"/>
                    <a:gd name="connsiteX4" fmla="*/ 699 w 26522"/>
                    <a:gd name="connsiteY4" fmla="*/ 17852 h 26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22" h="26673">
                      <a:moveTo>
                        <a:pt x="699" y="17852"/>
                      </a:moveTo>
                      <a:cubicBezTo>
                        <a:pt x="-1668" y="10877"/>
                        <a:pt x="2193" y="3279"/>
                        <a:pt x="9044" y="788"/>
                      </a:cubicBezTo>
                      <a:cubicBezTo>
                        <a:pt x="16020" y="-1704"/>
                        <a:pt x="23617" y="1909"/>
                        <a:pt x="25859" y="8884"/>
                      </a:cubicBezTo>
                      <a:cubicBezTo>
                        <a:pt x="28101" y="15859"/>
                        <a:pt x="24489" y="23457"/>
                        <a:pt x="17514" y="25948"/>
                      </a:cubicBezTo>
                      <a:cubicBezTo>
                        <a:pt x="10539" y="28315"/>
                        <a:pt x="2940" y="24703"/>
                        <a:pt x="699" y="178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9" name="Freeform 7101">
                  <a:extLst>
                    <a:ext uri="{FF2B5EF4-FFF2-40B4-BE49-F238E27FC236}">
                      <a16:creationId xmlns:a16="http://schemas.microsoft.com/office/drawing/2014/main" id="{9697AD29-0A31-D7EC-617F-38824D879966}"/>
                    </a:ext>
                  </a:extLst>
                </p:cNvPr>
                <p:cNvSpPr/>
                <p:nvPr/>
              </p:nvSpPr>
              <p:spPr>
                <a:xfrm>
                  <a:off x="9166822" y="1418412"/>
                  <a:ext cx="16067" cy="49698"/>
                </a:xfrm>
                <a:custGeom>
                  <a:avLst/>
                  <a:gdLst>
                    <a:gd name="connsiteX0" fmla="*/ 0 w 16067"/>
                    <a:gd name="connsiteY0" fmla="*/ 0 h 49698"/>
                    <a:gd name="connsiteX1" fmla="*/ 4111 w 16067"/>
                    <a:gd name="connsiteY1" fmla="*/ 18435 h 49698"/>
                    <a:gd name="connsiteX2" fmla="*/ 12829 w 16067"/>
                    <a:gd name="connsiteY2" fmla="*/ 33506 h 49698"/>
                    <a:gd name="connsiteX3" fmla="*/ 16068 w 16067"/>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6067" h="49698">
                      <a:moveTo>
                        <a:pt x="0" y="0"/>
                      </a:moveTo>
                      <a:cubicBezTo>
                        <a:pt x="249" y="8470"/>
                        <a:pt x="2242" y="14449"/>
                        <a:pt x="4111" y="18435"/>
                      </a:cubicBezTo>
                      <a:cubicBezTo>
                        <a:pt x="7100" y="24787"/>
                        <a:pt x="10089" y="26904"/>
                        <a:pt x="12829" y="33506"/>
                      </a:cubicBezTo>
                      <a:cubicBezTo>
                        <a:pt x="15445" y="39858"/>
                        <a:pt x="15943" y="45713"/>
                        <a:pt x="1606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0" name="Freeform 7102">
                  <a:extLst>
                    <a:ext uri="{FF2B5EF4-FFF2-40B4-BE49-F238E27FC236}">
                      <a16:creationId xmlns:a16="http://schemas.microsoft.com/office/drawing/2014/main" id="{1962EE70-57AC-32E0-EB3E-6634E35646DA}"/>
                    </a:ext>
                  </a:extLst>
                </p:cNvPr>
                <p:cNvSpPr/>
                <p:nvPr/>
              </p:nvSpPr>
              <p:spPr>
                <a:xfrm>
                  <a:off x="9171804" y="1411312"/>
                  <a:ext cx="17313" cy="49200"/>
                </a:xfrm>
                <a:custGeom>
                  <a:avLst/>
                  <a:gdLst>
                    <a:gd name="connsiteX0" fmla="*/ 17314 w 17313"/>
                    <a:gd name="connsiteY0" fmla="*/ 49200 h 49200"/>
                    <a:gd name="connsiteX1" fmla="*/ 9467 w 17313"/>
                    <a:gd name="connsiteY1" fmla="*/ 32136 h 49200"/>
                    <a:gd name="connsiteX2" fmla="*/ 7225 w 17313"/>
                    <a:gd name="connsiteY2" fmla="*/ 14822 h 49200"/>
                    <a:gd name="connsiteX3" fmla="*/ 0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49200"/>
                      </a:moveTo>
                      <a:cubicBezTo>
                        <a:pt x="12456" y="42350"/>
                        <a:pt x="10339" y="36371"/>
                        <a:pt x="9467" y="32136"/>
                      </a:cubicBezTo>
                      <a:cubicBezTo>
                        <a:pt x="7972" y="25285"/>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1" name="Freeform 7103">
                  <a:extLst>
                    <a:ext uri="{FF2B5EF4-FFF2-40B4-BE49-F238E27FC236}">
                      <a16:creationId xmlns:a16="http://schemas.microsoft.com/office/drawing/2014/main" id="{C8128CEB-FFA5-1B6A-9E54-B892E2F4F139}"/>
                    </a:ext>
                  </a:extLst>
                </p:cNvPr>
                <p:cNvSpPr/>
                <p:nvPr/>
              </p:nvSpPr>
              <p:spPr>
                <a:xfrm>
                  <a:off x="9155023" y="1397149"/>
                  <a:ext cx="26100" cy="26596"/>
                </a:xfrm>
                <a:custGeom>
                  <a:avLst/>
                  <a:gdLst>
                    <a:gd name="connsiteX0" fmla="*/ 25375 w 26100"/>
                    <a:gd name="connsiteY0" fmla="*/ 8933 h 26596"/>
                    <a:gd name="connsiteX1" fmla="*/ 17279 w 26100"/>
                    <a:gd name="connsiteY1" fmla="*/ 25872 h 26596"/>
                    <a:gd name="connsiteX2" fmla="*/ 713 w 26100"/>
                    <a:gd name="connsiteY2" fmla="*/ 17652 h 26596"/>
                    <a:gd name="connsiteX3" fmla="*/ 8809 w 26100"/>
                    <a:gd name="connsiteY3" fmla="*/ 712 h 26596"/>
                    <a:gd name="connsiteX4" fmla="*/ 25375 w 26100"/>
                    <a:gd name="connsiteY4" fmla="*/ 893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0" h="26595">
                      <a:moveTo>
                        <a:pt x="25375" y="8933"/>
                      </a:moveTo>
                      <a:cubicBezTo>
                        <a:pt x="27742" y="15908"/>
                        <a:pt x="24130" y="23506"/>
                        <a:pt x="17279" y="25872"/>
                      </a:cubicBezTo>
                      <a:cubicBezTo>
                        <a:pt x="10429" y="28239"/>
                        <a:pt x="2955" y="24627"/>
                        <a:pt x="713" y="17652"/>
                      </a:cubicBezTo>
                      <a:cubicBezTo>
                        <a:pt x="-1654" y="10676"/>
                        <a:pt x="2083" y="3078"/>
                        <a:pt x="8809" y="712"/>
                      </a:cubicBezTo>
                      <a:cubicBezTo>
                        <a:pt x="15535" y="-1655"/>
                        <a:pt x="23008" y="2082"/>
                        <a:pt x="25375" y="893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2" name="Graphic 2987">
                <a:extLst>
                  <a:ext uri="{FF2B5EF4-FFF2-40B4-BE49-F238E27FC236}">
                    <a16:creationId xmlns:a16="http://schemas.microsoft.com/office/drawing/2014/main" id="{32754AF9-4385-A743-B869-6DEB5E1E9799}"/>
                  </a:ext>
                </a:extLst>
              </p:cNvPr>
              <p:cNvGrpSpPr/>
              <p:nvPr/>
            </p:nvGrpSpPr>
            <p:grpSpPr>
              <a:xfrm>
                <a:off x="9126935" y="1406746"/>
                <a:ext cx="65245" cy="142590"/>
                <a:chOff x="9126935" y="1406746"/>
                <a:chExt cx="65245" cy="142590"/>
              </a:xfrm>
              <a:grpFill/>
            </p:grpSpPr>
            <p:sp>
              <p:nvSpPr>
                <p:cNvPr id="6960" name="Freeform 7105">
                  <a:extLst>
                    <a:ext uri="{FF2B5EF4-FFF2-40B4-BE49-F238E27FC236}">
                      <a16:creationId xmlns:a16="http://schemas.microsoft.com/office/drawing/2014/main" id="{62FAAB58-17E7-C088-8694-550040136C2C}"/>
                    </a:ext>
                  </a:extLst>
                </p:cNvPr>
                <p:cNvSpPr/>
                <p:nvPr/>
              </p:nvSpPr>
              <p:spPr>
                <a:xfrm>
                  <a:off x="9164206" y="1478574"/>
                  <a:ext cx="15819" cy="49698"/>
                </a:xfrm>
                <a:custGeom>
                  <a:avLst/>
                  <a:gdLst>
                    <a:gd name="connsiteX0" fmla="*/ 15819 w 15819"/>
                    <a:gd name="connsiteY0" fmla="*/ 49699 h 49698"/>
                    <a:gd name="connsiteX1" fmla="*/ 11833 w 15819"/>
                    <a:gd name="connsiteY1" fmla="*/ 31389 h 49698"/>
                    <a:gd name="connsiteX2" fmla="*/ 3114 w 15819"/>
                    <a:gd name="connsiteY2" fmla="*/ 16192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9"/>
                      </a:moveTo>
                      <a:cubicBezTo>
                        <a:pt x="15694" y="41353"/>
                        <a:pt x="13702" y="35250"/>
                        <a:pt x="11833" y="31389"/>
                      </a:cubicBezTo>
                      <a:cubicBezTo>
                        <a:pt x="8844" y="25036"/>
                        <a:pt x="5855" y="22794"/>
                        <a:pt x="3114"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1" name="Freeform 7106">
                  <a:extLst>
                    <a:ext uri="{FF2B5EF4-FFF2-40B4-BE49-F238E27FC236}">
                      <a16:creationId xmlns:a16="http://schemas.microsoft.com/office/drawing/2014/main" id="{35FF5408-CF3C-FADA-E161-4EF83C79E663}"/>
                    </a:ext>
                  </a:extLst>
                </p:cNvPr>
                <p:cNvSpPr/>
                <p:nvPr/>
              </p:nvSpPr>
              <p:spPr>
                <a:xfrm>
                  <a:off x="9157729" y="1485923"/>
                  <a:ext cx="17065" cy="49200"/>
                </a:xfrm>
                <a:custGeom>
                  <a:avLst/>
                  <a:gdLst>
                    <a:gd name="connsiteX0" fmla="*/ 0 w 17065"/>
                    <a:gd name="connsiteY0" fmla="*/ 0 h 49200"/>
                    <a:gd name="connsiteX1" fmla="*/ 7723 w 17065"/>
                    <a:gd name="connsiteY1" fmla="*/ 17189 h 49200"/>
                    <a:gd name="connsiteX2" fmla="*/ 9841 w 17065"/>
                    <a:gd name="connsiteY2" fmla="*/ 34378 h 49200"/>
                    <a:gd name="connsiteX3" fmla="*/ 17065 w 17065"/>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5" h="49200">
                      <a:moveTo>
                        <a:pt x="0" y="0"/>
                      </a:moveTo>
                      <a:cubicBezTo>
                        <a:pt x="4858" y="6851"/>
                        <a:pt x="6851" y="12954"/>
                        <a:pt x="7723" y="17189"/>
                      </a:cubicBezTo>
                      <a:cubicBezTo>
                        <a:pt x="9218" y="24040"/>
                        <a:pt x="8097" y="27527"/>
                        <a:pt x="9841" y="34378"/>
                      </a:cubicBezTo>
                      <a:cubicBezTo>
                        <a:pt x="11585" y="41104"/>
                        <a:pt x="14698" y="46086"/>
                        <a:pt x="17065"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2" name="Freeform 7107">
                  <a:extLst>
                    <a:ext uri="{FF2B5EF4-FFF2-40B4-BE49-F238E27FC236}">
                      <a16:creationId xmlns:a16="http://schemas.microsoft.com/office/drawing/2014/main" id="{6384328B-AA1C-B89D-4F2F-C3BCDFC3C254}"/>
                    </a:ext>
                  </a:extLst>
                </p:cNvPr>
                <p:cNvSpPr/>
                <p:nvPr/>
              </p:nvSpPr>
              <p:spPr>
                <a:xfrm>
                  <a:off x="9165301" y="1522900"/>
                  <a:ext cx="26879" cy="26436"/>
                </a:xfrm>
                <a:custGeom>
                  <a:avLst/>
                  <a:gdLst>
                    <a:gd name="connsiteX0" fmla="*/ 649 w 26879"/>
                    <a:gd name="connsiteY0" fmla="*/ 17205 h 26436"/>
                    <a:gd name="connsiteX1" fmla="*/ 9243 w 26879"/>
                    <a:gd name="connsiteY1" fmla="*/ 639 h 26436"/>
                    <a:gd name="connsiteX2" fmla="*/ 26183 w 26879"/>
                    <a:gd name="connsiteY2" fmla="*/ 9108 h 26436"/>
                    <a:gd name="connsiteX3" fmla="*/ 17589 w 26879"/>
                    <a:gd name="connsiteY3" fmla="*/ 25799 h 26436"/>
                    <a:gd name="connsiteX4" fmla="*/ 649 w 26879"/>
                    <a:gd name="connsiteY4" fmla="*/ 17205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8" h="26436">
                      <a:moveTo>
                        <a:pt x="649" y="17205"/>
                      </a:moveTo>
                      <a:cubicBezTo>
                        <a:pt x="-1593" y="10229"/>
                        <a:pt x="2144" y="2756"/>
                        <a:pt x="9243" y="639"/>
                      </a:cubicBezTo>
                      <a:cubicBezTo>
                        <a:pt x="16219" y="-1604"/>
                        <a:pt x="23816" y="2258"/>
                        <a:pt x="26183" y="9108"/>
                      </a:cubicBezTo>
                      <a:cubicBezTo>
                        <a:pt x="28550" y="16084"/>
                        <a:pt x="24688" y="23557"/>
                        <a:pt x="17589" y="25799"/>
                      </a:cubicBezTo>
                      <a:cubicBezTo>
                        <a:pt x="10489" y="28041"/>
                        <a:pt x="2891" y="24180"/>
                        <a:pt x="649" y="17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3" name="Freeform 7108">
                  <a:extLst>
                    <a:ext uri="{FF2B5EF4-FFF2-40B4-BE49-F238E27FC236}">
                      <a16:creationId xmlns:a16="http://schemas.microsoft.com/office/drawing/2014/main" id="{D579F57B-1665-4259-1A47-BD791A8964FE}"/>
                    </a:ext>
                  </a:extLst>
                </p:cNvPr>
                <p:cNvSpPr/>
                <p:nvPr/>
              </p:nvSpPr>
              <p:spPr>
                <a:xfrm>
                  <a:off x="9138921" y="1427754"/>
                  <a:ext cx="15693" cy="49698"/>
                </a:xfrm>
                <a:custGeom>
                  <a:avLst/>
                  <a:gdLst>
                    <a:gd name="connsiteX0" fmla="*/ 0 w 15693"/>
                    <a:gd name="connsiteY0" fmla="*/ 0 h 49698"/>
                    <a:gd name="connsiteX1" fmla="*/ 3986 w 15693"/>
                    <a:gd name="connsiteY1" fmla="*/ 18310 h 49698"/>
                    <a:gd name="connsiteX2" fmla="*/ 12580 w 15693"/>
                    <a:gd name="connsiteY2" fmla="*/ 33506 h 49698"/>
                    <a:gd name="connsiteX3" fmla="*/ 15694 w 1569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3" h="49698">
                      <a:moveTo>
                        <a:pt x="0" y="0"/>
                      </a:moveTo>
                      <a:cubicBezTo>
                        <a:pt x="124" y="8345"/>
                        <a:pt x="2242" y="14449"/>
                        <a:pt x="3986" y="18310"/>
                      </a:cubicBezTo>
                      <a:cubicBezTo>
                        <a:pt x="6851" y="24662"/>
                        <a:pt x="9840" y="26904"/>
                        <a:pt x="12580" y="33506"/>
                      </a:cubicBezTo>
                      <a:cubicBezTo>
                        <a:pt x="15196" y="39858"/>
                        <a:pt x="15694" y="45713"/>
                        <a:pt x="15694"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4" name="Freeform 7109">
                  <a:extLst>
                    <a:ext uri="{FF2B5EF4-FFF2-40B4-BE49-F238E27FC236}">
                      <a16:creationId xmlns:a16="http://schemas.microsoft.com/office/drawing/2014/main" id="{F1403A9B-54DA-01C4-2EFB-2DB5ECC495A1}"/>
                    </a:ext>
                  </a:extLst>
                </p:cNvPr>
                <p:cNvSpPr/>
                <p:nvPr/>
              </p:nvSpPr>
              <p:spPr>
                <a:xfrm>
                  <a:off x="9144028" y="1420903"/>
                  <a:ext cx="17064" cy="49200"/>
                </a:xfrm>
                <a:custGeom>
                  <a:avLst/>
                  <a:gdLst>
                    <a:gd name="connsiteX0" fmla="*/ 17064 w 17064"/>
                    <a:gd name="connsiteY0" fmla="*/ 49200 h 49200"/>
                    <a:gd name="connsiteX1" fmla="*/ 9342 w 17064"/>
                    <a:gd name="connsiteY1" fmla="*/ 32011 h 49200"/>
                    <a:gd name="connsiteX2" fmla="*/ 7225 w 17064"/>
                    <a:gd name="connsiteY2" fmla="*/ 14822 h 49200"/>
                    <a:gd name="connsiteX3" fmla="*/ 0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49200"/>
                      </a:moveTo>
                      <a:cubicBezTo>
                        <a:pt x="12206" y="42350"/>
                        <a:pt x="10214" y="36246"/>
                        <a:pt x="9342" y="32011"/>
                      </a:cubicBezTo>
                      <a:cubicBezTo>
                        <a:pt x="7847" y="25161"/>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5" name="Freeform 7110">
                  <a:extLst>
                    <a:ext uri="{FF2B5EF4-FFF2-40B4-BE49-F238E27FC236}">
                      <a16:creationId xmlns:a16="http://schemas.microsoft.com/office/drawing/2014/main" id="{42F46072-A022-D677-3343-AD76AFBC0606}"/>
                    </a:ext>
                  </a:extLst>
                </p:cNvPr>
                <p:cNvSpPr/>
                <p:nvPr/>
              </p:nvSpPr>
              <p:spPr>
                <a:xfrm>
                  <a:off x="9126935" y="1406746"/>
                  <a:ext cx="26397" cy="26378"/>
                </a:xfrm>
                <a:custGeom>
                  <a:avLst/>
                  <a:gdLst>
                    <a:gd name="connsiteX0" fmla="*/ 25687 w 26397"/>
                    <a:gd name="connsiteY0" fmla="*/ 9175 h 26378"/>
                    <a:gd name="connsiteX1" fmla="*/ 17342 w 26397"/>
                    <a:gd name="connsiteY1" fmla="*/ 25741 h 26378"/>
                    <a:gd name="connsiteX2" fmla="*/ 651 w 26397"/>
                    <a:gd name="connsiteY2" fmla="*/ 17146 h 26378"/>
                    <a:gd name="connsiteX3" fmla="*/ 8996 w 26397"/>
                    <a:gd name="connsiteY3" fmla="*/ 580 h 26378"/>
                    <a:gd name="connsiteX4" fmla="*/ 25687 w 26397"/>
                    <a:gd name="connsiteY4" fmla="*/ 9175 h 26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377">
                      <a:moveTo>
                        <a:pt x="25687" y="9175"/>
                      </a:moveTo>
                      <a:cubicBezTo>
                        <a:pt x="28054" y="16150"/>
                        <a:pt x="24317" y="23623"/>
                        <a:pt x="17342" y="25741"/>
                      </a:cubicBezTo>
                      <a:cubicBezTo>
                        <a:pt x="10367" y="27983"/>
                        <a:pt x="2893" y="24122"/>
                        <a:pt x="651" y="17146"/>
                      </a:cubicBezTo>
                      <a:cubicBezTo>
                        <a:pt x="-1591" y="10171"/>
                        <a:pt x="2145" y="2822"/>
                        <a:pt x="8996" y="580"/>
                      </a:cubicBezTo>
                      <a:cubicBezTo>
                        <a:pt x="15972" y="-1537"/>
                        <a:pt x="23445" y="2324"/>
                        <a:pt x="25687" y="91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3" name="Graphic 2987">
                <a:extLst>
                  <a:ext uri="{FF2B5EF4-FFF2-40B4-BE49-F238E27FC236}">
                    <a16:creationId xmlns:a16="http://schemas.microsoft.com/office/drawing/2014/main" id="{3BF4D8DA-5E3B-D5EF-EF61-C5D4989C57CD}"/>
                  </a:ext>
                </a:extLst>
              </p:cNvPr>
              <p:cNvGrpSpPr/>
              <p:nvPr/>
            </p:nvGrpSpPr>
            <p:grpSpPr>
              <a:xfrm>
                <a:off x="9098911" y="1415533"/>
                <a:ext cx="64687" cy="142772"/>
                <a:chOff x="9098911" y="1415533"/>
                <a:chExt cx="64687" cy="142772"/>
              </a:xfrm>
              <a:grpFill/>
            </p:grpSpPr>
            <p:sp>
              <p:nvSpPr>
                <p:cNvPr id="6954" name="Freeform 7112">
                  <a:extLst>
                    <a:ext uri="{FF2B5EF4-FFF2-40B4-BE49-F238E27FC236}">
                      <a16:creationId xmlns:a16="http://schemas.microsoft.com/office/drawing/2014/main" id="{517668E5-D03E-68A9-5956-7455C91A6D38}"/>
                    </a:ext>
                  </a:extLst>
                </p:cNvPr>
                <p:cNvSpPr/>
                <p:nvPr/>
              </p:nvSpPr>
              <p:spPr>
                <a:xfrm>
                  <a:off x="9135914" y="1487542"/>
                  <a:ext cx="15586" cy="49698"/>
                </a:xfrm>
                <a:custGeom>
                  <a:avLst/>
                  <a:gdLst>
                    <a:gd name="connsiteX0" fmla="*/ 15587 w 15586"/>
                    <a:gd name="connsiteY0" fmla="*/ 49699 h 49698"/>
                    <a:gd name="connsiteX1" fmla="*/ 11602 w 15586"/>
                    <a:gd name="connsiteY1" fmla="*/ 31389 h 49698"/>
                    <a:gd name="connsiteX2" fmla="*/ 3007 w 15586"/>
                    <a:gd name="connsiteY2" fmla="*/ 16193 h 49698"/>
                    <a:gd name="connsiteX3" fmla="*/ 17 w 15586"/>
                    <a:gd name="connsiteY3" fmla="*/ 0 h 49698"/>
                  </a:gdLst>
                  <a:ahLst/>
                  <a:cxnLst>
                    <a:cxn ang="0">
                      <a:pos x="connsiteX0" y="connsiteY0"/>
                    </a:cxn>
                    <a:cxn ang="0">
                      <a:pos x="connsiteX1" y="connsiteY1"/>
                    </a:cxn>
                    <a:cxn ang="0">
                      <a:pos x="connsiteX2" y="connsiteY2"/>
                    </a:cxn>
                    <a:cxn ang="0">
                      <a:pos x="connsiteX3" y="connsiteY3"/>
                    </a:cxn>
                  </a:cxnLst>
                  <a:rect l="l" t="t" r="r" b="b"/>
                  <a:pathLst>
                    <a:path w="15586" h="49698">
                      <a:moveTo>
                        <a:pt x="15587" y="49699"/>
                      </a:moveTo>
                      <a:cubicBezTo>
                        <a:pt x="15463" y="41353"/>
                        <a:pt x="13470" y="35250"/>
                        <a:pt x="11602" y="31389"/>
                      </a:cubicBezTo>
                      <a:cubicBezTo>
                        <a:pt x="8736" y="25036"/>
                        <a:pt x="5747" y="22794"/>
                        <a:pt x="3007" y="16193"/>
                      </a:cubicBezTo>
                      <a:cubicBezTo>
                        <a:pt x="391" y="9840"/>
                        <a:pt x="-107" y="3986"/>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5" name="Freeform 7113">
                  <a:extLst>
                    <a:ext uri="{FF2B5EF4-FFF2-40B4-BE49-F238E27FC236}">
                      <a16:creationId xmlns:a16="http://schemas.microsoft.com/office/drawing/2014/main" id="{D7AF616C-3734-C2BB-4E56-E1E08C3674FD}"/>
                    </a:ext>
                  </a:extLst>
                </p:cNvPr>
                <p:cNvSpPr/>
                <p:nvPr/>
              </p:nvSpPr>
              <p:spPr>
                <a:xfrm>
                  <a:off x="9129455" y="1494766"/>
                  <a:ext cx="16814" cy="49449"/>
                </a:xfrm>
                <a:custGeom>
                  <a:avLst/>
                  <a:gdLst>
                    <a:gd name="connsiteX0" fmla="*/ 0 w 16814"/>
                    <a:gd name="connsiteY0" fmla="*/ 0 h 49449"/>
                    <a:gd name="connsiteX1" fmla="*/ 7723 w 16814"/>
                    <a:gd name="connsiteY1" fmla="*/ 17189 h 49449"/>
                    <a:gd name="connsiteX2" fmla="*/ 9715 w 16814"/>
                    <a:gd name="connsiteY2" fmla="*/ 34502 h 49449"/>
                    <a:gd name="connsiteX3" fmla="*/ 16815 w 16814"/>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814" h="49449">
                      <a:moveTo>
                        <a:pt x="0" y="0"/>
                      </a:moveTo>
                      <a:cubicBezTo>
                        <a:pt x="4858" y="6851"/>
                        <a:pt x="6851" y="12954"/>
                        <a:pt x="7723" y="17189"/>
                      </a:cubicBezTo>
                      <a:cubicBezTo>
                        <a:pt x="9092" y="24040"/>
                        <a:pt x="8096" y="27527"/>
                        <a:pt x="9715" y="34502"/>
                      </a:cubicBezTo>
                      <a:cubicBezTo>
                        <a:pt x="11334" y="41229"/>
                        <a:pt x="14448" y="46211"/>
                        <a:pt x="16815"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6" name="Freeform 7114">
                  <a:extLst>
                    <a:ext uri="{FF2B5EF4-FFF2-40B4-BE49-F238E27FC236}">
                      <a16:creationId xmlns:a16="http://schemas.microsoft.com/office/drawing/2014/main" id="{AC0CC52E-132F-A6F2-0B6E-26BAD5ECAFA3}"/>
                    </a:ext>
                  </a:extLst>
                </p:cNvPr>
                <p:cNvSpPr/>
                <p:nvPr/>
              </p:nvSpPr>
              <p:spPr>
                <a:xfrm>
                  <a:off x="9136789" y="1531869"/>
                  <a:ext cx="26809" cy="26435"/>
                </a:xfrm>
                <a:custGeom>
                  <a:avLst/>
                  <a:gdLst>
                    <a:gd name="connsiteX0" fmla="*/ 638 w 26809"/>
                    <a:gd name="connsiteY0" fmla="*/ 17204 h 26435"/>
                    <a:gd name="connsiteX1" fmla="*/ 9232 w 26809"/>
                    <a:gd name="connsiteY1" fmla="*/ 638 h 26435"/>
                    <a:gd name="connsiteX2" fmla="*/ 26172 w 26809"/>
                    <a:gd name="connsiteY2" fmla="*/ 9232 h 26435"/>
                    <a:gd name="connsiteX3" fmla="*/ 17578 w 26809"/>
                    <a:gd name="connsiteY3" fmla="*/ 25798 h 26435"/>
                    <a:gd name="connsiteX4" fmla="*/ 638 w 26809"/>
                    <a:gd name="connsiteY4" fmla="*/ 1720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9" h="26435">
                      <a:moveTo>
                        <a:pt x="638" y="17204"/>
                      </a:moveTo>
                      <a:cubicBezTo>
                        <a:pt x="-1605" y="10229"/>
                        <a:pt x="2256" y="2755"/>
                        <a:pt x="9232" y="638"/>
                      </a:cubicBezTo>
                      <a:cubicBezTo>
                        <a:pt x="16208" y="-1604"/>
                        <a:pt x="23805" y="2257"/>
                        <a:pt x="26172" y="9232"/>
                      </a:cubicBezTo>
                      <a:cubicBezTo>
                        <a:pt x="28414" y="16207"/>
                        <a:pt x="24553" y="23681"/>
                        <a:pt x="17578" y="25798"/>
                      </a:cubicBezTo>
                      <a:cubicBezTo>
                        <a:pt x="10478" y="28040"/>
                        <a:pt x="2880" y="24179"/>
                        <a:pt x="638" y="172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7" name="Freeform 7115">
                  <a:extLst>
                    <a:ext uri="{FF2B5EF4-FFF2-40B4-BE49-F238E27FC236}">
                      <a16:creationId xmlns:a16="http://schemas.microsoft.com/office/drawing/2014/main" id="{26EA2D29-107B-FAA1-C6FE-5FFE20DB38A6}"/>
                    </a:ext>
                  </a:extLst>
                </p:cNvPr>
                <p:cNvSpPr/>
                <p:nvPr/>
              </p:nvSpPr>
              <p:spPr>
                <a:xfrm>
                  <a:off x="9110896" y="1436598"/>
                  <a:ext cx="15586" cy="49698"/>
                </a:xfrm>
                <a:custGeom>
                  <a:avLst/>
                  <a:gdLst>
                    <a:gd name="connsiteX0" fmla="*/ 0 w 15586"/>
                    <a:gd name="connsiteY0" fmla="*/ 0 h 49698"/>
                    <a:gd name="connsiteX1" fmla="*/ 3986 w 15586"/>
                    <a:gd name="connsiteY1" fmla="*/ 18310 h 49698"/>
                    <a:gd name="connsiteX2" fmla="*/ 12580 w 15586"/>
                    <a:gd name="connsiteY2" fmla="*/ 33506 h 49698"/>
                    <a:gd name="connsiteX3" fmla="*/ 15570 w 15586"/>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86" h="49698">
                      <a:moveTo>
                        <a:pt x="0" y="0"/>
                      </a:moveTo>
                      <a:cubicBezTo>
                        <a:pt x="124" y="8345"/>
                        <a:pt x="2117" y="14449"/>
                        <a:pt x="3986" y="18310"/>
                      </a:cubicBezTo>
                      <a:cubicBezTo>
                        <a:pt x="6851" y="24662"/>
                        <a:pt x="9840" y="26904"/>
                        <a:pt x="12580" y="33506"/>
                      </a:cubicBezTo>
                      <a:cubicBezTo>
                        <a:pt x="15196" y="39858"/>
                        <a:pt x="15694" y="45713"/>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8" name="Freeform 7116">
                  <a:extLst>
                    <a:ext uri="{FF2B5EF4-FFF2-40B4-BE49-F238E27FC236}">
                      <a16:creationId xmlns:a16="http://schemas.microsoft.com/office/drawing/2014/main" id="{BD0C32BB-2D9C-BE6C-CBAA-69874579F3A3}"/>
                    </a:ext>
                  </a:extLst>
                </p:cNvPr>
                <p:cNvSpPr/>
                <p:nvPr/>
              </p:nvSpPr>
              <p:spPr>
                <a:xfrm>
                  <a:off x="9116002" y="1429622"/>
                  <a:ext cx="16939" cy="49449"/>
                </a:xfrm>
                <a:custGeom>
                  <a:avLst/>
                  <a:gdLst>
                    <a:gd name="connsiteX0" fmla="*/ 16940 w 16939"/>
                    <a:gd name="connsiteY0" fmla="*/ 49449 h 49449"/>
                    <a:gd name="connsiteX1" fmla="*/ 9217 w 16939"/>
                    <a:gd name="connsiteY1" fmla="*/ 32260 h 49449"/>
                    <a:gd name="connsiteX2" fmla="*/ 7100 w 16939"/>
                    <a:gd name="connsiteY2" fmla="*/ 14947 h 49449"/>
                    <a:gd name="connsiteX3" fmla="*/ 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16940" y="49449"/>
                      </a:moveTo>
                      <a:cubicBezTo>
                        <a:pt x="12082" y="42599"/>
                        <a:pt x="10089" y="36495"/>
                        <a:pt x="9217" y="32260"/>
                      </a:cubicBezTo>
                      <a:cubicBezTo>
                        <a:pt x="7847" y="25410"/>
                        <a:pt x="8844" y="21922"/>
                        <a:pt x="7100" y="14947"/>
                      </a:cubicBezTo>
                      <a:cubicBezTo>
                        <a:pt x="5481"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9" name="Freeform 7117">
                  <a:extLst>
                    <a:ext uri="{FF2B5EF4-FFF2-40B4-BE49-F238E27FC236}">
                      <a16:creationId xmlns:a16="http://schemas.microsoft.com/office/drawing/2014/main" id="{E2D40B10-6A00-1FF6-E190-CA57C4838415}"/>
                    </a:ext>
                  </a:extLst>
                </p:cNvPr>
                <p:cNvSpPr/>
                <p:nvPr/>
              </p:nvSpPr>
              <p:spPr>
                <a:xfrm>
                  <a:off x="9098911" y="1415533"/>
                  <a:ext cx="26460" cy="26435"/>
                </a:xfrm>
                <a:custGeom>
                  <a:avLst/>
                  <a:gdLst>
                    <a:gd name="connsiteX0" fmla="*/ 25811 w 26460"/>
                    <a:gd name="connsiteY0" fmla="*/ 9232 h 26435"/>
                    <a:gd name="connsiteX1" fmla="*/ 17341 w 26460"/>
                    <a:gd name="connsiteY1" fmla="*/ 25798 h 26435"/>
                    <a:gd name="connsiteX2" fmla="*/ 650 w 26460"/>
                    <a:gd name="connsiteY2" fmla="*/ 17204 h 26435"/>
                    <a:gd name="connsiteX3" fmla="*/ 9120 w 26460"/>
                    <a:gd name="connsiteY3" fmla="*/ 638 h 26435"/>
                    <a:gd name="connsiteX4" fmla="*/ 25811 w 26460"/>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 h="26435">
                      <a:moveTo>
                        <a:pt x="25811" y="9232"/>
                      </a:moveTo>
                      <a:cubicBezTo>
                        <a:pt x="28053" y="16207"/>
                        <a:pt x="24316" y="23556"/>
                        <a:pt x="17341" y="25798"/>
                      </a:cubicBezTo>
                      <a:cubicBezTo>
                        <a:pt x="10366" y="28040"/>
                        <a:pt x="2892" y="24179"/>
                        <a:pt x="650" y="17204"/>
                      </a:cubicBezTo>
                      <a:cubicBezTo>
                        <a:pt x="-1592" y="10229"/>
                        <a:pt x="2145" y="2880"/>
                        <a:pt x="9120" y="638"/>
                      </a:cubicBezTo>
                      <a:cubicBezTo>
                        <a:pt x="15971" y="-1604"/>
                        <a:pt x="23444" y="2257"/>
                        <a:pt x="25811"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4" name="Graphic 2987">
                <a:extLst>
                  <a:ext uri="{FF2B5EF4-FFF2-40B4-BE49-F238E27FC236}">
                    <a16:creationId xmlns:a16="http://schemas.microsoft.com/office/drawing/2014/main" id="{283BA064-FE98-CB42-0E36-A97C6992E368}"/>
                  </a:ext>
                </a:extLst>
              </p:cNvPr>
              <p:cNvGrpSpPr/>
              <p:nvPr/>
            </p:nvGrpSpPr>
            <p:grpSpPr>
              <a:xfrm>
                <a:off x="9070897" y="1424310"/>
                <a:ext cx="64176" cy="143030"/>
                <a:chOff x="9070897" y="1424310"/>
                <a:chExt cx="64176" cy="143030"/>
              </a:xfrm>
              <a:grpFill/>
            </p:grpSpPr>
            <p:sp>
              <p:nvSpPr>
                <p:cNvPr id="6948" name="Freeform 7119">
                  <a:extLst>
                    <a:ext uri="{FF2B5EF4-FFF2-40B4-BE49-F238E27FC236}">
                      <a16:creationId xmlns:a16="http://schemas.microsoft.com/office/drawing/2014/main" id="{924BD9C9-3055-3C03-90FC-436BA2E0F0FF}"/>
                    </a:ext>
                  </a:extLst>
                </p:cNvPr>
                <p:cNvSpPr/>
                <p:nvPr/>
              </p:nvSpPr>
              <p:spPr>
                <a:xfrm>
                  <a:off x="9107657" y="1496385"/>
                  <a:ext cx="15320" cy="49823"/>
                </a:xfrm>
                <a:custGeom>
                  <a:avLst/>
                  <a:gdLst>
                    <a:gd name="connsiteX0" fmla="*/ 15320 w 15320"/>
                    <a:gd name="connsiteY0" fmla="*/ 49823 h 49823"/>
                    <a:gd name="connsiteX1" fmla="*/ 11459 w 15320"/>
                    <a:gd name="connsiteY1" fmla="*/ 31389 h 49823"/>
                    <a:gd name="connsiteX2" fmla="*/ 2989 w 15320"/>
                    <a:gd name="connsiteY2" fmla="*/ 1619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0" y="49823"/>
                      </a:moveTo>
                      <a:cubicBezTo>
                        <a:pt x="15196" y="41478"/>
                        <a:pt x="13203" y="35374"/>
                        <a:pt x="11459" y="31389"/>
                      </a:cubicBezTo>
                      <a:cubicBezTo>
                        <a:pt x="8595" y="25036"/>
                        <a:pt x="5605" y="22794"/>
                        <a:pt x="2989" y="16192"/>
                      </a:cubicBezTo>
                      <a:cubicBezTo>
                        <a:pt x="373"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9" name="Freeform 7120">
                  <a:extLst>
                    <a:ext uri="{FF2B5EF4-FFF2-40B4-BE49-F238E27FC236}">
                      <a16:creationId xmlns:a16="http://schemas.microsoft.com/office/drawing/2014/main" id="{546D288C-BCC3-7863-4575-ACC3F221EA69}"/>
                    </a:ext>
                  </a:extLst>
                </p:cNvPr>
                <p:cNvSpPr/>
                <p:nvPr/>
              </p:nvSpPr>
              <p:spPr>
                <a:xfrm>
                  <a:off x="9101055" y="1503734"/>
                  <a:ext cx="16691" cy="49449"/>
                </a:xfrm>
                <a:custGeom>
                  <a:avLst/>
                  <a:gdLst>
                    <a:gd name="connsiteX0" fmla="*/ 0 w 16691"/>
                    <a:gd name="connsiteY0" fmla="*/ 0 h 49449"/>
                    <a:gd name="connsiteX1" fmla="*/ 7599 w 16691"/>
                    <a:gd name="connsiteY1" fmla="*/ 17189 h 49449"/>
                    <a:gd name="connsiteX2" fmla="*/ 9591 w 16691"/>
                    <a:gd name="connsiteY2" fmla="*/ 34502 h 49449"/>
                    <a:gd name="connsiteX3" fmla="*/ 16691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0" y="0"/>
                      </a:moveTo>
                      <a:cubicBezTo>
                        <a:pt x="4858" y="6851"/>
                        <a:pt x="6727" y="12954"/>
                        <a:pt x="7599" y="17189"/>
                      </a:cubicBezTo>
                      <a:cubicBezTo>
                        <a:pt x="8969" y="24040"/>
                        <a:pt x="7847" y="27527"/>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0" name="Freeform 7121">
                  <a:extLst>
                    <a:ext uri="{FF2B5EF4-FFF2-40B4-BE49-F238E27FC236}">
                      <a16:creationId xmlns:a16="http://schemas.microsoft.com/office/drawing/2014/main" id="{0BDAF89F-6696-7A7F-C0C9-EFCB1E42D2DB}"/>
                    </a:ext>
                  </a:extLst>
                </p:cNvPr>
                <p:cNvSpPr/>
                <p:nvPr/>
              </p:nvSpPr>
              <p:spPr>
                <a:xfrm>
                  <a:off x="9108266" y="1540838"/>
                  <a:ext cx="26807" cy="26503"/>
                </a:xfrm>
                <a:custGeom>
                  <a:avLst/>
                  <a:gdLst>
                    <a:gd name="connsiteX0" fmla="*/ 637 w 26807"/>
                    <a:gd name="connsiteY0" fmla="*/ 17328 h 26503"/>
                    <a:gd name="connsiteX1" fmla="*/ 9356 w 26807"/>
                    <a:gd name="connsiteY1" fmla="*/ 638 h 26503"/>
                    <a:gd name="connsiteX2" fmla="*/ 26171 w 26807"/>
                    <a:gd name="connsiteY2" fmla="*/ 9232 h 26503"/>
                    <a:gd name="connsiteX3" fmla="*/ 17452 w 26807"/>
                    <a:gd name="connsiteY3" fmla="*/ 25923 h 26503"/>
                    <a:gd name="connsiteX4" fmla="*/ 637 w 26807"/>
                    <a:gd name="connsiteY4" fmla="*/ 17328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3">
                      <a:moveTo>
                        <a:pt x="637" y="17328"/>
                      </a:moveTo>
                      <a:cubicBezTo>
                        <a:pt x="-1605" y="10353"/>
                        <a:pt x="2256" y="2880"/>
                        <a:pt x="9356" y="638"/>
                      </a:cubicBezTo>
                      <a:cubicBezTo>
                        <a:pt x="16331" y="-1604"/>
                        <a:pt x="23929" y="2257"/>
                        <a:pt x="26171" y="9232"/>
                      </a:cubicBezTo>
                      <a:cubicBezTo>
                        <a:pt x="28414" y="16207"/>
                        <a:pt x="24552" y="23681"/>
                        <a:pt x="17452" y="25923"/>
                      </a:cubicBezTo>
                      <a:cubicBezTo>
                        <a:pt x="10353" y="28040"/>
                        <a:pt x="2879" y="24179"/>
                        <a:pt x="637"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1" name="Freeform 7122">
                  <a:extLst>
                    <a:ext uri="{FF2B5EF4-FFF2-40B4-BE49-F238E27FC236}">
                      <a16:creationId xmlns:a16="http://schemas.microsoft.com/office/drawing/2014/main" id="{1DB41A7C-FC29-82C7-856B-B19BEE77E0E3}"/>
                    </a:ext>
                  </a:extLst>
                </p:cNvPr>
                <p:cNvSpPr/>
                <p:nvPr/>
              </p:nvSpPr>
              <p:spPr>
                <a:xfrm>
                  <a:off x="9082870" y="1445441"/>
                  <a:ext cx="15320" cy="49823"/>
                </a:xfrm>
                <a:custGeom>
                  <a:avLst/>
                  <a:gdLst>
                    <a:gd name="connsiteX0" fmla="*/ 0 w 15320"/>
                    <a:gd name="connsiteY0" fmla="*/ 0 h 49823"/>
                    <a:gd name="connsiteX1" fmla="*/ 3861 w 15320"/>
                    <a:gd name="connsiteY1" fmla="*/ 18435 h 49823"/>
                    <a:gd name="connsiteX2" fmla="*/ 12331 w 15320"/>
                    <a:gd name="connsiteY2" fmla="*/ 33631 h 49823"/>
                    <a:gd name="connsiteX3" fmla="*/ 1532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4" y="8345"/>
                        <a:pt x="2117" y="14449"/>
                        <a:pt x="3861" y="18435"/>
                      </a:cubicBezTo>
                      <a:cubicBezTo>
                        <a:pt x="6726" y="24787"/>
                        <a:pt x="9715" y="27029"/>
                        <a:pt x="12331" y="33631"/>
                      </a:cubicBezTo>
                      <a:cubicBezTo>
                        <a:pt x="14946" y="39983"/>
                        <a:pt x="15320" y="45962"/>
                        <a:pt x="1532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2" name="Freeform 7123">
                  <a:extLst>
                    <a:ext uri="{FF2B5EF4-FFF2-40B4-BE49-F238E27FC236}">
                      <a16:creationId xmlns:a16="http://schemas.microsoft.com/office/drawing/2014/main" id="{82A54E93-8A36-8727-E6E4-B51FA3F1177C}"/>
                    </a:ext>
                  </a:extLst>
                </p:cNvPr>
                <p:cNvSpPr/>
                <p:nvPr/>
              </p:nvSpPr>
              <p:spPr>
                <a:xfrm>
                  <a:off x="9087977" y="1438466"/>
                  <a:ext cx="16691" cy="49449"/>
                </a:xfrm>
                <a:custGeom>
                  <a:avLst/>
                  <a:gdLst>
                    <a:gd name="connsiteX0" fmla="*/ 16691 w 16691"/>
                    <a:gd name="connsiteY0" fmla="*/ 49449 h 49449"/>
                    <a:gd name="connsiteX1" fmla="*/ 9092 w 16691"/>
                    <a:gd name="connsiteY1" fmla="*/ 32260 h 49449"/>
                    <a:gd name="connsiteX2" fmla="*/ 7100 w 16691"/>
                    <a:gd name="connsiteY2" fmla="*/ 14947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1833" y="42599"/>
                        <a:pt x="9964" y="36495"/>
                        <a:pt x="9092" y="32260"/>
                      </a:cubicBezTo>
                      <a:cubicBezTo>
                        <a:pt x="7723" y="25410"/>
                        <a:pt x="8844"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3" name="Freeform 7124">
                  <a:extLst>
                    <a:ext uri="{FF2B5EF4-FFF2-40B4-BE49-F238E27FC236}">
                      <a16:creationId xmlns:a16="http://schemas.microsoft.com/office/drawing/2014/main" id="{0095C9BA-4FD0-307F-B92A-F6F2045B3FAB}"/>
                    </a:ext>
                  </a:extLst>
                </p:cNvPr>
                <p:cNvSpPr/>
                <p:nvPr/>
              </p:nvSpPr>
              <p:spPr>
                <a:xfrm>
                  <a:off x="9070897" y="1424310"/>
                  <a:ext cx="26324" cy="26490"/>
                </a:xfrm>
                <a:custGeom>
                  <a:avLst/>
                  <a:gdLst>
                    <a:gd name="connsiteX0" fmla="*/ 25675 w 26324"/>
                    <a:gd name="connsiteY0" fmla="*/ 9298 h 26490"/>
                    <a:gd name="connsiteX1" fmla="*/ 17205 w 26324"/>
                    <a:gd name="connsiteY1" fmla="*/ 25865 h 26490"/>
                    <a:gd name="connsiteX2" fmla="*/ 638 w 26324"/>
                    <a:gd name="connsiteY2" fmla="*/ 17146 h 26490"/>
                    <a:gd name="connsiteX3" fmla="*/ 9108 w 26324"/>
                    <a:gd name="connsiteY3" fmla="*/ 579 h 26490"/>
                    <a:gd name="connsiteX4" fmla="*/ 25675 w 2632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90">
                      <a:moveTo>
                        <a:pt x="25675" y="9298"/>
                      </a:moveTo>
                      <a:cubicBezTo>
                        <a:pt x="27917" y="16274"/>
                        <a:pt x="24180" y="23623"/>
                        <a:pt x="17205" y="25865"/>
                      </a:cubicBezTo>
                      <a:cubicBezTo>
                        <a:pt x="10230" y="28107"/>
                        <a:pt x="2880" y="24121"/>
                        <a:pt x="638" y="17146"/>
                      </a:cubicBezTo>
                      <a:cubicBezTo>
                        <a:pt x="-1603" y="10170"/>
                        <a:pt x="2258" y="2697"/>
                        <a:pt x="9108" y="579"/>
                      </a:cubicBezTo>
                      <a:cubicBezTo>
                        <a:pt x="16083" y="-1538"/>
                        <a:pt x="23433" y="2323"/>
                        <a:pt x="2567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5" name="Graphic 2987">
                <a:extLst>
                  <a:ext uri="{FF2B5EF4-FFF2-40B4-BE49-F238E27FC236}">
                    <a16:creationId xmlns:a16="http://schemas.microsoft.com/office/drawing/2014/main" id="{4432F71B-DEAE-7E7B-4A39-54ECB10C2602}"/>
                  </a:ext>
                </a:extLst>
              </p:cNvPr>
              <p:cNvGrpSpPr/>
              <p:nvPr/>
            </p:nvGrpSpPr>
            <p:grpSpPr>
              <a:xfrm>
                <a:off x="9042871" y="1433153"/>
                <a:ext cx="63667" cy="143212"/>
                <a:chOff x="9042871" y="1433153"/>
                <a:chExt cx="63667" cy="143212"/>
              </a:xfrm>
              <a:grpFill/>
            </p:grpSpPr>
            <p:sp>
              <p:nvSpPr>
                <p:cNvPr id="6942" name="Freeform 7126">
                  <a:extLst>
                    <a:ext uri="{FF2B5EF4-FFF2-40B4-BE49-F238E27FC236}">
                      <a16:creationId xmlns:a16="http://schemas.microsoft.com/office/drawing/2014/main" id="{2E489D17-8C07-6D39-4C52-F4886431D59D}"/>
                    </a:ext>
                  </a:extLst>
                </p:cNvPr>
                <p:cNvSpPr/>
                <p:nvPr/>
              </p:nvSpPr>
              <p:spPr>
                <a:xfrm>
                  <a:off x="9079361" y="1505354"/>
                  <a:ext cx="15092" cy="49823"/>
                </a:xfrm>
                <a:custGeom>
                  <a:avLst/>
                  <a:gdLst>
                    <a:gd name="connsiteX0" fmla="*/ 15093 w 15092"/>
                    <a:gd name="connsiteY0" fmla="*/ 49823 h 49823"/>
                    <a:gd name="connsiteX1" fmla="*/ 11356 w 15092"/>
                    <a:gd name="connsiteY1" fmla="*/ 31389 h 49823"/>
                    <a:gd name="connsiteX2" fmla="*/ 2885 w 15092"/>
                    <a:gd name="connsiteY2" fmla="*/ 16193 h 49823"/>
                    <a:gd name="connsiteX3" fmla="*/ 21 w 15092"/>
                    <a:gd name="connsiteY3" fmla="*/ 0 h 49823"/>
                  </a:gdLst>
                  <a:ahLst/>
                  <a:cxnLst>
                    <a:cxn ang="0">
                      <a:pos x="connsiteX0" y="connsiteY0"/>
                    </a:cxn>
                    <a:cxn ang="0">
                      <a:pos x="connsiteX1" y="connsiteY1"/>
                    </a:cxn>
                    <a:cxn ang="0">
                      <a:pos x="connsiteX2" y="connsiteY2"/>
                    </a:cxn>
                    <a:cxn ang="0">
                      <a:pos x="connsiteX3" y="connsiteY3"/>
                    </a:cxn>
                  </a:cxnLst>
                  <a:rect l="l" t="t" r="r" b="b"/>
                  <a:pathLst>
                    <a:path w="15092" h="49823">
                      <a:moveTo>
                        <a:pt x="15093" y="49823"/>
                      </a:moveTo>
                      <a:cubicBezTo>
                        <a:pt x="15093" y="41353"/>
                        <a:pt x="13099" y="35374"/>
                        <a:pt x="11356" y="31389"/>
                      </a:cubicBezTo>
                      <a:cubicBezTo>
                        <a:pt x="8491" y="25036"/>
                        <a:pt x="5501" y="22794"/>
                        <a:pt x="2885" y="16193"/>
                      </a:cubicBezTo>
                      <a:cubicBezTo>
                        <a:pt x="270" y="9716"/>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3" name="Freeform 7127">
                  <a:extLst>
                    <a:ext uri="{FF2B5EF4-FFF2-40B4-BE49-F238E27FC236}">
                      <a16:creationId xmlns:a16="http://schemas.microsoft.com/office/drawing/2014/main" id="{014420FE-E4BC-3F1D-63BA-3BAD3A0FCB05}"/>
                    </a:ext>
                  </a:extLst>
                </p:cNvPr>
                <p:cNvSpPr/>
                <p:nvPr/>
              </p:nvSpPr>
              <p:spPr>
                <a:xfrm>
                  <a:off x="9072781" y="1512702"/>
                  <a:ext cx="16440" cy="49449"/>
                </a:xfrm>
                <a:custGeom>
                  <a:avLst/>
                  <a:gdLst>
                    <a:gd name="connsiteX0" fmla="*/ 0 w 16440"/>
                    <a:gd name="connsiteY0" fmla="*/ 0 h 49449"/>
                    <a:gd name="connsiteX1" fmla="*/ 7598 w 16440"/>
                    <a:gd name="connsiteY1" fmla="*/ 17189 h 49449"/>
                    <a:gd name="connsiteX2" fmla="*/ 9466 w 16440"/>
                    <a:gd name="connsiteY2" fmla="*/ 34502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4857" y="6975"/>
                        <a:pt x="6726" y="12954"/>
                        <a:pt x="7598" y="17189"/>
                      </a:cubicBezTo>
                      <a:cubicBezTo>
                        <a:pt x="8968" y="24040"/>
                        <a:pt x="7847" y="27652"/>
                        <a:pt x="9466" y="34502"/>
                      </a:cubicBezTo>
                      <a:cubicBezTo>
                        <a:pt x="11085" y="41229"/>
                        <a:pt x="14199" y="46211"/>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4" name="Freeform 7128">
                  <a:extLst>
                    <a:ext uri="{FF2B5EF4-FFF2-40B4-BE49-F238E27FC236}">
                      <a16:creationId xmlns:a16="http://schemas.microsoft.com/office/drawing/2014/main" id="{B13EF084-A567-7170-78AC-B28034000B80}"/>
                    </a:ext>
                  </a:extLst>
                </p:cNvPr>
                <p:cNvSpPr/>
                <p:nvPr/>
              </p:nvSpPr>
              <p:spPr>
                <a:xfrm>
                  <a:off x="9079753" y="1549806"/>
                  <a:ext cx="26785" cy="26560"/>
                </a:xfrm>
                <a:custGeom>
                  <a:avLst/>
                  <a:gdLst>
                    <a:gd name="connsiteX0" fmla="*/ 626 w 26785"/>
                    <a:gd name="connsiteY0" fmla="*/ 17328 h 26560"/>
                    <a:gd name="connsiteX1" fmla="*/ 9345 w 26785"/>
                    <a:gd name="connsiteY1" fmla="*/ 638 h 26560"/>
                    <a:gd name="connsiteX2" fmla="*/ 26160 w 26785"/>
                    <a:gd name="connsiteY2" fmla="*/ 9232 h 26560"/>
                    <a:gd name="connsiteX3" fmla="*/ 17441 w 26785"/>
                    <a:gd name="connsiteY3" fmla="*/ 25923 h 26560"/>
                    <a:gd name="connsiteX4" fmla="*/ 626 w 26785"/>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5" h="26560">
                      <a:moveTo>
                        <a:pt x="626" y="17328"/>
                      </a:moveTo>
                      <a:cubicBezTo>
                        <a:pt x="-1616" y="10353"/>
                        <a:pt x="2370" y="2880"/>
                        <a:pt x="9345" y="638"/>
                      </a:cubicBezTo>
                      <a:cubicBezTo>
                        <a:pt x="16320" y="-1604"/>
                        <a:pt x="23918" y="2257"/>
                        <a:pt x="26160" y="9232"/>
                      </a:cubicBezTo>
                      <a:cubicBezTo>
                        <a:pt x="28402" y="16207"/>
                        <a:pt x="24416" y="23681"/>
                        <a:pt x="17441" y="25923"/>
                      </a:cubicBezTo>
                      <a:cubicBezTo>
                        <a:pt x="10341" y="28165"/>
                        <a:pt x="2743" y="24304"/>
                        <a:pt x="626"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5" name="Freeform 7129">
                  <a:extLst>
                    <a:ext uri="{FF2B5EF4-FFF2-40B4-BE49-F238E27FC236}">
                      <a16:creationId xmlns:a16="http://schemas.microsoft.com/office/drawing/2014/main" id="{3C959340-D46B-1465-73AB-35D7541ACDE3}"/>
                    </a:ext>
                  </a:extLst>
                </p:cNvPr>
                <p:cNvSpPr/>
                <p:nvPr/>
              </p:nvSpPr>
              <p:spPr>
                <a:xfrm>
                  <a:off x="9054720" y="1454285"/>
                  <a:ext cx="15091" cy="49823"/>
                </a:xfrm>
                <a:custGeom>
                  <a:avLst/>
                  <a:gdLst>
                    <a:gd name="connsiteX0" fmla="*/ 0 w 15091"/>
                    <a:gd name="connsiteY0" fmla="*/ 0 h 49823"/>
                    <a:gd name="connsiteX1" fmla="*/ 3737 w 15091"/>
                    <a:gd name="connsiteY1" fmla="*/ 18435 h 49823"/>
                    <a:gd name="connsiteX2" fmla="*/ 12206 w 15091"/>
                    <a:gd name="connsiteY2" fmla="*/ 33631 h 49823"/>
                    <a:gd name="connsiteX3" fmla="*/ 15071 w 15091"/>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091" h="49823">
                      <a:moveTo>
                        <a:pt x="0" y="0"/>
                      </a:moveTo>
                      <a:cubicBezTo>
                        <a:pt x="125" y="8345"/>
                        <a:pt x="1993" y="14449"/>
                        <a:pt x="3737" y="18435"/>
                      </a:cubicBezTo>
                      <a:cubicBezTo>
                        <a:pt x="6601" y="24787"/>
                        <a:pt x="9467" y="27154"/>
                        <a:pt x="12206" y="33631"/>
                      </a:cubicBezTo>
                      <a:cubicBezTo>
                        <a:pt x="14822" y="40108"/>
                        <a:pt x="15196" y="45962"/>
                        <a:pt x="1507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6" name="Freeform 7130">
                  <a:extLst>
                    <a:ext uri="{FF2B5EF4-FFF2-40B4-BE49-F238E27FC236}">
                      <a16:creationId xmlns:a16="http://schemas.microsoft.com/office/drawing/2014/main" id="{A6FAB5CF-8107-F2E3-664C-365C722DDFF2}"/>
                    </a:ext>
                  </a:extLst>
                </p:cNvPr>
                <p:cNvSpPr/>
                <p:nvPr/>
              </p:nvSpPr>
              <p:spPr>
                <a:xfrm>
                  <a:off x="9059827" y="1447434"/>
                  <a:ext cx="16566" cy="49449"/>
                </a:xfrm>
                <a:custGeom>
                  <a:avLst/>
                  <a:gdLst>
                    <a:gd name="connsiteX0" fmla="*/ 16566 w 16566"/>
                    <a:gd name="connsiteY0" fmla="*/ 49449 h 49449"/>
                    <a:gd name="connsiteX1" fmla="*/ 8969 w 16566"/>
                    <a:gd name="connsiteY1" fmla="*/ 32260 h 49449"/>
                    <a:gd name="connsiteX2" fmla="*/ 6975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1" y="36495"/>
                        <a:pt x="8969" y="32260"/>
                      </a:cubicBezTo>
                      <a:cubicBezTo>
                        <a:pt x="7598" y="25410"/>
                        <a:pt x="8719" y="21798"/>
                        <a:pt x="6975" y="14947"/>
                      </a:cubicBezTo>
                      <a:cubicBezTo>
                        <a:pt x="5356"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7" name="Freeform 7131">
                  <a:extLst>
                    <a:ext uri="{FF2B5EF4-FFF2-40B4-BE49-F238E27FC236}">
                      <a16:creationId xmlns:a16="http://schemas.microsoft.com/office/drawing/2014/main" id="{CF9E0230-DD76-127D-3E00-651C0C89A7EB}"/>
                    </a:ext>
                  </a:extLst>
                </p:cNvPr>
                <p:cNvSpPr/>
                <p:nvPr/>
              </p:nvSpPr>
              <p:spPr>
                <a:xfrm>
                  <a:off x="9042871" y="1433153"/>
                  <a:ext cx="26313" cy="26444"/>
                </a:xfrm>
                <a:custGeom>
                  <a:avLst/>
                  <a:gdLst>
                    <a:gd name="connsiteX0" fmla="*/ 25675 w 26313"/>
                    <a:gd name="connsiteY0" fmla="*/ 9299 h 26444"/>
                    <a:gd name="connsiteX1" fmla="*/ 17205 w 26313"/>
                    <a:gd name="connsiteY1" fmla="*/ 25865 h 26444"/>
                    <a:gd name="connsiteX2" fmla="*/ 638 w 26313"/>
                    <a:gd name="connsiteY2" fmla="*/ 17146 h 26444"/>
                    <a:gd name="connsiteX3" fmla="*/ 9108 w 26313"/>
                    <a:gd name="connsiteY3" fmla="*/ 579 h 26444"/>
                    <a:gd name="connsiteX4" fmla="*/ 25675 w 26313"/>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3" h="26444">
                      <a:moveTo>
                        <a:pt x="25675" y="9299"/>
                      </a:moveTo>
                      <a:cubicBezTo>
                        <a:pt x="27917" y="16274"/>
                        <a:pt x="24055" y="23747"/>
                        <a:pt x="17205" y="25865"/>
                      </a:cubicBezTo>
                      <a:cubicBezTo>
                        <a:pt x="10354" y="27982"/>
                        <a:pt x="2880" y="24121"/>
                        <a:pt x="638" y="17146"/>
                      </a:cubicBezTo>
                      <a:cubicBezTo>
                        <a:pt x="-1603" y="10170"/>
                        <a:pt x="2258" y="2697"/>
                        <a:pt x="9108" y="579"/>
                      </a:cubicBezTo>
                      <a:cubicBezTo>
                        <a:pt x="16083" y="-1538"/>
                        <a:pt x="23433" y="2323"/>
                        <a:pt x="2567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6" name="Graphic 2987">
                <a:extLst>
                  <a:ext uri="{FF2B5EF4-FFF2-40B4-BE49-F238E27FC236}">
                    <a16:creationId xmlns:a16="http://schemas.microsoft.com/office/drawing/2014/main" id="{B4438979-BE41-6881-50E9-AF466E87A09E}"/>
                  </a:ext>
                </a:extLst>
              </p:cNvPr>
              <p:cNvGrpSpPr/>
              <p:nvPr/>
            </p:nvGrpSpPr>
            <p:grpSpPr>
              <a:xfrm>
                <a:off x="9014769" y="1441997"/>
                <a:ext cx="63245" cy="143337"/>
                <a:chOff x="9014769" y="1441997"/>
                <a:chExt cx="63245" cy="143337"/>
              </a:xfrm>
              <a:grpFill/>
            </p:grpSpPr>
            <p:sp>
              <p:nvSpPr>
                <p:cNvPr id="6936" name="Freeform 7133">
                  <a:extLst>
                    <a:ext uri="{FF2B5EF4-FFF2-40B4-BE49-F238E27FC236}">
                      <a16:creationId xmlns:a16="http://schemas.microsoft.com/office/drawing/2014/main" id="{606BD7B5-8EE5-3CE5-E567-8DA81F03D5B8}"/>
                    </a:ext>
                  </a:extLst>
                </p:cNvPr>
                <p:cNvSpPr/>
                <p:nvPr/>
              </p:nvSpPr>
              <p:spPr>
                <a:xfrm>
                  <a:off x="9050983" y="1514197"/>
                  <a:ext cx="14946" cy="50072"/>
                </a:xfrm>
                <a:custGeom>
                  <a:avLst/>
                  <a:gdLst>
                    <a:gd name="connsiteX0" fmla="*/ 14946 w 14946"/>
                    <a:gd name="connsiteY0" fmla="*/ 50072 h 50072"/>
                    <a:gd name="connsiteX1" fmla="*/ 11210 w 14946"/>
                    <a:gd name="connsiteY1" fmla="*/ 31638 h 50072"/>
                    <a:gd name="connsiteX2" fmla="*/ 2865 w 14946"/>
                    <a:gd name="connsiteY2" fmla="*/ 16317 h 50072"/>
                    <a:gd name="connsiteX3" fmla="*/ 0 w 14946"/>
                    <a:gd name="connsiteY3" fmla="*/ 0 h 50072"/>
                  </a:gdLst>
                  <a:ahLst/>
                  <a:cxnLst>
                    <a:cxn ang="0">
                      <a:pos x="connsiteX0" y="connsiteY0"/>
                    </a:cxn>
                    <a:cxn ang="0">
                      <a:pos x="connsiteX1" y="connsiteY1"/>
                    </a:cxn>
                    <a:cxn ang="0">
                      <a:pos x="connsiteX2" y="connsiteY2"/>
                    </a:cxn>
                    <a:cxn ang="0">
                      <a:pos x="connsiteX3" y="connsiteY3"/>
                    </a:cxn>
                  </a:cxnLst>
                  <a:rect l="l" t="t" r="r" b="b"/>
                  <a:pathLst>
                    <a:path w="14946" h="50072">
                      <a:moveTo>
                        <a:pt x="14946" y="50072"/>
                      </a:moveTo>
                      <a:cubicBezTo>
                        <a:pt x="14946" y="41602"/>
                        <a:pt x="12954" y="35623"/>
                        <a:pt x="11210" y="31638"/>
                      </a:cubicBezTo>
                      <a:cubicBezTo>
                        <a:pt x="8345" y="25285"/>
                        <a:pt x="5481" y="22919"/>
                        <a:pt x="2865" y="16317"/>
                      </a:cubicBezTo>
                      <a:cubicBezTo>
                        <a:pt x="37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7" name="Freeform 7134">
                  <a:extLst>
                    <a:ext uri="{FF2B5EF4-FFF2-40B4-BE49-F238E27FC236}">
                      <a16:creationId xmlns:a16="http://schemas.microsoft.com/office/drawing/2014/main" id="{CDE192C6-46AE-BF5E-039C-9EB6B1BF6EEC}"/>
                    </a:ext>
                  </a:extLst>
                </p:cNvPr>
                <p:cNvSpPr/>
                <p:nvPr/>
              </p:nvSpPr>
              <p:spPr>
                <a:xfrm>
                  <a:off x="9044506" y="1521546"/>
                  <a:ext cx="16317" cy="49573"/>
                </a:xfrm>
                <a:custGeom>
                  <a:avLst/>
                  <a:gdLst>
                    <a:gd name="connsiteX0" fmla="*/ 0 w 16317"/>
                    <a:gd name="connsiteY0" fmla="*/ 0 h 49573"/>
                    <a:gd name="connsiteX1" fmla="*/ 7473 w 16317"/>
                    <a:gd name="connsiteY1" fmla="*/ 17314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1" y="12954"/>
                        <a:pt x="7473" y="17314"/>
                      </a:cubicBezTo>
                      <a:cubicBezTo>
                        <a:pt x="8844" y="24164"/>
                        <a:pt x="7723" y="27776"/>
                        <a:pt x="9342" y="34627"/>
                      </a:cubicBezTo>
                      <a:cubicBezTo>
                        <a:pt x="10961" y="41353"/>
                        <a:pt x="13950" y="46335"/>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8" name="Freeform 7135">
                  <a:extLst>
                    <a:ext uri="{FF2B5EF4-FFF2-40B4-BE49-F238E27FC236}">
                      <a16:creationId xmlns:a16="http://schemas.microsoft.com/office/drawing/2014/main" id="{6C2F36F4-A3CE-F768-50F2-81FED1EF8776}"/>
                    </a:ext>
                  </a:extLst>
                </p:cNvPr>
                <p:cNvSpPr/>
                <p:nvPr/>
              </p:nvSpPr>
              <p:spPr>
                <a:xfrm>
                  <a:off x="9051276" y="1558774"/>
                  <a:ext cx="26738" cy="26560"/>
                </a:xfrm>
                <a:custGeom>
                  <a:avLst/>
                  <a:gdLst>
                    <a:gd name="connsiteX0" fmla="*/ 579 w 26738"/>
                    <a:gd name="connsiteY0" fmla="*/ 17328 h 26560"/>
                    <a:gd name="connsiteX1" fmla="*/ 9422 w 26738"/>
                    <a:gd name="connsiteY1" fmla="*/ 638 h 26560"/>
                    <a:gd name="connsiteX2" fmla="*/ 26114 w 26738"/>
                    <a:gd name="connsiteY2" fmla="*/ 9232 h 26560"/>
                    <a:gd name="connsiteX3" fmla="*/ 17270 w 26738"/>
                    <a:gd name="connsiteY3" fmla="*/ 25923 h 26560"/>
                    <a:gd name="connsiteX4" fmla="*/ 579 w 26738"/>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60">
                      <a:moveTo>
                        <a:pt x="579" y="17328"/>
                      </a:moveTo>
                      <a:cubicBezTo>
                        <a:pt x="-1539" y="10353"/>
                        <a:pt x="2323" y="2880"/>
                        <a:pt x="9422" y="638"/>
                      </a:cubicBezTo>
                      <a:cubicBezTo>
                        <a:pt x="16398" y="-1604"/>
                        <a:pt x="23995" y="2257"/>
                        <a:pt x="26114" y="9232"/>
                      </a:cubicBezTo>
                      <a:cubicBezTo>
                        <a:pt x="28355" y="16207"/>
                        <a:pt x="24370" y="23681"/>
                        <a:pt x="17270" y="25923"/>
                      </a:cubicBezTo>
                      <a:cubicBezTo>
                        <a:pt x="10170" y="28165"/>
                        <a:pt x="2697" y="24304"/>
                        <a:pt x="579"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9" name="Freeform 7136">
                  <a:extLst>
                    <a:ext uri="{FF2B5EF4-FFF2-40B4-BE49-F238E27FC236}">
                      <a16:creationId xmlns:a16="http://schemas.microsoft.com/office/drawing/2014/main" id="{195EA039-C6D1-93EC-BE1F-98FD04828ABD}"/>
                    </a:ext>
                  </a:extLst>
                </p:cNvPr>
                <p:cNvSpPr/>
                <p:nvPr/>
              </p:nvSpPr>
              <p:spPr>
                <a:xfrm>
                  <a:off x="9026695" y="1463128"/>
                  <a:ext cx="14947" cy="50072"/>
                </a:xfrm>
                <a:custGeom>
                  <a:avLst/>
                  <a:gdLst>
                    <a:gd name="connsiteX0" fmla="*/ 0 w 14947"/>
                    <a:gd name="connsiteY0" fmla="*/ 0 h 50072"/>
                    <a:gd name="connsiteX1" fmla="*/ 3737 w 14947"/>
                    <a:gd name="connsiteY1" fmla="*/ 18435 h 50072"/>
                    <a:gd name="connsiteX2" fmla="*/ 12082 w 14947"/>
                    <a:gd name="connsiteY2" fmla="*/ 33755 h 50072"/>
                    <a:gd name="connsiteX3" fmla="*/ 14947 w 1494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7" h="50072">
                      <a:moveTo>
                        <a:pt x="0" y="0"/>
                      </a:moveTo>
                      <a:cubicBezTo>
                        <a:pt x="0" y="8470"/>
                        <a:pt x="1993" y="14449"/>
                        <a:pt x="3737" y="18435"/>
                      </a:cubicBezTo>
                      <a:cubicBezTo>
                        <a:pt x="6601" y="24787"/>
                        <a:pt x="9467" y="27154"/>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0" name="Freeform 7137">
                  <a:extLst>
                    <a:ext uri="{FF2B5EF4-FFF2-40B4-BE49-F238E27FC236}">
                      <a16:creationId xmlns:a16="http://schemas.microsoft.com/office/drawing/2014/main" id="{FE8241D8-B85E-8CCE-68BB-1D220922750D}"/>
                    </a:ext>
                  </a:extLst>
                </p:cNvPr>
                <p:cNvSpPr/>
                <p:nvPr/>
              </p:nvSpPr>
              <p:spPr>
                <a:xfrm>
                  <a:off x="9031801" y="1456278"/>
                  <a:ext cx="16317" cy="49449"/>
                </a:xfrm>
                <a:custGeom>
                  <a:avLst/>
                  <a:gdLst>
                    <a:gd name="connsiteX0" fmla="*/ 16317 w 16317"/>
                    <a:gd name="connsiteY0" fmla="*/ 49449 h 49449"/>
                    <a:gd name="connsiteX1" fmla="*/ 8844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716" y="36495"/>
                        <a:pt x="8844" y="32260"/>
                      </a:cubicBezTo>
                      <a:cubicBezTo>
                        <a:pt x="7474" y="25410"/>
                        <a:pt x="8595" y="21798"/>
                        <a:pt x="6975" y="14947"/>
                      </a:cubicBezTo>
                      <a:cubicBezTo>
                        <a:pt x="5356"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1" name="Freeform 7138">
                  <a:extLst>
                    <a:ext uri="{FF2B5EF4-FFF2-40B4-BE49-F238E27FC236}">
                      <a16:creationId xmlns:a16="http://schemas.microsoft.com/office/drawing/2014/main" id="{5B2A17E9-F440-9433-30F9-8A737FCB3330}"/>
                    </a:ext>
                  </a:extLst>
                </p:cNvPr>
                <p:cNvSpPr/>
                <p:nvPr/>
              </p:nvSpPr>
              <p:spPr>
                <a:xfrm>
                  <a:off x="9014769" y="1441997"/>
                  <a:ext cx="26389" cy="26490"/>
                </a:xfrm>
                <a:custGeom>
                  <a:avLst/>
                  <a:gdLst>
                    <a:gd name="connsiteX0" fmla="*/ 25752 w 26389"/>
                    <a:gd name="connsiteY0" fmla="*/ 9298 h 26490"/>
                    <a:gd name="connsiteX1" fmla="*/ 17157 w 26389"/>
                    <a:gd name="connsiteY1" fmla="*/ 25865 h 26490"/>
                    <a:gd name="connsiteX2" fmla="*/ 591 w 26389"/>
                    <a:gd name="connsiteY2" fmla="*/ 17146 h 26490"/>
                    <a:gd name="connsiteX3" fmla="*/ 9185 w 26389"/>
                    <a:gd name="connsiteY3" fmla="*/ 579 h 26490"/>
                    <a:gd name="connsiteX4" fmla="*/ 25752 w 26389"/>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90">
                      <a:moveTo>
                        <a:pt x="25752" y="9298"/>
                      </a:moveTo>
                      <a:cubicBezTo>
                        <a:pt x="27994" y="16274"/>
                        <a:pt x="24132" y="23747"/>
                        <a:pt x="17157" y="25865"/>
                      </a:cubicBezTo>
                      <a:cubicBezTo>
                        <a:pt x="10182" y="28107"/>
                        <a:pt x="2833" y="24121"/>
                        <a:pt x="591" y="17146"/>
                      </a:cubicBezTo>
                      <a:cubicBezTo>
                        <a:pt x="-1526" y="10170"/>
                        <a:pt x="2210" y="2697"/>
                        <a:pt x="9185" y="579"/>
                      </a:cubicBezTo>
                      <a:cubicBezTo>
                        <a:pt x="16161" y="-1538"/>
                        <a:pt x="23634" y="2323"/>
                        <a:pt x="25752"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7" name="Graphic 2987">
                <a:extLst>
                  <a:ext uri="{FF2B5EF4-FFF2-40B4-BE49-F238E27FC236}">
                    <a16:creationId xmlns:a16="http://schemas.microsoft.com/office/drawing/2014/main" id="{348D87A7-FF72-291D-01E3-5F17F9AA4CEE}"/>
                  </a:ext>
                </a:extLst>
              </p:cNvPr>
              <p:cNvGrpSpPr/>
              <p:nvPr/>
            </p:nvGrpSpPr>
            <p:grpSpPr>
              <a:xfrm>
                <a:off x="8986878" y="1450841"/>
                <a:ext cx="62565" cy="143461"/>
                <a:chOff x="8986878" y="1450841"/>
                <a:chExt cx="62565" cy="143461"/>
              </a:xfrm>
              <a:grpFill/>
            </p:grpSpPr>
            <p:sp>
              <p:nvSpPr>
                <p:cNvPr id="6930" name="Freeform 7140">
                  <a:extLst>
                    <a:ext uri="{FF2B5EF4-FFF2-40B4-BE49-F238E27FC236}">
                      <a16:creationId xmlns:a16="http://schemas.microsoft.com/office/drawing/2014/main" id="{99F3EB0D-8329-D8FD-3FF5-457A3274BD3E}"/>
                    </a:ext>
                  </a:extLst>
                </p:cNvPr>
                <p:cNvSpPr/>
                <p:nvPr/>
              </p:nvSpPr>
              <p:spPr>
                <a:xfrm>
                  <a:off x="9022688" y="1523165"/>
                  <a:ext cx="14718" cy="50072"/>
                </a:xfrm>
                <a:custGeom>
                  <a:avLst/>
                  <a:gdLst>
                    <a:gd name="connsiteX0" fmla="*/ 14719 w 14718"/>
                    <a:gd name="connsiteY0" fmla="*/ 50072 h 50072"/>
                    <a:gd name="connsiteX1" fmla="*/ 11107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4"/>
                        <a:pt x="11107" y="31638"/>
                      </a:cubicBezTo>
                      <a:cubicBezTo>
                        <a:pt x="8241" y="25285"/>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1" name="Freeform 7141">
                  <a:extLst>
                    <a:ext uri="{FF2B5EF4-FFF2-40B4-BE49-F238E27FC236}">
                      <a16:creationId xmlns:a16="http://schemas.microsoft.com/office/drawing/2014/main" id="{CE68D19B-3E94-F4D6-29CD-29DDAE095E1F}"/>
                    </a:ext>
                  </a:extLst>
                </p:cNvPr>
                <p:cNvSpPr/>
                <p:nvPr/>
              </p:nvSpPr>
              <p:spPr>
                <a:xfrm>
                  <a:off x="9016107" y="1530514"/>
                  <a:ext cx="15943" cy="49573"/>
                </a:xfrm>
                <a:custGeom>
                  <a:avLst/>
                  <a:gdLst>
                    <a:gd name="connsiteX0" fmla="*/ 0 w 15943"/>
                    <a:gd name="connsiteY0" fmla="*/ 0 h 49573"/>
                    <a:gd name="connsiteX1" fmla="*/ 7349 w 15943"/>
                    <a:gd name="connsiteY1" fmla="*/ 17314 h 49573"/>
                    <a:gd name="connsiteX2" fmla="*/ 9093 w 15943"/>
                    <a:gd name="connsiteY2" fmla="*/ 34627 h 49573"/>
                    <a:gd name="connsiteX3" fmla="*/ 15944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2954"/>
                        <a:pt x="7349" y="17314"/>
                      </a:cubicBezTo>
                      <a:cubicBezTo>
                        <a:pt x="8595" y="24164"/>
                        <a:pt x="7474" y="27776"/>
                        <a:pt x="9093" y="34627"/>
                      </a:cubicBezTo>
                      <a:cubicBezTo>
                        <a:pt x="10588" y="41353"/>
                        <a:pt x="13702" y="46460"/>
                        <a:pt x="15944"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2" name="Freeform 7142">
                  <a:extLst>
                    <a:ext uri="{FF2B5EF4-FFF2-40B4-BE49-F238E27FC236}">
                      <a16:creationId xmlns:a16="http://schemas.microsoft.com/office/drawing/2014/main" id="{1FDF863B-02C9-D99E-F295-99A14EDD63EB}"/>
                    </a:ext>
                  </a:extLst>
                </p:cNvPr>
                <p:cNvSpPr/>
                <p:nvPr/>
              </p:nvSpPr>
              <p:spPr>
                <a:xfrm>
                  <a:off x="9022763" y="1567742"/>
                  <a:ext cx="26681" cy="26560"/>
                </a:xfrm>
                <a:custGeom>
                  <a:avLst/>
                  <a:gdLst>
                    <a:gd name="connsiteX0" fmla="*/ 568 w 26681"/>
                    <a:gd name="connsiteY0" fmla="*/ 17328 h 26560"/>
                    <a:gd name="connsiteX1" fmla="*/ 9412 w 26681"/>
                    <a:gd name="connsiteY1" fmla="*/ 638 h 26560"/>
                    <a:gd name="connsiteX2" fmla="*/ 26102 w 26681"/>
                    <a:gd name="connsiteY2" fmla="*/ 9232 h 26560"/>
                    <a:gd name="connsiteX3" fmla="*/ 17259 w 26681"/>
                    <a:gd name="connsiteY3" fmla="*/ 25923 h 26560"/>
                    <a:gd name="connsiteX4" fmla="*/ 568 w 26681"/>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60">
                      <a:moveTo>
                        <a:pt x="568" y="17328"/>
                      </a:moveTo>
                      <a:cubicBezTo>
                        <a:pt x="-1549" y="10353"/>
                        <a:pt x="2437" y="2880"/>
                        <a:pt x="9412" y="638"/>
                      </a:cubicBezTo>
                      <a:cubicBezTo>
                        <a:pt x="16387" y="-1604"/>
                        <a:pt x="23861" y="2257"/>
                        <a:pt x="26102" y="9232"/>
                      </a:cubicBezTo>
                      <a:cubicBezTo>
                        <a:pt x="28221" y="16207"/>
                        <a:pt x="24359" y="23681"/>
                        <a:pt x="17259" y="25923"/>
                      </a:cubicBezTo>
                      <a:cubicBezTo>
                        <a:pt x="10159" y="28165"/>
                        <a:pt x="2686" y="24304"/>
                        <a:pt x="568"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3" name="Freeform 7143">
                  <a:extLst>
                    <a:ext uri="{FF2B5EF4-FFF2-40B4-BE49-F238E27FC236}">
                      <a16:creationId xmlns:a16="http://schemas.microsoft.com/office/drawing/2014/main" id="{A5269BA4-9807-CE0A-11DF-81B5DFF80C04}"/>
                    </a:ext>
                  </a:extLst>
                </p:cNvPr>
                <p:cNvSpPr/>
                <p:nvPr/>
              </p:nvSpPr>
              <p:spPr>
                <a:xfrm>
                  <a:off x="8998669" y="1471972"/>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3" y="24912"/>
                        <a:pt x="9342" y="27154"/>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4" name="Freeform 7144">
                  <a:extLst>
                    <a:ext uri="{FF2B5EF4-FFF2-40B4-BE49-F238E27FC236}">
                      <a16:creationId xmlns:a16="http://schemas.microsoft.com/office/drawing/2014/main" id="{1F54180C-820F-A4AF-9C3F-760C74612AA5}"/>
                    </a:ext>
                  </a:extLst>
                </p:cNvPr>
                <p:cNvSpPr/>
                <p:nvPr/>
              </p:nvSpPr>
              <p:spPr>
                <a:xfrm>
                  <a:off x="9003900" y="1465121"/>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342" y="36620"/>
                        <a:pt x="8595" y="32260"/>
                      </a:cubicBezTo>
                      <a:cubicBezTo>
                        <a:pt x="7225"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5" name="Freeform 7145">
                  <a:extLst>
                    <a:ext uri="{FF2B5EF4-FFF2-40B4-BE49-F238E27FC236}">
                      <a16:creationId xmlns:a16="http://schemas.microsoft.com/office/drawing/2014/main" id="{AC25EF00-8824-FF12-D1BC-FE15F5718241}"/>
                    </a:ext>
                  </a:extLst>
                </p:cNvPr>
                <p:cNvSpPr/>
                <p:nvPr/>
              </p:nvSpPr>
              <p:spPr>
                <a:xfrm>
                  <a:off x="8986878" y="1450841"/>
                  <a:ext cx="26196" cy="26490"/>
                </a:xfrm>
                <a:custGeom>
                  <a:avLst/>
                  <a:gdLst>
                    <a:gd name="connsiteX0" fmla="*/ 25616 w 26196"/>
                    <a:gd name="connsiteY0" fmla="*/ 9299 h 26490"/>
                    <a:gd name="connsiteX1" fmla="*/ 17022 w 26196"/>
                    <a:gd name="connsiteY1" fmla="*/ 25865 h 26490"/>
                    <a:gd name="connsiteX2" fmla="*/ 580 w 26196"/>
                    <a:gd name="connsiteY2" fmla="*/ 17146 h 26490"/>
                    <a:gd name="connsiteX3" fmla="*/ 9175 w 26196"/>
                    <a:gd name="connsiteY3" fmla="*/ 579 h 26490"/>
                    <a:gd name="connsiteX4" fmla="*/ 25616 w 26196"/>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90">
                      <a:moveTo>
                        <a:pt x="25616" y="9299"/>
                      </a:moveTo>
                      <a:cubicBezTo>
                        <a:pt x="27734" y="16274"/>
                        <a:pt x="23872" y="23747"/>
                        <a:pt x="17022" y="25865"/>
                      </a:cubicBezTo>
                      <a:cubicBezTo>
                        <a:pt x="10047" y="28107"/>
                        <a:pt x="2697" y="24121"/>
                        <a:pt x="580" y="17146"/>
                      </a:cubicBezTo>
                      <a:cubicBezTo>
                        <a:pt x="-1537" y="10170"/>
                        <a:pt x="2324" y="2697"/>
                        <a:pt x="9175" y="579"/>
                      </a:cubicBezTo>
                      <a:cubicBezTo>
                        <a:pt x="16150" y="-1538"/>
                        <a:pt x="23499" y="2323"/>
                        <a:pt x="25616"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8" name="Graphic 2987">
                <a:extLst>
                  <a:ext uri="{FF2B5EF4-FFF2-40B4-BE49-F238E27FC236}">
                    <a16:creationId xmlns:a16="http://schemas.microsoft.com/office/drawing/2014/main" id="{3F357F14-ECF3-7785-E70A-4598BC052F3A}"/>
                  </a:ext>
                </a:extLst>
              </p:cNvPr>
              <p:cNvGrpSpPr/>
              <p:nvPr/>
            </p:nvGrpSpPr>
            <p:grpSpPr>
              <a:xfrm>
                <a:off x="8958729" y="1459638"/>
                <a:ext cx="62180" cy="143756"/>
                <a:chOff x="8958729" y="1459638"/>
                <a:chExt cx="62180" cy="143756"/>
              </a:xfrm>
              <a:grpFill/>
            </p:grpSpPr>
            <p:sp>
              <p:nvSpPr>
                <p:cNvPr id="6924" name="Freeform 7147">
                  <a:extLst>
                    <a:ext uri="{FF2B5EF4-FFF2-40B4-BE49-F238E27FC236}">
                      <a16:creationId xmlns:a16="http://schemas.microsoft.com/office/drawing/2014/main" id="{50159528-8676-FCE1-EC38-7CBCC36FF2E3}"/>
                    </a:ext>
                  </a:extLst>
                </p:cNvPr>
                <p:cNvSpPr/>
                <p:nvPr/>
              </p:nvSpPr>
              <p:spPr>
                <a:xfrm>
                  <a:off x="8994558" y="1532133"/>
                  <a:ext cx="14449" cy="50072"/>
                </a:xfrm>
                <a:custGeom>
                  <a:avLst/>
                  <a:gdLst>
                    <a:gd name="connsiteX0" fmla="*/ 14449 w 14449"/>
                    <a:gd name="connsiteY0" fmla="*/ 50072 h 50072"/>
                    <a:gd name="connsiteX1" fmla="*/ 10961 w 14449"/>
                    <a:gd name="connsiteY1" fmla="*/ 31638 h 50072"/>
                    <a:gd name="connsiteX2" fmla="*/ 2741 w 14449"/>
                    <a:gd name="connsiteY2" fmla="*/ 16317 h 50072"/>
                    <a:gd name="connsiteX3" fmla="*/ 0 w 14449"/>
                    <a:gd name="connsiteY3" fmla="*/ 0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50072"/>
                      </a:moveTo>
                      <a:cubicBezTo>
                        <a:pt x="14449" y="41602"/>
                        <a:pt x="12580" y="35624"/>
                        <a:pt x="10961" y="31638"/>
                      </a:cubicBezTo>
                      <a:cubicBezTo>
                        <a:pt x="8221" y="25161"/>
                        <a:pt x="5231" y="22919"/>
                        <a:pt x="2741" y="16317"/>
                      </a:cubicBezTo>
                      <a:cubicBezTo>
                        <a:pt x="24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5" name="Freeform 7148">
                  <a:extLst>
                    <a:ext uri="{FF2B5EF4-FFF2-40B4-BE49-F238E27FC236}">
                      <a16:creationId xmlns:a16="http://schemas.microsoft.com/office/drawing/2014/main" id="{57DD92DA-DB07-4ED8-DF8E-8EE234284E42}"/>
                    </a:ext>
                  </a:extLst>
                </p:cNvPr>
                <p:cNvSpPr/>
                <p:nvPr/>
              </p:nvSpPr>
              <p:spPr>
                <a:xfrm>
                  <a:off x="8987833" y="1539482"/>
                  <a:ext cx="15818" cy="49698"/>
                </a:xfrm>
                <a:custGeom>
                  <a:avLst/>
                  <a:gdLst>
                    <a:gd name="connsiteX0" fmla="*/ 0 w 15818"/>
                    <a:gd name="connsiteY0" fmla="*/ 0 h 49698"/>
                    <a:gd name="connsiteX1" fmla="*/ 7348 w 15818"/>
                    <a:gd name="connsiteY1" fmla="*/ 17314 h 49698"/>
                    <a:gd name="connsiteX2" fmla="*/ 8968 w 15818"/>
                    <a:gd name="connsiteY2" fmla="*/ 34752 h 49698"/>
                    <a:gd name="connsiteX3" fmla="*/ 15818 w 15818"/>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818" h="49698">
                      <a:moveTo>
                        <a:pt x="0" y="0"/>
                      </a:moveTo>
                      <a:cubicBezTo>
                        <a:pt x="4733" y="6975"/>
                        <a:pt x="6476" y="13079"/>
                        <a:pt x="7348" y="17314"/>
                      </a:cubicBezTo>
                      <a:cubicBezTo>
                        <a:pt x="8595" y="24164"/>
                        <a:pt x="7473" y="27776"/>
                        <a:pt x="8968" y="34752"/>
                      </a:cubicBezTo>
                      <a:cubicBezTo>
                        <a:pt x="10462" y="41478"/>
                        <a:pt x="13452" y="46585"/>
                        <a:pt x="1581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6" name="Freeform 7149">
                  <a:extLst>
                    <a:ext uri="{FF2B5EF4-FFF2-40B4-BE49-F238E27FC236}">
                      <a16:creationId xmlns:a16="http://schemas.microsoft.com/office/drawing/2014/main" id="{E59BAEBD-675D-CD0D-10D1-BC80DB08ED0F}"/>
                    </a:ext>
                  </a:extLst>
                </p:cNvPr>
                <p:cNvSpPr/>
                <p:nvPr/>
              </p:nvSpPr>
              <p:spPr>
                <a:xfrm>
                  <a:off x="8994240" y="1576711"/>
                  <a:ext cx="26669" cy="26683"/>
                </a:xfrm>
                <a:custGeom>
                  <a:avLst/>
                  <a:gdLst>
                    <a:gd name="connsiteX0" fmla="*/ 568 w 26669"/>
                    <a:gd name="connsiteY0" fmla="*/ 17327 h 26683"/>
                    <a:gd name="connsiteX1" fmla="*/ 9536 w 26669"/>
                    <a:gd name="connsiteY1" fmla="*/ 637 h 26683"/>
                    <a:gd name="connsiteX2" fmla="*/ 26102 w 26669"/>
                    <a:gd name="connsiteY2" fmla="*/ 9356 h 26683"/>
                    <a:gd name="connsiteX3" fmla="*/ 17134 w 26669"/>
                    <a:gd name="connsiteY3" fmla="*/ 26046 h 26683"/>
                    <a:gd name="connsiteX4" fmla="*/ 568 w 26669"/>
                    <a:gd name="connsiteY4" fmla="*/ 17327 h 26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83">
                      <a:moveTo>
                        <a:pt x="568" y="17327"/>
                      </a:moveTo>
                      <a:cubicBezTo>
                        <a:pt x="-1550" y="10352"/>
                        <a:pt x="2436" y="2879"/>
                        <a:pt x="9536" y="637"/>
                      </a:cubicBezTo>
                      <a:cubicBezTo>
                        <a:pt x="16511" y="-1605"/>
                        <a:pt x="23985" y="2256"/>
                        <a:pt x="26102" y="9356"/>
                      </a:cubicBezTo>
                      <a:cubicBezTo>
                        <a:pt x="28219" y="16456"/>
                        <a:pt x="24233" y="23804"/>
                        <a:pt x="17134" y="26046"/>
                      </a:cubicBezTo>
                      <a:cubicBezTo>
                        <a:pt x="10034" y="28289"/>
                        <a:pt x="2560" y="24427"/>
                        <a:pt x="568" y="17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7" name="Freeform 7150">
                  <a:extLst>
                    <a:ext uri="{FF2B5EF4-FFF2-40B4-BE49-F238E27FC236}">
                      <a16:creationId xmlns:a16="http://schemas.microsoft.com/office/drawing/2014/main" id="{758A6669-C3FE-F953-738E-A4A4EC7B56CF}"/>
                    </a:ext>
                  </a:extLst>
                </p:cNvPr>
                <p:cNvSpPr/>
                <p:nvPr/>
              </p:nvSpPr>
              <p:spPr>
                <a:xfrm>
                  <a:off x="8970519" y="1480816"/>
                  <a:ext cx="14448" cy="50072"/>
                </a:xfrm>
                <a:custGeom>
                  <a:avLst/>
                  <a:gdLst>
                    <a:gd name="connsiteX0" fmla="*/ 0 w 14448"/>
                    <a:gd name="connsiteY0" fmla="*/ 0 h 50072"/>
                    <a:gd name="connsiteX1" fmla="*/ 3487 w 14448"/>
                    <a:gd name="connsiteY1" fmla="*/ 18435 h 50072"/>
                    <a:gd name="connsiteX2" fmla="*/ 11708 w 14448"/>
                    <a:gd name="connsiteY2" fmla="*/ 33755 h 50072"/>
                    <a:gd name="connsiteX3" fmla="*/ 14448 w 1444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8" h="50072">
                      <a:moveTo>
                        <a:pt x="0" y="0"/>
                      </a:moveTo>
                      <a:cubicBezTo>
                        <a:pt x="0" y="8470"/>
                        <a:pt x="1869" y="14449"/>
                        <a:pt x="3487" y="18435"/>
                      </a:cubicBezTo>
                      <a:cubicBezTo>
                        <a:pt x="6228" y="24912"/>
                        <a:pt x="9092" y="27154"/>
                        <a:pt x="11708" y="33755"/>
                      </a:cubicBezTo>
                      <a:cubicBezTo>
                        <a:pt x="14200" y="40232"/>
                        <a:pt x="14448" y="46086"/>
                        <a:pt x="1444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8" name="Freeform 7151">
                  <a:extLst>
                    <a:ext uri="{FF2B5EF4-FFF2-40B4-BE49-F238E27FC236}">
                      <a16:creationId xmlns:a16="http://schemas.microsoft.com/office/drawing/2014/main" id="{517CB864-F903-6C49-ABB2-E316678B5E81}"/>
                    </a:ext>
                  </a:extLst>
                </p:cNvPr>
                <p:cNvSpPr/>
                <p:nvPr/>
              </p:nvSpPr>
              <p:spPr>
                <a:xfrm>
                  <a:off x="8975625" y="1473965"/>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467" y="36495"/>
                        <a:pt x="8595" y="32260"/>
                      </a:cubicBezTo>
                      <a:cubicBezTo>
                        <a:pt x="7349" y="25410"/>
                        <a:pt x="8471" y="21798"/>
                        <a:pt x="6851" y="14947"/>
                      </a:cubicBezTo>
                      <a:cubicBezTo>
                        <a:pt x="5357"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9" name="Freeform 7152">
                  <a:extLst>
                    <a:ext uri="{FF2B5EF4-FFF2-40B4-BE49-F238E27FC236}">
                      <a16:creationId xmlns:a16="http://schemas.microsoft.com/office/drawing/2014/main" id="{7E3F8E32-2869-104C-E5B1-88482EC29C40}"/>
                    </a:ext>
                  </a:extLst>
                </p:cNvPr>
                <p:cNvSpPr/>
                <p:nvPr/>
              </p:nvSpPr>
              <p:spPr>
                <a:xfrm>
                  <a:off x="8958729" y="1459638"/>
                  <a:ext cx="26319" cy="26661"/>
                </a:xfrm>
                <a:custGeom>
                  <a:avLst/>
                  <a:gdLst>
                    <a:gd name="connsiteX0" fmla="*/ 25740 w 26319"/>
                    <a:gd name="connsiteY0" fmla="*/ 9345 h 26661"/>
                    <a:gd name="connsiteX1" fmla="*/ 17021 w 26319"/>
                    <a:gd name="connsiteY1" fmla="*/ 26035 h 26661"/>
                    <a:gd name="connsiteX2" fmla="*/ 579 w 26319"/>
                    <a:gd name="connsiteY2" fmla="*/ 17316 h 26661"/>
                    <a:gd name="connsiteX3" fmla="*/ 9299 w 26319"/>
                    <a:gd name="connsiteY3" fmla="*/ 626 h 26661"/>
                    <a:gd name="connsiteX4" fmla="*/ 25740 w 2631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661">
                      <a:moveTo>
                        <a:pt x="25740" y="9345"/>
                      </a:moveTo>
                      <a:cubicBezTo>
                        <a:pt x="27858" y="16320"/>
                        <a:pt x="23996" y="23793"/>
                        <a:pt x="17021" y="26035"/>
                      </a:cubicBezTo>
                      <a:cubicBezTo>
                        <a:pt x="10046" y="28278"/>
                        <a:pt x="2697" y="24292"/>
                        <a:pt x="579" y="17316"/>
                      </a:cubicBezTo>
                      <a:cubicBezTo>
                        <a:pt x="-1538" y="10341"/>
                        <a:pt x="2323" y="2868"/>
                        <a:pt x="9299" y="626"/>
                      </a:cubicBezTo>
                      <a:cubicBezTo>
                        <a:pt x="16274" y="-1616"/>
                        <a:pt x="23623" y="2370"/>
                        <a:pt x="25740"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9" name="Graphic 2987">
                <a:extLst>
                  <a:ext uri="{FF2B5EF4-FFF2-40B4-BE49-F238E27FC236}">
                    <a16:creationId xmlns:a16="http://schemas.microsoft.com/office/drawing/2014/main" id="{91EB43CC-9560-ED47-01BF-CEBFF253B98F}"/>
                  </a:ext>
                </a:extLst>
              </p:cNvPr>
              <p:cNvGrpSpPr/>
              <p:nvPr/>
            </p:nvGrpSpPr>
            <p:grpSpPr>
              <a:xfrm>
                <a:off x="8930839" y="1468482"/>
                <a:ext cx="61422" cy="143982"/>
                <a:chOff x="8930839" y="1468482"/>
                <a:chExt cx="61422" cy="143982"/>
              </a:xfrm>
              <a:grpFill/>
            </p:grpSpPr>
            <p:sp>
              <p:nvSpPr>
                <p:cNvPr id="6918" name="Freeform 7154">
                  <a:extLst>
                    <a:ext uri="{FF2B5EF4-FFF2-40B4-BE49-F238E27FC236}">
                      <a16:creationId xmlns:a16="http://schemas.microsoft.com/office/drawing/2014/main" id="{CF3938B3-E0BD-EC69-AD5A-FE0F0EB1177F}"/>
                    </a:ext>
                  </a:extLst>
                </p:cNvPr>
                <p:cNvSpPr/>
                <p:nvPr/>
              </p:nvSpPr>
              <p:spPr>
                <a:xfrm>
                  <a:off x="8966134" y="1540977"/>
                  <a:ext cx="14355" cy="50196"/>
                </a:xfrm>
                <a:custGeom>
                  <a:avLst/>
                  <a:gdLst>
                    <a:gd name="connsiteX0" fmla="*/ 14349 w 14355"/>
                    <a:gd name="connsiteY0" fmla="*/ 50197 h 50196"/>
                    <a:gd name="connsiteX1" fmla="*/ 10862 w 14355"/>
                    <a:gd name="connsiteY1" fmla="*/ 31638 h 50196"/>
                    <a:gd name="connsiteX2" fmla="*/ 2641 w 14355"/>
                    <a:gd name="connsiteY2" fmla="*/ 16317 h 50196"/>
                    <a:gd name="connsiteX3" fmla="*/ 26 w 14355"/>
                    <a:gd name="connsiteY3" fmla="*/ 0 h 50196"/>
                  </a:gdLst>
                  <a:ahLst/>
                  <a:cxnLst>
                    <a:cxn ang="0">
                      <a:pos x="connsiteX0" y="connsiteY0"/>
                    </a:cxn>
                    <a:cxn ang="0">
                      <a:pos x="connsiteX1" y="connsiteY1"/>
                    </a:cxn>
                    <a:cxn ang="0">
                      <a:pos x="connsiteX2" y="connsiteY2"/>
                    </a:cxn>
                    <a:cxn ang="0">
                      <a:pos x="connsiteX3" y="connsiteY3"/>
                    </a:cxn>
                  </a:cxnLst>
                  <a:rect l="l" t="t" r="r" b="b"/>
                  <a:pathLst>
                    <a:path w="14355" h="50196">
                      <a:moveTo>
                        <a:pt x="14349" y="50197"/>
                      </a:moveTo>
                      <a:cubicBezTo>
                        <a:pt x="14474" y="41727"/>
                        <a:pt x="12605" y="35624"/>
                        <a:pt x="10862" y="31638"/>
                      </a:cubicBezTo>
                      <a:cubicBezTo>
                        <a:pt x="8121" y="25161"/>
                        <a:pt x="5257" y="22919"/>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9" name="Freeform 7155">
                  <a:extLst>
                    <a:ext uri="{FF2B5EF4-FFF2-40B4-BE49-F238E27FC236}">
                      <a16:creationId xmlns:a16="http://schemas.microsoft.com/office/drawing/2014/main" id="{7F8BBA35-7DA7-3D19-0A1F-C38156C7E0A3}"/>
                    </a:ext>
                  </a:extLst>
                </p:cNvPr>
                <p:cNvSpPr/>
                <p:nvPr/>
              </p:nvSpPr>
              <p:spPr>
                <a:xfrm>
                  <a:off x="8959558" y="1548326"/>
                  <a:ext cx="15569" cy="49823"/>
                </a:xfrm>
                <a:custGeom>
                  <a:avLst/>
                  <a:gdLst>
                    <a:gd name="connsiteX0" fmla="*/ 0 w 15569"/>
                    <a:gd name="connsiteY0" fmla="*/ 0 h 49823"/>
                    <a:gd name="connsiteX1" fmla="*/ 7225 w 15569"/>
                    <a:gd name="connsiteY1" fmla="*/ 17314 h 49823"/>
                    <a:gd name="connsiteX2" fmla="*/ 8844 w 15569"/>
                    <a:gd name="connsiteY2" fmla="*/ 34752 h 49823"/>
                    <a:gd name="connsiteX3" fmla="*/ 1557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0" y="0"/>
                      </a:moveTo>
                      <a:cubicBezTo>
                        <a:pt x="4609" y="6975"/>
                        <a:pt x="6477" y="13079"/>
                        <a:pt x="7225" y="17314"/>
                      </a:cubicBezTo>
                      <a:cubicBezTo>
                        <a:pt x="8470" y="24164"/>
                        <a:pt x="7349" y="27776"/>
                        <a:pt x="8844" y="34752"/>
                      </a:cubicBezTo>
                      <a:cubicBezTo>
                        <a:pt x="10339" y="41478"/>
                        <a:pt x="13328" y="46585"/>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0" name="Freeform 7156">
                  <a:extLst>
                    <a:ext uri="{FF2B5EF4-FFF2-40B4-BE49-F238E27FC236}">
                      <a16:creationId xmlns:a16="http://schemas.microsoft.com/office/drawing/2014/main" id="{428C7B00-0E48-144A-5C9F-8E714AB9A3DF}"/>
                    </a:ext>
                  </a:extLst>
                </p:cNvPr>
                <p:cNvSpPr/>
                <p:nvPr/>
              </p:nvSpPr>
              <p:spPr>
                <a:xfrm>
                  <a:off x="8965602" y="1585804"/>
                  <a:ext cx="26659" cy="26660"/>
                </a:xfrm>
                <a:custGeom>
                  <a:avLst/>
                  <a:gdLst>
                    <a:gd name="connsiteX0" fmla="*/ 558 w 26659"/>
                    <a:gd name="connsiteY0" fmla="*/ 17203 h 26660"/>
                    <a:gd name="connsiteX1" fmla="*/ 9526 w 26659"/>
                    <a:gd name="connsiteY1" fmla="*/ 637 h 26660"/>
                    <a:gd name="connsiteX2" fmla="*/ 26092 w 26659"/>
                    <a:gd name="connsiteY2" fmla="*/ 9356 h 26660"/>
                    <a:gd name="connsiteX3" fmla="*/ 17124 w 26659"/>
                    <a:gd name="connsiteY3" fmla="*/ 26046 h 26660"/>
                    <a:gd name="connsiteX4" fmla="*/ 558 w 26659"/>
                    <a:gd name="connsiteY4" fmla="*/ 17203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660">
                      <a:moveTo>
                        <a:pt x="558" y="17203"/>
                      </a:moveTo>
                      <a:cubicBezTo>
                        <a:pt x="-1560" y="10228"/>
                        <a:pt x="2551" y="2879"/>
                        <a:pt x="9526" y="637"/>
                      </a:cubicBezTo>
                      <a:cubicBezTo>
                        <a:pt x="16501" y="-1605"/>
                        <a:pt x="23974" y="2256"/>
                        <a:pt x="26092" y="9356"/>
                      </a:cubicBezTo>
                      <a:cubicBezTo>
                        <a:pt x="28209" y="16331"/>
                        <a:pt x="24223" y="23804"/>
                        <a:pt x="17124" y="26046"/>
                      </a:cubicBezTo>
                      <a:cubicBezTo>
                        <a:pt x="10148" y="28289"/>
                        <a:pt x="2675" y="24178"/>
                        <a:pt x="558"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1" name="Freeform 7157">
                  <a:extLst>
                    <a:ext uri="{FF2B5EF4-FFF2-40B4-BE49-F238E27FC236}">
                      <a16:creationId xmlns:a16="http://schemas.microsoft.com/office/drawing/2014/main" id="{6E1D5E48-1EF1-F094-E2A7-D89D4FF6A0ED}"/>
                    </a:ext>
                  </a:extLst>
                </p:cNvPr>
                <p:cNvSpPr/>
                <p:nvPr/>
              </p:nvSpPr>
              <p:spPr>
                <a:xfrm>
                  <a:off x="8942493" y="1489659"/>
                  <a:ext cx="14225" cy="50196"/>
                </a:xfrm>
                <a:custGeom>
                  <a:avLst/>
                  <a:gdLst>
                    <a:gd name="connsiteX0" fmla="*/ 0 w 14225"/>
                    <a:gd name="connsiteY0" fmla="*/ 0 h 50196"/>
                    <a:gd name="connsiteX1" fmla="*/ 3487 w 14225"/>
                    <a:gd name="connsiteY1" fmla="*/ 18559 h 50196"/>
                    <a:gd name="connsiteX2" fmla="*/ 11584 w 14225"/>
                    <a:gd name="connsiteY2" fmla="*/ 33880 h 50196"/>
                    <a:gd name="connsiteX3" fmla="*/ 14200 w 142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225" h="50196">
                      <a:moveTo>
                        <a:pt x="0" y="0"/>
                      </a:moveTo>
                      <a:cubicBezTo>
                        <a:pt x="0" y="8470"/>
                        <a:pt x="1744" y="14573"/>
                        <a:pt x="3487" y="18559"/>
                      </a:cubicBezTo>
                      <a:cubicBezTo>
                        <a:pt x="6228" y="25036"/>
                        <a:pt x="9092" y="27278"/>
                        <a:pt x="11584" y="33880"/>
                      </a:cubicBezTo>
                      <a:cubicBezTo>
                        <a:pt x="14075" y="40357"/>
                        <a:pt x="14324" y="46211"/>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2" name="Freeform 7158">
                  <a:extLst>
                    <a:ext uri="{FF2B5EF4-FFF2-40B4-BE49-F238E27FC236}">
                      <a16:creationId xmlns:a16="http://schemas.microsoft.com/office/drawing/2014/main" id="{8E745D0A-A0F5-B35F-137E-AB1F75B9D578}"/>
                    </a:ext>
                  </a:extLst>
                </p:cNvPr>
                <p:cNvSpPr/>
                <p:nvPr/>
              </p:nvSpPr>
              <p:spPr>
                <a:xfrm>
                  <a:off x="8947725" y="1482684"/>
                  <a:ext cx="15569" cy="49823"/>
                </a:xfrm>
                <a:custGeom>
                  <a:avLst/>
                  <a:gdLst>
                    <a:gd name="connsiteX0" fmla="*/ 15570 w 15569"/>
                    <a:gd name="connsiteY0" fmla="*/ 49823 h 49823"/>
                    <a:gd name="connsiteX1" fmla="*/ 8346 w 15569"/>
                    <a:gd name="connsiteY1" fmla="*/ 32510 h 49823"/>
                    <a:gd name="connsiteX2" fmla="*/ 6727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836" y="42848"/>
                        <a:pt x="9093" y="36745"/>
                        <a:pt x="8346" y="32510"/>
                      </a:cubicBezTo>
                      <a:cubicBezTo>
                        <a:pt x="7100" y="25659"/>
                        <a:pt x="8221" y="22047"/>
                        <a:pt x="6727" y="15071"/>
                      </a:cubicBezTo>
                      <a:cubicBezTo>
                        <a:pt x="5232"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3" name="Freeform 7159">
                  <a:extLst>
                    <a:ext uri="{FF2B5EF4-FFF2-40B4-BE49-F238E27FC236}">
                      <a16:creationId xmlns:a16="http://schemas.microsoft.com/office/drawing/2014/main" id="{F938A343-7FCD-089A-74BD-DF6D1AF4B555}"/>
                    </a:ext>
                  </a:extLst>
                </p:cNvPr>
                <p:cNvSpPr/>
                <p:nvPr/>
              </p:nvSpPr>
              <p:spPr>
                <a:xfrm>
                  <a:off x="8930839" y="1468482"/>
                  <a:ext cx="26184" cy="26660"/>
                </a:xfrm>
                <a:custGeom>
                  <a:avLst/>
                  <a:gdLst>
                    <a:gd name="connsiteX0" fmla="*/ 25605 w 26184"/>
                    <a:gd name="connsiteY0" fmla="*/ 9345 h 26660"/>
                    <a:gd name="connsiteX1" fmla="*/ 16886 w 26184"/>
                    <a:gd name="connsiteY1" fmla="*/ 26035 h 26660"/>
                    <a:gd name="connsiteX2" fmla="*/ 569 w 26184"/>
                    <a:gd name="connsiteY2" fmla="*/ 17192 h 26660"/>
                    <a:gd name="connsiteX3" fmla="*/ 9288 w 26184"/>
                    <a:gd name="connsiteY3" fmla="*/ 626 h 26660"/>
                    <a:gd name="connsiteX4" fmla="*/ 25605 w 26184"/>
                    <a:gd name="connsiteY4" fmla="*/ 9345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660">
                      <a:moveTo>
                        <a:pt x="25605" y="9345"/>
                      </a:moveTo>
                      <a:cubicBezTo>
                        <a:pt x="27723" y="16320"/>
                        <a:pt x="23861" y="23793"/>
                        <a:pt x="16886" y="26035"/>
                      </a:cubicBezTo>
                      <a:cubicBezTo>
                        <a:pt x="9911" y="28278"/>
                        <a:pt x="2562" y="24292"/>
                        <a:pt x="569" y="17192"/>
                      </a:cubicBezTo>
                      <a:cubicBezTo>
                        <a:pt x="-1548" y="10217"/>
                        <a:pt x="2438" y="2868"/>
                        <a:pt x="9288" y="626"/>
                      </a:cubicBezTo>
                      <a:cubicBezTo>
                        <a:pt x="16139" y="-1616"/>
                        <a:pt x="23488" y="2370"/>
                        <a:pt x="25605"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0" name="Graphic 2987">
                <a:extLst>
                  <a:ext uri="{FF2B5EF4-FFF2-40B4-BE49-F238E27FC236}">
                    <a16:creationId xmlns:a16="http://schemas.microsoft.com/office/drawing/2014/main" id="{BA0A7C28-CD7D-DB09-9287-57C634690219}"/>
                  </a:ext>
                </a:extLst>
              </p:cNvPr>
              <p:cNvGrpSpPr/>
              <p:nvPr/>
            </p:nvGrpSpPr>
            <p:grpSpPr>
              <a:xfrm>
                <a:off x="8902371" y="1476710"/>
                <a:ext cx="61231" cy="143989"/>
                <a:chOff x="8902371" y="1476710"/>
                <a:chExt cx="61231" cy="143989"/>
              </a:xfrm>
              <a:grpFill/>
            </p:grpSpPr>
            <p:sp>
              <p:nvSpPr>
                <p:cNvPr id="6912" name="Freeform 7161">
                  <a:extLst>
                    <a:ext uri="{FF2B5EF4-FFF2-40B4-BE49-F238E27FC236}">
                      <a16:creationId xmlns:a16="http://schemas.microsoft.com/office/drawing/2014/main" id="{A6762CA6-D9AD-E308-4556-18AB407F5599}"/>
                    </a:ext>
                  </a:extLst>
                </p:cNvPr>
                <p:cNvSpPr/>
                <p:nvPr/>
              </p:nvSpPr>
              <p:spPr>
                <a:xfrm>
                  <a:off x="8937818" y="1549447"/>
                  <a:ext cx="14022" cy="50196"/>
                </a:xfrm>
                <a:custGeom>
                  <a:avLst/>
                  <a:gdLst>
                    <a:gd name="connsiteX0" fmla="*/ 14017 w 14022"/>
                    <a:gd name="connsiteY0" fmla="*/ 50197 h 50196"/>
                    <a:gd name="connsiteX1" fmla="*/ 10654 w 14022"/>
                    <a:gd name="connsiteY1" fmla="*/ 31762 h 50196"/>
                    <a:gd name="connsiteX2" fmla="*/ 2558 w 14022"/>
                    <a:gd name="connsiteY2" fmla="*/ 16317 h 50196"/>
                    <a:gd name="connsiteX3" fmla="*/ 66 w 14022"/>
                    <a:gd name="connsiteY3" fmla="*/ 0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50197"/>
                      </a:moveTo>
                      <a:cubicBezTo>
                        <a:pt x="14141" y="41851"/>
                        <a:pt x="12273" y="35748"/>
                        <a:pt x="10654" y="31762"/>
                      </a:cubicBezTo>
                      <a:cubicBezTo>
                        <a:pt x="7914" y="25285"/>
                        <a:pt x="5048" y="22919"/>
                        <a:pt x="2558" y="16317"/>
                      </a:cubicBezTo>
                      <a:cubicBezTo>
                        <a:pt x="191" y="9840"/>
                        <a:pt x="-183" y="3986"/>
                        <a:pt x="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3" name="Freeform 7162">
                  <a:extLst>
                    <a:ext uri="{FF2B5EF4-FFF2-40B4-BE49-F238E27FC236}">
                      <a16:creationId xmlns:a16="http://schemas.microsoft.com/office/drawing/2014/main" id="{679A2797-DA9C-DD10-1CAC-7F7F836551C7}"/>
                    </a:ext>
                  </a:extLst>
                </p:cNvPr>
                <p:cNvSpPr/>
                <p:nvPr/>
              </p:nvSpPr>
              <p:spPr>
                <a:xfrm>
                  <a:off x="8931034" y="1556547"/>
                  <a:ext cx="15445" cy="49823"/>
                </a:xfrm>
                <a:custGeom>
                  <a:avLst/>
                  <a:gdLst>
                    <a:gd name="connsiteX0" fmla="*/ 0 w 15445"/>
                    <a:gd name="connsiteY0" fmla="*/ 0 h 49823"/>
                    <a:gd name="connsiteX1" fmla="*/ 7224 w 15445"/>
                    <a:gd name="connsiteY1" fmla="*/ 17438 h 49823"/>
                    <a:gd name="connsiteX2" fmla="*/ 8718 w 15445"/>
                    <a:gd name="connsiteY2" fmla="*/ 34752 h 49823"/>
                    <a:gd name="connsiteX3" fmla="*/ 15445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0" y="0"/>
                      </a:moveTo>
                      <a:cubicBezTo>
                        <a:pt x="4609" y="7100"/>
                        <a:pt x="6476" y="13079"/>
                        <a:pt x="7224" y="17438"/>
                      </a:cubicBezTo>
                      <a:cubicBezTo>
                        <a:pt x="8470" y="24289"/>
                        <a:pt x="7224" y="27776"/>
                        <a:pt x="8718" y="34752"/>
                      </a:cubicBezTo>
                      <a:cubicBezTo>
                        <a:pt x="10214" y="41478"/>
                        <a:pt x="13203" y="46585"/>
                        <a:pt x="15445"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4" name="Freeform 7163">
                  <a:extLst>
                    <a:ext uri="{FF2B5EF4-FFF2-40B4-BE49-F238E27FC236}">
                      <a16:creationId xmlns:a16="http://schemas.microsoft.com/office/drawing/2014/main" id="{6540ED3D-70FC-FFD6-81BD-555BA3082304}"/>
                    </a:ext>
                  </a:extLst>
                </p:cNvPr>
                <p:cNvSpPr/>
                <p:nvPr/>
              </p:nvSpPr>
              <p:spPr>
                <a:xfrm>
                  <a:off x="8936874" y="1594283"/>
                  <a:ext cx="26728" cy="26416"/>
                </a:xfrm>
                <a:custGeom>
                  <a:avLst/>
                  <a:gdLst>
                    <a:gd name="connsiteX0" fmla="*/ 513 w 26728"/>
                    <a:gd name="connsiteY0" fmla="*/ 16820 h 26416"/>
                    <a:gd name="connsiteX1" fmla="*/ 9605 w 26728"/>
                    <a:gd name="connsiteY1" fmla="*/ 503 h 26416"/>
                    <a:gd name="connsiteX2" fmla="*/ 26171 w 26728"/>
                    <a:gd name="connsiteY2" fmla="*/ 9596 h 26416"/>
                    <a:gd name="connsiteX3" fmla="*/ 17078 w 26728"/>
                    <a:gd name="connsiteY3" fmla="*/ 25913 h 26416"/>
                    <a:gd name="connsiteX4" fmla="*/ 513 w 26728"/>
                    <a:gd name="connsiteY4" fmla="*/ 16820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416">
                      <a:moveTo>
                        <a:pt x="513" y="16820"/>
                      </a:moveTo>
                      <a:cubicBezTo>
                        <a:pt x="-1481" y="9845"/>
                        <a:pt x="2505" y="2496"/>
                        <a:pt x="9605" y="503"/>
                      </a:cubicBezTo>
                      <a:cubicBezTo>
                        <a:pt x="16705" y="-1490"/>
                        <a:pt x="24178" y="2621"/>
                        <a:pt x="26171" y="9596"/>
                      </a:cubicBezTo>
                      <a:cubicBezTo>
                        <a:pt x="28289" y="16571"/>
                        <a:pt x="24178" y="23920"/>
                        <a:pt x="17078" y="25913"/>
                      </a:cubicBezTo>
                      <a:cubicBezTo>
                        <a:pt x="9978" y="27906"/>
                        <a:pt x="2630" y="23795"/>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5" name="Freeform 7164">
                  <a:extLst>
                    <a:ext uri="{FF2B5EF4-FFF2-40B4-BE49-F238E27FC236}">
                      <a16:creationId xmlns:a16="http://schemas.microsoft.com/office/drawing/2014/main" id="{268C6F78-8490-AB49-7102-FA76A9191938}"/>
                    </a:ext>
                  </a:extLst>
                </p:cNvPr>
                <p:cNvSpPr/>
                <p:nvPr/>
              </p:nvSpPr>
              <p:spPr>
                <a:xfrm>
                  <a:off x="8914213" y="1497756"/>
                  <a:ext cx="14022" cy="50196"/>
                </a:xfrm>
                <a:custGeom>
                  <a:avLst/>
                  <a:gdLst>
                    <a:gd name="connsiteX0" fmla="*/ 6 w 14022"/>
                    <a:gd name="connsiteY0" fmla="*/ 0 h 50196"/>
                    <a:gd name="connsiteX1" fmla="*/ 3369 w 14022"/>
                    <a:gd name="connsiteY1" fmla="*/ 18435 h 50196"/>
                    <a:gd name="connsiteX2" fmla="*/ 11466 w 14022"/>
                    <a:gd name="connsiteY2" fmla="*/ 33880 h 50196"/>
                    <a:gd name="connsiteX3" fmla="*/ 1395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6" y="0"/>
                      </a:moveTo>
                      <a:cubicBezTo>
                        <a:pt x="-119" y="8345"/>
                        <a:pt x="1750" y="14449"/>
                        <a:pt x="3369" y="18435"/>
                      </a:cubicBezTo>
                      <a:cubicBezTo>
                        <a:pt x="6109" y="24912"/>
                        <a:pt x="8974" y="27278"/>
                        <a:pt x="11466" y="33880"/>
                      </a:cubicBezTo>
                      <a:cubicBezTo>
                        <a:pt x="13832" y="40357"/>
                        <a:pt x="14206" y="46211"/>
                        <a:pt x="1395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6" name="Freeform 7165">
                  <a:extLst>
                    <a:ext uri="{FF2B5EF4-FFF2-40B4-BE49-F238E27FC236}">
                      <a16:creationId xmlns:a16="http://schemas.microsoft.com/office/drawing/2014/main" id="{EEC0D80B-58BF-4C9C-00EC-8A4E324BF96B}"/>
                    </a:ext>
                  </a:extLst>
                </p:cNvPr>
                <p:cNvSpPr/>
                <p:nvPr/>
              </p:nvSpPr>
              <p:spPr>
                <a:xfrm>
                  <a:off x="8919326" y="1491029"/>
                  <a:ext cx="15569" cy="49823"/>
                </a:xfrm>
                <a:custGeom>
                  <a:avLst/>
                  <a:gdLst>
                    <a:gd name="connsiteX0" fmla="*/ 15570 w 15569"/>
                    <a:gd name="connsiteY0" fmla="*/ 49823 h 49823"/>
                    <a:gd name="connsiteX1" fmla="*/ 8345 w 15569"/>
                    <a:gd name="connsiteY1" fmla="*/ 32385 h 49823"/>
                    <a:gd name="connsiteX2" fmla="*/ 6726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961" y="42723"/>
                        <a:pt x="9092" y="36745"/>
                        <a:pt x="8345" y="32385"/>
                      </a:cubicBezTo>
                      <a:cubicBezTo>
                        <a:pt x="7100" y="25534"/>
                        <a:pt x="8345" y="22047"/>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7" name="Freeform 7166">
                  <a:extLst>
                    <a:ext uri="{FF2B5EF4-FFF2-40B4-BE49-F238E27FC236}">
                      <a16:creationId xmlns:a16="http://schemas.microsoft.com/office/drawing/2014/main" id="{14D5619A-C5D9-96E0-C8F4-F7C4E43A43EB}"/>
                    </a:ext>
                  </a:extLst>
                </p:cNvPr>
                <p:cNvSpPr/>
                <p:nvPr/>
              </p:nvSpPr>
              <p:spPr>
                <a:xfrm>
                  <a:off x="8902371" y="1476710"/>
                  <a:ext cx="26490" cy="26530"/>
                </a:xfrm>
                <a:custGeom>
                  <a:avLst/>
                  <a:gdLst>
                    <a:gd name="connsiteX0" fmla="*/ 25923 w 26490"/>
                    <a:gd name="connsiteY0" fmla="*/ 9711 h 26530"/>
                    <a:gd name="connsiteX1" fmla="*/ 16955 w 26490"/>
                    <a:gd name="connsiteY1" fmla="*/ 26028 h 26530"/>
                    <a:gd name="connsiteX2" fmla="*/ 513 w 26490"/>
                    <a:gd name="connsiteY2" fmla="*/ 16811 h 26530"/>
                    <a:gd name="connsiteX3" fmla="*/ 9481 w 26490"/>
                    <a:gd name="connsiteY3" fmla="*/ 494 h 26530"/>
                    <a:gd name="connsiteX4" fmla="*/ 25923 w 26490"/>
                    <a:gd name="connsiteY4" fmla="*/ 971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0" h="26530">
                      <a:moveTo>
                        <a:pt x="25923" y="9711"/>
                      </a:moveTo>
                      <a:cubicBezTo>
                        <a:pt x="28040" y="16686"/>
                        <a:pt x="24055" y="24035"/>
                        <a:pt x="16955" y="26028"/>
                      </a:cubicBezTo>
                      <a:cubicBezTo>
                        <a:pt x="9980" y="28021"/>
                        <a:pt x="2630" y="23910"/>
                        <a:pt x="513" y="16811"/>
                      </a:cubicBezTo>
                      <a:cubicBezTo>
                        <a:pt x="-1480" y="9835"/>
                        <a:pt x="2506" y="2487"/>
                        <a:pt x="9481" y="494"/>
                      </a:cubicBezTo>
                      <a:cubicBezTo>
                        <a:pt x="16456" y="-1499"/>
                        <a:pt x="23930" y="2736"/>
                        <a:pt x="25923" y="97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1" name="Graphic 2987">
                <a:extLst>
                  <a:ext uri="{FF2B5EF4-FFF2-40B4-BE49-F238E27FC236}">
                    <a16:creationId xmlns:a16="http://schemas.microsoft.com/office/drawing/2014/main" id="{497ADBB6-5E87-0CAA-8F3E-D794465846B2}"/>
                  </a:ext>
                </a:extLst>
              </p:cNvPr>
              <p:cNvGrpSpPr/>
              <p:nvPr/>
            </p:nvGrpSpPr>
            <p:grpSpPr>
              <a:xfrm>
                <a:off x="8874221" y="1484725"/>
                <a:ext cx="60722" cy="143999"/>
                <a:chOff x="8874221" y="1484725"/>
                <a:chExt cx="60722" cy="143999"/>
              </a:xfrm>
              <a:grpFill/>
            </p:grpSpPr>
            <p:sp>
              <p:nvSpPr>
                <p:cNvPr id="6906" name="Freeform 7168">
                  <a:extLst>
                    <a:ext uri="{FF2B5EF4-FFF2-40B4-BE49-F238E27FC236}">
                      <a16:creationId xmlns:a16="http://schemas.microsoft.com/office/drawing/2014/main" id="{C179E388-DA86-5057-C86D-FFD10517D3BB}"/>
                    </a:ext>
                  </a:extLst>
                </p:cNvPr>
                <p:cNvSpPr/>
                <p:nvPr/>
              </p:nvSpPr>
              <p:spPr>
                <a:xfrm>
                  <a:off x="8909086" y="1557543"/>
                  <a:ext cx="13982" cy="50196"/>
                </a:xfrm>
                <a:custGeom>
                  <a:avLst/>
                  <a:gdLst>
                    <a:gd name="connsiteX0" fmla="*/ 13976 w 13982"/>
                    <a:gd name="connsiteY0" fmla="*/ 50197 h 50196"/>
                    <a:gd name="connsiteX1" fmla="*/ 10613 w 13982"/>
                    <a:gd name="connsiteY1" fmla="*/ 31762 h 50196"/>
                    <a:gd name="connsiteX2" fmla="*/ 2517 w 13982"/>
                    <a:gd name="connsiteY2" fmla="*/ 16317 h 50196"/>
                    <a:gd name="connsiteX3" fmla="*/ 26 w 13982"/>
                    <a:gd name="connsiteY3" fmla="*/ 0 h 50196"/>
                  </a:gdLst>
                  <a:ahLst/>
                  <a:cxnLst>
                    <a:cxn ang="0">
                      <a:pos x="connsiteX0" y="connsiteY0"/>
                    </a:cxn>
                    <a:cxn ang="0">
                      <a:pos x="connsiteX1" y="connsiteY1"/>
                    </a:cxn>
                    <a:cxn ang="0">
                      <a:pos x="connsiteX2" y="connsiteY2"/>
                    </a:cxn>
                    <a:cxn ang="0">
                      <a:pos x="connsiteX3" y="connsiteY3"/>
                    </a:cxn>
                  </a:cxnLst>
                  <a:rect l="l" t="t" r="r" b="b"/>
                  <a:pathLst>
                    <a:path w="13982" h="50196">
                      <a:moveTo>
                        <a:pt x="13976" y="50197"/>
                      </a:moveTo>
                      <a:cubicBezTo>
                        <a:pt x="14101" y="41851"/>
                        <a:pt x="12357" y="35748"/>
                        <a:pt x="10613" y="31762"/>
                      </a:cubicBezTo>
                      <a:cubicBezTo>
                        <a:pt x="7873" y="25285"/>
                        <a:pt x="5008" y="22919"/>
                        <a:pt x="2517" y="16317"/>
                      </a:cubicBezTo>
                      <a:cubicBezTo>
                        <a:pt x="151"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7" name="Freeform 7169">
                  <a:extLst>
                    <a:ext uri="{FF2B5EF4-FFF2-40B4-BE49-F238E27FC236}">
                      <a16:creationId xmlns:a16="http://schemas.microsoft.com/office/drawing/2014/main" id="{2931317B-B58E-4DA5-B7CA-A90E3D26CD0C}"/>
                    </a:ext>
                  </a:extLst>
                </p:cNvPr>
                <p:cNvSpPr/>
                <p:nvPr/>
              </p:nvSpPr>
              <p:spPr>
                <a:xfrm>
                  <a:off x="8902385" y="1564518"/>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7100"/>
                        <a:pt x="6353" y="13203"/>
                        <a:pt x="7100" y="17438"/>
                      </a:cubicBezTo>
                      <a:cubicBezTo>
                        <a:pt x="8346" y="24289"/>
                        <a:pt x="7100" y="27776"/>
                        <a:pt x="8595" y="34752"/>
                      </a:cubicBezTo>
                      <a:cubicBezTo>
                        <a:pt x="10090"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8" name="Freeform 7170">
                  <a:extLst>
                    <a:ext uri="{FF2B5EF4-FFF2-40B4-BE49-F238E27FC236}">
                      <a16:creationId xmlns:a16="http://schemas.microsoft.com/office/drawing/2014/main" id="{0AC2C23F-101B-3F99-B7C6-E8FFAB2D5802}"/>
                    </a:ext>
                  </a:extLst>
                </p:cNvPr>
                <p:cNvSpPr/>
                <p:nvPr/>
              </p:nvSpPr>
              <p:spPr>
                <a:xfrm>
                  <a:off x="8908111" y="1602254"/>
                  <a:ext cx="26832" cy="26469"/>
                </a:xfrm>
                <a:custGeom>
                  <a:avLst/>
                  <a:gdLst>
                    <a:gd name="connsiteX0" fmla="*/ 502 w 26832"/>
                    <a:gd name="connsiteY0" fmla="*/ 16820 h 26469"/>
                    <a:gd name="connsiteX1" fmla="*/ 9720 w 26832"/>
                    <a:gd name="connsiteY1" fmla="*/ 503 h 26469"/>
                    <a:gd name="connsiteX2" fmla="*/ 26286 w 26832"/>
                    <a:gd name="connsiteY2" fmla="*/ 9596 h 26469"/>
                    <a:gd name="connsiteX3" fmla="*/ 17069 w 26832"/>
                    <a:gd name="connsiteY3" fmla="*/ 25913 h 26469"/>
                    <a:gd name="connsiteX4" fmla="*/ 502 w 26832"/>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469">
                      <a:moveTo>
                        <a:pt x="502" y="16820"/>
                      </a:moveTo>
                      <a:cubicBezTo>
                        <a:pt x="-1490" y="9845"/>
                        <a:pt x="2620" y="2496"/>
                        <a:pt x="9720" y="503"/>
                      </a:cubicBezTo>
                      <a:cubicBezTo>
                        <a:pt x="16820" y="-1490"/>
                        <a:pt x="24293" y="2621"/>
                        <a:pt x="26286" y="9596"/>
                      </a:cubicBezTo>
                      <a:cubicBezTo>
                        <a:pt x="28404" y="16571"/>
                        <a:pt x="24169" y="23920"/>
                        <a:pt x="17069" y="25913"/>
                      </a:cubicBezTo>
                      <a:cubicBezTo>
                        <a:pt x="9969"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9" name="Freeform 7171">
                  <a:extLst>
                    <a:ext uri="{FF2B5EF4-FFF2-40B4-BE49-F238E27FC236}">
                      <a16:creationId xmlns:a16="http://schemas.microsoft.com/office/drawing/2014/main" id="{86610CA2-F4B6-DA5E-583E-190343ECA61F}"/>
                    </a:ext>
                  </a:extLst>
                </p:cNvPr>
                <p:cNvSpPr/>
                <p:nvPr/>
              </p:nvSpPr>
              <p:spPr>
                <a:xfrm>
                  <a:off x="8885813" y="1505727"/>
                  <a:ext cx="13982" cy="50196"/>
                </a:xfrm>
                <a:custGeom>
                  <a:avLst/>
                  <a:gdLst>
                    <a:gd name="connsiteX0" fmla="*/ 6 w 13982"/>
                    <a:gd name="connsiteY0" fmla="*/ 0 h 50196"/>
                    <a:gd name="connsiteX1" fmla="*/ 3369 w 13982"/>
                    <a:gd name="connsiteY1" fmla="*/ 18435 h 50196"/>
                    <a:gd name="connsiteX2" fmla="*/ 11465 w 13982"/>
                    <a:gd name="connsiteY2" fmla="*/ 33880 h 50196"/>
                    <a:gd name="connsiteX3" fmla="*/ 13957 w 1398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982" h="50196">
                      <a:moveTo>
                        <a:pt x="6" y="0"/>
                      </a:moveTo>
                      <a:cubicBezTo>
                        <a:pt x="-118" y="8345"/>
                        <a:pt x="1626" y="14449"/>
                        <a:pt x="3369" y="18435"/>
                      </a:cubicBezTo>
                      <a:cubicBezTo>
                        <a:pt x="6110" y="24912"/>
                        <a:pt x="8974" y="27278"/>
                        <a:pt x="11465" y="33880"/>
                      </a:cubicBezTo>
                      <a:cubicBezTo>
                        <a:pt x="13832" y="40357"/>
                        <a:pt x="14081" y="46211"/>
                        <a:pt x="13957"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0" name="Freeform 7172">
                  <a:extLst>
                    <a:ext uri="{FF2B5EF4-FFF2-40B4-BE49-F238E27FC236}">
                      <a16:creationId xmlns:a16="http://schemas.microsoft.com/office/drawing/2014/main" id="{2EFBE841-83B0-2191-AE27-07AF77186138}"/>
                    </a:ext>
                  </a:extLst>
                </p:cNvPr>
                <p:cNvSpPr/>
                <p:nvPr/>
              </p:nvSpPr>
              <p:spPr>
                <a:xfrm>
                  <a:off x="8891176" y="1499126"/>
                  <a:ext cx="15195" cy="49823"/>
                </a:xfrm>
                <a:custGeom>
                  <a:avLst/>
                  <a:gdLst>
                    <a:gd name="connsiteX0" fmla="*/ 15196 w 15195"/>
                    <a:gd name="connsiteY0" fmla="*/ 49823 h 49823"/>
                    <a:gd name="connsiteX1" fmla="*/ 8096 w 15195"/>
                    <a:gd name="connsiteY1" fmla="*/ 32385 h 49823"/>
                    <a:gd name="connsiteX2" fmla="*/ 6601 w 15195"/>
                    <a:gd name="connsiteY2" fmla="*/ 15071 h 49823"/>
                    <a:gd name="connsiteX3" fmla="*/ 0 w 15195"/>
                    <a:gd name="connsiteY3" fmla="*/ 0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49823"/>
                      </a:moveTo>
                      <a:cubicBezTo>
                        <a:pt x="10587" y="42723"/>
                        <a:pt x="8844" y="36620"/>
                        <a:pt x="8096" y="32385"/>
                      </a:cubicBezTo>
                      <a:cubicBezTo>
                        <a:pt x="6851" y="25534"/>
                        <a:pt x="8096" y="22047"/>
                        <a:pt x="6601" y="15071"/>
                      </a:cubicBezTo>
                      <a:cubicBezTo>
                        <a:pt x="5107"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1" name="Freeform 7173">
                  <a:extLst>
                    <a:ext uri="{FF2B5EF4-FFF2-40B4-BE49-F238E27FC236}">
                      <a16:creationId xmlns:a16="http://schemas.microsoft.com/office/drawing/2014/main" id="{111EC2BE-A170-2C4C-24C4-7A5DEFC15550}"/>
                    </a:ext>
                  </a:extLst>
                </p:cNvPr>
                <p:cNvSpPr/>
                <p:nvPr/>
              </p:nvSpPr>
              <p:spPr>
                <a:xfrm>
                  <a:off x="8874221" y="1484725"/>
                  <a:ext cx="26356" cy="26487"/>
                </a:xfrm>
                <a:custGeom>
                  <a:avLst/>
                  <a:gdLst>
                    <a:gd name="connsiteX0" fmla="*/ 25798 w 26356"/>
                    <a:gd name="connsiteY0" fmla="*/ 9668 h 26487"/>
                    <a:gd name="connsiteX1" fmla="*/ 16830 w 26356"/>
                    <a:gd name="connsiteY1" fmla="*/ 25985 h 26487"/>
                    <a:gd name="connsiteX2" fmla="*/ 513 w 26356"/>
                    <a:gd name="connsiteY2" fmla="*/ 16768 h 26487"/>
                    <a:gd name="connsiteX3" fmla="*/ 9481 w 26356"/>
                    <a:gd name="connsiteY3" fmla="*/ 451 h 26487"/>
                    <a:gd name="connsiteX4" fmla="*/ 25798 w 26356"/>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87">
                      <a:moveTo>
                        <a:pt x="25798" y="9668"/>
                      </a:moveTo>
                      <a:cubicBezTo>
                        <a:pt x="27916" y="16643"/>
                        <a:pt x="23805" y="23992"/>
                        <a:pt x="16830" y="25985"/>
                      </a:cubicBezTo>
                      <a:cubicBezTo>
                        <a:pt x="9855" y="27978"/>
                        <a:pt x="2506" y="23867"/>
                        <a:pt x="513" y="16768"/>
                      </a:cubicBezTo>
                      <a:cubicBezTo>
                        <a:pt x="-1480" y="9792"/>
                        <a:pt x="2506" y="2443"/>
                        <a:pt x="9481" y="451"/>
                      </a:cubicBezTo>
                      <a:cubicBezTo>
                        <a:pt x="16457" y="-1418"/>
                        <a:pt x="23805" y="2693"/>
                        <a:pt x="25798"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2" name="Graphic 2987">
                <a:extLst>
                  <a:ext uri="{FF2B5EF4-FFF2-40B4-BE49-F238E27FC236}">
                    <a16:creationId xmlns:a16="http://schemas.microsoft.com/office/drawing/2014/main" id="{FC7FE2A3-82FE-A3A0-84E0-49ADB32D2509}"/>
                  </a:ext>
                </a:extLst>
              </p:cNvPr>
              <p:cNvGrpSpPr/>
              <p:nvPr/>
            </p:nvGrpSpPr>
            <p:grpSpPr>
              <a:xfrm>
                <a:off x="8845946" y="1492644"/>
                <a:ext cx="60180" cy="144176"/>
                <a:chOff x="8845946" y="1492644"/>
                <a:chExt cx="60180" cy="144176"/>
              </a:xfrm>
              <a:grpFill/>
            </p:grpSpPr>
            <p:sp>
              <p:nvSpPr>
                <p:cNvPr id="6900" name="Freeform 7175">
                  <a:extLst>
                    <a:ext uri="{FF2B5EF4-FFF2-40B4-BE49-F238E27FC236}">
                      <a16:creationId xmlns:a16="http://schemas.microsoft.com/office/drawing/2014/main" id="{D6E63C87-8028-42AA-D01C-6A2E8CA2BC9F}"/>
                    </a:ext>
                  </a:extLst>
                </p:cNvPr>
                <p:cNvSpPr/>
                <p:nvPr/>
              </p:nvSpPr>
              <p:spPr>
                <a:xfrm>
                  <a:off x="8880636" y="1565515"/>
                  <a:ext cx="13676" cy="50321"/>
                </a:xfrm>
                <a:custGeom>
                  <a:avLst/>
                  <a:gdLst>
                    <a:gd name="connsiteX0" fmla="*/ 13654 w 13676"/>
                    <a:gd name="connsiteY0" fmla="*/ 50321 h 50321"/>
                    <a:gd name="connsiteX1" fmla="*/ 10415 w 13676"/>
                    <a:gd name="connsiteY1" fmla="*/ 31762 h 50321"/>
                    <a:gd name="connsiteX2" fmla="*/ 2443 w 13676"/>
                    <a:gd name="connsiteY2" fmla="*/ 16317 h 50321"/>
                    <a:gd name="connsiteX3" fmla="*/ 77 w 13676"/>
                    <a:gd name="connsiteY3" fmla="*/ 0 h 50321"/>
                  </a:gdLst>
                  <a:ahLst/>
                  <a:cxnLst>
                    <a:cxn ang="0">
                      <a:pos x="connsiteX0" y="connsiteY0"/>
                    </a:cxn>
                    <a:cxn ang="0">
                      <a:pos x="connsiteX1" y="connsiteY1"/>
                    </a:cxn>
                    <a:cxn ang="0">
                      <a:pos x="connsiteX2" y="connsiteY2"/>
                    </a:cxn>
                    <a:cxn ang="0">
                      <a:pos x="connsiteX3" y="connsiteY3"/>
                    </a:cxn>
                  </a:cxnLst>
                  <a:rect l="l" t="t" r="r" b="b"/>
                  <a:pathLst>
                    <a:path w="13676" h="50321">
                      <a:moveTo>
                        <a:pt x="13654" y="50321"/>
                      </a:moveTo>
                      <a:cubicBezTo>
                        <a:pt x="13903" y="41976"/>
                        <a:pt x="12035" y="35873"/>
                        <a:pt x="10415" y="31762"/>
                      </a:cubicBezTo>
                      <a:cubicBezTo>
                        <a:pt x="7799" y="25285"/>
                        <a:pt x="4810" y="22919"/>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1" name="Freeform 7176">
                  <a:extLst>
                    <a:ext uri="{FF2B5EF4-FFF2-40B4-BE49-F238E27FC236}">
                      <a16:creationId xmlns:a16="http://schemas.microsoft.com/office/drawing/2014/main" id="{458BB500-BE2F-A275-F005-40836FDFACA1}"/>
                    </a:ext>
                  </a:extLst>
                </p:cNvPr>
                <p:cNvSpPr/>
                <p:nvPr/>
              </p:nvSpPr>
              <p:spPr>
                <a:xfrm>
                  <a:off x="8873862" y="1572615"/>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2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6975" y="27901"/>
                        <a:pt x="8470" y="34752"/>
                      </a:cubicBezTo>
                      <a:cubicBezTo>
                        <a:pt x="9840" y="41478"/>
                        <a:pt x="12830" y="46585"/>
                        <a:pt x="1507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2" name="Freeform 7177">
                  <a:extLst>
                    <a:ext uri="{FF2B5EF4-FFF2-40B4-BE49-F238E27FC236}">
                      <a16:creationId xmlns:a16="http://schemas.microsoft.com/office/drawing/2014/main" id="{94CE3BB2-95AC-2990-246B-BBA5586A7BB0}"/>
                    </a:ext>
                  </a:extLst>
                </p:cNvPr>
                <p:cNvSpPr/>
                <p:nvPr/>
              </p:nvSpPr>
              <p:spPr>
                <a:xfrm>
                  <a:off x="8879338" y="1610351"/>
                  <a:ext cx="26788" cy="26469"/>
                </a:xfrm>
                <a:custGeom>
                  <a:avLst/>
                  <a:gdLst>
                    <a:gd name="connsiteX0" fmla="*/ 502 w 26788"/>
                    <a:gd name="connsiteY0" fmla="*/ 16820 h 26469"/>
                    <a:gd name="connsiteX1" fmla="*/ 9720 w 26788"/>
                    <a:gd name="connsiteY1" fmla="*/ 503 h 26469"/>
                    <a:gd name="connsiteX2" fmla="*/ 26286 w 26788"/>
                    <a:gd name="connsiteY2" fmla="*/ 9596 h 26469"/>
                    <a:gd name="connsiteX3" fmla="*/ 17069 w 26788"/>
                    <a:gd name="connsiteY3" fmla="*/ 25913 h 26469"/>
                    <a:gd name="connsiteX4" fmla="*/ 502 w 26788"/>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69">
                      <a:moveTo>
                        <a:pt x="502" y="16820"/>
                      </a:moveTo>
                      <a:cubicBezTo>
                        <a:pt x="-1490" y="9720"/>
                        <a:pt x="2620" y="2496"/>
                        <a:pt x="9720" y="503"/>
                      </a:cubicBezTo>
                      <a:cubicBezTo>
                        <a:pt x="16819" y="-1490"/>
                        <a:pt x="24169" y="2621"/>
                        <a:pt x="26286" y="9596"/>
                      </a:cubicBezTo>
                      <a:cubicBezTo>
                        <a:pt x="28279" y="16571"/>
                        <a:pt x="24169" y="23920"/>
                        <a:pt x="17069" y="25913"/>
                      </a:cubicBezTo>
                      <a:cubicBezTo>
                        <a:pt x="9844"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3" name="Freeform 7178">
                  <a:extLst>
                    <a:ext uri="{FF2B5EF4-FFF2-40B4-BE49-F238E27FC236}">
                      <a16:creationId xmlns:a16="http://schemas.microsoft.com/office/drawing/2014/main" id="{9688C7BE-BDC4-08EA-A506-9C47F0EDF301}"/>
                    </a:ext>
                  </a:extLst>
                </p:cNvPr>
                <p:cNvSpPr/>
                <p:nvPr/>
              </p:nvSpPr>
              <p:spPr>
                <a:xfrm>
                  <a:off x="8857539" y="1513699"/>
                  <a:ext cx="13660" cy="50321"/>
                </a:xfrm>
                <a:custGeom>
                  <a:avLst/>
                  <a:gdLst>
                    <a:gd name="connsiteX0" fmla="*/ 6 w 13660"/>
                    <a:gd name="connsiteY0" fmla="*/ 0 h 50321"/>
                    <a:gd name="connsiteX1" fmla="*/ 3245 w 13660"/>
                    <a:gd name="connsiteY1" fmla="*/ 18559 h 50321"/>
                    <a:gd name="connsiteX2" fmla="*/ 11217 w 13660"/>
                    <a:gd name="connsiteY2" fmla="*/ 34004 h 50321"/>
                    <a:gd name="connsiteX3" fmla="*/ 13583 w 13660"/>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60" h="50321">
                      <a:moveTo>
                        <a:pt x="6" y="0"/>
                      </a:moveTo>
                      <a:cubicBezTo>
                        <a:pt x="-118" y="8345"/>
                        <a:pt x="1626" y="14449"/>
                        <a:pt x="3245" y="18559"/>
                      </a:cubicBezTo>
                      <a:cubicBezTo>
                        <a:pt x="5861" y="25036"/>
                        <a:pt x="8726" y="27403"/>
                        <a:pt x="11217"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4" name="Freeform 7179">
                  <a:extLst>
                    <a:ext uri="{FF2B5EF4-FFF2-40B4-BE49-F238E27FC236}">
                      <a16:creationId xmlns:a16="http://schemas.microsoft.com/office/drawing/2014/main" id="{66DCF922-7BBD-1D7E-7CB5-D5A093FB1F17}"/>
                    </a:ext>
                  </a:extLst>
                </p:cNvPr>
                <p:cNvSpPr/>
                <p:nvPr/>
              </p:nvSpPr>
              <p:spPr>
                <a:xfrm>
                  <a:off x="8862776" y="1506973"/>
                  <a:ext cx="15071" cy="49947"/>
                </a:xfrm>
                <a:custGeom>
                  <a:avLst/>
                  <a:gdLst>
                    <a:gd name="connsiteX0" fmla="*/ 15072 w 15071"/>
                    <a:gd name="connsiteY0" fmla="*/ 49948 h 49947"/>
                    <a:gd name="connsiteX1" fmla="*/ 7972 w 15071"/>
                    <a:gd name="connsiteY1" fmla="*/ 32510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10"/>
                      </a:cubicBezTo>
                      <a:cubicBezTo>
                        <a:pt x="6851" y="25659"/>
                        <a:pt x="7972" y="22171"/>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5" name="Freeform 7180">
                  <a:extLst>
                    <a:ext uri="{FF2B5EF4-FFF2-40B4-BE49-F238E27FC236}">
                      <a16:creationId xmlns:a16="http://schemas.microsoft.com/office/drawing/2014/main" id="{7D7DC82B-1CF8-9420-2E29-C3C64D7298AC}"/>
                    </a:ext>
                  </a:extLst>
                </p:cNvPr>
                <p:cNvSpPr/>
                <p:nvPr/>
              </p:nvSpPr>
              <p:spPr>
                <a:xfrm>
                  <a:off x="8845946" y="1492644"/>
                  <a:ext cx="26311" cy="26539"/>
                </a:xfrm>
                <a:custGeom>
                  <a:avLst/>
                  <a:gdLst>
                    <a:gd name="connsiteX0" fmla="*/ 25798 w 26311"/>
                    <a:gd name="connsiteY0" fmla="*/ 9720 h 26539"/>
                    <a:gd name="connsiteX1" fmla="*/ 16830 w 26311"/>
                    <a:gd name="connsiteY1" fmla="*/ 26037 h 26539"/>
                    <a:gd name="connsiteX2" fmla="*/ 513 w 26311"/>
                    <a:gd name="connsiteY2" fmla="*/ 16820 h 26539"/>
                    <a:gd name="connsiteX3" fmla="*/ 9481 w 26311"/>
                    <a:gd name="connsiteY3" fmla="*/ 503 h 26539"/>
                    <a:gd name="connsiteX4" fmla="*/ 25798 w 2631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25798" y="9720"/>
                      </a:moveTo>
                      <a:cubicBezTo>
                        <a:pt x="27791" y="16695"/>
                        <a:pt x="23805" y="24044"/>
                        <a:pt x="16830" y="26037"/>
                      </a:cubicBezTo>
                      <a:cubicBezTo>
                        <a:pt x="9855" y="28030"/>
                        <a:pt x="2506" y="23919"/>
                        <a:pt x="513" y="16820"/>
                      </a:cubicBezTo>
                      <a:cubicBezTo>
                        <a:pt x="-1480" y="9720"/>
                        <a:pt x="2506" y="2495"/>
                        <a:pt x="9481" y="503"/>
                      </a:cubicBezTo>
                      <a:cubicBezTo>
                        <a:pt x="16457" y="-1490"/>
                        <a:pt x="23681" y="2620"/>
                        <a:pt x="25798"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3" name="Graphic 2987">
                <a:extLst>
                  <a:ext uri="{FF2B5EF4-FFF2-40B4-BE49-F238E27FC236}">
                    <a16:creationId xmlns:a16="http://schemas.microsoft.com/office/drawing/2014/main" id="{A62A395E-ADCA-99C7-D029-C74850FE3522}"/>
                  </a:ext>
                </a:extLst>
              </p:cNvPr>
              <p:cNvGrpSpPr/>
              <p:nvPr/>
            </p:nvGrpSpPr>
            <p:grpSpPr>
              <a:xfrm>
                <a:off x="8817433" y="1500616"/>
                <a:ext cx="59920" cy="144256"/>
                <a:chOff x="8817433" y="1500616"/>
                <a:chExt cx="59920" cy="144256"/>
              </a:xfrm>
              <a:grpFill/>
            </p:grpSpPr>
            <p:sp>
              <p:nvSpPr>
                <p:cNvPr id="6894" name="Freeform 7182">
                  <a:extLst>
                    <a:ext uri="{FF2B5EF4-FFF2-40B4-BE49-F238E27FC236}">
                      <a16:creationId xmlns:a16="http://schemas.microsoft.com/office/drawing/2014/main" id="{AA43A6B6-B0BF-EB3B-6923-3018952E4AD4}"/>
                    </a:ext>
                  </a:extLst>
                </p:cNvPr>
                <p:cNvSpPr/>
                <p:nvPr/>
              </p:nvSpPr>
              <p:spPr>
                <a:xfrm>
                  <a:off x="8852032" y="1573362"/>
                  <a:ext cx="13508" cy="50445"/>
                </a:xfrm>
                <a:custGeom>
                  <a:avLst/>
                  <a:gdLst>
                    <a:gd name="connsiteX0" fmla="*/ 13485 w 13508"/>
                    <a:gd name="connsiteY0" fmla="*/ 50446 h 50445"/>
                    <a:gd name="connsiteX1" fmla="*/ 10371 w 13508"/>
                    <a:gd name="connsiteY1" fmla="*/ 31887 h 50445"/>
                    <a:gd name="connsiteX2" fmla="*/ 2399 w 13508"/>
                    <a:gd name="connsiteY2" fmla="*/ 16317 h 50445"/>
                    <a:gd name="connsiteX3" fmla="*/ 33 w 13508"/>
                    <a:gd name="connsiteY3" fmla="*/ 0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50446"/>
                      </a:moveTo>
                      <a:cubicBezTo>
                        <a:pt x="13734" y="41976"/>
                        <a:pt x="11990" y="35997"/>
                        <a:pt x="10371" y="31887"/>
                      </a:cubicBezTo>
                      <a:cubicBezTo>
                        <a:pt x="7755" y="25410"/>
                        <a:pt x="4891" y="23043"/>
                        <a:pt x="2399" y="16317"/>
                      </a:cubicBezTo>
                      <a:cubicBezTo>
                        <a:pt x="33" y="9840"/>
                        <a:pt x="-92"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5" name="Freeform 7183">
                  <a:extLst>
                    <a:ext uri="{FF2B5EF4-FFF2-40B4-BE49-F238E27FC236}">
                      <a16:creationId xmlns:a16="http://schemas.microsoft.com/office/drawing/2014/main" id="{E0CAA4A9-17A3-BA45-639E-A2E625CB1157}"/>
                    </a:ext>
                  </a:extLst>
                </p:cNvPr>
                <p:cNvSpPr/>
                <p:nvPr/>
              </p:nvSpPr>
              <p:spPr>
                <a:xfrm>
                  <a:off x="8845214" y="1580586"/>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7"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6" name="Freeform 7184">
                  <a:extLst>
                    <a:ext uri="{FF2B5EF4-FFF2-40B4-BE49-F238E27FC236}">
                      <a16:creationId xmlns:a16="http://schemas.microsoft.com/office/drawing/2014/main" id="{FE134AB7-022F-26FF-E7DB-4F6028B746C1}"/>
                    </a:ext>
                  </a:extLst>
                </p:cNvPr>
                <p:cNvSpPr/>
                <p:nvPr/>
              </p:nvSpPr>
              <p:spPr>
                <a:xfrm>
                  <a:off x="8850575" y="1618447"/>
                  <a:ext cx="26778" cy="26425"/>
                </a:xfrm>
                <a:custGeom>
                  <a:avLst/>
                  <a:gdLst>
                    <a:gd name="connsiteX0" fmla="*/ 493 w 26778"/>
                    <a:gd name="connsiteY0" fmla="*/ 16820 h 26425"/>
                    <a:gd name="connsiteX1" fmla="*/ 9835 w 26778"/>
                    <a:gd name="connsiteY1" fmla="*/ 503 h 26425"/>
                    <a:gd name="connsiteX2" fmla="*/ 26276 w 26778"/>
                    <a:gd name="connsiteY2" fmla="*/ 9596 h 26425"/>
                    <a:gd name="connsiteX3" fmla="*/ 16935 w 26778"/>
                    <a:gd name="connsiteY3" fmla="*/ 25913 h 26425"/>
                    <a:gd name="connsiteX4" fmla="*/ 493 w 26778"/>
                    <a:gd name="connsiteY4" fmla="*/ 16820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424">
                      <a:moveTo>
                        <a:pt x="493" y="16820"/>
                      </a:moveTo>
                      <a:cubicBezTo>
                        <a:pt x="-1500" y="9720"/>
                        <a:pt x="2736" y="2496"/>
                        <a:pt x="9835" y="503"/>
                      </a:cubicBezTo>
                      <a:cubicBezTo>
                        <a:pt x="16935" y="-1490"/>
                        <a:pt x="24284" y="2621"/>
                        <a:pt x="26276" y="9596"/>
                      </a:cubicBezTo>
                      <a:cubicBezTo>
                        <a:pt x="28270" y="16696"/>
                        <a:pt x="24159" y="23920"/>
                        <a:pt x="16935" y="25913"/>
                      </a:cubicBezTo>
                      <a:cubicBezTo>
                        <a:pt x="9835" y="27906"/>
                        <a:pt x="2486" y="23920"/>
                        <a:pt x="49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7" name="Freeform 7185">
                  <a:extLst>
                    <a:ext uri="{FF2B5EF4-FFF2-40B4-BE49-F238E27FC236}">
                      <a16:creationId xmlns:a16="http://schemas.microsoft.com/office/drawing/2014/main" id="{7F823A95-5066-D621-3BD2-03B4B864B28E}"/>
                    </a:ext>
                  </a:extLst>
                </p:cNvPr>
                <p:cNvSpPr/>
                <p:nvPr/>
              </p:nvSpPr>
              <p:spPr>
                <a:xfrm>
                  <a:off x="8829122" y="1521671"/>
                  <a:ext cx="13508" cy="50445"/>
                </a:xfrm>
                <a:custGeom>
                  <a:avLst/>
                  <a:gdLst>
                    <a:gd name="connsiteX0" fmla="*/ 24 w 13508"/>
                    <a:gd name="connsiteY0" fmla="*/ 0 h 50445"/>
                    <a:gd name="connsiteX1" fmla="*/ 3138 w 13508"/>
                    <a:gd name="connsiteY1" fmla="*/ 18559 h 50445"/>
                    <a:gd name="connsiteX2" fmla="*/ 11109 w 13508"/>
                    <a:gd name="connsiteY2" fmla="*/ 34129 h 50445"/>
                    <a:gd name="connsiteX3" fmla="*/ 13476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24" y="0"/>
                      </a:moveTo>
                      <a:cubicBezTo>
                        <a:pt x="-225" y="8345"/>
                        <a:pt x="1519" y="14449"/>
                        <a:pt x="3138" y="18559"/>
                      </a:cubicBezTo>
                      <a:cubicBezTo>
                        <a:pt x="5753" y="25036"/>
                        <a:pt x="8618" y="27403"/>
                        <a:pt x="11109" y="34129"/>
                      </a:cubicBezTo>
                      <a:cubicBezTo>
                        <a:pt x="13476" y="40606"/>
                        <a:pt x="13600" y="46460"/>
                        <a:pt x="1347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8" name="Freeform 7186">
                  <a:extLst>
                    <a:ext uri="{FF2B5EF4-FFF2-40B4-BE49-F238E27FC236}">
                      <a16:creationId xmlns:a16="http://schemas.microsoft.com/office/drawing/2014/main" id="{A22E4787-361D-0B0A-D760-4A32C323E97C}"/>
                    </a:ext>
                  </a:extLst>
                </p:cNvPr>
                <p:cNvSpPr/>
                <p:nvPr/>
              </p:nvSpPr>
              <p:spPr>
                <a:xfrm>
                  <a:off x="8834502" y="1514944"/>
                  <a:ext cx="14822" cy="49947"/>
                </a:xfrm>
                <a:custGeom>
                  <a:avLst/>
                  <a:gdLst>
                    <a:gd name="connsiteX0" fmla="*/ 14822 w 14822"/>
                    <a:gd name="connsiteY0" fmla="*/ 49948 h 49947"/>
                    <a:gd name="connsiteX1" fmla="*/ 7847 w 14822"/>
                    <a:gd name="connsiteY1" fmla="*/ 32510 h 49947"/>
                    <a:gd name="connsiteX2" fmla="*/ 6476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1" y="22047"/>
                        <a:pt x="6476" y="15196"/>
                      </a:cubicBezTo>
                      <a:cubicBezTo>
                        <a:pt x="510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9" name="Freeform 7187">
                  <a:extLst>
                    <a:ext uri="{FF2B5EF4-FFF2-40B4-BE49-F238E27FC236}">
                      <a16:creationId xmlns:a16="http://schemas.microsoft.com/office/drawing/2014/main" id="{ACE787C0-1C80-D3F2-6512-726A1D767CCE}"/>
                    </a:ext>
                  </a:extLst>
                </p:cNvPr>
                <p:cNvSpPr/>
                <p:nvPr/>
              </p:nvSpPr>
              <p:spPr>
                <a:xfrm>
                  <a:off x="8817433" y="1500616"/>
                  <a:ext cx="26415" cy="26539"/>
                </a:xfrm>
                <a:custGeom>
                  <a:avLst/>
                  <a:gdLst>
                    <a:gd name="connsiteX0" fmla="*/ 25913 w 26415"/>
                    <a:gd name="connsiteY0" fmla="*/ 9720 h 26539"/>
                    <a:gd name="connsiteX1" fmla="*/ 16820 w 26415"/>
                    <a:gd name="connsiteY1" fmla="*/ 26037 h 26539"/>
                    <a:gd name="connsiteX2" fmla="*/ 503 w 26415"/>
                    <a:gd name="connsiteY2" fmla="*/ 16820 h 26539"/>
                    <a:gd name="connsiteX3" fmla="*/ 9596 w 26415"/>
                    <a:gd name="connsiteY3" fmla="*/ 503 h 26539"/>
                    <a:gd name="connsiteX4" fmla="*/ 25913 w 2641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9720"/>
                      </a:moveTo>
                      <a:cubicBezTo>
                        <a:pt x="27906" y="16820"/>
                        <a:pt x="23795" y="24044"/>
                        <a:pt x="16820" y="26037"/>
                      </a:cubicBezTo>
                      <a:cubicBezTo>
                        <a:pt x="9845" y="28030"/>
                        <a:pt x="2496" y="23919"/>
                        <a:pt x="503" y="16820"/>
                      </a:cubicBezTo>
                      <a:cubicBezTo>
                        <a:pt x="-1490" y="9720"/>
                        <a:pt x="2620" y="2495"/>
                        <a:pt x="9596" y="503"/>
                      </a:cubicBezTo>
                      <a:cubicBezTo>
                        <a:pt x="16695" y="-1490"/>
                        <a:pt x="23920" y="2620"/>
                        <a:pt x="2591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4" name="Graphic 2987">
                <a:extLst>
                  <a:ext uri="{FF2B5EF4-FFF2-40B4-BE49-F238E27FC236}">
                    <a16:creationId xmlns:a16="http://schemas.microsoft.com/office/drawing/2014/main" id="{99B530C3-9D7B-01AD-EC9F-6D9AA1BA8F4A}"/>
                  </a:ext>
                </a:extLst>
              </p:cNvPr>
              <p:cNvGrpSpPr/>
              <p:nvPr/>
            </p:nvGrpSpPr>
            <p:grpSpPr>
              <a:xfrm>
                <a:off x="8789283" y="1508515"/>
                <a:ext cx="59289" cy="144516"/>
                <a:chOff x="8789283" y="1508515"/>
                <a:chExt cx="59289" cy="144516"/>
              </a:xfrm>
              <a:grpFill/>
            </p:grpSpPr>
            <p:sp>
              <p:nvSpPr>
                <p:cNvPr id="6888" name="Freeform 7189">
                  <a:extLst>
                    <a:ext uri="{FF2B5EF4-FFF2-40B4-BE49-F238E27FC236}">
                      <a16:creationId xmlns:a16="http://schemas.microsoft.com/office/drawing/2014/main" id="{B3079020-CB84-7D33-A2A5-F5373AF3E621}"/>
                    </a:ext>
                  </a:extLst>
                </p:cNvPr>
                <p:cNvSpPr/>
                <p:nvPr/>
              </p:nvSpPr>
              <p:spPr>
                <a:xfrm>
                  <a:off x="8823451" y="1581458"/>
                  <a:ext cx="13317" cy="50445"/>
                </a:xfrm>
                <a:custGeom>
                  <a:avLst/>
                  <a:gdLst>
                    <a:gd name="connsiteX0" fmla="*/ 13293 w 13317"/>
                    <a:gd name="connsiteY0" fmla="*/ 50446 h 50445"/>
                    <a:gd name="connsiteX1" fmla="*/ 10180 w 13317"/>
                    <a:gd name="connsiteY1" fmla="*/ 31887 h 50445"/>
                    <a:gd name="connsiteX2" fmla="*/ 2332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2" y="41976"/>
                        <a:pt x="11799" y="35873"/>
                        <a:pt x="10180" y="31887"/>
                      </a:cubicBezTo>
                      <a:cubicBezTo>
                        <a:pt x="7564" y="25410"/>
                        <a:pt x="4699" y="23043"/>
                        <a:pt x="2332"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9" name="Freeform 7190">
                  <a:extLst>
                    <a:ext uri="{FF2B5EF4-FFF2-40B4-BE49-F238E27FC236}">
                      <a16:creationId xmlns:a16="http://schemas.microsoft.com/office/drawing/2014/main" id="{17D7A3A7-A069-BC13-4328-B5E315C152F0}"/>
                    </a:ext>
                  </a:extLst>
                </p:cNvPr>
                <p:cNvSpPr/>
                <p:nvPr/>
              </p:nvSpPr>
              <p:spPr>
                <a:xfrm>
                  <a:off x="8816690" y="1588683"/>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4"/>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0" name="Freeform 7191">
                  <a:extLst>
                    <a:ext uri="{FF2B5EF4-FFF2-40B4-BE49-F238E27FC236}">
                      <a16:creationId xmlns:a16="http://schemas.microsoft.com/office/drawing/2014/main" id="{8CE0B2A6-4C61-3E0E-08A1-D934A78E4222}"/>
                    </a:ext>
                  </a:extLst>
                </p:cNvPr>
                <p:cNvSpPr/>
                <p:nvPr/>
              </p:nvSpPr>
              <p:spPr>
                <a:xfrm>
                  <a:off x="8821802" y="1626419"/>
                  <a:ext cx="26769" cy="26611"/>
                </a:xfrm>
                <a:custGeom>
                  <a:avLst/>
                  <a:gdLst>
                    <a:gd name="connsiteX0" fmla="*/ 493 w 26769"/>
                    <a:gd name="connsiteY0" fmla="*/ 16944 h 26611"/>
                    <a:gd name="connsiteX1" fmla="*/ 9835 w 26769"/>
                    <a:gd name="connsiteY1" fmla="*/ 503 h 26611"/>
                    <a:gd name="connsiteX2" fmla="*/ 26276 w 26769"/>
                    <a:gd name="connsiteY2" fmla="*/ 9720 h 26611"/>
                    <a:gd name="connsiteX3" fmla="*/ 16935 w 26769"/>
                    <a:gd name="connsiteY3" fmla="*/ 26161 h 26611"/>
                    <a:gd name="connsiteX4" fmla="*/ 493 w 26769"/>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11">
                      <a:moveTo>
                        <a:pt x="493" y="16944"/>
                      </a:moveTo>
                      <a:cubicBezTo>
                        <a:pt x="-1500" y="9844"/>
                        <a:pt x="2735" y="2495"/>
                        <a:pt x="9835" y="503"/>
                      </a:cubicBezTo>
                      <a:cubicBezTo>
                        <a:pt x="16935" y="-1490"/>
                        <a:pt x="24284" y="2620"/>
                        <a:pt x="26276" y="9720"/>
                      </a:cubicBezTo>
                      <a:cubicBezTo>
                        <a:pt x="28270" y="16820"/>
                        <a:pt x="24035" y="24044"/>
                        <a:pt x="16935" y="26161"/>
                      </a:cubicBezTo>
                      <a:cubicBezTo>
                        <a:pt x="9711" y="28030"/>
                        <a:pt x="2362" y="23919"/>
                        <a:pt x="493"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1" name="Freeform 7192">
                  <a:extLst>
                    <a:ext uri="{FF2B5EF4-FFF2-40B4-BE49-F238E27FC236}">
                      <a16:creationId xmlns:a16="http://schemas.microsoft.com/office/drawing/2014/main" id="{6DC6FE4F-5875-5A59-E880-8C723AD1E767}"/>
                    </a:ext>
                  </a:extLst>
                </p:cNvPr>
                <p:cNvSpPr/>
                <p:nvPr/>
              </p:nvSpPr>
              <p:spPr>
                <a:xfrm>
                  <a:off x="8800723" y="1529642"/>
                  <a:ext cx="13317" cy="50445"/>
                </a:xfrm>
                <a:custGeom>
                  <a:avLst/>
                  <a:gdLst>
                    <a:gd name="connsiteX0" fmla="*/ 24 w 13317"/>
                    <a:gd name="connsiteY0" fmla="*/ 0 h 50445"/>
                    <a:gd name="connsiteX1" fmla="*/ 3138 w 13317"/>
                    <a:gd name="connsiteY1" fmla="*/ 18559 h 50445"/>
                    <a:gd name="connsiteX2" fmla="*/ 10985 w 13317"/>
                    <a:gd name="connsiteY2" fmla="*/ 34129 h 50445"/>
                    <a:gd name="connsiteX3" fmla="*/ 13227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24" y="0"/>
                      </a:moveTo>
                      <a:cubicBezTo>
                        <a:pt x="-225" y="8470"/>
                        <a:pt x="1519" y="14573"/>
                        <a:pt x="3138" y="18559"/>
                      </a:cubicBezTo>
                      <a:cubicBezTo>
                        <a:pt x="5754"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2" name="Freeform 7193">
                  <a:extLst>
                    <a:ext uri="{FF2B5EF4-FFF2-40B4-BE49-F238E27FC236}">
                      <a16:creationId xmlns:a16="http://schemas.microsoft.com/office/drawing/2014/main" id="{C395B228-91FC-CA68-CEBC-F975A34EE8FC}"/>
                    </a:ext>
                  </a:extLst>
                </p:cNvPr>
                <p:cNvSpPr/>
                <p:nvPr/>
              </p:nvSpPr>
              <p:spPr>
                <a:xfrm>
                  <a:off x="8806103" y="1522792"/>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214" y="42972"/>
                        <a:pt x="8470"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3" name="Freeform 7194">
                  <a:extLst>
                    <a:ext uri="{FF2B5EF4-FFF2-40B4-BE49-F238E27FC236}">
                      <a16:creationId xmlns:a16="http://schemas.microsoft.com/office/drawing/2014/main" id="{32779702-1F26-E1F2-4DA1-2936AA92A7D9}"/>
                    </a:ext>
                  </a:extLst>
                </p:cNvPr>
                <p:cNvSpPr/>
                <p:nvPr/>
              </p:nvSpPr>
              <p:spPr>
                <a:xfrm>
                  <a:off x="8789283" y="1508515"/>
                  <a:ext cx="26291" cy="26487"/>
                </a:xfrm>
                <a:custGeom>
                  <a:avLst/>
                  <a:gdLst>
                    <a:gd name="connsiteX0" fmla="*/ 25789 w 26291"/>
                    <a:gd name="connsiteY0" fmla="*/ 9668 h 26487"/>
                    <a:gd name="connsiteX1" fmla="*/ 16695 w 26291"/>
                    <a:gd name="connsiteY1" fmla="*/ 25985 h 26487"/>
                    <a:gd name="connsiteX2" fmla="*/ 503 w 26291"/>
                    <a:gd name="connsiteY2" fmla="*/ 16768 h 26487"/>
                    <a:gd name="connsiteX3" fmla="*/ 9596 w 26291"/>
                    <a:gd name="connsiteY3" fmla="*/ 451 h 26487"/>
                    <a:gd name="connsiteX4" fmla="*/ 25789 w 26291"/>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25789" y="9668"/>
                      </a:moveTo>
                      <a:cubicBezTo>
                        <a:pt x="27781" y="16768"/>
                        <a:pt x="23671" y="23992"/>
                        <a:pt x="16695" y="25985"/>
                      </a:cubicBezTo>
                      <a:cubicBezTo>
                        <a:pt x="9720" y="27978"/>
                        <a:pt x="2372" y="23867"/>
                        <a:pt x="503" y="16768"/>
                      </a:cubicBezTo>
                      <a:cubicBezTo>
                        <a:pt x="-1490" y="9668"/>
                        <a:pt x="2620" y="2443"/>
                        <a:pt x="9596" y="451"/>
                      </a:cubicBezTo>
                      <a:cubicBezTo>
                        <a:pt x="16571" y="-1418"/>
                        <a:pt x="23795" y="2693"/>
                        <a:pt x="25789"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5" name="Graphic 2987">
                <a:extLst>
                  <a:ext uri="{FF2B5EF4-FFF2-40B4-BE49-F238E27FC236}">
                    <a16:creationId xmlns:a16="http://schemas.microsoft.com/office/drawing/2014/main" id="{DD073EE1-CD74-E1B4-324C-11FAD5C5FCC4}"/>
                  </a:ext>
                </a:extLst>
              </p:cNvPr>
              <p:cNvGrpSpPr/>
              <p:nvPr/>
            </p:nvGrpSpPr>
            <p:grpSpPr>
              <a:xfrm>
                <a:off x="8760768" y="1516435"/>
                <a:ext cx="58905" cy="144692"/>
                <a:chOff x="8760768" y="1516435"/>
                <a:chExt cx="58905" cy="144692"/>
              </a:xfrm>
              <a:grpFill/>
            </p:grpSpPr>
            <p:sp>
              <p:nvSpPr>
                <p:cNvPr id="6882" name="Freeform 7196">
                  <a:extLst>
                    <a:ext uri="{FF2B5EF4-FFF2-40B4-BE49-F238E27FC236}">
                      <a16:creationId xmlns:a16="http://schemas.microsoft.com/office/drawing/2014/main" id="{7FBF3CE5-41E7-4DD9-30B1-8CCAC35BDB30}"/>
                    </a:ext>
                  </a:extLst>
                </p:cNvPr>
                <p:cNvSpPr/>
                <p:nvPr/>
              </p:nvSpPr>
              <p:spPr>
                <a:xfrm>
                  <a:off x="8794815" y="1589555"/>
                  <a:ext cx="13181" cy="50445"/>
                </a:xfrm>
                <a:custGeom>
                  <a:avLst/>
                  <a:gdLst>
                    <a:gd name="connsiteX0" fmla="*/ 13156 w 13181"/>
                    <a:gd name="connsiteY0" fmla="*/ 50446 h 50445"/>
                    <a:gd name="connsiteX1" fmla="*/ 10167 w 13181"/>
                    <a:gd name="connsiteY1" fmla="*/ 31887 h 50445"/>
                    <a:gd name="connsiteX2" fmla="*/ 2320 w 13181"/>
                    <a:gd name="connsiteY2" fmla="*/ 16317 h 50445"/>
                    <a:gd name="connsiteX3" fmla="*/ 78 w 13181"/>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50446"/>
                      </a:moveTo>
                      <a:cubicBezTo>
                        <a:pt x="13405" y="41976"/>
                        <a:pt x="11786" y="35873"/>
                        <a:pt x="10167" y="31887"/>
                      </a:cubicBezTo>
                      <a:cubicBezTo>
                        <a:pt x="7551" y="25410"/>
                        <a:pt x="4686" y="23043"/>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3" name="Freeform 7197">
                  <a:extLst>
                    <a:ext uri="{FF2B5EF4-FFF2-40B4-BE49-F238E27FC236}">
                      <a16:creationId xmlns:a16="http://schemas.microsoft.com/office/drawing/2014/main" id="{A307EA46-7B8A-3AEB-D980-EB8DB2922B29}"/>
                    </a:ext>
                  </a:extLst>
                </p:cNvPr>
                <p:cNvSpPr/>
                <p:nvPr/>
              </p:nvSpPr>
              <p:spPr>
                <a:xfrm>
                  <a:off x="8788042" y="1596654"/>
                  <a:ext cx="14449" cy="50196"/>
                </a:xfrm>
                <a:custGeom>
                  <a:avLst/>
                  <a:gdLst>
                    <a:gd name="connsiteX0" fmla="*/ 0 w 14449"/>
                    <a:gd name="connsiteY0" fmla="*/ 0 h 50196"/>
                    <a:gd name="connsiteX1" fmla="*/ 6851 w 14449"/>
                    <a:gd name="connsiteY1" fmla="*/ 17563 h 50196"/>
                    <a:gd name="connsiteX2" fmla="*/ 8097 w 14449"/>
                    <a:gd name="connsiteY2" fmla="*/ 35001 h 50196"/>
                    <a:gd name="connsiteX3" fmla="*/ 14449 w 1444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9" h="50196">
                      <a:moveTo>
                        <a:pt x="0" y="0"/>
                      </a:moveTo>
                      <a:cubicBezTo>
                        <a:pt x="4485" y="7100"/>
                        <a:pt x="6228" y="13203"/>
                        <a:pt x="6851" y="17563"/>
                      </a:cubicBezTo>
                      <a:cubicBezTo>
                        <a:pt x="7972" y="24538"/>
                        <a:pt x="6727" y="28025"/>
                        <a:pt x="8097" y="35001"/>
                      </a:cubicBezTo>
                      <a:cubicBezTo>
                        <a:pt x="9467" y="41727"/>
                        <a:pt x="12332"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4" name="Freeform 7198">
                  <a:extLst>
                    <a:ext uri="{FF2B5EF4-FFF2-40B4-BE49-F238E27FC236}">
                      <a16:creationId xmlns:a16="http://schemas.microsoft.com/office/drawing/2014/main" id="{3F9DCCF9-20C7-3C37-808F-59D1FDB91F7B}"/>
                    </a:ext>
                  </a:extLst>
                </p:cNvPr>
                <p:cNvSpPr/>
                <p:nvPr/>
              </p:nvSpPr>
              <p:spPr>
                <a:xfrm>
                  <a:off x="8793072" y="1634516"/>
                  <a:ext cx="26601" cy="26611"/>
                </a:xfrm>
                <a:custGeom>
                  <a:avLst/>
                  <a:gdLst>
                    <a:gd name="connsiteX0" fmla="*/ 450 w 26601"/>
                    <a:gd name="connsiteY0" fmla="*/ 16944 h 26611"/>
                    <a:gd name="connsiteX1" fmla="*/ 9792 w 26601"/>
                    <a:gd name="connsiteY1" fmla="*/ 503 h 26611"/>
                    <a:gd name="connsiteX2" fmla="*/ 26109 w 26601"/>
                    <a:gd name="connsiteY2" fmla="*/ 9720 h 26611"/>
                    <a:gd name="connsiteX3" fmla="*/ 16767 w 26601"/>
                    <a:gd name="connsiteY3" fmla="*/ 26161 h 26611"/>
                    <a:gd name="connsiteX4" fmla="*/ 450 w 26601"/>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11">
                      <a:moveTo>
                        <a:pt x="450" y="16944"/>
                      </a:moveTo>
                      <a:cubicBezTo>
                        <a:pt x="-1418" y="9844"/>
                        <a:pt x="2692" y="2495"/>
                        <a:pt x="9792" y="503"/>
                      </a:cubicBezTo>
                      <a:cubicBezTo>
                        <a:pt x="16892" y="-1490"/>
                        <a:pt x="24241" y="2620"/>
                        <a:pt x="26109" y="9720"/>
                      </a:cubicBezTo>
                      <a:cubicBezTo>
                        <a:pt x="28102" y="16820"/>
                        <a:pt x="23867" y="24168"/>
                        <a:pt x="16767" y="26161"/>
                      </a:cubicBezTo>
                      <a:cubicBezTo>
                        <a:pt x="9667" y="28030"/>
                        <a:pt x="2319" y="23919"/>
                        <a:pt x="450"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5" name="Freeform 7199">
                  <a:extLst>
                    <a:ext uri="{FF2B5EF4-FFF2-40B4-BE49-F238E27FC236}">
                      <a16:creationId xmlns:a16="http://schemas.microsoft.com/office/drawing/2014/main" id="{BD8C51E0-5720-5D2B-91A1-6489814FCB28}"/>
                    </a:ext>
                  </a:extLst>
                </p:cNvPr>
                <p:cNvSpPr/>
                <p:nvPr/>
              </p:nvSpPr>
              <p:spPr>
                <a:xfrm>
                  <a:off x="8772446" y="1537489"/>
                  <a:ext cx="13057" cy="50445"/>
                </a:xfrm>
                <a:custGeom>
                  <a:avLst/>
                  <a:gdLst>
                    <a:gd name="connsiteX0" fmla="*/ 25 w 13057"/>
                    <a:gd name="connsiteY0" fmla="*/ 0 h 50445"/>
                    <a:gd name="connsiteX1" fmla="*/ 3015 w 13057"/>
                    <a:gd name="connsiteY1" fmla="*/ 18559 h 50445"/>
                    <a:gd name="connsiteX2" fmla="*/ 10738 w 13057"/>
                    <a:gd name="connsiteY2" fmla="*/ 34129 h 50445"/>
                    <a:gd name="connsiteX3" fmla="*/ 12980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25" y="0"/>
                      </a:moveTo>
                      <a:cubicBezTo>
                        <a:pt x="-223" y="8470"/>
                        <a:pt x="1396" y="14573"/>
                        <a:pt x="3015" y="18559"/>
                      </a:cubicBezTo>
                      <a:cubicBezTo>
                        <a:pt x="5631" y="25036"/>
                        <a:pt x="8495" y="27403"/>
                        <a:pt x="10738" y="34129"/>
                      </a:cubicBezTo>
                      <a:cubicBezTo>
                        <a:pt x="12980" y="40606"/>
                        <a:pt x="13228" y="46585"/>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6" name="Freeform 7200">
                  <a:extLst>
                    <a:ext uri="{FF2B5EF4-FFF2-40B4-BE49-F238E27FC236}">
                      <a16:creationId xmlns:a16="http://schemas.microsoft.com/office/drawing/2014/main" id="{42EA4779-1428-F8A4-0902-21FF643CB478}"/>
                    </a:ext>
                  </a:extLst>
                </p:cNvPr>
                <p:cNvSpPr/>
                <p:nvPr/>
              </p:nvSpPr>
              <p:spPr>
                <a:xfrm>
                  <a:off x="8777828" y="1530639"/>
                  <a:ext cx="14449" cy="50196"/>
                </a:xfrm>
                <a:custGeom>
                  <a:avLst/>
                  <a:gdLst>
                    <a:gd name="connsiteX0" fmla="*/ 14449 w 14449"/>
                    <a:gd name="connsiteY0" fmla="*/ 50197 h 50196"/>
                    <a:gd name="connsiteX1" fmla="*/ 7599 w 14449"/>
                    <a:gd name="connsiteY1" fmla="*/ 32634 h 50196"/>
                    <a:gd name="connsiteX2" fmla="*/ 6353 w 14449"/>
                    <a:gd name="connsiteY2" fmla="*/ 15196 h 50196"/>
                    <a:gd name="connsiteX3" fmla="*/ 0 w 14449"/>
                    <a:gd name="connsiteY3" fmla="*/ 0 h 50196"/>
                  </a:gdLst>
                  <a:ahLst/>
                  <a:cxnLst>
                    <a:cxn ang="0">
                      <a:pos x="connsiteX0" y="connsiteY0"/>
                    </a:cxn>
                    <a:cxn ang="0">
                      <a:pos x="connsiteX1" y="connsiteY1"/>
                    </a:cxn>
                    <a:cxn ang="0">
                      <a:pos x="connsiteX2" y="connsiteY2"/>
                    </a:cxn>
                    <a:cxn ang="0">
                      <a:pos x="connsiteX3" y="connsiteY3"/>
                    </a:cxn>
                  </a:cxnLst>
                  <a:rect l="l" t="t" r="r" b="b"/>
                  <a:pathLst>
                    <a:path w="14449" h="50196">
                      <a:moveTo>
                        <a:pt x="14449" y="50197"/>
                      </a:moveTo>
                      <a:cubicBezTo>
                        <a:pt x="9965" y="43097"/>
                        <a:pt x="8221" y="36994"/>
                        <a:pt x="7599" y="32634"/>
                      </a:cubicBezTo>
                      <a:cubicBezTo>
                        <a:pt x="6477" y="25659"/>
                        <a:pt x="7723" y="22171"/>
                        <a:pt x="6353" y="15196"/>
                      </a:cubicBezTo>
                      <a:cubicBezTo>
                        <a:pt x="4983"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7" name="Freeform 7201">
                  <a:extLst>
                    <a:ext uri="{FF2B5EF4-FFF2-40B4-BE49-F238E27FC236}">
                      <a16:creationId xmlns:a16="http://schemas.microsoft.com/office/drawing/2014/main" id="{1A863126-FBE2-D241-D824-754786182527}"/>
                    </a:ext>
                  </a:extLst>
                </p:cNvPr>
                <p:cNvSpPr/>
                <p:nvPr/>
              </p:nvSpPr>
              <p:spPr>
                <a:xfrm>
                  <a:off x="8760768" y="1516435"/>
                  <a:ext cx="26405" cy="26539"/>
                </a:xfrm>
                <a:custGeom>
                  <a:avLst/>
                  <a:gdLst>
                    <a:gd name="connsiteX0" fmla="*/ 25903 w 26405"/>
                    <a:gd name="connsiteY0" fmla="*/ 9720 h 26539"/>
                    <a:gd name="connsiteX1" fmla="*/ 16686 w 26405"/>
                    <a:gd name="connsiteY1" fmla="*/ 26037 h 26539"/>
                    <a:gd name="connsiteX2" fmla="*/ 494 w 26405"/>
                    <a:gd name="connsiteY2" fmla="*/ 16820 h 26539"/>
                    <a:gd name="connsiteX3" fmla="*/ 9711 w 26405"/>
                    <a:gd name="connsiteY3" fmla="*/ 503 h 26539"/>
                    <a:gd name="connsiteX4" fmla="*/ 25903 w 2640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8">
                      <a:moveTo>
                        <a:pt x="25903" y="9720"/>
                      </a:moveTo>
                      <a:cubicBezTo>
                        <a:pt x="27897" y="16820"/>
                        <a:pt x="23786" y="24044"/>
                        <a:pt x="16686" y="26037"/>
                      </a:cubicBezTo>
                      <a:cubicBezTo>
                        <a:pt x="9711" y="28030"/>
                        <a:pt x="2486" y="23919"/>
                        <a:pt x="494" y="16820"/>
                      </a:cubicBezTo>
                      <a:cubicBezTo>
                        <a:pt x="-1500" y="9720"/>
                        <a:pt x="2736" y="2495"/>
                        <a:pt x="9711" y="503"/>
                      </a:cubicBezTo>
                      <a:cubicBezTo>
                        <a:pt x="16811" y="-1490"/>
                        <a:pt x="24035" y="2620"/>
                        <a:pt x="2590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6" name="Graphic 2987">
                <a:extLst>
                  <a:ext uri="{FF2B5EF4-FFF2-40B4-BE49-F238E27FC236}">
                    <a16:creationId xmlns:a16="http://schemas.microsoft.com/office/drawing/2014/main" id="{A066D49F-F3A0-49EA-6D7D-9E540E686568}"/>
                  </a:ext>
                </a:extLst>
              </p:cNvPr>
              <p:cNvGrpSpPr/>
              <p:nvPr/>
            </p:nvGrpSpPr>
            <p:grpSpPr>
              <a:xfrm>
                <a:off x="8732661" y="1524450"/>
                <a:ext cx="58196" cy="144701"/>
                <a:chOff x="8732661" y="1524450"/>
                <a:chExt cx="58196" cy="144701"/>
              </a:xfrm>
              <a:grpFill/>
            </p:grpSpPr>
            <p:sp>
              <p:nvSpPr>
                <p:cNvPr id="6876" name="Freeform 7203">
                  <a:extLst>
                    <a:ext uri="{FF2B5EF4-FFF2-40B4-BE49-F238E27FC236}">
                      <a16:creationId xmlns:a16="http://schemas.microsoft.com/office/drawing/2014/main" id="{CDE8E1F7-A122-CB10-7EB8-1D9A5836B543}"/>
                    </a:ext>
                  </a:extLst>
                </p:cNvPr>
                <p:cNvSpPr/>
                <p:nvPr/>
              </p:nvSpPr>
              <p:spPr>
                <a:xfrm>
                  <a:off x="8766211" y="1597526"/>
                  <a:ext cx="13012" cy="50570"/>
                </a:xfrm>
                <a:custGeom>
                  <a:avLst/>
                  <a:gdLst>
                    <a:gd name="connsiteX0" fmla="*/ 12987 w 13012"/>
                    <a:gd name="connsiteY0" fmla="*/ 50570 h 50570"/>
                    <a:gd name="connsiteX1" fmla="*/ 9998 w 13012"/>
                    <a:gd name="connsiteY1" fmla="*/ 32011 h 50570"/>
                    <a:gd name="connsiteX2" fmla="*/ 2275 w 13012"/>
                    <a:gd name="connsiteY2" fmla="*/ 16442 h 50570"/>
                    <a:gd name="connsiteX3" fmla="*/ 33 w 13012"/>
                    <a:gd name="connsiteY3" fmla="*/ 0 h 50570"/>
                  </a:gdLst>
                  <a:ahLst/>
                  <a:cxnLst>
                    <a:cxn ang="0">
                      <a:pos x="connsiteX0" y="connsiteY0"/>
                    </a:cxn>
                    <a:cxn ang="0">
                      <a:pos x="connsiteX1" y="connsiteY1"/>
                    </a:cxn>
                    <a:cxn ang="0">
                      <a:pos x="connsiteX2" y="connsiteY2"/>
                    </a:cxn>
                    <a:cxn ang="0">
                      <a:pos x="connsiteX3" y="connsiteY3"/>
                    </a:cxn>
                  </a:cxnLst>
                  <a:rect l="l" t="t" r="r" b="b"/>
                  <a:pathLst>
                    <a:path w="13011" h="50570">
                      <a:moveTo>
                        <a:pt x="12987" y="50570"/>
                      </a:moveTo>
                      <a:cubicBezTo>
                        <a:pt x="13236" y="42101"/>
                        <a:pt x="11617" y="35997"/>
                        <a:pt x="9998" y="32011"/>
                      </a:cubicBezTo>
                      <a:cubicBezTo>
                        <a:pt x="7382" y="25534"/>
                        <a:pt x="4517" y="23168"/>
                        <a:pt x="2275" y="16442"/>
                      </a:cubicBezTo>
                      <a:cubicBezTo>
                        <a:pt x="33" y="9965"/>
                        <a:pt x="-91"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7" name="Freeform 7204">
                  <a:extLst>
                    <a:ext uri="{FF2B5EF4-FFF2-40B4-BE49-F238E27FC236}">
                      <a16:creationId xmlns:a16="http://schemas.microsoft.com/office/drawing/2014/main" id="{B0D4698E-AC58-0E0B-908B-28938DE6C31C}"/>
                    </a:ext>
                  </a:extLst>
                </p:cNvPr>
                <p:cNvSpPr/>
                <p:nvPr/>
              </p:nvSpPr>
              <p:spPr>
                <a:xfrm>
                  <a:off x="8759518" y="1604626"/>
                  <a:ext cx="14199" cy="50196"/>
                </a:xfrm>
                <a:custGeom>
                  <a:avLst/>
                  <a:gdLst>
                    <a:gd name="connsiteX0" fmla="*/ 0 w 14199"/>
                    <a:gd name="connsiteY0" fmla="*/ 0 h 50196"/>
                    <a:gd name="connsiteX1" fmla="*/ 6726 w 14199"/>
                    <a:gd name="connsiteY1" fmla="*/ 17563 h 50196"/>
                    <a:gd name="connsiteX2" fmla="*/ 7847 w 14199"/>
                    <a:gd name="connsiteY2" fmla="*/ 35001 h 50196"/>
                    <a:gd name="connsiteX3" fmla="*/ 1420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0" y="0"/>
                      </a:moveTo>
                      <a:cubicBezTo>
                        <a:pt x="4484" y="7100"/>
                        <a:pt x="6103" y="13203"/>
                        <a:pt x="6726" y="17563"/>
                      </a:cubicBezTo>
                      <a:cubicBezTo>
                        <a:pt x="7723" y="24538"/>
                        <a:pt x="6477" y="28025"/>
                        <a:pt x="7847" y="35001"/>
                      </a:cubicBezTo>
                      <a:cubicBezTo>
                        <a:pt x="9217" y="41727"/>
                        <a:pt x="11958" y="46958"/>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8" name="Freeform 7205">
                  <a:extLst>
                    <a:ext uri="{FF2B5EF4-FFF2-40B4-BE49-F238E27FC236}">
                      <a16:creationId xmlns:a16="http://schemas.microsoft.com/office/drawing/2014/main" id="{F6BAA01C-EFD4-3AAF-A476-3FEA19E75A08}"/>
                    </a:ext>
                  </a:extLst>
                </p:cNvPr>
                <p:cNvSpPr/>
                <p:nvPr/>
              </p:nvSpPr>
              <p:spPr>
                <a:xfrm>
                  <a:off x="8764183" y="1642487"/>
                  <a:ext cx="26674" cy="26663"/>
                </a:xfrm>
                <a:custGeom>
                  <a:avLst/>
                  <a:gdLst>
                    <a:gd name="connsiteX0" fmla="*/ 441 w 26674"/>
                    <a:gd name="connsiteY0" fmla="*/ 16944 h 26663"/>
                    <a:gd name="connsiteX1" fmla="*/ 9908 w 26674"/>
                    <a:gd name="connsiteY1" fmla="*/ 503 h 26663"/>
                    <a:gd name="connsiteX2" fmla="*/ 26225 w 26674"/>
                    <a:gd name="connsiteY2" fmla="*/ 9720 h 26663"/>
                    <a:gd name="connsiteX3" fmla="*/ 16758 w 26674"/>
                    <a:gd name="connsiteY3" fmla="*/ 26161 h 26663"/>
                    <a:gd name="connsiteX4" fmla="*/ 441 w 26674"/>
                    <a:gd name="connsiteY4" fmla="*/ 16944 h 26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63">
                      <a:moveTo>
                        <a:pt x="441" y="16944"/>
                      </a:moveTo>
                      <a:cubicBezTo>
                        <a:pt x="-1427" y="9844"/>
                        <a:pt x="2808" y="2495"/>
                        <a:pt x="9908" y="503"/>
                      </a:cubicBezTo>
                      <a:cubicBezTo>
                        <a:pt x="17008" y="-1490"/>
                        <a:pt x="24357" y="2620"/>
                        <a:pt x="26225" y="9720"/>
                      </a:cubicBezTo>
                      <a:cubicBezTo>
                        <a:pt x="28093" y="16820"/>
                        <a:pt x="23983" y="24168"/>
                        <a:pt x="16758" y="26161"/>
                      </a:cubicBezTo>
                      <a:cubicBezTo>
                        <a:pt x="9659" y="28154"/>
                        <a:pt x="2435" y="24044"/>
                        <a:pt x="441"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9" name="Freeform 7206">
                  <a:extLst>
                    <a:ext uri="{FF2B5EF4-FFF2-40B4-BE49-F238E27FC236}">
                      <a16:creationId xmlns:a16="http://schemas.microsoft.com/office/drawing/2014/main" id="{03435CA5-DFF6-1B09-D481-0F7ADE4BAB76}"/>
                    </a:ext>
                  </a:extLst>
                </p:cNvPr>
                <p:cNvSpPr/>
                <p:nvPr/>
              </p:nvSpPr>
              <p:spPr>
                <a:xfrm>
                  <a:off x="8744048" y="1545461"/>
                  <a:ext cx="12946" cy="50570"/>
                </a:xfrm>
                <a:custGeom>
                  <a:avLst/>
                  <a:gdLst>
                    <a:gd name="connsiteX0" fmla="*/ 26 w 12946"/>
                    <a:gd name="connsiteY0" fmla="*/ 0 h 50570"/>
                    <a:gd name="connsiteX1" fmla="*/ 3015 w 12946"/>
                    <a:gd name="connsiteY1" fmla="*/ 18559 h 50570"/>
                    <a:gd name="connsiteX2" fmla="*/ 10737 w 12946"/>
                    <a:gd name="connsiteY2" fmla="*/ 34129 h 50570"/>
                    <a:gd name="connsiteX3" fmla="*/ 12855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26" y="0"/>
                      </a:moveTo>
                      <a:cubicBezTo>
                        <a:pt x="-224" y="8470"/>
                        <a:pt x="1395" y="14573"/>
                        <a:pt x="3015" y="18559"/>
                      </a:cubicBezTo>
                      <a:cubicBezTo>
                        <a:pt x="5506" y="25036"/>
                        <a:pt x="8371" y="27403"/>
                        <a:pt x="10737" y="34129"/>
                      </a:cubicBezTo>
                      <a:cubicBezTo>
                        <a:pt x="12979" y="40606"/>
                        <a:pt x="13104" y="46585"/>
                        <a:pt x="1285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0" name="Freeform 7207">
                  <a:extLst>
                    <a:ext uri="{FF2B5EF4-FFF2-40B4-BE49-F238E27FC236}">
                      <a16:creationId xmlns:a16="http://schemas.microsoft.com/office/drawing/2014/main" id="{FA823540-CA21-8C43-4EC5-866D4B011A5D}"/>
                    </a:ext>
                  </a:extLst>
                </p:cNvPr>
                <p:cNvSpPr/>
                <p:nvPr/>
              </p:nvSpPr>
              <p:spPr>
                <a:xfrm>
                  <a:off x="8749554" y="1538735"/>
                  <a:ext cx="14199" cy="50196"/>
                </a:xfrm>
                <a:custGeom>
                  <a:avLst/>
                  <a:gdLst>
                    <a:gd name="connsiteX0" fmla="*/ 14200 w 14199"/>
                    <a:gd name="connsiteY0" fmla="*/ 50197 h 50196"/>
                    <a:gd name="connsiteX1" fmla="*/ 7473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3" y="32634"/>
                      </a:cubicBezTo>
                      <a:cubicBezTo>
                        <a:pt x="6353" y="25659"/>
                        <a:pt x="7723" y="22171"/>
                        <a:pt x="6353"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1" name="Freeform 7208">
                  <a:extLst>
                    <a:ext uri="{FF2B5EF4-FFF2-40B4-BE49-F238E27FC236}">
                      <a16:creationId xmlns:a16="http://schemas.microsoft.com/office/drawing/2014/main" id="{2B7B445E-8EC5-2D28-24B7-489C7A55EF12}"/>
                    </a:ext>
                  </a:extLst>
                </p:cNvPr>
                <p:cNvSpPr/>
                <p:nvPr/>
              </p:nvSpPr>
              <p:spPr>
                <a:xfrm>
                  <a:off x="8732661" y="1524450"/>
                  <a:ext cx="26186" cy="26495"/>
                </a:xfrm>
                <a:custGeom>
                  <a:avLst/>
                  <a:gdLst>
                    <a:gd name="connsiteX0" fmla="*/ 25735 w 26186"/>
                    <a:gd name="connsiteY0" fmla="*/ 9676 h 26495"/>
                    <a:gd name="connsiteX1" fmla="*/ 16518 w 26186"/>
                    <a:gd name="connsiteY1" fmla="*/ 25993 h 26495"/>
                    <a:gd name="connsiteX2" fmla="*/ 451 w 26186"/>
                    <a:gd name="connsiteY2" fmla="*/ 16776 h 26495"/>
                    <a:gd name="connsiteX3" fmla="*/ 9668 w 26186"/>
                    <a:gd name="connsiteY3" fmla="*/ 459 h 26495"/>
                    <a:gd name="connsiteX4" fmla="*/ 25735 w 26186"/>
                    <a:gd name="connsiteY4" fmla="*/ 9676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95">
                      <a:moveTo>
                        <a:pt x="25735" y="9676"/>
                      </a:moveTo>
                      <a:cubicBezTo>
                        <a:pt x="27604" y="16776"/>
                        <a:pt x="23494" y="24000"/>
                        <a:pt x="16518" y="25993"/>
                      </a:cubicBezTo>
                      <a:cubicBezTo>
                        <a:pt x="9543" y="27986"/>
                        <a:pt x="2319" y="23876"/>
                        <a:pt x="451" y="16776"/>
                      </a:cubicBezTo>
                      <a:cubicBezTo>
                        <a:pt x="-1418" y="9676"/>
                        <a:pt x="2693" y="2327"/>
                        <a:pt x="9668" y="459"/>
                      </a:cubicBezTo>
                      <a:cubicBezTo>
                        <a:pt x="16643" y="-1409"/>
                        <a:pt x="23868" y="2577"/>
                        <a:pt x="25735"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7" name="Graphic 2987">
                <a:extLst>
                  <a:ext uri="{FF2B5EF4-FFF2-40B4-BE49-F238E27FC236}">
                    <a16:creationId xmlns:a16="http://schemas.microsoft.com/office/drawing/2014/main" id="{CA500BEF-C2E9-32FE-94B0-6E5851F6E1D0}"/>
                  </a:ext>
                </a:extLst>
              </p:cNvPr>
              <p:cNvGrpSpPr/>
              <p:nvPr/>
            </p:nvGrpSpPr>
            <p:grpSpPr>
              <a:xfrm>
                <a:off x="8704395" y="1532378"/>
                <a:ext cx="57681" cy="144903"/>
                <a:chOff x="8704395" y="1532378"/>
                <a:chExt cx="57681" cy="144903"/>
              </a:xfrm>
              <a:grpFill/>
            </p:grpSpPr>
            <p:sp>
              <p:nvSpPr>
                <p:cNvPr id="6870" name="Freeform 7210">
                  <a:extLst>
                    <a:ext uri="{FF2B5EF4-FFF2-40B4-BE49-F238E27FC236}">
                      <a16:creationId xmlns:a16="http://schemas.microsoft.com/office/drawing/2014/main" id="{1A81B3F7-A6D8-A816-44D8-34BAACFB9536}"/>
                    </a:ext>
                  </a:extLst>
                </p:cNvPr>
                <p:cNvSpPr/>
                <p:nvPr/>
              </p:nvSpPr>
              <p:spPr>
                <a:xfrm>
                  <a:off x="8737629" y="1605498"/>
                  <a:ext cx="12847" cy="50570"/>
                </a:xfrm>
                <a:custGeom>
                  <a:avLst/>
                  <a:gdLst>
                    <a:gd name="connsiteX0" fmla="*/ 12797 w 12847"/>
                    <a:gd name="connsiteY0" fmla="*/ 50570 h 50570"/>
                    <a:gd name="connsiteX1" fmla="*/ 9931 w 12847"/>
                    <a:gd name="connsiteY1" fmla="*/ 32011 h 50570"/>
                    <a:gd name="connsiteX2" fmla="*/ 2209 w 12847"/>
                    <a:gd name="connsiteY2" fmla="*/ 16442 h 50570"/>
                    <a:gd name="connsiteX3" fmla="*/ 92 w 12847"/>
                    <a:gd name="connsiteY3" fmla="*/ 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7" y="50570"/>
                      </a:moveTo>
                      <a:cubicBezTo>
                        <a:pt x="13170" y="42100"/>
                        <a:pt x="11426" y="35997"/>
                        <a:pt x="9931" y="32011"/>
                      </a:cubicBezTo>
                      <a:cubicBezTo>
                        <a:pt x="7441" y="25534"/>
                        <a:pt x="4576" y="23168"/>
                        <a:pt x="2209" y="16442"/>
                      </a:cubicBezTo>
                      <a:cubicBezTo>
                        <a:pt x="-33" y="9965"/>
                        <a:pt x="-158" y="3986"/>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1" name="Freeform 7211">
                  <a:extLst>
                    <a:ext uri="{FF2B5EF4-FFF2-40B4-BE49-F238E27FC236}">
                      <a16:creationId xmlns:a16="http://schemas.microsoft.com/office/drawing/2014/main" id="{B430BD8B-5577-38B5-E923-12A2A5610307}"/>
                    </a:ext>
                  </a:extLst>
                </p:cNvPr>
                <p:cNvSpPr/>
                <p:nvPr/>
              </p:nvSpPr>
              <p:spPr>
                <a:xfrm>
                  <a:off x="8730870" y="1612722"/>
                  <a:ext cx="14075" cy="50196"/>
                </a:xfrm>
                <a:custGeom>
                  <a:avLst/>
                  <a:gdLst>
                    <a:gd name="connsiteX0" fmla="*/ 0 w 14075"/>
                    <a:gd name="connsiteY0" fmla="*/ 0 h 50196"/>
                    <a:gd name="connsiteX1" fmla="*/ 6726 w 14075"/>
                    <a:gd name="connsiteY1" fmla="*/ 17563 h 50196"/>
                    <a:gd name="connsiteX2" fmla="*/ 7847 w 14075"/>
                    <a:gd name="connsiteY2" fmla="*/ 35001 h 50196"/>
                    <a:gd name="connsiteX3" fmla="*/ 14075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0" y="0"/>
                      </a:moveTo>
                      <a:cubicBezTo>
                        <a:pt x="4484" y="7100"/>
                        <a:pt x="6103" y="13203"/>
                        <a:pt x="6726" y="17563"/>
                      </a:cubicBezTo>
                      <a:cubicBezTo>
                        <a:pt x="7723" y="24538"/>
                        <a:pt x="6476" y="28025"/>
                        <a:pt x="7847" y="35001"/>
                      </a:cubicBezTo>
                      <a:cubicBezTo>
                        <a:pt x="9092" y="41851"/>
                        <a:pt x="11957" y="46958"/>
                        <a:pt x="14075"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2" name="Freeform 7212">
                  <a:extLst>
                    <a:ext uri="{FF2B5EF4-FFF2-40B4-BE49-F238E27FC236}">
                      <a16:creationId xmlns:a16="http://schemas.microsoft.com/office/drawing/2014/main" id="{31DC9D09-54EB-826D-0E0F-CB875720A602}"/>
                    </a:ext>
                  </a:extLst>
                </p:cNvPr>
                <p:cNvSpPr/>
                <p:nvPr/>
              </p:nvSpPr>
              <p:spPr>
                <a:xfrm>
                  <a:off x="8735411" y="1650583"/>
                  <a:ext cx="26666" cy="26698"/>
                </a:xfrm>
                <a:custGeom>
                  <a:avLst/>
                  <a:gdLst>
                    <a:gd name="connsiteX0" fmla="*/ 441 w 26666"/>
                    <a:gd name="connsiteY0" fmla="*/ 16820 h 26698"/>
                    <a:gd name="connsiteX1" fmla="*/ 9908 w 26666"/>
                    <a:gd name="connsiteY1" fmla="*/ 503 h 26698"/>
                    <a:gd name="connsiteX2" fmla="*/ 26225 w 26666"/>
                    <a:gd name="connsiteY2" fmla="*/ 9720 h 26698"/>
                    <a:gd name="connsiteX3" fmla="*/ 16758 w 26666"/>
                    <a:gd name="connsiteY3" fmla="*/ 26161 h 26698"/>
                    <a:gd name="connsiteX4" fmla="*/ 441 w 26666"/>
                    <a:gd name="connsiteY4" fmla="*/ 16820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698">
                      <a:moveTo>
                        <a:pt x="441" y="16820"/>
                      </a:moveTo>
                      <a:cubicBezTo>
                        <a:pt x="-1427" y="9720"/>
                        <a:pt x="2808" y="2620"/>
                        <a:pt x="9908" y="503"/>
                      </a:cubicBezTo>
                      <a:cubicBezTo>
                        <a:pt x="17008" y="-1490"/>
                        <a:pt x="24357" y="2620"/>
                        <a:pt x="26225" y="9720"/>
                      </a:cubicBezTo>
                      <a:cubicBezTo>
                        <a:pt x="28093" y="16820"/>
                        <a:pt x="23858" y="24169"/>
                        <a:pt x="16758" y="26161"/>
                      </a:cubicBezTo>
                      <a:cubicBezTo>
                        <a:pt x="9659" y="28279"/>
                        <a:pt x="2310" y="23919"/>
                        <a:pt x="441"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3" name="Freeform 7213">
                  <a:extLst>
                    <a:ext uri="{FF2B5EF4-FFF2-40B4-BE49-F238E27FC236}">
                      <a16:creationId xmlns:a16="http://schemas.microsoft.com/office/drawing/2014/main" id="{146C881A-781A-1BBF-2F2E-33C3EAFB2201}"/>
                    </a:ext>
                  </a:extLst>
                </p:cNvPr>
                <p:cNvSpPr/>
                <p:nvPr/>
              </p:nvSpPr>
              <p:spPr>
                <a:xfrm>
                  <a:off x="8715622" y="1553433"/>
                  <a:ext cx="12723" cy="50570"/>
                </a:xfrm>
                <a:custGeom>
                  <a:avLst/>
                  <a:gdLst>
                    <a:gd name="connsiteX0" fmla="*/ 51 w 12723"/>
                    <a:gd name="connsiteY0" fmla="*/ 0 h 50570"/>
                    <a:gd name="connsiteX1" fmla="*/ 2916 w 12723"/>
                    <a:gd name="connsiteY1" fmla="*/ 18559 h 50570"/>
                    <a:gd name="connsiteX2" fmla="*/ 10514 w 12723"/>
                    <a:gd name="connsiteY2" fmla="*/ 34129 h 50570"/>
                    <a:gd name="connsiteX3" fmla="*/ 12632 w 1272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3" h="50570">
                      <a:moveTo>
                        <a:pt x="51" y="0"/>
                      </a:moveTo>
                      <a:cubicBezTo>
                        <a:pt x="-322" y="8470"/>
                        <a:pt x="1422" y="14573"/>
                        <a:pt x="2916" y="18559"/>
                      </a:cubicBezTo>
                      <a:cubicBezTo>
                        <a:pt x="5407" y="25036"/>
                        <a:pt x="8272" y="27403"/>
                        <a:pt x="10514" y="34129"/>
                      </a:cubicBezTo>
                      <a:cubicBezTo>
                        <a:pt x="12756" y="40606"/>
                        <a:pt x="12881" y="46585"/>
                        <a:pt x="1263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4" name="Freeform 7214">
                  <a:extLst>
                    <a:ext uri="{FF2B5EF4-FFF2-40B4-BE49-F238E27FC236}">
                      <a16:creationId xmlns:a16="http://schemas.microsoft.com/office/drawing/2014/main" id="{C8F28A59-3D13-5219-FD5F-484245D850CF}"/>
                    </a:ext>
                  </a:extLst>
                </p:cNvPr>
                <p:cNvSpPr/>
                <p:nvPr/>
              </p:nvSpPr>
              <p:spPr>
                <a:xfrm>
                  <a:off x="8721154" y="1546707"/>
                  <a:ext cx="14075" cy="50196"/>
                </a:xfrm>
                <a:custGeom>
                  <a:avLst/>
                  <a:gdLst>
                    <a:gd name="connsiteX0" fmla="*/ 14075 w 14075"/>
                    <a:gd name="connsiteY0" fmla="*/ 50197 h 50196"/>
                    <a:gd name="connsiteX1" fmla="*/ 7349 w 14075"/>
                    <a:gd name="connsiteY1" fmla="*/ 32634 h 50196"/>
                    <a:gd name="connsiteX2" fmla="*/ 6228 w 14075"/>
                    <a:gd name="connsiteY2" fmla="*/ 15196 h 50196"/>
                    <a:gd name="connsiteX3" fmla="*/ 0 w 14075"/>
                    <a:gd name="connsiteY3" fmla="*/ 0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50197"/>
                      </a:moveTo>
                      <a:cubicBezTo>
                        <a:pt x="9591" y="43097"/>
                        <a:pt x="7972" y="36994"/>
                        <a:pt x="7349" y="32634"/>
                      </a:cubicBezTo>
                      <a:cubicBezTo>
                        <a:pt x="6353" y="25659"/>
                        <a:pt x="7599" y="22171"/>
                        <a:pt x="6228" y="15196"/>
                      </a:cubicBezTo>
                      <a:cubicBezTo>
                        <a:pt x="4983" y="8345"/>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5" name="Freeform 7215">
                  <a:extLst>
                    <a:ext uri="{FF2B5EF4-FFF2-40B4-BE49-F238E27FC236}">
                      <a16:creationId xmlns:a16="http://schemas.microsoft.com/office/drawing/2014/main" id="{0F90DB8E-6F00-B746-FD28-97A10245D265}"/>
                    </a:ext>
                  </a:extLst>
                </p:cNvPr>
                <p:cNvSpPr/>
                <p:nvPr/>
              </p:nvSpPr>
              <p:spPr>
                <a:xfrm>
                  <a:off x="8704395" y="1532378"/>
                  <a:ext cx="26177" cy="26529"/>
                </a:xfrm>
                <a:custGeom>
                  <a:avLst/>
                  <a:gdLst>
                    <a:gd name="connsiteX0" fmla="*/ 25727 w 26177"/>
                    <a:gd name="connsiteY0" fmla="*/ 9720 h 26529"/>
                    <a:gd name="connsiteX1" fmla="*/ 16510 w 26177"/>
                    <a:gd name="connsiteY1" fmla="*/ 26037 h 26529"/>
                    <a:gd name="connsiteX2" fmla="*/ 442 w 26177"/>
                    <a:gd name="connsiteY2" fmla="*/ 16695 h 26529"/>
                    <a:gd name="connsiteX3" fmla="*/ 9784 w 26177"/>
                    <a:gd name="connsiteY3" fmla="*/ 503 h 26529"/>
                    <a:gd name="connsiteX4" fmla="*/ 25727 w 26177"/>
                    <a:gd name="connsiteY4" fmla="*/ 9720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29">
                      <a:moveTo>
                        <a:pt x="25727" y="9720"/>
                      </a:moveTo>
                      <a:cubicBezTo>
                        <a:pt x="27595" y="16820"/>
                        <a:pt x="23485" y="24168"/>
                        <a:pt x="16510" y="26037"/>
                      </a:cubicBezTo>
                      <a:cubicBezTo>
                        <a:pt x="9535" y="28030"/>
                        <a:pt x="2310" y="23795"/>
                        <a:pt x="442" y="16695"/>
                      </a:cubicBezTo>
                      <a:cubicBezTo>
                        <a:pt x="-1426" y="9595"/>
                        <a:pt x="2808" y="2495"/>
                        <a:pt x="9784" y="503"/>
                      </a:cubicBezTo>
                      <a:cubicBezTo>
                        <a:pt x="16634" y="-1490"/>
                        <a:pt x="23734" y="2620"/>
                        <a:pt x="25727"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8" name="Graphic 2987">
                <a:extLst>
                  <a:ext uri="{FF2B5EF4-FFF2-40B4-BE49-F238E27FC236}">
                    <a16:creationId xmlns:a16="http://schemas.microsoft.com/office/drawing/2014/main" id="{B4DC5087-437A-D044-0348-EDE7E32D9665}"/>
                  </a:ext>
                </a:extLst>
              </p:cNvPr>
              <p:cNvGrpSpPr/>
              <p:nvPr/>
            </p:nvGrpSpPr>
            <p:grpSpPr>
              <a:xfrm>
                <a:off x="8675623" y="1539721"/>
                <a:ext cx="57547" cy="144889"/>
                <a:chOff x="8675623" y="1539721"/>
                <a:chExt cx="57547" cy="144889"/>
              </a:xfrm>
              <a:grpFill/>
            </p:grpSpPr>
            <p:sp>
              <p:nvSpPr>
                <p:cNvPr id="6864" name="Freeform 7217">
                  <a:extLst>
                    <a:ext uri="{FF2B5EF4-FFF2-40B4-BE49-F238E27FC236}">
                      <a16:creationId xmlns:a16="http://schemas.microsoft.com/office/drawing/2014/main" id="{5C7E89C5-41E7-4577-0F6F-4A28840625D0}"/>
                    </a:ext>
                  </a:extLst>
                </p:cNvPr>
                <p:cNvSpPr/>
                <p:nvPr/>
              </p:nvSpPr>
              <p:spPr>
                <a:xfrm>
                  <a:off x="8709035" y="1613096"/>
                  <a:ext cx="12672" cy="50570"/>
                </a:xfrm>
                <a:custGeom>
                  <a:avLst/>
                  <a:gdLst>
                    <a:gd name="connsiteX0" fmla="*/ 12618 w 12672"/>
                    <a:gd name="connsiteY0" fmla="*/ 50570 h 50570"/>
                    <a:gd name="connsiteX1" fmla="*/ 9753 w 12672"/>
                    <a:gd name="connsiteY1" fmla="*/ 32011 h 50570"/>
                    <a:gd name="connsiteX2" fmla="*/ 2155 w 12672"/>
                    <a:gd name="connsiteY2" fmla="*/ 16317 h 50570"/>
                    <a:gd name="connsiteX3" fmla="*/ 162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12618" y="50570"/>
                      </a:moveTo>
                      <a:cubicBezTo>
                        <a:pt x="12991" y="42225"/>
                        <a:pt x="11372" y="36122"/>
                        <a:pt x="9753" y="32011"/>
                      </a:cubicBezTo>
                      <a:cubicBezTo>
                        <a:pt x="7262" y="25410"/>
                        <a:pt x="4397" y="23043"/>
                        <a:pt x="2155" y="16317"/>
                      </a:cubicBezTo>
                      <a:cubicBezTo>
                        <a:pt x="-87" y="9716"/>
                        <a:pt x="-212" y="3861"/>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5" name="Freeform 7218">
                  <a:extLst>
                    <a:ext uri="{FF2B5EF4-FFF2-40B4-BE49-F238E27FC236}">
                      <a16:creationId xmlns:a16="http://schemas.microsoft.com/office/drawing/2014/main" id="{9EDE4D27-12A5-08BD-91E5-28589EEA3FF0}"/>
                    </a:ext>
                  </a:extLst>
                </p:cNvPr>
                <p:cNvSpPr/>
                <p:nvPr/>
              </p:nvSpPr>
              <p:spPr>
                <a:xfrm>
                  <a:off x="8702097" y="1619947"/>
                  <a:ext cx="13825" cy="50196"/>
                </a:xfrm>
                <a:custGeom>
                  <a:avLst/>
                  <a:gdLst>
                    <a:gd name="connsiteX0" fmla="*/ 0 w 13825"/>
                    <a:gd name="connsiteY0" fmla="*/ 0 h 50196"/>
                    <a:gd name="connsiteX1" fmla="*/ 6601 w 13825"/>
                    <a:gd name="connsiteY1" fmla="*/ 17563 h 50196"/>
                    <a:gd name="connsiteX2" fmla="*/ 7598 w 13825"/>
                    <a:gd name="connsiteY2" fmla="*/ 34876 h 50196"/>
                    <a:gd name="connsiteX3" fmla="*/ 13826 w 138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25" h="50196">
                      <a:moveTo>
                        <a:pt x="0" y="0"/>
                      </a:moveTo>
                      <a:cubicBezTo>
                        <a:pt x="4484" y="7224"/>
                        <a:pt x="5979" y="13328"/>
                        <a:pt x="6601" y="17563"/>
                      </a:cubicBezTo>
                      <a:cubicBezTo>
                        <a:pt x="7598" y="24538"/>
                        <a:pt x="6228" y="27901"/>
                        <a:pt x="7598" y="34876"/>
                      </a:cubicBezTo>
                      <a:cubicBezTo>
                        <a:pt x="8843" y="41602"/>
                        <a:pt x="11708" y="46834"/>
                        <a:pt x="138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6" name="Freeform 7219">
                  <a:extLst>
                    <a:ext uri="{FF2B5EF4-FFF2-40B4-BE49-F238E27FC236}">
                      <a16:creationId xmlns:a16="http://schemas.microsoft.com/office/drawing/2014/main" id="{7791183C-6DFE-3E9C-4687-31E254DFC55A}"/>
                    </a:ext>
                  </a:extLst>
                </p:cNvPr>
                <p:cNvSpPr/>
                <p:nvPr/>
              </p:nvSpPr>
              <p:spPr>
                <a:xfrm>
                  <a:off x="8706397" y="1658168"/>
                  <a:ext cx="26773" cy="26442"/>
                </a:xfrm>
                <a:custGeom>
                  <a:avLst/>
                  <a:gdLst>
                    <a:gd name="connsiteX0" fmla="*/ 433 w 26773"/>
                    <a:gd name="connsiteY0" fmla="*/ 16460 h 26442"/>
                    <a:gd name="connsiteX1" fmla="*/ 10024 w 26773"/>
                    <a:gd name="connsiteY1" fmla="*/ 392 h 26442"/>
                    <a:gd name="connsiteX2" fmla="*/ 26341 w 26773"/>
                    <a:gd name="connsiteY2" fmla="*/ 9983 h 26442"/>
                    <a:gd name="connsiteX3" fmla="*/ 16750 w 26773"/>
                    <a:gd name="connsiteY3" fmla="*/ 26051 h 26442"/>
                    <a:gd name="connsiteX4" fmla="*/ 433 w 26773"/>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442">
                      <a:moveTo>
                        <a:pt x="433" y="16460"/>
                      </a:moveTo>
                      <a:cubicBezTo>
                        <a:pt x="-1436" y="9360"/>
                        <a:pt x="2924" y="2136"/>
                        <a:pt x="10024" y="392"/>
                      </a:cubicBezTo>
                      <a:cubicBezTo>
                        <a:pt x="17123" y="-1352"/>
                        <a:pt x="24473" y="2883"/>
                        <a:pt x="26341" y="9983"/>
                      </a:cubicBezTo>
                      <a:cubicBezTo>
                        <a:pt x="28209" y="17082"/>
                        <a:pt x="23850" y="24182"/>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7" name="Freeform 7220">
                  <a:extLst>
                    <a:ext uri="{FF2B5EF4-FFF2-40B4-BE49-F238E27FC236}">
                      <a16:creationId xmlns:a16="http://schemas.microsoft.com/office/drawing/2014/main" id="{A8237DFC-1096-7661-E1E5-9BCA28EC57DD}"/>
                    </a:ext>
                  </a:extLst>
                </p:cNvPr>
                <p:cNvSpPr/>
                <p:nvPr/>
              </p:nvSpPr>
              <p:spPr>
                <a:xfrm>
                  <a:off x="8687096" y="1560657"/>
                  <a:ext cx="12672" cy="50570"/>
                </a:xfrm>
                <a:custGeom>
                  <a:avLst/>
                  <a:gdLst>
                    <a:gd name="connsiteX0" fmla="*/ 54 w 12672"/>
                    <a:gd name="connsiteY0" fmla="*/ 0 h 50570"/>
                    <a:gd name="connsiteX1" fmla="*/ 2919 w 12672"/>
                    <a:gd name="connsiteY1" fmla="*/ 18559 h 50570"/>
                    <a:gd name="connsiteX2" fmla="*/ 10518 w 12672"/>
                    <a:gd name="connsiteY2" fmla="*/ 34253 h 50570"/>
                    <a:gd name="connsiteX3" fmla="*/ 12510 w 12672"/>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0"/>
                      </a:moveTo>
                      <a:cubicBezTo>
                        <a:pt x="-320" y="8345"/>
                        <a:pt x="1300" y="14449"/>
                        <a:pt x="2919" y="18559"/>
                      </a:cubicBezTo>
                      <a:cubicBezTo>
                        <a:pt x="5410" y="25161"/>
                        <a:pt x="8275" y="27527"/>
                        <a:pt x="10518" y="34253"/>
                      </a:cubicBezTo>
                      <a:cubicBezTo>
                        <a:pt x="12760" y="40855"/>
                        <a:pt x="12883" y="46709"/>
                        <a:pt x="1251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8" name="Freeform 7221">
                  <a:extLst>
                    <a:ext uri="{FF2B5EF4-FFF2-40B4-BE49-F238E27FC236}">
                      <a16:creationId xmlns:a16="http://schemas.microsoft.com/office/drawing/2014/main" id="{998EF431-100A-E012-E5F8-7F5B93636305}"/>
                    </a:ext>
                  </a:extLst>
                </p:cNvPr>
                <p:cNvSpPr/>
                <p:nvPr/>
              </p:nvSpPr>
              <p:spPr>
                <a:xfrm>
                  <a:off x="8692755" y="1554180"/>
                  <a:ext cx="13825" cy="50196"/>
                </a:xfrm>
                <a:custGeom>
                  <a:avLst/>
                  <a:gdLst>
                    <a:gd name="connsiteX0" fmla="*/ 13826 w 13825"/>
                    <a:gd name="connsiteY0" fmla="*/ 50197 h 50196"/>
                    <a:gd name="connsiteX1" fmla="*/ 7224 w 13825"/>
                    <a:gd name="connsiteY1" fmla="*/ 32634 h 50196"/>
                    <a:gd name="connsiteX2" fmla="*/ 6228 w 13825"/>
                    <a:gd name="connsiteY2" fmla="*/ 15321 h 50196"/>
                    <a:gd name="connsiteX3" fmla="*/ 0 w 13825"/>
                    <a:gd name="connsiteY3" fmla="*/ 0 h 50196"/>
                  </a:gdLst>
                  <a:ahLst/>
                  <a:cxnLst>
                    <a:cxn ang="0">
                      <a:pos x="connsiteX0" y="connsiteY0"/>
                    </a:cxn>
                    <a:cxn ang="0">
                      <a:pos x="connsiteX1" y="connsiteY1"/>
                    </a:cxn>
                    <a:cxn ang="0">
                      <a:pos x="connsiteX2" y="connsiteY2"/>
                    </a:cxn>
                    <a:cxn ang="0">
                      <a:pos x="connsiteX3" y="connsiteY3"/>
                    </a:cxn>
                  </a:cxnLst>
                  <a:rect l="l" t="t" r="r" b="b"/>
                  <a:pathLst>
                    <a:path w="13825" h="50196">
                      <a:moveTo>
                        <a:pt x="13826" y="50197"/>
                      </a:moveTo>
                      <a:cubicBezTo>
                        <a:pt x="9342" y="42972"/>
                        <a:pt x="7847" y="36869"/>
                        <a:pt x="7224" y="32634"/>
                      </a:cubicBezTo>
                      <a:cubicBezTo>
                        <a:pt x="6228" y="25659"/>
                        <a:pt x="7473" y="22296"/>
                        <a:pt x="6228" y="15321"/>
                      </a:cubicBezTo>
                      <a:cubicBezTo>
                        <a:pt x="4982"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9" name="Freeform 7222">
                  <a:extLst>
                    <a:ext uri="{FF2B5EF4-FFF2-40B4-BE49-F238E27FC236}">
                      <a16:creationId xmlns:a16="http://schemas.microsoft.com/office/drawing/2014/main" id="{8F3E3ADA-F7FE-1B0D-C9BE-53D6E12E6551}"/>
                    </a:ext>
                  </a:extLst>
                </p:cNvPr>
                <p:cNvSpPr/>
                <p:nvPr/>
              </p:nvSpPr>
              <p:spPr>
                <a:xfrm>
                  <a:off x="8675623" y="1539721"/>
                  <a:ext cx="26541" cy="26427"/>
                </a:xfrm>
                <a:custGeom>
                  <a:avLst/>
                  <a:gdLst>
                    <a:gd name="connsiteX0" fmla="*/ 26100 w 26541"/>
                    <a:gd name="connsiteY0" fmla="*/ 10100 h 26427"/>
                    <a:gd name="connsiteX1" fmla="*/ 16634 w 26541"/>
                    <a:gd name="connsiteY1" fmla="*/ 26043 h 26427"/>
                    <a:gd name="connsiteX2" fmla="*/ 441 w 26541"/>
                    <a:gd name="connsiteY2" fmla="*/ 16327 h 26427"/>
                    <a:gd name="connsiteX3" fmla="*/ 9908 w 26541"/>
                    <a:gd name="connsiteY3" fmla="*/ 384 h 26427"/>
                    <a:gd name="connsiteX4" fmla="*/ 26100 w 26541"/>
                    <a:gd name="connsiteY4" fmla="*/ 10100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27">
                      <a:moveTo>
                        <a:pt x="26100" y="10100"/>
                      </a:moveTo>
                      <a:cubicBezTo>
                        <a:pt x="27969" y="17199"/>
                        <a:pt x="23733" y="24299"/>
                        <a:pt x="16634" y="26043"/>
                      </a:cubicBezTo>
                      <a:cubicBezTo>
                        <a:pt x="9534" y="27787"/>
                        <a:pt x="2310" y="23427"/>
                        <a:pt x="441" y="16327"/>
                      </a:cubicBezTo>
                      <a:cubicBezTo>
                        <a:pt x="-1427" y="9228"/>
                        <a:pt x="2808" y="2128"/>
                        <a:pt x="9908" y="384"/>
                      </a:cubicBezTo>
                      <a:cubicBezTo>
                        <a:pt x="17008" y="-1360"/>
                        <a:pt x="24232" y="3000"/>
                        <a:pt x="2610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9" name="Graphic 2987">
                <a:extLst>
                  <a:ext uri="{FF2B5EF4-FFF2-40B4-BE49-F238E27FC236}">
                    <a16:creationId xmlns:a16="http://schemas.microsoft.com/office/drawing/2014/main" id="{52FD09B2-D810-CB1C-1115-F0E2BFCF8F65}"/>
                  </a:ext>
                </a:extLst>
              </p:cNvPr>
              <p:cNvGrpSpPr/>
              <p:nvPr/>
            </p:nvGrpSpPr>
            <p:grpSpPr>
              <a:xfrm>
                <a:off x="8647107" y="1546743"/>
                <a:ext cx="57166" cy="145091"/>
                <a:chOff x="8647107" y="1546743"/>
                <a:chExt cx="57166" cy="145091"/>
              </a:xfrm>
              <a:grpFill/>
            </p:grpSpPr>
            <p:sp>
              <p:nvSpPr>
                <p:cNvPr id="6858" name="Freeform 7224">
                  <a:extLst>
                    <a:ext uri="{FF2B5EF4-FFF2-40B4-BE49-F238E27FC236}">
                      <a16:creationId xmlns:a16="http://schemas.microsoft.com/office/drawing/2014/main" id="{C3236384-EB24-5677-4B5F-71371A5B7D87}"/>
                    </a:ext>
                  </a:extLst>
                </p:cNvPr>
                <p:cNvSpPr/>
                <p:nvPr/>
              </p:nvSpPr>
              <p:spPr>
                <a:xfrm>
                  <a:off x="8680191" y="1620320"/>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3"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9" name="Freeform 7225">
                  <a:extLst>
                    <a:ext uri="{FF2B5EF4-FFF2-40B4-BE49-F238E27FC236}">
                      <a16:creationId xmlns:a16="http://schemas.microsoft.com/office/drawing/2014/main" id="{569EA64D-C1EE-6556-FF0E-A4A2EED1D1BA}"/>
                    </a:ext>
                  </a:extLst>
                </p:cNvPr>
                <p:cNvSpPr/>
                <p:nvPr/>
              </p:nvSpPr>
              <p:spPr>
                <a:xfrm>
                  <a:off x="8673324" y="1627171"/>
                  <a:ext cx="13701" cy="50321"/>
                </a:xfrm>
                <a:custGeom>
                  <a:avLst/>
                  <a:gdLst>
                    <a:gd name="connsiteX0" fmla="*/ 0 w 13701"/>
                    <a:gd name="connsiteY0" fmla="*/ 0 h 50321"/>
                    <a:gd name="connsiteX1" fmla="*/ 6601 w 13701"/>
                    <a:gd name="connsiteY1" fmla="*/ 17687 h 50321"/>
                    <a:gd name="connsiteX2" fmla="*/ 7473 w 13701"/>
                    <a:gd name="connsiteY2" fmla="*/ 35001 h 50321"/>
                    <a:gd name="connsiteX3" fmla="*/ 13701 w 1370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701" h="50321">
                      <a:moveTo>
                        <a:pt x="0" y="0"/>
                      </a:moveTo>
                      <a:cubicBezTo>
                        <a:pt x="4359" y="7224"/>
                        <a:pt x="5979" y="13328"/>
                        <a:pt x="6601" y="17687"/>
                      </a:cubicBezTo>
                      <a:cubicBezTo>
                        <a:pt x="7598" y="24662"/>
                        <a:pt x="6228" y="28025"/>
                        <a:pt x="7473" y="35001"/>
                      </a:cubicBezTo>
                      <a:cubicBezTo>
                        <a:pt x="8719" y="41851"/>
                        <a:pt x="11459" y="46958"/>
                        <a:pt x="13701"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0" name="Freeform 7226">
                  <a:extLst>
                    <a:ext uri="{FF2B5EF4-FFF2-40B4-BE49-F238E27FC236}">
                      <a16:creationId xmlns:a16="http://schemas.microsoft.com/office/drawing/2014/main" id="{A13C5387-7BB2-474E-0218-ECD8150A80C9}"/>
                    </a:ext>
                  </a:extLst>
                </p:cNvPr>
                <p:cNvSpPr/>
                <p:nvPr/>
              </p:nvSpPr>
              <p:spPr>
                <a:xfrm>
                  <a:off x="8677376" y="1665392"/>
                  <a:ext cx="26897" cy="26442"/>
                </a:xfrm>
                <a:custGeom>
                  <a:avLst/>
                  <a:gdLst>
                    <a:gd name="connsiteX0" fmla="*/ 433 w 26897"/>
                    <a:gd name="connsiteY0" fmla="*/ 16460 h 26442"/>
                    <a:gd name="connsiteX1" fmla="*/ 10148 w 26897"/>
                    <a:gd name="connsiteY1" fmla="*/ 392 h 26442"/>
                    <a:gd name="connsiteX2" fmla="*/ 26465 w 26897"/>
                    <a:gd name="connsiteY2" fmla="*/ 9983 h 26442"/>
                    <a:gd name="connsiteX3" fmla="*/ 16750 w 26897"/>
                    <a:gd name="connsiteY3" fmla="*/ 26051 h 26442"/>
                    <a:gd name="connsiteX4" fmla="*/ 433 w 26897"/>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7" h="26442">
                      <a:moveTo>
                        <a:pt x="433" y="16460"/>
                      </a:moveTo>
                      <a:cubicBezTo>
                        <a:pt x="-1436" y="9360"/>
                        <a:pt x="2924" y="2136"/>
                        <a:pt x="10148" y="392"/>
                      </a:cubicBezTo>
                      <a:cubicBezTo>
                        <a:pt x="17372" y="-1352"/>
                        <a:pt x="24597" y="2883"/>
                        <a:pt x="26465" y="9983"/>
                      </a:cubicBezTo>
                      <a:cubicBezTo>
                        <a:pt x="28333" y="17082"/>
                        <a:pt x="23974" y="24307"/>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1" name="Freeform 7227">
                  <a:extLst>
                    <a:ext uri="{FF2B5EF4-FFF2-40B4-BE49-F238E27FC236}">
                      <a16:creationId xmlns:a16="http://schemas.microsoft.com/office/drawing/2014/main" id="{F2BF10B3-6809-7E95-12A0-439540CCF127}"/>
                    </a:ext>
                  </a:extLst>
                </p:cNvPr>
                <p:cNvSpPr/>
                <p:nvPr/>
              </p:nvSpPr>
              <p:spPr>
                <a:xfrm>
                  <a:off x="8658572" y="1567757"/>
                  <a:ext cx="12494" cy="50570"/>
                </a:xfrm>
                <a:custGeom>
                  <a:avLst/>
                  <a:gdLst>
                    <a:gd name="connsiteX0" fmla="*/ 55 w 12494"/>
                    <a:gd name="connsiteY0" fmla="*/ 0 h 50570"/>
                    <a:gd name="connsiteX1" fmla="*/ 2794 w 12494"/>
                    <a:gd name="connsiteY1" fmla="*/ 18559 h 50570"/>
                    <a:gd name="connsiteX2" fmla="*/ 10392 w 12494"/>
                    <a:gd name="connsiteY2" fmla="*/ 34253 h 50570"/>
                    <a:gd name="connsiteX3" fmla="*/ 12386 w 1249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4" h="50570">
                      <a:moveTo>
                        <a:pt x="55" y="0"/>
                      </a:moveTo>
                      <a:cubicBezTo>
                        <a:pt x="-320" y="8345"/>
                        <a:pt x="1300" y="14573"/>
                        <a:pt x="2794" y="18559"/>
                      </a:cubicBezTo>
                      <a:cubicBezTo>
                        <a:pt x="5286" y="25161"/>
                        <a:pt x="8150" y="27527"/>
                        <a:pt x="10392" y="34253"/>
                      </a:cubicBezTo>
                      <a:cubicBezTo>
                        <a:pt x="12634" y="40855"/>
                        <a:pt x="12634" y="46709"/>
                        <a:pt x="1238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2" name="Freeform 7228">
                  <a:extLst>
                    <a:ext uri="{FF2B5EF4-FFF2-40B4-BE49-F238E27FC236}">
                      <a16:creationId xmlns:a16="http://schemas.microsoft.com/office/drawing/2014/main" id="{7E39D475-0CB4-2C69-D8FC-2E70D3F60294}"/>
                    </a:ext>
                  </a:extLst>
                </p:cNvPr>
                <p:cNvSpPr/>
                <p:nvPr/>
              </p:nvSpPr>
              <p:spPr>
                <a:xfrm>
                  <a:off x="8663983" y="1561280"/>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7" y="43097"/>
                        <a:pt x="7847" y="36994"/>
                        <a:pt x="7224" y="32634"/>
                      </a:cubicBezTo>
                      <a:cubicBezTo>
                        <a:pt x="6228" y="25659"/>
                        <a:pt x="7598" y="22296"/>
                        <a:pt x="6228" y="15321"/>
                      </a:cubicBezTo>
                      <a:cubicBezTo>
                        <a:pt x="4982" y="8594"/>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3" name="Freeform 7229">
                  <a:extLst>
                    <a:ext uri="{FF2B5EF4-FFF2-40B4-BE49-F238E27FC236}">
                      <a16:creationId xmlns:a16="http://schemas.microsoft.com/office/drawing/2014/main" id="{CE4F0774-10EF-48E5-9A0F-59F30ABA4759}"/>
                    </a:ext>
                  </a:extLst>
                </p:cNvPr>
                <p:cNvSpPr/>
                <p:nvPr/>
              </p:nvSpPr>
              <p:spPr>
                <a:xfrm>
                  <a:off x="8647107" y="1546743"/>
                  <a:ext cx="26409" cy="26504"/>
                </a:xfrm>
                <a:custGeom>
                  <a:avLst/>
                  <a:gdLst>
                    <a:gd name="connsiteX0" fmla="*/ 25968 w 26409"/>
                    <a:gd name="connsiteY0" fmla="*/ 10177 h 26504"/>
                    <a:gd name="connsiteX1" fmla="*/ 16501 w 26409"/>
                    <a:gd name="connsiteY1" fmla="*/ 26121 h 26504"/>
                    <a:gd name="connsiteX2" fmla="*/ 434 w 26409"/>
                    <a:gd name="connsiteY2" fmla="*/ 16405 h 26504"/>
                    <a:gd name="connsiteX3" fmla="*/ 9900 w 26409"/>
                    <a:gd name="connsiteY3" fmla="*/ 337 h 26504"/>
                    <a:gd name="connsiteX4" fmla="*/ 25968 w 26409"/>
                    <a:gd name="connsiteY4" fmla="*/ 1017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9" h="26504">
                      <a:moveTo>
                        <a:pt x="25968" y="10177"/>
                      </a:moveTo>
                      <a:cubicBezTo>
                        <a:pt x="27836" y="17277"/>
                        <a:pt x="23601" y="24377"/>
                        <a:pt x="16501" y="26121"/>
                      </a:cubicBezTo>
                      <a:cubicBezTo>
                        <a:pt x="9401" y="27865"/>
                        <a:pt x="2178" y="23505"/>
                        <a:pt x="434" y="16405"/>
                      </a:cubicBezTo>
                      <a:cubicBezTo>
                        <a:pt x="-1435" y="9306"/>
                        <a:pt x="2925" y="2206"/>
                        <a:pt x="9900" y="337"/>
                      </a:cubicBezTo>
                      <a:cubicBezTo>
                        <a:pt x="17000" y="-1282"/>
                        <a:pt x="24099" y="3078"/>
                        <a:pt x="25968"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0" name="Graphic 2987">
                <a:extLst>
                  <a:ext uri="{FF2B5EF4-FFF2-40B4-BE49-F238E27FC236}">
                    <a16:creationId xmlns:a16="http://schemas.microsoft.com/office/drawing/2014/main" id="{F191FF85-ED1F-6E63-EFC4-8CD88CFA5F0E}"/>
                  </a:ext>
                </a:extLst>
              </p:cNvPr>
              <p:cNvGrpSpPr/>
              <p:nvPr/>
            </p:nvGrpSpPr>
            <p:grpSpPr>
              <a:xfrm>
                <a:off x="8618583" y="1553921"/>
                <a:ext cx="56667" cy="145130"/>
                <a:chOff x="8618583" y="1553921"/>
                <a:chExt cx="56667" cy="145130"/>
              </a:xfrm>
              <a:grpFill/>
            </p:grpSpPr>
            <p:sp>
              <p:nvSpPr>
                <p:cNvPr id="6852" name="Freeform 7231">
                  <a:extLst>
                    <a:ext uri="{FF2B5EF4-FFF2-40B4-BE49-F238E27FC236}">
                      <a16:creationId xmlns:a16="http://schemas.microsoft.com/office/drawing/2014/main" id="{511FB240-3ED8-AB47-9E47-D823EBDB7C62}"/>
                    </a:ext>
                  </a:extLst>
                </p:cNvPr>
                <p:cNvSpPr/>
                <p:nvPr/>
              </p:nvSpPr>
              <p:spPr>
                <a:xfrm>
                  <a:off x="8651362" y="1627295"/>
                  <a:ext cx="12338" cy="50694"/>
                </a:xfrm>
                <a:custGeom>
                  <a:avLst/>
                  <a:gdLst>
                    <a:gd name="connsiteX0" fmla="*/ 12246 w 12338"/>
                    <a:gd name="connsiteY0" fmla="*/ 50695 h 50694"/>
                    <a:gd name="connsiteX1" fmla="*/ 9631 w 12338"/>
                    <a:gd name="connsiteY1" fmla="*/ 32136 h 50694"/>
                    <a:gd name="connsiteX2" fmla="*/ 2032 w 12338"/>
                    <a:gd name="connsiteY2" fmla="*/ 16442 h 50694"/>
                    <a:gd name="connsiteX3" fmla="*/ 165 w 12338"/>
                    <a:gd name="connsiteY3" fmla="*/ 0 h 50694"/>
                  </a:gdLst>
                  <a:ahLst/>
                  <a:cxnLst>
                    <a:cxn ang="0">
                      <a:pos x="connsiteX0" y="connsiteY0"/>
                    </a:cxn>
                    <a:cxn ang="0">
                      <a:pos x="connsiteX1" y="connsiteY1"/>
                    </a:cxn>
                    <a:cxn ang="0">
                      <a:pos x="connsiteX2" y="connsiteY2"/>
                    </a:cxn>
                    <a:cxn ang="0">
                      <a:pos x="connsiteX3" y="connsiteY3"/>
                    </a:cxn>
                  </a:cxnLst>
                  <a:rect l="l" t="t" r="r" b="b"/>
                  <a:pathLst>
                    <a:path w="12338" h="50694">
                      <a:moveTo>
                        <a:pt x="12246" y="50695"/>
                      </a:moveTo>
                      <a:cubicBezTo>
                        <a:pt x="12745" y="42350"/>
                        <a:pt x="11126" y="36122"/>
                        <a:pt x="9631" y="32136"/>
                      </a:cubicBezTo>
                      <a:cubicBezTo>
                        <a:pt x="7140" y="25534"/>
                        <a:pt x="4274" y="23168"/>
                        <a:pt x="2032" y="16442"/>
                      </a:cubicBezTo>
                      <a:cubicBezTo>
                        <a:pt x="-85" y="9840"/>
                        <a:pt x="-210" y="3986"/>
                        <a:pt x="1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3" name="Freeform 7232">
                  <a:extLst>
                    <a:ext uri="{FF2B5EF4-FFF2-40B4-BE49-F238E27FC236}">
                      <a16:creationId xmlns:a16="http://schemas.microsoft.com/office/drawing/2014/main" id="{1DB82A57-3300-1C42-013E-43447AC4F16C}"/>
                    </a:ext>
                  </a:extLst>
                </p:cNvPr>
                <p:cNvSpPr/>
                <p:nvPr/>
              </p:nvSpPr>
              <p:spPr>
                <a:xfrm>
                  <a:off x="8644552" y="1634271"/>
                  <a:ext cx="13451" cy="50445"/>
                </a:xfrm>
                <a:custGeom>
                  <a:avLst/>
                  <a:gdLst>
                    <a:gd name="connsiteX0" fmla="*/ 0 w 13451"/>
                    <a:gd name="connsiteY0" fmla="*/ 0 h 50445"/>
                    <a:gd name="connsiteX1" fmla="*/ 6476 w 13451"/>
                    <a:gd name="connsiteY1" fmla="*/ 17687 h 50445"/>
                    <a:gd name="connsiteX2" fmla="*/ 7348 w 13451"/>
                    <a:gd name="connsiteY2" fmla="*/ 35125 h 50445"/>
                    <a:gd name="connsiteX3" fmla="*/ 13452 w 1345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6" y="17687"/>
                      </a:cubicBezTo>
                      <a:cubicBezTo>
                        <a:pt x="7473" y="24662"/>
                        <a:pt x="6103" y="28025"/>
                        <a:pt x="7348" y="35125"/>
                      </a:cubicBezTo>
                      <a:cubicBezTo>
                        <a:pt x="8595" y="41976"/>
                        <a:pt x="11334"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4" name="Freeform 7233">
                  <a:extLst>
                    <a:ext uri="{FF2B5EF4-FFF2-40B4-BE49-F238E27FC236}">
                      <a16:creationId xmlns:a16="http://schemas.microsoft.com/office/drawing/2014/main" id="{6E76F46C-CE34-EC9E-35E1-B140B787F507}"/>
                    </a:ext>
                  </a:extLst>
                </p:cNvPr>
                <p:cNvSpPr/>
                <p:nvPr/>
              </p:nvSpPr>
              <p:spPr>
                <a:xfrm>
                  <a:off x="8648527" y="1672616"/>
                  <a:ext cx="26724" cy="26435"/>
                </a:xfrm>
                <a:custGeom>
                  <a:avLst/>
                  <a:gdLst>
                    <a:gd name="connsiteX0" fmla="*/ 384 w 26724"/>
                    <a:gd name="connsiteY0" fmla="*/ 16460 h 26435"/>
                    <a:gd name="connsiteX1" fmla="*/ 10100 w 26724"/>
                    <a:gd name="connsiteY1" fmla="*/ 392 h 26435"/>
                    <a:gd name="connsiteX2" fmla="*/ 26292 w 26724"/>
                    <a:gd name="connsiteY2" fmla="*/ 9983 h 26435"/>
                    <a:gd name="connsiteX3" fmla="*/ 16576 w 26724"/>
                    <a:gd name="connsiteY3" fmla="*/ 26051 h 26435"/>
                    <a:gd name="connsiteX4" fmla="*/ 384 w 26724"/>
                    <a:gd name="connsiteY4" fmla="*/ 16460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35">
                      <a:moveTo>
                        <a:pt x="384" y="16460"/>
                      </a:moveTo>
                      <a:cubicBezTo>
                        <a:pt x="-1360" y="9360"/>
                        <a:pt x="3000" y="2136"/>
                        <a:pt x="10100" y="392"/>
                      </a:cubicBezTo>
                      <a:cubicBezTo>
                        <a:pt x="17199" y="-1352"/>
                        <a:pt x="24548" y="2883"/>
                        <a:pt x="26292" y="9983"/>
                      </a:cubicBezTo>
                      <a:cubicBezTo>
                        <a:pt x="28160" y="17082"/>
                        <a:pt x="23801" y="24307"/>
                        <a:pt x="16576" y="26051"/>
                      </a:cubicBezTo>
                      <a:cubicBezTo>
                        <a:pt x="9353" y="27794"/>
                        <a:pt x="2128" y="23435"/>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5" name="Freeform 7234">
                  <a:extLst>
                    <a:ext uri="{FF2B5EF4-FFF2-40B4-BE49-F238E27FC236}">
                      <a16:creationId xmlns:a16="http://schemas.microsoft.com/office/drawing/2014/main" id="{C9E50001-7599-9B10-E8A7-1A2120CC5B44}"/>
                    </a:ext>
                  </a:extLst>
                </p:cNvPr>
                <p:cNvSpPr/>
                <p:nvPr/>
              </p:nvSpPr>
              <p:spPr>
                <a:xfrm>
                  <a:off x="8629920" y="1574857"/>
                  <a:ext cx="12180" cy="50694"/>
                </a:xfrm>
                <a:custGeom>
                  <a:avLst/>
                  <a:gdLst>
                    <a:gd name="connsiteX0" fmla="*/ 58 w 12180"/>
                    <a:gd name="connsiteY0" fmla="*/ 0 h 50694"/>
                    <a:gd name="connsiteX1" fmla="*/ 2674 w 12180"/>
                    <a:gd name="connsiteY1" fmla="*/ 18559 h 50694"/>
                    <a:gd name="connsiteX2" fmla="*/ 10147 w 12180"/>
                    <a:gd name="connsiteY2" fmla="*/ 34253 h 50694"/>
                    <a:gd name="connsiteX3" fmla="*/ 12016 w 1218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80" h="50694">
                      <a:moveTo>
                        <a:pt x="58" y="0"/>
                      </a:moveTo>
                      <a:cubicBezTo>
                        <a:pt x="-315" y="8345"/>
                        <a:pt x="1179" y="14573"/>
                        <a:pt x="2674" y="18559"/>
                      </a:cubicBezTo>
                      <a:cubicBezTo>
                        <a:pt x="5165" y="25161"/>
                        <a:pt x="7905" y="27527"/>
                        <a:pt x="10147" y="34253"/>
                      </a:cubicBezTo>
                      <a:cubicBezTo>
                        <a:pt x="12265" y="40855"/>
                        <a:pt x="12390" y="46709"/>
                        <a:pt x="1201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6" name="Freeform 7235">
                  <a:extLst>
                    <a:ext uri="{FF2B5EF4-FFF2-40B4-BE49-F238E27FC236}">
                      <a16:creationId xmlns:a16="http://schemas.microsoft.com/office/drawing/2014/main" id="{FAF9313C-60DE-4949-27B9-4F30BDEE6609}"/>
                    </a:ext>
                  </a:extLst>
                </p:cNvPr>
                <p:cNvSpPr/>
                <p:nvPr/>
              </p:nvSpPr>
              <p:spPr>
                <a:xfrm>
                  <a:off x="8635583" y="1568380"/>
                  <a:ext cx="13452" cy="50321"/>
                </a:xfrm>
                <a:custGeom>
                  <a:avLst/>
                  <a:gdLst>
                    <a:gd name="connsiteX0" fmla="*/ 13452 w 13452"/>
                    <a:gd name="connsiteY0" fmla="*/ 50321 h 50321"/>
                    <a:gd name="connsiteX1" fmla="*/ 6975 w 13452"/>
                    <a:gd name="connsiteY1" fmla="*/ 32634 h 50321"/>
                    <a:gd name="connsiteX2" fmla="*/ 6103 w 13452"/>
                    <a:gd name="connsiteY2" fmla="*/ 15321 h 50321"/>
                    <a:gd name="connsiteX3" fmla="*/ 0 w 13452"/>
                    <a:gd name="connsiteY3" fmla="*/ 0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50321"/>
                      </a:moveTo>
                      <a:cubicBezTo>
                        <a:pt x="9093" y="43097"/>
                        <a:pt x="7474" y="36994"/>
                        <a:pt x="6975" y="32634"/>
                      </a:cubicBezTo>
                      <a:cubicBezTo>
                        <a:pt x="5979" y="25659"/>
                        <a:pt x="7349" y="22296"/>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7" name="Freeform 7236">
                  <a:extLst>
                    <a:ext uri="{FF2B5EF4-FFF2-40B4-BE49-F238E27FC236}">
                      <a16:creationId xmlns:a16="http://schemas.microsoft.com/office/drawing/2014/main" id="{0127D946-600A-21DA-0150-5FC75866447E}"/>
                    </a:ext>
                  </a:extLst>
                </p:cNvPr>
                <p:cNvSpPr/>
                <p:nvPr/>
              </p:nvSpPr>
              <p:spPr>
                <a:xfrm>
                  <a:off x="8618583" y="1553921"/>
                  <a:ext cx="26401" cy="26551"/>
                </a:xfrm>
                <a:custGeom>
                  <a:avLst/>
                  <a:gdLst>
                    <a:gd name="connsiteX0" fmla="*/ 25968 w 26401"/>
                    <a:gd name="connsiteY0" fmla="*/ 10100 h 26551"/>
                    <a:gd name="connsiteX1" fmla="*/ 16502 w 26401"/>
                    <a:gd name="connsiteY1" fmla="*/ 26168 h 26551"/>
                    <a:gd name="connsiteX2" fmla="*/ 433 w 26401"/>
                    <a:gd name="connsiteY2" fmla="*/ 16452 h 26551"/>
                    <a:gd name="connsiteX3" fmla="*/ 9900 w 26401"/>
                    <a:gd name="connsiteY3" fmla="*/ 384 h 26551"/>
                    <a:gd name="connsiteX4" fmla="*/ 25968 w 2640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51">
                      <a:moveTo>
                        <a:pt x="25968" y="10100"/>
                      </a:moveTo>
                      <a:cubicBezTo>
                        <a:pt x="27836" y="17199"/>
                        <a:pt x="23477" y="24424"/>
                        <a:pt x="16502" y="26168"/>
                      </a:cubicBezTo>
                      <a:cubicBezTo>
                        <a:pt x="9402" y="27911"/>
                        <a:pt x="2302" y="23552"/>
                        <a:pt x="433" y="16452"/>
                      </a:cubicBezTo>
                      <a:cubicBezTo>
                        <a:pt x="-1435" y="9352"/>
                        <a:pt x="2925" y="2128"/>
                        <a:pt x="9900" y="384"/>
                      </a:cubicBezTo>
                      <a:cubicBezTo>
                        <a:pt x="17000" y="-1360"/>
                        <a:pt x="24100" y="3000"/>
                        <a:pt x="25968"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1" name="Graphic 2987">
                <a:extLst>
                  <a:ext uri="{FF2B5EF4-FFF2-40B4-BE49-F238E27FC236}">
                    <a16:creationId xmlns:a16="http://schemas.microsoft.com/office/drawing/2014/main" id="{EDCA1288-E9D4-4D99-3834-354C0C22E85A}"/>
                  </a:ext>
                </a:extLst>
              </p:cNvPr>
              <p:cNvGrpSpPr/>
              <p:nvPr/>
            </p:nvGrpSpPr>
            <p:grpSpPr>
              <a:xfrm>
                <a:off x="8589977" y="1560942"/>
                <a:ext cx="56203" cy="145257"/>
                <a:chOff x="8589977" y="1560942"/>
                <a:chExt cx="56203" cy="145257"/>
              </a:xfrm>
              <a:grpFill/>
            </p:grpSpPr>
            <p:sp>
              <p:nvSpPr>
                <p:cNvPr id="6846" name="Freeform 7238">
                  <a:extLst>
                    <a:ext uri="{FF2B5EF4-FFF2-40B4-BE49-F238E27FC236}">
                      <a16:creationId xmlns:a16="http://schemas.microsoft.com/office/drawing/2014/main" id="{7AC7B71F-D280-7A96-AD3F-C7F04A6CE884}"/>
                    </a:ext>
                  </a:extLst>
                </p:cNvPr>
                <p:cNvSpPr/>
                <p:nvPr/>
              </p:nvSpPr>
              <p:spPr>
                <a:xfrm>
                  <a:off x="8622643" y="1634520"/>
                  <a:ext cx="12160" cy="50694"/>
                </a:xfrm>
                <a:custGeom>
                  <a:avLst/>
                  <a:gdLst>
                    <a:gd name="connsiteX0" fmla="*/ 12068 w 12160"/>
                    <a:gd name="connsiteY0" fmla="*/ 50695 h 50694"/>
                    <a:gd name="connsiteX1" fmla="*/ 9453 w 12160"/>
                    <a:gd name="connsiteY1" fmla="*/ 32136 h 50694"/>
                    <a:gd name="connsiteX2" fmla="*/ 1979 w 12160"/>
                    <a:gd name="connsiteY2" fmla="*/ 16442 h 50694"/>
                    <a:gd name="connsiteX3" fmla="*/ 111 w 12160"/>
                    <a:gd name="connsiteY3" fmla="*/ 0 h 50694"/>
                  </a:gdLst>
                  <a:ahLst/>
                  <a:cxnLst>
                    <a:cxn ang="0">
                      <a:pos x="connsiteX0" y="connsiteY0"/>
                    </a:cxn>
                    <a:cxn ang="0">
                      <a:pos x="connsiteX1" y="connsiteY1"/>
                    </a:cxn>
                    <a:cxn ang="0">
                      <a:pos x="connsiteX2" y="connsiteY2"/>
                    </a:cxn>
                    <a:cxn ang="0">
                      <a:pos x="connsiteX3" y="connsiteY3"/>
                    </a:cxn>
                  </a:cxnLst>
                  <a:rect l="l" t="t" r="r" b="b"/>
                  <a:pathLst>
                    <a:path w="12160" h="50694">
                      <a:moveTo>
                        <a:pt x="12068" y="50695"/>
                      </a:moveTo>
                      <a:cubicBezTo>
                        <a:pt x="12567" y="42350"/>
                        <a:pt x="10948" y="36122"/>
                        <a:pt x="9453" y="32136"/>
                      </a:cubicBezTo>
                      <a:cubicBezTo>
                        <a:pt x="6962" y="25534"/>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7" name="Freeform 7239">
                  <a:extLst>
                    <a:ext uri="{FF2B5EF4-FFF2-40B4-BE49-F238E27FC236}">
                      <a16:creationId xmlns:a16="http://schemas.microsoft.com/office/drawing/2014/main" id="{C9C6BA0B-38A6-CEEA-4902-BFDAA0DCD1D0}"/>
                    </a:ext>
                  </a:extLst>
                </p:cNvPr>
                <p:cNvSpPr/>
                <p:nvPr/>
              </p:nvSpPr>
              <p:spPr>
                <a:xfrm>
                  <a:off x="8615779" y="1641371"/>
                  <a:ext cx="13327" cy="50445"/>
                </a:xfrm>
                <a:custGeom>
                  <a:avLst/>
                  <a:gdLst>
                    <a:gd name="connsiteX0" fmla="*/ 0 w 13327"/>
                    <a:gd name="connsiteY0" fmla="*/ 0 h 50445"/>
                    <a:gd name="connsiteX1" fmla="*/ 6476 w 13327"/>
                    <a:gd name="connsiteY1" fmla="*/ 17687 h 50445"/>
                    <a:gd name="connsiteX2" fmla="*/ 7224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59" y="7224"/>
                        <a:pt x="5854" y="13328"/>
                        <a:pt x="6476" y="17687"/>
                      </a:cubicBezTo>
                      <a:cubicBezTo>
                        <a:pt x="7348" y="24662"/>
                        <a:pt x="6103" y="28150"/>
                        <a:pt x="7224" y="35125"/>
                      </a:cubicBezTo>
                      <a:cubicBezTo>
                        <a:pt x="8470" y="41976"/>
                        <a:pt x="11210"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8" name="Freeform 7240">
                  <a:extLst>
                    <a:ext uri="{FF2B5EF4-FFF2-40B4-BE49-F238E27FC236}">
                      <a16:creationId xmlns:a16="http://schemas.microsoft.com/office/drawing/2014/main" id="{34D52913-A81C-638C-FE0C-E298E03E8E70}"/>
                    </a:ext>
                  </a:extLst>
                </p:cNvPr>
                <p:cNvSpPr/>
                <p:nvPr/>
              </p:nvSpPr>
              <p:spPr>
                <a:xfrm>
                  <a:off x="8619505" y="1679716"/>
                  <a:ext cx="26676" cy="26483"/>
                </a:xfrm>
                <a:custGeom>
                  <a:avLst/>
                  <a:gdLst>
                    <a:gd name="connsiteX0" fmla="*/ 384 w 26676"/>
                    <a:gd name="connsiteY0" fmla="*/ 16460 h 26483"/>
                    <a:gd name="connsiteX1" fmla="*/ 10100 w 26676"/>
                    <a:gd name="connsiteY1" fmla="*/ 392 h 26483"/>
                    <a:gd name="connsiteX2" fmla="*/ 26292 w 26676"/>
                    <a:gd name="connsiteY2" fmla="*/ 9983 h 26483"/>
                    <a:gd name="connsiteX3" fmla="*/ 16577 w 26676"/>
                    <a:gd name="connsiteY3" fmla="*/ 26051 h 26483"/>
                    <a:gd name="connsiteX4" fmla="*/ 384 w 26676"/>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6" h="26483">
                      <a:moveTo>
                        <a:pt x="384" y="16460"/>
                      </a:moveTo>
                      <a:cubicBezTo>
                        <a:pt x="-1359" y="9360"/>
                        <a:pt x="3000" y="2136"/>
                        <a:pt x="10100" y="392"/>
                      </a:cubicBezTo>
                      <a:cubicBezTo>
                        <a:pt x="17200" y="-1352"/>
                        <a:pt x="24548" y="2883"/>
                        <a:pt x="26292" y="9983"/>
                      </a:cubicBezTo>
                      <a:cubicBezTo>
                        <a:pt x="28036" y="17082"/>
                        <a:pt x="23676" y="24307"/>
                        <a:pt x="16577" y="26051"/>
                      </a:cubicBezTo>
                      <a:cubicBezTo>
                        <a:pt x="9352" y="27919"/>
                        <a:pt x="2128"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9" name="Freeform 7241">
                  <a:extLst>
                    <a:ext uri="{FF2B5EF4-FFF2-40B4-BE49-F238E27FC236}">
                      <a16:creationId xmlns:a16="http://schemas.microsoft.com/office/drawing/2014/main" id="{5E4A3ECF-FAC3-8603-7DD7-28640553E14D}"/>
                    </a:ext>
                  </a:extLst>
                </p:cNvPr>
                <p:cNvSpPr/>
                <p:nvPr/>
              </p:nvSpPr>
              <p:spPr>
                <a:xfrm>
                  <a:off x="8601238" y="1581956"/>
                  <a:ext cx="12160" cy="50694"/>
                </a:xfrm>
                <a:custGeom>
                  <a:avLst/>
                  <a:gdLst>
                    <a:gd name="connsiteX0" fmla="*/ 92 w 12160"/>
                    <a:gd name="connsiteY0" fmla="*/ 0 h 50694"/>
                    <a:gd name="connsiteX1" fmla="*/ 2708 w 12160"/>
                    <a:gd name="connsiteY1" fmla="*/ 18559 h 50694"/>
                    <a:gd name="connsiteX2" fmla="*/ 10181 w 12160"/>
                    <a:gd name="connsiteY2" fmla="*/ 34253 h 50694"/>
                    <a:gd name="connsiteX3" fmla="*/ 12050 w 1216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60" h="50694">
                      <a:moveTo>
                        <a:pt x="92" y="0"/>
                      </a:moveTo>
                      <a:cubicBezTo>
                        <a:pt x="-406" y="8345"/>
                        <a:pt x="1213" y="14573"/>
                        <a:pt x="2708" y="18559"/>
                      </a:cubicBezTo>
                      <a:cubicBezTo>
                        <a:pt x="5199" y="25161"/>
                        <a:pt x="7939" y="27527"/>
                        <a:pt x="10181" y="34253"/>
                      </a:cubicBezTo>
                      <a:cubicBezTo>
                        <a:pt x="12299" y="40855"/>
                        <a:pt x="12299" y="46709"/>
                        <a:pt x="1205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0" name="Freeform 7242">
                  <a:extLst>
                    <a:ext uri="{FF2B5EF4-FFF2-40B4-BE49-F238E27FC236}">
                      <a16:creationId xmlns:a16="http://schemas.microsoft.com/office/drawing/2014/main" id="{9676C116-B2BF-76F4-A0D9-BA5263AB2ACD}"/>
                    </a:ext>
                  </a:extLst>
                </p:cNvPr>
                <p:cNvSpPr/>
                <p:nvPr/>
              </p:nvSpPr>
              <p:spPr>
                <a:xfrm>
                  <a:off x="8606810" y="1575355"/>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2" y="43222"/>
                        <a:pt x="7598" y="37118"/>
                        <a:pt x="6975" y="32759"/>
                      </a:cubicBezTo>
                      <a:cubicBezTo>
                        <a:pt x="5979" y="25783"/>
                        <a:pt x="7349" y="22420"/>
                        <a:pt x="6103" y="15321"/>
                      </a:cubicBezTo>
                      <a:cubicBezTo>
                        <a:pt x="4858"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1" name="Freeform 7243">
                  <a:extLst>
                    <a:ext uri="{FF2B5EF4-FFF2-40B4-BE49-F238E27FC236}">
                      <a16:creationId xmlns:a16="http://schemas.microsoft.com/office/drawing/2014/main" id="{9E106F1F-5EAC-28BD-8463-C36DE1075D1A}"/>
                    </a:ext>
                  </a:extLst>
                </p:cNvPr>
                <p:cNvSpPr/>
                <p:nvPr/>
              </p:nvSpPr>
              <p:spPr>
                <a:xfrm>
                  <a:off x="8589977" y="1560942"/>
                  <a:ext cx="26317" cy="26505"/>
                </a:xfrm>
                <a:custGeom>
                  <a:avLst/>
                  <a:gdLst>
                    <a:gd name="connsiteX0" fmla="*/ 25926 w 26317"/>
                    <a:gd name="connsiteY0" fmla="*/ 10053 h 26505"/>
                    <a:gd name="connsiteX1" fmla="*/ 16335 w 26317"/>
                    <a:gd name="connsiteY1" fmla="*/ 26121 h 26505"/>
                    <a:gd name="connsiteX2" fmla="*/ 392 w 26317"/>
                    <a:gd name="connsiteY2" fmla="*/ 16406 h 26505"/>
                    <a:gd name="connsiteX3" fmla="*/ 9983 w 26317"/>
                    <a:gd name="connsiteY3" fmla="*/ 338 h 26505"/>
                    <a:gd name="connsiteX4" fmla="*/ 25926 w 26317"/>
                    <a:gd name="connsiteY4" fmla="*/ 10053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05">
                      <a:moveTo>
                        <a:pt x="25926" y="10053"/>
                      </a:moveTo>
                      <a:cubicBezTo>
                        <a:pt x="27670" y="17153"/>
                        <a:pt x="23435" y="24377"/>
                        <a:pt x="16335" y="26121"/>
                      </a:cubicBezTo>
                      <a:cubicBezTo>
                        <a:pt x="9235" y="27865"/>
                        <a:pt x="2136" y="23506"/>
                        <a:pt x="392" y="16406"/>
                      </a:cubicBezTo>
                      <a:cubicBezTo>
                        <a:pt x="-1352" y="9306"/>
                        <a:pt x="2883" y="2082"/>
                        <a:pt x="9983" y="338"/>
                      </a:cubicBezTo>
                      <a:cubicBezTo>
                        <a:pt x="17083" y="-1281"/>
                        <a:pt x="24182" y="3078"/>
                        <a:pt x="25926" y="100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2" name="Graphic 2987">
                <a:extLst>
                  <a:ext uri="{FF2B5EF4-FFF2-40B4-BE49-F238E27FC236}">
                    <a16:creationId xmlns:a16="http://schemas.microsoft.com/office/drawing/2014/main" id="{45235669-2DD8-0327-D2E4-4FE0A9D4343D}"/>
                  </a:ext>
                </a:extLst>
              </p:cNvPr>
              <p:cNvGrpSpPr/>
              <p:nvPr/>
            </p:nvGrpSpPr>
            <p:grpSpPr>
              <a:xfrm>
                <a:off x="8561461" y="1567996"/>
                <a:ext cx="55822" cy="145428"/>
                <a:chOff x="8561461" y="1567996"/>
                <a:chExt cx="55822" cy="145428"/>
              </a:xfrm>
              <a:grpFill/>
            </p:grpSpPr>
            <p:sp>
              <p:nvSpPr>
                <p:cNvPr id="6840" name="Freeform 7245">
                  <a:extLst>
                    <a:ext uri="{FF2B5EF4-FFF2-40B4-BE49-F238E27FC236}">
                      <a16:creationId xmlns:a16="http://schemas.microsoft.com/office/drawing/2014/main" id="{2E2670D1-BC47-7219-BC56-573AB3FE95EB}"/>
                    </a:ext>
                  </a:extLst>
                </p:cNvPr>
                <p:cNvSpPr/>
                <p:nvPr/>
              </p:nvSpPr>
              <p:spPr>
                <a:xfrm>
                  <a:off x="8593745" y="1641495"/>
                  <a:ext cx="12041" cy="50944"/>
                </a:xfrm>
                <a:custGeom>
                  <a:avLst/>
                  <a:gdLst>
                    <a:gd name="connsiteX0" fmla="*/ 11944 w 12041"/>
                    <a:gd name="connsiteY0" fmla="*/ 50944 h 50944"/>
                    <a:gd name="connsiteX1" fmla="*/ 9453 w 12041"/>
                    <a:gd name="connsiteY1" fmla="*/ 32260 h 50944"/>
                    <a:gd name="connsiteX2" fmla="*/ 1979 w 12041"/>
                    <a:gd name="connsiteY2" fmla="*/ 16442 h 50944"/>
                    <a:gd name="connsiteX3" fmla="*/ 111 w 12041"/>
                    <a:gd name="connsiteY3" fmla="*/ 0 h 50944"/>
                  </a:gdLst>
                  <a:ahLst/>
                  <a:cxnLst>
                    <a:cxn ang="0">
                      <a:pos x="connsiteX0" y="connsiteY0"/>
                    </a:cxn>
                    <a:cxn ang="0">
                      <a:pos x="connsiteX1" y="connsiteY1"/>
                    </a:cxn>
                    <a:cxn ang="0">
                      <a:pos x="connsiteX2" y="connsiteY2"/>
                    </a:cxn>
                    <a:cxn ang="0">
                      <a:pos x="connsiteX3" y="connsiteY3"/>
                    </a:cxn>
                  </a:cxnLst>
                  <a:rect l="l" t="t" r="r" b="b"/>
                  <a:pathLst>
                    <a:path w="12041" h="50944">
                      <a:moveTo>
                        <a:pt x="11944" y="50944"/>
                      </a:moveTo>
                      <a:cubicBezTo>
                        <a:pt x="12442" y="42474"/>
                        <a:pt x="10948" y="36371"/>
                        <a:pt x="9453" y="32260"/>
                      </a:cubicBezTo>
                      <a:cubicBezTo>
                        <a:pt x="7086" y="25659"/>
                        <a:pt x="4222" y="23292"/>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1" name="Freeform 7246">
                  <a:extLst>
                    <a:ext uri="{FF2B5EF4-FFF2-40B4-BE49-F238E27FC236}">
                      <a16:creationId xmlns:a16="http://schemas.microsoft.com/office/drawing/2014/main" id="{14209D28-EB43-42DE-A97E-4BD4D1AA135D}"/>
                    </a:ext>
                  </a:extLst>
                </p:cNvPr>
                <p:cNvSpPr/>
                <p:nvPr/>
              </p:nvSpPr>
              <p:spPr>
                <a:xfrm>
                  <a:off x="8586881" y="1648595"/>
                  <a:ext cx="13078" cy="50445"/>
                </a:xfrm>
                <a:custGeom>
                  <a:avLst/>
                  <a:gdLst>
                    <a:gd name="connsiteX0" fmla="*/ 0 w 13078"/>
                    <a:gd name="connsiteY0" fmla="*/ 0 h 50445"/>
                    <a:gd name="connsiteX1" fmla="*/ 6353 w 13078"/>
                    <a:gd name="connsiteY1" fmla="*/ 17687 h 50445"/>
                    <a:gd name="connsiteX2" fmla="*/ 7100 w 13078"/>
                    <a:gd name="connsiteY2" fmla="*/ 35125 h 50445"/>
                    <a:gd name="connsiteX3" fmla="*/ 13078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0" y="0"/>
                      </a:moveTo>
                      <a:cubicBezTo>
                        <a:pt x="4359" y="7224"/>
                        <a:pt x="5854" y="13328"/>
                        <a:pt x="6353" y="17687"/>
                      </a:cubicBezTo>
                      <a:cubicBezTo>
                        <a:pt x="7224" y="24662"/>
                        <a:pt x="5854" y="28150"/>
                        <a:pt x="7100"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2" name="Freeform 7247">
                  <a:extLst>
                    <a:ext uri="{FF2B5EF4-FFF2-40B4-BE49-F238E27FC236}">
                      <a16:creationId xmlns:a16="http://schemas.microsoft.com/office/drawing/2014/main" id="{011B1DA3-E5C3-65F3-D3E2-9FA05D7C78B9}"/>
                    </a:ext>
                  </a:extLst>
                </p:cNvPr>
                <p:cNvSpPr/>
                <p:nvPr/>
              </p:nvSpPr>
              <p:spPr>
                <a:xfrm>
                  <a:off x="8590484" y="1686941"/>
                  <a:ext cx="26799" cy="26483"/>
                </a:xfrm>
                <a:custGeom>
                  <a:avLst/>
                  <a:gdLst>
                    <a:gd name="connsiteX0" fmla="*/ 384 w 26799"/>
                    <a:gd name="connsiteY0" fmla="*/ 16460 h 26483"/>
                    <a:gd name="connsiteX1" fmla="*/ 10224 w 26799"/>
                    <a:gd name="connsiteY1" fmla="*/ 392 h 26483"/>
                    <a:gd name="connsiteX2" fmla="*/ 26416 w 26799"/>
                    <a:gd name="connsiteY2" fmla="*/ 9983 h 26483"/>
                    <a:gd name="connsiteX3" fmla="*/ 16576 w 26799"/>
                    <a:gd name="connsiteY3" fmla="*/ 26051 h 26483"/>
                    <a:gd name="connsiteX4" fmla="*/ 384 w 26799"/>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483">
                      <a:moveTo>
                        <a:pt x="384" y="16460"/>
                      </a:moveTo>
                      <a:cubicBezTo>
                        <a:pt x="-1360" y="9360"/>
                        <a:pt x="2999" y="2136"/>
                        <a:pt x="10224" y="392"/>
                      </a:cubicBezTo>
                      <a:cubicBezTo>
                        <a:pt x="17323" y="-1352"/>
                        <a:pt x="24548" y="2883"/>
                        <a:pt x="26416" y="9983"/>
                      </a:cubicBezTo>
                      <a:cubicBezTo>
                        <a:pt x="28160" y="17082"/>
                        <a:pt x="23801" y="24307"/>
                        <a:pt x="16576" y="26051"/>
                      </a:cubicBezTo>
                      <a:cubicBezTo>
                        <a:pt x="9352" y="27919"/>
                        <a:pt x="2127"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3" name="Freeform 7248">
                  <a:extLst>
                    <a:ext uri="{FF2B5EF4-FFF2-40B4-BE49-F238E27FC236}">
                      <a16:creationId xmlns:a16="http://schemas.microsoft.com/office/drawing/2014/main" id="{825727EC-9FBD-331A-4712-5CC6B44A76C6}"/>
                    </a:ext>
                  </a:extLst>
                </p:cNvPr>
                <p:cNvSpPr/>
                <p:nvPr/>
              </p:nvSpPr>
              <p:spPr>
                <a:xfrm>
                  <a:off x="8572708" y="1589056"/>
                  <a:ext cx="11917" cy="50944"/>
                </a:xfrm>
                <a:custGeom>
                  <a:avLst/>
                  <a:gdLst>
                    <a:gd name="connsiteX0" fmla="*/ 98 w 11917"/>
                    <a:gd name="connsiteY0" fmla="*/ 0 h 50944"/>
                    <a:gd name="connsiteX1" fmla="*/ 2589 w 11917"/>
                    <a:gd name="connsiteY1" fmla="*/ 18684 h 50944"/>
                    <a:gd name="connsiteX2" fmla="*/ 9938 w 11917"/>
                    <a:gd name="connsiteY2" fmla="*/ 34502 h 50944"/>
                    <a:gd name="connsiteX3" fmla="*/ 11806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98" y="0"/>
                      </a:moveTo>
                      <a:cubicBezTo>
                        <a:pt x="-401" y="8345"/>
                        <a:pt x="1095" y="14573"/>
                        <a:pt x="2589" y="18684"/>
                      </a:cubicBezTo>
                      <a:cubicBezTo>
                        <a:pt x="4956" y="25285"/>
                        <a:pt x="7820" y="27652"/>
                        <a:pt x="9938" y="34502"/>
                      </a:cubicBezTo>
                      <a:cubicBezTo>
                        <a:pt x="12055" y="41104"/>
                        <a:pt x="12055" y="46958"/>
                        <a:pt x="11806"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4" name="Freeform 7249">
                  <a:extLst>
                    <a:ext uri="{FF2B5EF4-FFF2-40B4-BE49-F238E27FC236}">
                      <a16:creationId xmlns:a16="http://schemas.microsoft.com/office/drawing/2014/main" id="{56D3A28E-0B67-3D23-454D-DD7C4F657CBB}"/>
                    </a:ext>
                  </a:extLst>
                </p:cNvPr>
                <p:cNvSpPr/>
                <p:nvPr/>
              </p:nvSpPr>
              <p:spPr>
                <a:xfrm>
                  <a:off x="8578412" y="1582455"/>
                  <a:ext cx="13078" cy="50445"/>
                </a:xfrm>
                <a:custGeom>
                  <a:avLst/>
                  <a:gdLst>
                    <a:gd name="connsiteX0" fmla="*/ 13078 w 13078"/>
                    <a:gd name="connsiteY0" fmla="*/ 50446 h 50445"/>
                    <a:gd name="connsiteX1" fmla="*/ 6726 w 13078"/>
                    <a:gd name="connsiteY1" fmla="*/ 32759 h 50445"/>
                    <a:gd name="connsiteX2" fmla="*/ 5979 w 13078"/>
                    <a:gd name="connsiteY2" fmla="*/ 15321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50446"/>
                      </a:moveTo>
                      <a:cubicBezTo>
                        <a:pt x="8718" y="43222"/>
                        <a:pt x="7224" y="37118"/>
                        <a:pt x="6726" y="32759"/>
                      </a:cubicBezTo>
                      <a:cubicBezTo>
                        <a:pt x="5854" y="25783"/>
                        <a:pt x="7100" y="22296"/>
                        <a:pt x="5979" y="15321"/>
                      </a:cubicBezTo>
                      <a:cubicBezTo>
                        <a:pt x="485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5" name="Freeform 7250">
                  <a:extLst>
                    <a:ext uri="{FF2B5EF4-FFF2-40B4-BE49-F238E27FC236}">
                      <a16:creationId xmlns:a16="http://schemas.microsoft.com/office/drawing/2014/main" id="{23975A31-AF05-BA32-B2B1-F0646770BA47}"/>
                    </a:ext>
                  </a:extLst>
                </p:cNvPr>
                <p:cNvSpPr/>
                <p:nvPr/>
              </p:nvSpPr>
              <p:spPr>
                <a:xfrm>
                  <a:off x="8561461" y="1567996"/>
                  <a:ext cx="26310" cy="26551"/>
                </a:xfrm>
                <a:custGeom>
                  <a:avLst/>
                  <a:gdLst>
                    <a:gd name="connsiteX0" fmla="*/ 25919 w 26310"/>
                    <a:gd name="connsiteY0" fmla="*/ 10100 h 26551"/>
                    <a:gd name="connsiteX1" fmla="*/ 16328 w 26310"/>
                    <a:gd name="connsiteY1" fmla="*/ 26168 h 26551"/>
                    <a:gd name="connsiteX2" fmla="*/ 385 w 26310"/>
                    <a:gd name="connsiteY2" fmla="*/ 16452 h 26551"/>
                    <a:gd name="connsiteX3" fmla="*/ 9976 w 26310"/>
                    <a:gd name="connsiteY3" fmla="*/ 384 h 26551"/>
                    <a:gd name="connsiteX4" fmla="*/ 25919 w 2631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25919" y="10100"/>
                      </a:moveTo>
                      <a:cubicBezTo>
                        <a:pt x="27663" y="17199"/>
                        <a:pt x="23427" y="24424"/>
                        <a:pt x="16328" y="26168"/>
                      </a:cubicBezTo>
                      <a:cubicBezTo>
                        <a:pt x="9228" y="27911"/>
                        <a:pt x="2129" y="23552"/>
                        <a:pt x="385" y="16452"/>
                      </a:cubicBezTo>
                      <a:cubicBezTo>
                        <a:pt x="-1359" y="9352"/>
                        <a:pt x="3001" y="2128"/>
                        <a:pt x="9976" y="384"/>
                      </a:cubicBezTo>
                      <a:cubicBezTo>
                        <a:pt x="16951" y="-1360"/>
                        <a:pt x="24175" y="3000"/>
                        <a:pt x="2591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3" name="Graphic 2987">
                <a:extLst>
                  <a:ext uri="{FF2B5EF4-FFF2-40B4-BE49-F238E27FC236}">
                    <a16:creationId xmlns:a16="http://schemas.microsoft.com/office/drawing/2014/main" id="{FC5D2DE4-F339-444B-E2CC-1C587A8F2A85}"/>
                  </a:ext>
                </a:extLst>
              </p:cNvPr>
              <p:cNvGrpSpPr/>
              <p:nvPr/>
            </p:nvGrpSpPr>
            <p:grpSpPr>
              <a:xfrm>
                <a:off x="8532813" y="1575095"/>
                <a:ext cx="55324" cy="145628"/>
                <a:chOff x="8532813" y="1575095"/>
                <a:chExt cx="55324" cy="145628"/>
              </a:xfrm>
              <a:grpFill/>
            </p:grpSpPr>
            <p:sp>
              <p:nvSpPr>
                <p:cNvPr id="6834" name="Freeform 7252">
                  <a:extLst>
                    <a:ext uri="{FF2B5EF4-FFF2-40B4-BE49-F238E27FC236}">
                      <a16:creationId xmlns:a16="http://schemas.microsoft.com/office/drawing/2014/main" id="{D47FC4A1-7185-3416-1B1C-C16F192CB499}"/>
                    </a:ext>
                  </a:extLst>
                </p:cNvPr>
                <p:cNvSpPr/>
                <p:nvPr/>
              </p:nvSpPr>
              <p:spPr>
                <a:xfrm>
                  <a:off x="8565020" y="1648719"/>
                  <a:ext cx="11870" cy="50944"/>
                </a:xfrm>
                <a:custGeom>
                  <a:avLst/>
                  <a:gdLst>
                    <a:gd name="connsiteX0" fmla="*/ 11772 w 11870"/>
                    <a:gd name="connsiteY0" fmla="*/ 50944 h 50944"/>
                    <a:gd name="connsiteX1" fmla="*/ 9281 w 11870"/>
                    <a:gd name="connsiteY1" fmla="*/ 32260 h 50944"/>
                    <a:gd name="connsiteX2" fmla="*/ 1932 w 11870"/>
                    <a:gd name="connsiteY2" fmla="*/ 16442 h 50944"/>
                    <a:gd name="connsiteX3" fmla="*/ 189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50944"/>
                      </a:moveTo>
                      <a:cubicBezTo>
                        <a:pt x="12270" y="42474"/>
                        <a:pt x="10776" y="36371"/>
                        <a:pt x="9281" y="32260"/>
                      </a:cubicBezTo>
                      <a:cubicBezTo>
                        <a:pt x="6914" y="25659"/>
                        <a:pt x="4050" y="23292"/>
                        <a:pt x="1932" y="16442"/>
                      </a:cubicBezTo>
                      <a:cubicBezTo>
                        <a:pt x="-185" y="9840"/>
                        <a:pt x="-185" y="3986"/>
                        <a:pt x="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5" name="Freeform 7253">
                  <a:extLst>
                    <a:ext uri="{FF2B5EF4-FFF2-40B4-BE49-F238E27FC236}">
                      <a16:creationId xmlns:a16="http://schemas.microsoft.com/office/drawing/2014/main" id="{E00CDE58-1206-4E65-A5B5-F7FFE4F2A43E}"/>
                    </a:ext>
                  </a:extLst>
                </p:cNvPr>
                <p:cNvSpPr/>
                <p:nvPr/>
              </p:nvSpPr>
              <p:spPr>
                <a:xfrm>
                  <a:off x="8558109" y="1655695"/>
                  <a:ext cx="12953" cy="50445"/>
                </a:xfrm>
                <a:custGeom>
                  <a:avLst/>
                  <a:gdLst>
                    <a:gd name="connsiteX0" fmla="*/ 0 w 12953"/>
                    <a:gd name="connsiteY0" fmla="*/ 0 h 50445"/>
                    <a:gd name="connsiteX1" fmla="*/ 6353 w 12953"/>
                    <a:gd name="connsiteY1" fmla="*/ 17687 h 50445"/>
                    <a:gd name="connsiteX2" fmla="*/ 6975 w 12953"/>
                    <a:gd name="connsiteY2" fmla="*/ 35125 h 50445"/>
                    <a:gd name="connsiteX3" fmla="*/ 12954 w 12953"/>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952" h="50445">
                      <a:moveTo>
                        <a:pt x="0" y="0"/>
                      </a:moveTo>
                      <a:cubicBezTo>
                        <a:pt x="4359" y="7224"/>
                        <a:pt x="5729" y="13328"/>
                        <a:pt x="6353" y="17687"/>
                      </a:cubicBezTo>
                      <a:cubicBezTo>
                        <a:pt x="7224" y="24662"/>
                        <a:pt x="5854" y="28150"/>
                        <a:pt x="6975" y="35125"/>
                      </a:cubicBezTo>
                      <a:cubicBezTo>
                        <a:pt x="8096" y="41976"/>
                        <a:pt x="10836" y="47207"/>
                        <a:pt x="1295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6" name="Freeform 7254">
                  <a:extLst>
                    <a:ext uri="{FF2B5EF4-FFF2-40B4-BE49-F238E27FC236}">
                      <a16:creationId xmlns:a16="http://schemas.microsoft.com/office/drawing/2014/main" id="{1A8298F4-28E9-F8AB-9C92-9CDBF3FF5154}"/>
                    </a:ext>
                  </a:extLst>
                </p:cNvPr>
                <p:cNvSpPr/>
                <p:nvPr/>
              </p:nvSpPr>
              <p:spPr>
                <a:xfrm>
                  <a:off x="8561468" y="1694165"/>
                  <a:ext cx="26668" cy="26558"/>
                </a:xfrm>
                <a:custGeom>
                  <a:avLst/>
                  <a:gdLst>
                    <a:gd name="connsiteX0" fmla="*/ 377 w 26668"/>
                    <a:gd name="connsiteY0" fmla="*/ 16459 h 26558"/>
                    <a:gd name="connsiteX1" fmla="*/ 10217 w 26668"/>
                    <a:gd name="connsiteY1" fmla="*/ 391 h 26558"/>
                    <a:gd name="connsiteX2" fmla="*/ 26285 w 26668"/>
                    <a:gd name="connsiteY2" fmla="*/ 10107 h 26558"/>
                    <a:gd name="connsiteX3" fmla="*/ 16445 w 26668"/>
                    <a:gd name="connsiteY3" fmla="*/ 26175 h 26558"/>
                    <a:gd name="connsiteX4" fmla="*/ 377 w 26668"/>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8">
                      <a:moveTo>
                        <a:pt x="377" y="16459"/>
                      </a:moveTo>
                      <a:cubicBezTo>
                        <a:pt x="-1367" y="9359"/>
                        <a:pt x="3117" y="2135"/>
                        <a:pt x="10217" y="391"/>
                      </a:cubicBezTo>
                      <a:cubicBezTo>
                        <a:pt x="17317" y="-1353"/>
                        <a:pt x="24541" y="2882"/>
                        <a:pt x="26285" y="10107"/>
                      </a:cubicBezTo>
                      <a:cubicBezTo>
                        <a:pt x="28028" y="17207"/>
                        <a:pt x="23669" y="24431"/>
                        <a:pt x="16445" y="26175"/>
                      </a:cubicBezTo>
                      <a:cubicBezTo>
                        <a:pt x="9345" y="27919"/>
                        <a:pt x="2121" y="23559"/>
                        <a:pt x="377"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7" name="Freeform 7255">
                  <a:extLst>
                    <a:ext uri="{FF2B5EF4-FFF2-40B4-BE49-F238E27FC236}">
                      <a16:creationId xmlns:a16="http://schemas.microsoft.com/office/drawing/2014/main" id="{6D35FF97-F629-9CF8-7BBA-05B17BD8FB0D}"/>
                    </a:ext>
                  </a:extLst>
                </p:cNvPr>
                <p:cNvSpPr/>
                <p:nvPr/>
              </p:nvSpPr>
              <p:spPr>
                <a:xfrm>
                  <a:off x="8544060" y="1596156"/>
                  <a:ext cx="11869" cy="50944"/>
                </a:xfrm>
                <a:custGeom>
                  <a:avLst/>
                  <a:gdLst>
                    <a:gd name="connsiteX0" fmla="*/ 98 w 11869"/>
                    <a:gd name="connsiteY0" fmla="*/ 0 h 50944"/>
                    <a:gd name="connsiteX1" fmla="*/ 2588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470"/>
                        <a:pt x="1094" y="14573"/>
                        <a:pt x="2588" y="18684"/>
                      </a:cubicBezTo>
                      <a:cubicBezTo>
                        <a:pt x="4955" y="25285"/>
                        <a:pt x="7696" y="27652"/>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8" name="Freeform 7256">
                  <a:extLst>
                    <a:ext uri="{FF2B5EF4-FFF2-40B4-BE49-F238E27FC236}">
                      <a16:creationId xmlns:a16="http://schemas.microsoft.com/office/drawing/2014/main" id="{C717310E-1BA6-CD8F-8C8F-222A15228BDE}"/>
                    </a:ext>
                  </a:extLst>
                </p:cNvPr>
                <p:cNvSpPr/>
                <p:nvPr/>
              </p:nvSpPr>
              <p:spPr>
                <a:xfrm>
                  <a:off x="8549639" y="1589555"/>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8" y="43346"/>
                        <a:pt x="7348" y="37243"/>
                        <a:pt x="6726" y="32883"/>
                      </a:cubicBezTo>
                      <a:cubicBezTo>
                        <a:pt x="5854" y="25908"/>
                        <a:pt x="7224" y="22420"/>
                        <a:pt x="5979" y="15445"/>
                      </a:cubicBezTo>
                      <a:cubicBezTo>
                        <a:pt x="4857"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9" name="Freeform 7257">
                  <a:extLst>
                    <a:ext uri="{FF2B5EF4-FFF2-40B4-BE49-F238E27FC236}">
                      <a16:creationId xmlns:a16="http://schemas.microsoft.com/office/drawing/2014/main" id="{4944EA43-83E5-5D3F-3AC0-3A3772D4B8B2}"/>
                    </a:ext>
                  </a:extLst>
                </p:cNvPr>
                <p:cNvSpPr/>
                <p:nvPr/>
              </p:nvSpPr>
              <p:spPr>
                <a:xfrm>
                  <a:off x="8532813" y="1575095"/>
                  <a:ext cx="26427" cy="26551"/>
                </a:xfrm>
                <a:custGeom>
                  <a:avLst/>
                  <a:gdLst>
                    <a:gd name="connsiteX0" fmla="*/ 26043 w 26427"/>
                    <a:gd name="connsiteY0" fmla="*/ 10100 h 26551"/>
                    <a:gd name="connsiteX1" fmla="*/ 16327 w 26427"/>
                    <a:gd name="connsiteY1" fmla="*/ 26168 h 26551"/>
                    <a:gd name="connsiteX2" fmla="*/ 384 w 26427"/>
                    <a:gd name="connsiteY2" fmla="*/ 16452 h 26551"/>
                    <a:gd name="connsiteX3" fmla="*/ 10099 w 26427"/>
                    <a:gd name="connsiteY3" fmla="*/ 384 h 26551"/>
                    <a:gd name="connsiteX4" fmla="*/ 26043 w 26427"/>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551">
                      <a:moveTo>
                        <a:pt x="26043" y="10100"/>
                      </a:moveTo>
                      <a:cubicBezTo>
                        <a:pt x="27787" y="17199"/>
                        <a:pt x="23427" y="24424"/>
                        <a:pt x="16327" y="26168"/>
                      </a:cubicBezTo>
                      <a:cubicBezTo>
                        <a:pt x="9227" y="27911"/>
                        <a:pt x="2127" y="23552"/>
                        <a:pt x="384" y="16452"/>
                      </a:cubicBezTo>
                      <a:cubicBezTo>
                        <a:pt x="-1360" y="9352"/>
                        <a:pt x="2999" y="2128"/>
                        <a:pt x="10099" y="384"/>
                      </a:cubicBezTo>
                      <a:cubicBezTo>
                        <a:pt x="17199" y="-1360"/>
                        <a:pt x="24299" y="3000"/>
                        <a:pt x="2604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4" name="Graphic 2987">
                <a:extLst>
                  <a:ext uri="{FF2B5EF4-FFF2-40B4-BE49-F238E27FC236}">
                    <a16:creationId xmlns:a16="http://schemas.microsoft.com/office/drawing/2014/main" id="{A1C45FD3-10A2-F52E-D51B-C6AF1DA7CEB8}"/>
                  </a:ext>
                </a:extLst>
              </p:cNvPr>
              <p:cNvGrpSpPr/>
              <p:nvPr/>
            </p:nvGrpSpPr>
            <p:grpSpPr>
              <a:xfrm>
                <a:off x="8504329" y="1582195"/>
                <a:ext cx="54779" cy="145635"/>
                <a:chOff x="8504329" y="1582195"/>
                <a:chExt cx="54779" cy="145635"/>
              </a:xfrm>
              <a:grpFill/>
            </p:grpSpPr>
            <p:sp>
              <p:nvSpPr>
                <p:cNvPr id="6828" name="Freeform 7259">
                  <a:extLst>
                    <a:ext uri="{FF2B5EF4-FFF2-40B4-BE49-F238E27FC236}">
                      <a16:creationId xmlns:a16="http://schemas.microsoft.com/office/drawing/2014/main" id="{BED2F91F-792E-CE34-1743-370B35DDA1DD}"/>
                    </a:ext>
                  </a:extLst>
                </p:cNvPr>
                <p:cNvSpPr/>
                <p:nvPr/>
              </p:nvSpPr>
              <p:spPr>
                <a:xfrm>
                  <a:off x="8536177" y="1655819"/>
                  <a:ext cx="11690" cy="50944"/>
                </a:xfrm>
                <a:custGeom>
                  <a:avLst/>
                  <a:gdLst>
                    <a:gd name="connsiteX0" fmla="*/ 11593 w 11690"/>
                    <a:gd name="connsiteY0" fmla="*/ 50944 h 50944"/>
                    <a:gd name="connsiteX1" fmla="*/ 9226 w 11690"/>
                    <a:gd name="connsiteY1" fmla="*/ 32260 h 50944"/>
                    <a:gd name="connsiteX2" fmla="*/ 1877 w 11690"/>
                    <a:gd name="connsiteY2" fmla="*/ 16442 h 50944"/>
                    <a:gd name="connsiteX3" fmla="*/ 134 w 11690"/>
                    <a:gd name="connsiteY3" fmla="*/ 0 h 50944"/>
                  </a:gdLst>
                  <a:ahLst/>
                  <a:cxnLst>
                    <a:cxn ang="0">
                      <a:pos x="connsiteX0" y="connsiteY0"/>
                    </a:cxn>
                    <a:cxn ang="0">
                      <a:pos x="connsiteX1" y="connsiteY1"/>
                    </a:cxn>
                    <a:cxn ang="0">
                      <a:pos x="connsiteX2" y="connsiteY2"/>
                    </a:cxn>
                    <a:cxn ang="0">
                      <a:pos x="connsiteX3" y="connsiteY3"/>
                    </a:cxn>
                  </a:cxnLst>
                  <a:rect l="l" t="t" r="r" b="b"/>
                  <a:pathLst>
                    <a:path w="11690" h="50944">
                      <a:moveTo>
                        <a:pt x="11593" y="50944"/>
                      </a:moveTo>
                      <a:cubicBezTo>
                        <a:pt x="12091" y="42474"/>
                        <a:pt x="10596" y="36371"/>
                        <a:pt x="9226" y="32260"/>
                      </a:cubicBezTo>
                      <a:cubicBezTo>
                        <a:pt x="6860" y="25659"/>
                        <a:pt x="4120" y="23292"/>
                        <a:pt x="1877" y="16442"/>
                      </a:cubicBezTo>
                      <a:cubicBezTo>
                        <a:pt x="-240" y="9840"/>
                        <a:pt x="-116" y="3986"/>
                        <a:pt x="1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9" name="Freeform 7260">
                  <a:extLst>
                    <a:ext uri="{FF2B5EF4-FFF2-40B4-BE49-F238E27FC236}">
                      <a16:creationId xmlns:a16="http://schemas.microsoft.com/office/drawing/2014/main" id="{4FD3A278-898B-9F5A-B02C-4C002C88C349}"/>
                    </a:ext>
                  </a:extLst>
                </p:cNvPr>
                <p:cNvSpPr/>
                <p:nvPr/>
              </p:nvSpPr>
              <p:spPr>
                <a:xfrm>
                  <a:off x="8529336" y="1662794"/>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1" y="41976"/>
                        <a:pt x="10712"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0" name="Freeform 7261">
                  <a:extLst>
                    <a:ext uri="{FF2B5EF4-FFF2-40B4-BE49-F238E27FC236}">
                      <a16:creationId xmlns:a16="http://schemas.microsoft.com/office/drawing/2014/main" id="{0050757A-DD73-CECD-DC48-7AFAC2C3D768}"/>
                    </a:ext>
                  </a:extLst>
                </p:cNvPr>
                <p:cNvSpPr/>
                <p:nvPr/>
              </p:nvSpPr>
              <p:spPr>
                <a:xfrm>
                  <a:off x="8532446" y="1701272"/>
                  <a:ext cx="26661" cy="26558"/>
                </a:xfrm>
                <a:custGeom>
                  <a:avLst/>
                  <a:gdLst>
                    <a:gd name="connsiteX0" fmla="*/ 377 w 26661"/>
                    <a:gd name="connsiteY0" fmla="*/ 16452 h 26558"/>
                    <a:gd name="connsiteX1" fmla="*/ 10217 w 26661"/>
                    <a:gd name="connsiteY1" fmla="*/ 384 h 26558"/>
                    <a:gd name="connsiteX2" fmla="*/ 26285 w 26661"/>
                    <a:gd name="connsiteY2" fmla="*/ 10100 h 26558"/>
                    <a:gd name="connsiteX3" fmla="*/ 16445 w 26661"/>
                    <a:gd name="connsiteY3" fmla="*/ 26168 h 26558"/>
                    <a:gd name="connsiteX4" fmla="*/ 377 w 26661"/>
                    <a:gd name="connsiteY4" fmla="*/ 16452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8">
                      <a:moveTo>
                        <a:pt x="377" y="16452"/>
                      </a:moveTo>
                      <a:cubicBezTo>
                        <a:pt x="-1367" y="9352"/>
                        <a:pt x="3117" y="2128"/>
                        <a:pt x="10217" y="384"/>
                      </a:cubicBezTo>
                      <a:cubicBezTo>
                        <a:pt x="17316" y="-1360"/>
                        <a:pt x="24541" y="3000"/>
                        <a:pt x="26285" y="10100"/>
                      </a:cubicBezTo>
                      <a:cubicBezTo>
                        <a:pt x="28029" y="17199"/>
                        <a:pt x="23544" y="24424"/>
                        <a:pt x="16445" y="26168"/>
                      </a:cubicBezTo>
                      <a:cubicBezTo>
                        <a:pt x="9345" y="27911"/>
                        <a:pt x="2121" y="23676"/>
                        <a:pt x="37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1" name="Freeform 7262">
                  <a:extLst>
                    <a:ext uri="{FF2B5EF4-FFF2-40B4-BE49-F238E27FC236}">
                      <a16:creationId xmlns:a16="http://schemas.microsoft.com/office/drawing/2014/main" id="{68A687BF-9456-D058-01EA-AA6D4093676E}"/>
                    </a:ext>
                  </a:extLst>
                </p:cNvPr>
                <p:cNvSpPr/>
                <p:nvPr/>
              </p:nvSpPr>
              <p:spPr>
                <a:xfrm>
                  <a:off x="8515536" y="1603256"/>
                  <a:ext cx="11566" cy="50944"/>
                </a:xfrm>
                <a:custGeom>
                  <a:avLst/>
                  <a:gdLst>
                    <a:gd name="connsiteX0" fmla="*/ 98 w 11566"/>
                    <a:gd name="connsiteY0" fmla="*/ 0 h 50944"/>
                    <a:gd name="connsiteX1" fmla="*/ 2465 w 11566"/>
                    <a:gd name="connsiteY1" fmla="*/ 18684 h 50944"/>
                    <a:gd name="connsiteX2" fmla="*/ 9689 w 11566"/>
                    <a:gd name="connsiteY2" fmla="*/ 34502 h 50944"/>
                    <a:gd name="connsiteX3" fmla="*/ 11433 w 1156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66" h="50944">
                      <a:moveTo>
                        <a:pt x="98" y="0"/>
                      </a:moveTo>
                      <a:cubicBezTo>
                        <a:pt x="-400" y="8470"/>
                        <a:pt x="1095" y="14573"/>
                        <a:pt x="2465" y="18684"/>
                      </a:cubicBezTo>
                      <a:cubicBezTo>
                        <a:pt x="4831" y="25285"/>
                        <a:pt x="7572" y="27652"/>
                        <a:pt x="9689" y="34502"/>
                      </a:cubicBezTo>
                      <a:cubicBezTo>
                        <a:pt x="11806" y="41104"/>
                        <a:pt x="11682" y="46958"/>
                        <a:pt x="11433"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2" name="Freeform 7263">
                  <a:extLst>
                    <a:ext uri="{FF2B5EF4-FFF2-40B4-BE49-F238E27FC236}">
                      <a16:creationId xmlns:a16="http://schemas.microsoft.com/office/drawing/2014/main" id="{5671DC6C-45B6-E52B-90CF-E525FA0A0C27}"/>
                    </a:ext>
                  </a:extLst>
                </p:cNvPr>
                <p:cNvSpPr/>
                <p:nvPr/>
              </p:nvSpPr>
              <p:spPr>
                <a:xfrm>
                  <a:off x="8521239" y="1596654"/>
                  <a:ext cx="12705" cy="50570"/>
                </a:xfrm>
                <a:custGeom>
                  <a:avLst/>
                  <a:gdLst>
                    <a:gd name="connsiteX0" fmla="*/ 12705 w 12705"/>
                    <a:gd name="connsiteY0" fmla="*/ 50570 h 50570"/>
                    <a:gd name="connsiteX1" fmla="*/ 6477 w 12705"/>
                    <a:gd name="connsiteY1" fmla="*/ 32883 h 50570"/>
                    <a:gd name="connsiteX2" fmla="*/ 5855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5" y="15445"/>
                      </a:cubicBezTo>
                      <a:cubicBezTo>
                        <a:pt x="4733"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3" name="Freeform 7264">
                  <a:extLst>
                    <a:ext uri="{FF2B5EF4-FFF2-40B4-BE49-F238E27FC236}">
                      <a16:creationId xmlns:a16="http://schemas.microsoft.com/office/drawing/2014/main" id="{B80B3BDE-B12C-4CAB-137B-18F3ABF291E7}"/>
                    </a:ext>
                  </a:extLst>
                </p:cNvPr>
                <p:cNvSpPr/>
                <p:nvPr/>
              </p:nvSpPr>
              <p:spPr>
                <a:xfrm>
                  <a:off x="8504329" y="1582195"/>
                  <a:ext cx="26263" cy="26551"/>
                </a:xfrm>
                <a:custGeom>
                  <a:avLst/>
                  <a:gdLst>
                    <a:gd name="connsiteX0" fmla="*/ 25879 w 26263"/>
                    <a:gd name="connsiteY0" fmla="*/ 10100 h 26551"/>
                    <a:gd name="connsiteX1" fmla="*/ 16163 w 26263"/>
                    <a:gd name="connsiteY1" fmla="*/ 26168 h 26551"/>
                    <a:gd name="connsiteX2" fmla="*/ 344 w 26263"/>
                    <a:gd name="connsiteY2" fmla="*/ 16452 h 26551"/>
                    <a:gd name="connsiteX3" fmla="*/ 10060 w 26263"/>
                    <a:gd name="connsiteY3" fmla="*/ 384 h 26551"/>
                    <a:gd name="connsiteX4" fmla="*/ 25879 w 2626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3" h="26551">
                      <a:moveTo>
                        <a:pt x="25879" y="10100"/>
                      </a:moveTo>
                      <a:cubicBezTo>
                        <a:pt x="27622" y="17199"/>
                        <a:pt x="23263" y="24424"/>
                        <a:pt x="16163" y="26168"/>
                      </a:cubicBezTo>
                      <a:cubicBezTo>
                        <a:pt x="9063" y="27911"/>
                        <a:pt x="1964" y="23552"/>
                        <a:pt x="344" y="16452"/>
                      </a:cubicBezTo>
                      <a:cubicBezTo>
                        <a:pt x="-1275" y="9352"/>
                        <a:pt x="2960" y="2128"/>
                        <a:pt x="10060" y="384"/>
                      </a:cubicBezTo>
                      <a:cubicBezTo>
                        <a:pt x="17160" y="-1360"/>
                        <a:pt x="24260" y="3000"/>
                        <a:pt x="2587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5" name="Graphic 2987">
                <a:extLst>
                  <a:ext uri="{FF2B5EF4-FFF2-40B4-BE49-F238E27FC236}">
                    <a16:creationId xmlns:a16="http://schemas.microsoft.com/office/drawing/2014/main" id="{6B5913DA-DA94-5C35-8ADC-CAD35D2CC69E}"/>
                  </a:ext>
                </a:extLst>
              </p:cNvPr>
              <p:cNvGrpSpPr/>
              <p:nvPr/>
            </p:nvGrpSpPr>
            <p:grpSpPr>
              <a:xfrm>
                <a:off x="8475812" y="1589295"/>
                <a:ext cx="54398" cy="145753"/>
                <a:chOff x="8475812" y="1589295"/>
                <a:chExt cx="54398" cy="145753"/>
              </a:xfrm>
              <a:grpFill/>
            </p:grpSpPr>
            <p:sp>
              <p:nvSpPr>
                <p:cNvPr id="6822" name="Freeform 7266">
                  <a:extLst>
                    <a:ext uri="{FF2B5EF4-FFF2-40B4-BE49-F238E27FC236}">
                      <a16:creationId xmlns:a16="http://schemas.microsoft.com/office/drawing/2014/main" id="{E75D1F2E-2409-936D-80AE-BC347D26E8C7}"/>
                    </a:ext>
                  </a:extLst>
                </p:cNvPr>
                <p:cNvSpPr/>
                <p:nvPr/>
              </p:nvSpPr>
              <p:spPr>
                <a:xfrm>
                  <a:off x="8507346" y="1663044"/>
                  <a:ext cx="11546" cy="50944"/>
                </a:xfrm>
                <a:custGeom>
                  <a:avLst/>
                  <a:gdLst>
                    <a:gd name="connsiteX0" fmla="*/ 11402 w 11546"/>
                    <a:gd name="connsiteY0" fmla="*/ 50944 h 50944"/>
                    <a:gd name="connsiteX1" fmla="*/ 9035 w 11546"/>
                    <a:gd name="connsiteY1" fmla="*/ 32260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4" y="42474"/>
                        <a:pt x="10530" y="36371"/>
                        <a:pt x="9035" y="32260"/>
                      </a:cubicBezTo>
                      <a:cubicBezTo>
                        <a:pt x="6668" y="25659"/>
                        <a:pt x="3929"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3" name="Freeform 7267">
                  <a:extLst>
                    <a:ext uri="{FF2B5EF4-FFF2-40B4-BE49-F238E27FC236}">
                      <a16:creationId xmlns:a16="http://schemas.microsoft.com/office/drawing/2014/main" id="{793DA169-DE90-CD9D-F796-0BEB8910E1B0}"/>
                    </a:ext>
                  </a:extLst>
                </p:cNvPr>
                <p:cNvSpPr/>
                <p:nvPr/>
              </p:nvSpPr>
              <p:spPr>
                <a:xfrm>
                  <a:off x="8500438" y="1670019"/>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2" y="41976"/>
                        <a:pt x="10587"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4" name="Freeform 7268">
                  <a:extLst>
                    <a:ext uri="{FF2B5EF4-FFF2-40B4-BE49-F238E27FC236}">
                      <a16:creationId xmlns:a16="http://schemas.microsoft.com/office/drawing/2014/main" id="{6EBF5E88-5C71-18A7-8C86-842815537CFE}"/>
                    </a:ext>
                  </a:extLst>
                </p:cNvPr>
                <p:cNvSpPr/>
                <p:nvPr/>
              </p:nvSpPr>
              <p:spPr>
                <a:xfrm>
                  <a:off x="8503588" y="1708497"/>
                  <a:ext cx="26621" cy="26551"/>
                </a:xfrm>
                <a:custGeom>
                  <a:avLst/>
                  <a:gdLst>
                    <a:gd name="connsiteX0" fmla="*/ 337 w 26621"/>
                    <a:gd name="connsiteY0" fmla="*/ 16452 h 26551"/>
                    <a:gd name="connsiteX1" fmla="*/ 10302 w 26621"/>
                    <a:gd name="connsiteY1" fmla="*/ 384 h 26551"/>
                    <a:gd name="connsiteX2" fmla="*/ 26245 w 26621"/>
                    <a:gd name="connsiteY2" fmla="*/ 10100 h 26551"/>
                    <a:gd name="connsiteX3" fmla="*/ 16281 w 26621"/>
                    <a:gd name="connsiteY3" fmla="*/ 26168 h 26551"/>
                    <a:gd name="connsiteX4" fmla="*/ 337 w 26621"/>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1" h="26551">
                      <a:moveTo>
                        <a:pt x="337" y="16452"/>
                      </a:moveTo>
                      <a:cubicBezTo>
                        <a:pt x="-1282" y="9352"/>
                        <a:pt x="3078" y="2128"/>
                        <a:pt x="10302" y="384"/>
                      </a:cubicBezTo>
                      <a:cubicBezTo>
                        <a:pt x="17401" y="-1360"/>
                        <a:pt x="24626" y="3000"/>
                        <a:pt x="26245" y="10100"/>
                      </a:cubicBezTo>
                      <a:cubicBezTo>
                        <a:pt x="27989" y="17199"/>
                        <a:pt x="23505" y="24424"/>
                        <a:pt x="16281" y="26168"/>
                      </a:cubicBezTo>
                      <a:cubicBezTo>
                        <a:pt x="9056" y="27911"/>
                        <a:pt x="1956" y="23552"/>
                        <a:pt x="33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5" name="Freeform 7269">
                  <a:extLst>
                    <a:ext uri="{FF2B5EF4-FFF2-40B4-BE49-F238E27FC236}">
                      <a16:creationId xmlns:a16="http://schemas.microsoft.com/office/drawing/2014/main" id="{7720E351-0AEA-8A6B-C4AC-30CEFE5331D4}"/>
                    </a:ext>
                  </a:extLst>
                </p:cNvPr>
                <p:cNvSpPr/>
                <p:nvPr/>
              </p:nvSpPr>
              <p:spPr>
                <a:xfrm>
                  <a:off x="8486882" y="1610356"/>
                  <a:ext cx="11506" cy="50944"/>
                </a:xfrm>
                <a:custGeom>
                  <a:avLst/>
                  <a:gdLst>
                    <a:gd name="connsiteX0" fmla="*/ 104 w 11506"/>
                    <a:gd name="connsiteY0" fmla="*/ 0 h 50944"/>
                    <a:gd name="connsiteX1" fmla="*/ 2471 w 11506"/>
                    <a:gd name="connsiteY1" fmla="*/ 18684 h 50944"/>
                    <a:gd name="connsiteX2" fmla="*/ 9695 w 11506"/>
                    <a:gd name="connsiteY2" fmla="*/ 34502 h 50944"/>
                    <a:gd name="connsiteX3" fmla="*/ 11315 w 1150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06" h="50944">
                      <a:moveTo>
                        <a:pt x="104" y="0"/>
                      </a:moveTo>
                      <a:cubicBezTo>
                        <a:pt x="-394" y="8470"/>
                        <a:pt x="976" y="14573"/>
                        <a:pt x="2471" y="18684"/>
                      </a:cubicBezTo>
                      <a:cubicBezTo>
                        <a:pt x="4837" y="25285"/>
                        <a:pt x="7577" y="27776"/>
                        <a:pt x="9695" y="34502"/>
                      </a:cubicBezTo>
                      <a:cubicBezTo>
                        <a:pt x="11688" y="41104"/>
                        <a:pt x="11688" y="46958"/>
                        <a:pt x="1131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6" name="Freeform 7270">
                  <a:extLst>
                    <a:ext uri="{FF2B5EF4-FFF2-40B4-BE49-F238E27FC236}">
                      <a16:creationId xmlns:a16="http://schemas.microsoft.com/office/drawing/2014/main" id="{F4CD5D3F-C7DC-F767-BBCA-C54DF59E3FE2}"/>
                    </a:ext>
                  </a:extLst>
                </p:cNvPr>
                <p:cNvSpPr/>
                <p:nvPr/>
              </p:nvSpPr>
              <p:spPr>
                <a:xfrm>
                  <a:off x="8492591" y="1603754"/>
                  <a:ext cx="12705" cy="50570"/>
                </a:xfrm>
                <a:custGeom>
                  <a:avLst/>
                  <a:gdLst>
                    <a:gd name="connsiteX0" fmla="*/ 12705 w 12705"/>
                    <a:gd name="connsiteY0" fmla="*/ 50570 h 50570"/>
                    <a:gd name="connsiteX1" fmla="*/ 6477 w 12705"/>
                    <a:gd name="connsiteY1" fmla="*/ 32883 h 50570"/>
                    <a:gd name="connsiteX2" fmla="*/ 5854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4" y="15445"/>
                      </a:cubicBezTo>
                      <a:cubicBezTo>
                        <a:pt x="4733"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7" name="Freeform 7271">
                  <a:extLst>
                    <a:ext uri="{FF2B5EF4-FFF2-40B4-BE49-F238E27FC236}">
                      <a16:creationId xmlns:a16="http://schemas.microsoft.com/office/drawing/2014/main" id="{C76A44B1-8A17-C5C1-DFEB-86279E27BD45}"/>
                    </a:ext>
                  </a:extLst>
                </p:cNvPr>
                <p:cNvSpPr/>
                <p:nvPr/>
              </p:nvSpPr>
              <p:spPr>
                <a:xfrm>
                  <a:off x="8475812" y="1589295"/>
                  <a:ext cx="26249" cy="26551"/>
                </a:xfrm>
                <a:custGeom>
                  <a:avLst/>
                  <a:gdLst>
                    <a:gd name="connsiteX0" fmla="*/ 25872 w 26249"/>
                    <a:gd name="connsiteY0" fmla="*/ 10100 h 26551"/>
                    <a:gd name="connsiteX1" fmla="*/ 16157 w 26249"/>
                    <a:gd name="connsiteY1" fmla="*/ 26168 h 26551"/>
                    <a:gd name="connsiteX2" fmla="*/ 338 w 26249"/>
                    <a:gd name="connsiteY2" fmla="*/ 16452 h 26551"/>
                    <a:gd name="connsiteX3" fmla="*/ 10054 w 26249"/>
                    <a:gd name="connsiteY3" fmla="*/ 384 h 26551"/>
                    <a:gd name="connsiteX4" fmla="*/ 25872 w 262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51">
                      <a:moveTo>
                        <a:pt x="25872" y="10100"/>
                      </a:moveTo>
                      <a:cubicBezTo>
                        <a:pt x="27616" y="17199"/>
                        <a:pt x="23132" y="24424"/>
                        <a:pt x="16157" y="26168"/>
                      </a:cubicBezTo>
                      <a:cubicBezTo>
                        <a:pt x="9057" y="27911"/>
                        <a:pt x="1957" y="23552"/>
                        <a:pt x="338" y="16452"/>
                      </a:cubicBezTo>
                      <a:cubicBezTo>
                        <a:pt x="-1281" y="9352"/>
                        <a:pt x="3078" y="2128"/>
                        <a:pt x="10054" y="384"/>
                      </a:cubicBezTo>
                      <a:cubicBezTo>
                        <a:pt x="17029" y="-1360"/>
                        <a:pt x="24128" y="3000"/>
                        <a:pt x="2587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6" name="Graphic 2987">
                <a:extLst>
                  <a:ext uri="{FF2B5EF4-FFF2-40B4-BE49-F238E27FC236}">
                    <a16:creationId xmlns:a16="http://schemas.microsoft.com/office/drawing/2014/main" id="{3DE01C49-96E1-E046-4CBF-F9BB8F335EA4}"/>
                  </a:ext>
                </a:extLst>
              </p:cNvPr>
              <p:cNvGrpSpPr/>
              <p:nvPr/>
            </p:nvGrpSpPr>
            <p:grpSpPr>
              <a:xfrm>
                <a:off x="8447039" y="1596118"/>
                <a:ext cx="54102" cy="145684"/>
                <a:chOff x="8447039" y="1596118"/>
                <a:chExt cx="54102" cy="145684"/>
              </a:xfrm>
              <a:grpFill/>
            </p:grpSpPr>
            <p:sp>
              <p:nvSpPr>
                <p:cNvPr id="6816" name="Freeform 7273">
                  <a:extLst>
                    <a:ext uri="{FF2B5EF4-FFF2-40B4-BE49-F238E27FC236}">
                      <a16:creationId xmlns:a16="http://schemas.microsoft.com/office/drawing/2014/main" id="{C4DBB853-F3C1-4941-07CD-D8B96567A965}"/>
                    </a:ext>
                  </a:extLst>
                </p:cNvPr>
                <p:cNvSpPr/>
                <p:nvPr/>
              </p:nvSpPr>
              <p:spPr>
                <a:xfrm>
                  <a:off x="8478449" y="1669770"/>
                  <a:ext cx="11423" cy="51068"/>
                </a:xfrm>
                <a:custGeom>
                  <a:avLst/>
                  <a:gdLst>
                    <a:gd name="connsiteX0" fmla="*/ 11278 w 11423"/>
                    <a:gd name="connsiteY0" fmla="*/ 51069 h 51068"/>
                    <a:gd name="connsiteX1" fmla="*/ 9035 w 11423"/>
                    <a:gd name="connsiteY1" fmla="*/ 32385 h 51068"/>
                    <a:gd name="connsiteX2" fmla="*/ 1811 w 11423"/>
                    <a:gd name="connsiteY2" fmla="*/ 16442 h 51068"/>
                    <a:gd name="connsiteX3" fmla="*/ 192 w 11423"/>
                    <a:gd name="connsiteY3" fmla="*/ 0 h 51068"/>
                  </a:gdLst>
                  <a:ahLst/>
                  <a:cxnLst>
                    <a:cxn ang="0">
                      <a:pos x="connsiteX0" y="connsiteY0"/>
                    </a:cxn>
                    <a:cxn ang="0">
                      <a:pos x="connsiteX1" y="connsiteY1"/>
                    </a:cxn>
                    <a:cxn ang="0">
                      <a:pos x="connsiteX2" y="connsiteY2"/>
                    </a:cxn>
                    <a:cxn ang="0">
                      <a:pos x="connsiteX3" y="connsiteY3"/>
                    </a:cxn>
                  </a:cxnLst>
                  <a:rect l="l" t="t" r="r" b="b"/>
                  <a:pathLst>
                    <a:path w="11423" h="51068">
                      <a:moveTo>
                        <a:pt x="11278" y="51069"/>
                      </a:moveTo>
                      <a:cubicBezTo>
                        <a:pt x="11900" y="42723"/>
                        <a:pt x="10406" y="36495"/>
                        <a:pt x="9035" y="32385"/>
                      </a:cubicBezTo>
                      <a:cubicBezTo>
                        <a:pt x="6668" y="25783"/>
                        <a:pt x="3929" y="23292"/>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7" name="Freeform 7274">
                  <a:extLst>
                    <a:ext uri="{FF2B5EF4-FFF2-40B4-BE49-F238E27FC236}">
                      <a16:creationId xmlns:a16="http://schemas.microsoft.com/office/drawing/2014/main" id="{6B98F896-2F55-4F14-A5C4-4FDC3D5C87DD}"/>
                    </a:ext>
                  </a:extLst>
                </p:cNvPr>
                <p:cNvSpPr/>
                <p:nvPr/>
              </p:nvSpPr>
              <p:spPr>
                <a:xfrm>
                  <a:off x="8471541" y="1676620"/>
                  <a:ext cx="12455" cy="50570"/>
                </a:xfrm>
                <a:custGeom>
                  <a:avLst/>
                  <a:gdLst>
                    <a:gd name="connsiteX0" fmla="*/ 0 w 12455"/>
                    <a:gd name="connsiteY0" fmla="*/ 0 h 50570"/>
                    <a:gd name="connsiteX1" fmla="*/ 6103 w 12455"/>
                    <a:gd name="connsiteY1" fmla="*/ 17812 h 50570"/>
                    <a:gd name="connsiteX2" fmla="*/ 6601 w 12455"/>
                    <a:gd name="connsiteY2" fmla="*/ 35125 h 50570"/>
                    <a:gd name="connsiteX3" fmla="*/ 12456 w 12455"/>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55" h="50570">
                      <a:moveTo>
                        <a:pt x="0" y="0"/>
                      </a:moveTo>
                      <a:cubicBezTo>
                        <a:pt x="4235" y="7349"/>
                        <a:pt x="5605" y="13452"/>
                        <a:pt x="6103" y="17812"/>
                      </a:cubicBezTo>
                      <a:cubicBezTo>
                        <a:pt x="6851" y="24787"/>
                        <a:pt x="5481" y="28150"/>
                        <a:pt x="6601" y="35125"/>
                      </a:cubicBezTo>
                      <a:cubicBezTo>
                        <a:pt x="7723" y="41976"/>
                        <a:pt x="10339" y="47207"/>
                        <a:pt x="1245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8" name="Freeform 7275">
                  <a:extLst>
                    <a:ext uri="{FF2B5EF4-FFF2-40B4-BE49-F238E27FC236}">
                      <a16:creationId xmlns:a16="http://schemas.microsoft.com/office/drawing/2014/main" id="{E9536519-C935-3FBC-5742-2F8497F1EEEB}"/>
                    </a:ext>
                  </a:extLst>
                </p:cNvPr>
                <p:cNvSpPr/>
                <p:nvPr/>
              </p:nvSpPr>
              <p:spPr>
                <a:xfrm>
                  <a:off x="8474324" y="1715282"/>
                  <a:ext cx="26817" cy="26519"/>
                </a:xfrm>
                <a:custGeom>
                  <a:avLst/>
                  <a:gdLst>
                    <a:gd name="connsiteX0" fmla="*/ 331 w 26817"/>
                    <a:gd name="connsiteY0" fmla="*/ 16143 h 26519"/>
                    <a:gd name="connsiteX1" fmla="*/ 10420 w 26817"/>
                    <a:gd name="connsiteY1" fmla="*/ 324 h 26519"/>
                    <a:gd name="connsiteX2" fmla="*/ 26487 w 26817"/>
                    <a:gd name="connsiteY2" fmla="*/ 10414 h 26519"/>
                    <a:gd name="connsiteX3" fmla="*/ 16398 w 26817"/>
                    <a:gd name="connsiteY3" fmla="*/ 26232 h 26519"/>
                    <a:gd name="connsiteX4" fmla="*/ 331 w 2681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7" h="26519">
                      <a:moveTo>
                        <a:pt x="331" y="16143"/>
                      </a:moveTo>
                      <a:cubicBezTo>
                        <a:pt x="-1289" y="9044"/>
                        <a:pt x="3195" y="1944"/>
                        <a:pt x="10420" y="324"/>
                      </a:cubicBezTo>
                      <a:cubicBezTo>
                        <a:pt x="17644" y="-1295"/>
                        <a:pt x="24744" y="3314"/>
                        <a:pt x="26487" y="10414"/>
                      </a:cubicBezTo>
                      <a:cubicBezTo>
                        <a:pt x="28107" y="17513"/>
                        <a:pt x="23623" y="24613"/>
                        <a:pt x="16398" y="26232"/>
                      </a:cubicBezTo>
                      <a:cubicBezTo>
                        <a:pt x="9174" y="27727"/>
                        <a:pt x="2075"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9" name="Freeform 7276">
                  <a:extLst>
                    <a:ext uri="{FF2B5EF4-FFF2-40B4-BE49-F238E27FC236}">
                      <a16:creationId xmlns:a16="http://schemas.microsoft.com/office/drawing/2014/main" id="{15B8514C-D7C4-D648-94AE-8E64C352A619}"/>
                    </a:ext>
                  </a:extLst>
                </p:cNvPr>
                <p:cNvSpPr/>
                <p:nvPr/>
              </p:nvSpPr>
              <p:spPr>
                <a:xfrm>
                  <a:off x="8458192" y="1616957"/>
                  <a:ext cx="11422" cy="51068"/>
                </a:xfrm>
                <a:custGeom>
                  <a:avLst/>
                  <a:gdLst>
                    <a:gd name="connsiteX0" fmla="*/ 145 w 11422"/>
                    <a:gd name="connsiteY0" fmla="*/ 0 h 51068"/>
                    <a:gd name="connsiteX1" fmla="*/ 2387 w 11422"/>
                    <a:gd name="connsiteY1" fmla="*/ 18684 h 51068"/>
                    <a:gd name="connsiteX2" fmla="*/ 9612 w 11422"/>
                    <a:gd name="connsiteY2" fmla="*/ 34627 h 51068"/>
                    <a:gd name="connsiteX3" fmla="*/ 11231 w 1142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422" h="51068">
                      <a:moveTo>
                        <a:pt x="145" y="0"/>
                      </a:moveTo>
                      <a:cubicBezTo>
                        <a:pt x="-477" y="8345"/>
                        <a:pt x="1017" y="14573"/>
                        <a:pt x="2387" y="18684"/>
                      </a:cubicBezTo>
                      <a:cubicBezTo>
                        <a:pt x="4754" y="25285"/>
                        <a:pt x="7494" y="27776"/>
                        <a:pt x="9612" y="34627"/>
                      </a:cubicBezTo>
                      <a:cubicBezTo>
                        <a:pt x="11605" y="41229"/>
                        <a:pt x="11605" y="47083"/>
                        <a:pt x="1123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0" name="Freeform 7277">
                  <a:extLst>
                    <a:ext uri="{FF2B5EF4-FFF2-40B4-BE49-F238E27FC236}">
                      <a16:creationId xmlns:a16="http://schemas.microsoft.com/office/drawing/2014/main" id="{0C2D7DD2-2943-7C72-22A6-44BBF820BCB2}"/>
                    </a:ext>
                  </a:extLst>
                </p:cNvPr>
                <p:cNvSpPr/>
                <p:nvPr/>
              </p:nvSpPr>
              <p:spPr>
                <a:xfrm>
                  <a:off x="8464068" y="1610605"/>
                  <a:ext cx="12331" cy="50570"/>
                </a:xfrm>
                <a:custGeom>
                  <a:avLst/>
                  <a:gdLst>
                    <a:gd name="connsiteX0" fmla="*/ 12331 w 12331"/>
                    <a:gd name="connsiteY0" fmla="*/ 50570 h 50570"/>
                    <a:gd name="connsiteX1" fmla="*/ 6228 w 12331"/>
                    <a:gd name="connsiteY1" fmla="*/ 32759 h 50570"/>
                    <a:gd name="connsiteX2" fmla="*/ 5729 w 12331"/>
                    <a:gd name="connsiteY2" fmla="*/ 15445 h 50570"/>
                    <a:gd name="connsiteX3" fmla="*/ 0 w 12331"/>
                    <a:gd name="connsiteY3" fmla="*/ 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50570"/>
                      </a:moveTo>
                      <a:cubicBezTo>
                        <a:pt x="8096" y="43222"/>
                        <a:pt x="6726" y="37118"/>
                        <a:pt x="6228" y="32759"/>
                      </a:cubicBezTo>
                      <a:cubicBezTo>
                        <a:pt x="5480" y="25783"/>
                        <a:pt x="6851" y="22420"/>
                        <a:pt x="5729" y="15445"/>
                      </a:cubicBezTo>
                      <a:cubicBezTo>
                        <a:pt x="4609"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1" name="Freeform 7278">
                  <a:extLst>
                    <a:ext uri="{FF2B5EF4-FFF2-40B4-BE49-F238E27FC236}">
                      <a16:creationId xmlns:a16="http://schemas.microsoft.com/office/drawing/2014/main" id="{0EB2AA98-EE65-BC52-83A2-59B0E9159060}"/>
                    </a:ext>
                  </a:extLst>
                </p:cNvPr>
                <p:cNvSpPr/>
                <p:nvPr/>
              </p:nvSpPr>
              <p:spPr>
                <a:xfrm>
                  <a:off x="8447039" y="1596118"/>
                  <a:ext cx="26333" cy="26357"/>
                </a:xfrm>
                <a:custGeom>
                  <a:avLst/>
                  <a:gdLst>
                    <a:gd name="connsiteX0" fmla="*/ 25996 w 26333"/>
                    <a:gd name="connsiteY0" fmla="*/ 10376 h 26357"/>
                    <a:gd name="connsiteX1" fmla="*/ 16157 w 26333"/>
                    <a:gd name="connsiteY1" fmla="*/ 26071 h 26357"/>
                    <a:gd name="connsiteX2" fmla="*/ 337 w 26333"/>
                    <a:gd name="connsiteY2" fmla="*/ 15981 h 26357"/>
                    <a:gd name="connsiteX3" fmla="*/ 10177 w 26333"/>
                    <a:gd name="connsiteY3" fmla="*/ 287 h 26357"/>
                    <a:gd name="connsiteX4" fmla="*/ 25996 w 26333"/>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356">
                      <a:moveTo>
                        <a:pt x="25996" y="10376"/>
                      </a:moveTo>
                      <a:cubicBezTo>
                        <a:pt x="27616" y="17476"/>
                        <a:pt x="23256" y="24576"/>
                        <a:pt x="16157" y="26071"/>
                      </a:cubicBezTo>
                      <a:cubicBezTo>
                        <a:pt x="9057" y="27565"/>
                        <a:pt x="1957" y="23081"/>
                        <a:pt x="337" y="15981"/>
                      </a:cubicBezTo>
                      <a:cubicBezTo>
                        <a:pt x="-1282" y="8882"/>
                        <a:pt x="3077" y="1782"/>
                        <a:pt x="10177" y="287"/>
                      </a:cubicBezTo>
                      <a:cubicBezTo>
                        <a:pt x="17277" y="-1207"/>
                        <a:pt x="24377" y="3277"/>
                        <a:pt x="25996"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7" name="Graphic 2987">
                <a:extLst>
                  <a:ext uri="{FF2B5EF4-FFF2-40B4-BE49-F238E27FC236}">
                    <a16:creationId xmlns:a16="http://schemas.microsoft.com/office/drawing/2014/main" id="{035C64E7-3B97-5AE1-8733-9E62273BBBDD}"/>
                  </a:ext>
                </a:extLst>
              </p:cNvPr>
              <p:cNvGrpSpPr/>
              <p:nvPr/>
            </p:nvGrpSpPr>
            <p:grpSpPr>
              <a:xfrm>
                <a:off x="8418148" y="1602346"/>
                <a:ext cx="53723" cy="145845"/>
                <a:chOff x="8418148" y="1602346"/>
                <a:chExt cx="53723" cy="145845"/>
              </a:xfrm>
              <a:grpFill/>
            </p:grpSpPr>
            <p:sp>
              <p:nvSpPr>
                <p:cNvPr id="6810" name="Freeform 7280">
                  <a:extLst>
                    <a:ext uri="{FF2B5EF4-FFF2-40B4-BE49-F238E27FC236}">
                      <a16:creationId xmlns:a16="http://schemas.microsoft.com/office/drawing/2014/main" id="{541807EE-9094-7AF4-4002-88A7FACD2D4E}"/>
                    </a:ext>
                  </a:extLst>
                </p:cNvPr>
                <p:cNvSpPr/>
                <p:nvPr/>
              </p:nvSpPr>
              <p:spPr>
                <a:xfrm>
                  <a:off x="8449522" y="1676122"/>
                  <a:ext cx="11211" cy="51068"/>
                </a:xfrm>
                <a:custGeom>
                  <a:avLst/>
                  <a:gdLst>
                    <a:gd name="connsiteX0" fmla="*/ 11058 w 11211"/>
                    <a:gd name="connsiteY0" fmla="*/ 51069 h 51068"/>
                    <a:gd name="connsiteX1" fmla="*/ 8816 w 11211"/>
                    <a:gd name="connsiteY1" fmla="*/ 32385 h 51068"/>
                    <a:gd name="connsiteX2" fmla="*/ 1716 w 11211"/>
                    <a:gd name="connsiteY2" fmla="*/ 16442 h 51068"/>
                    <a:gd name="connsiteX3" fmla="*/ 222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9"/>
                      </a:moveTo>
                      <a:cubicBezTo>
                        <a:pt x="11681" y="42723"/>
                        <a:pt x="10311" y="36495"/>
                        <a:pt x="8816" y="32385"/>
                      </a:cubicBezTo>
                      <a:cubicBezTo>
                        <a:pt x="6449" y="25783"/>
                        <a:pt x="3709" y="23292"/>
                        <a:pt x="1716" y="16442"/>
                      </a:cubicBezTo>
                      <a:cubicBezTo>
                        <a:pt x="-276" y="9840"/>
                        <a:pt x="-152" y="3986"/>
                        <a:pt x="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1" name="Freeform 7281">
                  <a:extLst>
                    <a:ext uri="{FF2B5EF4-FFF2-40B4-BE49-F238E27FC236}">
                      <a16:creationId xmlns:a16="http://schemas.microsoft.com/office/drawing/2014/main" id="{3B3482B1-18F5-D169-B749-2996A3473008}"/>
                    </a:ext>
                  </a:extLst>
                </p:cNvPr>
                <p:cNvSpPr/>
                <p:nvPr/>
              </p:nvSpPr>
              <p:spPr>
                <a:xfrm>
                  <a:off x="8442519" y="1682973"/>
                  <a:ext cx="12207" cy="50694"/>
                </a:xfrm>
                <a:custGeom>
                  <a:avLst/>
                  <a:gdLst>
                    <a:gd name="connsiteX0" fmla="*/ 0 w 12207"/>
                    <a:gd name="connsiteY0" fmla="*/ 0 h 50694"/>
                    <a:gd name="connsiteX1" fmla="*/ 6103 w 12207"/>
                    <a:gd name="connsiteY1" fmla="*/ 17812 h 50694"/>
                    <a:gd name="connsiteX2" fmla="*/ 6477 w 12207"/>
                    <a:gd name="connsiteY2" fmla="*/ 35250 h 50694"/>
                    <a:gd name="connsiteX3" fmla="*/ 12207 w 1220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7" h="50694">
                      <a:moveTo>
                        <a:pt x="0" y="0"/>
                      </a:moveTo>
                      <a:cubicBezTo>
                        <a:pt x="4235" y="7349"/>
                        <a:pt x="5605" y="13452"/>
                        <a:pt x="6103" y="17812"/>
                      </a:cubicBezTo>
                      <a:cubicBezTo>
                        <a:pt x="6851" y="24787"/>
                        <a:pt x="5481" y="28150"/>
                        <a:pt x="6477" y="35250"/>
                      </a:cubicBezTo>
                      <a:cubicBezTo>
                        <a:pt x="7474" y="42101"/>
                        <a:pt x="10214" y="47332"/>
                        <a:pt x="1220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2" name="Freeform 7282">
                  <a:extLst>
                    <a:ext uri="{FF2B5EF4-FFF2-40B4-BE49-F238E27FC236}">
                      <a16:creationId xmlns:a16="http://schemas.microsoft.com/office/drawing/2014/main" id="{13F1D33A-77F3-FB42-A5EC-A9A850750446}"/>
                    </a:ext>
                  </a:extLst>
                </p:cNvPr>
                <p:cNvSpPr/>
                <p:nvPr/>
              </p:nvSpPr>
              <p:spPr>
                <a:xfrm>
                  <a:off x="8445177" y="1721635"/>
                  <a:ext cx="26693" cy="26556"/>
                </a:xfrm>
                <a:custGeom>
                  <a:avLst/>
                  <a:gdLst>
                    <a:gd name="connsiteX0" fmla="*/ 331 w 26693"/>
                    <a:gd name="connsiteY0" fmla="*/ 16143 h 26556"/>
                    <a:gd name="connsiteX1" fmla="*/ 10420 w 26693"/>
                    <a:gd name="connsiteY1" fmla="*/ 324 h 26556"/>
                    <a:gd name="connsiteX2" fmla="*/ 26363 w 26693"/>
                    <a:gd name="connsiteY2" fmla="*/ 10414 h 26556"/>
                    <a:gd name="connsiteX3" fmla="*/ 16274 w 26693"/>
                    <a:gd name="connsiteY3" fmla="*/ 26232 h 26556"/>
                    <a:gd name="connsiteX4" fmla="*/ 331 w 26693"/>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56">
                      <a:moveTo>
                        <a:pt x="331" y="16143"/>
                      </a:moveTo>
                      <a:cubicBezTo>
                        <a:pt x="-1289" y="9044"/>
                        <a:pt x="3196" y="1944"/>
                        <a:pt x="10420" y="324"/>
                      </a:cubicBezTo>
                      <a:cubicBezTo>
                        <a:pt x="17644" y="-1295"/>
                        <a:pt x="24744" y="3314"/>
                        <a:pt x="26363" y="10414"/>
                      </a:cubicBezTo>
                      <a:cubicBezTo>
                        <a:pt x="27983" y="17513"/>
                        <a:pt x="23499" y="24613"/>
                        <a:pt x="16274"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3" name="Freeform 7283">
                  <a:extLst>
                    <a:ext uri="{FF2B5EF4-FFF2-40B4-BE49-F238E27FC236}">
                      <a16:creationId xmlns:a16="http://schemas.microsoft.com/office/drawing/2014/main" id="{95C15FDD-2814-83D1-0399-767F51F34F01}"/>
                    </a:ext>
                  </a:extLst>
                </p:cNvPr>
                <p:cNvSpPr/>
                <p:nvPr/>
              </p:nvSpPr>
              <p:spPr>
                <a:xfrm>
                  <a:off x="8429286" y="1623185"/>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5"/>
                        <a:pt x="901" y="14573"/>
                        <a:pt x="2396" y="18684"/>
                      </a:cubicBezTo>
                      <a:cubicBezTo>
                        <a:pt x="4638" y="25285"/>
                        <a:pt x="7503" y="27776"/>
                        <a:pt x="9496" y="34627"/>
                      </a:cubicBezTo>
                      <a:cubicBezTo>
                        <a:pt x="11488"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4" name="Freeform 7284">
                  <a:extLst>
                    <a:ext uri="{FF2B5EF4-FFF2-40B4-BE49-F238E27FC236}">
                      <a16:creationId xmlns:a16="http://schemas.microsoft.com/office/drawing/2014/main" id="{5A3A4324-6D9B-DCA5-59CA-B7CF1E6357DB}"/>
                    </a:ext>
                  </a:extLst>
                </p:cNvPr>
                <p:cNvSpPr/>
                <p:nvPr/>
              </p:nvSpPr>
              <p:spPr>
                <a:xfrm>
                  <a:off x="8435170" y="1616833"/>
                  <a:ext cx="12331" cy="50694"/>
                </a:xfrm>
                <a:custGeom>
                  <a:avLst/>
                  <a:gdLst>
                    <a:gd name="connsiteX0" fmla="*/ 12331 w 12331"/>
                    <a:gd name="connsiteY0" fmla="*/ 50695 h 50694"/>
                    <a:gd name="connsiteX1" fmla="*/ 6228 w 12331"/>
                    <a:gd name="connsiteY1" fmla="*/ 32883 h 50694"/>
                    <a:gd name="connsiteX2" fmla="*/ 5729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1" y="25908"/>
                        <a:pt x="6851" y="22545"/>
                        <a:pt x="5729"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5" name="Freeform 7285">
                  <a:extLst>
                    <a:ext uri="{FF2B5EF4-FFF2-40B4-BE49-F238E27FC236}">
                      <a16:creationId xmlns:a16="http://schemas.microsoft.com/office/drawing/2014/main" id="{38A180BA-2E78-B556-2CC9-983EB940EE93}"/>
                    </a:ext>
                  </a:extLst>
                </p:cNvPr>
                <p:cNvSpPr/>
                <p:nvPr/>
              </p:nvSpPr>
              <p:spPr>
                <a:xfrm>
                  <a:off x="8418148" y="1602346"/>
                  <a:ext cx="26445" cy="26357"/>
                </a:xfrm>
                <a:custGeom>
                  <a:avLst/>
                  <a:gdLst>
                    <a:gd name="connsiteX0" fmla="*/ 26114 w 26445"/>
                    <a:gd name="connsiteY0" fmla="*/ 10376 h 26357"/>
                    <a:gd name="connsiteX1" fmla="*/ 16150 w 26445"/>
                    <a:gd name="connsiteY1" fmla="*/ 26071 h 26357"/>
                    <a:gd name="connsiteX2" fmla="*/ 331 w 26445"/>
                    <a:gd name="connsiteY2" fmla="*/ 15981 h 26357"/>
                    <a:gd name="connsiteX3" fmla="*/ 10295 w 26445"/>
                    <a:gd name="connsiteY3" fmla="*/ 287 h 26357"/>
                    <a:gd name="connsiteX4" fmla="*/ 26114 w 26445"/>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356">
                      <a:moveTo>
                        <a:pt x="26114" y="10376"/>
                      </a:moveTo>
                      <a:cubicBezTo>
                        <a:pt x="27734" y="17476"/>
                        <a:pt x="23250" y="24576"/>
                        <a:pt x="16150" y="26071"/>
                      </a:cubicBezTo>
                      <a:cubicBezTo>
                        <a:pt x="9050" y="27565"/>
                        <a:pt x="1950" y="23081"/>
                        <a:pt x="331" y="15981"/>
                      </a:cubicBezTo>
                      <a:cubicBezTo>
                        <a:pt x="-1288" y="8882"/>
                        <a:pt x="3195" y="1782"/>
                        <a:pt x="10295" y="287"/>
                      </a:cubicBezTo>
                      <a:cubicBezTo>
                        <a:pt x="17395" y="-1207"/>
                        <a:pt x="24495" y="3277"/>
                        <a:pt x="26114"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8" name="Graphic 2987">
                <a:extLst>
                  <a:ext uri="{FF2B5EF4-FFF2-40B4-BE49-F238E27FC236}">
                    <a16:creationId xmlns:a16="http://schemas.microsoft.com/office/drawing/2014/main" id="{C60E112F-2486-5F74-5A2E-C24A359AEF83}"/>
                  </a:ext>
                </a:extLst>
              </p:cNvPr>
              <p:cNvGrpSpPr/>
              <p:nvPr/>
            </p:nvGrpSpPr>
            <p:grpSpPr>
              <a:xfrm>
                <a:off x="8389375" y="1608655"/>
                <a:ext cx="53467" cy="145889"/>
                <a:chOff x="8389375" y="1608655"/>
                <a:chExt cx="53467" cy="145889"/>
              </a:xfrm>
              <a:grpFill/>
            </p:grpSpPr>
            <p:sp>
              <p:nvSpPr>
                <p:cNvPr id="6804" name="Freeform 7287">
                  <a:extLst>
                    <a:ext uri="{FF2B5EF4-FFF2-40B4-BE49-F238E27FC236}">
                      <a16:creationId xmlns:a16="http://schemas.microsoft.com/office/drawing/2014/main" id="{4EFC3815-3723-84D9-7557-145839CFC512}"/>
                    </a:ext>
                  </a:extLst>
                </p:cNvPr>
                <p:cNvSpPr/>
                <p:nvPr/>
              </p:nvSpPr>
              <p:spPr>
                <a:xfrm>
                  <a:off x="8420500" y="1682475"/>
                  <a:ext cx="11087" cy="51068"/>
                </a:xfrm>
                <a:custGeom>
                  <a:avLst/>
                  <a:gdLst>
                    <a:gd name="connsiteX0" fmla="*/ 10933 w 11087"/>
                    <a:gd name="connsiteY0" fmla="*/ 51069 h 51068"/>
                    <a:gd name="connsiteX1" fmla="*/ 8816 w 11087"/>
                    <a:gd name="connsiteY1" fmla="*/ 32385 h 51068"/>
                    <a:gd name="connsiteX2" fmla="*/ 1716 w 11087"/>
                    <a:gd name="connsiteY2" fmla="*/ 16442 h 51068"/>
                    <a:gd name="connsiteX3" fmla="*/ 221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51069"/>
                      </a:moveTo>
                      <a:cubicBezTo>
                        <a:pt x="11556" y="42723"/>
                        <a:pt x="10186" y="36495"/>
                        <a:pt x="8816" y="32385"/>
                      </a:cubicBezTo>
                      <a:cubicBezTo>
                        <a:pt x="6574" y="25783"/>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5" name="Freeform 7288">
                  <a:extLst>
                    <a:ext uri="{FF2B5EF4-FFF2-40B4-BE49-F238E27FC236}">
                      <a16:creationId xmlns:a16="http://schemas.microsoft.com/office/drawing/2014/main" id="{92BAB0C3-5882-15A1-1D36-5E807AB2283F}"/>
                    </a:ext>
                  </a:extLst>
                </p:cNvPr>
                <p:cNvSpPr/>
                <p:nvPr/>
              </p:nvSpPr>
              <p:spPr>
                <a:xfrm>
                  <a:off x="8413497" y="1689201"/>
                  <a:ext cx="12082" cy="50694"/>
                </a:xfrm>
                <a:custGeom>
                  <a:avLst/>
                  <a:gdLst>
                    <a:gd name="connsiteX0" fmla="*/ 0 w 12082"/>
                    <a:gd name="connsiteY0" fmla="*/ 0 h 50694"/>
                    <a:gd name="connsiteX1" fmla="*/ 5979 w 12082"/>
                    <a:gd name="connsiteY1" fmla="*/ 17812 h 50694"/>
                    <a:gd name="connsiteX2" fmla="*/ 6353 w 12082"/>
                    <a:gd name="connsiteY2" fmla="*/ 35250 h 50694"/>
                    <a:gd name="connsiteX3" fmla="*/ 12082 w 1208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082" h="50694">
                      <a:moveTo>
                        <a:pt x="0" y="0"/>
                      </a:moveTo>
                      <a:cubicBezTo>
                        <a:pt x="4235" y="7349"/>
                        <a:pt x="5605" y="13452"/>
                        <a:pt x="5979" y="17812"/>
                      </a:cubicBezTo>
                      <a:cubicBezTo>
                        <a:pt x="6727" y="24787"/>
                        <a:pt x="5357" y="28150"/>
                        <a:pt x="6353" y="35250"/>
                      </a:cubicBezTo>
                      <a:cubicBezTo>
                        <a:pt x="7349" y="42101"/>
                        <a:pt x="9965" y="47332"/>
                        <a:pt x="1208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6" name="Freeform 7289">
                  <a:extLst>
                    <a:ext uri="{FF2B5EF4-FFF2-40B4-BE49-F238E27FC236}">
                      <a16:creationId xmlns:a16="http://schemas.microsoft.com/office/drawing/2014/main" id="{72A1866E-B919-DDDE-CDC4-AFDE501A52B9}"/>
                    </a:ext>
                  </a:extLst>
                </p:cNvPr>
                <p:cNvSpPr/>
                <p:nvPr/>
              </p:nvSpPr>
              <p:spPr>
                <a:xfrm>
                  <a:off x="8416038" y="1727987"/>
                  <a:ext cx="26805" cy="26556"/>
                </a:xfrm>
                <a:custGeom>
                  <a:avLst/>
                  <a:gdLst>
                    <a:gd name="connsiteX0" fmla="*/ 324 w 26805"/>
                    <a:gd name="connsiteY0" fmla="*/ 16143 h 26556"/>
                    <a:gd name="connsiteX1" fmla="*/ 10538 w 26805"/>
                    <a:gd name="connsiteY1" fmla="*/ 324 h 26556"/>
                    <a:gd name="connsiteX2" fmla="*/ 26481 w 26805"/>
                    <a:gd name="connsiteY2" fmla="*/ 10414 h 26556"/>
                    <a:gd name="connsiteX3" fmla="*/ 16267 w 26805"/>
                    <a:gd name="connsiteY3" fmla="*/ 26233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4"/>
                        <a:pt x="3313" y="1944"/>
                        <a:pt x="10538" y="324"/>
                      </a:cubicBezTo>
                      <a:cubicBezTo>
                        <a:pt x="17762" y="-1295"/>
                        <a:pt x="24862" y="3314"/>
                        <a:pt x="26481" y="10414"/>
                      </a:cubicBezTo>
                      <a:cubicBezTo>
                        <a:pt x="28100" y="17513"/>
                        <a:pt x="23492" y="24613"/>
                        <a:pt x="16267" y="26233"/>
                      </a:cubicBezTo>
                      <a:cubicBezTo>
                        <a:pt x="9043" y="27852"/>
                        <a:pt x="1944"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7" name="Freeform 7290">
                  <a:extLst>
                    <a:ext uri="{FF2B5EF4-FFF2-40B4-BE49-F238E27FC236}">
                      <a16:creationId xmlns:a16="http://schemas.microsoft.com/office/drawing/2014/main" id="{C7D63612-4490-F062-FF3D-FBF525BD08FA}"/>
                    </a:ext>
                  </a:extLst>
                </p:cNvPr>
                <p:cNvSpPr/>
                <p:nvPr/>
              </p:nvSpPr>
              <p:spPr>
                <a:xfrm>
                  <a:off x="8400513" y="162953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6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5"/>
                        <a:pt x="902" y="14573"/>
                        <a:pt x="2272" y="18684"/>
                      </a:cubicBezTo>
                      <a:cubicBezTo>
                        <a:pt x="4514" y="25285"/>
                        <a:pt x="7254" y="27776"/>
                        <a:pt x="9372" y="34627"/>
                      </a:cubicBezTo>
                      <a:cubicBezTo>
                        <a:pt x="11365" y="41229"/>
                        <a:pt x="11240" y="47083"/>
                        <a:pt x="1086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8" name="Freeform 7291">
                  <a:extLst>
                    <a:ext uri="{FF2B5EF4-FFF2-40B4-BE49-F238E27FC236}">
                      <a16:creationId xmlns:a16="http://schemas.microsoft.com/office/drawing/2014/main" id="{55420C33-A805-32FE-7676-F4F0BF9ABC71}"/>
                    </a:ext>
                  </a:extLst>
                </p:cNvPr>
                <p:cNvSpPr/>
                <p:nvPr/>
              </p:nvSpPr>
              <p:spPr>
                <a:xfrm>
                  <a:off x="8406397" y="1623061"/>
                  <a:ext cx="12081" cy="50819"/>
                </a:xfrm>
                <a:custGeom>
                  <a:avLst/>
                  <a:gdLst>
                    <a:gd name="connsiteX0" fmla="*/ 12082 w 12081"/>
                    <a:gd name="connsiteY0" fmla="*/ 50820 h 50819"/>
                    <a:gd name="connsiteX1" fmla="*/ 6103 w 12081"/>
                    <a:gd name="connsiteY1" fmla="*/ 33008 h 50819"/>
                    <a:gd name="connsiteX2" fmla="*/ 5729 w 12081"/>
                    <a:gd name="connsiteY2" fmla="*/ 15570 h 50819"/>
                    <a:gd name="connsiteX3" fmla="*/ 0 w 12081"/>
                    <a:gd name="connsiteY3" fmla="*/ 0 h 50819"/>
                  </a:gdLst>
                  <a:ahLst/>
                  <a:cxnLst>
                    <a:cxn ang="0">
                      <a:pos x="connsiteX0" y="connsiteY0"/>
                    </a:cxn>
                    <a:cxn ang="0">
                      <a:pos x="connsiteX1" y="connsiteY1"/>
                    </a:cxn>
                    <a:cxn ang="0">
                      <a:pos x="connsiteX2" y="connsiteY2"/>
                    </a:cxn>
                    <a:cxn ang="0">
                      <a:pos x="connsiteX3" y="connsiteY3"/>
                    </a:cxn>
                  </a:cxnLst>
                  <a:rect l="l" t="t" r="r" b="b"/>
                  <a:pathLst>
                    <a:path w="12081" h="50818">
                      <a:moveTo>
                        <a:pt x="12082" y="50820"/>
                      </a:moveTo>
                      <a:cubicBezTo>
                        <a:pt x="7847" y="43471"/>
                        <a:pt x="6476" y="37367"/>
                        <a:pt x="6103" y="33008"/>
                      </a:cubicBezTo>
                      <a:cubicBezTo>
                        <a:pt x="5356" y="26033"/>
                        <a:pt x="6726" y="22669"/>
                        <a:pt x="5729" y="15570"/>
                      </a:cubicBezTo>
                      <a:cubicBezTo>
                        <a:pt x="4733" y="8719"/>
                        <a:pt x="2117"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9" name="Freeform 7292">
                  <a:extLst>
                    <a:ext uri="{FF2B5EF4-FFF2-40B4-BE49-F238E27FC236}">
                      <a16:creationId xmlns:a16="http://schemas.microsoft.com/office/drawing/2014/main" id="{0C55BE0F-8D75-E314-9126-B93E8883D1D2}"/>
                    </a:ext>
                  </a:extLst>
                </p:cNvPr>
                <p:cNvSpPr/>
                <p:nvPr/>
              </p:nvSpPr>
              <p:spPr>
                <a:xfrm>
                  <a:off x="8389375" y="1608655"/>
                  <a:ext cx="26445" cy="26401"/>
                </a:xfrm>
                <a:custGeom>
                  <a:avLst/>
                  <a:gdLst>
                    <a:gd name="connsiteX0" fmla="*/ 26114 w 26445"/>
                    <a:gd name="connsiteY0" fmla="*/ 10420 h 26401"/>
                    <a:gd name="connsiteX1" fmla="*/ 16150 w 26445"/>
                    <a:gd name="connsiteY1" fmla="*/ 26114 h 26401"/>
                    <a:gd name="connsiteX2" fmla="*/ 331 w 26445"/>
                    <a:gd name="connsiteY2" fmla="*/ 16025 h 26401"/>
                    <a:gd name="connsiteX3" fmla="*/ 10295 w 26445"/>
                    <a:gd name="connsiteY3" fmla="*/ 331 h 26401"/>
                    <a:gd name="connsiteX4" fmla="*/ 26114 w 26445"/>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01">
                      <a:moveTo>
                        <a:pt x="26114" y="10420"/>
                      </a:moveTo>
                      <a:cubicBezTo>
                        <a:pt x="27734" y="17519"/>
                        <a:pt x="23250" y="24619"/>
                        <a:pt x="16150" y="26114"/>
                      </a:cubicBezTo>
                      <a:cubicBezTo>
                        <a:pt x="9050" y="27609"/>
                        <a:pt x="1950" y="23125"/>
                        <a:pt x="331" y="16025"/>
                      </a:cubicBezTo>
                      <a:cubicBezTo>
                        <a:pt x="-1288" y="8925"/>
                        <a:pt x="3195" y="1825"/>
                        <a:pt x="10295" y="331"/>
                      </a:cubicBezTo>
                      <a:cubicBezTo>
                        <a:pt x="17520" y="-1289"/>
                        <a:pt x="24495" y="3195"/>
                        <a:pt x="26114"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9" name="Graphic 2987">
                <a:extLst>
                  <a:ext uri="{FF2B5EF4-FFF2-40B4-BE49-F238E27FC236}">
                    <a16:creationId xmlns:a16="http://schemas.microsoft.com/office/drawing/2014/main" id="{C840D2AE-70D2-2A77-2892-4A82B884651E}"/>
                  </a:ext>
                </a:extLst>
              </p:cNvPr>
              <p:cNvGrpSpPr/>
              <p:nvPr/>
            </p:nvGrpSpPr>
            <p:grpSpPr>
              <a:xfrm>
                <a:off x="8360765" y="1614883"/>
                <a:ext cx="52931" cy="146013"/>
                <a:chOff x="8360765" y="1614883"/>
                <a:chExt cx="52931" cy="146013"/>
              </a:xfrm>
              <a:grpFill/>
            </p:grpSpPr>
            <p:sp>
              <p:nvSpPr>
                <p:cNvPr id="6798" name="Freeform 7294">
                  <a:extLst>
                    <a:ext uri="{FF2B5EF4-FFF2-40B4-BE49-F238E27FC236}">
                      <a16:creationId xmlns:a16="http://schemas.microsoft.com/office/drawing/2014/main" id="{024D8BE2-D9FD-04C0-C3B8-E684230D7E69}"/>
                    </a:ext>
                  </a:extLst>
                </p:cNvPr>
                <p:cNvSpPr/>
                <p:nvPr/>
              </p:nvSpPr>
              <p:spPr>
                <a:xfrm>
                  <a:off x="8391388" y="1688827"/>
                  <a:ext cx="11109" cy="51068"/>
                </a:xfrm>
                <a:custGeom>
                  <a:avLst/>
                  <a:gdLst>
                    <a:gd name="connsiteX0" fmla="*/ 10899 w 11109"/>
                    <a:gd name="connsiteY0" fmla="*/ 51069 h 51068"/>
                    <a:gd name="connsiteX1" fmla="*/ 8782 w 11109"/>
                    <a:gd name="connsiteY1" fmla="*/ 32385 h 51068"/>
                    <a:gd name="connsiteX2" fmla="*/ 1682 w 11109"/>
                    <a:gd name="connsiteY2" fmla="*/ 16442 h 51068"/>
                    <a:gd name="connsiteX3" fmla="*/ 311 w 11109"/>
                    <a:gd name="connsiteY3" fmla="*/ 0 h 51068"/>
                  </a:gdLst>
                  <a:ahLst/>
                  <a:cxnLst>
                    <a:cxn ang="0">
                      <a:pos x="connsiteX0" y="connsiteY0"/>
                    </a:cxn>
                    <a:cxn ang="0">
                      <a:pos x="connsiteX1" y="connsiteY1"/>
                    </a:cxn>
                    <a:cxn ang="0">
                      <a:pos x="connsiteX2" y="connsiteY2"/>
                    </a:cxn>
                    <a:cxn ang="0">
                      <a:pos x="connsiteX3" y="connsiteY3"/>
                    </a:cxn>
                  </a:cxnLst>
                  <a:rect l="l" t="t" r="r" b="b"/>
                  <a:pathLst>
                    <a:path w="11109" h="51068">
                      <a:moveTo>
                        <a:pt x="10899" y="51069"/>
                      </a:moveTo>
                      <a:cubicBezTo>
                        <a:pt x="11646" y="42723"/>
                        <a:pt x="10276" y="36495"/>
                        <a:pt x="8782" y="32385"/>
                      </a:cubicBezTo>
                      <a:cubicBezTo>
                        <a:pt x="6539" y="25783"/>
                        <a:pt x="3799" y="23292"/>
                        <a:pt x="1682" y="16442"/>
                      </a:cubicBezTo>
                      <a:cubicBezTo>
                        <a:pt x="-311" y="9840"/>
                        <a:pt x="-187" y="3986"/>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9" name="Freeform 7295">
                  <a:extLst>
                    <a:ext uri="{FF2B5EF4-FFF2-40B4-BE49-F238E27FC236}">
                      <a16:creationId xmlns:a16="http://schemas.microsoft.com/office/drawing/2014/main" id="{B387EFE8-41C4-0009-6FF0-C768D9EE78DA}"/>
                    </a:ext>
                  </a:extLst>
                </p:cNvPr>
                <p:cNvSpPr/>
                <p:nvPr/>
              </p:nvSpPr>
              <p:spPr>
                <a:xfrm>
                  <a:off x="8384600" y="1695553"/>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577"/>
                        <a:pt x="5979" y="17812"/>
                      </a:cubicBezTo>
                      <a:cubicBezTo>
                        <a:pt x="6726" y="24787"/>
                        <a:pt x="5231" y="28150"/>
                        <a:pt x="6352" y="35250"/>
                      </a:cubicBezTo>
                      <a:cubicBezTo>
                        <a:pt x="7348"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0" name="Freeform 7296">
                  <a:extLst>
                    <a:ext uri="{FF2B5EF4-FFF2-40B4-BE49-F238E27FC236}">
                      <a16:creationId xmlns:a16="http://schemas.microsoft.com/office/drawing/2014/main" id="{5AB9A8A7-20EB-DA91-0512-5BE401530E56}"/>
                    </a:ext>
                  </a:extLst>
                </p:cNvPr>
                <p:cNvSpPr/>
                <p:nvPr/>
              </p:nvSpPr>
              <p:spPr>
                <a:xfrm>
                  <a:off x="8386891" y="1734340"/>
                  <a:ext cx="26805" cy="26556"/>
                </a:xfrm>
                <a:custGeom>
                  <a:avLst/>
                  <a:gdLst>
                    <a:gd name="connsiteX0" fmla="*/ 324 w 26805"/>
                    <a:gd name="connsiteY0" fmla="*/ 16143 h 26556"/>
                    <a:gd name="connsiteX1" fmla="*/ 10538 w 26805"/>
                    <a:gd name="connsiteY1" fmla="*/ 324 h 26556"/>
                    <a:gd name="connsiteX2" fmla="*/ 26482 w 26805"/>
                    <a:gd name="connsiteY2" fmla="*/ 10414 h 26556"/>
                    <a:gd name="connsiteX3" fmla="*/ 16268 w 26805"/>
                    <a:gd name="connsiteY3" fmla="*/ 26232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3"/>
                        <a:pt x="3313" y="1944"/>
                        <a:pt x="10538" y="324"/>
                      </a:cubicBezTo>
                      <a:cubicBezTo>
                        <a:pt x="17763" y="-1295"/>
                        <a:pt x="24862" y="3314"/>
                        <a:pt x="26482" y="10414"/>
                      </a:cubicBezTo>
                      <a:cubicBezTo>
                        <a:pt x="28101" y="17513"/>
                        <a:pt x="23492" y="24613"/>
                        <a:pt x="16268" y="26232"/>
                      </a:cubicBezTo>
                      <a:cubicBezTo>
                        <a:pt x="8919" y="27852"/>
                        <a:pt x="1819"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1" name="Freeform 7297">
                  <a:extLst>
                    <a:ext uri="{FF2B5EF4-FFF2-40B4-BE49-F238E27FC236}">
                      <a16:creationId xmlns:a16="http://schemas.microsoft.com/office/drawing/2014/main" id="{5C12F6FC-20A3-0BC0-6CC5-6B6F096EEF36}"/>
                    </a:ext>
                  </a:extLst>
                </p:cNvPr>
                <p:cNvSpPr/>
                <p:nvPr/>
              </p:nvSpPr>
              <p:spPr>
                <a:xfrm>
                  <a:off x="8371740" y="1635765"/>
                  <a:ext cx="10928" cy="51068"/>
                </a:xfrm>
                <a:custGeom>
                  <a:avLst/>
                  <a:gdLst>
                    <a:gd name="connsiteX0" fmla="*/ 155 w 10928"/>
                    <a:gd name="connsiteY0" fmla="*/ 0 h 51068"/>
                    <a:gd name="connsiteX1" fmla="*/ 2272 w 10928"/>
                    <a:gd name="connsiteY1" fmla="*/ 18684 h 51068"/>
                    <a:gd name="connsiteX2" fmla="*/ 9247 w 10928"/>
                    <a:gd name="connsiteY2" fmla="*/ 34627 h 51068"/>
                    <a:gd name="connsiteX3" fmla="*/ 10617 w 1092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28" h="51068">
                      <a:moveTo>
                        <a:pt x="155" y="0"/>
                      </a:moveTo>
                      <a:cubicBezTo>
                        <a:pt x="-468" y="8345"/>
                        <a:pt x="902" y="14573"/>
                        <a:pt x="2272" y="18684"/>
                      </a:cubicBezTo>
                      <a:cubicBezTo>
                        <a:pt x="4514" y="25285"/>
                        <a:pt x="7254" y="27776"/>
                        <a:pt x="9247" y="34627"/>
                      </a:cubicBezTo>
                      <a:cubicBezTo>
                        <a:pt x="11240" y="41229"/>
                        <a:pt x="11116" y="47083"/>
                        <a:pt x="1061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2" name="Freeform 7298">
                  <a:extLst>
                    <a:ext uri="{FF2B5EF4-FFF2-40B4-BE49-F238E27FC236}">
                      <a16:creationId xmlns:a16="http://schemas.microsoft.com/office/drawing/2014/main" id="{4ACE925A-1D3D-819C-1BA3-A8118E25DC7C}"/>
                    </a:ext>
                  </a:extLst>
                </p:cNvPr>
                <p:cNvSpPr/>
                <p:nvPr/>
              </p:nvSpPr>
              <p:spPr>
                <a:xfrm>
                  <a:off x="8377625" y="1629288"/>
                  <a:ext cx="11957" cy="50819"/>
                </a:xfrm>
                <a:custGeom>
                  <a:avLst/>
                  <a:gdLst>
                    <a:gd name="connsiteX0" fmla="*/ 11957 w 11957"/>
                    <a:gd name="connsiteY0" fmla="*/ 50820 h 50819"/>
                    <a:gd name="connsiteX1" fmla="*/ 5979 w 11957"/>
                    <a:gd name="connsiteY1" fmla="*/ 33008 h 50819"/>
                    <a:gd name="connsiteX2" fmla="*/ 5604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20"/>
                      </a:moveTo>
                      <a:cubicBezTo>
                        <a:pt x="7846" y="43471"/>
                        <a:pt x="6476" y="37243"/>
                        <a:pt x="5979" y="33008"/>
                      </a:cubicBezTo>
                      <a:cubicBezTo>
                        <a:pt x="5231"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3" name="Freeform 7299">
                  <a:extLst>
                    <a:ext uri="{FF2B5EF4-FFF2-40B4-BE49-F238E27FC236}">
                      <a16:creationId xmlns:a16="http://schemas.microsoft.com/office/drawing/2014/main" id="{8C48F41A-21C1-6A3F-351C-75B81767ECAA}"/>
                    </a:ext>
                  </a:extLst>
                </p:cNvPr>
                <p:cNvSpPr/>
                <p:nvPr/>
              </p:nvSpPr>
              <p:spPr>
                <a:xfrm>
                  <a:off x="8360765" y="1614883"/>
                  <a:ext cx="26282" cy="26401"/>
                </a:xfrm>
                <a:custGeom>
                  <a:avLst/>
                  <a:gdLst>
                    <a:gd name="connsiteX0" fmla="*/ 25952 w 26282"/>
                    <a:gd name="connsiteY0" fmla="*/ 10420 h 26401"/>
                    <a:gd name="connsiteX1" fmla="*/ 15987 w 26282"/>
                    <a:gd name="connsiteY1" fmla="*/ 26114 h 26401"/>
                    <a:gd name="connsiteX2" fmla="*/ 293 w 26282"/>
                    <a:gd name="connsiteY2" fmla="*/ 16025 h 26401"/>
                    <a:gd name="connsiteX3" fmla="*/ 10258 w 26282"/>
                    <a:gd name="connsiteY3" fmla="*/ 331 h 26401"/>
                    <a:gd name="connsiteX4" fmla="*/ 25952 w 26282"/>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401">
                      <a:moveTo>
                        <a:pt x="25952" y="10420"/>
                      </a:moveTo>
                      <a:cubicBezTo>
                        <a:pt x="27571" y="17519"/>
                        <a:pt x="23087" y="24619"/>
                        <a:pt x="15987" y="26114"/>
                      </a:cubicBezTo>
                      <a:cubicBezTo>
                        <a:pt x="8888" y="27609"/>
                        <a:pt x="1788" y="23125"/>
                        <a:pt x="293" y="16025"/>
                      </a:cubicBezTo>
                      <a:cubicBezTo>
                        <a:pt x="-1202" y="8925"/>
                        <a:pt x="3158" y="1825"/>
                        <a:pt x="10258" y="331"/>
                      </a:cubicBezTo>
                      <a:cubicBezTo>
                        <a:pt x="17357" y="-1289"/>
                        <a:pt x="24457" y="3195"/>
                        <a:pt x="25952"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0" name="Graphic 2987">
                <a:extLst>
                  <a:ext uri="{FF2B5EF4-FFF2-40B4-BE49-F238E27FC236}">
                    <a16:creationId xmlns:a16="http://schemas.microsoft.com/office/drawing/2014/main" id="{9EC51FE0-09D0-E38D-E417-D2214C05132E}"/>
                  </a:ext>
                </a:extLst>
              </p:cNvPr>
              <p:cNvGrpSpPr/>
              <p:nvPr/>
            </p:nvGrpSpPr>
            <p:grpSpPr>
              <a:xfrm>
                <a:off x="8331874" y="1621117"/>
                <a:ext cx="52389" cy="146132"/>
                <a:chOff x="8331874" y="1621117"/>
                <a:chExt cx="52389" cy="146132"/>
              </a:xfrm>
              <a:grpFill/>
            </p:grpSpPr>
            <p:sp>
              <p:nvSpPr>
                <p:cNvPr id="6792" name="Freeform 7301">
                  <a:extLst>
                    <a:ext uri="{FF2B5EF4-FFF2-40B4-BE49-F238E27FC236}">
                      <a16:creationId xmlns:a16="http://schemas.microsoft.com/office/drawing/2014/main" id="{21E44459-C88E-712A-00CA-F39652ACB98F}"/>
                    </a:ext>
                  </a:extLst>
                </p:cNvPr>
                <p:cNvSpPr/>
                <p:nvPr/>
              </p:nvSpPr>
              <p:spPr>
                <a:xfrm>
                  <a:off x="8362545" y="1695179"/>
                  <a:ext cx="10805" cy="51068"/>
                </a:xfrm>
                <a:custGeom>
                  <a:avLst/>
                  <a:gdLst>
                    <a:gd name="connsiteX0" fmla="*/ 10594 w 10805"/>
                    <a:gd name="connsiteY0" fmla="*/ 51069 h 51068"/>
                    <a:gd name="connsiteX1" fmla="*/ 8602 w 10805"/>
                    <a:gd name="connsiteY1" fmla="*/ 32385 h 51068"/>
                    <a:gd name="connsiteX2" fmla="*/ 1627 w 10805"/>
                    <a:gd name="connsiteY2" fmla="*/ 16442 h 51068"/>
                    <a:gd name="connsiteX3" fmla="*/ 257 w 10805"/>
                    <a:gd name="connsiteY3" fmla="*/ 0 h 51068"/>
                  </a:gdLst>
                  <a:ahLst/>
                  <a:cxnLst>
                    <a:cxn ang="0">
                      <a:pos x="connsiteX0" y="connsiteY0"/>
                    </a:cxn>
                    <a:cxn ang="0">
                      <a:pos x="connsiteX1" y="connsiteY1"/>
                    </a:cxn>
                    <a:cxn ang="0">
                      <a:pos x="connsiteX2" y="connsiteY2"/>
                    </a:cxn>
                    <a:cxn ang="0">
                      <a:pos x="connsiteX3" y="connsiteY3"/>
                    </a:cxn>
                  </a:cxnLst>
                  <a:rect l="l" t="t" r="r" b="b"/>
                  <a:pathLst>
                    <a:path w="10805" h="51068">
                      <a:moveTo>
                        <a:pt x="10594" y="51069"/>
                      </a:moveTo>
                      <a:cubicBezTo>
                        <a:pt x="11342" y="42723"/>
                        <a:pt x="9972" y="36495"/>
                        <a:pt x="8602" y="32385"/>
                      </a:cubicBezTo>
                      <a:cubicBezTo>
                        <a:pt x="6360" y="25783"/>
                        <a:pt x="3619" y="23292"/>
                        <a:pt x="1627" y="16442"/>
                      </a:cubicBezTo>
                      <a:cubicBezTo>
                        <a:pt x="-367" y="9840"/>
                        <a:pt x="-117" y="3861"/>
                        <a:pt x="2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3" name="Freeform 7302">
                  <a:extLst>
                    <a:ext uri="{FF2B5EF4-FFF2-40B4-BE49-F238E27FC236}">
                      <a16:creationId xmlns:a16="http://schemas.microsoft.com/office/drawing/2014/main" id="{AC6ECD44-E8DA-34AB-C8CE-11081C40181C}"/>
                    </a:ext>
                  </a:extLst>
                </p:cNvPr>
                <p:cNvSpPr/>
                <p:nvPr/>
              </p:nvSpPr>
              <p:spPr>
                <a:xfrm>
                  <a:off x="8355578" y="1701906"/>
                  <a:ext cx="11708" cy="50819"/>
                </a:xfrm>
                <a:custGeom>
                  <a:avLst/>
                  <a:gdLst>
                    <a:gd name="connsiteX0" fmla="*/ 0 w 11708"/>
                    <a:gd name="connsiteY0" fmla="*/ 0 h 50819"/>
                    <a:gd name="connsiteX1" fmla="*/ 5854 w 11708"/>
                    <a:gd name="connsiteY1" fmla="*/ 17812 h 50819"/>
                    <a:gd name="connsiteX2" fmla="*/ 6103 w 11708"/>
                    <a:gd name="connsiteY2" fmla="*/ 35250 h 50819"/>
                    <a:gd name="connsiteX3" fmla="*/ 11708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0" y="0"/>
                      </a:moveTo>
                      <a:cubicBezTo>
                        <a:pt x="4111" y="7349"/>
                        <a:pt x="5481" y="13577"/>
                        <a:pt x="5854" y="17812"/>
                      </a:cubicBezTo>
                      <a:cubicBezTo>
                        <a:pt x="6601" y="24787"/>
                        <a:pt x="5107" y="28150"/>
                        <a:pt x="6103" y="35250"/>
                      </a:cubicBezTo>
                      <a:cubicBezTo>
                        <a:pt x="7100" y="42101"/>
                        <a:pt x="9715" y="47332"/>
                        <a:pt x="11708"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4" name="Freeform 7303">
                  <a:extLst>
                    <a:ext uri="{FF2B5EF4-FFF2-40B4-BE49-F238E27FC236}">
                      <a16:creationId xmlns:a16="http://schemas.microsoft.com/office/drawing/2014/main" id="{D3361A56-5F0F-071F-05EA-ACB91E7DB8C3}"/>
                    </a:ext>
                  </a:extLst>
                </p:cNvPr>
                <p:cNvSpPr/>
                <p:nvPr/>
              </p:nvSpPr>
              <p:spPr>
                <a:xfrm>
                  <a:off x="8357657" y="1740692"/>
                  <a:ext cx="26605" cy="26556"/>
                </a:xfrm>
                <a:custGeom>
                  <a:avLst/>
                  <a:gdLst>
                    <a:gd name="connsiteX0" fmla="*/ 287 w 26605"/>
                    <a:gd name="connsiteY0" fmla="*/ 16143 h 26556"/>
                    <a:gd name="connsiteX1" fmla="*/ 10501 w 26605"/>
                    <a:gd name="connsiteY1" fmla="*/ 324 h 26556"/>
                    <a:gd name="connsiteX2" fmla="*/ 26319 w 26605"/>
                    <a:gd name="connsiteY2" fmla="*/ 10414 h 26556"/>
                    <a:gd name="connsiteX3" fmla="*/ 16106 w 26605"/>
                    <a:gd name="connsiteY3" fmla="*/ 26233 h 26556"/>
                    <a:gd name="connsiteX4" fmla="*/ 287 w 266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5" h="26556">
                      <a:moveTo>
                        <a:pt x="287" y="16143"/>
                      </a:moveTo>
                      <a:cubicBezTo>
                        <a:pt x="-1208" y="9044"/>
                        <a:pt x="3276" y="1944"/>
                        <a:pt x="10501" y="324"/>
                      </a:cubicBezTo>
                      <a:cubicBezTo>
                        <a:pt x="17725" y="-1295"/>
                        <a:pt x="24824" y="3314"/>
                        <a:pt x="26319" y="10414"/>
                      </a:cubicBezTo>
                      <a:cubicBezTo>
                        <a:pt x="27814" y="17513"/>
                        <a:pt x="23330" y="24613"/>
                        <a:pt x="16106" y="26233"/>
                      </a:cubicBezTo>
                      <a:cubicBezTo>
                        <a:pt x="9006" y="27852"/>
                        <a:pt x="1906" y="23243"/>
                        <a:pt x="28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5" name="Freeform 7304">
                  <a:extLst>
                    <a:ext uri="{FF2B5EF4-FFF2-40B4-BE49-F238E27FC236}">
                      <a16:creationId xmlns:a16="http://schemas.microsoft.com/office/drawing/2014/main" id="{E81532CA-AA19-16E5-619B-8CA9A649F422}"/>
                    </a:ext>
                  </a:extLst>
                </p:cNvPr>
                <p:cNvSpPr/>
                <p:nvPr/>
              </p:nvSpPr>
              <p:spPr>
                <a:xfrm>
                  <a:off x="8342911" y="1641993"/>
                  <a:ext cx="10806" cy="51068"/>
                </a:xfrm>
                <a:custGeom>
                  <a:avLst/>
                  <a:gdLst>
                    <a:gd name="connsiteX0" fmla="*/ 211 w 10806"/>
                    <a:gd name="connsiteY0" fmla="*/ 0 h 51068"/>
                    <a:gd name="connsiteX1" fmla="*/ 2204 w 10806"/>
                    <a:gd name="connsiteY1" fmla="*/ 18684 h 51068"/>
                    <a:gd name="connsiteX2" fmla="*/ 9179 w 10806"/>
                    <a:gd name="connsiteY2" fmla="*/ 34627 h 51068"/>
                    <a:gd name="connsiteX3" fmla="*/ 10550 w 108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0"/>
                      </a:moveTo>
                      <a:cubicBezTo>
                        <a:pt x="-536" y="8345"/>
                        <a:pt x="834" y="14573"/>
                        <a:pt x="2204" y="18684"/>
                      </a:cubicBezTo>
                      <a:cubicBezTo>
                        <a:pt x="4446" y="25285"/>
                        <a:pt x="7187" y="27901"/>
                        <a:pt x="9179" y="34627"/>
                      </a:cubicBezTo>
                      <a:cubicBezTo>
                        <a:pt x="11172"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6" name="Freeform 7305">
                  <a:extLst>
                    <a:ext uri="{FF2B5EF4-FFF2-40B4-BE49-F238E27FC236}">
                      <a16:creationId xmlns:a16="http://schemas.microsoft.com/office/drawing/2014/main" id="{33D1FED8-E235-B888-DDA8-BA525F9F792F}"/>
                    </a:ext>
                  </a:extLst>
                </p:cNvPr>
                <p:cNvSpPr/>
                <p:nvPr/>
              </p:nvSpPr>
              <p:spPr>
                <a:xfrm>
                  <a:off x="8348852" y="1635641"/>
                  <a:ext cx="11707" cy="50819"/>
                </a:xfrm>
                <a:custGeom>
                  <a:avLst/>
                  <a:gdLst>
                    <a:gd name="connsiteX0" fmla="*/ 11708 w 11707"/>
                    <a:gd name="connsiteY0" fmla="*/ 50820 h 50819"/>
                    <a:gd name="connsiteX1" fmla="*/ 5854 w 11707"/>
                    <a:gd name="connsiteY1" fmla="*/ 33008 h 50819"/>
                    <a:gd name="connsiteX2" fmla="*/ 5604 w 11707"/>
                    <a:gd name="connsiteY2" fmla="*/ 15570 h 50819"/>
                    <a:gd name="connsiteX3" fmla="*/ 0 w 11707"/>
                    <a:gd name="connsiteY3" fmla="*/ 0 h 50819"/>
                  </a:gdLst>
                  <a:ahLst/>
                  <a:cxnLst>
                    <a:cxn ang="0">
                      <a:pos x="connsiteX0" y="connsiteY0"/>
                    </a:cxn>
                    <a:cxn ang="0">
                      <a:pos x="connsiteX1" y="connsiteY1"/>
                    </a:cxn>
                    <a:cxn ang="0">
                      <a:pos x="connsiteX2" y="connsiteY2"/>
                    </a:cxn>
                    <a:cxn ang="0">
                      <a:pos x="connsiteX3" y="connsiteY3"/>
                    </a:cxn>
                  </a:cxnLst>
                  <a:rect l="l" t="t" r="r" b="b"/>
                  <a:pathLst>
                    <a:path w="11707" h="50818">
                      <a:moveTo>
                        <a:pt x="11708" y="50820"/>
                      </a:moveTo>
                      <a:cubicBezTo>
                        <a:pt x="7598" y="43471"/>
                        <a:pt x="6228" y="37243"/>
                        <a:pt x="5854" y="33008"/>
                      </a:cubicBezTo>
                      <a:cubicBezTo>
                        <a:pt x="5107"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7" name="Freeform 7306">
                  <a:extLst>
                    <a:ext uri="{FF2B5EF4-FFF2-40B4-BE49-F238E27FC236}">
                      <a16:creationId xmlns:a16="http://schemas.microsoft.com/office/drawing/2014/main" id="{CAEAF70F-B4B5-A9AD-C811-1B1F337E24AC}"/>
                    </a:ext>
                  </a:extLst>
                </p:cNvPr>
                <p:cNvSpPr/>
                <p:nvPr/>
              </p:nvSpPr>
              <p:spPr>
                <a:xfrm>
                  <a:off x="8331874" y="1621117"/>
                  <a:ext cx="26395" cy="26395"/>
                </a:xfrm>
                <a:custGeom>
                  <a:avLst/>
                  <a:gdLst>
                    <a:gd name="connsiteX0" fmla="*/ 26071 w 26395"/>
                    <a:gd name="connsiteY0" fmla="*/ 10414 h 26395"/>
                    <a:gd name="connsiteX1" fmla="*/ 15982 w 26395"/>
                    <a:gd name="connsiteY1" fmla="*/ 26108 h 26395"/>
                    <a:gd name="connsiteX2" fmla="*/ 287 w 26395"/>
                    <a:gd name="connsiteY2" fmla="*/ 16019 h 26395"/>
                    <a:gd name="connsiteX3" fmla="*/ 10376 w 26395"/>
                    <a:gd name="connsiteY3" fmla="*/ 324 h 26395"/>
                    <a:gd name="connsiteX4" fmla="*/ 26071 w 26395"/>
                    <a:gd name="connsiteY4" fmla="*/ 10414 h 26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395">
                      <a:moveTo>
                        <a:pt x="26071" y="10414"/>
                      </a:moveTo>
                      <a:cubicBezTo>
                        <a:pt x="27690" y="17513"/>
                        <a:pt x="23081" y="24613"/>
                        <a:pt x="15982" y="26108"/>
                      </a:cubicBezTo>
                      <a:cubicBezTo>
                        <a:pt x="8882" y="27603"/>
                        <a:pt x="1782" y="23119"/>
                        <a:pt x="287" y="16019"/>
                      </a:cubicBezTo>
                      <a:cubicBezTo>
                        <a:pt x="-1207" y="8919"/>
                        <a:pt x="3276" y="1819"/>
                        <a:pt x="10376" y="324"/>
                      </a:cubicBezTo>
                      <a:cubicBezTo>
                        <a:pt x="17476" y="-1295"/>
                        <a:pt x="24576" y="3314"/>
                        <a:pt x="2607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1" name="Graphic 2987">
                <a:extLst>
                  <a:ext uri="{FF2B5EF4-FFF2-40B4-BE49-F238E27FC236}">
                    <a16:creationId xmlns:a16="http://schemas.microsoft.com/office/drawing/2014/main" id="{8A68FDB4-772E-613B-2CD0-12FD423E23D7}"/>
                  </a:ext>
                </a:extLst>
              </p:cNvPr>
              <p:cNvGrpSpPr/>
              <p:nvPr/>
            </p:nvGrpSpPr>
            <p:grpSpPr>
              <a:xfrm>
                <a:off x="8303101" y="1627263"/>
                <a:ext cx="52135" cy="146338"/>
                <a:chOff x="8303101" y="1627263"/>
                <a:chExt cx="52135" cy="146338"/>
              </a:xfrm>
              <a:grpFill/>
            </p:grpSpPr>
            <p:sp>
              <p:nvSpPr>
                <p:cNvPr id="6786" name="Freeform 7308">
                  <a:extLst>
                    <a:ext uri="{FF2B5EF4-FFF2-40B4-BE49-F238E27FC236}">
                      <a16:creationId xmlns:a16="http://schemas.microsoft.com/office/drawing/2014/main" id="{6A4803D2-9B97-1B97-A896-A887AC8E5F05}"/>
                    </a:ext>
                  </a:extLst>
                </p:cNvPr>
                <p:cNvSpPr/>
                <p:nvPr/>
              </p:nvSpPr>
              <p:spPr>
                <a:xfrm>
                  <a:off x="8333429" y="1701532"/>
                  <a:ext cx="10775" cy="51068"/>
                </a:xfrm>
                <a:custGeom>
                  <a:avLst/>
                  <a:gdLst>
                    <a:gd name="connsiteX0" fmla="*/ 10564 w 10775"/>
                    <a:gd name="connsiteY0" fmla="*/ 51069 h 51068"/>
                    <a:gd name="connsiteX1" fmla="*/ 8571 w 10775"/>
                    <a:gd name="connsiteY1" fmla="*/ 32385 h 51068"/>
                    <a:gd name="connsiteX2" fmla="*/ 1596 w 10775"/>
                    <a:gd name="connsiteY2" fmla="*/ 16442 h 51068"/>
                    <a:gd name="connsiteX3" fmla="*/ 226 w 10775"/>
                    <a:gd name="connsiteY3" fmla="*/ 0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51069"/>
                      </a:moveTo>
                      <a:cubicBezTo>
                        <a:pt x="11312" y="42723"/>
                        <a:pt x="9942" y="36495"/>
                        <a:pt x="8571" y="32385"/>
                      </a:cubicBezTo>
                      <a:cubicBezTo>
                        <a:pt x="6329" y="25783"/>
                        <a:pt x="3589" y="23168"/>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7" name="Freeform 7309">
                  <a:extLst>
                    <a:ext uri="{FF2B5EF4-FFF2-40B4-BE49-F238E27FC236}">
                      <a16:creationId xmlns:a16="http://schemas.microsoft.com/office/drawing/2014/main" id="{A9EE5E08-5F38-6B02-9DB8-4D83DFF6B61B}"/>
                    </a:ext>
                  </a:extLst>
                </p:cNvPr>
                <p:cNvSpPr/>
                <p:nvPr/>
              </p:nvSpPr>
              <p:spPr>
                <a:xfrm>
                  <a:off x="8326556" y="1708133"/>
                  <a:ext cx="11583" cy="50819"/>
                </a:xfrm>
                <a:custGeom>
                  <a:avLst/>
                  <a:gdLst>
                    <a:gd name="connsiteX0" fmla="*/ 0 w 11583"/>
                    <a:gd name="connsiteY0" fmla="*/ 0 h 50819"/>
                    <a:gd name="connsiteX1" fmla="*/ 5855 w 11583"/>
                    <a:gd name="connsiteY1" fmla="*/ 17812 h 50819"/>
                    <a:gd name="connsiteX2" fmla="*/ 6103 w 11583"/>
                    <a:gd name="connsiteY2" fmla="*/ 35250 h 50819"/>
                    <a:gd name="connsiteX3" fmla="*/ 11584 w 11583"/>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583" h="50818">
                      <a:moveTo>
                        <a:pt x="0" y="0"/>
                      </a:moveTo>
                      <a:cubicBezTo>
                        <a:pt x="4111" y="7349"/>
                        <a:pt x="5356" y="13577"/>
                        <a:pt x="5855" y="17812"/>
                      </a:cubicBezTo>
                      <a:cubicBezTo>
                        <a:pt x="6602" y="24787"/>
                        <a:pt x="5107" y="28275"/>
                        <a:pt x="6103" y="35250"/>
                      </a:cubicBezTo>
                      <a:cubicBezTo>
                        <a:pt x="7100" y="42101"/>
                        <a:pt x="9591" y="47456"/>
                        <a:pt x="11584"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8" name="Freeform 7310">
                  <a:extLst>
                    <a:ext uri="{FF2B5EF4-FFF2-40B4-BE49-F238E27FC236}">
                      <a16:creationId xmlns:a16="http://schemas.microsoft.com/office/drawing/2014/main" id="{64965946-B45F-9BDA-B0F8-FB55467439B6}"/>
                    </a:ext>
                  </a:extLst>
                </p:cNvPr>
                <p:cNvSpPr/>
                <p:nvPr/>
              </p:nvSpPr>
              <p:spPr>
                <a:xfrm>
                  <a:off x="8328516" y="1747045"/>
                  <a:ext cx="26720" cy="26556"/>
                </a:xfrm>
                <a:custGeom>
                  <a:avLst/>
                  <a:gdLst>
                    <a:gd name="connsiteX0" fmla="*/ 281 w 26720"/>
                    <a:gd name="connsiteY0" fmla="*/ 16143 h 26556"/>
                    <a:gd name="connsiteX1" fmla="*/ 10620 w 26720"/>
                    <a:gd name="connsiteY1" fmla="*/ 324 h 26556"/>
                    <a:gd name="connsiteX2" fmla="*/ 26439 w 26720"/>
                    <a:gd name="connsiteY2" fmla="*/ 10414 h 26556"/>
                    <a:gd name="connsiteX3" fmla="*/ 16100 w 26720"/>
                    <a:gd name="connsiteY3" fmla="*/ 26232 h 26556"/>
                    <a:gd name="connsiteX4" fmla="*/ 281 w 2672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56">
                      <a:moveTo>
                        <a:pt x="281" y="16143"/>
                      </a:moveTo>
                      <a:cubicBezTo>
                        <a:pt x="-1213" y="9043"/>
                        <a:pt x="3395" y="1944"/>
                        <a:pt x="10620" y="324"/>
                      </a:cubicBezTo>
                      <a:cubicBezTo>
                        <a:pt x="17844" y="-1295"/>
                        <a:pt x="24944" y="3314"/>
                        <a:pt x="26439" y="10414"/>
                      </a:cubicBezTo>
                      <a:cubicBezTo>
                        <a:pt x="27933" y="17513"/>
                        <a:pt x="23325"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9" name="Freeform 7311">
                  <a:extLst>
                    <a:ext uri="{FF2B5EF4-FFF2-40B4-BE49-F238E27FC236}">
                      <a16:creationId xmlns:a16="http://schemas.microsoft.com/office/drawing/2014/main" id="{08F8C233-5DD3-0BC5-DA52-34C2ACA5B67A}"/>
                    </a:ext>
                  </a:extLst>
                </p:cNvPr>
                <p:cNvSpPr/>
                <p:nvPr/>
              </p:nvSpPr>
              <p:spPr>
                <a:xfrm>
                  <a:off x="8314013" y="1648346"/>
                  <a:ext cx="10617" cy="51068"/>
                </a:xfrm>
                <a:custGeom>
                  <a:avLst/>
                  <a:gdLst>
                    <a:gd name="connsiteX0" fmla="*/ 211 w 10617"/>
                    <a:gd name="connsiteY0" fmla="*/ 0 h 51068"/>
                    <a:gd name="connsiteX1" fmla="*/ 2204 w 10617"/>
                    <a:gd name="connsiteY1" fmla="*/ 18684 h 51068"/>
                    <a:gd name="connsiteX2" fmla="*/ 9055 w 10617"/>
                    <a:gd name="connsiteY2" fmla="*/ 34627 h 51068"/>
                    <a:gd name="connsiteX3" fmla="*/ 10300 w 1061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0"/>
                      </a:moveTo>
                      <a:cubicBezTo>
                        <a:pt x="-536" y="8345"/>
                        <a:pt x="834" y="14573"/>
                        <a:pt x="2204" y="18684"/>
                      </a:cubicBezTo>
                      <a:cubicBezTo>
                        <a:pt x="4447" y="25285"/>
                        <a:pt x="7187" y="27901"/>
                        <a:pt x="9055" y="34627"/>
                      </a:cubicBezTo>
                      <a:cubicBezTo>
                        <a:pt x="10923" y="41229"/>
                        <a:pt x="10798" y="47207"/>
                        <a:pt x="1030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0" name="Freeform 7312">
                  <a:extLst>
                    <a:ext uri="{FF2B5EF4-FFF2-40B4-BE49-F238E27FC236}">
                      <a16:creationId xmlns:a16="http://schemas.microsoft.com/office/drawing/2014/main" id="{0216C699-3A8B-345B-3EC3-70063DA5113E}"/>
                    </a:ext>
                  </a:extLst>
                </p:cNvPr>
                <p:cNvSpPr/>
                <p:nvPr/>
              </p:nvSpPr>
              <p:spPr>
                <a:xfrm>
                  <a:off x="8320078" y="1641869"/>
                  <a:ext cx="11584" cy="50819"/>
                </a:xfrm>
                <a:custGeom>
                  <a:avLst/>
                  <a:gdLst>
                    <a:gd name="connsiteX0" fmla="*/ 11585 w 11584"/>
                    <a:gd name="connsiteY0" fmla="*/ 50820 h 50819"/>
                    <a:gd name="connsiteX1" fmla="*/ 5730 w 11584"/>
                    <a:gd name="connsiteY1" fmla="*/ 33008 h 50819"/>
                    <a:gd name="connsiteX2" fmla="*/ 5481 w 11584"/>
                    <a:gd name="connsiteY2" fmla="*/ 15570 h 50819"/>
                    <a:gd name="connsiteX3" fmla="*/ 0 w 11584"/>
                    <a:gd name="connsiteY3" fmla="*/ 0 h 50819"/>
                  </a:gdLst>
                  <a:ahLst/>
                  <a:cxnLst>
                    <a:cxn ang="0">
                      <a:pos x="connsiteX0" y="connsiteY0"/>
                    </a:cxn>
                    <a:cxn ang="0">
                      <a:pos x="connsiteX1" y="connsiteY1"/>
                    </a:cxn>
                    <a:cxn ang="0">
                      <a:pos x="connsiteX2" y="connsiteY2"/>
                    </a:cxn>
                    <a:cxn ang="0">
                      <a:pos x="connsiteX3" y="connsiteY3"/>
                    </a:cxn>
                  </a:cxnLst>
                  <a:rect l="l" t="t" r="r" b="b"/>
                  <a:pathLst>
                    <a:path w="11584" h="50818">
                      <a:moveTo>
                        <a:pt x="11585" y="50820"/>
                      </a:moveTo>
                      <a:cubicBezTo>
                        <a:pt x="7474" y="43471"/>
                        <a:pt x="6228" y="37243"/>
                        <a:pt x="5730" y="33008"/>
                      </a:cubicBezTo>
                      <a:cubicBezTo>
                        <a:pt x="4983" y="26033"/>
                        <a:pt x="6477" y="22669"/>
                        <a:pt x="5481" y="15570"/>
                      </a:cubicBezTo>
                      <a:cubicBezTo>
                        <a:pt x="4485"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1" name="Freeform 7313">
                  <a:extLst>
                    <a:ext uri="{FF2B5EF4-FFF2-40B4-BE49-F238E27FC236}">
                      <a16:creationId xmlns:a16="http://schemas.microsoft.com/office/drawing/2014/main" id="{213A2330-B436-CEEE-1D74-30E0CA2723E3}"/>
                    </a:ext>
                  </a:extLst>
                </p:cNvPr>
                <p:cNvSpPr/>
                <p:nvPr/>
              </p:nvSpPr>
              <p:spPr>
                <a:xfrm>
                  <a:off x="8303101" y="1627263"/>
                  <a:ext cx="26357" cy="26601"/>
                </a:xfrm>
                <a:custGeom>
                  <a:avLst/>
                  <a:gdLst>
                    <a:gd name="connsiteX0" fmla="*/ 26071 w 26357"/>
                    <a:gd name="connsiteY0" fmla="*/ 10495 h 26601"/>
                    <a:gd name="connsiteX1" fmla="*/ 15982 w 26357"/>
                    <a:gd name="connsiteY1" fmla="*/ 26314 h 26601"/>
                    <a:gd name="connsiteX2" fmla="*/ 287 w 26357"/>
                    <a:gd name="connsiteY2" fmla="*/ 16100 h 26601"/>
                    <a:gd name="connsiteX3" fmla="*/ 10376 w 26357"/>
                    <a:gd name="connsiteY3" fmla="*/ 282 h 26601"/>
                    <a:gd name="connsiteX4" fmla="*/ 26071 w 26357"/>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601">
                      <a:moveTo>
                        <a:pt x="26071" y="10495"/>
                      </a:moveTo>
                      <a:cubicBezTo>
                        <a:pt x="27565" y="17595"/>
                        <a:pt x="23081" y="24695"/>
                        <a:pt x="15982" y="26314"/>
                      </a:cubicBezTo>
                      <a:cubicBezTo>
                        <a:pt x="8882" y="27809"/>
                        <a:pt x="1906" y="23325"/>
                        <a:pt x="287" y="16100"/>
                      </a:cubicBezTo>
                      <a:cubicBezTo>
                        <a:pt x="-1207" y="9001"/>
                        <a:pt x="3276" y="1901"/>
                        <a:pt x="10376" y="282"/>
                      </a:cubicBezTo>
                      <a:cubicBezTo>
                        <a:pt x="17601" y="-1213"/>
                        <a:pt x="24576" y="3395"/>
                        <a:pt x="2607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2" name="Graphic 2987">
                <a:extLst>
                  <a:ext uri="{FF2B5EF4-FFF2-40B4-BE49-F238E27FC236}">
                    <a16:creationId xmlns:a16="http://schemas.microsoft.com/office/drawing/2014/main" id="{2E66452B-DB8F-B39E-34B0-296E24743A4C}"/>
                  </a:ext>
                </a:extLst>
              </p:cNvPr>
              <p:cNvGrpSpPr/>
              <p:nvPr/>
            </p:nvGrpSpPr>
            <p:grpSpPr>
              <a:xfrm>
                <a:off x="8274334" y="1633610"/>
                <a:ext cx="51755" cy="146343"/>
                <a:chOff x="8274334" y="1633610"/>
                <a:chExt cx="51755" cy="146343"/>
              </a:xfrm>
              <a:grpFill/>
            </p:grpSpPr>
            <p:sp>
              <p:nvSpPr>
                <p:cNvPr id="6780" name="Freeform 7315">
                  <a:extLst>
                    <a:ext uri="{FF2B5EF4-FFF2-40B4-BE49-F238E27FC236}">
                      <a16:creationId xmlns:a16="http://schemas.microsoft.com/office/drawing/2014/main" id="{B47852E1-3263-C05E-3854-A89CF0B291E7}"/>
                    </a:ext>
                  </a:extLst>
                </p:cNvPr>
                <p:cNvSpPr/>
                <p:nvPr/>
              </p:nvSpPr>
              <p:spPr>
                <a:xfrm>
                  <a:off x="8304565" y="1707884"/>
                  <a:ext cx="10506" cy="51068"/>
                </a:xfrm>
                <a:custGeom>
                  <a:avLst/>
                  <a:gdLst>
                    <a:gd name="connsiteX0" fmla="*/ 10282 w 10506"/>
                    <a:gd name="connsiteY0" fmla="*/ 51069 h 51068"/>
                    <a:gd name="connsiteX1" fmla="*/ 8414 w 10506"/>
                    <a:gd name="connsiteY1" fmla="*/ 32385 h 51068"/>
                    <a:gd name="connsiteX2" fmla="*/ 1563 w 10506"/>
                    <a:gd name="connsiteY2" fmla="*/ 16442 h 51068"/>
                    <a:gd name="connsiteX3" fmla="*/ 317 w 10506"/>
                    <a:gd name="connsiteY3" fmla="*/ 0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51069"/>
                      </a:moveTo>
                      <a:cubicBezTo>
                        <a:pt x="11029" y="42723"/>
                        <a:pt x="9784" y="36495"/>
                        <a:pt x="8414" y="32385"/>
                      </a:cubicBezTo>
                      <a:cubicBezTo>
                        <a:pt x="6171" y="25783"/>
                        <a:pt x="3556" y="23168"/>
                        <a:pt x="1563" y="16442"/>
                      </a:cubicBezTo>
                      <a:cubicBezTo>
                        <a:pt x="-305" y="9840"/>
                        <a:pt x="-181" y="3861"/>
                        <a:pt x="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1" name="Freeform 7316">
                  <a:extLst>
                    <a:ext uri="{FF2B5EF4-FFF2-40B4-BE49-F238E27FC236}">
                      <a16:creationId xmlns:a16="http://schemas.microsoft.com/office/drawing/2014/main" id="{23A14CEF-6F50-A4AC-7ACA-E7A6C90278E7}"/>
                    </a:ext>
                  </a:extLst>
                </p:cNvPr>
                <p:cNvSpPr/>
                <p:nvPr/>
              </p:nvSpPr>
              <p:spPr>
                <a:xfrm>
                  <a:off x="8297533" y="1714486"/>
                  <a:ext cx="11335" cy="50944"/>
                </a:xfrm>
                <a:custGeom>
                  <a:avLst/>
                  <a:gdLst>
                    <a:gd name="connsiteX0" fmla="*/ 0 w 11335"/>
                    <a:gd name="connsiteY0" fmla="*/ 0 h 50944"/>
                    <a:gd name="connsiteX1" fmla="*/ 5730 w 11335"/>
                    <a:gd name="connsiteY1" fmla="*/ 17936 h 50944"/>
                    <a:gd name="connsiteX2" fmla="*/ 5855 w 11335"/>
                    <a:gd name="connsiteY2" fmla="*/ 35374 h 50944"/>
                    <a:gd name="connsiteX3" fmla="*/ 11335 w 1133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5" h="50944">
                      <a:moveTo>
                        <a:pt x="0" y="0"/>
                      </a:moveTo>
                      <a:cubicBezTo>
                        <a:pt x="4111" y="7349"/>
                        <a:pt x="5357" y="13577"/>
                        <a:pt x="5730" y="17936"/>
                      </a:cubicBezTo>
                      <a:cubicBezTo>
                        <a:pt x="6353" y="24912"/>
                        <a:pt x="4983" y="28399"/>
                        <a:pt x="5855" y="35374"/>
                      </a:cubicBezTo>
                      <a:cubicBezTo>
                        <a:pt x="6727"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2" name="Freeform 7317">
                  <a:extLst>
                    <a:ext uri="{FF2B5EF4-FFF2-40B4-BE49-F238E27FC236}">
                      <a16:creationId xmlns:a16="http://schemas.microsoft.com/office/drawing/2014/main" id="{0A4986DC-DDC3-0FC1-3A43-57380FF176F7}"/>
                    </a:ext>
                  </a:extLst>
                </p:cNvPr>
                <p:cNvSpPr/>
                <p:nvPr/>
              </p:nvSpPr>
              <p:spPr>
                <a:xfrm>
                  <a:off x="8299370" y="1753397"/>
                  <a:ext cx="26719" cy="26556"/>
                </a:xfrm>
                <a:custGeom>
                  <a:avLst/>
                  <a:gdLst>
                    <a:gd name="connsiteX0" fmla="*/ 281 w 26719"/>
                    <a:gd name="connsiteY0" fmla="*/ 16143 h 26556"/>
                    <a:gd name="connsiteX1" fmla="*/ 10619 w 26719"/>
                    <a:gd name="connsiteY1" fmla="*/ 324 h 26556"/>
                    <a:gd name="connsiteX2" fmla="*/ 26438 w 26719"/>
                    <a:gd name="connsiteY2" fmla="*/ 10414 h 26556"/>
                    <a:gd name="connsiteX3" fmla="*/ 16100 w 26719"/>
                    <a:gd name="connsiteY3" fmla="*/ 26232 h 26556"/>
                    <a:gd name="connsiteX4" fmla="*/ 281 w 26719"/>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56">
                      <a:moveTo>
                        <a:pt x="281" y="16143"/>
                      </a:moveTo>
                      <a:cubicBezTo>
                        <a:pt x="-1213" y="8919"/>
                        <a:pt x="3395" y="1944"/>
                        <a:pt x="10619" y="324"/>
                      </a:cubicBezTo>
                      <a:cubicBezTo>
                        <a:pt x="17844" y="-1295"/>
                        <a:pt x="24943" y="3314"/>
                        <a:pt x="26438" y="10414"/>
                      </a:cubicBezTo>
                      <a:cubicBezTo>
                        <a:pt x="27933" y="17513"/>
                        <a:pt x="23324"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3" name="Freeform 7318">
                  <a:extLst>
                    <a:ext uri="{FF2B5EF4-FFF2-40B4-BE49-F238E27FC236}">
                      <a16:creationId xmlns:a16="http://schemas.microsoft.com/office/drawing/2014/main" id="{5C1F0381-0F26-0B9F-A2B3-612C2B7AFE32}"/>
                    </a:ext>
                  </a:extLst>
                </p:cNvPr>
                <p:cNvSpPr/>
                <p:nvPr/>
              </p:nvSpPr>
              <p:spPr>
                <a:xfrm>
                  <a:off x="8285227" y="1654574"/>
                  <a:ext cx="10506" cy="51068"/>
                </a:xfrm>
                <a:custGeom>
                  <a:avLst/>
                  <a:gdLst>
                    <a:gd name="connsiteX0" fmla="*/ 225 w 10506"/>
                    <a:gd name="connsiteY0" fmla="*/ 0 h 51068"/>
                    <a:gd name="connsiteX1" fmla="*/ 2093 w 10506"/>
                    <a:gd name="connsiteY1" fmla="*/ 18684 h 51068"/>
                    <a:gd name="connsiteX2" fmla="*/ 8944 w 10506"/>
                    <a:gd name="connsiteY2" fmla="*/ 34627 h 51068"/>
                    <a:gd name="connsiteX3" fmla="*/ 10189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225" y="0"/>
                      </a:moveTo>
                      <a:cubicBezTo>
                        <a:pt x="-523" y="8345"/>
                        <a:pt x="722" y="14573"/>
                        <a:pt x="2093" y="18684"/>
                      </a:cubicBezTo>
                      <a:cubicBezTo>
                        <a:pt x="4335" y="25285"/>
                        <a:pt x="6950" y="27901"/>
                        <a:pt x="8944" y="34627"/>
                      </a:cubicBezTo>
                      <a:cubicBezTo>
                        <a:pt x="10812" y="41229"/>
                        <a:pt x="10688" y="47207"/>
                        <a:pt x="10189"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4" name="Freeform 7319">
                  <a:extLst>
                    <a:ext uri="{FF2B5EF4-FFF2-40B4-BE49-F238E27FC236}">
                      <a16:creationId xmlns:a16="http://schemas.microsoft.com/office/drawing/2014/main" id="{F7322BAA-786B-4654-9B17-A0B43339917C}"/>
                    </a:ext>
                  </a:extLst>
                </p:cNvPr>
                <p:cNvSpPr/>
                <p:nvPr/>
              </p:nvSpPr>
              <p:spPr>
                <a:xfrm>
                  <a:off x="8291182" y="1648097"/>
                  <a:ext cx="11459" cy="50944"/>
                </a:xfrm>
                <a:custGeom>
                  <a:avLst/>
                  <a:gdLst>
                    <a:gd name="connsiteX0" fmla="*/ 11459 w 11459"/>
                    <a:gd name="connsiteY0" fmla="*/ 50944 h 50944"/>
                    <a:gd name="connsiteX1" fmla="*/ 5729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8" y="43595"/>
                        <a:pt x="6103" y="37367"/>
                        <a:pt x="5729" y="33008"/>
                      </a:cubicBezTo>
                      <a:cubicBezTo>
                        <a:pt x="5107" y="26033"/>
                        <a:pt x="6476" y="22545"/>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5" name="Freeform 7320">
                  <a:extLst>
                    <a:ext uri="{FF2B5EF4-FFF2-40B4-BE49-F238E27FC236}">
                      <a16:creationId xmlns:a16="http://schemas.microsoft.com/office/drawing/2014/main" id="{276C2528-B365-BC2B-6663-9BB1A0059DBA}"/>
                    </a:ext>
                  </a:extLst>
                </p:cNvPr>
                <p:cNvSpPr/>
                <p:nvPr/>
              </p:nvSpPr>
              <p:spPr>
                <a:xfrm>
                  <a:off x="8274334" y="1633610"/>
                  <a:ext cx="26351" cy="26606"/>
                </a:xfrm>
                <a:custGeom>
                  <a:avLst/>
                  <a:gdLst>
                    <a:gd name="connsiteX0" fmla="*/ 26065 w 26351"/>
                    <a:gd name="connsiteY0" fmla="*/ 10501 h 26606"/>
                    <a:gd name="connsiteX1" fmla="*/ 15851 w 26351"/>
                    <a:gd name="connsiteY1" fmla="*/ 26319 h 26606"/>
                    <a:gd name="connsiteX2" fmla="*/ 282 w 26351"/>
                    <a:gd name="connsiteY2" fmla="*/ 16106 h 26606"/>
                    <a:gd name="connsiteX3" fmla="*/ 10495 w 26351"/>
                    <a:gd name="connsiteY3" fmla="*/ 287 h 26606"/>
                    <a:gd name="connsiteX4" fmla="*/ 26065 w 26351"/>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6">
                      <a:moveTo>
                        <a:pt x="26065" y="10501"/>
                      </a:moveTo>
                      <a:cubicBezTo>
                        <a:pt x="27560" y="17600"/>
                        <a:pt x="23076"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3" name="Graphic 2987">
                <a:extLst>
                  <a:ext uri="{FF2B5EF4-FFF2-40B4-BE49-F238E27FC236}">
                    <a16:creationId xmlns:a16="http://schemas.microsoft.com/office/drawing/2014/main" id="{4B6EE1EC-B4B6-A47E-58F1-42F62A8CDF65}"/>
                  </a:ext>
                </a:extLst>
              </p:cNvPr>
              <p:cNvGrpSpPr/>
              <p:nvPr/>
            </p:nvGrpSpPr>
            <p:grpSpPr>
              <a:xfrm>
                <a:off x="8245561" y="1639838"/>
                <a:ext cx="51257" cy="146468"/>
                <a:chOff x="8245561" y="1639838"/>
                <a:chExt cx="51257" cy="146468"/>
              </a:xfrm>
              <a:grpFill/>
            </p:grpSpPr>
            <p:sp>
              <p:nvSpPr>
                <p:cNvPr id="6774" name="Freeform 7322">
                  <a:extLst>
                    <a:ext uri="{FF2B5EF4-FFF2-40B4-BE49-F238E27FC236}">
                      <a16:creationId xmlns:a16="http://schemas.microsoft.com/office/drawing/2014/main" id="{B3E8283F-1055-4D57-26DF-1157F8A83AC7}"/>
                    </a:ext>
                  </a:extLst>
                </p:cNvPr>
                <p:cNvSpPr/>
                <p:nvPr/>
              </p:nvSpPr>
              <p:spPr>
                <a:xfrm>
                  <a:off x="8275473" y="1714237"/>
                  <a:ext cx="10452" cy="51068"/>
                </a:xfrm>
                <a:custGeom>
                  <a:avLst/>
                  <a:gdLst>
                    <a:gd name="connsiteX0" fmla="*/ 10228 w 10452"/>
                    <a:gd name="connsiteY0" fmla="*/ 51069 h 51068"/>
                    <a:gd name="connsiteX1" fmla="*/ 8359 w 10452"/>
                    <a:gd name="connsiteY1" fmla="*/ 32385 h 51068"/>
                    <a:gd name="connsiteX2" fmla="*/ 1509 w 10452"/>
                    <a:gd name="connsiteY2" fmla="*/ 16442 h 51068"/>
                    <a:gd name="connsiteX3" fmla="*/ 263 w 10452"/>
                    <a:gd name="connsiteY3" fmla="*/ 0 h 51068"/>
                  </a:gdLst>
                  <a:ahLst/>
                  <a:cxnLst>
                    <a:cxn ang="0">
                      <a:pos x="connsiteX0" y="connsiteY0"/>
                    </a:cxn>
                    <a:cxn ang="0">
                      <a:pos x="connsiteX1" y="connsiteY1"/>
                    </a:cxn>
                    <a:cxn ang="0">
                      <a:pos x="connsiteX2" y="connsiteY2"/>
                    </a:cxn>
                    <a:cxn ang="0">
                      <a:pos x="connsiteX3" y="connsiteY3"/>
                    </a:cxn>
                  </a:cxnLst>
                  <a:rect l="l" t="t" r="r" b="b"/>
                  <a:pathLst>
                    <a:path w="10452" h="51068">
                      <a:moveTo>
                        <a:pt x="10228" y="51069"/>
                      </a:moveTo>
                      <a:cubicBezTo>
                        <a:pt x="10975" y="42723"/>
                        <a:pt x="9729" y="36495"/>
                        <a:pt x="8359" y="32385"/>
                      </a:cubicBezTo>
                      <a:cubicBezTo>
                        <a:pt x="6242" y="25783"/>
                        <a:pt x="3501" y="23168"/>
                        <a:pt x="1509" y="16442"/>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5" name="Freeform 7323">
                  <a:extLst>
                    <a:ext uri="{FF2B5EF4-FFF2-40B4-BE49-F238E27FC236}">
                      <a16:creationId xmlns:a16="http://schemas.microsoft.com/office/drawing/2014/main" id="{37416A71-17B6-19F7-1F3B-B20629A58E7C}"/>
                    </a:ext>
                  </a:extLst>
                </p:cNvPr>
                <p:cNvSpPr/>
                <p:nvPr/>
              </p:nvSpPr>
              <p:spPr>
                <a:xfrm>
                  <a:off x="8268512" y="1720838"/>
                  <a:ext cx="11334" cy="50944"/>
                </a:xfrm>
                <a:custGeom>
                  <a:avLst/>
                  <a:gdLst>
                    <a:gd name="connsiteX0" fmla="*/ 0 w 11334"/>
                    <a:gd name="connsiteY0" fmla="*/ 0 h 50944"/>
                    <a:gd name="connsiteX1" fmla="*/ 5729 w 11334"/>
                    <a:gd name="connsiteY1" fmla="*/ 17936 h 50944"/>
                    <a:gd name="connsiteX2" fmla="*/ 5854 w 11334"/>
                    <a:gd name="connsiteY2" fmla="*/ 35374 h 50944"/>
                    <a:gd name="connsiteX3" fmla="*/ 11334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29" y="17936"/>
                      </a:cubicBezTo>
                      <a:cubicBezTo>
                        <a:pt x="6353" y="24912"/>
                        <a:pt x="4857" y="28399"/>
                        <a:pt x="5854" y="35374"/>
                      </a:cubicBezTo>
                      <a:cubicBezTo>
                        <a:pt x="6726" y="42225"/>
                        <a:pt x="9342" y="47581"/>
                        <a:pt x="1133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6" name="Freeform 7324">
                  <a:extLst>
                    <a:ext uri="{FF2B5EF4-FFF2-40B4-BE49-F238E27FC236}">
                      <a16:creationId xmlns:a16="http://schemas.microsoft.com/office/drawing/2014/main" id="{3A294BE0-04C2-3BF2-08AE-8F9DBC492A2F}"/>
                    </a:ext>
                  </a:extLst>
                </p:cNvPr>
                <p:cNvSpPr/>
                <p:nvPr/>
              </p:nvSpPr>
              <p:spPr>
                <a:xfrm>
                  <a:off x="8270228" y="1759749"/>
                  <a:ext cx="26590" cy="26556"/>
                </a:xfrm>
                <a:custGeom>
                  <a:avLst/>
                  <a:gdLst>
                    <a:gd name="connsiteX0" fmla="*/ 276 w 26590"/>
                    <a:gd name="connsiteY0" fmla="*/ 16143 h 26556"/>
                    <a:gd name="connsiteX1" fmla="*/ 10615 w 26590"/>
                    <a:gd name="connsiteY1" fmla="*/ 324 h 26556"/>
                    <a:gd name="connsiteX2" fmla="*/ 26309 w 26590"/>
                    <a:gd name="connsiteY2" fmla="*/ 10414 h 26556"/>
                    <a:gd name="connsiteX3" fmla="*/ 15970 w 26590"/>
                    <a:gd name="connsiteY3" fmla="*/ 26232 h 26556"/>
                    <a:gd name="connsiteX4" fmla="*/ 276 w 2659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0" h="26556">
                      <a:moveTo>
                        <a:pt x="276" y="16143"/>
                      </a:moveTo>
                      <a:cubicBezTo>
                        <a:pt x="-1219" y="8919"/>
                        <a:pt x="3515" y="1944"/>
                        <a:pt x="10615" y="324"/>
                      </a:cubicBezTo>
                      <a:cubicBezTo>
                        <a:pt x="17839" y="-1295"/>
                        <a:pt x="24814" y="3314"/>
                        <a:pt x="26309" y="10414"/>
                      </a:cubicBezTo>
                      <a:cubicBezTo>
                        <a:pt x="27804" y="17638"/>
                        <a:pt x="23195" y="24613"/>
                        <a:pt x="15970" y="26232"/>
                      </a:cubicBezTo>
                      <a:cubicBezTo>
                        <a:pt x="8746" y="27852"/>
                        <a:pt x="1646" y="23243"/>
                        <a:pt x="276"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7" name="Freeform 7325">
                  <a:extLst>
                    <a:ext uri="{FF2B5EF4-FFF2-40B4-BE49-F238E27FC236}">
                      <a16:creationId xmlns:a16="http://schemas.microsoft.com/office/drawing/2014/main" id="{A2E9C742-4C7E-A973-D954-D7C89B07F615}"/>
                    </a:ext>
                  </a:extLst>
                </p:cNvPr>
                <p:cNvSpPr/>
                <p:nvPr/>
              </p:nvSpPr>
              <p:spPr>
                <a:xfrm>
                  <a:off x="8256454" y="1660802"/>
                  <a:ext cx="10327" cy="51068"/>
                </a:xfrm>
                <a:custGeom>
                  <a:avLst/>
                  <a:gdLst>
                    <a:gd name="connsiteX0" fmla="*/ 225 w 10327"/>
                    <a:gd name="connsiteY0" fmla="*/ 0 h 51068"/>
                    <a:gd name="connsiteX1" fmla="*/ 2093 w 10327"/>
                    <a:gd name="connsiteY1" fmla="*/ 18684 h 51068"/>
                    <a:gd name="connsiteX2" fmla="*/ 8819 w 10327"/>
                    <a:gd name="connsiteY2" fmla="*/ 34627 h 51068"/>
                    <a:gd name="connsiteX3" fmla="*/ 10064 w 1032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327" h="51068">
                      <a:moveTo>
                        <a:pt x="225" y="0"/>
                      </a:moveTo>
                      <a:cubicBezTo>
                        <a:pt x="-523" y="8345"/>
                        <a:pt x="722" y="14573"/>
                        <a:pt x="2093" y="18684"/>
                      </a:cubicBezTo>
                      <a:cubicBezTo>
                        <a:pt x="4210" y="25285"/>
                        <a:pt x="6950" y="27901"/>
                        <a:pt x="8819" y="34627"/>
                      </a:cubicBezTo>
                      <a:cubicBezTo>
                        <a:pt x="10687" y="41229"/>
                        <a:pt x="10438" y="47207"/>
                        <a:pt x="10064"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8" name="Freeform 7326">
                  <a:extLst>
                    <a:ext uri="{FF2B5EF4-FFF2-40B4-BE49-F238E27FC236}">
                      <a16:creationId xmlns:a16="http://schemas.microsoft.com/office/drawing/2014/main" id="{E2E6B151-1BC1-A151-B8CC-48469337D725}"/>
                    </a:ext>
                  </a:extLst>
                </p:cNvPr>
                <p:cNvSpPr/>
                <p:nvPr/>
              </p:nvSpPr>
              <p:spPr>
                <a:xfrm>
                  <a:off x="8262533" y="1654449"/>
                  <a:ext cx="11210" cy="50944"/>
                </a:xfrm>
                <a:custGeom>
                  <a:avLst/>
                  <a:gdLst>
                    <a:gd name="connsiteX0" fmla="*/ 11210 w 11210"/>
                    <a:gd name="connsiteY0" fmla="*/ 50944 h 50944"/>
                    <a:gd name="connsiteX1" fmla="*/ 5481 w 11210"/>
                    <a:gd name="connsiteY1" fmla="*/ 33008 h 50944"/>
                    <a:gd name="connsiteX2" fmla="*/ 5357 w 11210"/>
                    <a:gd name="connsiteY2" fmla="*/ 15570 h 50944"/>
                    <a:gd name="connsiteX3" fmla="*/ 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50944"/>
                      </a:moveTo>
                      <a:cubicBezTo>
                        <a:pt x="7100" y="43595"/>
                        <a:pt x="5855" y="37367"/>
                        <a:pt x="5481" y="33008"/>
                      </a:cubicBezTo>
                      <a:cubicBezTo>
                        <a:pt x="4858" y="26033"/>
                        <a:pt x="6353" y="22545"/>
                        <a:pt x="5357" y="15570"/>
                      </a:cubicBezTo>
                      <a:cubicBezTo>
                        <a:pt x="4485" y="8719"/>
                        <a:pt x="1869"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9" name="Freeform 7327">
                  <a:extLst>
                    <a:ext uri="{FF2B5EF4-FFF2-40B4-BE49-F238E27FC236}">
                      <a16:creationId xmlns:a16="http://schemas.microsoft.com/office/drawing/2014/main" id="{9323F6DF-877D-24D8-CA15-B87700F91D42}"/>
                    </a:ext>
                  </a:extLst>
                </p:cNvPr>
                <p:cNvSpPr/>
                <p:nvPr/>
              </p:nvSpPr>
              <p:spPr>
                <a:xfrm>
                  <a:off x="8245561" y="1639838"/>
                  <a:ext cx="26346" cy="26606"/>
                </a:xfrm>
                <a:custGeom>
                  <a:avLst/>
                  <a:gdLst>
                    <a:gd name="connsiteX0" fmla="*/ 26065 w 26346"/>
                    <a:gd name="connsiteY0" fmla="*/ 10501 h 26606"/>
                    <a:gd name="connsiteX1" fmla="*/ 15851 w 26346"/>
                    <a:gd name="connsiteY1" fmla="*/ 26319 h 26606"/>
                    <a:gd name="connsiteX2" fmla="*/ 282 w 26346"/>
                    <a:gd name="connsiteY2" fmla="*/ 16106 h 26606"/>
                    <a:gd name="connsiteX3" fmla="*/ 10495 w 26346"/>
                    <a:gd name="connsiteY3" fmla="*/ 287 h 26606"/>
                    <a:gd name="connsiteX4" fmla="*/ 26065 w 26346"/>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0501"/>
                      </a:moveTo>
                      <a:cubicBezTo>
                        <a:pt x="27560" y="17725"/>
                        <a:pt x="22951"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4" name="Graphic 2987">
                <a:extLst>
                  <a:ext uri="{FF2B5EF4-FFF2-40B4-BE49-F238E27FC236}">
                    <a16:creationId xmlns:a16="http://schemas.microsoft.com/office/drawing/2014/main" id="{4D1C97A9-BA26-C253-0121-609332DE8288}"/>
                  </a:ext>
                </a:extLst>
              </p:cNvPr>
              <p:cNvGrpSpPr/>
              <p:nvPr/>
            </p:nvGrpSpPr>
            <p:grpSpPr>
              <a:xfrm>
                <a:off x="8216794" y="1646071"/>
                <a:ext cx="50872" cy="146499"/>
                <a:chOff x="8216794" y="1646071"/>
                <a:chExt cx="50872" cy="146499"/>
              </a:xfrm>
              <a:grpFill/>
            </p:grpSpPr>
            <p:sp>
              <p:nvSpPr>
                <p:cNvPr id="6768" name="Freeform 7329">
                  <a:extLst>
                    <a:ext uri="{FF2B5EF4-FFF2-40B4-BE49-F238E27FC236}">
                      <a16:creationId xmlns:a16="http://schemas.microsoft.com/office/drawing/2014/main" id="{8CED8549-B98E-2AAF-6AB7-BB26527461D5}"/>
                    </a:ext>
                  </a:extLst>
                </p:cNvPr>
                <p:cNvSpPr/>
                <p:nvPr/>
              </p:nvSpPr>
              <p:spPr>
                <a:xfrm>
                  <a:off x="8246604" y="1720340"/>
                  <a:ext cx="10224" cy="51317"/>
                </a:xfrm>
                <a:custGeom>
                  <a:avLst/>
                  <a:gdLst>
                    <a:gd name="connsiteX0" fmla="*/ 9950 w 10224"/>
                    <a:gd name="connsiteY0" fmla="*/ 51318 h 51317"/>
                    <a:gd name="connsiteX1" fmla="*/ 8206 w 10224"/>
                    <a:gd name="connsiteY1" fmla="*/ 32510 h 51317"/>
                    <a:gd name="connsiteX2" fmla="*/ 1480 w 10224"/>
                    <a:gd name="connsiteY2" fmla="*/ 16442 h 51317"/>
                    <a:gd name="connsiteX3" fmla="*/ 359 w 10224"/>
                    <a:gd name="connsiteY3" fmla="*/ 0 h 51317"/>
                  </a:gdLst>
                  <a:ahLst/>
                  <a:cxnLst>
                    <a:cxn ang="0">
                      <a:pos x="connsiteX0" y="connsiteY0"/>
                    </a:cxn>
                    <a:cxn ang="0">
                      <a:pos x="connsiteX1" y="connsiteY1"/>
                    </a:cxn>
                    <a:cxn ang="0">
                      <a:pos x="connsiteX2" y="connsiteY2"/>
                    </a:cxn>
                    <a:cxn ang="0">
                      <a:pos x="connsiteX3" y="connsiteY3"/>
                    </a:cxn>
                  </a:cxnLst>
                  <a:rect l="l" t="t" r="r" b="b"/>
                  <a:pathLst>
                    <a:path w="10224" h="51317">
                      <a:moveTo>
                        <a:pt x="9950" y="51318"/>
                      </a:moveTo>
                      <a:cubicBezTo>
                        <a:pt x="10822" y="42848"/>
                        <a:pt x="9452" y="36745"/>
                        <a:pt x="8206" y="32510"/>
                      </a:cubicBezTo>
                      <a:cubicBezTo>
                        <a:pt x="6089" y="25908"/>
                        <a:pt x="3349"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9" name="Freeform 7330">
                  <a:extLst>
                    <a:ext uri="{FF2B5EF4-FFF2-40B4-BE49-F238E27FC236}">
                      <a16:creationId xmlns:a16="http://schemas.microsoft.com/office/drawing/2014/main" id="{E3C5F699-0080-F774-2B49-687B0CE871B0}"/>
                    </a:ext>
                  </a:extLst>
                </p:cNvPr>
                <p:cNvSpPr/>
                <p:nvPr/>
              </p:nvSpPr>
              <p:spPr>
                <a:xfrm>
                  <a:off x="8239490" y="1727066"/>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1" y="13577"/>
                        <a:pt x="5605" y="17936"/>
                      </a:cubicBezTo>
                      <a:cubicBezTo>
                        <a:pt x="6228" y="24912"/>
                        <a:pt x="4733" y="28275"/>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0" name="Freeform 7331">
                  <a:extLst>
                    <a:ext uri="{FF2B5EF4-FFF2-40B4-BE49-F238E27FC236}">
                      <a16:creationId xmlns:a16="http://schemas.microsoft.com/office/drawing/2014/main" id="{AC6F282B-D9A9-C0E8-56C4-96B92A35D57B}"/>
                    </a:ext>
                  </a:extLst>
                </p:cNvPr>
                <p:cNvSpPr/>
                <p:nvPr/>
              </p:nvSpPr>
              <p:spPr>
                <a:xfrm>
                  <a:off x="8240958" y="1766102"/>
                  <a:ext cx="26708" cy="26468"/>
                </a:xfrm>
                <a:custGeom>
                  <a:avLst/>
                  <a:gdLst>
                    <a:gd name="connsiteX0" fmla="*/ 276 w 26708"/>
                    <a:gd name="connsiteY0" fmla="*/ 15770 h 26468"/>
                    <a:gd name="connsiteX1" fmla="*/ 10738 w 26708"/>
                    <a:gd name="connsiteY1" fmla="*/ 324 h 26468"/>
                    <a:gd name="connsiteX2" fmla="*/ 26433 w 26708"/>
                    <a:gd name="connsiteY2" fmla="*/ 10414 h 26468"/>
                    <a:gd name="connsiteX3" fmla="*/ 15970 w 26708"/>
                    <a:gd name="connsiteY3" fmla="*/ 26232 h 26468"/>
                    <a:gd name="connsiteX4" fmla="*/ 276 w 26708"/>
                    <a:gd name="connsiteY4" fmla="*/ 15770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8">
                      <a:moveTo>
                        <a:pt x="276" y="15770"/>
                      </a:moveTo>
                      <a:cubicBezTo>
                        <a:pt x="-1219" y="8545"/>
                        <a:pt x="3514" y="1695"/>
                        <a:pt x="10738" y="324"/>
                      </a:cubicBezTo>
                      <a:cubicBezTo>
                        <a:pt x="17963" y="-1295"/>
                        <a:pt x="24938" y="3314"/>
                        <a:pt x="26433" y="10414"/>
                      </a:cubicBezTo>
                      <a:cubicBezTo>
                        <a:pt x="27927" y="17638"/>
                        <a:pt x="23194" y="24613"/>
                        <a:pt x="15970" y="26232"/>
                      </a:cubicBezTo>
                      <a:cubicBezTo>
                        <a:pt x="8746" y="27603"/>
                        <a:pt x="1646" y="22869"/>
                        <a:pt x="276" y="15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1" name="Freeform 7332">
                  <a:extLst>
                    <a:ext uri="{FF2B5EF4-FFF2-40B4-BE49-F238E27FC236}">
                      <a16:creationId xmlns:a16="http://schemas.microsoft.com/office/drawing/2014/main" id="{FE015B7A-00C2-E4C9-EA80-FD7A209C015E}"/>
                    </a:ext>
                  </a:extLst>
                </p:cNvPr>
                <p:cNvSpPr/>
                <p:nvPr/>
              </p:nvSpPr>
              <p:spPr>
                <a:xfrm>
                  <a:off x="8227506" y="1667029"/>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5"/>
                        <a:pt x="773" y="14573"/>
                        <a:pt x="2019" y="18684"/>
                      </a:cubicBezTo>
                      <a:cubicBezTo>
                        <a:pt x="4136" y="25410"/>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2" name="Freeform 7333">
                  <a:extLst>
                    <a:ext uri="{FF2B5EF4-FFF2-40B4-BE49-F238E27FC236}">
                      <a16:creationId xmlns:a16="http://schemas.microsoft.com/office/drawing/2014/main" id="{44D6ACB3-5F1D-3EE4-B0EC-82F9BBE07669}"/>
                    </a:ext>
                  </a:extLst>
                </p:cNvPr>
                <p:cNvSpPr/>
                <p:nvPr/>
              </p:nvSpPr>
              <p:spPr>
                <a:xfrm>
                  <a:off x="8233636" y="1660677"/>
                  <a:ext cx="11085" cy="50944"/>
                </a:xfrm>
                <a:custGeom>
                  <a:avLst/>
                  <a:gdLst>
                    <a:gd name="connsiteX0" fmla="*/ 11085 w 11085"/>
                    <a:gd name="connsiteY0" fmla="*/ 50944 h 50944"/>
                    <a:gd name="connsiteX1" fmla="*/ 5480 w 11085"/>
                    <a:gd name="connsiteY1" fmla="*/ 33008 h 50944"/>
                    <a:gd name="connsiteX2" fmla="*/ 5356 w 11085"/>
                    <a:gd name="connsiteY2" fmla="*/ 15570 h 50944"/>
                    <a:gd name="connsiteX3" fmla="*/ 0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11085" y="50944"/>
                      </a:moveTo>
                      <a:cubicBezTo>
                        <a:pt x="7099" y="43595"/>
                        <a:pt x="5854" y="37367"/>
                        <a:pt x="5480" y="33008"/>
                      </a:cubicBezTo>
                      <a:cubicBezTo>
                        <a:pt x="4857" y="26033"/>
                        <a:pt x="6352" y="22545"/>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3" name="Freeform 7334">
                  <a:extLst>
                    <a:ext uri="{FF2B5EF4-FFF2-40B4-BE49-F238E27FC236}">
                      <a16:creationId xmlns:a16="http://schemas.microsoft.com/office/drawing/2014/main" id="{53F4983C-27E6-0793-58F0-D4DC6B5ACEFD}"/>
                    </a:ext>
                  </a:extLst>
                </p:cNvPr>
                <p:cNvSpPr/>
                <p:nvPr/>
              </p:nvSpPr>
              <p:spPr>
                <a:xfrm>
                  <a:off x="8216794" y="1646071"/>
                  <a:ext cx="26341" cy="26550"/>
                </a:xfrm>
                <a:custGeom>
                  <a:avLst/>
                  <a:gdLst>
                    <a:gd name="connsiteX0" fmla="*/ 26060 w 26341"/>
                    <a:gd name="connsiteY0" fmla="*/ 10495 h 26550"/>
                    <a:gd name="connsiteX1" fmla="*/ 15846 w 26341"/>
                    <a:gd name="connsiteY1" fmla="*/ 26314 h 26550"/>
                    <a:gd name="connsiteX2" fmla="*/ 276 w 26341"/>
                    <a:gd name="connsiteY2" fmla="*/ 15727 h 26550"/>
                    <a:gd name="connsiteX3" fmla="*/ 10615 w 26341"/>
                    <a:gd name="connsiteY3" fmla="*/ 282 h 26550"/>
                    <a:gd name="connsiteX4" fmla="*/ 26060 w 26341"/>
                    <a:gd name="connsiteY4" fmla="*/ 10495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1" h="26549">
                      <a:moveTo>
                        <a:pt x="26060" y="10495"/>
                      </a:moveTo>
                      <a:cubicBezTo>
                        <a:pt x="27554" y="17720"/>
                        <a:pt x="22946" y="24695"/>
                        <a:pt x="15846" y="26314"/>
                      </a:cubicBezTo>
                      <a:cubicBezTo>
                        <a:pt x="8746" y="27684"/>
                        <a:pt x="1646" y="22951"/>
                        <a:pt x="276" y="15727"/>
                      </a:cubicBezTo>
                      <a:cubicBezTo>
                        <a:pt x="-1219" y="8502"/>
                        <a:pt x="3515" y="1652"/>
                        <a:pt x="10615" y="282"/>
                      </a:cubicBezTo>
                      <a:cubicBezTo>
                        <a:pt x="17590" y="-1213"/>
                        <a:pt x="24565" y="3396"/>
                        <a:pt x="26060"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5" name="Graphic 2987">
                <a:extLst>
                  <a:ext uri="{FF2B5EF4-FFF2-40B4-BE49-F238E27FC236}">
                    <a16:creationId xmlns:a16="http://schemas.microsoft.com/office/drawing/2014/main" id="{A1D4BC15-1E0D-3680-00F0-87DF77B3F595}"/>
                  </a:ext>
                </a:extLst>
              </p:cNvPr>
              <p:cNvGrpSpPr/>
              <p:nvPr/>
            </p:nvGrpSpPr>
            <p:grpSpPr>
              <a:xfrm>
                <a:off x="8187806" y="1651634"/>
                <a:ext cx="50429" cy="146456"/>
                <a:chOff x="8187806" y="1651634"/>
                <a:chExt cx="50429" cy="146456"/>
              </a:xfrm>
              <a:grpFill/>
            </p:grpSpPr>
            <p:sp>
              <p:nvSpPr>
                <p:cNvPr id="6762" name="Freeform 7336">
                  <a:extLst>
                    <a:ext uri="{FF2B5EF4-FFF2-40B4-BE49-F238E27FC236}">
                      <a16:creationId xmlns:a16="http://schemas.microsoft.com/office/drawing/2014/main" id="{3A719A64-41DD-3388-7D37-8DF7F277501E}"/>
                    </a:ext>
                  </a:extLst>
                </p:cNvPr>
                <p:cNvSpPr/>
                <p:nvPr/>
              </p:nvSpPr>
              <p:spPr>
                <a:xfrm>
                  <a:off x="8217209" y="1726070"/>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9" y="25783"/>
                        <a:pt x="3348"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3" name="Freeform 7337">
                  <a:extLst>
                    <a:ext uri="{FF2B5EF4-FFF2-40B4-BE49-F238E27FC236}">
                      <a16:creationId xmlns:a16="http://schemas.microsoft.com/office/drawing/2014/main" id="{C7FBCDBE-8123-4241-A799-38A17EA79794}"/>
                    </a:ext>
                  </a:extLst>
                </p:cNvPr>
                <p:cNvSpPr/>
                <p:nvPr/>
              </p:nvSpPr>
              <p:spPr>
                <a:xfrm>
                  <a:off x="8210343" y="1732547"/>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2" y="13701"/>
                        <a:pt x="5605" y="17936"/>
                      </a:cubicBezTo>
                      <a:cubicBezTo>
                        <a:pt x="6228" y="24912"/>
                        <a:pt x="4733" y="28275"/>
                        <a:pt x="5605" y="35374"/>
                      </a:cubicBezTo>
                      <a:cubicBezTo>
                        <a:pt x="6477" y="42225"/>
                        <a:pt x="8969"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4" name="Freeform 7338">
                  <a:extLst>
                    <a:ext uri="{FF2B5EF4-FFF2-40B4-BE49-F238E27FC236}">
                      <a16:creationId xmlns:a16="http://schemas.microsoft.com/office/drawing/2014/main" id="{78FFE05C-5A26-ED3F-3F9F-6805A84465F1}"/>
                    </a:ext>
                  </a:extLst>
                </p:cNvPr>
                <p:cNvSpPr/>
                <p:nvPr/>
              </p:nvSpPr>
              <p:spPr>
                <a:xfrm>
                  <a:off x="8211597" y="1771671"/>
                  <a:ext cx="26638" cy="26420"/>
                </a:xfrm>
                <a:custGeom>
                  <a:avLst/>
                  <a:gdLst>
                    <a:gd name="connsiteX0" fmla="*/ 241 w 26638"/>
                    <a:gd name="connsiteY0" fmla="*/ 15681 h 26420"/>
                    <a:gd name="connsiteX1" fmla="*/ 10703 w 26638"/>
                    <a:gd name="connsiteY1" fmla="*/ 236 h 26420"/>
                    <a:gd name="connsiteX2" fmla="*/ 26398 w 26638"/>
                    <a:gd name="connsiteY2" fmla="*/ 10699 h 26420"/>
                    <a:gd name="connsiteX3" fmla="*/ 15935 w 26638"/>
                    <a:gd name="connsiteY3" fmla="*/ 26144 h 26420"/>
                    <a:gd name="connsiteX4" fmla="*/ 241 w 26638"/>
                    <a:gd name="connsiteY4" fmla="*/ 15681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8" h="26420">
                      <a:moveTo>
                        <a:pt x="241" y="15681"/>
                      </a:moveTo>
                      <a:cubicBezTo>
                        <a:pt x="-1130" y="8457"/>
                        <a:pt x="3479" y="1606"/>
                        <a:pt x="10703" y="236"/>
                      </a:cubicBezTo>
                      <a:cubicBezTo>
                        <a:pt x="17928" y="-1134"/>
                        <a:pt x="25028" y="3599"/>
                        <a:pt x="26398" y="10699"/>
                      </a:cubicBezTo>
                      <a:cubicBezTo>
                        <a:pt x="27768" y="17799"/>
                        <a:pt x="23159" y="24774"/>
                        <a:pt x="15935" y="26144"/>
                      </a:cubicBezTo>
                      <a:cubicBezTo>
                        <a:pt x="8711" y="27639"/>
                        <a:pt x="1736" y="22906"/>
                        <a:pt x="24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5" name="Freeform 7339">
                  <a:extLst>
                    <a:ext uri="{FF2B5EF4-FFF2-40B4-BE49-F238E27FC236}">
                      <a16:creationId xmlns:a16="http://schemas.microsoft.com/office/drawing/2014/main" id="{F6C61EAF-96AE-1324-B31F-E67E3E454538}"/>
                    </a:ext>
                  </a:extLst>
                </p:cNvPr>
                <p:cNvSpPr/>
                <p:nvPr/>
              </p:nvSpPr>
              <p:spPr>
                <a:xfrm>
                  <a:off x="8198594" y="1672510"/>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6" name="Freeform 7340">
                  <a:extLst>
                    <a:ext uri="{FF2B5EF4-FFF2-40B4-BE49-F238E27FC236}">
                      <a16:creationId xmlns:a16="http://schemas.microsoft.com/office/drawing/2014/main" id="{D06C2DF3-554A-C80E-E8B0-992B39E220DD}"/>
                    </a:ext>
                  </a:extLst>
                </p:cNvPr>
                <p:cNvSpPr/>
                <p:nvPr/>
              </p:nvSpPr>
              <p:spPr>
                <a:xfrm>
                  <a:off x="8204739" y="1666157"/>
                  <a:ext cx="10961" cy="51068"/>
                </a:xfrm>
                <a:custGeom>
                  <a:avLst/>
                  <a:gdLst>
                    <a:gd name="connsiteX0" fmla="*/ 10961 w 10961"/>
                    <a:gd name="connsiteY0" fmla="*/ 51069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9"/>
                      </a:moveTo>
                      <a:cubicBezTo>
                        <a:pt x="6975" y="43595"/>
                        <a:pt x="5729" y="37367"/>
                        <a:pt x="5356" y="33132"/>
                      </a:cubicBezTo>
                      <a:cubicBezTo>
                        <a:pt x="4733" y="26157"/>
                        <a:pt x="6228" y="22794"/>
                        <a:pt x="5356" y="15694"/>
                      </a:cubicBezTo>
                      <a:cubicBezTo>
                        <a:pt x="4484"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7" name="Freeform 7341">
                  <a:extLst>
                    <a:ext uri="{FF2B5EF4-FFF2-40B4-BE49-F238E27FC236}">
                      <a16:creationId xmlns:a16="http://schemas.microsoft.com/office/drawing/2014/main" id="{16C0C237-F883-9086-3E65-5F88A95BB4A5}"/>
                    </a:ext>
                  </a:extLst>
                </p:cNvPr>
                <p:cNvSpPr/>
                <p:nvPr/>
              </p:nvSpPr>
              <p:spPr>
                <a:xfrm>
                  <a:off x="8187806" y="1651634"/>
                  <a:ext cx="26425" cy="26467"/>
                </a:xfrm>
                <a:custGeom>
                  <a:avLst/>
                  <a:gdLst>
                    <a:gd name="connsiteX0" fmla="*/ 26149 w 26425"/>
                    <a:gd name="connsiteY0" fmla="*/ 10786 h 26467"/>
                    <a:gd name="connsiteX1" fmla="*/ 15811 w 26425"/>
                    <a:gd name="connsiteY1" fmla="*/ 26231 h 26467"/>
                    <a:gd name="connsiteX2" fmla="*/ 241 w 26425"/>
                    <a:gd name="connsiteY2" fmla="*/ 15644 h 26467"/>
                    <a:gd name="connsiteX3" fmla="*/ 10579 w 26425"/>
                    <a:gd name="connsiteY3" fmla="*/ 199 h 26467"/>
                    <a:gd name="connsiteX4" fmla="*/ 26149 w 26425"/>
                    <a:gd name="connsiteY4" fmla="*/ 1078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467">
                      <a:moveTo>
                        <a:pt x="26149" y="10786"/>
                      </a:moveTo>
                      <a:cubicBezTo>
                        <a:pt x="27644" y="18011"/>
                        <a:pt x="22911" y="24861"/>
                        <a:pt x="15811" y="26231"/>
                      </a:cubicBezTo>
                      <a:cubicBezTo>
                        <a:pt x="8586" y="27602"/>
                        <a:pt x="1736" y="22868"/>
                        <a:pt x="241" y="15644"/>
                      </a:cubicBezTo>
                      <a:cubicBezTo>
                        <a:pt x="-1129" y="8420"/>
                        <a:pt x="3480" y="1569"/>
                        <a:pt x="10579" y="199"/>
                      </a:cubicBezTo>
                      <a:cubicBezTo>
                        <a:pt x="17804" y="-1047"/>
                        <a:pt x="24779" y="3687"/>
                        <a:pt x="26149" y="107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6" name="Graphic 2987">
                <a:extLst>
                  <a:ext uri="{FF2B5EF4-FFF2-40B4-BE49-F238E27FC236}">
                    <a16:creationId xmlns:a16="http://schemas.microsoft.com/office/drawing/2014/main" id="{D3A09F4C-95A5-20ED-9630-48A52BD4FC96}"/>
                  </a:ext>
                </a:extLst>
              </p:cNvPr>
              <p:cNvGrpSpPr/>
              <p:nvPr/>
            </p:nvGrpSpPr>
            <p:grpSpPr>
              <a:xfrm>
                <a:off x="8158909" y="1657078"/>
                <a:ext cx="50175" cy="146702"/>
                <a:chOff x="8158909" y="1657078"/>
                <a:chExt cx="50175" cy="146702"/>
              </a:xfrm>
              <a:grpFill/>
            </p:grpSpPr>
            <p:sp>
              <p:nvSpPr>
                <p:cNvPr id="6756" name="Freeform 7343">
                  <a:extLst>
                    <a:ext uri="{FF2B5EF4-FFF2-40B4-BE49-F238E27FC236}">
                      <a16:creationId xmlns:a16="http://schemas.microsoft.com/office/drawing/2014/main" id="{CFADA226-84A1-C66A-2319-8C89980428B8}"/>
                    </a:ext>
                  </a:extLst>
                </p:cNvPr>
                <p:cNvSpPr/>
                <p:nvPr/>
              </p:nvSpPr>
              <p:spPr>
                <a:xfrm>
                  <a:off x="8188140" y="1731675"/>
                  <a:ext cx="10038" cy="51193"/>
                </a:xfrm>
                <a:custGeom>
                  <a:avLst/>
                  <a:gdLst>
                    <a:gd name="connsiteX0" fmla="*/ 9747 w 10038"/>
                    <a:gd name="connsiteY0" fmla="*/ 51193 h 51193"/>
                    <a:gd name="connsiteX1" fmla="*/ 8128 w 10038"/>
                    <a:gd name="connsiteY1" fmla="*/ 32510 h 51193"/>
                    <a:gd name="connsiteX2" fmla="*/ 1402 w 10038"/>
                    <a:gd name="connsiteY2" fmla="*/ 16442 h 51193"/>
                    <a:gd name="connsiteX3" fmla="*/ 405 w 10038"/>
                    <a:gd name="connsiteY3" fmla="*/ 0 h 51193"/>
                  </a:gdLst>
                  <a:ahLst/>
                  <a:cxnLst>
                    <a:cxn ang="0">
                      <a:pos x="connsiteX0" y="connsiteY0"/>
                    </a:cxn>
                    <a:cxn ang="0">
                      <a:pos x="connsiteX1" y="connsiteY1"/>
                    </a:cxn>
                    <a:cxn ang="0">
                      <a:pos x="connsiteX2" y="connsiteY2"/>
                    </a:cxn>
                    <a:cxn ang="0">
                      <a:pos x="connsiteX3" y="connsiteY3"/>
                    </a:cxn>
                  </a:cxnLst>
                  <a:rect l="l" t="t" r="r" b="b"/>
                  <a:pathLst>
                    <a:path w="10038" h="51193">
                      <a:moveTo>
                        <a:pt x="9747" y="51193"/>
                      </a:moveTo>
                      <a:cubicBezTo>
                        <a:pt x="10619" y="42848"/>
                        <a:pt x="9373" y="36620"/>
                        <a:pt x="8128" y="32510"/>
                      </a:cubicBezTo>
                      <a:cubicBezTo>
                        <a:pt x="6010" y="25783"/>
                        <a:pt x="3270" y="23292"/>
                        <a:pt x="1402" y="16442"/>
                      </a:cubicBezTo>
                      <a:cubicBezTo>
                        <a:pt x="-466" y="9715"/>
                        <a:pt x="-93" y="3861"/>
                        <a:pt x="4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7" name="Freeform 7344">
                  <a:extLst>
                    <a:ext uri="{FF2B5EF4-FFF2-40B4-BE49-F238E27FC236}">
                      <a16:creationId xmlns:a16="http://schemas.microsoft.com/office/drawing/2014/main" id="{09518558-351A-AC20-6134-C1B5F7A4E520}"/>
                    </a:ext>
                  </a:extLst>
                </p:cNvPr>
                <p:cNvSpPr/>
                <p:nvPr/>
              </p:nvSpPr>
              <p:spPr>
                <a:xfrm>
                  <a:off x="8181197" y="1738027"/>
                  <a:ext cx="10711" cy="51068"/>
                </a:xfrm>
                <a:custGeom>
                  <a:avLst/>
                  <a:gdLst>
                    <a:gd name="connsiteX0" fmla="*/ 0 w 10711"/>
                    <a:gd name="connsiteY0" fmla="*/ 0 h 51068"/>
                    <a:gd name="connsiteX1" fmla="*/ 5605 w 10711"/>
                    <a:gd name="connsiteY1" fmla="*/ 17936 h 51068"/>
                    <a:gd name="connsiteX2" fmla="*/ 5481 w 10711"/>
                    <a:gd name="connsiteY2" fmla="*/ 35374 h 51068"/>
                    <a:gd name="connsiteX3" fmla="*/ 10712 w 107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11" h="51068">
                      <a:moveTo>
                        <a:pt x="0" y="0"/>
                      </a:moveTo>
                      <a:cubicBezTo>
                        <a:pt x="3986" y="7473"/>
                        <a:pt x="5231" y="13701"/>
                        <a:pt x="5605" y="17936"/>
                      </a:cubicBezTo>
                      <a:cubicBezTo>
                        <a:pt x="6228" y="24912"/>
                        <a:pt x="4609" y="28275"/>
                        <a:pt x="5481" y="35374"/>
                      </a:cubicBezTo>
                      <a:cubicBezTo>
                        <a:pt x="6353" y="42225"/>
                        <a:pt x="8844" y="47581"/>
                        <a:pt x="107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8" name="Freeform 7345">
                  <a:extLst>
                    <a:ext uri="{FF2B5EF4-FFF2-40B4-BE49-F238E27FC236}">
                      <a16:creationId xmlns:a16="http://schemas.microsoft.com/office/drawing/2014/main" id="{C1F3A277-59FD-2C14-2015-677657419C66}"/>
                    </a:ext>
                  </a:extLst>
                </p:cNvPr>
                <p:cNvSpPr/>
                <p:nvPr/>
              </p:nvSpPr>
              <p:spPr>
                <a:xfrm>
                  <a:off x="8182331" y="1777276"/>
                  <a:ext cx="26753" cy="26504"/>
                </a:xfrm>
                <a:custGeom>
                  <a:avLst/>
                  <a:gdLst>
                    <a:gd name="connsiteX0" fmla="*/ 236 w 26753"/>
                    <a:gd name="connsiteY0" fmla="*/ 15681 h 26504"/>
                    <a:gd name="connsiteX1" fmla="*/ 10824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4" y="236"/>
                      </a:cubicBezTo>
                      <a:cubicBezTo>
                        <a:pt x="18048" y="-1134"/>
                        <a:pt x="25023" y="3599"/>
                        <a:pt x="26517" y="10823"/>
                      </a:cubicBezTo>
                      <a:cubicBezTo>
                        <a:pt x="27888" y="18048"/>
                        <a:pt x="23155" y="24898"/>
                        <a:pt x="15930" y="26269"/>
                      </a:cubicBezTo>
                      <a:cubicBezTo>
                        <a:pt x="8706" y="27639"/>
                        <a:pt x="1606"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9" name="Freeform 7346">
                  <a:extLst>
                    <a:ext uri="{FF2B5EF4-FFF2-40B4-BE49-F238E27FC236}">
                      <a16:creationId xmlns:a16="http://schemas.microsoft.com/office/drawing/2014/main" id="{F64C2395-7AD0-FF5A-F7B1-4BAAA14DCA89}"/>
                    </a:ext>
                  </a:extLst>
                </p:cNvPr>
                <p:cNvSpPr/>
                <p:nvPr/>
              </p:nvSpPr>
              <p:spPr>
                <a:xfrm>
                  <a:off x="8169571" y="1677990"/>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0" y="8345"/>
                        <a:pt x="665" y="14573"/>
                        <a:pt x="1910" y="18684"/>
                      </a:cubicBezTo>
                      <a:cubicBezTo>
                        <a:pt x="4028" y="25410"/>
                        <a:pt x="6644" y="27901"/>
                        <a:pt x="8512" y="34752"/>
                      </a:cubicBezTo>
                      <a:cubicBezTo>
                        <a:pt x="10380"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0" name="Freeform 7347">
                  <a:extLst>
                    <a:ext uri="{FF2B5EF4-FFF2-40B4-BE49-F238E27FC236}">
                      <a16:creationId xmlns:a16="http://schemas.microsoft.com/office/drawing/2014/main" id="{63D4C570-8BA5-8D1A-B3FF-C2619E08C341}"/>
                    </a:ext>
                  </a:extLst>
                </p:cNvPr>
                <p:cNvSpPr/>
                <p:nvPr/>
              </p:nvSpPr>
              <p:spPr>
                <a:xfrm>
                  <a:off x="8175716" y="1671638"/>
                  <a:ext cx="10836" cy="51068"/>
                </a:xfrm>
                <a:custGeom>
                  <a:avLst/>
                  <a:gdLst>
                    <a:gd name="connsiteX0" fmla="*/ 10836 w 10836"/>
                    <a:gd name="connsiteY0" fmla="*/ 51069 h 51068"/>
                    <a:gd name="connsiteX1" fmla="*/ 5231 w 10836"/>
                    <a:gd name="connsiteY1" fmla="*/ 33132 h 51068"/>
                    <a:gd name="connsiteX2" fmla="*/ 5231 w 10836"/>
                    <a:gd name="connsiteY2" fmla="*/ 15694 h 51068"/>
                    <a:gd name="connsiteX3" fmla="*/ 0 w 10836"/>
                    <a:gd name="connsiteY3" fmla="*/ 0 h 51068"/>
                  </a:gdLst>
                  <a:ahLst/>
                  <a:cxnLst>
                    <a:cxn ang="0">
                      <a:pos x="connsiteX0" y="connsiteY0"/>
                    </a:cxn>
                    <a:cxn ang="0">
                      <a:pos x="connsiteX1" y="connsiteY1"/>
                    </a:cxn>
                    <a:cxn ang="0">
                      <a:pos x="connsiteX2" y="connsiteY2"/>
                    </a:cxn>
                    <a:cxn ang="0">
                      <a:pos x="connsiteX3" y="connsiteY3"/>
                    </a:cxn>
                  </a:cxnLst>
                  <a:rect l="l" t="t" r="r" b="b"/>
                  <a:pathLst>
                    <a:path w="10836" h="51068">
                      <a:moveTo>
                        <a:pt x="10836" y="51069"/>
                      </a:moveTo>
                      <a:cubicBezTo>
                        <a:pt x="6851" y="43595"/>
                        <a:pt x="5605" y="37367"/>
                        <a:pt x="5231" y="33132"/>
                      </a:cubicBezTo>
                      <a:cubicBezTo>
                        <a:pt x="4609" y="26157"/>
                        <a:pt x="6103" y="22794"/>
                        <a:pt x="5231" y="15694"/>
                      </a:cubicBezTo>
                      <a:cubicBezTo>
                        <a:pt x="4359"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1" name="Freeform 7348">
                  <a:extLst>
                    <a:ext uri="{FF2B5EF4-FFF2-40B4-BE49-F238E27FC236}">
                      <a16:creationId xmlns:a16="http://schemas.microsoft.com/office/drawing/2014/main" id="{4005AE03-7558-43CB-DDE2-29D30295467D}"/>
                    </a:ext>
                  </a:extLst>
                </p:cNvPr>
                <p:cNvSpPr/>
                <p:nvPr/>
              </p:nvSpPr>
              <p:spPr>
                <a:xfrm>
                  <a:off x="8158909" y="1657078"/>
                  <a:ext cx="26390" cy="26504"/>
                </a:xfrm>
                <a:custGeom>
                  <a:avLst/>
                  <a:gdLst>
                    <a:gd name="connsiteX0" fmla="*/ 26149 w 26390"/>
                    <a:gd name="connsiteY0" fmla="*/ 10823 h 26504"/>
                    <a:gd name="connsiteX1" fmla="*/ 15811 w 26390"/>
                    <a:gd name="connsiteY1" fmla="*/ 26269 h 26504"/>
                    <a:gd name="connsiteX2" fmla="*/ 241 w 26390"/>
                    <a:gd name="connsiteY2" fmla="*/ 15681 h 26504"/>
                    <a:gd name="connsiteX3" fmla="*/ 10579 w 26390"/>
                    <a:gd name="connsiteY3" fmla="*/ 236 h 26504"/>
                    <a:gd name="connsiteX4" fmla="*/ 26149 w 2639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0" h="26504">
                      <a:moveTo>
                        <a:pt x="26149" y="10823"/>
                      </a:moveTo>
                      <a:cubicBezTo>
                        <a:pt x="27519" y="18048"/>
                        <a:pt x="22911" y="24899"/>
                        <a:pt x="15811" y="26269"/>
                      </a:cubicBezTo>
                      <a:cubicBezTo>
                        <a:pt x="8586" y="27639"/>
                        <a:pt x="1736" y="22906"/>
                        <a:pt x="241" y="15681"/>
                      </a:cubicBezTo>
                      <a:cubicBezTo>
                        <a:pt x="-1129" y="8457"/>
                        <a:pt x="3480" y="1606"/>
                        <a:pt x="10579" y="236"/>
                      </a:cubicBezTo>
                      <a:cubicBezTo>
                        <a:pt x="17679" y="-1134"/>
                        <a:pt x="24655"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7" name="Graphic 2987">
                <a:extLst>
                  <a:ext uri="{FF2B5EF4-FFF2-40B4-BE49-F238E27FC236}">
                    <a16:creationId xmlns:a16="http://schemas.microsoft.com/office/drawing/2014/main" id="{79B46B46-8F56-E7D7-4A6E-6531A919ED53}"/>
                  </a:ext>
                </a:extLst>
              </p:cNvPr>
              <p:cNvGrpSpPr/>
              <p:nvPr/>
            </p:nvGrpSpPr>
            <p:grpSpPr>
              <a:xfrm>
                <a:off x="8129887" y="1662558"/>
                <a:ext cx="49801" cy="146702"/>
                <a:chOff x="8129887" y="1662558"/>
                <a:chExt cx="49801" cy="146702"/>
              </a:xfrm>
              <a:grpFill/>
            </p:grpSpPr>
            <p:sp>
              <p:nvSpPr>
                <p:cNvPr id="6750" name="Freeform 7350">
                  <a:extLst>
                    <a:ext uri="{FF2B5EF4-FFF2-40B4-BE49-F238E27FC236}">
                      <a16:creationId xmlns:a16="http://schemas.microsoft.com/office/drawing/2014/main" id="{C4BFEAA9-0145-F803-9E47-B5DFC484EFD9}"/>
                    </a:ext>
                  </a:extLst>
                </p:cNvPr>
                <p:cNvSpPr/>
                <p:nvPr/>
              </p:nvSpPr>
              <p:spPr>
                <a:xfrm>
                  <a:off x="8159032" y="1737031"/>
                  <a:ext cx="9891" cy="51317"/>
                </a:xfrm>
                <a:custGeom>
                  <a:avLst/>
                  <a:gdLst>
                    <a:gd name="connsiteX0" fmla="*/ 9584 w 9891"/>
                    <a:gd name="connsiteY0" fmla="*/ 51318 h 51317"/>
                    <a:gd name="connsiteX1" fmla="*/ 7965 w 9891"/>
                    <a:gd name="connsiteY1" fmla="*/ 32634 h 51317"/>
                    <a:gd name="connsiteX2" fmla="*/ 1364 w 9891"/>
                    <a:gd name="connsiteY2" fmla="*/ 16442 h 51317"/>
                    <a:gd name="connsiteX3" fmla="*/ 367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51318"/>
                      </a:moveTo>
                      <a:cubicBezTo>
                        <a:pt x="10456" y="42972"/>
                        <a:pt x="9335" y="36745"/>
                        <a:pt x="7965" y="32634"/>
                      </a:cubicBezTo>
                      <a:cubicBezTo>
                        <a:pt x="5847" y="25908"/>
                        <a:pt x="3231" y="23417"/>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1" name="Freeform 7351">
                  <a:extLst>
                    <a:ext uri="{FF2B5EF4-FFF2-40B4-BE49-F238E27FC236}">
                      <a16:creationId xmlns:a16="http://schemas.microsoft.com/office/drawing/2014/main" id="{006050CC-1351-30E6-E52A-FA2FC8917DFE}"/>
                    </a:ext>
                  </a:extLst>
                </p:cNvPr>
                <p:cNvSpPr/>
                <p:nvPr/>
              </p:nvSpPr>
              <p:spPr>
                <a:xfrm>
                  <a:off x="8152050" y="1743508"/>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8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5" y="28275"/>
                        <a:pt x="5356" y="35374"/>
                      </a:cubicBezTo>
                      <a:cubicBezTo>
                        <a:pt x="6228" y="42225"/>
                        <a:pt x="8595" y="47581"/>
                        <a:pt x="1058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2" name="Freeform 7352">
                  <a:extLst>
                    <a:ext uri="{FF2B5EF4-FFF2-40B4-BE49-F238E27FC236}">
                      <a16:creationId xmlns:a16="http://schemas.microsoft.com/office/drawing/2014/main" id="{C0BA3C44-6D7A-2262-29E6-B1A4948B89D2}"/>
                    </a:ext>
                  </a:extLst>
                </p:cNvPr>
                <p:cNvSpPr/>
                <p:nvPr/>
              </p:nvSpPr>
              <p:spPr>
                <a:xfrm>
                  <a:off x="8152935" y="1782757"/>
                  <a:ext cx="26753" cy="26504"/>
                </a:xfrm>
                <a:custGeom>
                  <a:avLst/>
                  <a:gdLst>
                    <a:gd name="connsiteX0" fmla="*/ 236 w 26753"/>
                    <a:gd name="connsiteY0" fmla="*/ 15681 h 26504"/>
                    <a:gd name="connsiteX1" fmla="*/ 10823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3" y="236"/>
                      </a:cubicBezTo>
                      <a:cubicBezTo>
                        <a:pt x="18048" y="-1134"/>
                        <a:pt x="25023" y="3599"/>
                        <a:pt x="26517" y="10823"/>
                      </a:cubicBezTo>
                      <a:cubicBezTo>
                        <a:pt x="27887" y="18048"/>
                        <a:pt x="23154" y="24898"/>
                        <a:pt x="15930" y="26269"/>
                      </a:cubicBezTo>
                      <a:cubicBezTo>
                        <a:pt x="8706" y="27639"/>
                        <a:pt x="1731"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3" name="Freeform 7353">
                  <a:extLst>
                    <a:ext uri="{FF2B5EF4-FFF2-40B4-BE49-F238E27FC236}">
                      <a16:creationId xmlns:a16="http://schemas.microsoft.com/office/drawing/2014/main" id="{FA3E2453-14E3-59A5-2376-3BFAFAE208DE}"/>
                    </a:ext>
                  </a:extLst>
                </p:cNvPr>
                <p:cNvSpPr/>
                <p:nvPr/>
              </p:nvSpPr>
              <p:spPr>
                <a:xfrm>
                  <a:off x="8140549" y="1683471"/>
                  <a:ext cx="9875" cy="51317"/>
                </a:xfrm>
                <a:custGeom>
                  <a:avLst/>
                  <a:gdLst>
                    <a:gd name="connsiteX0" fmla="*/ 291 w 9875"/>
                    <a:gd name="connsiteY0" fmla="*/ 0 h 51317"/>
                    <a:gd name="connsiteX1" fmla="*/ 1911 w 9875"/>
                    <a:gd name="connsiteY1" fmla="*/ 18684 h 51317"/>
                    <a:gd name="connsiteX2" fmla="*/ 8512 w 9875"/>
                    <a:gd name="connsiteY2" fmla="*/ 34876 h 51317"/>
                    <a:gd name="connsiteX3" fmla="*/ 9509 w 9875"/>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75" h="51317">
                      <a:moveTo>
                        <a:pt x="291" y="0"/>
                      </a:moveTo>
                      <a:cubicBezTo>
                        <a:pt x="-581" y="8345"/>
                        <a:pt x="665" y="14573"/>
                        <a:pt x="1911" y="18684"/>
                      </a:cubicBezTo>
                      <a:cubicBezTo>
                        <a:pt x="4028" y="25410"/>
                        <a:pt x="6644" y="28025"/>
                        <a:pt x="8512" y="34876"/>
                      </a:cubicBezTo>
                      <a:cubicBezTo>
                        <a:pt x="10256" y="41602"/>
                        <a:pt x="10007" y="47456"/>
                        <a:pt x="9509"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4" name="Freeform 7354">
                  <a:extLst>
                    <a:ext uri="{FF2B5EF4-FFF2-40B4-BE49-F238E27FC236}">
                      <a16:creationId xmlns:a16="http://schemas.microsoft.com/office/drawing/2014/main" id="{A3990F9E-EA5D-7DB8-F01E-B4EE584657E4}"/>
                    </a:ext>
                  </a:extLst>
                </p:cNvPr>
                <p:cNvSpPr/>
                <p:nvPr/>
              </p:nvSpPr>
              <p:spPr>
                <a:xfrm>
                  <a:off x="8146819" y="1677243"/>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3" y="22794"/>
                        <a:pt x="5231" y="15694"/>
                      </a:cubicBezTo>
                      <a:cubicBezTo>
                        <a:pt x="4359"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5" name="Freeform 7355">
                  <a:extLst>
                    <a:ext uri="{FF2B5EF4-FFF2-40B4-BE49-F238E27FC236}">
                      <a16:creationId xmlns:a16="http://schemas.microsoft.com/office/drawing/2014/main" id="{2437FF14-EA5A-0E83-9B44-9A30A5A9AB18}"/>
                    </a:ext>
                  </a:extLst>
                </p:cNvPr>
                <p:cNvSpPr/>
                <p:nvPr/>
              </p:nvSpPr>
              <p:spPr>
                <a:xfrm>
                  <a:off x="8129887" y="1662558"/>
                  <a:ext cx="26389" cy="26504"/>
                </a:xfrm>
                <a:custGeom>
                  <a:avLst/>
                  <a:gdLst>
                    <a:gd name="connsiteX0" fmla="*/ 26149 w 26389"/>
                    <a:gd name="connsiteY0" fmla="*/ 10823 h 26504"/>
                    <a:gd name="connsiteX1" fmla="*/ 15687 w 26389"/>
                    <a:gd name="connsiteY1" fmla="*/ 26269 h 26504"/>
                    <a:gd name="connsiteX2" fmla="*/ 241 w 26389"/>
                    <a:gd name="connsiteY2" fmla="*/ 15681 h 26504"/>
                    <a:gd name="connsiteX3" fmla="*/ 10704 w 26389"/>
                    <a:gd name="connsiteY3" fmla="*/ 236 h 26504"/>
                    <a:gd name="connsiteX4" fmla="*/ 26149 w 2638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4">
                      <a:moveTo>
                        <a:pt x="26149" y="10823"/>
                      </a:moveTo>
                      <a:cubicBezTo>
                        <a:pt x="27519" y="18048"/>
                        <a:pt x="22910" y="24898"/>
                        <a:pt x="15687" y="26269"/>
                      </a:cubicBezTo>
                      <a:cubicBezTo>
                        <a:pt x="8462" y="27639"/>
                        <a:pt x="1611" y="22906"/>
                        <a:pt x="241" y="15681"/>
                      </a:cubicBezTo>
                      <a:cubicBezTo>
                        <a:pt x="-1129" y="8457"/>
                        <a:pt x="3479" y="1606"/>
                        <a:pt x="10704" y="236"/>
                      </a:cubicBezTo>
                      <a:cubicBezTo>
                        <a:pt x="17804" y="-1134"/>
                        <a:pt x="24779"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8" name="Graphic 2987">
                <a:extLst>
                  <a:ext uri="{FF2B5EF4-FFF2-40B4-BE49-F238E27FC236}">
                    <a16:creationId xmlns:a16="http://schemas.microsoft.com/office/drawing/2014/main" id="{D035B38F-BB36-3298-68B6-B51B330E0335}"/>
                  </a:ext>
                </a:extLst>
              </p:cNvPr>
              <p:cNvGrpSpPr/>
              <p:nvPr/>
            </p:nvGrpSpPr>
            <p:grpSpPr>
              <a:xfrm>
                <a:off x="8100995" y="1668039"/>
                <a:ext cx="49298" cy="146794"/>
                <a:chOff x="8100995" y="1668039"/>
                <a:chExt cx="49298" cy="146794"/>
              </a:xfrm>
              <a:grpFill/>
            </p:grpSpPr>
            <p:sp>
              <p:nvSpPr>
                <p:cNvPr id="6744" name="Freeform 7357">
                  <a:extLst>
                    <a:ext uri="{FF2B5EF4-FFF2-40B4-BE49-F238E27FC236}">
                      <a16:creationId xmlns:a16="http://schemas.microsoft.com/office/drawing/2014/main" id="{108FFB82-8C23-7559-C0C5-C01119F8D7A3}"/>
                    </a:ext>
                  </a:extLst>
                </p:cNvPr>
                <p:cNvSpPr/>
                <p:nvPr/>
              </p:nvSpPr>
              <p:spPr>
                <a:xfrm>
                  <a:off x="8129886" y="1742636"/>
                  <a:ext cx="9821" cy="51317"/>
                </a:xfrm>
                <a:custGeom>
                  <a:avLst/>
                  <a:gdLst>
                    <a:gd name="connsiteX0" fmla="*/ 9460 w 9821"/>
                    <a:gd name="connsiteY0" fmla="*/ 51318 h 51317"/>
                    <a:gd name="connsiteX1" fmla="*/ 7965 w 9821"/>
                    <a:gd name="connsiteY1" fmla="*/ 32634 h 51317"/>
                    <a:gd name="connsiteX2" fmla="*/ 1364 w 9821"/>
                    <a:gd name="connsiteY2" fmla="*/ 16442 h 51317"/>
                    <a:gd name="connsiteX3" fmla="*/ 367 w 9821"/>
                    <a:gd name="connsiteY3" fmla="*/ 0 h 51317"/>
                  </a:gdLst>
                  <a:ahLst/>
                  <a:cxnLst>
                    <a:cxn ang="0">
                      <a:pos x="connsiteX0" y="connsiteY0"/>
                    </a:cxn>
                    <a:cxn ang="0">
                      <a:pos x="connsiteX1" y="connsiteY1"/>
                    </a:cxn>
                    <a:cxn ang="0">
                      <a:pos x="connsiteX2" y="connsiteY2"/>
                    </a:cxn>
                    <a:cxn ang="0">
                      <a:pos x="connsiteX3" y="connsiteY3"/>
                    </a:cxn>
                  </a:cxnLst>
                  <a:rect l="l" t="t" r="r" b="b"/>
                  <a:pathLst>
                    <a:path w="9821" h="51317">
                      <a:moveTo>
                        <a:pt x="9460" y="51318"/>
                      </a:moveTo>
                      <a:cubicBezTo>
                        <a:pt x="10456" y="42972"/>
                        <a:pt x="9211" y="36745"/>
                        <a:pt x="7965" y="32634"/>
                      </a:cubicBezTo>
                      <a:cubicBezTo>
                        <a:pt x="5847" y="25908"/>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5" name="Freeform 7358">
                  <a:extLst>
                    <a:ext uri="{FF2B5EF4-FFF2-40B4-BE49-F238E27FC236}">
                      <a16:creationId xmlns:a16="http://schemas.microsoft.com/office/drawing/2014/main" id="{2B8A9491-5E2D-4DD6-BD81-AF13CEA675A3}"/>
                    </a:ext>
                  </a:extLst>
                </p:cNvPr>
                <p:cNvSpPr/>
                <p:nvPr/>
              </p:nvSpPr>
              <p:spPr>
                <a:xfrm>
                  <a:off x="8122904" y="1749113"/>
                  <a:ext cx="10462" cy="51193"/>
                </a:xfrm>
                <a:custGeom>
                  <a:avLst/>
                  <a:gdLst>
                    <a:gd name="connsiteX0" fmla="*/ 0 w 10462"/>
                    <a:gd name="connsiteY0" fmla="*/ 0 h 51193"/>
                    <a:gd name="connsiteX1" fmla="*/ 5481 w 10462"/>
                    <a:gd name="connsiteY1" fmla="*/ 18061 h 51193"/>
                    <a:gd name="connsiteX2" fmla="*/ 5231 w 10462"/>
                    <a:gd name="connsiteY2" fmla="*/ 35499 h 51193"/>
                    <a:gd name="connsiteX3" fmla="*/ 10462 w 10462"/>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62" h="51193">
                      <a:moveTo>
                        <a:pt x="0" y="0"/>
                      </a:moveTo>
                      <a:cubicBezTo>
                        <a:pt x="3986" y="7473"/>
                        <a:pt x="5107" y="13701"/>
                        <a:pt x="5481" y="18061"/>
                      </a:cubicBezTo>
                      <a:cubicBezTo>
                        <a:pt x="5979" y="25036"/>
                        <a:pt x="4484" y="28399"/>
                        <a:pt x="5231" y="35499"/>
                      </a:cubicBezTo>
                      <a:cubicBezTo>
                        <a:pt x="5979" y="42350"/>
                        <a:pt x="8470" y="47706"/>
                        <a:pt x="10462"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6" name="Freeform 7359">
                  <a:extLst>
                    <a:ext uri="{FF2B5EF4-FFF2-40B4-BE49-F238E27FC236}">
                      <a16:creationId xmlns:a16="http://schemas.microsoft.com/office/drawing/2014/main" id="{4F54D213-D0A3-8423-12B9-40222E407AB9}"/>
                    </a:ext>
                  </a:extLst>
                </p:cNvPr>
                <p:cNvSpPr/>
                <p:nvPr/>
              </p:nvSpPr>
              <p:spPr>
                <a:xfrm>
                  <a:off x="8123664" y="1788362"/>
                  <a:ext cx="26629" cy="26471"/>
                </a:xfrm>
                <a:custGeom>
                  <a:avLst/>
                  <a:gdLst>
                    <a:gd name="connsiteX0" fmla="*/ 236 w 26629"/>
                    <a:gd name="connsiteY0" fmla="*/ 15681 h 26471"/>
                    <a:gd name="connsiteX1" fmla="*/ 10824 w 26629"/>
                    <a:gd name="connsiteY1" fmla="*/ 236 h 26471"/>
                    <a:gd name="connsiteX2" fmla="*/ 26394 w 26629"/>
                    <a:gd name="connsiteY2" fmla="*/ 10824 h 26471"/>
                    <a:gd name="connsiteX3" fmla="*/ 15806 w 26629"/>
                    <a:gd name="connsiteY3" fmla="*/ 26269 h 26471"/>
                    <a:gd name="connsiteX4" fmla="*/ 236 w 26629"/>
                    <a:gd name="connsiteY4" fmla="*/ 15681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36" y="15681"/>
                      </a:moveTo>
                      <a:cubicBezTo>
                        <a:pt x="-1134" y="8457"/>
                        <a:pt x="3599" y="1606"/>
                        <a:pt x="10824" y="236"/>
                      </a:cubicBezTo>
                      <a:cubicBezTo>
                        <a:pt x="18048" y="-1134"/>
                        <a:pt x="25024" y="3599"/>
                        <a:pt x="26394" y="10824"/>
                      </a:cubicBezTo>
                      <a:cubicBezTo>
                        <a:pt x="27764" y="18048"/>
                        <a:pt x="23030" y="24898"/>
                        <a:pt x="15806" y="26269"/>
                      </a:cubicBezTo>
                      <a:cubicBezTo>
                        <a:pt x="8582" y="27514"/>
                        <a:pt x="1607"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7" name="Freeform 7360">
                  <a:extLst>
                    <a:ext uri="{FF2B5EF4-FFF2-40B4-BE49-F238E27FC236}">
                      <a16:creationId xmlns:a16="http://schemas.microsoft.com/office/drawing/2014/main" id="{727B02E8-82E2-5439-F2EA-AABCE3396F19}"/>
                    </a:ext>
                  </a:extLst>
                </p:cNvPr>
                <p:cNvSpPr/>
                <p:nvPr/>
              </p:nvSpPr>
              <p:spPr>
                <a:xfrm>
                  <a:off x="8111633" y="1688952"/>
                  <a:ext cx="9620" cy="51317"/>
                </a:xfrm>
                <a:custGeom>
                  <a:avLst/>
                  <a:gdLst>
                    <a:gd name="connsiteX0" fmla="*/ 309 w 9620"/>
                    <a:gd name="connsiteY0" fmla="*/ 0 h 51317"/>
                    <a:gd name="connsiteX1" fmla="*/ 1804 w 9620"/>
                    <a:gd name="connsiteY1" fmla="*/ 18684 h 51317"/>
                    <a:gd name="connsiteX2" fmla="*/ 8281 w 9620"/>
                    <a:gd name="connsiteY2" fmla="*/ 34876 h 51317"/>
                    <a:gd name="connsiteX3" fmla="*/ 9153 w 9620"/>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0" h="51317">
                      <a:moveTo>
                        <a:pt x="309" y="0"/>
                      </a:moveTo>
                      <a:cubicBezTo>
                        <a:pt x="-563" y="8345"/>
                        <a:pt x="559" y="14573"/>
                        <a:pt x="1804" y="18684"/>
                      </a:cubicBezTo>
                      <a:cubicBezTo>
                        <a:pt x="3921" y="25410"/>
                        <a:pt x="6537" y="28025"/>
                        <a:pt x="8281" y="34876"/>
                      </a:cubicBezTo>
                      <a:cubicBezTo>
                        <a:pt x="10025" y="41602"/>
                        <a:pt x="9776" y="47456"/>
                        <a:pt x="9153"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8" name="Freeform 7361">
                  <a:extLst>
                    <a:ext uri="{FF2B5EF4-FFF2-40B4-BE49-F238E27FC236}">
                      <a16:creationId xmlns:a16="http://schemas.microsoft.com/office/drawing/2014/main" id="{ECDDB251-8623-A497-2546-01815B0A8380}"/>
                    </a:ext>
                  </a:extLst>
                </p:cNvPr>
                <p:cNvSpPr/>
                <p:nvPr/>
              </p:nvSpPr>
              <p:spPr>
                <a:xfrm>
                  <a:off x="8117672" y="1682599"/>
                  <a:ext cx="10587" cy="51193"/>
                </a:xfrm>
                <a:custGeom>
                  <a:avLst/>
                  <a:gdLst>
                    <a:gd name="connsiteX0" fmla="*/ 10588 w 10587"/>
                    <a:gd name="connsiteY0" fmla="*/ 51193 h 51193"/>
                    <a:gd name="connsiteX1" fmla="*/ 5107 w 10587"/>
                    <a:gd name="connsiteY1" fmla="*/ 33132 h 51193"/>
                    <a:gd name="connsiteX2" fmla="*/ 5232 w 10587"/>
                    <a:gd name="connsiteY2" fmla="*/ 15694 h 51193"/>
                    <a:gd name="connsiteX3" fmla="*/ 0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10588" y="51193"/>
                      </a:moveTo>
                      <a:cubicBezTo>
                        <a:pt x="6602" y="43720"/>
                        <a:pt x="5481" y="37492"/>
                        <a:pt x="5107" y="33132"/>
                      </a:cubicBezTo>
                      <a:cubicBezTo>
                        <a:pt x="4609" y="26157"/>
                        <a:pt x="6104" y="22794"/>
                        <a:pt x="5232" y="15694"/>
                      </a:cubicBezTo>
                      <a:cubicBezTo>
                        <a:pt x="4485"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9" name="Freeform 7362">
                  <a:extLst>
                    <a:ext uri="{FF2B5EF4-FFF2-40B4-BE49-F238E27FC236}">
                      <a16:creationId xmlns:a16="http://schemas.microsoft.com/office/drawing/2014/main" id="{C7CDFCD7-8547-9DEB-D2F3-C935D9D966F1}"/>
                    </a:ext>
                  </a:extLst>
                </p:cNvPr>
                <p:cNvSpPr/>
                <p:nvPr/>
              </p:nvSpPr>
              <p:spPr>
                <a:xfrm>
                  <a:off x="8100995" y="1668039"/>
                  <a:ext cx="26380" cy="26504"/>
                </a:xfrm>
                <a:custGeom>
                  <a:avLst/>
                  <a:gdLst>
                    <a:gd name="connsiteX0" fmla="*/ 26144 w 26380"/>
                    <a:gd name="connsiteY0" fmla="*/ 10824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4"/>
                      </a:moveTo>
                      <a:cubicBezTo>
                        <a:pt x="27515" y="18048"/>
                        <a:pt x="22781" y="24898"/>
                        <a:pt x="15681" y="26269"/>
                      </a:cubicBezTo>
                      <a:cubicBezTo>
                        <a:pt x="8457" y="27639"/>
                        <a:pt x="1606" y="22906"/>
                        <a:pt x="236" y="15681"/>
                      </a:cubicBezTo>
                      <a:cubicBezTo>
                        <a:pt x="-1134" y="8457"/>
                        <a:pt x="3599" y="1606"/>
                        <a:pt x="10699" y="236"/>
                      </a:cubicBezTo>
                      <a:cubicBezTo>
                        <a:pt x="17799" y="-1134"/>
                        <a:pt x="24774" y="3599"/>
                        <a:pt x="26144"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9" name="Graphic 2987">
                <a:extLst>
                  <a:ext uri="{FF2B5EF4-FFF2-40B4-BE49-F238E27FC236}">
                    <a16:creationId xmlns:a16="http://schemas.microsoft.com/office/drawing/2014/main" id="{BF9FEAB3-65CC-6AD6-FCBC-14A49C4B1682}"/>
                  </a:ext>
                </a:extLst>
              </p:cNvPr>
              <p:cNvGrpSpPr/>
              <p:nvPr/>
            </p:nvGrpSpPr>
            <p:grpSpPr>
              <a:xfrm>
                <a:off x="8071973" y="1673519"/>
                <a:ext cx="49169" cy="146827"/>
                <a:chOff x="8071973" y="1673519"/>
                <a:chExt cx="49169" cy="146827"/>
              </a:xfrm>
              <a:grpFill/>
            </p:grpSpPr>
            <p:sp>
              <p:nvSpPr>
                <p:cNvPr id="6738" name="Freeform 7364">
                  <a:extLst>
                    <a:ext uri="{FF2B5EF4-FFF2-40B4-BE49-F238E27FC236}">
                      <a16:creationId xmlns:a16="http://schemas.microsoft.com/office/drawing/2014/main" id="{2D04E00B-8230-FA55-99AF-ACCCD668E15D}"/>
                    </a:ext>
                  </a:extLst>
                </p:cNvPr>
                <p:cNvSpPr/>
                <p:nvPr/>
              </p:nvSpPr>
              <p:spPr>
                <a:xfrm>
                  <a:off x="8100691" y="1747992"/>
                  <a:ext cx="9621" cy="51442"/>
                </a:xfrm>
                <a:custGeom>
                  <a:avLst/>
                  <a:gdLst>
                    <a:gd name="connsiteX0" fmla="*/ 9259 w 9621"/>
                    <a:gd name="connsiteY0" fmla="*/ 51442 h 51442"/>
                    <a:gd name="connsiteX1" fmla="*/ 7764 w 9621"/>
                    <a:gd name="connsiteY1" fmla="*/ 32634 h 51442"/>
                    <a:gd name="connsiteX2" fmla="*/ 1288 w 9621"/>
                    <a:gd name="connsiteY2" fmla="*/ 16442 h 51442"/>
                    <a:gd name="connsiteX3" fmla="*/ 416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51442"/>
                      </a:moveTo>
                      <a:cubicBezTo>
                        <a:pt x="10256" y="43097"/>
                        <a:pt x="9010" y="36869"/>
                        <a:pt x="7764" y="32634"/>
                      </a:cubicBezTo>
                      <a:cubicBezTo>
                        <a:pt x="5772"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9" name="Freeform 7365">
                  <a:extLst>
                    <a:ext uri="{FF2B5EF4-FFF2-40B4-BE49-F238E27FC236}">
                      <a16:creationId xmlns:a16="http://schemas.microsoft.com/office/drawing/2014/main" id="{52504028-D9C1-0E2E-A1CF-6A4E86D5561F}"/>
                    </a:ext>
                  </a:extLst>
                </p:cNvPr>
                <p:cNvSpPr/>
                <p:nvPr/>
              </p:nvSpPr>
              <p:spPr>
                <a:xfrm>
                  <a:off x="8093757" y="1754593"/>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5107" y="13701"/>
                        <a:pt x="5356" y="18061"/>
                      </a:cubicBezTo>
                      <a:cubicBezTo>
                        <a:pt x="5855" y="25036"/>
                        <a:pt x="4360" y="28399"/>
                        <a:pt x="5107" y="35499"/>
                      </a:cubicBezTo>
                      <a:cubicBezTo>
                        <a:pt x="5855"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0" name="Freeform 7366">
                  <a:extLst>
                    <a:ext uri="{FF2B5EF4-FFF2-40B4-BE49-F238E27FC236}">
                      <a16:creationId xmlns:a16="http://schemas.microsoft.com/office/drawing/2014/main" id="{0746558F-7A20-839E-3EC4-C269C84E0B0C}"/>
                    </a:ext>
                  </a:extLst>
                </p:cNvPr>
                <p:cNvSpPr/>
                <p:nvPr/>
              </p:nvSpPr>
              <p:spPr>
                <a:xfrm>
                  <a:off x="8094398" y="1793842"/>
                  <a:ext cx="26744" cy="26504"/>
                </a:xfrm>
                <a:custGeom>
                  <a:avLst/>
                  <a:gdLst>
                    <a:gd name="connsiteX0" fmla="*/ 231 w 26744"/>
                    <a:gd name="connsiteY0" fmla="*/ 15681 h 26504"/>
                    <a:gd name="connsiteX1" fmla="*/ 10943 w 26744"/>
                    <a:gd name="connsiteY1" fmla="*/ 236 h 26504"/>
                    <a:gd name="connsiteX2" fmla="*/ 26513 w 26744"/>
                    <a:gd name="connsiteY2" fmla="*/ 10823 h 26504"/>
                    <a:gd name="connsiteX3" fmla="*/ 15801 w 26744"/>
                    <a:gd name="connsiteY3" fmla="*/ 26269 h 26504"/>
                    <a:gd name="connsiteX4" fmla="*/ 231 w 26744"/>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04">
                      <a:moveTo>
                        <a:pt x="231" y="15681"/>
                      </a:moveTo>
                      <a:cubicBezTo>
                        <a:pt x="-1139" y="8457"/>
                        <a:pt x="3719" y="1482"/>
                        <a:pt x="10943" y="236"/>
                      </a:cubicBezTo>
                      <a:cubicBezTo>
                        <a:pt x="18168" y="-1134"/>
                        <a:pt x="25143" y="3599"/>
                        <a:pt x="26513" y="10823"/>
                      </a:cubicBezTo>
                      <a:cubicBezTo>
                        <a:pt x="27884" y="18048"/>
                        <a:pt x="23026" y="24898"/>
                        <a:pt x="15801" y="26269"/>
                      </a:cubicBezTo>
                      <a:cubicBezTo>
                        <a:pt x="8453" y="27639"/>
                        <a:pt x="1477" y="22906"/>
                        <a:pt x="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1" name="Freeform 7367">
                  <a:extLst>
                    <a:ext uri="{FF2B5EF4-FFF2-40B4-BE49-F238E27FC236}">
                      <a16:creationId xmlns:a16="http://schemas.microsoft.com/office/drawing/2014/main" id="{B5746061-836F-8957-C6A6-987B4D3E93A3}"/>
                    </a:ext>
                  </a:extLst>
                </p:cNvPr>
                <p:cNvSpPr/>
                <p:nvPr/>
              </p:nvSpPr>
              <p:spPr>
                <a:xfrm>
                  <a:off x="8082559" y="1694432"/>
                  <a:ext cx="9621" cy="51442"/>
                </a:xfrm>
                <a:custGeom>
                  <a:avLst/>
                  <a:gdLst>
                    <a:gd name="connsiteX0" fmla="*/ 362 w 9621"/>
                    <a:gd name="connsiteY0" fmla="*/ 0 h 51442"/>
                    <a:gd name="connsiteX1" fmla="*/ 1857 w 9621"/>
                    <a:gd name="connsiteY1" fmla="*/ 18808 h 51442"/>
                    <a:gd name="connsiteX2" fmla="*/ 8334 w 9621"/>
                    <a:gd name="connsiteY2" fmla="*/ 35001 h 51442"/>
                    <a:gd name="connsiteX3" fmla="*/ 9206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362" y="0"/>
                      </a:moveTo>
                      <a:cubicBezTo>
                        <a:pt x="-635" y="8345"/>
                        <a:pt x="612" y="14573"/>
                        <a:pt x="1857" y="18808"/>
                      </a:cubicBezTo>
                      <a:cubicBezTo>
                        <a:pt x="3850" y="25534"/>
                        <a:pt x="6590" y="28150"/>
                        <a:pt x="8334" y="35001"/>
                      </a:cubicBezTo>
                      <a:cubicBezTo>
                        <a:pt x="10078" y="41727"/>
                        <a:pt x="9704" y="47581"/>
                        <a:pt x="920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2" name="Freeform 7368">
                  <a:extLst>
                    <a:ext uri="{FF2B5EF4-FFF2-40B4-BE49-F238E27FC236}">
                      <a16:creationId xmlns:a16="http://schemas.microsoft.com/office/drawing/2014/main" id="{A0686964-D3F1-FC97-DBC7-CA0BF1EAB70A}"/>
                    </a:ext>
                  </a:extLst>
                </p:cNvPr>
                <p:cNvSpPr/>
                <p:nvPr/>
              </p:nvSpPr>
              <p:spPr>
                <a:xfrm>
                  <a:off x="8089024" y="1688080"/>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5" y="22794"/>
                        <a:pt x="5107" y="15694"/>
                      </a:cubicBezTo>
                      <a:cubicBezTo>
                        <a:pt x="4360"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3" name="Freeform 7369">
                  <a:extLst>
                    <a:ext uri="{FF2B5EF4-FFF2-40B4-BE49-F238E27FC236}">
                      <a16:creationId xmlns:a16="http://schemas.microsoft.com/office/drawing/2014/main" id="{1263BCDD-9F68-0A0C-F389-DA6E83A1AD23}"/>
                    </a:ext>
                  </a:extLst>
                </p:cNvPr>
                <p:cNvSpPr/>
                <p:nvPr/>
              </p:nvSpPr>
              <p:spPr>
                <a:xfrm>
                  <a:off x="8071973" y="1673519"/>
                  <a:ext cx="26380" cy="26504"/>
                </a:xfrm>
                <a:custGeom>
                  <a:avLst/>
                  <a:gdLst>
                    <a:gd name="connsiteX0" fmla="*/ 26144 w 26380"/>
                    <a:gd name="connsiteY0" fmla="*/ 10823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3"/>
                      </a:moveTo>
                      <a:cubicBezTo>
                        <a:pt x="27514" y="18048"/>
                        <a:pt x="22781" y="24899"/>
                        <a:pt x="15681" y="26269"/>
                      </a:cubicBezTo>
                      <a:cubicBezTo>
                        <a:pt x="8457" y="27639"/>
                        <a:pt x="1606" y="22906"/>
                        <a:pt x="236" y="15681"/>
                      </a:cubicBezTo>
                      <a:cubicBezTo>
                        <a:pt x="-1134" y="8457"/>
                        <a:pt x="3600" y="1606"/>
                        <a:pt x="10699" y="236"/>
                      </a:cubicBezTo>
                      <a:cubicBezTo>
                        <a:pt x="17923" y="-1134"/>
                        <a:pt x="24774" y="3599"/>
                        <a:pt x="26144"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0" name="Graphic 2987">
                <a:extLst>
                  <a:ext uri="{FF2B5EF4-FFF2-40B4-BE49-F238E27FC236}">
                    <a16:creationId xmlns:a16="http://schemas.microsoft.com/office/drawing/2014/main" id="{3C8E60A6-8547-96A2-B1D9-CF7B9AC85A83}"/>
                  </a:ext>
                </a:extLst>
              </p:cNvPr>
              <p:cNvGrpSpPr/>
              <p:nvPr/>
            </p:nvGrpSpPr>
            <p:grpSpPr>
              <a:xfrm>
                <a:off x="8043109" y="1679000"/>
                <a:ext cx="48637" cy="146951"/>
                <a:chOff x="8043109" y="1679000"/>
                <a:chExt cx="48637" cy="146951"/>
              </a:xfrm>
              <a:grpFill/>
            </p:grpSpPr>
            <p:sp>
              <p:nvSpPr>
                <p:cNvPr id="6732" name="Freeform 7371">
                  <a:extLst>
                    <a:ext uri="{FF2B5EF4-FFF2-40B4-BE49-F238E27FC236}">
                      <a16:creationId xmlns:a16="http://schemas.microsoft.com/office/drawing/2014/main" id="{02ABE921-FCBC-38DE-D8BB-E0D64087D49A}"/>
                    </a:ext>
                  </a:extLst>
                </p:cNvPr>
                <p:cNvSpPr/>
                <p:nvPr/>
              </p:nvSpPr>
              <p:spPr>
                <a:xfrm>
                  <a:off x="8071419" y="1753472"/>
                  <a:ext cx="9640" cy="51442"/>
                </a:xfrm>
                <a:custGeom>
                  <a:avLst/>
                  <a:gdLst>
                    <a:gd name="connsiteX0" fmla="*/ 9259 w 9640"/>
                    <a:gd name="connsiteY0" fmla="*/ 51442 h 51442"/>
                    <a:gd name="connsiteX1" fmla="*/ 7765 w 9640"/>
                    <a:gd name="connsiteY1" fmla="*/ 32634 h 51442"/>
                    <a:gd name="connsiteX2" fmla="*/ 1287 w 9640"/>
                    <a:gd name="connsiteY2" fmla="*/ 16442 h 51442"/>
                    <a:gd name="connsiteX3" fmla="*/ 415 w 9640"/>
                    <a:gd name="connsiteY3" fmla="*/ 0 h 51442"/>
                  </a:gdLst>
                  <a:ahLst/>
                  <a:cxnLst>
                    <a:cxn ang="0">
                      <a:pos x="connsiteX0" y="connsiteY0"/>
                    </a:cxn>
                    <a:cxn ang="0">
                      <a:pos x="connsiteX1" y="connsiteY1"/>
                    </a:cxn>
                    <a:cxn ang="0">
                      <a:pos x="connsiteX2" y="connsiteY2"/>
                    </a:cxn>
                    <a:cxn ang="0">
                      <a:pos x="connsiteX3" y="connsiteY3"/>
                    </a:cxn>
                  </a:cxnLst>
                  <a:rect l="l" t="t" r="r" b="b"/>
                  <a:pathLst>
                    <a:path w="9640" h="51442">
                      <a:moveTo>
                        <a:pt x="9259" y="51442"/>
                      </a:moveTo>
                      <a:cubicBezTo>
                        <a:pt x="10256" y="43097"/>
                        <a:pt x="9135" y="36869"/>
                        <a:pt x="7765" y="32634"/>
                      </a:cubicBezTo>
                      <a:cubicBezTo>
                        <a:pt x="5771" y="25908"/>
                        <a:pt x="3031" y="23292"/>
                        <a:pt x="1287" y="16442"/>
                      </a:cubicBezTo>
                      <a:cubicBezTo>
                        <a:pt x="-457" y="9715"/>
                        <a:pt x="-82" y="3861"/>
                        <a:pt x="4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3" name="Freeform 7372">
                  <a:extLst>
                    <a:ext uri="{FF2B5EF4-FFF2-40B4-BE49-F238E27FC236}">
                      <a16:creationId xmlns:a16="http://schemas.microsoft.com/office/drawing/2014/main" id="{F5A3AF6C-4D81-38A4-48CB-E07DD4169DDE}"/>
                    </a:ext>
                  </a:extLst>
                </p:cNvPr>
                <p:cNvSpPr/>
                <p:nvPr/>
              </p:nvSpPr>
              <p:spPr>
                <a:xfrm>
                  <a:off x="8064486" y="1760074"/>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4982" y="13701"/>
                        <a:pt x="5356" y="18061"/>
                      </a:cubicBezTo>
                      <a:cubicBezTo>
                        <a:pt x="5854" y="25036"/>
                        <a:pt x="4235" y="28399"/>
                        <a:pt x="5107" y="35499"/>
                      </a:cubicBezTo>
                      <a:cubicBezTo>
                        <a:pt x="5854" y="42350"/>
                        <a:pt x="8220"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4" name="Freeform 7373">
                  <a:extLst>
                    <a:ext uri="{FF2B5EF4-FFF2-40B4-BE49-F238E27FC236}">
                      <a16:creationId xmlns:a16="http://schemas.microsoft.com/office/drawing/2014/main" id="{31A5920E-3401-3BA3-39DB-E6E9105221FE}"/>
                    </a:ext>
                  </a:extLst>
                </p:cNvPr>
                <p:cNvSpPr/>
                <p:nvPr/>
              </p:nvSpPr>
              <p:spPr>
                <a:xfrm>
                  <a:off x="8065002" y="1799323"/>
                  <a:ext cx="26744" cy="26629"/>
                </a:xfrm>
                <a:custGeom>
                  <a:avLst/>
                  <a:gdLst>
                    <a:gd name="connsiteX0" fmla="*/ 231 w 26744"/>
                    <a:gd name="connsiteY0" fmla="*/ 15806 h 26629"/>
                    <a:gd name="connsiteX1" fmla="*/ 10943 w 26744"/>
                    <a:gd name="connsiteY1" fmla="*/ 236 h 26629"/>
                    <a:gd name="connsiteX2" fmla="*/ 26513 w 26744"/>
                    <a:gd name="connsiteY2" fmla="*/ 10823 h 26629"/>
                    <a:gd name="connsiteX3" fmla="*/ 15801 w 26744"/>
                    <a:gd name="connsiteY3" fmla="*/ 26393 h 26629"/>
                    <a:gd name="connsiteX4" fmla="*/ 231 w 2674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629">
                      <a:moveTo>
                        <a:pt x="231" y="15806"/>
                      </a:moveTo>
                      <a:cubicBezTo>
                        <a:pt x="-1138" y="8581"/>
                        <a:pt x="3719" y="1606"/>
                        <a:pt x="10943" y="236"/>
                      </a:cubicBezTo>
                      <a:cubicBezTo>
                        <a:pt x="18168" y="-1134"/>
                        <a:pt x="25143" y="3599"/>
                        <a:pt x="26513" y="10823"/>
                      </a:cubicBezTo>
                      <a:cubicBezTo>
                        <a:pt x="27883" y="18048"/>
                        <a:pt x="23026" y="25023"/>
                        <a:pt x="15801" y="26393"/>
                      </a:cubicBezTo>
                      <a:cubicBezTo>
                        <a:pt x="8452" y="27763"/>
                        <a:pt x="1601" y="23030"/>
                        <a:pt x="23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5" name="Freeform 7374">
                  <a:extLst>
                    <a:ext uri="{FF2B5EF4-FFF2-40B4-BE49-F238E27FC236}">
                      <a16:creationId xmlns:a16="http://schemas.microsoft.com/office/drawing/2014/main" id="{9AD29D04-DDE0-BD9A-F866-41009B38A2B5}"/>
                    </a:ext>
                  </a:extLst>
                </p:cNvPr>
                <p:cNvSpPr/>
                <p:nvPr/>
              </p:nvSpPr>
              <p:spPr>
                <a:xfrm>
                  <a:off x="8053643" y="1699913"/>
                  <a:ext cx="9639" cy="51442"/>
                </a:xfrm>
                <a:custGeom>
                  <a:avLst/>
                  <a:gdLst>
                    <a:gd name="connsiteX0" fmla="*/ 381 w 9639"/>
                    <a:gd name="connsiteY0" fmla="*/ 0 h 51442"/>
                    <a:gd name="connsiteX1" fmla="*/ 1875 w 9639"/>
                    <a:gd name="connsiteY1" fmla="*/ 18808 h 51442"/>
                    <a:gd name="connsiteX2" fmla="*/ 8352 w 9639"/>
                    <a:gd name="connsiteY2" fmla="*/ 35001 h 51442"/>
                    <a:gd name="connsiteX3" fmla="*/ 9224 w 963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39" h="51442">
                      <a:moveTo>
                        <a:pt x="381" y="0"/>
                      </a:moveTo>
                      <a:cubicBezTo>
                        <a:pt x="-615" y="8345"/>
                        <a:pt x="505" y="14573"/>
                        <a:pt x="1875" y="18808"/>
                      </a:cubicBezTo>
                      <a:cubicBezTo>
                        <a:pt x="3869" y="25534"/>
                        <a:pt x="6484" y="28150"/>
                        <a:pt x="8352" y="35001"/>
                      </a:cubicBezTo>
                      <a:cubicBezTo>
                        <a:pt x="10096" y="41727"/>
                        <a:pt x="9722" y="47581"/>
                        <a:pt x="922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6" name="Freeform 7375">
                  <a:extLst>
                    <a:ext uri="{FF2B5EF4-FFF2-40B4-BE49-F238E27FC236}">
                      <a16:creationId xmlns:a16="http://schemas.microsoft.com/office/drawing/2014/main" id="{B745BEE9-56F6-835B-CD44-611B37626248}"/>
                    </a:ext>
                  </a:extLst>
                </p:cNvPr>
                <p:cNvSpPr/>
                <p:nvPr/>
              </p:nvSpPr>
              <p:spPr>
                <a:xfrm>
                  <a:off x="8059878" y="1693560"/>
                  <a:ext cx="10213" cy="51193"/>
                </a:xfrm>
                <a:custGeom>
                  <a:avLst/>
                  <a:gdLst>
                    <a:gd name="connsiteX0" fmla="*/ 10214 w 10213"/>
                    <a:gd name="connsiteY0" fmla="*/ 51193 h 51193"/>
                    <a:gd name="connsiteX1" fmla="*/ 4857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1" y="37492"/>
                        <a:pt x="4857" y="33132"/>
                      </a:cubicBezTo>
                      <a:cubicBezTo>
                        <a:pt x="4359" y="26157"/>
                        <a:pt x="5854" y="22794"/>
                        <a:pt x="5107" y="15694"/>
                      </a:cubicBezTo>
                      <a:cubicBezTo>
                        <a:pt x="4359"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7" name="Freeform 7376">
                  <a:extLst>
                    <a:ext uri="{FF2B5EF4-FFF2-40B4-BE49-F238E27FC236}">
                      <a16:creationId xmlns:a16="http://schemas.microsoft.com/office/drawing/2014/main" id="{D56D6E87-198F-0115-9822-C93E43A606E8}"/>
                    </a:ext>
                  </a:extLst>
                </p:cNvPr>
                <p:cNvSpPr/>
                <p:nvPr/>
              </p:nvSpPr>
              <p:spPr>
                <a:xfrm>
                  <a:off x="8043109" y="1679000"/>
                  <a:ext cx="26346" cy="26504"/>
                </a:xfrm>
                <a:custGeom>
                  <a:avLst/>
                  <a:gdLst>
                    <a:gd name="connsiteX0" fmla="*/ 26111 w 26346"/>
                    <a:gd name="connsiteY0" fmla="*/ 10823 h 26504"/>
                    <a:gd name="connsiteX1" fmla="*/ 15523 w 26346"/>
                    <a:gd name="connsiteY1" fmla="*/ 26269 h 26504"/>
                    <a:gd name="connsiteX2" fmla="*/ 203 w 26346"/>
                    <a:gd name="connsiteY2" fmla="*/ 15681 h 26504"/>
                    <a:gd name="connsiteX3" fmla="*/ 10790 w 26346"/>
                    <a:gd name="connsiteY3" fmla="*/ 236 h 26504"/>
                    <a:gd name="connsiteX4" fmla="*/ 26111 w 2634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4">
                      <a:moveTo>
                        <a:pt x="26111" y="10823"/>
                      </a:moveTo>
                      <a:cubicBezTo>
                        <a:pt x="27481" y="18048"/>
                        <a:pt x="22748" y="24898"/>
                        <a:pt x="15523" y="26269"/>
                      </a:cubicBezTo>
                      <a:cubicBezTo>
                        <a:pt x="8299" y="27639"/>
                        <a:pt x="1448" y="22906"/>
                        <a:pt x="203" y="15681"/>
                      </a:cubicBezTo>
                      <a:cubicBezTo>
                        <a:pt x="-1043" y="8457"/>
                        <a:pt x="3566" y="1606"/>
                        <a:pt x="10790" y="236"/>
                      </a:cubicBezTo>
                      <a:cubicBezTo>
                        <a:pt x="17890" y="-1134"/>
                        <a:pt x="24740" y="3599"/>
                        <a:pt x="2611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1" name="Graphic 2987">
                <a:extLst>
                  <a:ext uri="{FF2B5EF4-FFF2-40B4-BE49-F238E27FC236}">
                    <a16:creationId xmlns:a16="http://schemas.microsoft.com/office/drawing/2014/main" id="{BC2DDAB0-008C-03CA-88D3-AB4A37A2357E}"/>
                  </a:ext>
                </a:extLst>
              </p:cNvPr>
              <p:cNvGrpSpPr/>
              <p:nvPr/>
            </p:nvGrpSpPr>
            <p:grpSpPr>
              <a:xfrm>
                <a:off x="8014091" y="1684514"/>
                <a:ext cx="48260" cy="146918"/>
                <a:chOff x="8014091" y="1684514"/>
                <a:chExt cx="48260" cy="146918"/>
              </a:xfrm>
              <a:grpFill/>
            </p:grpSpPr>
            <p:sp>
              <p:nvSpPr>
                <p:cNvPr id="6726" name="Freeform 7378">
                  <a:extLst>
                    <a:ext uri="{FF2B5EF4-FFF2-40B4-BE49-F238E27FC236}">
                      <a16:creationId xmlns:a16="http://schemas.microsoft.com/office/drawing/2014/main" id="{6896E366-314B-AEF9-2D26-E8BE7895713B}"/>
                    </a:ext>
                  </a:extLst>
                </p:cNvPr>
                <p:cNvSpPr/>
                <p:nvPr/>
              </p:nvSpPr>
              <p:spPr>
                <a:xfrm>
                  <a:off x="8042418" y="1759078"/>
                  <a:ext cx="9372" cy="51442"/>
                </a:xfrm>
                <a:custGeom>
                  <a:avLst/>
                  <a:gdLst>
                    <a:gd name="connsiteX0" fmla="*/ 8990 w 9372"/>
                    <a:gd name="connsiteY0" fmla="*/ 51442 h 51442"/>
                    <a:gd name="connsiteX1" fmla="*/ 7619 w 9372"/>
                    <a:gd name="connsiteY1" fmla="*/ 32634 h 51442"/>
                    <a:gd name="connsiteX2" fmla="*/ 1267 w 9372"/>
                    <a:gd name="connsiteY2" fmla="*/ 16442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0" y="23292"/>
                        <a:pt x="1267" y="16442"/>
                      </a:cubicBezTo>
                      <a:cubicBezTo>
                        <a:pt x="-477" y="9715"/>
                        <a:pt x="-104"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7" name="Freeform 7379">
                  <a:extLst>
                    <a:ext uri="{FF2B5EF4-FFF2-40B4-BE49-F238E27FC236}">
                      <a16:creationId xmlns:a16="http://schemas.microsoft.com/office/drawing/2014/main" id="{C1F4F378-CDBA-952E-7159-E0F1A3BF8131}"/>
                    </a:ext>
                  </a:extLst>
                </p:cNvPr>
                <p:cNvSpPr/>
                <p:nvPr/>
              </p:nvSpPr>
              <p:spPr>
                <a:xfrm>
                  <a:off x="8035340" y="1765555"/>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1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1" y="7473"/>
                        <a:pt x="4983" y="13701"/>
                        <a:pt x="5232" y="18061"/>
                      </a:cubicBezTo>
                      <a:cubicBezTo>
                        <a:pt x="5730" y="25036"/>
                        <a:pt x="4111" y="28399"/>
                        <a:pt x="4858" y="35499"/>
                      </a:cubicBezTo>
                      <a:cubicBezTo>
                        <a:pt x="5605" y="42350"/>
                        <a:pt x="7972" y="47706"/>
                        <a:pt x="984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8" name="Freeform 7380">
                  <a:extLst>
                    <a:ext uri="{FF2B5EF4-FFF2-40B4-BE49-F238E27FC236}">
                      <a16:creationId xmlns:a16="http://schemas.microsoft.com/office/drawing/2014/main" id="{0C5CA722-412F-9428-E988-9847682B924D}"/>
                    </a:ext>
                  </a:extLst>
                </p:cNvPr>
                <p:cNvSpPr/>
                <p:nvPr/>
              </p:nvSpPr>
              <p:spPr>
                <a:xfrm>
                  <a:off x="8035764" y="1804803"/>
                  <a:ext cx="26587" cy="26629"/>
                </a:xfrm>
                <a:custGeom>
                  <a:avLst/>
                  <a:gdLst>
                    <a:gd name="connsiteX0" fmla="*/ 199 w 26587"/>
                    <a:gd name="connsiteY0" fmla="*/ 15806 h 26629"/>
                    <a:gd name="connsiteX1" fmla="*/ 10911 w 26587"/>
                    <a:gd name="connsiteY1" fmla="*/ 236 h 26629"/>
                    <a:gd name="connsiteX2" fmla="*/ 26356 w 26587"/>
                    <a:gd name="connsiteY2" fmla="*/ 10824 h 26629"/>
                    <a:gd name="connsiteX3" fmla="*/ 15644 w 26587"/>
                    <a:gd name="connsiteY3" fmla="*/ 26393 h 26629"/>
                    <a:gd name="connsiteX4" fmla="*/ 199 w 26587"/>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629">
                      <a:moveTo>
                        <a:pt x="199" y="15806"/>
                      </a:moveTo>
                      <a:cubicBezTo>
                        <a:pt x="-1047" y="8581"/>
                        <a:pt x="3687" y="1606"/>
                        <a:pt x="10911" y="236"/>
                      </a:cubicBezTo>
                      <a:cubicBezTo>
                        <a:pt x="18135" y="-1134"/>
                        <a:pt x="25110" y="3599"/>
                        <a:pt x="26356" y="10824"/>
                      </a:cubicBezTo>
                      <a:cubicBezTo>
                        <a:pt x="27726" y="18048"/>
                        <a:pt x="22868" y="25023"/>
                        <a:pt x="15644" y="26393"/>
                      </a:cubicBezTo>
                      <a:cubicBezTo>
                        <a:pt x="8420" y="27763"/>
                        <a:pt x="1445" y="23030"/>
                        <a:pt x="199"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9" name="Freeform 7381">
                  <a:extLst>
                    <a:ext uri="{FF2B5EF4-FFF2-40B4-BE49-F238E27FC236}">
                      <a16:creationId xmlns:a16="http://schemas.microsoft.com/office/drawing/2014/main" id="{A4A283C2-548F-39CB-00E8-D5D11DE982CE}"/>
                    </a:ext>
                  </a:extLst>
                </p:cNvPr>
                <p:cNvSpPr/>
                <p:nvPr/>
              </p:nvSpPr>
              <p:spPr>
                <a:xfrm>
                  <a:off x="8024618" y="1705393"/>
                  <a:ext cx="9372" cy="51566"/>
                </a:xfrm>
                <a:custGeom>
                  <a:avLst/>
                  <a:gdLst>
                    <a:gd name="connsiteX0" fmla="*/ 383 w 9372"/>
                    <a:gd name="connsiteY0" fmla="*/ 0 h 51566"/>
                    <a:gd name="connsiteX1" fmla="*/ 1753 w 9372"/>
                    <a:gd name="connsiteY1" fmla="*/ 18808 h 51566"/>
                    <a:gd name="connsiteX2" fmla="*/ 8106 w 9372"/>
                    <a:gd name="connsiteY2" fmla="*/ 35001 h 51566"/>
                    <a:gd name="connsiteX3" fmla="*/ 8853 w 937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72" h="51566">
                      <a:moveTo>
                        <a:pt x="383" y="0"/>
                      </a:moveTo>
                      <a:cubicBezTo>
                        <a:pt x="-613" y="8345"/>
                        <a:pt x="507" y="14573"/>
                        <a:pt x="1753" y="18808"/>
                      </a:cubicBezTo>
                      <a:cubicBezTo>
                        <a:pt x="3746" y="25534"/>
                        <a:pt x="6362" y="28150"/>
                        <a:pt x="8106" y="35001"/>
                      </a:cubicBezTo>
                      <a:cubicBezTo>
                        <a:pt x="9849" y="41727"/>
                        <a:pt x="9476"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0" name="Freeform 7382">
                  <a:extLst>
                    <a:ext uri="{FF2B5EF4-FFF2-40B4-BE49-F238E27FC236}">
                      <a16:creationId xmlns:a16="http://schemas.microsoft.com/office/drawing/2014/main" id="{2A82B89F-B995-B876-309F-27CFAC067BE0}"/>
                    </a:ext>
                  </a:extLst>
                </p:cNvPr>
                <p:cNvSpPr/>
                <p:nvPr/>
              </p:nvSpPr>
              <p:spPr>
                <a:xfrm>
                  <a:off x="8030980" y="1699041"/>
                  <a:ext cx="9964" cy="51193"/>
                </a:xfrm>
                <a:custGeom>
                  <a:avLst/>
                  <a:gdLst>
                    <a:gd name="connsiteX0" fmla="*/ 9964 w 9964"/>
                    <a:gd name="connsiteY0" fmla="*/ 51193 h 51193"/>
                    <a:gd name="connsiteX1" fmla="*/ 4733 w 9964"/>
                    <a:gd name="connsiteY1" fmla="*/ 33132 h 51193"/>
                    <a:gd name="connsiteX2" fmla="*/ 4982 w 9964"/>
                    <a:gd name="connsiteY2" fmla="*/ 15694 h 51193"/>
                    <a:gd name="connsiteX3" fmla="*/ 0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9964" y="51193"/>
                      </a:moveTo>
                      <a:cubicBezTo>
                        <a:pt x="6103" y="43720"/>
                        <a:pt x="4982" y="37492"/>
                        <a:pt x="4733" y="33132"/>
                      </a:cubicBezTo>
                      <a:cubicBezTo>
                        <a:pt x="4235" y="26157"/>
                        <a:pt x="5854" y="22794"/>
                        <a:pt x="4982" y="15694"/>
                      </a:cubicBezTo>
                      <a:cubicBezTo>
                        <a:pt x="4235"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1" name="Freeform 7383">
                  <a:extLst>
                    <a:ext uri="{FF2B5EF4-FFF2-40B4-BE49-F238E27FC236}">
                      <a16:creationId xmlns:a16="http://schemas.microsoft.com/office/drawing/2014/main" id="{B7704D14-93CF-99B0-BAC5-32F1DE28C94E}"/>
                    </a:ext>
                  </a:extLst>
                </p:cNvPr>
                <p:cNvSpPr/>
                <p:nvPr/>
              </p:nvSpPr>
              <p:spPr>
                <a:xfrm>
                  <a:off x="8014091" y="1684514"/>
                  <a:ext cx="26338" cy="26471"/>
                </a:xfrm>
                <a:custGeom>
                  <a:avLst/>
                  <a:gdLst>
                    <a:gd name="connsiteX0" fmla="*/ 26107 w 26338"/>
                    <a:gd name="connsiteY0" fmla="*/ 10790 h 26471"/>
                    <a:gd name="connsiteX1" fmla="*/ 15520 w 26338"/>
                    <a:gd name="connsiteY1" fmla="*/ 26235 h 26471"/>
                    <a:gd name="connsiteX2" fmla="*/ 199 w 26338"/>
                    <a:gd name="connsiteY2" fmla="*/ 15648 h 26471"/>
                    <a:gd name="connsiteX3" fmla="*/ 10787 w 26338"/>
                    <a:gd name="connsiteY3" fmla="*/ 203 h 26471"/>
                    <a:gd name="connsiteX4" fmla="*/ 26107 w 26338"/>
                    <a:gd name="connsiteY4" fmla="*/ 10790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70">
                      <a:moveTo>
                        <a:pt x="26107" y="10790"/>
                      </a:moveTo>
                      <a:cubicBezTo>
                        <a:pt x="27477" y="18015"/>
                        <a:pt x="22619" y="24865"/>
                        <a:pt x="15520" y="26235"/>
                      </a:cubicBezTo>
                      <a:cubicBezTo>
                        <a:pt x="8295" y="27606"/>
                        <a:pt x="1445" y="22872"/>
                        <a:pt x="199" y="15648"/>
                      </a:cubicBezTo>
                      <a:cubicBezTo>
                        <a:pt x="-1046" y="8424"/>
                        <a:pt x="3687" y="1448"/>
                        <a:pt x="10787" y="203"/>
                      </a:cubicBezTo>
                      <a:cubicBezTo>
                        <a:pt x="17887" y="-1043"/>
                        <a:pt x="24862" y="3566"/>
                        <a:pt x="26107" y="1079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2" name="Graphic 2987">
                <a:extLst>
                  <a:ext uri="{FF2B5EF4-FFF2-40B4-BE49-F238E27FC236}">
                    <a16:creationId xmlns:a16="http://schemas.microsoft.com/office/drawing/2014/main" id="{0B8CD9E7-4237-0C16-1B1E-42A5DAFBA028}"/>
                  </a:ext>
                </a:extLst>
              </p:cNvPr>
              <p:cNvGrpSpPr/>
              <p:nvPr/>
            </p:nvGrpSpPr>
            <p:grpSpPr>
              <a:xfrm>
                <a:off x="7985160" y="1689841"/>
                <a:ext cx="47886" cy="147196"/>
                <a:chOff x="7985160" y="1689841"/>
                <a:chExt cx="47886" cy="147196"/>
              </a:xfrm>
              <a:grpFill/>
            </p:grpSpPr>
            <p:sp>
              <p:nvSpPr>
                <p:cNvPr id="6720" name="Freeform 7385">
                  <a:extLst>
                    <a:ext uri="{FF2B5EF4-FFF2-40B4-BE49-F238E27FC236}">
                      <a16:creationId xmlns:a16="http://schemas.microsoft.com/office/drawing/2014/main" id="{567C7440-E3EC-6F5D-FABF-C13271306D8A}"/>
                    </a:ext>
                  </a:extLst>
                </p:cNvPr>
                <p:cNvSpPr/>
                <p:nvPr/>
              </p:nvSpPr>
              <p:spPr>
                <a:xfrm>
                  <a:off x="8013023" y="1764433"/>
                  <a:ext cx="9372" cy="51566"/>
                </a:xfrm>
                <a:custGeom>
                  <a:avLst/>
                  <a:gdLst>
                    <a:gd name="connsiteX0" fmla="*/ 8989 w 9372"/>
                    <a:gd name="connsiteY0" fmla="*/ 51567 h 51566"/>
                    <a:gd name="connsiteX1" fmla="*/ 7619 w 9372"/>
                    <a:gd name="connsiteY1" fmla="*/ 32759 h 51566"/>
                    <a:gd name="connsiteX2" fmla="*/ 1267 w 9372"/>
                    <a:gd name="connsiteY2" fmla="*/ 16566 h 51566"/>
                    <a:gd name="connsiteX3" fmla="*/ 519 w 9372"/>
                    <a:gd name="connsiteY3" fmla="*/ 0 h 51566"/>
                  </a:gdLst>
                  <a:ahLst/>
                  <a:cxnLst>
                    <a:cxn ang="0">
                      <a:pos x="connsiteX0" y="connsiteY0"/>
                    </a:cxn>
                    <a:cxn ang="0">
                      <a:pos x="connsiteX1" y="connsiteY1"/>
                    </a:cxn>
                    <a:cxn ang="0">
                      <a:pos x="connsiteX2" y="connsiteY2"/>
                    </a:cxn>
                    <a:cxn ang="0">
                      <a:pos x="connsiteX3" y="connsiteY3"/>
                    </a:cxn>
                  </a:cxnLst>
                  <a:rect l="l" t="t" r="r" b="b"/>
                  <a:pathLst>
                    <a:path w="9372" h="51566">
                      <a:moveTo>
                        <a:pt x="8989" y="51567"/>
                      </a:moveTo>
                      <a:cubicBezTo>
                        <a:pt x="9986" y="43221"/>
                        <a:pt x="8865" y="36994"/>
                        <a:pt x="7619" y="32759"/>
                      </a:cubicBezTo>
                      <a:cubicBezTo>
                        <a:pt x="5626" y="26033"/>
                        <a:pt x="3011" y="23417"/>
                        <a:pt x="1267" y="16566"/>
                      </a:cubicBezTo>
                      <a:cubicBezTo>
                        <a:pt x="-477" y="9840"/>
                        <a:pt x="-103" y="3986"/>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1" name="Freeform 7386">
                  <a:extLst>
                    <a:ext uri="{FF2B5EF4-FFF2-40B4-BE49-F238E27FC236}">
                      <a16:creationId xmlns:a16="http://schemas.microsoft.com/office/drawing/2014/main" id="{B0D2E2C5-9484-2C77-1CCC-7A4B66240FC2}"/>
                    </a:ext>
                  </a:extLst>
                </p:cNvPr>
                <p:cNvSpPr/>
                <p:nvPr/>
              </p:nvSpPr>
              <p:spPr>
                <a:xfrm>
                  <a:off x="8006194" y="1771035"/>
                  <a:ext cx="9839" cy="51193"/>
                </a:xfrm>
                <a:custGeom>
                  <a:avLst/>
                  <a:gdLst>
                    <a:gd name="connsiteX0" fmla="*/ 0 w 9839"/>
                    <a:gd name="connsiteY0" fmla="*/ 0 h 51193"/>
                    <a:gd name="connsiteX1" fmla="*/ 5231 w 9839"/>
                    <a:gd name="connsiteY1" fmla="*/ 18061 h 51193"/>
                    <a:gd name="connsiteX2" fmla="*/ 4857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3"/>
                        <a:pt x="4982" y="13701"/>
                        <a:pt x="5231" y="18061"/>
                      </a:cubicBezTo>
                      <a:cubicBezTo>
                        <a:pt x="5729" y="25036"/>
                        <a:pt x="4110" y="28399"/>
                        <a:pt x="4857" y="35499"/>
                      </a:cubicBezTo>
                      <a:cubicBezTo>
                        <a:pt x="5604"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2" name="Freeform 7387">
                  <a:extLst>
                    <a:ext uri="{FF2B5EF4-FFF2-40B4-BE49-F238E27FC236}">
                      <a16:creationId xmlns:a16="http://schemas.microsoft.com/office/drawing/2014/main" id="{FEDC20EC-11F0-A20D-E933-43D6C3989A0F}"/>
                    </a:ext>
                  </a:extLst>
                </p:cNvPr>
                <p:cNvSpPr/>
                <p:nvPr/>
              </p:nvSpPr>
              <p:spPr>
                <a:xfrm>
                  <a:off x="8006372" y="1810408"/>
                  <a:ext cx="26674" cy="26629"/>
                </a:xfrm>
                <a:custGeom>
                  <a:avLst/>
                  <a:gdLst>
                    <a:gd name="connsiteX0" fmla="*/ 195 w 26674"/>
                    <a:gd name="connsiteY0" fmla="*/ 15806 h 26629"/>
                    <a:gd name="connsiteX1" fmla="*/ 11031 w 26674"/>
                    <a:gd name="connsiteY1" fmla="*/ 236 h 26629"/>
                    <a:gd name="connsiteX2" fmla="*/ 26476 w 26674"/>
                    <a:gd name="connsiteY2" fmla="*/ 10823 h 26629"/>
                    <a:gd name="connsiteX3" fmla="*/ 15640 w 26674"/>
                    <a:gd name="connsiteY3" fmla="*/ 26393 h 26629"/>
                    <a:gd name="connsiteX4" fmla="*/ 195 w 2667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29">
                      <a:moveTo>
                        <a:pt x="195" y="15806"/>
                      </a:moveTo>
                      <a:cubicBezTo>
                        <a:pt x="-1051" y="8581"/>
                        <a:pt x="3807" y="1606"/>
                        <a:pt x="11031" y="236"/>
                      </a:cubicBezTo>
                      <a:cubicBezTo>
                        <a:pt x="18256" y="-1134"/>
                        <a:pt x="25231" y="3599"/>
                        <a:pt x="26476" y="10823"/>
                      </a:cubicBezTo>
                      <a:cubicBezTo>
                        <a:pt x="27722" y="18048"/>
                        <a:pt x="22989" y="25023"/>
                        <a:pt x="15640" y="26393"/>
                      </a:cubicBezTo>
                      <a:cubicBezTo>
                        <a:pt x="8416" y="27763"/>
                        <a:pt x="1441" y="23030"/>
                        <a:pt x="195"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3" name="Freeform 7388">
                  <a:extLst>
                    <a:ext uri="{FF2B5EF4-FFF2-40B4-BE49-F238E27FC236}">
                      <a16:creationId xmlns:a16="http://schemas.microsoft.com/office/drawing/2014/main" id="{E0F03949-DBFE-6AAD-35B0-17B4192CC8E5}"/>
                    </a:ext>
                  </a:extLst>
                </p:cNvPr>
                <p:cNvSpPr/>
                <p:nvPr/>
              </p:nvSpPr>
              <p:spPr>
                <a:xfrm>
                  <a:off x="7995596" y="1710749"/>
                  <a:ext cx="9322" cy="51566"/>
                </a:xfrm>
                <a:custGeom>
                  <a:avLst/>
                  <a:gdLst>
                    <a:gd name="connsiteX0" fmla="*/ 383 w 9322"/>
                    <a:gd name="connsiteY0" fmla="*/ 0 h 51566"/>
                    <a:gd name="connsiteX1" fmla="*/ 1753 w 9322"/>
                    <a:gd name="connsiteY1" fmla="*/ 18808 h 51566"/>
                    <a:gd name="connsiteX2" fmla="*/ 8106 w 9322"/>
                    <a:gd name="connsiteY2" fmla="*/ 35001 h 51566"/>
                    <a:gd name="connsiteX3" fmla="*/ 8853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383" y="0"/>
                      </a:moveTo>
                      <a:cubicBezTo>
                        <a:pt x="-613" y="8345"/>
                        <a:pt x="508" y="14573"/>
                        <a:pt x="1753" y="18808"/>
                      </a:cubicBezTo>
                      <a:cubicBezTo>
                        <a:pt x="3746" y="25534"/>
                        <a:pt x="6362" y="28150"/>
                        <a:pt x="8106" y="35001"/>
                      </a:cubicBezTo>
                      <a:cubicBezTo>
                        <a:pt x="9850" y="41727"/>
                        <a:pt x="9351"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4" name="Freeform 7389">
                  <a:extLst>
                    <a:ext uri="{FF2B5EF4-FFF2-40B4-BE49-F238E27FC236}">
                      <a16:creationId xmlns:a16="http://schemas.microsoft.com/office/drawing/2014/main" id="{B0A3A5FA-BF39-CB6E-4629-B5B21B1E3224}"/>
                    </a:ext>
                  </a:extLst>
                </p:cNvPr>
                <p:cNvSpPr/>
                <p:nvPr/>
              </p:nvSpPr>
              <p:spPr>
                <a:xfrm>
                  <a:off x="8001958" y="1704521"/>
                  <a:ext cx="9839" cy="51193"/>
                </a:xfrm>
                <a:custGeom>
                  <a:avLst/>
                  <a:gdLst>
                    <a:gd name="connsiteX0" fmla="*/ 9840 w 9839"/>
                    <a:gd name="connsiteY0" fmla="*/ 51193 h 51193"/>
                    <a:gd name="connsiteX1" fmla="*/ 4609 w 9839"/>
                    <a:gd name="connsiteY1" fmla="*/ 33132 h 51193"/>
                    <a:gd name="connsiteX2" fmla="*/ 4983 w 9839"/>
                    <a:gd name="connsiteY2" fmla="*/ 15694 h 51193"/>
                    <a:gd name="connsiteX3" fmla="*/ 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5" name="Freeform 7390">
                  <a:extLst>
                    <a:ext uri="{FF2B5EF4-FFF2-40B4-BE49-F238E27FC236}">
                      <a16:creationId xmlns:a16="http://schemas.microsoft.com/office/drawing/2014/main" id="{18278100-CEB3-6CA1-A13A-84AA302A7CD6}"/>
                    </a:ext>
                  </a:extLst>
                </p:cNvPr>
                <p:cNvSpPr/>
                <p:nvPr/>
              </p:nvSpPr>
              <p:spPr>
                <a:xfrm>
                  <a:off x="7985160" y="1689841"/>
                  <a:ext cx="26338" cy="26500"/>
                </a:xfrm>
                <a:custGeom>
                  <a:avLst/>
                  <a:gdLst>
                    <a:gd name="connsiteX0" fmla="*/ 26140 w 26338"/>
                    <a:gd name="connsiteY0" fmla="*/ 10819 h 26500"/>
                    <a:gd name="connsiteX1" fmla="*/ 15553 w 26338"/>
                    <a:gd name="connsiteY1" fmla="*/ 26264 h 26500"/>
                    <a:gd name="connsiteX2" fmla="*/ 232 w 26338"/>
                    <a:gd name="connsiteY2" fmla="*/ 15677 h 26500"/>
                    <a:gd name="connsiteX3" fmla="*/ 10819 w 26338"/>
                    <a:gd name="connsiteY3" fmla="*/ 232 h 26500"/>
                    <a:gd name="connsiteX4" fmla="*/ 26140 w 26338"/>
                    <a:gd name="connsiteY4" fmla="*/ 108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99">
                      <a:moveTo>
                        <a:pt x="26140" y="10819"/>
                      </a:moveTo>
                      <a:cubicBezTo>
                        <a:pt x="27386" y="18043"/>
                        <a:pt x="22653" y="25019"/>
                        <a:pt x="15553" y="26264"/>
                      </a:cubicBezTo>
                      <a:cubicBezTo>
                        <a:pt x="8328" y="27634"/>
                        <a:pt x="1602" y="22901"/>
                        <a:pt x="232" y="15677"/>
                      </a:cubicBezTo>
                      <a:cubicBezTo>
                        <a:pt x="-1138" y="8452"/>
                        <a:pt x="3720" y="1477"/>
                        <a:pt x="10819" y="232"/>
                      </a:cubicBezTo>
                      <a:cubicBezTo>
                        <a:pt x="18044" y="-1138"/>
                        <a:pt x="24895" y="3719"/>
                        <a:pt x="26140" y="108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3" name="Graphic 2987">
                <a:extLst>
                  <a:ext uri="{FF2B5EF4-FFF2-40B4-BE49-F238E27FC236}">
                    <a16:creationId xmlns:a16="http://schemas.microsoft.com/office/drawing/2014/main" id="{EC8F9A5E-A911-F565-8468-BEDCE03AA5FC}"/>
                  </a:ext>
                </a:extLst>
              </p:cNvPr>
              <p:cNvGrpSpPr/>
              <p:nvPr/>
            </p:nvGrpSpPr>
            <p:grpSpPr>
              <a:xfrm>
                <a:off x="7956051" y="1695172"/>
                <a:ext cx="47721" cy="147146"/>
                <a:chOff x="7956051" y="1695172"/>
                <a:chExt cx="47721" cy="147146"/>
              </a:xfrm>
              <a:grpFill/>
            </p:grpSpPr>
            <p:sp>
              <p:nvSpPr>
                <p:cNvPr id="6714" name="Freeform 7392">
                  <a:extLst>
                    <a:ext uri="{FF2B5EF4-FFF2-40B4-BE49-F238E27FC236}">
                      <a16:creationId xmlns:a16="http://schemas.microsoft.com/office/drawing/2014/main" id="{5036C0E9-B774-4DB3-BEA2-99C834ED4767}"/>
                    </a:ext>
                  </a:extLst>
                </p:cNvPr>
                <p:cNvSpPr/>
                <p:nvPr/>
              </p:nvSpPr>
              <p:spPr>
                <a:xfrm>
                  <a:off x="7983988" y="1770039"/>
                  <a:ext cx="9214" cy="51442"/>
                </a:xfrm>
                <a:custGeom>
                  <a:avLst/>
                  <a:gdLst>
                    <a:gd name="connsiteX0" fmla="*/ 8753 w 9214"/>
                    <a:gd name="connsiteY0" fmla="*/ 51442 h 51442"/>
                    <a:gd name="connsiteX1" fmla="*/ 7508 w 9214"/>
                    <a:gd name="connsiteY1" fmla="*/ 32759 h 51442"/>
                    <a:gd name="connsiteX2" fmla="*/ 1155 w 9214"/>
                    <a:gd name="connsiteY2" fmla="*/ 16442 h 51442"/>
                    <a:gd name="connsiteX3" fmla="*/ 532 w 9214"/>
                    <a:gd name="connsiteY3" fmla="*/ 0 h 51442"/>
                  </a:gdLst>
                  <a:ahLst/>
                  <a:cxnLst>
                    <a:cxn ang="0">
                      <a:pos x="connsiteX0" y="connsiteY0"/>
                    </a:cxn>
                    <a:cxn ang="0">
                      <a:pos x="connsiteX1" y="connsiteY1"/>
                    </a:cxn>
                    <a:cxn ang="0">
                      <a:pos x="connsiteX2" y="connsiteY2"/>
                    </a:cxn>
                    <a:cxn ang="0">
                      <a:pos x="connsiteX3" y="connsiteY3"/>
                    </a:cxn>
                  </a:cxnLst>
                  <a:rect l="l" t="t" r="r" b="b"/>
                  <a:pathLst>
                    <a:path w="9214" h="51442">
                      <a:moveTo>
                        <a:pt x="8753" y="51442"/>
                      </a:moveTo>
                      <a:cubicBezTo>
                        <a:pt x="9874" y="43097"/>
                        <a:pt x="8753" y="36869"/>
                        <a:pt x="7508" y="32759"/>
                      </a:cubicBezTo>
                      <a:cubicBezTo>
                        <a:pt x="5514" y="26033"/>
                        <a:pt x="2898"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5" name="Freeform 7393">
                  <a:extLst>
                    <a:ext uri="{FF2B5EF4-FFF2-40B4-BE49-F238E27FC236}">
                      <a16:creationId xmlns:a16="http://schemas.microsoft.com/office/drawing/2014/main" id="{3CC86F7B-B434-7FB4-CD87-2828B40D7B7D}"/>
                    </a:ext>
                  </a:extLst>
                </p:cNvPr>
                <p:cNvSpPr/>
                <p:nvPr/>
              </p:nvSpPr>
              <p:spPr>
                <a:xfrm>
                  <a:off x="7976922" y="1776266"/>
                  <a:ext cx="9591" cy="51317"/>
                </a:xfrm>
                <a:custGeom>
                  <a:avLst/>
                  <a:gdLst>
                    <a:gd name="connsiteX0" fmla="*/ 0 w 9591"/>
                    <a:gd name="connsiteY0" fmla="*/ 0 h 51317"/>
                    <a:gd name="connsiteX1" fmla="*/ 5107 w 9591"/>
                    <a:gd name="connsiteY1" fmla="*/ 18061 h 51317"/>
                    <a:gd name="connsiteX2" fmla="*/ 4609 w 9591"/>
                    <a:gd name="connsiteY2" fmla="*/ 35499 h 51317"/>
                    <a:gd name="connsiteX3" fmla="*/ 9591 w 95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591" h="51317">
                      <a:moveTo>
                        <a:pt x="0" y="0"/>
                      </a:moveTo>
                      <a:cubicBezTo>
                        <a:pt x="3861" y="7473"/>
                        <a:pt x="4858" y="13826"/>
                        <a:pt x="5107" y="18061"/>
                      </a:cubicBezTo>
                      <a:cubicBezTo>
                        <a:pt x="5481" y="25036"/>
                        <a:pt x="3986" y="28399"/>
                        <a:pt x="4609" y="35499"/>
                      </a:cubicBezTo>
                      <a:cubicBezTo>
                        <a:pt x="5356" y="42350"/>
                        <a:pt x="7723" y="47830"/>
                        <a:pt x="9591"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6" name="Freeform 7394">
                  <a:extLst>
                    <a:ext uri="{FF2B5EF4-FFF2-40B4-BE49-F238E27FC236}">
                      <a16:creationId xmlns:a16="http://schemas.microsoft.com/office/drawing/2014/main" id="{67493223-76B2-3638-FA4B-77A13A38C314}"/>
                    </a:ext>
                  </a:extLst>
                </p:cNvPr>
                <p:cNvSpPr/>
                <p:nvPr/>
              </p:nvSpPr>
              <p:spPr>
                <a:xfrm>
                  <a:off x="7976977" y="1815836"/>
                  <a:ext cx="26795" cy="26481"/>
                </a:xfrm>
                <a:custGeom>
                  <a:avLst/>
                  <a:gdLst>
                    <a:gd name="connsiteX0" fmla="*/ 195 w 26795"/>
                    <a:gd name="connsiteY0" fmla="*/ 15360 h 26481"/>
                    <a:gd name="connsiteX1" fmla="*/ 11156 w 26795"/>
                    <a:gd name="connsiteY1" fmla="*/ 164 h 26481"/>
                    <a:gd name="connsiteX2" fmla="*/ 26601 w 26795"/>
                    <a:gd name="connsiteY2" fmla="*/ 11001 h 26481"/>
                    <a:gd name="connsiteX3" fmla="*/ 15764 w 26795"/>
                    <a:gd name="connsiteY3" fmla="*/ 26321 h 26481"/>
                    <a:gd name="connsiteX4" fmla="*/ 195 w 26795"/>
                    <a:gd name="connsiteY4" fmla="*/ 15360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5" h="26481">
                      <a:moveTo>
                        <a:pt x="195" y="15360"/>
                      </a:moveTo>
                      <a:cubicBezTo>
                        <a:pt x="-1051" y="8136"/>
                        <a:pt x="3807" y="1410"/>
                        <a:pt x="11156" y="164"/>
                      </a:cubicBezTo>
                      <a:cubicBezTo>
                        <a:pt x="18380" y="-957"/>
                        <a:pt x="25355" y="3776"/>
                        <a:pt x="26601" y="11001"/>
                      </a:cubicBezTo>
                      <a:cubicBezTo>
                        <a:pt x="27846" y="18225"/>
                        <a:pt x="22989" y="25200"/>
                        <a:pt x="15764" y="26321"/>
                      </a:cubicBezTo>
                      <a:cubicBezTo>
                        <a:pt x="8291" y="27442"/>
                        <a:pt x="1440" y="22584"/>
                        <a:pt x="195" y="153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7" name="Freeform 7395">
                  <a:extLst>
                    <a:ext uri="{FF2B5EF4-FFF2-40B4-BE49-F238E27FC236}">
                      <a16:creationId xmlns:a16="http://schemas.microsoft.com/office/drawing/2014/main" id="{72BB6CE7-77D2-ED73-A4BB-B9EB42D0DCBB}"/>
                    </a:ext>
                  </a:extLst>
                </p:cNvPr>
                <p:cNvSpPr/>
                <p:nvPr/>
              </p:nvSpPr>
              <p:spPr>
                <a:xfrm>
                  <a:off x="7966496" y="1715981"/>
                  <a:ext cx="9214" cy="51442"/>
                </a:xfrm>
                <a:custGeom>
                  <a:avLst/>
                  <a:gdLst>
                    <a:gd name="connsiteX0" fmla="*/ 461 w 9214"/>
                    <a:gd name="connsiteY0" fmla="*/ 0 h 51442"/>
                    <a:gd name="connsiteX1" fmla="*/ 1706 w 9214"/>
                    <a:gd name="connsiteY1" fmla="*/ 18684 h 51442"/>
                    <a:gd name="connsiteX2" fmla="*/ 8059 w 9214"/>
                    <a:gd name="connsiteY2" fmla="*/ 35001 h 51442"/>
                    <a:gd name="connsiteX3" fmla="*/ 8682 w 921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4" h="51442">
                      <a:moveTo>
                        <a:pt x="461" y="0"/>
                      </a:moveTo>
                      <a:cubicBezTo>
                        <a:pt x="-660" y="8345"/>
                        <a:pt x="461" y="14573"/>
                        <a:pt x="1706" y="18684"/>
                      </a:cubicBezTo>
                      <a:cubicBezTo>
                        <a:pt x="3700" y="25410"/>
                        <a:pt x="6316" y="28025"/>
                        <a:pt x="8059" y="35001"/>
                      </a:cubicBezTo>
                      <a:cubicBezTo>
                        <a:pt x="9678" y="41727"/>
                        <a:pt x="9305" y="47581"/>
                        <a:pt x="868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8" name="Freeform 7396">
                  <a:extLst>
                    <a:ext uri="{FF2B5EF4-FFF2-40B4-BE49-F238E27FC236}">
                      <a16:creationId xmlns:a16="http://schemas.microsoft.com/office/drawing/2014/main" id="{D487FD43-8734-D447-AA62-6B23563EE415}"/>
                    </a:ext>
                  </a:extLst>
                </p:cNvPr>
                <p:cNvSpPr/>
                <p:nvPr/>
              </p:nvSpPr>
              <p:spPr>
                <a:xfrm>
                  <a:off x="7972936" y="1710002"/>
                  <a:ext cx="9715" cy="51193"/>
                </a:xfrm>
                <a:custGeom>
                  <a:avLst/>
                  <a:gdLst>
                    <a:gd name="connsiteX0" fmla="*/ 9716 w 9715"/>
                    <a:gd name="connsiteY0" fmla="*/ 51193 h 51193"/>
                    <a:gd name="connsiteX1" fmla="*/ 4609 w 9715"/>
                    <a:gd name="connsiteY1" fmla="*/ 33132 h 51193"/>
                    <a:gd name="connsiteX2" fmla="*/ 4983 w 9715"/>
                    <a:gd name="connsiteY2" fmla="*/ 15819 h 51193"/>
                    <a:gd name="connsiteX3" fmla="*/ 0 w 9715"/>
                    <a:gd name="connsiteY3" fmla="*/ 0 h 51193"/>
                  </a:gdLst>
                  <a:ahLst/>
                  <a:cxnLst>
                    <a:cxn ang="0">
                      <a:pos x="connsiteX0" y="connsiteY0"/>
                    </a:cxn>
                    <a:cxn ang="0">
                      <a:pos x="connsiteX1" y="connsiteY1"/>
                    </a:cxn>
                    <a:cxn ang="0">
                      <a:pos x="connsiteX2" y="connsiteY2"/>
                    </a:cxn>
                    <a:cxn ang="0">
                      <a:pos x="connsiteX3" y="connsiteY3"/>
                    </a:cxn>
                  </a:cxnLst>
                  <a:rect l="l" t="t" r="r" b="b"/>
                  <a:pathLst>
                    <a:path w="9715" h="51193">
                      <a:moveTo>
                        <a:pt x="9716" y="51193"/>
                      </a:moveTo>
                      <a:cubicBezTo>
                        <a:pt x="5855" y="43720"/>
                        <a:pt x="4858" y="37367"/>
                        <a:pt x="4609" y="33132"/>
                      </a:cubicBezTo>
                      <a:cubicBezTo>
                        <a:pt x="4235" y="26157"/>
                        <a:pt x="5730" y="22794"/>
                        <a:pt x="4983"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9" name="Freeform 7397">
                  <a:extLst>
                    <a:ext uri="{FF2B5EF4-FFF2-40B4-BE49-F238E27FC236}">
                      <a16:creationId xmlns:a16="http://schemas.microsoft.com/office/drawing/2014/main" id="{F21AF4E9-48C8-A479-DDB8-17021E84A984}"/>
                    </a:ext>
                  </a:extLst>
                </p:cNvPr>
                <p:cNvSpPr/>
                <p:nvPr/>
              </p:nvSpPr>
              <p:spPr>
                <a:xfrm>
                  <a:off x="7956051" y="1695172"/>
                  <a:ext cx="26426" cy="26450"/>
                </a:xfrm>
                <a:custGeom>
                  <a:avLst/>
                  <a:gdLst>
                    <a:gd name="connsiteX0" fmla="*/ 26227 w 26426"/>
                    <a:gd name="connsiteY0" fmla="*/ 10969 h 26450"/>
                    <a:gd name="connsiteX1" fmla="*/ 15515 w 26426"/>
                    <a:gd name="connsiteY1" fmla="*/ 26289 h 26450"/>
                    <a:gd name="connsiteX2" fmla="*/ 195 w 26426"/>
                    <a:gd name="connsiteY2" fmla="*/ 15328 h 26450"/>
                    <a:gd name="connsiteX3" fmla="*/ 10907 w 26426"/>
                    <a:gd name="connsiteY3" fmla="*/ 132 h 26450"/>
                    <a:gd name="connsiteX4" fmla="*/ 26227 w 26426"/>
                    <a:gd name="connsiteY4" fmla="*/ 10969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49">
                      <a:moveTo>
                        <a:pt x="26227" y="10969"/>
                      </a:moveTo>
                      <a:cubicBezTo>
                        <a:pt x="27473" y="18193"/>
                        <a:pt x="22740" y="25168"/>
                        <a:pt x="15515" y="26289"/>
                      </a:cubicBezTo>
                      <a:cubicBezTo>
                        <a:pt x="8291" y="27410"/>
                        <a:pt x="1440" y="22553"/>
                        <a:pt x="195" y="15328"/>
                      </a:cubicBezTo>
                      <a:cubicBezTo>
                        <a:pt x="-1051" y="8104"/>
                        <a:pt x="3807" y="1378"/>
                        <a:pt x="10907" y="132"/>
                      </a:cubicBezTo>
                      <a:cubicBezTo>
                        <a:pt x="18256" y="-864"/>
                        <a:pt x="24982" y="3869"/>
                        <a:pt x="26227" y="10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4" name="Graphic 2987">
                <a:extLst>
                  <a:ext uri="{FF2B5EF4-FFF2-40B4-BE49-F238E27FC236}">
                    <a16:creationId xmlns:a16="http://schemas.microsoft.com/office/drawing/2014/main" id="{F77B03A8-49E5-5A76-457D-41487D92113C}"/>
                  </a:ext>
                </a:extLst>
              </p:cNvPr>
              <p:cNvGrpSpPr/>
              <p:nvPr/>
            </p:nvGrpSpPr>
            <p:grpSpPr>
              <a:xfrm>
                <a:off x="7927029" y="1699876"/>
                <a:ext cx="47223" cy="147175"/>
                <a:chOff x="7927029" y="1699876"/>
                <a:chExt cx="47223" cy="147175"/>
              </a:xfrm>
              <a:grpFill/>
            </p:grpSpPr>
            <p:sp>
              <p:nvSpPr>
                <p:cNvPr id="6708" name="Freeform 7399">
                  <a:extLst>
                    <a:ext uri="{FF2B5EF4-FFF2-40B4-BE49-F238E27FC236}">
                      <a16:creationId xmlns:a16="http://schemas.microsoft.com/office/drawing/2014/main" id="{DA9E0C04-98A6-9EA1-D142-D69E05F0B06D}"/>
                    </a:ext>
                  </a:extLst>
                </p:cNvPr>
                <p:cNvSpPr/>
                <p:nvPr/>
              </p:nvSpPr>
              <p:spPr>
                <a:xfrm>
                  <a:off x="7954717" y="1774647"/>
                  <a:ext cx="9089" cy="51566"/>
                </a:xfrm>
                <a:custGeom>
                  <a:avLst/>
                  <a:gdLst>
                    <a:gd name="connsiteX0" fmla="*/ 8629 w 9089"/>
                    <a:gd name="connsiteY0" fmla="*/ 51567 h 51566"/>
                    <a:gd name="connsiteX1" fmla="*/ 7383 w 9089"/>
                    <a:gd name="connsiteY1" fmla="*/ 32759 h 51566"/>
                    <a:gd name="connsiteX2" fmla="*/ 1155 w 9089"/>
                    <a:gd name="connsiteY2" fmla="*/ 16442 h 51566"/>
                    <a:gd name="connsiteX3" fmla="*/ 532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8629" y="51567"/>
                      </a:moveTo>
                      <a:cubicBezTo>
                        <a:pt x="9749" y="43222"/>
                        <a:pt x="8629" y="36994"/>
                        <a:pt x="7383" y="32759"/>
                      </a:cubicBezTo>
                      <a:cubicBezTo>
                        <a:pt x="5390"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9" name="Freeform 7400">
                  <a:extLst>
                    <a:ext uri="{FF2B5EF4-FFF2-40B4-BE49-F238E27FC236}">
                      <a16:creationId xmlns:a16="http://schemas.microsoft.com/office/drawing/2014/main" id="{1EB42F02-69F8-C978-5C04-A7C06696897D}"/>
                    </a:ext>
                  </a:extLst>
                </p:cNvPr>
                <p:cNvSpPr/>
                <p:nvPr/>
              </p:nvSpPr>
              <p:spPr>
                <a:xfrm>
                  <a:off x="7947651" y="1781000"/>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861" y="28399"/>
                        <a:pt x="4609" y="35499"/>
                      </a:cubicBezTo>
                      <a:cubicBezTo>
                        <a:pt x="5231"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0" name="Freeform 7401">
                  <a:extLst>
                    <a:ext uri="{FF2B5EF4-FFF2-40B4-BE49-F238E27FC236}">
                      <a16:creationId xmlns:a16="http://schemas.microsoft.com/office/drawing/2014/main" id="{7901F4D6-00FA-8E3D-D086-B55A44F5EBDE}"/>
                    </a:ext>
                  </a:extLst>
                </p:cNvPr>
                <p:cNvSpPr/>
                <p:nvPr/>
              </p:nvSpPr>
              <p:spPr>
                <a:xfrm>
                  <a:off x="7947460" y="1820573"/>
                  <a:ext cx="26791" cy="26478"/>
                </a:xfrm>
                <a:custGeom>
                  <a:avLst/>
                  <a:gdLst>
                    <a:gd name="connsiteX0" fmla="*/ 191 w 26791"/>
                    <a:gd name="connsiteY0" fmla="*/ 15357 h 26478"/>
                    <a:gd name="connsiteX1" fmla="*/ 11152 w 26791"/>
                    <a:gd name="connsiteY1" fmla="*/ 161 h 26478"/>
                    <a:gd name="connsiteX2" fmla="*/ 26597 w 26791"/>
                    <a:gd name="connsiteY2" fmla="*/ 11122 h 26478"/>
                    <a:gd name="connsiteX3" fmla="*/ 15636 w 26791"/>
                    <a:gd name="connsiteY3" fmla="*/ 26318 h 26478"/>
                    <a:gd name="connsiteX4" fmla="*/ 191 w 2679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1" h="26477">
                      <a:moveTo>
                        <a:pt x="191" y="15357"/>
                      </a:moveTo>
                      <a:cubicBezTo>
                        <a:pt x="-1055" y="8132"/>
                        <a:pt x="3928" y="1282"/>
                        <a:pt x="11152" y="161"/>
                      </a:cubicBezTo>
                      <a:cubicBezTo>
                        <a:pt x="18377" y="-960"/>
                        <a:pt x="25352" y="3897"/>
                        <a:pt x="26597" y="11122"/>
                      </a:cubicBezTo>
                      <a:cubicBezTo>
                        <a:pt x="27843" y="18346"/>
                        <a:pt x="22985" y="25197"/>
                        <a:pt x="15636" y="26318"/>
                      </a:cubicBezTo>
                      <a:cubicBezTo>
                        <a:pt x="8412"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1" name="Freeform 7402">
                  <a:extLst>
                    <a:ext uri="{FF2B5EF4-FFF2-40B4-BE49-F238E27FC236}">
                      <a16:creationId xmlns:a16="http://schemas.microsoft.com/office/drawing/2014/main" id="{D3EAB029-EBEE-2C4A-BA0A-C74751CAB999}"/>
                    </a:ext>
                  </a:extLst>
                </p:cNvPr>
                <p:cNvSpPr/>
                <p:nvPr/>
              </p:nvSpPr>
              <p:spPr>
                <a:xfrm>
                  <a:off x="7937350" y="1720714"/>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7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699" y="25534"/>
                        <a:pt x="6315" y="28150"/>
                        <a:pt x="7935" y="35125"/>
                      </a:cubicBezTo>
                      <a:cubicBezTo>
                        <a:pt x="9554" y="41851"/>
                        <a:pt x="9180" y="47706"/>
                        <a:pt x="855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2" name="Freeform 7403">
                  <a:extLst>
                    <a:ext uri="{FF2B5EF4-FFF2-40B4-BE49-F238E27FC236}">
                      <a16:creationId xmlns:a16="http://schemas.microsoft.com/office/drawing/2014/main" id="{9AC1B325-97F9-3208-B031-D784F01FBC99}"/>
                    </a:ext>
                  </a:extLst>
                </p:cNvPr>
                <p:cNvSpPr/>
                <p:nvPr/>
              </p:nvSpPr>
              <p:spPr>
                <a:xfrm>
                  <a:off x="7943915" y="1714610"/>
                  <a:ext cx="9466" cy="51317"/>
                </a:xfrm>
                <a:custGeom>
                  <a:avLst/>
                  <a:gdLst>
                    <a:gd name="connsiteX0" fmla="*/ 9467 w 9466"/>
                    <a:gd name="connsiteY0" fmla="*/ 51318 h 51317"/>
                    <a:gd name="connsiteX1" fmla="*/ 4359 w 9466"/>
                    <a:gd name="connsiteY1" fmla="*/ 33257 h 51317"/>
                    <a:gd name="connsiteX2" fmla="*/ 4857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51318"/>
                      </a:moveTo>
                      <a:cubicBezTo>
                        <a:pt x="5604" y="43844"/>
                        <a:pt x="4609" y="37492"/>
                        <a:pt x="4359" y="33257"/>
                      </a:cubicBezTo>
                      <a:cubicBezTo>
                        <a:pt x="3986" y="26282"/>
                        <a:pt x="5481" y="22919"/>
                        <a:pt x="4857"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3" name="Freeform 7404">
                  <a:extLst>
                    <a:ext uri="{FF2B5EF4-FFF2-40B4-BE49-F238E27FC236}">
                      <a16:creationId xmlns:a16="http://schemas.microsoft.com/office/drawing/2014/main" id="{64BD1354-389C-08A4-0D3F-332A53B824FA}"/>
                    </a:ext>
                  </a:extLst>
                </p:cNvPr>
                <p:cNvSpPr/>
                <p:nvPr/>
              </p:nvSpPr>
              <p:spPr>
                <a:xfrm>
                  <a:off x="7927029" y="1699876"/>
                  <a:ext cx="26422" cy="26478"/>
                </a:xfrm>
                <a:custGeom>
                  <a:avLst/>
                  <a:gdLst>
                    <a:gd name="connsiteX0" fmla="*/ 26228 w 26422"/>
                    <a:gd name="connsiteY0" fmla="*/ 11122 h 26478"/>
                    <a:gd name="connsiteX1" fmla="*/ 15391 w 26422"/>
                    <a:gd name="connsiteY1" fmla="*/ 26318 h 26478"/>
                    <a:gd name="connsiteX2" fmla="*/ 195 w 26422"/>
                    <a:gd name="connsiteY2" fmla="*/ 15357 h 26478"/>
                    <a:gd name="connsiteX3" fmla="*/ 11031 w 26422"/>
                    <a:gd name="connsiteY3" fmla="*/ 161 h 26478"/>
                    <a:gd name="connsiteX4" fmla="*/ 26228 w 2642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8" y="11122"/>
                      </a:moveTo>
                      <a:cubicBezTo>
                        <a:pt x="27473" y="18346"/>
                        <a:pt x="22615" y="25072"/>
                        <a:pt x="15391" y="26318"/>
                      </a:cubicBezTo>
                      <a:cubicBezTo>
                        <a:pt x="8167" y="27439"/>
                        <a:pt x="1316" y="22581"/>
                        <a:pt x="195" y="15357"/>
                      </a:cubicBezTo>
                      <a:cubicBezTo>
                        <a:pt x="-1051" y="8132"/>
                        <a:pt x="3807" y="1406"/>
                        <a:pt x="11031" y="161"/>
                      </a:cubicBezTo>
                      <a:cubicBezTo>
                        <a:pt x="18131" y="-960"/>
                        <a:pt x="24982" y="3898"/>
                        <a:pt x="2622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5" name="Graphic 2987">
                <a:extLst>
                  <a:ext uri="{FF2B5EF4-FFF2-40B4-BE49-F238E27FC236}">
                    <a16:creationId xmlns:a16="http://schemas.microsoft.com/office/drawing/2014/main" id="{E3912559-AF3A-31F3-5358-F191FC0D019E}"/>
                  </a:ext>
                </a:extLst>
              </p:cNvPr>
              <p:cNvGrpSpPr/>
              <p:nvPr/>
            </p:nvGrpSpPr>
            <p:grpSpPr>
              <a:xfrm>
                <a:off x="7897883" y="1704610"/>
                <a:ext cx="46845" cy="147175"/>
                <a:chOff x="7897883" y="1704610"/>
                <a:chExt cx="46845" cy="147175"/>
              </a:xfrm>
              <a:grpFill/>
            </p:grpSpPr>
            <p:sp>
              <p:nvSpPr>
                <p:cNvPr id="6702" name="Freeform 7406">
                  <a:extLst>
                    <a:ext uri="{FF2B5EF4-FFF2-40B4-BE49-F238E27FC236}">
                      <a16:creationId xmlns:a16="http://schemas.microsoft.com/office/drawing/2014/main" id="{861DFF1E-2680-15D1-1815-B396903EFF7D}"/>
                    </a:ext>
                  </a:extLst>
                </p:cNvPr>
                <p:cNvSpPr/>
                <p:nvPr/>
              </p:nvSpPr>
              <p:spPr>
                <a:xfrm>
                  <a:off x="7925322" y="1779380"/>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1"/>
                        <a:pt x="8504" y="36994"/>
                        <a:pt x="7383" y="32759"/>
                      </a:cubicBezTo>
                      <a:cubicBezTo>
                        <a:pt x="5514"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3" name="Freeform 7407">
                  <a:extLst>
                    <a:ext uri="{FF2B5EF4-FFF2-40B4-BE49-F238E27FC236}">
                      <a16:creationId xmlns:a16="http://schemas.microsoft.com/office/drawing/2014/main" id="{E2B04481-FBD7-10E1-AD95-65442ACC119E}"/>
                    </a:ext>
                  </a:extLst>
                </p:cNvPr>
                <p:cNvSpPr/>
                <p:nvPr/>
              </p:nvSpPr>
              <p:spPr>
                <a:xfrm>
                  <a:off x="7918380" y="1785733"/>
                  <a:ext cx="9341" cy="51442"/>
                </a:xfrm>
                <a:custGeom>
                  <a:avLst/>
                  <a:gdLst>
                    <a:gd name="connsiteX0" fmla="*/ 0 w 9341"/>
                    <a:gd name="connsiteY0" fmla="*/ 0 h 51442"/>
                    <a:gd name="connsiteX1" fmla="*/ 5107 w 9341"/>
                    <a:gd name="connsiteY1" fmla="*/ 18185 h 51442"/>
                    <a:gd name="connsiteX2" fmla="*/ 4485 w 9341"/>
                    <a:gd name="connsiteY2" fmla="*/ 35624 h 51442"/>
                    <a:gd name="connsiteX3" fmla="*/ 9342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0" y="0"/>
                      </a:moveTo>
                      <a:cubicBezTo>
                        <a:pt x="3737" y="7473"/>
                        <a:pt x="4858" y="13826"/>
                        <a:pt x="5107" y="18185"/>
                      </a:cubicBezTo>
                      <a:cubicBezTo>
                        <a:pt x="5481" y="25161"/>
                        <a:pt x="3862" y="28524"/>
                        <a:pt x="4485" y="35624"/>
                      </a:cubicBezTo>
                      <a:cubicBezTo>
                        <a:pt x="5107" y="42474"/>
                        <a:pt x="7474" y="47955"/>
                        <a:pt x="934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4" name="Freeform 7408">
                  <a:extLst>
                    <a:ext uri="{FF2B5EF4-FFF2-40B4-BE49-F238E27FC236}">
                      <a16:creationId xmlns:a16="http://schemas.microsoft.com/office/drawing/2014/main" id="{BBB83005-2237-A16A-1B1A-DF02E4C58886}"/>
                    </a:ext>
                  </a:extLst>
                </p:cNvPr>
                <p:cNvSpPr/>
                <p:nvPr/>
              </p:nvSpPr>
              <p:spPr>
                <a:xfrm>
                  <a:off x="7918065" y="1825306"/>
                  <a:ext cx="26663" cy="26478"/>
                </a:xfrm>
                <a:custGeom>
                  <a:avLst/>
                  <a:gdLst>
                    <a:gd name="connsiteX0" fmla="*/ 191 w 26663"/>
                    <a:gd name="connsiteY0" fmla="*/ 15357 h 26478"/>
                    <a:gd name="connsiteX1" fmla="*/ 11152 w 26663"/>
                    <a:gd name="connsiteY1" fmla="*/ 161 h 26478"/>
                    <a:gd name="connsiteX2" fmla="*/ 26473 w 26663"/>
                    <a:gd name="connsiteY2" fmla="*/ 11122 h 26478"/>
                    <a:gd name="connsiteX3" fmla="*/ 15511 w 26663"/>
                    <a:gd name="connsiteY3" fmla="*/ 26318 h 26478"/>
                    <a:gd name="connsiteX4" fmla="*/ 191 w 2666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77">
                      <a:moveTo>
                        <a:pt x="191" y="15357"/>
                      </a:moveTo>
                      <a:cubicBezTo>
                        <a:pt x="-1055" y="8132"/>
                        <a:pt x="3928" y="1282"/>
                        <a:pt x="11152" y="161"/>
                      </a:cubicBezTo>
                      <a:cubicBezTo>
                        <a:pt x="18376" y="-960"/>
                        <a:pt x="25351" y="3898"/>
                        <a:pt x="26473" y="11122"/>
                      </a:cubicBezTo>
                      <a:cubicBezTo>
                        <a:pt x="27718" y="18346"/>
                        <a:pt x="22736" y="25197"/>
                        <a:pt x="15511" y="26318"/>
                      </a:cubicBezTo>
                      <a:cubicBezTo>
                        <a:pt x="8287"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5" name="Freeform 7409">
                  <a:extLst>
                    <a:ext uri="{FF2B5EF4-FFF2-40B4-BE49-F238E27FC236}">
                      <a16:creationId xmlns:a16="http://schemas.microsoft.com/office/drawing/2014/main" id="{955DCFA7-2BD2-96C9-91F3-18FF27096AD9}"/>
                    </a:ext>
                  </a:extLst>
                </p:cNvPr>
                <p:cNvSpPr/>
                <p:nvPr/>
              </p:nvSpPr>
              <p:spPr>
                <a:xfrm>
                  <a:off x="7908325" y="1725322"/>
                  <a:ext cx="8968" cy="51566"/>
                </a:xfrm>
                <a:custGeom>
                  <a:avLst/>
                  <a:gdLst>
                    <a:gd name="connsiteX0" fmla="*/ 464 w 8968"/>
                    <a:gd name="connsiteY0" fmla="*/ 0 h 51566"/>
                    <a:gd name="connsiteX1" fmla="*/ 1585 w 8968"/>
                    <a:gd name="connsiteY1" fmla="*/ 18808 h 51566"/>
                    <a:gd name="connsiteX2" fmla="*/ 7813 w 8968"/>
                    <a:gd name="connsiteY2" fmla="*/ 35125 h 51566"/>
                    <a:gd name="connsiteX3" fmla="*/ 8436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464" y="0"/>
                      </a:moveTo>
                      <a:cubicBezTo>
                        <a:pt x="-657" y="8345"/>
                        <a:pt x="464" y="14573"/>
                        <a:pt x="1585" y="18808"/>
                      </a:cubicBezTo>
                      <a:cubicBezTo>
                        <a:pt x="3454" y="25534"/>
                        <a:pt x="6070" y="28150"/>
                        <a:pt x="7813" y="35125"/>
                      </a:cubicBezTo>
                      <a:cubicBezTo>
                        <a:pt x="9432" y="41851"/>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6" name="Freeform 7410">
                  <a:extLst>
                    <a:ext uri="{FF2B5EF4-FFF2-40B4-BE49-F238E27FC236}">
                      <a16:creationId xmlns:a16="http://schemas.microsoft.com/office/drawing/2014/main" id="{F8B90B0C-AD72-4BDC-53B3-FB2D76B05D9A}"/>
                    </a:ext>
                  </a:extLst>
                </p:cNvPr>
                <p:cNvSpPr/>
                <p:nvPr/>
              </p:nvSpPr>
              <p:spPr>
                <a:xfrm>
                  <a:off x="7914643" y="1719219"/>
                  <a:ext cx="9466" cy="51442"/>
                </a:xfrm>
                <a:custGeom>
                  <a:avLst/>
                  <a:gdLst>
                    <a:gd name="connsiteX0" fmla="*/ 9467 w 9466"/>
                    <a:gd name="connsiteY0" fmla="*/ 51442 h 51442"/>
                    <a:gd name="connsiteX1" fmla="*/ 4360 w 9466"/>
                    <a:gd name="connsiteY1" fmla="*/ 33257 h 51442"/>
                    <a:gd name="connsiteX2" fmla="*/ 4858 w 9466"/>
                    <a:gd name="connsiteY2" fmla="*/ 15819 h 51442"/>
                    <a:gd name="connsiteX3" fmla="*/ 0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9467" y="51442"/>
                      </a:moveTo>
                      <a:cubicBezTo>
                        <a:pt x="5730" y="43969"/>
                        <a:pt x="4609" y="37616"/>
                        <a:pt x="4360" y="33257"/>
                      </a:cubicBezTo>
                      <a:cubicBezTo>
                        <a:pt x="3986" y="26282"/>
                        <a:pt x="5605" y="22919"/>
                        <a:pt x="4858"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7" name="Freeform 7411">
                  <a:extLst>
                    <a:ext uri="{FF2B5EF4-FFF2-40B4-BE49-F238E27FC236}">
                      <a16:creationId xmlns:a16="http://schemas.microsoft.com/office/drawing/2014/main" id="{A8BBC782-9B28-3688-A614-FD3DAED59AB4}"/>
                    </a:ext>
                  </a:extLst>
                </p:cNvPr>
                <p:cNvSpPr/>
                <p:nvPr/>
              </p:nvSpPr>
              <p:spPr>
                <a:xfrm>
                  <a:off x="7897883" y="1704610"/>
                  <a:ext cx="26422" cy="26508"/>
                </a:xfrm>
                <a:custGeom>
                  <a:avLst/>
                  <a:gdLst>
                    <a:gd name="connsiteX0" fmla="*/ 26227 w 26422"/>
                    <a:gd name="connsiteY0" fmla="*/ 11122 h 26508"/>
                    <a:gd name="connsiteX1" fmla="*/ 15391 w 26422"/>
                    <a:gd name="connsiteY1" fmla="*/ 26318 h 26508"/>
                    <a:gd name="connsiteX2" fmla="*/ 195 w 26422"/>
                    <a:gd name="connsiteY2" fmla="*/ 15357 h 26508"/>
                    <a:gd name="connsiteX3" fmla="*/ 11031 w 26422"/>
                    <a:gd name="connsiteY3" fmla="*/ 161 h 26508"/>
                    <a:gd name="connsiteX4" fmla="*/ 26227 w 26422"/>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1122"/>
                      </a:moveTo>
                      <a:cubicBezTo>
                        <a:pt x="27473" y="18346"/>
                        <a:pt x="22615" y="25072"/>
                        <a:pt x="15391" y="26318"/>
                      </a:cubicBezTo>
                      <a:cubicBezTo>
                        <a:pt x="8166" y="27563"/>
                        <a:pt x="1316" y="22581"/>
                        <a:pt x="195" y="15357"/>
                      </a:cubicBezTo>
                      <a:cubicBezTo>
                        <a:pt x="-1051" y="8132"/>
                        <a:pt x="3807" y="1282"/>
                        <a:pt x="11031" y="161"/>
                      </a:cubicBezTo>
                      <a:cubicBezTo>
                        <a:pt x="18255" y="-960"/>
                        <a:pt x="25106" y="3897"/>
                        <a:pt x="26227"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6" name="Graphic 2987">
                <a:extLst>
                  <a:ext uri="{FF2B5EF4-FFF2-40B4-BE49-F238E27FC236}">
                    <a16:creationId xmlns:a16="http://schemas.microsoft.com/office/drawing/2014/main" id="{C35307EE-CE1E-DD2A-59F2-DD095B88DA0C}"/>
                  </a:ext>
                </a:extLst>
              </p:cNvPr>
              <p:cNvGrpSpPr/>
              <p:nvPr/>
            </p:nvGrpSpPr>
            <p:grpSpPr>
              <a:xfrm>
                <a:off x="7868894" y="1709313"/>
                <a:ext cx="46313" cy="147235"/>
                <a:chOff x="7868894" y="1709313"/>
                <a:chExt cx="46313" cy="147235"/>
              </a:xfrm>
              <a:grpFill/>
            </p:grpSpPr>
            <p:sp>
              <p:nvSpPr>
                <p:cNvPr id="6696" name="Freeform 7413">
                  <a:extLst>
                    <a:ext uri="{FF2B5EF4-FFF2-40B4-BE49-F238E27FC236}">
                      <a16:creationId xmlns:a16="http://schemas.microsoft.com/office/drawing/2014/main" id="{8992279B-DDE6-BE1B-245A-FA0F63BD76F7}"/>
                    </a:ext>
                  </a:extLst>
                </p:cNvPr>
                <p:cNvSpPr/>
                <p:nvPr/>
              </p:nvSpPr>
              <p:spPr>
                <a:xfrm>
                  <a:off x="7895991" y="1784114"/>
                  <a:ext cx="8926" cy="51566"/>
                </a:xfrm>
                <a:custGeom>
                  <a:avLst/>
                  <a:gdLst>
                    <a:gd name="connsiteX0" fmla="*/ 8439 w 8926"/>
                    <a:gd name="connsiteY0" fmla="*/ 51567 h 51566"/>
                    <a:gd name="connsiteX1" fmla="*/ 7318 w 8926"/>
                    <a:gd name="connsiteY1" fmla="*/ 32759 h 51566"/>
                    <a:gd name="connsiteX2" fmla="*/ 1090 w 8926"/>
                    <a:gd name="connsiteY2" fmla="*/ 16442 h 51566"/>
                    <a:gd name="connsiteX3" fmla="*/ 591 w 8926"/>
                    <a:gd name="connsiteY3" fmla="*/ 0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51567"/>
                      </a:moveTo>
                      <a:cubicBezTo>
                        <a:pt x="9560" y="43222"/>
                        <a:pt x="8563" y="36994"/>
                        <a:pt x="7318" y="32759"/>
                      </a:cubicBezTo>
                      <a:cubicBezTo>
                        <a:pt x="5449" y="26033"/>
                        <a:pt x="2834" y="23417"/>
                        <a:pt x="1090" y="16442"/>
                      </a:cubicBezTo>
                      <a:cubicBezTo>
                        <a:pt x="-529" y="9716"/>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7" name="Freeform 7414">
                  <a:extLst>
                    <a:ext uri="{FF2B5EF4-FFF2-40B4-BE49-F238E27FC236}">
                      <a16:creationId xmlns:a16="http://schemas.microsoft.com/office/drawing/2014/main" id="{1719CEA7-5B36-57C9-4915-A97495688A59}"/>
                    </a:ext>
                  </a:extLst>
                </p:cNvPr>
                <p:cNvSpPr/>
                <p:nvPr/>
              </p:nvSpPr>
              <p:spPr>
                <a:xfrm>
                  <a:off x="7889109" y="1790466"/>
                  <a:ext cx="9217" cy="51442"/>
                </a:xfrm>
                <a:custGeom>
                  <a:avLst/>
                  <a:gdLst>
                    <a:gd name="connsiteX0" fmla="*/ 0 w 9217"/>
                    <a:gd name="connsiteY0" fmla="*/ 0 h 51442"/>
                    <a:gd name="connsiteX1" fmla="*/ 4983 w 9217"/>
                    <a:gd name="connsiteY1" fmla="*/ 18185 h 51442"/>
                    <a:gd name="connsiteX2" fmla="*/ 4359 w 9217"/>
                    <a:gd name="connsiteY2" fmla="*/ 35624 h 51442"/>
                    <a:gd name="connsiteX3" fmla="*/ 9217 w 92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7" h="51442">
                      <a:moveTo>
                        <a:pt x="0" y="0"/>
                      </a:moveTo>
                      <a:cubicBezTo>
                        <a:pt x="3737" y="7598"/>
                        <a:pt x="4733" y="13826"/>
                        <a:pt x="4983" y="18185"/>
                      </a:cubicBezTo>
                      <a:cubicBezTo>
                        <a:pt x="5356" y="25161"/>
                        <a:pt x="3737" y="28524"/>
                        <a:pt x="4359" y="35624"/>
                      </a:cubicBezTo>
                      <a:cubicBezTo>
                        <a:pt x="4983" y="42474"/>
                        <a:pt x="7349" y="47955"/>
                        <a:pt x="921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8" name="Freeform 7415">
                  <a:extLst>
                    <a:ext uri="{FF2B5EF4-FFF2-40B4-BE49-F238E27FC236}">
                      <a16:creationId xmlns:a16="http://schemas.microsoft.com/office/drawing/2014/main" id="{CA3CB609-0887-5D94-3B58-20B24DF8385E}"/>
                    </a:ext>
                  </a:extLst>
                </p:cNvPr>
                <p:cNvSpPr/>
                <p:nvPr/>
              </p:nvSpPr>
              <p:spPr>
                <a:xfrm>
                  <a:off x="7888575" y="1830039"/>
                  <a:ext cx="26633" cy="26508"/>
                </a:xfrm>
                <a:custGeom>
                  <a:avLst/>
                  <a:gdLst>
                    <a:gd name="connsiteX0" fmla="*/ 161 w 26633"/>
                    <a:gd name="connsiteY0" fmla="*/ 15357 h 26508"/>
                    <a:gd name="connsiteX1" fmla="*/ 11121 w 26633"/>
                    <a:gd name="connsiteY1" fmla="*/ 161 h 26508"/>
                    <a:gd name="connsiteX2" fmla="*/ 26442 w 26633"/>
                    <a:gd name="connsiteY2" fmla="*/ 11122 h 26508"/>
                    <a:gd name="connsiteX3" fmla="*/ 15481 w 26633"/>
                    <a:gd name="connsiteY3" fmla="*/ 26318 h 26508"/>
                    <a:gd name="connsiteX4" fmla="*/ 161 w 26633"/>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08">
                      <a:moveTo>
                        <a:pt x="161" y="15357"/>
                      </a:moveTo>
                      <a:cubicBezTo>
                        <a:pt x="-961" y="8132"/>
                        <a:pt x="3897" y="1282"/>
                        <a:pt x="11121" y="161"/>
                      </a:cubicBezTo>
                      <a:cubicBezTo>
                        <a:pt x="18346" y="-960"/>
                        <a:pt x="25196" y="3897"/>
                        <a:pt x="26442" y="11122"/>
                      </a:cubicBezTo>
                      <a:cubicBezTo>
                        <a:pt x="27688" y="18346"/>
                        <a:pt x="22706" y="25197"/>
                        <a:pt x="15481" y="26318"/>
                      </a:cubicBezTo>
                      <a:cubicBezTo>
                        <a:pt x="8257" y="27563"/>
                        <a:pt x="1406"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9" name="Freeform 7416">
                  <a:extLst>
                    <a:ext uri="{FF2B5EF4-FFF2-40B4-BE49-F238E27FC236}">
                      <a16:creationId xmlns:a16="http://schemas.microsoft.com/office/drawing/2014/main" id="{12BEFC0E-B2DD-6E93-FC76-14312BDAA121}"/>
                    </a:ext>
                  </a:extLst>
                </p:cNvPr>
                <p:cNvSpPr/>
                <p:nvPr/>
              </p:nvSpPr>
              <p:spPr>
                <a:xfrm>
                  <a:off x="7879155" y="1730056"/>
                  <a:ext cx="8802" cy="51566"/>
                </a:xfrm>
                <a:custGeom>
                  <a:avLst/>
                  <a:gdLst>
                    <a:gd name="connsiteX0" fmla="*/ 488 w 8802"/>
                    <a:gd name="connsiteY0" fmla="*/ 0 h 51566"/>
                    <a:gd name="connsiteX1" fmla="*/ 1609 w 8802"/>
                    <a:gd name="connsiteY1" fmla="*/ 18808 h 51566"/>
                    <a:gd name="connsiteX2" fmla="*/ 7712 w 8802"/>
                    <a:gd name="connsiteY2" fmla="*/ 35125 h 51566"/>
                    <a:gd name="connsiteX3" fmla="*/ 8210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488" y="0"/>
                      </a:moveTo>
                      <a:cubicBezTo>
                        <a:pt x="-633" y="8345"/>
                        <a:pt x="363" y="14573"/>
                        <a:pt x="1609" y="18808"/>
                      </a:cubicBezTo>
                      <a:cubicBezTo>
                        <a:pt x="3477" y="25534"/>
                        <a:pt x="6093" y="28275"/>
                        <a:pt x="7712" y="35125"/>
                      </a:cubicBezTo>
                      <a:cubicBezTo>
                        <a:pt x="9332" y="41851"/>
                        <a:pt x="8834" y="47706"/>
                        <a:pt x="821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0" name="Freeform 7417">
                  <a:extLst>
                    <a:ext uri="{FF2B5EF4-FFF2-40B4-BE49-F238E27FC236}">
                      <a16:creationId xmlns:a16="http://schemas.microsoft.com/office/drawing/2014/main" id="{8FD09DD1-C044-10E1-C5D7-683E37877DDA}"/>
                    </a:ext>
                  </a:extLst>
                </p:cNvPr>
                <p:cNvSpPr/>
                <p:nvPr/>
              </p:nvSpPr>
              <p:spPr>
                <a:xfrm>
                  <a:off x="7885870" y="1723828"/>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4"/>
                        <a:pt x="4360" y="37616"/>
                        <a:pt x="4111" y="33257"/>
                      </a:cubicBezTo>
                      <a:cubicBezTo>
                        <a:pt x="3737" y="26282"/>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1" name="Freeform 7418">
                  <a:extLst>
                    <a:ext uri="{FF2B5EF4-FFF2-40B4-BE49-F238E27FC236}">
                      <a16:creationId xmlns:a16="http://schemas.microsoft.com/office/drawing/2014/main" id="{412E1CF4-BD10-B9D7-7624-F3EA753C4CFC}"/>
                    </a:ext>
                  </a:extLst>
                </p:cNvPr>
                <p:cNvSpPr/>
                <p:nvPr/>
              </p:nvSpPr>
              <p:spPr>
                <a:xfrm>
                  <a:off x="7868894" y="1709313"/>
                  <a:ext cx="26388" cy="26508"/>
                </a:xfrm>
                <a:custGeom>
                  <a:avLst/>
                  <a:gdLst>
                    <a:gd name="connsiteX0" fmla="*/ 26193 w 26388"/>
                    <a:gd name="connsiteY0" fmla="*/ 11152 h 26508"/>
                    <a:gd name="connsiteX1" fmla="*/ 15357 w 26388"/>
                    <a:gd name="connsiteY1" fmla="*/ 26348 h 26508"/>
                    <a:gd name="connsiteX2" fmla="*/ 161 w 26388"/>
                    <a:gd name="connsiteY2" fmla="*/ 15387 h 26508"/>
                    <a:gd name="connsiteX3" fmla="*/ 10997 w 26388"/>
                    <a:gd name="connsiteY3" fmla="*/ 191 h 26508"/>
                    <a:gd name="connsiteX4" fmla="*/ 26193 w 26388"/>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8">
                      <a:moveTo>
                        <a:pt x="26193" y="11152"/>
                      </a:moveTo>
                      <a:cubicBezTo>
                        <a:pt x="27439" y="18376"/>
                        <a:pt x="22581" y="25227"/>
                        <a:pt x="15357" y="26348"/>
                      </a:cubicBezTo>
                      <a:cubicBezTo>
                        <a:pt x="8133" y="27469"/>
                        <a:pt x="1406" y="22611"/>
                        <a:pt x="161" y="15387"/>
                      </a:cubicBezTo>
                      <a:cubicBezTo>
                        <a:pt x="-960" y="8163"/>
                        <a:pt x="3898" y="1312"/>
                        <a:pt x="10997" y="191"/>
                      </a:cubicBezTo>
                      <a:cubicBezTo>
                        <a:pt x="18097" y="-1055"/>
                        <a:pt x="24948"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7" name="Graphic 2987">
                <a:extLst>
                  <a:ext uri="{FF2B5EF4-FFF2-40B4-BE49-F238E27FC236}">
                    <a16:creationId xmlns:a16="http://schemas.microsoft.com/office/drawing/2014/main" id="{0F0D295B-775F-8FB4-AE0B-627AEED927C2}"/>
                  </a:ext>
                </a:extLst>
              </p:cNvPr>
              <p:cNvGrpSpPr/>
              <p:nvPr/>
            </p:nvGrpSpPr>
            <p:grpSpPr>
              <a:xfrm>
                <a:off x="7839623" y="1713951"/>
                <a:ext cx="46313" cy="147329"/>
                <a:chOff x="7839623" y="1713951"/>
                <a:chExt cx="46313" cy="147329"/>
              </a:xfrm>
              <a:grpFill/>
            </p:grpSpPr>
            <p:sp>
              <p:nvSpPr>
                <p:cNvPr id="6690" name="Freeform 7420">
                  <a:extLst>
                    <a:ext uri="{FF2B5EF4-FFF2-40B4-BE49-F238E27FC236}">
                      <a16:creationId xmlns:a16="http://schemas.microsoft.com/office/drawing/2014/main" id="{38CCD12D-A472-1751-AC36-67B319805156}"/>
                    </a:ext>
                  </a:extLst>
                </p:cNvPr>
                <p:cNvSpPr/>
                <p:nvPr/>
              </p:nvSpPr>
              <p:spPr>
                <a:xfrm>
                  <a:off x="7866844" y="1788847"/>
                  <a:ext cx="8681" cy="51566"/>
                </a:xfrm>
                <a:custGeom>
                  <a:avLst/>
                  <a:gdLst>
                    <a:gd name="connsiteX0" fmla="*/ 8190 w 8681"/>
                    <a:gd name="connsiteY0" fmla="*/ 51567 h 51566"/>
                    <a:gd name="connsiteX1" fmla="*/ 7193 w 8681"/>
                    <a:gd name="connsiteY1" fmla="*/ 32759 h 51566"/>
                    <a:gd name="connsiteX2" fmla="*/ 1090 w 8681"/>
                    <a:gd name="connsiteY2" fmla="*/ 16442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1" y="43222"/>
                        <a:pt x="8314" y="36994"/>
                        <a:pt x="7193" y="32759"/>
                      </a:cubicBezTo>
                      <a:cubicBezTo>
                        <a:pt x="5325" y="26033"/>
                        <a:pt x="2709" y="23292"/>
                        <a:pt x="1090" y="16442"/>
                      </a:cubicBezTo>
                      <a:cubicBezTo>
                        <a:pt x="-530"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1" name="Freeform 7421">
                  <a:extLst>
                    <a:ext uri="{FF2B5EF4-FFF2-40B4-BE49-F238E27FC236}">
                      <a16:creationId xmlns:a16="http://schemas.microsoft.com/office/drawing/2014/main" id="{05BCEAF9-6A2E-D125-0A39-09333DF461FE}"/>
                    </a:ext>
                  </a:extLst>
                </p:cNvPr>
                <p:cNvSpPr/>
                <p:nvPr/>
              </p:nvSpPr>
              <p:spPr>
                <a:xfrm>
                  <a:off x="7859838" y="1795199"/>
                  <a:ext cx="9092" cy="51442"/>
                </a:xfrm>
                <a:custGeom>
                  <a:avLst/>
                  <a:gdLst>
                    <a:gd name="connsiteX0" fmla="*/ 0 w 9092"/>
                    <a:gd name="connsiteY0" fmla="*/ 0 h 51442"/>
                    <a:gd name="connsiteX1" fmla="*/ 4982 w 9092"/>
                    <a:gd name="connsiteY1" fmla="*/ 18185 h 51442"/>
                    <a:gd name="connsiteX2" fmla="*/ 4359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598"/>
                        <a:pt x="4733" y="13826"/>
                        <a:pt x="4982" y="18185"/>
                      </a:cubicBezTo>
                      <a:cubicBezTo>
                        <a:pt x="5356" y="25161"/>
                        <a:pt x="3737" y="28524"/>
                        <a:pt x="4359" y="35624"/>
                      </a:cubicBezTo>
                      <a:cubicBezTo>
                        <a:pt x="4982" y="42474"/>
                        <a:pt x="7224"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2" name="Freeform 7422">
                  <a:extLst>
                    <a:ext uri="{FF2B5EF4-FFF2-40B4-BE49-F238E27FC236}">
                      <a16:creationId xmlns:a16="http://schemas.microsoft.com/office/drawing/2014/main" id="{9C2C9504-CCF6-8DAA-1C81-72160A85D531}"/>
                    </a:ext>
                  </a:extLst>
                </p:cNvPr>
                <p:cNvSpPr/>
                <p:nvPr/>
              </p:nvSpPr>
              <p:spPr>
                <a:xfrm>
                  <a:off x="7859179" y="1834772"/>
                  <a:ext cx="26757" cy="26508"/>
                </a:xfrm>
                <a:custGeom>
                  <a:avLst/>
                  <a:gdLst>
                    <a:gd name="connsiteX0" fmla="*/ 161 w 26757"/>
                    <a:gd name="connsiteY0" fmla="*/ 15357 h 26508"/>
                    <a:gd name="connsiteX1" fmla="*/ 11246 w 26757"/>
                    <a:gd name="connsiteY1" fmla="*/ 161 h 26508"/>
                    <a:gd name="connsiteX2" fmla="*/ 26567 w 26757"/>
                    <a:gd name="connsiteY2" fmla="*/ 11122 h 26508"/>
                    <a:gd name="connsiteX3" fmla="*/ 15482 w 26757"/>
                    <a:gd name="connsiteY3" fmla="*/ 26318 h 26508"/>
                    <a:gd name="connsiteX4" fmla="*/ 161 w 26757"/>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508">
                      <a:moveTo>
                        <a:pt x="161" y="15357"/>
                      </a:moveTo>
                      <a:cubicBezTo>
                        <a:pt x="-960" y="8132"/>
                        <a:pt x="3898" y="1282"/>
                        <a:pt x="11246" y="161"/>
                      </a:cubicBezTo>
                      <a:cubicBezTo>
                        <a:pt x="18471" y="-960"/>
                        <a:pt x="25321" y="3897"/>
                        <a:pt x="26567" y="11122"/>
                      </a:cubicBezTo>
                      <a:cubicBezTo>
                        <a:pt x="27813" y="18346"/>
                        <a:pt x="22830" y="25197"/>
                        <a:pt x="15482" y="26318"/>
                      </a:cubicBezTo>
                      <a:cubicBezTo>
                        <a:pt x="8132" y="27563"/>
                        <a:pt x="1282"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3" name="Freeform 7423">
                  <a:extLst>
                    <a:ext uri="{FF2B5EF4-FFF2-40B4-BE49-F238E27FC236}">
                      <a16:creationId xmlns:a16="http://schemas.microsoft.com/office/drawing/2014/main" id="{6E5B3C36-7BDB-FE1A-1ACF-74152ADF2008}"/>
                    </a:ext>
                  </a:extLst>
                </p:cNvPr>
                <p:cNvSpPr/>
                <p:nvPr/>
              </p:nvSpPr>
              <p:spPr>
                <a:xfrm>
                  <a:off x="7850005" y="1734789"/>
                  <a:ext cx="8680" cy="51566"/>
                </a:xfrm>
                <a:custGeom>
                  <a:avLst/>
                  <a:gdLst>
                    <a:gd name="connsiteX0" fmla="*/ 492 w 8680"/>
                    <a:gd name="connsiteY0" fmla="*/ 0 h 51566"/>
                    <a:gd name="connsiteX1" fmla="*/ 1488 w 8680"/>
                    <a:gd name="connsiteY1" fmla="*/ 18808 h 51566"/>
                    <a:gd name="connsiteX2" fmla="*/ 7592 w 8680"/>
                    <a:gd name="connsiteY2" fmla="*/ 35125 h 51566"/>
                    <a:gd name="connsiteX3" fmla="*/ 8089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492" y="0"/>
                      </a:moveTo>
                      <a:cubicBezTo>
                        <a:pt x="-630" y="8345"/>
                        <a:pt x="367" y="14573"/>
                        <a:pt x="1488" y="18808"/>
                      </a:cubicBezTo>
                      <a:cubicBezTo>
                        <a:pt x="3356" y="25534"/>
                        <a:pt x="5972" y="28275"/>
                        <a:pt x="7592" y="35125"/>
                      </a:cubicBezTo>
                      <a:cubicBezTo>
                        <a:pt x="9210" y="41851"/>
                        <a:pt x="8712" y="47706"/>
                        <a:pt x="808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4" name="Freeform 7424">
                  <a:extLst>
                    <a:ext uri="{FF2B5EF4-FFF2-40B4-BE49-F238E27FC236}">
                      <a16:creationId xmlns:a16="http://schemas.microsoft.com/office/drawing/2014/main" id="{A9F6C0EB-64B5-BEFB-AAE1-C1C400B7D563}"/>
                    </a:ext>
                  </a:extLst>
                </p:cNvPr>
                <p:cNvSpPr/>
                <p:nvPr/>
              </p:nvSpPr>
              <p:spPr>
                <a:xfrm>
                  <a:off x="7856600" y="1728561"/>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844"/>
                        <a:pt x="4359" y="37616"/>
                        <a:pt x="4111" y="33257"/>
                      </a:cubicBezTo>
                      <a:cubicBezTo>
                        <a:pt x="3737" y="26282"/>
                        <a:pt x="5356" y="22919"/>
                        <a:pt x="4733" y="15819"/>
                      </a:cubicBezTo>
                      <a:cubicBezTo>
                        <a:pt x="4111"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5" name="Freeform 7425">
                  <a:extLst>
                    <a:ext uri="{FF2B5EF4-FFF2-40B4-BE49-F238E27FC236}">
                      <a16:creationId xmlns:a16="http://schemas.microsoft.com/office/drawing/2014/main" id="{43D7F910-53B5-158C-B91E-85E54E42E555}"/>
                    </a:ext>
                  </a:extLst>
                </p:cNvPr>
                <p:cNvSpPr/>
                <p:nvPr/>
              </p:nvSpPr>
              <p:spPr>
                <a:xfrm>
                  <a:off x="7839623" y="1713951"/>
                  <a:ext cx="26478" cy="26478"/>
                </a:xfrm>
                <a:custGeom>
                  <a:avLst/>
                  <a:gdLst>
                    <a:gd name="connsiteX0" fmla="*/ 26318 w 26478"/>
                    <a:gd name="connsiteY0" fmla="*/ 11122 h 26478"/>
                    <a:gd name="connsiteX1" fmla="*/ 15357 w 26478"/>
                    <a:gd name="connsiteY1" fmla="*/ 26318 h 26478"/>
                    <a:gd name="connsiteX2" fmla="*/ 161 w 26478"/>
                    <a:gd name="connsiteY2" fmla="*/ 15357 h 26478"/>
                    <a:gd name="connsiteX3" fmla="*/ 11122 w 26478"/>
                    <a:gd name="connsiteY3" fmla="*/ 161 h 26478"/>
                    <a:gd name="connsiteX4" fmla="*/ 26318 w 2647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477">
                      <a:moveTo>
                        <a:pt x="26318" y="11122"/>
                      </a:moveTo>
                      <a:cubicBezTo>
                        <a:pt x="27439" y="18346"/>
                        <a:pt x="22582" y="25197"/>
                        <a:pt x="15357" y="26318"/>
                      </a:cubicBezTo>
                      <a:cubicBezTo>
                        <a:pt x="8133" y="27439"/>
                        <a:pt x="1407" y="22581"/>
                        <a:pt x="161" y="15357"/>
                      </a:cubicBezTo>
                      <a:cubicBezTo>
                        <a:pt x="-960" y="8132"/>
                        <a:pt x="3898" y="1282"/>
                        <a:pt x="11122" y="161"/>
                      </a:cubicBezTo>
                      <a:cubicBezTo>
                        <a:pt x="18346" y="-960"/>
                        <a:pt x="25197" y="3897"/>
                        <a:pt x="2631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8" name="Graphic 2987">
                <a:extLst>
                  <a:ext uri="{FF2B5EF4-FFF2-40B4-BE49-F238E27FC236}">
                    <a16:creationId xmlns:a16="http://schemas.microsoft.com/office/drawing/2014/main" id="{4F39C6FD-EDB4-D99B-3786-3EAB6000AAE7}"/>
                  </a:ext>
                </a:extLst>
              </p:cNvPr>
              <p:cNvGrpSpPr/>
              <p:nvPr/>
            </p:nvGrpSpPr>
            <p:grpSpPr>
              <a:xfrm>
                <a:off x="7810602" y="1718654"/>
                <a:ext cx="45781" cy="147333"/>
                <a:chOff x="7810602" y="1718654"/>
                <a:chExt cx="45781" cy="147333"/>
              </a:xfrm>
              <a:grpFill/>
            </p:grpSpPr>
            <p:sp>
              <p:nvSpPr>
                <p:cNvPr id="6684" name="Freeform 7427">
                  <a:extLst>
                    <a:ext uri="{FF2B5EF4-FFF2-40B4-BE49-F238E27FC236}">
                      <a16:creationId xmlns:a16="http://schemas.microsoft.com/office/drawing/2014/main" id="{87C8F7A2-6092-C6B9-0306-9035C5BE77B0}"/>
                    </a:ext>
                  </a:extLst>
                </p:cNvPr>
                <p:cNvSpPr/>
                <p:nvPr/>
              </p:nvSpPr>
              <p:spPr>
                <a:xfrm>
                  <a:off x="7837324" y="1793705"/>
                  <a:ext cx="8736" cy="51566"/>
                </a:xfrm>
                <a:custGeom>
                  <a:avLst/>
                  <a:gdLst>
                    <a:gd name="connsiteX0" fmla="*/ 8190 w 8736"/>
                    <a:gd name="connsiteY0" fmla="*/ 51567 h 51566"/>
                    <a:gd name="connsiteX1" fmla="*/ 7193 w 8736"/>
                    <a:gd name="connsiteY1" fmla="*/ 32759 h 51566"/>
                    <a:gd name="connsiteX2" fmla="*/ 1090 w 8736"/>
                    <a:gd name="connsiteY2" fmla="*/ 16442 h 51566"/>
                    <a:gd name="connsiteX3" fmla="*/ 592 w 8736"/>
                    <a:gd name="connsiteY3" fmla="*/ 0 h 51566"/>
                  </a:gdLst>
                  <a:ahLst/>
                  <a:cxnLst>
                    <a:cxn ang="0">
                      <a:pos x="connsiteX0" y="connsiteY0"/>
                    </a:cxn>
                    <a:cxn ang="0">
                      <a:pos x="connsiteX1" y="connsiteY1"/>
                    </a:cxn>
                    <a:cxn ang="0">
                      <a:pos x="connsiteX2" y="connsiteY2"/>
                    </a:cxn>
                    <a:cxn ang="0">
                      <a:pos x="connsiteX3" y="connsiteY3"/>
                    </a:cxn>
                  </a:cxnLst>
                  <a:rect l="l" t="t" r="r" b="b"/>
                  <a:pathLst>
                    <a:path w="8736" h="51566">
                      <a:moveTo>
                        <a:pt x="8190" y="51567"/>
                      </a:moveTo>
                      <a:cubicBezTo>
                        <a:pt x="9435" y="43222"/>
                        <a:pt x="8314" y="36994"/>
                        <a:pt x="7193" y="32759"/>
                      </a:cubicBezTo>
                      <a:cubicBezTo>
                        <a:pt x="5325" y="26033"/>
                        <a:pt x="2709" y="23292"/>
                        <a:pt x="1090" y="16442"/>
                      </a:cubicBezTo>
                      <a:cubicBezTo>
                        <a:pt x="-530" y="9716"/>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5" name="Freeform 7428">
                  <a:extLst>
                    <a:ext uri="{FF2B5EF4-FFF2-40B4-BE49-F238E27FC236}">
                      <a16:creationId xmlns:a16="http://schemas.microsoft.com/office/drawing/2014/main" id="{557DA5F8-FC09-0EAC-7ADF-E51DEBF052D0}"/>
                    </a:ext>
                  </a:extLst>
                </p:cNvPr>
                <p:cNvSpPr/>
                <p:nvPr/>
              </p:nvSpPr>
              <p:spPr>
                <a:xfrm>
                  <a:off x="7830442" y="1799932"/>
                  <a:ext cx="8843" cy="51442"/>
                </a:xfrm>
                <a:custGeom>
                  <a:avLst/>
                  <a:gdLst>
                    <a:gd name="connsiteX0" fmla="*/ 0 w 8843"/>
                    <a:gd name="connsiteY0" fmla="*/ 0 h 51442"/>
                    <a:gd name="connsiteX1" fmla="*/ 4858 w 8843"/>
                    <a:gd name="connsiteY1" fmla="*/ 18185 h 51442"/>
                    <a:gd name="connsiteX2" fmla="*/ 4111 w 8843"/>
                    <a:gd name="connsiteY2" fmla="*/ 35624 h 51442"/>
                    <a:gd name="connsiteX3" fmla="*/ 8844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0" y="0"/>
                      </a:moveTo>
                      <a:cubicBezTo>
                        <a:pt x="3737" y="7598"/>
                        <a:pt x="4733" y="13826"/>
                        <a:pt x="4858" y="18185"/>
                      </a:cubicBezTo>
                      <a:cubicBezTo>
                        <a:pt x="5232" y="25161"/>
                        <a:pt x="3488" y="28524"/>
                        <a:pt x="4111" y="35624"/>
                      </a:cubicBezTo>
                      <a:cubicBezTo>
                        <a:pt x="4733" y="42474"/>
                        <a:pt x="6975" y="47955"/>
                        <a:pt x="884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6" name="Freeform 7429">
                  <a:extLst>
                    <a:ext uri="{FF2B5EF4-FFF2-40B4-BE49-F238E27FC236}">
                      <a16:creationId xmlns:a16="http://schemas.microsoft.com/office/drawing/2014/main" id="{7CBDDDB4-714B-D87A-6B77-0D3595684B08}"/>
                    </a:ext>
                  </a:extLst>
                </p:cNvPr>
                <p:cNvSpPr/>
                <p:nvPr/>
              </p:nvSpPr>
              <p:spPr>
                <a:xfrm>
                  <a:off x="7829662" y="1839506"/>
                  <a:ext cx="26721" cy="26481"/>
                </a:xfrm>
                <a:custGeom>
                  <a:avLst/>
                  <a:gdLst>
                    <a:gd name="connsiteX0" fmla="*/ 157 w 26721"/>
                    <a:gd name="connsiteY0" fmla="*/ 15357 h 26481"/>
                    <a:gd name="connsiteX1" fmla="*/ 11243 w 26721"/>
                    <a:gd name="connsiteY1" fmla="*/ 161 h 26481"/>
                    <a:gd name="connsiteX2" fmla="*/ 26564 w 26721"/>
                    <a:gd name="connsiteY2" fmla="*/ 11122 h 26481"/>
                    <a:gd name="connsiteX3" fmla="*/ 15479 w 26721"/>
                    <a:gd name="connsiteY3" fmla="*/ 26318 h 26481"/>
                    <a:gd name="connsiteX4" fmla="*/ 157 w 26721"/>
                    <a:gd name="connsiteY4" fmla="*/ 15357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81">
                      <a:moveTo>
                        <a:pt x="157" y="15357"/>
                      </a:moveTo>
                      <a:cubicBezTo>
                        <a:pt x="-963" y="8132"/>
                        <a:pt x="4019" y="1282"/>
                        <a:pt x="11243" y="161"/>
                      </a:cubicBezTo>
                      <a:cubicBezTo>
                        <a:pt x="18468" y="-960"/>
                        <a:pt x="25318" y="3897"/>
                        <a:pt x="26564" y="11122"/>
                      </a:cubicBezTo>
                      <a:cubicBezTo>
                        <a:pt x="27685" y="18346"/>
                        <a:pt x="22702" y="25197"/>
                        <a:pt x="15479" y="26318"/>
                      </a:cubicBezTo>
                      <a:cubicBezTo>
                        <a:pt x="8254" y="27439"/>
                        <a:pt x="1403" y="22706"/>
                        <a:pt x="15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7" name="Freeform 7430">
                  <a:extLst>
                    <a:ext uri="{FF2B5EF4-FFF2-40B4-BE49-F238E27FC236}">
                      <a16:creationId xmlns:a16="http://schemas.microsoft.com/office/drawing/2014/main" id="{5E9A1A06-D47E-0AA5-D247-1C6E71B33029}"/>
                    </a:ext>
                  </a:extLst>
                </p:cNvPr>
                <p:cNvSpPr/>
                <p:nvPr/>
              </p:nvSpPr>
              <p:spPr>
                <a:xfrm>
                  <a:off x="7820858" y="1739522"/>
                  <a:ext cx="8666" cy="51691"/>
                </a:xfrm>
                <a:custGeom>
                  <a:avLst/>
                  <a:gdLst>
                    <a:gd name="connsiteX0" fmla="*/ 491 w 8666"/>
                    <a:gd name="connsiteY0" fmla="*/ 0 h 51691"/>
                    <a:gd name="connsiteX1" fmla="*/ 1488 w 8666"/>
                    <a:gd name="connsiteY1" fmla="*/ 18808 h 51691"/>
                    <a:gd name="connsiteX2" fmla="*/ 7591 w 8666"/>
                    <a:gd name="connsiteY2" fmla="*/ 35125 h 51691"/>
                    <a:gd name="connsiteX3" fmla="*/ 7965 w 86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666" h="51690">
                      <a:moveTo>
                        <a:pt x="491" y="0"/>
                      </a:moveTo>
                      <a:cubicBezTo>
                        <a:pt x="-629" y="8345"/>
                        <a:pt x="367" y="14573"/>
                        <a:pt x="1488" y="18808"/>
                      </a:cubicBezTo>
                      <a:cubicBezTo>
                        <a:pt x="3356" y="25534"/>
                        <a:pt x="5972" y="28275"/>
                        <a:pt x="7591" y="35125"/>
                      </a:cubicBezTo>
                      <a:cubicBezTo>
                        <a:pt x="9210" y="41851"/>
                        <a:pt x="8713" y="47706"/>
                        <a:pt x="796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8" name="Freeform 7431">
                  <a:extLst>
                    <a:ext uri="{FF2B5EF4-FFF2-40B4-BE49-F238E27FC236}">
                      <a16:creationId xmlns:a16="http://schemas.microsoft.com/office/drawing/2014/main" id="{A822298F-9ADE-4FDB-8E88-22012A8825AC}"/>
                    </a:ext>
                  </a:extLst>
                </p:cNvPr>
                <p:cNvSpPr/>
                <p:nvPr/>
              </p:nvSpPr>
              <p:spPr>
                <a:xfrm>
                  <a:off x="7827453" y="1733294"/>
                  <a:ext cx="8968" cy="51442"/>
                </a:xfrm>
                <a:custGeom>
                  <a:avLst/>
                  <a:gdLst>
                    <a:gd name="connsiteX0" fmla="*/ 8969 w 8968"/>
                    <a:gd name="connsiteY0" fmla="*/ 51442 h 51442"/>
                    <a:gd name="connsiteX1" fmla="*/ 4111 w 8968"/>
                    <a:gd name="connsiteY1" fmla="*/ 33257 h 51442"/>
                    <a:gd name="connsiteX2" fmla="*/ 4733 w 8968"/>
                    <a:gd name="connsiteY2" fmla="*/ 15819 h 51442"/>
                    <a:gd name="connsiteX3" fmla="*/ 0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8969" y="51442"/>
                      </a:moveTo>
                      <a:cubicBezTo>
                        <a:pt x="5232" y="43844"/>
                        <a:pt x="4235" y="37616"/>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9" name="Freeform 7432">
                  <a:extLst>
                    <a:ext uri="{FF2B5EF4-FFF2-40B4-BE49-F238E27FC236}">
                      <a16:creationId xmlns:a16="http://schemas.microsoft.com/office/drawing/2014/main" id="{784C1194-190F-93F2-47DC-287280F29892}"/>
                    </a:ext>
                  </a:extLst>
                </p:cNvPr>
                <p:cNvSpPr/>
                <p:nvPr/>
              </p:nvSpPr>
              <p:spPr>
                <a:xfrm>
                  <a:off x="7810602" y="1718654"/>
                  <a:ext cx="26353" cy="26508"/>
                </a:xfrm>
                <a:custGeom>
                  <a:avLst/>
                  <a:gdLst>
                    <a:gd name="connsiteX0" fmla="*/ 26193 w 26353"/>
                    <a:gd name="connsiteY0" fmla="*/ 11152 h 26508"/>
                    <a:gd name="connsiteX1" fmla="*/ 15232 w 26353"/>
                    <a:gd name="connsiteY1" fmla="*/ 26348 h 26508"/>
                    <a:gd name="connsiteX2" fmla="*/ 161 w 26353"/>
                    <a:gd name="connsiteY2" fmla="*/ 15387 h 26508"/>
                    <a:gd name="connsiteX3" fmla="*/ 11122 w 26353"/>
                    <a:gd name="connsiteY3" fmla="*/ 191 h 26508"/>
                    <a:gd name="connsiteX4" fmla="*/ 26193 w 2635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08">
                      <a:moveTo>
                        <a:pt x="26193" y="11152"/>
                      </a:moveTo>
                      <a:cubicBezTo>
                        <a:pt x="27314" y="18376"/>
                        <a:pt x="22456" y="25227"/>
                        <a:pt x="15232" y="26348"/>
                      </a:cubicBezTo>
                      <a:cubicBezTo>
                        <a:pt x="8008" y="27469"/>
                        <a:pt x="1281" y="22611"/>
                        <a:pt x="161" y="15387"/>
                      </a:cubicBezTo>
                      <a:cubicBezTo>
                        <a:pt x="-961" y="8163"/>
                        <a:pt x="3897" y="1312"/>
                        <a:pt x="11122" y="191"/>
                      </a:cubicBezTo>
                      <a:cubicBezTo>
                        <a:pt x="18346" y="-1055"/>
                        <a:pt x="25072"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9" name="Graphic 2987">
                <a:extLst>
                  <a:ext uri="{FF2B5EF4-FFF2-40B4-BE49-F238E27FC236}">
                    <a16:creationId xmlns:a16="http://schemas.microsoft.com/office/drawing/2014/main" id="{B744E26F-9945-4B0F-665C-0AEE3798B354}"/>
                  </a:ext>
                </a:extLst>
              </p:cNvPr>
              <p:cNvGrpSpPr/>
              <p:nvPr/>
            </p:nvGrpSpPr>
            <p:grpSpPr>
              <a:xfrm>
                <a:off x="7781580" y="1723388"/>
                <a:ext cx="45283" cy="147454"/>
                <a:chOff x="7781580" y="1723388"/>
                <a:chExt cx="45283" cy="147454"/>
              </a:xfrm>
              <a:grpFill/>
            </p:grpSpPr>
            <p:sp>
              <p:nvSpPr>
                <p:cNvPr id="6678" name="Freeform 7434">
                  <a:extLst>
                    <a:ext uri="{FF2B5EF4-FFF2-40B4-BE49-F238E27FC236}">
                      <a16:creationId xmlns:a16="http://schemas.microsoft.com/office/drawing/2014/main" id="{F8ADE50D-E9CA-90DB-4152-58C1E3C1CC8A}"/>
                    </a:ext>
                  </a:extLst>
                </p:cNvPr>
                <p:cNvSpPr/>
                <p:nvPr/>
              </p:nvSpPr>
              <p:spPr>
                <a:xfrm>
                  <a:off x="7808286" y="1798313"/>
                  <a:ext cx="8408" cy="51691"/>
                </a:xfrm>
                <a:custGeom>
                  <a:avLst/>
                  <a:gdLst>
                    <a:gd name="connsiteX0" fmla="*/ 7832 w 8408"/>
                    <a:gd name="connsiteY0" fmla="*/ 51691 h 51691"/>
                    <a:gd name="connsiteX1" fmla="*/ 6960 w 8408"/>
                    <a:gd name="connsiteY1" fmla="*/ 32883 h 51691"/>
                    <a:gd name="connsiteX2" fmla="*/ 982 w 8408"/>
                    <a:gd name="connsiteY2" fmla="*/ 16566 h 51691"/>
                    <a:gd name="connsiteX3" fmla="*/ 608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7832" y="51691"/>
                      </a:moveTo>
                      <a:cubicBezTo>
                        <a:pt x="9077" y="43346"/>
                        <a:pt x="8082" y="37118"/>
                        <a:pt x="6960" y="32883"/>
                      </a:cubicBezTo>
                      <a:cubicBezTo>
                        <a:pt x="5092" y="26157"/>
                        <a:pt x="2476"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9" name="Freeform 7435">
                  <a:extLst>
                    <a:ext uri="{FF2B5EF4-FFF2-40B4-BE49-F238E27FC236}">
                      <a16:creationId xmlns:a16="http://schemas.microsoft.com/office/drawing/2014/main" id="{25FD6C1E-1E81-3117-1009-A58EB91CB534}"/>
                    </a:ext>
                  </a:extLst>
                </p:cNvPr>
                <p:cNvSpPr/>
                <p:nvPr/>
              </p:nvSpPr>
              <p:spPr>
                <a:xfrm>
                  <a:off x="7801171" y="1804666"/>
                  <a:ext cx="8719" cy="51442"/>
                </a:xfrm>
                <a:custGeom>
                  <a:avLst/>
                  <a:gdLst>
                    <a:gd name="connsiteX0" fmla="*/ 0 w 8719"/>
                    <a:gd name="connsiteY0" fmla="*/ 0 h 51442"/>
                    <a:gd name="connsiteX1" fmla="*/ 4858 w 8719"/>
                    <a:gd name="connsiteY1" fmla="*/ 18185 h 51442"/>
                    <a:gd name="connsiteX2" fmla="*/ 4111 w 8719"/>
                    <a:gd name="connsiteY2" fmla="*/ 35624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107" y="25161"/>
                        <a:pt x="3488" y="28524"/>
                        <a:pt x="4111" y="35624"/>
                      </a:cubicBezTo>
                      <a:cubicBezTo>
                        <a:pt x="4733" y="42474"/>
                        <a:pt x="6975" y="47955"/>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0" name="Freeform 7436">
                  <a:extLst>
                    <a:ext uri="{FF2B5EF4-FFF2-40B4-BE49-F238E27FC236}">
                      <a16:creationId xmlns:a16="http://schemas.microsoft.com/office/drawing/2014/main" id="{5434495B-2FDF-D64D-87BC-46A75592411F}"/>
                    </a:ext>
                  </a:extLst>
                </p:cNvPr>
                <p:cNvSpPr/>
                <p:nvPr/>
              </p:nvSpPr>
              <p:spPr>
                <a:xfrm>
                  <a:off x="7800266" y="1844363"/>
                  <a:ext cx="26596" cy="26478"/>
                </a:xfrm>
                <a:custGeom>
                  <a:avLst/>
                  <a:gdLst>
                    <a:gd name="connsiteX0" fmla="*/ 158 w 26596"/>
                    <a:gd name="connsiteY0" fmla="*/ 15357 h 26478"/>
                    <a:gd name="connsiteX1" fmla="*/ 11243 w 26596"/>
                    <a:gd name="connsiteY1" fmla="*/ 161 h 26478"/>
                    <a:gd name="connsiteX2" fmla="*/ 26439 w 26596"/>
                    <a:gd name="connsiteY2" fmla="*/ 11122 h 26478"/>
                    <a:gd name="connsiteX3" fmla="*/ 15353 w 26596"/>
                    <a:gd name="connsiteY3" fmla="*/ 26318 h 26478"/>
                    <a:gd name="connsiteX4" fmla="*/ 158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158" y="15357"/>
                      </a:moveTo>
                      <a:cubicBezTo>
                        <a:pt x="-964" y="8132"/>
                        <a:pt x="4019" y="1282"/>
                        <a:pt x="11243" y="161"/>
                      </a:cubicBezTo>
                      <a:cubicBezTo>
                        <a:pt x="18467" y="-960"/>
                        <a:pt x="25319" y="3897"/>
                        <a:pt x="26439" y="11122"/>
                      </a:cubicBezTo>
                      <a:cubicBezTo>
                        <a:pt x="27560" y="18346"/>
                        <a:pt x="22578" y="25197"/>
                        <a:pt x="15353" y="26318"/>
                      </a:cubicBezTo>
                      <a:cubicBezTo>
                        <a:pt x="8130" y="27439"/>
                        <a:pt x="1279"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1" name="Freeform 7437">
                  <a:extLst>
                    <a:ext uri="{FF2B5EF4-FFF2-40B4-BE49-F238E27FC236}">
                      <a16:creationId xmlns:a16="http://schemas.microsoft.com/office/drawing/2014/main" id="{67F7149B-1470-7D19-7DC7-395E47391506}"/>
                    </a:ext>
                  </a:extLst>
                </p:cNvPr>
                <p:cNvSpPr/>
                <p:nvPr/>
              </p:nvSpPr>
              <p:spPr>
                <a:xfrm>
                  <a:off x="7791627" y="1744131"/>
                  <a:ext cx="8408" cy="51691"/>
                </a:xfrm>
                <a:custGeom>
                  <a:avLst/>
                  <a:gdLst>
                    <a:gd name="connsiteX0" fmla="*/ 577 w 8408"/>
                    <a:gd name="connsiteY0" fmla="*/ 0 h 51691"/>
                    <a:gd name="connsiteX1" fmla="*/ 1448 w 8408"/>
                    <a:gd name="connsiteY1" fmla="*/ 18808 h 51691"/>
                    <a:gd name="connsiteX2" fmla="*/ 7428 w 8408"/>
                    <a:gd name="connsiteY2" fmla="*/ 35125 h 51691"/>
                    <a:gd name="connsiteX3" fmla="*/ 7801 w 840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8" h="51690">
                      <a:moveTo>
                        <a:pt x="577" y="0"/>
                      </a:moveTo>
                      <a:cubicBezTo>
                        <a:pt x="-669" y="8345"/>
                        <a:pt x="328" y="14573"/>
                        <a:pt x="1448" y="18808"/>
                      </a:cubicBezTo>
                      <a:cubicBezTo>
                        <a:pt x="3317" y="25534"/>
                        <a:pt x="5808" y="28275"/>
                        <a:pt x="7428" y="35125"/>
                      </a:cubicBezTo>
                      <a:cubicBezTo>
                        <a:pt x="8922" y="41851"/>
                        <a:pt x="8423" y="47706"/>
                        <a:pt x="78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2" name="Freeform 7438">
                  <a:extLst>
                    <a:ext uri="{FF2B5EF4-FFF2-40B4-BE49-F238E27FC236}">
                      <a16:creationId xmlns:a16="http://schemas.microsoft.com/office/drawing/2014/main" id="{86727BE5-9D19-9C63-D864-B656C3E09ED8}"/>
                    </a:ext>
                  </a:extLst>
                </p:cNvPr>
                <p:cNvSpPr/>
                <p:nvPr/>
              </p:nvSpPr>
              <p:spPr>
                <a:xfrm>
                  <a:off x="7798431" y="1738027"/>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2"/>
                        <a:pt x="5231" y="22919"/>
                        <a:pt x="4609" y="15819"/>
                      </a:cubicBezTo>
                      <a:cubicBezTo>
                        <a:pt x="3985"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3" name="Freeform 7439">
                  <a:extLst>
                    <a:ext uri="{FF2B5EF4-FFF2-40B4-BE49-F238E27FC236}">
                      <a16:creationId xmlns:a16="http://schemas.microsoft.com/office/drawing/2014/main" id="{25C9B2F6-6F3F-658C-449D-FA7E5989D36B}"/>
                    </a:ext>
                  </a:extLst>
                </p:cNvPr>
                <p:cNvSpPr/>
                <p:nvPr/>
              </p:nvSpPr>
              <p:spPr>
                <a:xfrm>
                  <a:off x="7781580" y="1723388"/>
                  <a:ext cx="26354" cy="26508"/>
                </a:xfrm>
                <a:custGeom>
                  <a:avLst/>
                  <a:gdLst>
                    <a:gd name="connsiteX0" fmla="*/ 26194 w 26354"/>
                    <a:gd name="connsiteY0" fmla="*/ 11152 h 26508"/>
                    <a:gd name="connsiteX1" fmla="*/ 15233 w 26354"/>
                    <a:gd name="connsiteY1" fmla="*/ 26348 h 26508"/>
                    <a:gd name="connsiteX2" fmla="*/ 161 w 26354"/>
                    <a:gd name="connsiteY2" fmla="*/ 15387 h 26508"/>
                    <a:gd name="connsiteX3" fmla="*/ 11122 w 26354"/>
                    <a:gd name="connsiteY3" fmla="*/ 191 h 26508"/>
                    <a:gd name="connsiteX4" fmla="*/ 26194 w 26354"/>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08">
                      <a:moveTo>
                        <a:pt x="26194" y="11152"/>
                      </a:moveTo>
                      <a:cubicBezTo>
                        <a:pt x="27314" y="18376"/>
                        <a:pt x="22456" y="25227"/>
                        <a:pt x="15233" y="26348"/>
                      </a:cubicBezTo>
                      <a:cubicBezTo>
                        <a:pt x="8008" y="27469"/>
                        <a:pt x="1282" y="22611"/>
                        <a:pt x="161" y="15387"/>
                      </a:cubicBezTo>
                      <a:cubicBezTo>
                        <a:pt x="-961" y="8163"/>
                        <a:pt x="3897" y="1312"/>
                        <a:pt x="11122" y="191"/>
                      </a:cubicBezTo>
                      <a:cubicBezTo>
                        <a:pt x="18222" y="-1055"/>
                        <a:pt x="25072" y="3928"/>
                        <a:pt x="26194"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0" name="Graphic 2987">
                <a:extLst>
                  <a:ext uri="{FF2B5EF4-FFF2-40B4-BE49-F238E27FC236}">
                    <a16:creationId xmlns:a16="http://schemas.microsoft.com/office/drawing/2014/main" id="{8DDBD73E-7AB7-34FA-21A1-F55016B79E2F}"/>
                  </a:ext>
                </a:extLst>
              </p:cNvPr>
              <p:cNvGrpSpPr/>
              <p:nvPr/>
            </p:nvGrpSpPr>
            <p:grpSpPr>
              <a:xfrm>
                <a:off x="7752436" y="1728026"/>
                <a:ext cx="45031" cy="147548"/>
                <a:chOff x="7752436" y="1728026"/>
                <a:chExt cx="45031" cy="147548"/>
              </a:xfrm>
              <a:grpFill/>
            </p:grpSpPr>
            <p:sp>
              <p:nvSpPr>
                <p:cNvPr id="6672" name="Freeform 7441">
                  <a:extLst>
                    <a:ext uri="{FF2B5EF4-FFF2-40B4-BE49-F238E27FC236}">
                      <a16:creationId xmlns:a16="http://schemas.microsoft.com/office/drawing/2014/main" id="{51E786A7-F68A-846B-21F2-BD2974A6FC26}"/>
                    </a:ext>
                  </a:extLst>
                </p:cNvPr>
                <p:cNvSpPr/>
                <p:nvPr/>
              </p:nvSpPr>
              <p:spPr>
                <a:xfrm>
                  <a:off x="7778890" y="1803046"/>
                  <a:ext cx="8409" cy="51691"/>
                </a:xfrm>
                <a:custGeom>
                  <a:avLst/>
                  <a:gdLst>
                    <a:gd name="connsiteX0" fmla="*/ 7833 w 8409"/>
                    <a:gd name="connsiteY0" fmla="*/ 51691 h 51691"/>
                    <a:gd name="connsiteX1" fmla="*/ 6961 w 8409"/>
                    <a:gd name="connsiteY1" fmla="*/ 32883 h 51691"/>
                    <a:gd name="connsiteX2" fmla="*/ 981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3" y="51691"/>
                      </a:moveTo>
                      <a:cubicBezTo>
                        <a:pt x="9078" y="43346"/>
                        <a:pt x="8081" y="37118"/>
                        <a:pt x="6961" y="32883"/>
                      </a:cubicBezTo>
                      <a:cubicBezTo>
                        <a:pt x="5092" y="26157"/>
                        <a:pt x="2601" y="23417"/>
                        <a:pt x="981"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3" name="Freeform 7442">
                  <a:extLst>
                    <a:ext uri="{FF2B5EF4-FFF2-40B4-BE49-F238E27FC236}">
                      <a16:creationId xmlns:a16="http://schemas.microsoft.com/office/drawing/2014/main" id="{057D33A6-124E-EB17-93C6-D999724AF217}"/>
                    </a:ext>
                  </a:extLst>
                </p:cNvPr>
                <p:cNvSpPr/>
                <p:nvPr/>
              </p:nvSpPr>
              <p:spPr>
                <a:xfrm>
                  <a:off x="7771901" y="1809399"/>
                  <a:ext cx="8469" cy="51442"/>
                </a:xfrm>
                <a:custGeom>
                  <a:avLst/>
                  <a:gdLst>
                    <a:gd name="connsiteX0" fmla="*/ 0 w 8469"/>
                    <a:gd name="connsiteY0" fmla="*/ 0 h 51442"/>
                    <a:gd name="connsiteX1" fmla="*/ 4733 w 8469"/>
                    <a:gd name="connsiteY1" fmla="*/ 18185 h 51442"/>
                    <a:gd name="connsiteX2" fmla="*/ 3861 w 8469"/>
                    <a:gd name="connsiteY2" fmla="*/ 35623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2" y="7598"/>
                        <a:pt x="4609" y="13826"/>
                        <a:pt x="4733" y="18185"/>
                      </a:cubicBezTo>
                      <a:cubicBezTo>
                        <a:pt x="4982" y="25161"/>
                        <a:pt x="3363" y="28524"/>
                        <a:pt x="3861" y="35623"/>
                      </a:cubicBezTo>
                      <a:cubicBezTo>
                        <a:pt x="4359" y="42474"/>
                        <a:pt x="6726"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4" name="Freeform 7443">
                  <a:extLst>
                    <a:ext uri="{FF2B5EF4-FFF2-40B4-BE49-F238E27FC236}">
                      <a16:creationId xmlns:a16="http://schemas.microsoft.com/office/drawing/2014/main" id="{6B2F9BDE-C381-DFB9-9173-0D7526AFA6FB}"/>
                    </a:ext>
                  </a:extLst>
                </p:cNvPr>
                <p:cNvSpPr/>
                <p:nvPr/>
              </p:nvSpPr>
              <p:spPr>
                <a:xfrm>
                  <a:off x="7770746" y="1849096"/>
                  <a:ext cx="26721" cy="26478"/>
                </a:xfrm>
                <a:custGeom>
                  <a:avLst/>
                  <a:gdLst>
                    <a:gd name="connsiteX0" fmla="*/ 158 w 26721"/>
                    <a:gd name="connsiteY0" fmla="*/ 15357 h 26478"/>
                    <a:gd name="connsiteX1" fmla="*/ 11368 w 26721"/>
                    <a:gd name="connsiteY1" fmla="*/ 161 h 26478"/>
                    <a:gd name="connsiteX2" fmla="*/ 26564 w 26721"/>
                    <a:gd name="connsiteY2" fmla="*/ 11122 h 26478"/>
                    <a:gd name="connsiteX3" fmla="*/ 15353 w 26721"/>
                    <a:gd name="connsiteY3" fmla="*/ 26318 h 26478"/>
                    <a:gd name="connsiteX4" fmla="*/ 158 w 2672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77">
                      <a:moveTo>
                        <a:pt x="158" y="15357"/>
                      </a:moveTo>
                      <a:cubicBezTo>
                        <a:pt x="-964" y="8132"/>
                        <a:pt x="4019" y="1282"/>
                        <a:pt x="11368" y="161"/>
                      </a:cubicBezTo>
                      <a:cubicBezTo>
                        <a:pt x="18717" y="-960"/>
                        <a:pt x="25442" y="3898"/>
                        <a:pt x="26564" y="11122"/>
                      </a:cubicBezTo>
                      <a:cubicBezTo>
                        <a:pt x="27685" y="18346"/>
                        <a:pt x="22702" y="25197"/>
                        <a:pt x="15353" y="26318"/>
                      </a:cubicBezTo>
                      <a:cubicBezTo>
                        <a:pt x="8129" y="27439"/>
                        <a:pt x="1278"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5" name="Freeform 7444">
                  <a:extLst>
                    <a:ext uri="{FF2B5EF4-FFF2-40B4-BE49-F238E27FC236}">
                      <a16:creationId xmlns:a16="http://schemas.microsoft.com/office/drawing/2014/main" id="{2F003A9B-8A0F-07C9-26FB-784D69958B5F}"/>
                    </a:ext>
                  </a:extLst>
                </p:cNvPr>
                <p:cNvSpPr/>
                <p:nvPr/>
              </p:nvSpPr>
              <p:spPr>
                <a:xfrm>
                  <a:off x="7762604" y="1748864"/>
                  <a:ext cx="8409" cy="51691"/>
                </a:xfrm>
                <a:custGeom>
                  <a:avLst/>
                  <a:gdLst>
                    <a:gd name="connsiteX0" fmla="*/ 577 w 8409"/>
                    <a:gd name="connsiteY0" fmla="*/ 0 h 51691"/>
                    <a:gd name="connsiteX1" fmla="*/ 1449 w 8409"/>
                    <a:gd name="connsiteY1" fmla="*/ 18808 h 51691"/>
                    <a:gd name="connsiteX2" fmla="*/ 7428 w 8409"/>
                    <a:gd name="connsiteY2" fmla="*/ 35125 h 51691"/>
                    <a:gd name="connsiteX3" fmla="*/ 7802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577" y="0"/>
                      </a:moveTo>
                      <a:cubicBezTo>
                        <a:pt x="-669" y="8345"/>
                        <a:pt x="328" y="14573"/>
                        <a:pt x="1449" y="18808"/>
                      </a:cubicBezTo>
                      <a:cubicBezTo>
                        <a:pt x="3317" y="25534"/>
                        <a:pt x="5808" y="28275"/>
                        <a:pt x="7428" y="35125"/>
                      </a:cubicBezTo>
                      <a:cubicBezTo>
                        <a:pt x="8922" y="41851"/>
                        <a:pt x="8424" y="47706"/>
                        <a:pt x="780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6" name="Freeform 7445">
                  <a:extLst>
                    <a:ext uri="{FF2B5EF4-FFF2-40B4-BE49-F238E27FC236}">
                      <a16:creationId xmlns:a16="http://schemas.microsoft.com/office/drawing/2014/main" id="{172C23B3-71EC-329C-B54D-F0E4F7C14171}"/>
                    </a:ext>
                  </a:extLst>
                </p:cNvPr>
                <p:cNvSpPr/>
                <p:nvPr/>
              </p:nvSpPr>
              <p:spPr>
                <a:xfrm>
                  <a:off x="7769285" y="1742760"/>
                  <a:ext cx="8594" cy="51442"/>
                </a:xfrm>
                <a:custGeom>
                  <a:avLst/>
                  <a:gdLst>
                    <a:gd name="connsiteX0" fmla="*/ 8595 w 8594"/>
                    <a:gd name="connsiteY0" fmla="*/ 51442 h 51442"/>
                    <a:gd name="connsiteX1" fmla="*/ 3861 w 8594"/>
                    <a:gd name="connsiteY1" fmla="*/ 33257 h 51442"/>
                    <a:gd name="connsiteX2" fmla="*/ 4609 w 8594"/>
                    <a:gd name="connsiteY2" fmla="*/ 15819 h 51442"/>
                    <a:gd name="connsiteX3" fmla="*/ 0 w 8594"/>
                    <a:gd name="connsiteY3" fmla="*/ 0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51442"/>
                      </a:moveTo>
                      <a:cubicBezTo>
                        <a:pt x="4983" y="43844"/>
                        <a:pt x="3986" y="37616"/>
                        <a:pt x="3861" y="33257"/>
                      </a:cubicBezTo>
                      <a:cubicBezTo>
                        <a:pt x="3612" y="26282"/>
                        <a:pt x="5231" y="22919"/>
                        <a:pt x="4609" y="15819"/>
                      </a:cubicBezTo>
                      <a:cubicBezTo>
                        <a:pt x="3986"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7" name="Freeform 7446">
                  <a:extLst>
                    <a:ext uri="{FF2B5EF4-FFF2-40B4-BE49-F238E27FC236}">
                      <a16:creationId xmlns:a16="http://schemas.microsoft.com/office/drawing/2014/main" id="{7AC08444-7D22-323A-8901-1680AC1F2974}"/>
                    </a:ext>
                  </a:extLst>
                </p:cNvPr>
                <p:cNvSpPr/>
                <p:nvPr/>
              </p:nvSpPr>
              <p:spPr>
                <a:xfrm>
                  <a:off x="7752436" y="1728026"/>
                  <a:ext cx="26348" cy="26478"/>
                </a:xfrm>
                <a:custGeom>
                  <a:avLst/>
                  <a:gdLst>
                    <a:gd name="connsiteX0" fmla="*/ 26190 w 26348"/>
                    <a:gd name="connsiteY0" fmla="*/ 11122 h 26478"/>
                    <a:gd name="connsiteX1" fmla="*/ 15229 w 26348"/>
                    <a:gd name="connsiteY1" fmla="*/ 26318 h 26478"/>
                    <a:gd name="connsiteX2" fmla="*/ 158 w 26348"/>
                    <a:gd name="connsiteY2" fmla="*/ 15357 h 26478"/>
                    <a:gd name="connsiteX3" fmla="*/ 11119 w 26348"/>
                    <a:gd name="connsiteY3" fmla="*/ 161 h 26478"/>
                    <a:gd name="connsiteX4" fmla="*/ 26190 w 2634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8" h="26477">
                      <a:moveTo>
                        <a:pt x="26190" y="11122"/>
                      </a:moveTo>
                      <a:cubicBezTo>
                        <a:pt x="27312" y="18346"/>
                        <a:pt x="22329" y="25197"/>
                        <a:pt x="15229" y="26318"/>
                      </a:cubicBezTo>
                      <a:cubicBezTo>
                        <a:pt x="8129" y="27439"/>
                        <a:pt x="1279" y="22581"/>
                        <a:pt x="158" y="15357"/>
                      </a:cubicBezTo>
                      <a:cubicBezTo>
                        <a:pt x="-963" y="8132"/>
                        <a:pt x="4019" y="1282"/>
                        <a:pt x="11119" y="161"/>
                      </a:cubicBezTo>
                      <a:cubicBezTo>
                        <a:pt x="18343" y="-960"/>
                        <a:pt x="25069" y="3897"/>
                        <a:pt x="26190"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1" name="Graphic 2987">
                <a:extLst>
                  <a:ext uri="{FF2B5EF4-FFF2-40B4-BE49-F238E27FC236}">
                    <a16:creationId xmlns:a16="http://schemas.microsoft.com/office/drawing/2014/main" id="{B7F4803B-8CB7-5BB0-7EB3-34CD6DF458AF}"/>
                  </a:ext>
                </a:extLst>
              </p:cNvPr>
              <p:cNvGrpSpPr/>
              <p:nvPr/>
            </p:nvGrpSpPr>
            <p:grpSpPr>
              <a:xfrm>
                <a:off x="7723443" y="1732729"/>
                <a:ext cx="44629" cy="147609"/>
                <a:chOff x="7723443" y="1732729"/>
                <a:chExt cx="44629" cy="147609"/>
              </a:xfrm>
              <a:grpFill/>
            </p:grpSpPr>
            <p:sp>
              <p:nvSpPr>
                <p:cNvPr id="6666" name="Freeform 7448">
                  <a:extLst>
                    <a:ext uri="{FF2B5EF4-FFF2-40B4-BE49-F238E27FC236}">
                      <a16:creationId xmlns:a16="http://schemas.microsoft.com/office/drawing/2014/main" id="{524B4D26-5696-285F-B17F-C0ED0BE16AF1}"/>
                    </a:ext>
                  </a:extLst>
                </p:cNvPr>
                <p:cNvSpPr/>
                <p:nvPr/>
              </p:nvSpPr>
              <p:spPr>
                <a:xfrm>
                  <a:off x="7749384" y="1807780"/>
                  <a:ext cx="8395" cy="51691"/>
                </a:xfrm>
                <a:custGeom>
                  <a:avLst/>
                  <a:gdLst>
                    <a:gd name="connsiteX0" fmla="*/ 7819 w 8395"/>
                    <a:gd name="connsiteY0" fmla="*/ 51691 h 51691"/>
                    <a:gd name="connsiteX1" fmla="*/ 6947 w 8395"/>
                    <a:gd name="connsiteY1" fmla="*/ 32883 h 51691"/>
                    <a:gd name="connsiteX2" fmla="*/ 968 w 8395"/>
                    <a:gd name="connsiteY2" fmla="*/ 16566 h 51691"/>
                    <a:gd name="connsiteX3" fmla="*/ 719 w 8395"/>
                    <a:gd name="connsiteY3" fmla="*/ 0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51691"/>
                      </a:moveTo>
                      <a:cubicBezTo>
                        <a:pt x="9064" y="43346"/>
                        <a:pt x="8067" y="37118"/>
                        <a:pt x="6947" y="32883"/>
                      </a:cubicBezTo>
                      <a:cubicBezTo>
                        <a:pt x="5078" y="26157"/>
                        <a:pt x="2587"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7" name="Freeform 7449">
                  <a:extLst>
                    <a:ext uri="{FF2B5EF4-FFF2-40B4-BE49-F238E27FC236}">
                      <a16:creationId xmlns:a16="http://schemas.microsoft.com/office/drawing/2014/main" id="{BA73EDFF-58E3-8596-92B0-AC008B0AC93F}"/>
                    </a:ext>
                  </a:extLst>
                </p:cNvPr>
                <p:cNvSpPr/>
                <p:nvPr/>
              </p:nvSpPr>
              <p:spPr>
                <a:xfrm>
                  <a:off x="7742629" y="1814132"/>
                  <a:ext cx="8469" cy="51442"/>
                </a:xfrm>
                <a:custGeom>
                  <a:avLst/>
                  <a:gdLst>
                    <a:gd name="connsiteX0" fmla="*/ 0 w 8469"/>
                    <a:gd name="connsiteY0" fmla="*/ 0 h 51442"/>
                    <a:gd name="connsiteX1" fmla="*/ 4733 w 8469"/>
                    <a:gd name="connsiteY1" fmla="*/ 18185 h 51442"/>
                    <a:gd name="connsiteX2" fmla="*/ 3861 w 8469"/>
                    <a:gd name="connsiteY2" fmla="*/ 35624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3" y="7598"/>
                        <a:pt x="4609" y="13826"/>
                        <a:pt x="4733" y="18185"/>
                      </a:cubicBezTo>
                      <a:cubicBezTo>
                        <a:pt x="4983" y="25161"/>
                        <a:pt x="3363" y="28524"/>
                        <a:pt x="3861" y="35624"/>
                      </a:cubicBezTo>
                      <a:cubicBezTo>
                        <a:pt x="4360" y="42474"/>
                        <a:pt x="6602"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8" name="Freeform 7450">
                  <a:extLst>
                    <a:ext uri="{FF2B5EF4-FFF2-40B4-BE49-F238E27FC236}">
                      <a16:creationId xmlns:a16="http://schemas.microsoft.com/office/drawing/2014/main" id="{0040ACDD-64F7-28FE-335C-E9C4B738363C}"/>
                    </a:ext>
                  </a:extLst>
                </p:cNvPr>
                <p:cNvSpPr/>
                <p:nvPr/>
              </p:nvSpPr>
              <p:spPr>
                <a:xfrm>
                  <a:off x="7741354" y="1853830"/>
                  <a:ext cx="26718" cy="26508"/>
                </a:xfrm>
                <a:custGeom>
                  <a:avLst/>
                  <a:gdLst>
                    <a:gd name="connsiteX0" fmla="*/ 155 w 26718"/>
                    <a:gd name="connsiteY0" fmla="*/ 15357 h 26508"/>
                    <a:gd name="connsiteX1" fmla="*/ 11364 w 26718"/>
                    <a:gd name="connsiteY1" fmla="*/ 161 h 26508"/>
                    <a:gd name="connsiteX2" fmla="*/ 26561 w 26718"/>
                    <a:gd name="connsiteY2" fmla="*/ 11122 h 26508"/>
                    <a:gd name="connsiteX3" fmla="*/ 15350 w 26718"/>
                    <a:gd name="connsiteY3" fmla="*/ 26318 h 26508"/>
                    <a:gd name="connsiteX4" fmla="*/ 155 w 26718"/>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8">
                      <a:moveTo>
                        <a:pt x="155" y="15357"/>
                      </a:moveTo>
                      <a:cubicBezTo>
                        <a:pt x="-967" y="8132"/>
                        <a:pt x="4140" y="1282"/>
                        <a:pt x="11364" y="161"/>
                      </a:cubicBezTo>
                      <a:cubicBezTo>
                        <a:pt x="18589" y="-960"/>
                        <a:pt x="25439" y="3897"/>
                        <a:pt x="26561" y="11122"/>
                      </a:cubicBezTo>
                      <a:cubicBezTo>
                        <a:pt x="27681" y="18346"/>
                        <a:pt x="22699" y="25197"/>
                        <a:pt x="15350" y="26318"/>
                      </a:cubicBezTo>
                      <a:cubicBezTo>
                        <a:pt x="8002" y="27563"/>
                        <a:pt x="1275" y="22581"/>
                        <a:pt x="155"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9" name="Freeform 7451">
                  <a:extLst>
                    <a:ext uri="{FF2B5EF4-FFF2-40B4-BE49-F238E27FC236}">
                      <a16:creationId xmlns:a16="http://schemas.microsoft.com/office/drawing/2014/main" id="{837FC7CF-88A6-FE38-EDA9-977419D9353D}"/>
                    </a:ext>
                  </a:extLst>
                </p:cNvPr>
                <p:cNvSpPr/>
                <p:nvPr/>
              </p:nvSpPr>
              <p:spPr>
                <a:xfrm>
                  <a:off x="7733458" y="1753597"/>
                  <a:ext cx="8270" cy="51691"/>
                </a:xfrm>
                <a:custGeom>
                  <a:avLst/>
                  <a:gdLst>
                    <a:gd name="connsiteX0" fmla="*/ 576 w 8270"/>
                    <a:gd name="connsiteY0" fmla="*/ 0 h 51691"/>
                    <a:gd name="connsiteX1" fmla="*/ 1448 w 8270"/>
                    <a:gd name="connsiteY1" fmla="*/ 18808 h 51691"/>
                    <a:gd name="connsiteX2" fmla="*/ 7303 w 8270"/>
                    <a:gd name="connsiteY2" fmla="*/ 35125 h 51691"/>
                    <a:gd name="connsiteX3" fmla="*/ 7552 w 827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270" h="51690">
                      <a:moveTo>
                        <a:pt x="576" y="0"/>
                      </a:moveTo>
                      <a:cubicBezTo>
                        <a:pt x="-669" y="8345"/>
                        <a:pt x="328" y="14573"/>
                        <a:pt x="1448" y="18808"/>
                      </a:cubicBezTo>
                      <a:cubicBezTo>
                        <a:pt x="3192" y="25534"/>
                        <a:pt x="5808" y="28275"/>
                        <a:pt x="7303" y="35125"/>
                      </a:cubicBezTo>
                      <a:cubicBezTo>
                        <a:pt x="8798" y="41851"/>
                        <a:pt x="8299" y="47706"/>
                        <a:pt x="755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0" name="Freeform 7452">
                  <a:extLst>
                    <a:ext uri="{FF2B5EF4-FFF2-40B4-BE49-F238E27FC236}">
                      <a16:creationId xmlns:a16="http://schemas.microsoft.com/office/drawing/2014/main" id="{9ECECED3-0E28-4AF2-BEF4-56ED609FE638}"/>
                    </a:ext>
                  </a:extLst>
                </p:cNvPr>
                <p:cNvSpPr/>
                <p:nvPr/>
              </p:nvSpPr>
              <p:spPr>
                <a:xfrm>
                  <a:off x="7740138" y="1747494"/>
                  <a:ext cx="8470" cy="51442"/>
                </a:xfrm>
                <a:custGeom>
                  <a:avLst/>
                  <a:gdLst>
                    <a:gd name="connsiteX0" fmla="*/ 8471 w 8470"/>
                    <a:gd name="connsiteY0" fmla="*/ 51442 h 51442"/>
                    <a:gd name="connsiteX1" fmla="*/ 3737 w 8470"/>
                    <a:gd name="connsiteY1" fmla="*/ 33257 h 51442"/>
                    <a:gd name="connsiteX2" fmla="*/ 4609 w 8470"/>
                    <a:gd name="connsiteY2" fmla="*/ 15819 h 51442"/>
                    <a:gd name="connsiteX3" fmla="*/ 0 w 8470"/>
                    <a:gd name="connsiteY3" fmla="*/ 0 h 51442"/>
                  </a:gdLst>
                  <a:ahLst/>
                  <a:cxnLst>
                    <a:cxn ang="0">
                      <a:pos x="connsiteX0" y="connsiteY0"/>
                    </a:cxn>
                    <a:cxn ang="0">
                      <a:pos x="connsiteX1" y="connsiteY1"/>
                    </a:cxn>
                    <a:cxn ang="0">
                      <a:pos x="connsiteX2" y="connsiteY2"/>
                    </a:cxn>
                    <a:cxn ang="0">
                      <a:pos x="connsiteX3" y="connsiteY3"/>
                    </a:cxn>
                  </a:cxnLst>
                  <a:rect l="l" t="t" r="r" b="b"/>
                  <a:pathLst>
                    <a:path w="8470" h="51442">
                      <a:moveTo>
                        <a:pt x="8471" y="51442"/>
                      </a:moveTo>
                      <a:cubicBezTo>
                        <a:pt x="4858" y="43844"/>
                        <a:pt x="3861" y="37616"/>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1" name="Freeform 7453">
                  <a:extLst>
                    <a:ext uri="{FF2B5EF4-FFF2-40B4-BE49-F238E27FC236}">
                      <a16:creationId xmlns:a16="http://schemas.microsoft.com/office/drawing/2014/main" id="{7E833DC3-3799-63AC-FBFD-6BD30BA506AB}"/>
                    </a:ext>
                  </a:extLst>
                </p:cNvPr>
                <p:cNvSpPr/>
                <p:nvPr/>
              </p:nvSpPr>
              <p:spPr>
                <a:xfrm>
                  <a:off x="7723443" y="1732729"/>
                  <a:ext cx="26319" cy="26508"/>
                </a:xfrm>
                <a:custGeom>
                  <a:avLst/>
                  <a:gdLst>
                    <a:gd name="connsiteX0" fmla="*/ 26162 w 26319"/>
                    <a:gd name="connsiteY0" fmla="*/ 11152 h 26508"/>
                    <a:gd name="connsiteX1" fmla="*/ 15077 w 26319"/>
                    <a:gd name="connsiteY1" fmla="*/ 26348 h 26508"/>
                    <a:gd name="connsiteX2" fmla="*/ 129 w 26319"/>
                    <a:gd name="connsiteY2" fmla="*/ 15387 h 26508"/>
                    <a:gd name="connsiteX3" fmla="*/ 11215 w 26319"/>
                    <a:gd name="connsiteY3" fmla="*/ 191 h 26508"/>
                    <a:gd name="connsiteX4" fmla="*/ 26162 w 26319"/>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508">
                      <a:moveTo>
                        <a:pt x="26162" y="11152"/>
                      </a:moveTo>
                      <a:cubicBezTo>
                        <a:pt x="27283" y="18376"/>
                        <a:pt x="22300" y="25227"/>
                        <a:pt x="15077" y="26348"/>
                      </a:cubicBezTo>
                      <a:cubicBezTo>
                        <a:pt x="7852" y="27469"/>
                        <a:pt x="1125" y="22611"/>
                        <a:pt x="129" y="15387"/>
                      </a:cubicBezTo>
                      <a:cubicBezTo>
                        <a:pt x="-867" y="8163"/>
                        <a:pt x="3991" y="1312"/>
                        <a:pt x="11215" y="191"/>
                      </a:cubicBezTo>
                      <a:cubicBezTo>
                        <a:pt x="18314" y="-1055"/>
                        <a:pt x="25041" y="3928"/>
                        <a:pt x="2616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2" name="Graphic 2987">
                <a:extLst>
                  <a:ext uri="{FF2B5EF4-FFF2-40B4-BE49-F238E27FC236}">
                    <a16:creationId xmlns:a16="http://schemas.microsoft.com/office/drawing/2014/main" id="{A3EF50DC-404A-1A1A-A5CB-C5B2A1ABA204}"/>
                  </a:ext>
                </a:extLst>
              </p:cNvPr>
              <p:cNvGrpSpPr/>
              <p:nvPr/>
            </p:nvGrpSpPr>
            <p:grpSpPr>
              <a:xfrm>
                <a:off x="7694298" y="1737278"/>
                <a:ext cx="44375" cy="147383"/>
                <a:chOff x="7694298" y="1737278"/>
                <a:chExt cx="44375" cy="147383"/>
              </a:xfrm>
              <a:grpFill/>
            </p:grpSpPr>
            <p:sp>
              <p:nvSpPr>
                <p:cNvPr id="6660" name="Freeform 7455">
                  <a:extLst>
                    <a:ext uri="{FF2B5EF4-FFF2-40B4-BE49-F238E27FC236}">
                      <a16:creationId xmlns:a16="http://schemas.microsoft.com/office/drawing/2014/main" id="{9600C5B9-1343-1AB5-A469-0B7692F7C692}"/>
                    </a:ext>
                  </a:extLst>
                </p:cNvPr>
                <p:cNvSpPr/>
                <p:nvPr/>
              </p:nvSpPr>
              <p:spPr>
                <a:xfrm>
                  <a:off x="7720238" y="1812388"/>
                  <a:ext cx="8179" cy="51691"/>
                </a:xfrm>
                <a:custGeom>
                  <a:avLst/>
                  <a:gdLst>
                    <a:gd name="connsiteX0" fmla="*/ 7569 w 8179"/>
                    <a:gd name="connsiteY0" fmla="*/ 51691 h 51691"/>
                    <a:gd name="connsiteX1" fmla="*/ 6822 w 8179"/>
                    <a:gd name="connsiteY1" fmla="*/ 32883 h 51691"/>
                    <a:gd name="connsiteX2" fmla="*/ 968 w 8179"/>
                    <a:gd name="connsiteY2" fmla="*/ 16442 h 51691"/>
                    <a:gd name="connsiteX3" fmla="*/ 719 w 8179"/>
                    <a:gd name="connsiteY3" fmla="*/ 0 h 51691"/>
                  </a:gdLst>
                  <a:ahLst/>
                  <a:cxnLst>
                    <a:cxn ang="0">
                      <a:pos x="connsiteX0" y="connsiteY0"/>
                    </a:cxn>
                    <a:cxn ang="0">
                      <a:pos x="connsiteX1" y="connsiteY1"/>
                    </a:cxn>
                    <a:cxn ang="0">
                      <a:pos x="connsiteX2" y="connsiteY2"/>
                    </a:cxn>
                    <a:cxn ang="0">
                      <a:pos x="connsiteX3" y="connsiteY3"/>
                    </a:cxn>
                  </a:cxnLst>
                  <a:rect l="l" t="t" r="r" b="b"/>
                  <a:pathLst>
                    <a:path w="8179" h="51690">
                      <a:moveTo>
                        <a:pt x="7569" y="51691"/>
                      </a:moveTo>
                      <a:cubicBezTo>
                        <a:pt x="8815" y="43346"/>
                        <a:pt x="7943" y="37118"/>
                        <a:pt x="6822" y="32883"/>
                      </a:cubicBezTo>
                      <a:cubicBezTo>
                        <a:pt x="5078" y="26157"/>
                        <a:pt x="2463" y="23417"/>
                        <a:pt x="968" y="16442"/>
                      </a:cubicBezTo>
                      <a:cubicBezTo>
                        <a:pt x="-527" y="9716"/>
                        <a:pt x="-29" y="3861"/>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1" name="Freeform 7456">
                  <a:extLst>
                    <a:ext uri="{FF2B5EF4-FFF2-40B4-BE49-F238E27FC236}">
                      <a16:creationId xmlns:a16="http://schemas.microsoft.com/office/drawing/2014/main" id="{0114C4C8-30C9-A824-F379-BCC05A814A5F}"/>
                    </a:ext>
                  </a:extLst>
                </p:cNvPr>
                <p:cNvSpPr/>
                <p:nvPr/>
              </p:nvSpPr>
              <p:spPr>
                <a:xfrm>
                  <a:off x="7713234" y="1818492"/>
                  <a:ext cx="8345" cy="51442"/>
                </a:xfrm>
                <a:custGeom>
                  <a:avLst/>
                  <a:gdLst>
                    <a:gd name="connsiteX0" fmla="*/ 0 w 8345"/>
                    <a:gd name="connsiteY0" fmla="*/ 0 h 51442"/>
                    <a:gd name="connsiteX1" fmla="*/ 4733 w 8345"/>
                    <a:gd name="connsiteY1" fmla="*/ 18185 h 51442"/>
                    <a:gd name="connsiteX2" fmla="*/ 3861 w 8345"/>
                    <a:gd name="connsiteY2" fmla="*/ 35499 h 51442"/>
                    <a:gd name="connsiteX3" fmla="*/ 8345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2" y="7598"/>
                        <a:pt x="4484" y="13950"/>
                        <a:pt x="4733" y="18185"/>
                      </a:cubicBezTo>
                      <a:cubicBezTo>
                        <a:pt x="4983" y="25161"/>
                        <a:pt x="3239" y="28524"/>
                        <a:pt x="3861" y="35499"/>
                      </a:cubicBezTo>
                      <a:cubicBezTo>
                        <a:pt x="4359" y="42350"/>
                        <a:pt x="6602" y="47830"/>
                        <a:pt x="834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2" name="Freeform 7457">
                  <a:extLst>
                    <a:ext uri="{FF2B5EF4-FFF2-40B4-BE49-F238E27FC236}">
                      <a16:creationId xmlns:a16="http://schemas.microsoft.com/office/drawing/2014/main" id="{ACC883E6-6828-CE62-AAB3-5BAA9223F5E5}"/>
                    </a:ext>
                  </a:extLst>
                </p:cNvPr>
                <p:cNvSpPr/>
                <p:nvPr/>
              </p:nvSpPr>
              <p:spPr>
                <a:xfrm>
                  <a:off x="7711862" y="1858226"/>
                  <a:ext cx="26811" cy="26435"/>
                </a:xfrm>
                <a:custGeom>
                  <a:avLst/>
                  <a:gdLst>
                    <a:gd name="connsiteX0" fmla="*/ 127 w 26811"/>
                    <a:gd name="connsiteY0" fmla="*/ 15071 h 26435"/>
                    <a:gd name="connsiteX1" fmla="*/ 11461 w 26811"/>
                    <a:gd name="connsiteY1" fmla="*/ 124 h 26435"/>
                    <a:gd name="connsiteX2" fmla="*/ 26658 w 26811"/>
                    <a:gd name="connsiteY2" fmla="*/ 11335 h 26435"/>
                    <a:gd name="connsiteX3" fmla="*/ 15322 w 26811"/>
                    <a:gd name="connsiteY3" fmla="*/ 26281 h 26435"/>
                    <a:gd name="connsiteX4" fmla="*/ 127 w 26811"/>
                    <a:gd name="connsiteY4" fmla="*/ 1507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0" h="26435">
                      <a:moveTo>
                        <a:pt x="127" y="15071"/>
                      </a:moveTo>
                      <a:cubicBezTo>
                        <a:pt x="-870" y="7847"/>
                        <a:pt x="4112" y="1121"/>
                        <a:pt x="11461" y="124"/>
                      </a:cubicBezTo>
                      <a:cubicBezTo>
                        <a:pt x="18810" y="-872"/>
                        <a:pt x="25536" y="4235"/>
                        <a:pt x="26658" y="11335"/>
                      </a:cubicBezTo>
                      <a:cubicBezTo>
                        <a:pt x="27778" y="18559"/>
                        <a:pt x="22672" y="25285"/>
                        <a:pt x="15322" y="26281"/>
                      </a:cubicBezTo>
                      <a:cubicBezTo>
                        <a:pt x="7974"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3" name="Freeform 7458">
                  <a:extLst>
                    <a:ext uri="{FF2B5EF4-FFF2-40B4-BE49-F238E27FC236}">
                      <a16:creationId xmlns:a16="http://schemas.microsoft.com/office/drawing/2014/main" id="{C339DC94-AA7E-0486-25DA-26E0AAA83559}"/>
                    </a:ext>
                  </a:extLst>
                </p:cNvPr>
                <p:cNvSpPr/>
                <p:nvPr/>
              </p:nvSpPr>
              <p:spPr>
                <a:xfrm>
                  <a:off x="7704154" y="1757956"/>
                  <a:ext cx="8135" cy="51691"/>
                </a:xfrm>
                <a:custGeom>
                  <a:avLst/>
                  <a:gdLst>
                    <a:gd name="connsiteX0" fmla="*/ 610 w 8135"/>
                    <a:gd name="connsiteY0" fmla="*/ 0 h 51691"/>
                    <a:gd name="connsiteX1" fmla="*/ 1357 w 8135"/>
                    <a:gd name="connsiteY1" fmla="*/ 18808 h 51691"/>
                    <a:gd name="connsiteX2" fmla="*/ 7211 w 8135"/>
                    <a:gd name="connsiteY2" fmla="*/ 35250 h 51691"/>
                    <a:gd name="connsiteX3" fmla="*/ 7461 w 81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5" h="51690">
                      <a:moveTo>
                        <a:pt x="610" y="0"/>
                      </a:moveTo>
                      <a:cubicBezTo>
                        <a:pt x="-636" y="8345"/>
                        <a:pt x="236" y="14573"/>
                        <a:pt x="1357" y="18808"/>
                      </a:cubicBezTo>
                      <a:cubicBezTo>
                        <a:pt x="3101" y="25534"/>
                        <a:pt x="5717" y="28275"/>
                        <a:pt x="7211" y="35250"/>
                      </a:cubicBezTo>
                      <a:cubicBezTo>
                        <a:pt x="8706" y="41976"/>
                        <a:pt x="8083"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4" name="Freeform 7459">
                  <a:extLst>
                    <a:ext uri="{FF2B5EF4-FFF2-40B4-BE49-F238E27FC236}">
                      <a16:creationId xmlns:a16="http://schemas.microsoft.com/office/drawing/2014/main" id="{05854565-EDDB-3ACB-0389-34D11D183F82}"/>
                    </a:ext>
                  </a:extLst>
                </p:cNvPr>
                <p:cNvSpPr/>
                <p:nvPr/>
              </p:nvSpPr>
              <p:spPr>
                <a:xfrm>
                  <a:off x="7710992" y="1752102"/>
                  <a:ext cx="8345" cy="51442"/>
                </a:xfrm>
                <a:custGeom>
                  <a:avLst/>
                  <a:gdLst>
                    <a:gd name="connsiteX0" fmla="*/ 8345 w 8345"/>
                    <a:gd name="connsiteY0" fmla="*/ 51442 h 51442"/>
                    <a:gd name="connsiteX1" fmla="*/ 3612 w 8345"/>
                    <a:gd name="connsiteY1" fmla="*/ 33257 h 51442"/>
                    <a:gd name="connsiteX2" fmla="*/ 4484 w 8345"/>
                    <a:gd name="connsiteY2" fmla="*/ 15943 h 51442"/>
                    <a:gd name="connsiteX3" fmla="*/ 0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8345" y="51442"/>
                      </a:moveTo>
                      <a:cubicBezTo>
                        <a:pt x="4733" y="43844"/>
                        <a:pt x="3861" y="37492"/>
                        <a:pt x="3612" y="33257"/>
                      </a:cubicBezTo>
                      <a:cubicBezTo>
                        <a:pt x="3363" y="26282"/>
                        <a:pt x="4982" y="22919"/>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5" name="Freeform 7460">
                  <a:extLst>
                    <a:ext uri="{FF2B5EF4-FFF2-40B4-BE49-F238E27FC236}">
                      <a16:creationId xmlns:a16="http://schemas.microsoft.com/office/drawing/2014/main" id="{DE6C692D-4A78-5F2D-29F2-21CA6BDBC978}"/>
                    </a:ext>
                  </a:extLst>
                </p:cNvPr>
                <p:cNvSpPr/>
                <p:nvPr/>
              </p:nvSpPr>
              <p:spPr>
                <a:xfrm>
                  <a:off x="7694298" y="1737278"/>
                  <a:ext cx="26317" cy="26408"/>
                </a:xfrm>
                <a:custGeom>
                  <a:avLst/>
                  <a:gdLst>
                    <a:gd name="connsiteX0" fmla="*/ 26160 w 26317"/>
                    <a:gd name="connsiteY0" fmla="*/ 11337 h 26408"/>
                    <a:gd name="connsiteX1" fmla="*/ 15074 w 26317"/>
                    <a:gd name="connsiteY1" fmla="*/ 26284 h 26408"/>
                    <a:gd name="connsiteX2" fmla="*/ 127 w 26317"/>
                    <a:gd name="connsiteY2" fmla="*/ 14949 h 26408"/>
                    <a:gd name="connsiteX3" fmla="*/ 11213 w 26317"/>
                    <a:gd name="connsiteY3" fmla="*/ 127 h 26408"/>
                    <a:gd name="connsiteX4" fmla="*/ 26160 w 26317"/>
                    <a:gd name="connsiteY4" fmla="*/ 11337 h 2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08">
                      <a:moveTo>
                        <a:pt x="26160" y="11337"/>
                      </a:moveTo>
                      <a:cubicBezTo>
                        <a:pt x="27280" y="18561"/>
                        <a:pt x="22299" y="25287"/>
                        <a:pt x="15074" y="26284"/>
                      </a:cubicBezTo>
                      <a:cubicBezTo>
                        <a:pt x="7849" y="27280"/>
                        <a:pt x="1124" y="22174"/>
                        <a:pt x="127" y="14949"/>
                      </a:cubicBezTo>
                      <a:cubicBezTo>
                        <a:pt x="-870" y="7725"/>
                        <a:pt x="4113" y="999"/>
                        <a:pt x="11213" y="127"/>
                      </a:cubicBezTo>
                      <a:cubicBezTo>
                        <a:pt x="18313" y="-870"/>
                        <a:pt x="25038" y="4113"/>
                        <a:pt x="26160"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3" name="Graphic 2987">
                <a:extLst>
                  <a:ext uri="{FF2B5EF4-FFF2-40B4-BE49-F238E27FC236}">
                    <a16:creationId xmlns:a16="http://schemas.microsoft.com/office/drawing/2014/main" id="{B83F4D31-54BE-C005-60DF-ECDA95C91904}"/>
                  </a:ext>
                </a:extLst>
              </p:cNvPr>
              <p:cNvGrpSpPr/>
              <p:nvPr/>
            </p:nvGrpSpPr>
            <p:grpSpPr>
              <a:xfrm>
                <a:off x="7664903" y="1741141"/>
                <a:ext cx="44098" cy="147600"/>
                <a:chOff x="7664903" y="1741141"/>
                <a:chExt cx="44098" cy="147600"/>
              </a:xfrm>
              <a:grpFill/>
            </p:grpSpPr>
            <p:sp>
              <p:nvSpPr>
                <p:cNvPr id="6654" name="Freeform 7462">
                  <a:extLst>
                    <a:ext uri="{FF2B5EF4-FFF2-40B4-BE49-F238E27FC236}">
                      <a16:creationId xmlns:a16="http://schemas.microsoft.com/office/drawing/2014/main" id="{A2D4F55E-D872-B7FF-9B6D-6592A958CECA}"/>
                    </a:ext>
                  </a:extLst>
                </p:cNvPr>
                <p:cNvSpPr/>
                <p:nvPr/>
              </p:nvSpPr>
              <p:spPr>
                <a:xfrm>
                  <a:off x="7690761" y="1816374"/>
                  <a:ext cx="8190" cy="51691"/>
                </a:xfrm>
                <a:custGeom>
                  <a:avLst/>
                  <a:gdLst>
                    <a:gd name="connsiteX0" fmla="*/ 7526 w 8190"/>
                    <a:gd name="connsiteY0" fmla="*/ 51691 h 51691"/>
                    <a:gd name="connsiteX1" fmla="*/ 6779 w 8190"/>
                    <a:gd name="connsiteY1" fmla="*/ 32883 h 51691"/>
                    <a:gd name="connsiteX2" fmla="*/ 925 w 8190"/>
                    <a:gd name="connsiteY2" fmla="*/ 16442 h 51691"/>
                    <a:gd name="connsiteX3" fmla="*/ 675 w 8190"/>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7526" y="51691"/>
                      </a:moveTo>
                      <a:cubicBezTo>
                        <a:pt x="8896" y="43346"/>
                        <a:pt x="7900" y="37118"/>
                        <a:pt x="6779" y="32883"/>
                      </a:cubicBezTo>
                      <a:cubicBezTo>
                        <a:pt x="5035" y="26157"/>
                        <a:pt x="2419" y="23417"/>
                        <a:pt x="925" y="16442"/>
                      </a:cubicBezTo>
                      <a:cubicBezTo>
                        <a:pt x="-570" y="9716"/>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5" name="Freeform 7463">
                  <a:extLst>
                    <a:ext uri="{FF2B5EF4-FFF2-40B4-BE49-F238E27FC236}">
                      <a16:creationId xmlns:a16="http://schemas.microsoft.com/office/drawing/2014/main" id="{4C63C517-4A2F-4962-5303-41B357A83357}"/>
                    </a:ext>
                  </a:extLst>
                </p:cNvPr>
                <p:cNvSpPr/>
                <p:nvPr/>
              </p:nvSpPr>
              <p:spPr>
                <a:xfrm>
                  <a:off x="7683838" y="1822477"/>
                  <a:ext cx="8095" cy="51442"/>
                </a:xfrm>
                <a:custGeom>
                  <a:avLst/>
                  <a:gdLst>
                    <a:gd name="connsiteX0" fmla="*/ 0 w 8095"/>
                    <a:gd name="connsiteY0" fmla="*/ 0 h 51442"/>
                    <a:gd name="connsiteX1" fmla="*/ 4609 w 8095"/>
                    <a:gd name="connsiteY1" fmla="*/ 18185 h 51442"/>
                    <a:gd name="connsiteX2" fmla="*/ 3612 w 8095"/>
                    <a:gd name="connsiteY2" fmla="*/ 35499 h 51442"/>
                    <a:gd name="connsiteX3" fmla="*/ 8096 w 809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095" h="51442">
                      <a:moveTo>
                        <a:pt x="0" y="0"/>
                      </a:moveTo>
                      <a:cubicBezTo>
                        <a:pt x="3612" y="7598"/>
                        <a:pt x="4484" y="13950"/>
                        <a:pt x="4609" y="18185"/>
                      </a:cubicBezTo>
                      <a:cubicBezTo>
                        <a:pt x="4858" y="25161"/>
                        <a:pt x="3114" y="28524"/>
                        <a:pt x="3612" y="35499"/>
                      </a:cubicBezTo>
                      <a:cubicBezTo>
                        <a:pt x="4110" y="42350"/>
                        <a:pt x="6353" y="47830"/>
                        <a:pt x="809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6" name="Freeform 7464">
                  <a:extLst>
                    <a:ext uri="{FF2B5EF4-FFF2-40B4-BE49-F238E27FC236}">
                      <a16:creationId xmlns:a16="http://schemas.microsoft.com/office/drawing/2014/main" id="{70FDC2B6-D463-0AFD-FEA0-BF995EF9CCBF}"/>
                    </a:ext>
                  </a:extLst>
                </p:cNvPr>
                <p:cNvSpPr/>
                <p:nvPr/>
              </p:nvSpPr>
              <p:spPr>
                <a:xfrm>
                  <a:off x="7682341" y="1862212"/>
                  <a:ext cx="26659" cy="26530"/>
                </a:xfrm>
                <a:custGeom>
                  <a:avLst/>
                  <a:gdLst>
                    <a:gd name="connsiteX0" fmla="*/ 127 w 26659"/>
                    <a:gd name="connsiteY0" fmla="*/ 15071 h 26530"/>
                    <a:gd name="connsiteX1" fmla="*/ 11461 w 26659"/>
                    <a:gd name="connsiteY1" fmla="*/ 124 h 26530"/>
                    <a:gd name="connsiteX2" fmla="*/ 26533 w 26659"/>
                    <a:gd name="connsiteY2" fmla="*/ 11459 h 26530"/>
                    <a:gd name="connsiteX3" fmla="*/ 15198 w 26659"/>
                    <a:gd name="connsiteY3" fmla="*/ 26406 h 26530"/>
                    <a:gd name="connsiteX4" fmla="*/ 127 w 2665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0">
                      <a:moveTo>
                        <a:pt x="127" y="15071"/>
                      </a:moveTo>
                      <a:cubicBezTo>
                        <a:pt x="-870" y="7847"/>
                        <a:pt x="4112" y="1121"/>
                        <a:pt x="11461" y="124"/>
                      </a:cubicBezTo>
                      <a:cubicBezTo>
                        <a:pt x="18810" y="-872"/>
                        <a:pt x="25536" y="4235"/>
                        <a:pt x="26533" y="11459"/>
                      </a:cubicBezTo>
                      <a:cubicBezTo>
                        <a:pt x="27529" y="18683"/>
                        <a:pt x="22547" y="25409"/>
                        <a:pt x="15198" y="26406"/>
                      </a:cubicBezTo>
                      <a:cubicBezTo>
                        <a:pt x="7849"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7" name="Freeform 7465">
                  <a:extLst>
                    <a:ext uri="{FF2B5EF4-FFF2-40B4-BE49-F238E27FC236}">
                      <a16:creationId xmlns:a16="http://schemas.microsoft.com/office/drawing/2014/main" id="{0DF6565E-E42A-5AD1-D967-D79CA14587B6}"/>
                    </a:ext>
                  </a:extLst>
                </p:cNvPr>
                <p:cNvSpPr/>
                <p:nvPr/>
              </p:nvSpPr>
              <p:spPr>
                <a:xfrm>
                  <a:off x="7675007" y="1761818"/>
                  <a:ext cx="8136" cy="51691"/>
                </a:xfrm>
                <a:custGeom>
                  <a:avLst/>
                  <a:gdLst>
                    <a:gd name="connsiteX0" fmla="*/ 610 w 8136"/>
                    <a:gd name="connsiteY0" fmla="*/ 0 h 51691"/>
                    <a:gd name="connsiteX1" fmla="*/ 1357 w 8136"/>
                    <a:gd name="connsiteY1" fmla="*/ 18808 h 51691"/>
                    <a:gd name="connsiteX2" fmla="*/ 7212 w 8136"/>
                    <a:gd name="connsiteY2" fmla="*/ 35250 h 51691"/>
                    <a:gd name="connsiteX3" fmla="*/ 7461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610" y="0"/>
                      </a:moveTo>
                      <a:cubicBezTo>
                        <a:pt x="-636" y="8345"/>
                        <a:pt x="236" y="14573"/>
                        <a:pt x="1357" y="18808"/>
                      </a:cubicBezTo>
                      <a:cubicBezTo>
                        <a:pt x="3101" y="25534"/>
                        <a:pt x="5717" y="28275"/>
                        <a:pt x="7212" y="35250"/>
                      </a:cubicBezTo>
                      <a:cubicBezTo>
                        <a:pt x="8706" y="41976"/>
                        <a:pt x="8084"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8" name="Freeform 7466">
                  <a:extLst>
                    <a:ext uri="{FF2B5EF4-FFF2-40B4-BE49-F238E27FC236}">
                      <a16:creationId xmlns:a16="http://schemas.microsoft.com/office/drawing/2014/main" id="{808BEFDB-C73B-57CE-3A08-BFEA3DBDDBE8}"/>
                    </a:ext>
                  </a:extLst>
                </p:cNvPr>
                <p:cNvSpPr/>
                <p:nvPr/>
              </p:nvSpPr>
              <p:spPr>
                <a:xfrm>
                  <a:off x="7681720" y="1755964"/>
                  <a:ext cx="8221" cy="51442"/>
                </a:xfrm>
                <a:custGeom>
                  <a:avLst/>
                  <a:gdLst>
                    <a:gd name="connsiteX0" fmla="*/ 8221 w 8221"/>
                    <a:gd name="connsiteY0" fmla="*/ 51442 h 51442"/>
                    <a:gd name="connsiteX1" fmla="*/ 3613 w 8221"/>
                    <a:gd name="connsiteY1" fmla="*/ 33257 h 51442"/>
                    <a:gd name="connsiteX2" fmla="*/ 4485 w 8221"/>
                    <a:gd name="connsiteY2" fmla="*/ 15943 h 51442"/>
                    <a:gd name="connsiteX3" fmla="*/ 0 w 8221"/>
                    <a:gd name="connsiteY3" fmla="*/ 0 h 51442"/>
                  </a:gdLst>
                  <a:ahLst/>
                  <a:cxnLst>
                    <a:cxn ang="0">
                      <a:pos x="connsiteX0" y="connsiteY0"/>
                    </a:cxn>
                    <a:cxn ang="0">
                      <a:pos x="connsiteX1" y="connsiteY1"/>
                    </a:cxn>
                    <a:cxn ang="0">
                      <a:pos x="connsiteX2" y="connsiteY2"/>
                    </a:cxn>
                    <a:cxn ang="0">
                      <a:pos x="connsiteX3" y="connsiteY3"/>
                    </a:cxn>
                  </a:cxnLst>
                  <a:rect l="l" t="t" r="r" b="b"/>
                  <a:pathLst>
                    <a:path w="8221" h="51442">
                      <a:moveTo>
                        <a:pt x="8221" y="51442"/>
                      </a:moveTo>
                      <a:cubicBezTo>
                        <a:pt x="4609" y="43844"/>
                        <a:pt x="3737" y="37492"/>
                        <a:pt x="3613" y="33257"/>
                      </a:cubicBezTo>
                      <a:cubicBezTo>
                        <a:pt x="3363" y="26282"/>
                        <a:pt x="5107" y="22919"/>
                        <a:pt x="4485"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9" name="Freeform 7467">
                  <a:extLst>
                    <a:ext uri="{FF2B5EF4-FFF2-40B4-BE49-F238E27FC236}">
                      <a16:creationId xmlns:a16="http://schemas.microsoft.com/office/drawing/2014/main" id="{E59BF793-0555-BB79-7674-F3971F28EAAD}"/>
                    </a:ext>
                  </a:extLst>
                </p:cNvPr>
                <p:cNvSpPr/>
                <p:nvPr/>
              </p:nvSpPr>
              <p:spPr>
                <a:xfrm>
                  <a:off x="7664903" y="1741141"/>
                  <a:ext cx="26410" cy="26380"/>
                </a:xfrm>
                <a:custGeom>
                  <a:avLst/>
                  <a:gdLst>
                    <a:gd name="connsiteX0" fmla="*/ 26284 w 26410"/>
                    <a:gd name="connsiteY0" fmla="*/ 11459 h 26380"/>
                    <a:gd name="connsiteX1" fmla="*/ 15074 w 26410"/>
                    <a:gd name="connsiteY1" fmla="*/ 26281 h 26380"/>
                    <a:gd name="connsiteX2" fmla="*/ 127 w 26410"/>
                    <a:gd name="connsiteY2" fmla="*/ 14947 h 26380"/>
                    <a:gd name="connsiteX3" fmla="*/ 11337 w 26410"/>
                    <a:gd name="connsiteY3" fmla="*/ 124 h 26380"/>
                    <a:gd name="connsiteX4" fmla="*/ 26284 w 26410"/>
                    <a:gd name="connsiteY4" fmla="*/ 11459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380">
                      <a:moveTo>
                        <a:pt x="26284" y="11459"/>
                      </a:moveTo>
                      <a:cubicBezTo>
                        <a:pt x="27280" y="18683"/>
                        <a:pt x="22298" y="25409"/>
                        <a:pt x="15074" y="26281"/>
                      </a:cubicBezTo>
                      <a:cubicBezTo>
                        <a:pt x="7849" y="27153"/>
                        <a:pt x="1124" y="22171"/>
                        <a:pt x="127" y="14947"/>
                      </a:cubicBezTo>
                      <a:cubicBezTo>
                        <a:pt x="-870" y="7722"/>
                        <a:pt x="4113" y="996"/>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4" name="Graphic 2987">
                <a:extLst>
                  <a:ext uri="{FF2B5EF4-FFF2-40B4-BE49-F238E27FC236}">
                    <a16:creationId xmlns:a16="http://schemas.microsoft.com/office/drawing/2014/main" id="{7F0B80D6-335F-6CFC-F71F-86EAFCA9878C}"/>
                  </a:ext>
                </a:extLst>
              </p:cNvPr>
              <p:cNvGrpSpPr/>
              <p:nvPr/>
            </p:nvGrpSpPr>
            <p:grpSpPr>
              <a:xfrm>
                <a:off x="7635756" y="1745127"/>
                <a:ext cx="43597" cy="147602"/>
                <a:chOff x="7635756" y="1745127"/>
                <a:chExt cx="43597" cy="147602"/>
              </a:xfrm>
              <a:grpFill/>
            </p:grpSpPr>
            <p:sp>
              <p:nvSpPr>
                <p:cNvPr id="6648" name="Freeform 7469">
                  <a:extLst>
                    <a:ext uri="{FF2B5EF4-FFF2-40B4-BE49-F238E27FC236}">
                      <a16:creationId xmlns:a16="http://schemas.microsoft.com/office/drawing/2014/main" id="{0A87A8AD-FCEA-31E8-9B32-B7FC39AAC133}"/>
                    </a:ext>
                  </a:extLst>
                </p:cNvPr>
                <p:cNvSpPr/>
                <p:nvPr/>
              </p:nvSpPr>
              <p:spPr>
                <a:xfrm>
                  <a:off x="7661252" y="1820360"/>
                  <a:ext cx="8060" cy="51691"/>
                </a:xfrm>
                <a:custGeom>
                  <a:avLst/>
                  <a:gdLst>
                    <a:gd name="connsiteX0" fmla="*/ 7390 w 8060"/>
                    <a:gd name="connsiteY0" fmla="*/ 51691 h 51691"/>
                    <a:gd name="connsiteX1" fmla="*/ 6767 w 8060"/>
                    <a:gd name="connsiteY1" fmla="*/ 32883 h 51691"/>
                    <a:gd name="connsiteX2" fmla="*/ 913 w 8060"/>
                    <a:gd name="connsiteY2" fmla="*/ 16442 h 51691"/>
                    <a:gd name="connsiteX3" fmla="*/ 788 w 8060"/>
                    <a:gd name="connsiteY3" fmla="*/ 0 h 51691"/>
                  </a:gdLst>
                  <a:ahLst/>
                  <a:cxnLst>
                    <a:cxn ang="0">
                      <a:pos x="connsiteX0" y="connsiteY0"/>
                    </a:cxn>
                    <a:cxn ang="0">
                      <a:pos x="connsiteX1" y="connsiteY1"/>
                    </a:cxn>
                    <a:cxn ang="0">
                      <a:pos x="connsiteX2" y="connsiteY2"/>
                    </a:cxn>
                    <a:cxn ang="0">
                      <a:pos x="connsiteX3" y="connsiteY3"/>
                    </a:cxn>
                  </a:cxnLst>
                  <a:rect l="l" t="t" r="r" b="b"/>
                  <a:pathLst>
                    <a:path w="8060" h="51690">
                      <a:moveTo>
                        <a:pt x="7390" y="51691"/>
                      </a:moveTo>
                      <a:cubicBezTo>
                        <a:pt x="8760" y="43346"/>
                        <a:pt x="7764" y="37118"/>
                        <a:pt x="6767" y="32883"/>
                      </a:cubicBezTo>
                      <a:cubicBezTo>
                        <a:pt x="5023" y="26157"/>
                        <a:pt x="2408" y="23417"/>
                        <a:pt x="913" y="16442"/>
                      </a:cubicBezTo>
                      <a:cubicBezTo>
                        <a:pt x="-582" y="9716"/>
                        <a:pt x="41" y="3861"/>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9" name="Freeform 7470">
                  <a:extLst>
                    <a:ext uri="{FF2B5EF4-FFF2-40B4-BE49-F238E27FC236}">
                      <a16:creationId xmlns:a16="http://schemas.microsoft.com/office/drawing/2014/main" id="{40D39FBB-5782-4069-FBD8-791E1BDE4511}"/>
                    </a:ext>
                  </a:extLst>
                </p:cNvPr>
                <p:cNvSpPr/>
                <p:nvPr/>
              </p:nvSpPr>
              <p:spPr>
                <a:xfrm>
                  <a:off x="7654443" y="1826463"/>
                  <a:ext cx="8095" cy="51566"/>
                </a:xfrm>
                <a:custGeom>
                  <a:avLst/>
                  <a:gdLst>
                    <a:gd name="connsiteX0" fmla="*/ 0 w 8095"/>
                    <a:gd name="connsiteY0" fmla="*/ 0 h 51566"/>
                    <a:gd name="connsiteX1" fmla="*/ 4609 w 8095"/>
                    <a:gd name="connsiteY1" fmla="*/ 18310 h 51566"/>
                    <a:gd name="connsiteX2" fmla="*/ 3612 w 8095"/>
                    <a:gd name="connsiteY2" fmla="*/ 35624 h 51566"/>
                    <a:gd name="connsiteX3" fmla="*/ 8096 w 809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5" h="51566">
                      <a:moveTo>
                        <a:pt x="0" y="0"/>
                      </a:moveTo>
                      <a:cubicBezTo>
                        <a:pt x="3612" y="7598"/>
                        <a:pt x="4484" y="13950"/>
                        <a:pt x="4609" y="18310"/>
                      </a:cubicBezTo>
                      <a:cubicBezTo>
                        <a:pt x="4857" y="25285"/>
                        <a:pt x="3114" y="28648"/>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0" name="Freeform 7471">
                  <a:extLst>
                    <a:ext uri="{FF2B5EF4-FFF2-40B4-BE49-F238E27FC236}">
                      <a16:creationId xmlns:a16="http://schemas.microsoft.com/office/drawing/2014/main" id="{DCF12A81-9136-8203-124B-51ADAB417517}"/>
                    </a:ext>
                  </a:extLst>
                </p:cNvPr>
                <p:cNvSpPr/>
                <p:nvPr/>
              </p:nvSpPr>
              <p:spPr>
                <a:xfrm>
                  <a:off x="7652699" y="1866197"/>
                  <a:ext cx="26654" cy="26532"/>
                </a:xfrm>
                <a:custGeom>
                  <a:avLst/>
                  <a:gdLst>
                    <a:gd name="connsiteX0" fmla="*/ 124 w 26654"/>
                    <a:gd name="connsiteY0" fmla="*/ 15071 h 26532"/>
                    <a:gd name="connsiteX1" fmla="*/ 11459 w 26654"/>
                    <a:gd name="connsiteY1" fmla="*/ 124 h 26532"/>
                    <a:gd name="connsiteX2" fmla="*/ 26530 w 26654"/>
                    <a:gd name="connsiteY2" fmla="*/ 11459 h 26532"/>
                    <a:gd name="connsiteX3" fmla="*/ 15195 w 26654"/>
                    <a:gd name="connsiteY3" fmla="*/ 26406 h 26532"/>
                    <a:gd name="connsiteX4" fmla="*/ 124 w 26654"/>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1">
                      <a:moveTo>
                        <a:pt x="124" y="15071"/>
                      </a:moveTo>
                      <a:cubicBezTo>
                        <a:pt x="-872" y="7847"/>
                        <a:pt x="4234" y="1121"/>
                        <a:pt x="11459" y="124"/>
                      </a:cubicBezTo>
                      <a:cubicBezTo>
                        <a:pt x="18808" y="-872"/>
                        <a:pt x="25534" y="4235"/>
                        <a:pt x="26530" y="11459"/>
                      </a:cubicBezTo>
                      <a:cubicBezTo>
                        <a:pt x="27526" y="18683"/>
                        <a:pt x="22420" y="25409"/>
                        <a:pt x="15195" y="26406"/>
                      </a:cubicBezTo>
                      <a:cubicBezTo>
                        <a:pt x="7972"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1" name="Freeform 7472">
                  <a:extLst>
                    <a:ext uri="{FF2B5EF4-FFF2-40B4-BE49-F238E27FC236}">
                      <a16:creationId xmlns:a16="http://schemas.microsoft.com/office/drawing/2014/main" id="{C8815F51-93F1-3595-5723-84050A9A6BB0}"/>
                    </a:ext>
                  </a:extLst>
                </p:cNvPr>
                <p:cNvSpPr/>
                <p:nvPr/>
              </p:nvSpPr>
              <p:spPr>
                <a:xfrm>
                  <a:off x="7645676" y="1765804"/>
                  <a:ext cx="7936" cy="51691"/>
                </a:xfrm>
                <a:custGeom>
                  <a:avLst/>
                  <a:gdLst>
                    <a:gd name="connsiteX0" fmla="*/ 670 w 7936"/>
                    <a:gd name="connsiteY0" fmla="*/ 0 h 51691"/>
                    <a:gd name="connsiteX1" fmla="*/ 1293 w 7936"/>
                    <a:gd name="connsiteY1" fmla="*/ 18808 h 51691"/>
                    <a:gd name="connsiteX2" fmla="*/ 7023 w 7936"/>
                    <a:gd name="connsiteY2" fmla="*/ 35250 h 51691"/>
                    <a:gd name="connsiteX3" fmla="*/ 7148 w 79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6" h="51690">
                      <a:moveTo>
                        <a:pt x="670" y="0"/>
                      </a:moveTo>
                      <a:cubicBezTo>
                        <a:pt x="-700" y="8345"/>
                        <a:pt x="296" y="14573"/>
                        <a:pt x="1293" y="18808"/>
                      </a:cubicBezTo>
                      <a:cubicBezTo>
                        <a:pt x="3037" y="25534"/>
                        <a:pt x="5528" y="28275"/>
                        <a:pt x="7023" y="35250"/>
                      </a:cubicBezTo>
                      <a:cubicBezTo>
                        <a:pt x="8518" y="41976"/>
                        <a:pt x="7895" y="47830"/>
                        <a:pt x="71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2" name="Freeform 7473">
                  <a:extLst>
                    <a:ext uri="{FF2B5EF4-FFF2-40B4-BE49-F238E27FC236}">
                      <a16:creationId xmlns:a16="http://schemas.microsoft.com/office/drawing/2014/main" id="{41D58455-D6A1-74F4-145C-E91D6C06719A}"/>
                    </a:ext>
                  </a:extLst>
                </p:cNvPr>
                <p:cNvSpPr/>
                <p:nvPr/>
              </p:nvSpPr>
              <p:spPr>
                <a:xfrm>
                  <a:off x="7652449" y="1759825"/>
                  <a:ext cx="8096" cy="51566"/>
                </a:xfrm>
                <a:custGeom>
                  <a:avLst/>
                  <a:gdLst>
                    <a:gd name="connsiteX0" fmla="*/ 8097 w 8096"/>
                    <a:gd name="connsiteY0" fmla="*/ 51567 h 51566"/>
                    <a:gd name="connsiteX1" fmla="*/ 3488 w 8096"/>
                    <a:gd name="connsiteY1" fmla="*/ 33257 h 51566"/>
                    <a:gd name="connsiteX2" fmla="*/ 4484 w 8096"/>
                    <a:gd name="connsiteY2" fmla="*/ 15943 h 51566"/>
                    <a:gd name="connsiteX3" fmla="*/ 0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51567"/>
                      </a:moveTo>
                      <a:cubicBezTo>
                        <a:pt x="4484" y="43969"/>
                        <a:pt x="3612" y="37616"/>
                        <a:pt x="3488" y="33257"/>
                      </a:cubicBezTo>
                      <a:cubicBezTo>
                        <a:pt x="3239" y="26282"/>
                        <a:pt x="4983" y="22919"/>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3" name="Freeform 7474">
                  <a:extLst>
                    <a:ext uri="{FF2B5EF4-FFF2-40B4-BE49-F238E27FC236}">
                      <a16:creationId xmlns:a16="http://schemas.microsoft.com/office/drawing/2014/main" id="{4D6086D7-95F2-7A74-31D2-7DB4AD15DDB2}"/>
                    </a:ext>
                  </a:extLst>
                </p:cNvPr>
                <p:cNvSpPr/>
                <p:nvPr/>
              </p:nvSpPr>
              <p:spPr>
                <a:xfrm>
                  <a:off x="7635756" y="1745127"/>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3" y="22296"/>
                        <a:pt x="127" y="15071"/>
                      </a:cubicBezTo>
                      <a:cubicBezTo>
                        <a:pt x="-869" y="7847"/>
                        <a:pt x="4113" y="1121"/>
                        <a:pt x="11337" y="124"/>
                      </a:cubicBezTo>
                      <a:cubicBezTo>
                        <a:pt x="18562" y="-872"/>
                        <a:pt x="25163"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5" name="Graphic 2987">
                <a:extLst>
                  <a:ext uri="{FF2B5EF4-FFF2-40B4-BE49-F238E27FC236}">
                    <a16:creationId xmlns:a16="http://schemas.microsoft.com/office/drawing/2014/main" id="{40E07234-4F65-8D8E-AC35-7597949A2E8B}"/>
                  </a:ext>
                </a:extLst>
              </p:cNvPr>
              <p:cNvGrpSpPr/>
              <p:nvPr/>
            </p:nvGrpSpPr>
            <p:grpSpPr>
              <a:xfrm>
                <a:off x="7606485" y="1748989"/>
                <a:ext cx="43472" cy="147727"/>
                <a:chOff x="7606485" y="1748989"/>
                <a:chExt cx="43472" cy="147727"/>
              </a:xfrm>
              <a:grpFill/>
            </p:grpSpPr>
            <p:sp>
              <p:nvSpPr>
                <p:cNvPr id="6642" name="Freeform 7476">
                  <a:extLst>
                    <a:ext uri="{FF2B5EF4-FFF2-40B4-BE49-F238E27FC236}">
                      <a16:creationId xmlns:a16="http://schemas.microsoft.com/office/drawing/2014/main" id="{58099C95-6E6B-0064-E943-EFD1449294D6}"/>
                    </a:ext>
                  </a:extLst>
                </p:cNvPr>
                <p:cNvSpPr/>
                <p:nvPr/>
              </p:nvSpPr>
              <p:spPr>
                <a:xfrm>
                  <a:off x="7631856" y="1824346"/>
                  <a:ext cx="7966" cy="51691"/>
                </a:xfrm>
                <a:custGeom>
                  <a:avLst/>
                  <a:gdLst>
                    <a:gd name="connsiteX0" fmla="*/ 7266 w 7966"/>
                    <a:gd name="connsiteY0" fmla="*/ 51691 h 51691"/>
                    <a:gd name="connsiteX1" fmla="*/ 6643 w 7966"/>
                    <a:gd name="connsiteY1" fmla="*/ 32883 h 51691"/>
                    <a:gd name="connsiteX2" fmla="*/ 913 w 7966"/>
                    <a:gd name="connsiteY2" fmla="*/ 16442 h 51691"/>
                    <a:gd name="connsiteX3" fmla="*/ 789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51691"/>
                      </a:moveTo>
                      <a:cubicBezTo>
                        <a:pt x="8636" y="43346"/>
                        <a:pt x="7764" y="37118"/>
                        <a:pt x="6643" y="32883"/>
                      </a:cubicBezTo>
                      <a:cubicBezTo>
                        <a:pt x="4899" y="26157"/>
                        <a:pt x="2408" y="23417"/>
                        <a:pt x="913" y="16442"/>
                      </a:cubicBezTo>
                      <a:cubicBezTo>
                        <a:pt x="-582" y="9716"/>
                        <a:pt x="41" y="3861"/>
                        <a:pt x="7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3" name="Freeform 7477">
                  <a:extLst>
                    <a:ext uri="{FF2B5EF4-FFF2-40B4-BE49-F238E27FC236}">
                      <a16:creationId xmlns:a16="http://schemas.microsoft.com/office/drawing/2014/main" id="{6C7A971C-9547-D488-D35C-1084CD797A2E}"/>
                    </a:ext>
                  </a:extLst>
                </p:cNvPr>
                <p:cNvSpPr/>
                <p:nvPr/>
              </p:nvSpPr>
              <p:spPr>
                <a:xfrm>
                  <a:off x="7625047" y="1830449"/>
                  <a:ext cx="7722" cy="51691"/>
                </a:xfrm>
                <a:custGeom>
                  <a:avLst/>
                  <a:gdLst>
                    <a:gd name="connsiteX0" fmla="*/ 0 w 7722"/>
                    <a:gd name="connsiteY0" fmla="*/ 0 h 51691"/>
                    <a:gd name="connsiteX1" fmla="*/ 4485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613" y="7598"/>
                        <a:pt x="4360" y="13950"/>
                        <a:pt x="4485" y="18310"/>
                      </a:cubicBezTo>
                      <a:cubicBezTo>
                        <a:pt x="4609" y="25285"/>
                        <a:pt x="2989" y="28648"/>
                        <a:pt x="3363" y="35748"/>
                      </a:cubicBezTo>
                      <a:cubicBezTo>
                        <a:pt x="3861"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4" name="Freeform 7478">
                  <a:extLst>
                    <a:ext uri="{FF2B5EF4-FFF2-40B4-BE49-F238E27FC236}">
                      <a16:creationId xmlns:a16="http://schemas.microsoft.com/office/drawing/2014/main" id="{98BFBAD1-C95D-C960-2A24-12F602E39E5D}"/>
                    </a:ext>
                  </a:extLst>
                </p:cNvPr>
                <p:cNvSpPr/>
                <p:nvPr/>
              </p:nvSpPr>
              <p:spPr>
                <a:xfrm>
                  <a:off x="7623179" y="1870183"/>
                  <a:ext cx="26778" cy="26532"/>
                </a:xfrm>
                <a:custGeom>
                  <a:avLst/>
                  <a:gdLst>
                    <a:gd name="connsiteX0" fmla="*/ 124 w 26778"/>
                    <a:gd name="connsiteY0" fmla="*/ 15071 h 26532"/>
                    <a:gd name="connsiteX1" fmla="*/ 11583 w 26778"/>
                    <a:gd name="connsiteY1" fmla="*/ 124 h 26532"/>
                    <a:gd name="connsiteX2" fmla="*/ 26654 w 26778"/>
                    <a:gd name="connsiteY2" fmla="*/ 11459 h 26532"/>
                    <a:gd name="connsiteX3" fmla="*/ 15195 w 26778"/>
                    <a:gd name="connsiteY3" fmla="*/ 26406 h 26532"/>
                    <a:gd name="connsiteX4" fmla="*/ 124 w 26778"/>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531">
                      <a:moveTo>
                        <a:pt x="124" y="15071"/>
                      </a:moveTo>
                      <a:cubicBezTo>
                        <a:pt x="-872" y="7847"/>
                        <a:pt x="4234" y="1121"/>
                        <a:pt x="11583" y="124"/>
                      </a:cubicBezTo>
                      <a:cubicBezTo>
                        <a:pt x="18932" y="-872"/>
                        <a:pt x="25658" y="4235"/>
                        <a:pt x="26654" y="11459"/>
                      </a:cubicBezTo>
                      <a:cubicBezTo>
                        <a:pt x="27651" y="18683"/>
                        <a:pt x="22544" y="25409"/>
                        <a:pt x="15195" y="26406"/>
                      </a:cubicBezTo>
                      <a:cubicBezTo>
                        <a:pt x="7847"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5" name="Freeform 7479">
                  <a:extLst>
                    <a:ext uri="{FF2B5EF4-FFF2-40B4-BE49-F238E27FC236}">
                      <a16:creationId xmlns:a16="http://schemas.microsoft.com/office/drawing/2014/main" id="{4C924EE0-68BB-9205-C206-975BD29912A4}"/>
                    </a:ext>
                  </a:extLst>
                </p:cNvPr>
                <p:cNvSpPr/>
                <p:nvPr/>
              </p:nvSpPr>
              <p:spPr>
                <a:xfrm>
                  <a:off x="7616374" y="1769789"/>
                  <a:ext cx="7915" cy="51691"/>
                </a:xfrm>
                <a:custGeom>
                  <a:avLst/>
                  <a:gdLst>
                    <a:gd name="connsiteX0" fmla="*/ 702 w 7915"/>
                    <a:gd name="connsiteY0" fmla="*/ 0 h 51691"/>
                    <a:gd name="connsiteX1" fmla="*/ 1324 w 7915"/>
                    <a:gd name="connsiteY1" fmla="*/ 18808 h 51691"/>
                    <a:gd name="connsiteX2" fmla="*/ 7053 w 7915"/>
                    <a:gd name="connsiteY2" fmla="*/ 35250 h 51691"/>
                    <a:gd name="connsiteX3" fmla="*/ 7178 w 791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15" h="51690">
                      <a:moveTo>
                        <a:pt x="702" y="0"/>
                      </a:moveTo>
                      <a:cubicBezTo>
                        <a:pt x="-669" y="8345"/>
                        <a:pt x="203" y="14573"/>
                        <a:pt x="1324" y="18808"/>
                      </a:cubicBezTo>
                      <a:cubicBezTo>
                        <a:pt x="3067" y="25659"/>
                        <a:pt x="5559" y="28275"/>
                        <a:pt x="7053" y="35250"/>
                      </a:cubicBezTo>
                      <a:cubicBezTo>
                        <a:pt x="8424" y="41976"/>
                        <a:pt x="7925" y="47830"/>
                        <a:pt x="717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6" name="Freeform 7480">
                  <a:extLst>
                    <a:ext uri="{FF2B5EF4-FFF2-40B4-BE49-F238E27FC236}">
                      <a16:creationId xmlns:a16="http://schemas.microsoft.com/office/drawing/2014/main" id="{03F6B86E-30C8-0043-836F-BF2592340710}"/>
                    </a:ext>
                  </a:extLst>
                </p:cNvPr>
                <p:cNvSpPr/>
                <p:nvPr/>
              </p:nvSpPr>
              <p:spPr>
                <a:xfrm>
                  <a:off x="7623427" y="1763686"/>
                  <a:ext cx="7847" cy="51691"/>
                </a:xfrm>
                <a:custGeom>
                  <a:avLst/>
                  <a:gdLst>
                    <a:gd name="connsiteX0" fmla="*/ 7847 w 7847"/>
                    <a:gd name="connsiteY0" fmla="*/ 51691 h 51691"/>
                    <a:gd name="connsiteX1" fmla="*/ 3363 w 7847"/>
                    <a:gd name="connsiteY1" fmla="*/ 33381 h 51691"/>
                    <a:gd name="connsiteX2" fmla="*/ 4360 w 7847"/>
                    <a:gd name="connsiteY2" fmla="*/ 15943 h 51691"/>
                    <a:gd name="connsiteX3" fmla="*/ 0 w 7847"/>
                    <a:gd name="connsiteY3" fmla="*/ 0 h 51691"/>
                  </a:gdLst>
                  <a:ahLst/>
                  <a:cxnLst>
                    <a:cxn ang="0">
                      <a:pos x="connsiteX0" y="connsiteY0"/>
                    </a:cxn>
                    <a:cxn ang="0">
                      <a:pos x="connsiteX1" y="connsiteY1"/>
                    </a:cxn>
                    <a:cxn ang="0">
                      <a:pos x="connsiteX2" y="connsiteY2"/>
                    </a:cxn>
                    <a:cxn ang="0">
                      <a:pos x="connsiteX3" y="connsiteY3"/>
                    </a:cxn>
                  </a:cxnLst>
                  <a:rect l="l" t="t" r="r" b="b"/>
                  <a:pathLst>
                    <a:path w="7847" h="51690">
                      <a:moveTo>
                        <a:pt x="7847" y="51691"/>
                      </a:moveTo>
                      <a:cubicBezTo>
                        <a:pt x="4235" y="44093"/>
                        <a:pt x="3488" y="37741"/>
                        <a:pt x="3363" y="33381"/>
                      </a:cubicBezTo>
                      <a:cubicBezTo>
                        <a:pt x="3239"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7" name="Freeform 7481">
                  <a:extLst>
                    <a:ext uri="{FF2B5EF4-FFF2-40B4-BE49-F238E27FC236}">
                      <a16:creationId xmlns:a16="http://schemas.microsoft.com/office/drawing/2014/main" id="{92EDBB40-2BC8-3079-2462-BF530CDC4874}"/>
                    </a:ext>
                  </a:extLst>
                </p:cNvPr>
                <p:cNvSpPr/>
                <p:nvPr/>
              </p:nvSpPr>
              <p:spPr>
                <a:xfrm>
                  <a:off x="7606485" y="1748989"/>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4" y="22296"/>
                        <a:pt x="127" y="15071"/>
                      </a:cubicBezTo>
                      <a:cubicBezTo>
                        <a:pt x="-870" y="7847"/>
                        <a:pt x="4113" y="1121"/>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6" name="Graphic 2987">
                <a:extLst>
                  <a:ext uri="{FF2B5EF4-FFF2-40B4-BE49-F238E27FC236}">
                    <a16:creationId xmlns:a16="http://schemas.microsoft.com/office/drawing/2014/main" id="{0EE432BB-C083-C6EC-AF93-FF26006C38A6}"/>
                  </a:ext>
                </a:extLst>
              </p:cNvPr>
              <p:cNvGrpSpPr/>
              <p:nvPr/>
            </p:nvGrpSpPr>
            <p:grpSpPr>
              <a:xfrm>
                <a:off x="7577341" y="1752974"/>
                <a:ext cx="43096" cy="147727"/>
                <a:chOff x="7577341" y="1752974"/>
                <a:chExt cx="43096" cy="147727"/>
              </a:xfrm>
              <a:grpFill/>
            </p:grpSpPr>
            <p:sp>
              <p:nvSpPr>
                <p:cNvPr id="6636" name="Freeform 7483">
                  <a:extLst>
                    <a:ext uri="{FF2B5EF4-FFF2-40B4-BE49-F238E27FC236}">
                      <a16:creationId xmlns:a16="http://schemas.microsoft.com/office/drawing/2014/main" id="{0A3155AD-38DA-C5FA-C3DB-004D812B94F4}"/>
                    </a:ext>
                  </a:extLst>
                </p:cNvPr>
                <p:cNvSpPr/>
                <p:nvPr/>
              </p:nvSpPr>
              <p:spPr>
                <a:xfrm>
                  <a:off x="7602553" y="1828332"/>
                  <a:ext cx="7755" cy="51691"/>
                </a:xfrm>
                <a:custGeom>
                  <a:avLst/>
                  <a:gdLst>
                    <a:gd name="connsiteX0" fmla="*/ 7049 w 7755"/>
                    <a:gd name="connsiteY0" fmla="*/ 51691 h 51691"/>
                    <a:gd name="connsiteX1" fmla="*/ 6551 w 7755"/>
                    <a:gd name="connsiteY1" fmla="*/ 32883 h 51691"/>
                    <a:gd name="connsiteX2" fmla="*/ 821 w 7755"/>
                    <a:gd name="connsiteY2" fmla="*/ 16442 h 51691"/>
                    <a:gd name="connsiteX3" fmla="*/ 696 w 7755"/>
                    <a:gd name="connsiteY3" fmla="*/ 0 h 51691"/>
                  </a:gdLst>
                  <a:ahLst/>
                  <a:cxnLst>
                    <a:cxn ang="0">
                      <a:pos x="connsiteX0" y="connsiteY0"/>
                    </a:cxn>
                    <a:cxn ang="0">
                      <a:pos x="connsiteX1" y="connsiteY1"/>
                    </a:cxn>
                    <a:cxn ang="0">
                      <a:pos x="connsiteX2" y="connsiteY2"/>
                    </a:cxn>
                    <a:cxn ang="0">
                      <a:pos x="connsiteX3" y="connsiteY3"/>
                    </a:cxn>
                  </a:cxnLst>
                  <a:rect l="l" t="t" r="r" b="b"/>
                  <a:pathLst>
                    <a:path w="7755" h="51690">
                      <a:moveTo>
                        <a:pt x="7049" y="51691"/>
                      </a:moveTo>
                      <a:cubicBezTo>
                        <a:pt x="8419" y="43346"/>
                        <a:pt x="7547" y="37118"/>
                        <a:pt x="6551" y="32883"/>
                      </a:cubicBezTo>
                      <a:cubicBezTo>
                        <a:pt x="4807" y="26033"/>
                        <a:pt x="2315" y="23417"/>
                        <a:pt x="821" y="16442"/>
                      </a:cubicBezTo>
                      <a:cubicBezTo>
                        <a:pt x="-549" y="9715"/>
                        <a:pt x="73" y="3861"/>
                        <a:pt x="6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7" name="Freeform 7484">
                  <a:extLst>
                    <a:ext uri="{FF2B5EF4-FFF2-40B4-BE49-F238E27FC236}">
                      <a16:creationId xmlns:a16="http://schemas.microsoft.com/office/drawing/2014/main" id="{09EA1E5C-270C-4602-C3DD-8EBF1D6A0383}"/>
                    </a:ext>
                  </a:extLst>
                </p:cNvPr>
                <p:cNvSpPr/>
                <p:nvPr/>
              </p:nvSpPr>
              <p:spPr>
                <a:xfrm>
                  <a:off x="7595651" y="1834310"/>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8" y="7598"/>
                        <a:pt x="4359" y="13950"/>
                        <a:pt x="4484" y="18310"/>
                      </a:cubicBezTo>
                      <a:cubicBezTo>
                        <a:pt x="4609" y="25285"/>
                        <a:pt x="2989"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8" name="Freeform 7485">
                  <a:extLst>
                    <a:ext uri="{FF2B5EF4-FFF2-40B4-BE49-F238E27FC236}">
                      <a16:creationId xmlns:a16="http://schemas.microsoft.com/office/drawing/2014/main" id="{02E17BCF-2768-3CA4-C457-E899817D06DB}"/>
                    </a:ext>
                  </a:extLst>
                </p:cNvPr>
                <p:cNvSpPr/>
                <p:nvPr/>
              </p:nvSpPr>
              <p:spPr>
                <a:xfrm>
                  <a:off x="7593658" y="1874169"/>
                  <a:ext cx="26779" cy="26532"/>
                </a:xfrm>
                <a:custGeom>
                  <a:avLst/>
                  <a:gdLst>
                    <a:gd name="connsiteX0" fmla="*/ 124 w 26779"/>
                    <a:gd name="connsiteY0" fmla="*/ 15071 h 26532"/>
                    <a:gd name="connsiteX1" fmla="*/ 11584 w 26779"/>
                    <a:gd name="connsiteY1" fmla="*/ 124 h 26532"/>
                    <a:gd name="connsiteX2" fmla="*/ 26655 w 26779"/>
                    <a:gd name="connsiteY2" fmla="*/ 11459 h 26532"/>
                    <a:gd name="connsiteX3" fmla="*/ 15196 w 26779"/>
                    <a:gd name="connsiteY3" fmla="*/ 26406 h 26532"/>
                    <a:gd name="connsiteX4" fmla="*/ 124 w 26779"/>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1">
                      <a:moveTo>
                        <a:pt x="124" y="15071"/>
                      </a:moveTo>
                      <a:cubicBezTo>
                        <a:pt x="-872" y="7847"/>
                        <a:pt x="4235" y="1121"/>
                        <a:pt x="11584" y="124"/>
                      </a:cubicBezTo>
                      <a:cubicBezTo>
                        <a:pt x="18932" y="-872"/>
                        <a:pt x="25659" y="4235"/>
                        <a:pt x="26655" y="11459"/>
                      </a:cubicBezTo>
                      <a:cubicBezTo>
                        <a:pt x="27652" y="18683"/>
                        <a:pt x="22545" y="25409"/>
                        <a:pt x="15196" y="26406"/>
                      </a:cubicBezTo>
                      <a:cubicBezTo>
                        <a:pt x="7847" y="27402"/>
                        <a:pt x="996"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9" name="Freeform 7486">
                  <a:extLst>
                    <a:ext uri="{FF2B5EF4-FFF2-40B4-BE49-F238E27FC236}">
                      <a16:creationId xmlns:a16="http://schemas.microsoft.com/office/drawing/2014/main" id="{E6F6DE87-C754-24EE-C436-504C03A054EF}"/>
                    </a:ext>
                  </a:extLst>
                </p:cNvPr>
                <p:cNvSpPr/>
                <p:nvPr/>
              </p:nvSpPr>
              <p:spPr>
                <a:xfrm>
                  <a:off x="7587097" y="1773651"/>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0" y="28275"/>
                        <a:pt x="6935" y="35250"/>
                      </a:cubicBezTo>
                      <a:cubicBezTo>
                        <a:pt x="8305" y="41976"/>
                        <a:pt x="7682"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0" name="Freeform 7487">
                  <a:extLst>
                    <a:ext uri="{FF2B5EF4-FFF2-40B4-BE49-F238E27FC236}">
                      <a16:creationId xmlns:a16="http://schemas.microsoft.com/office/drawing/2014/main" id="{7CB1EB7B-DE04-29E8-D60C-3D76B747FF33}"/>
                    </a:ext>
                  </a:extLst>
                </p:cNvPr>
                <p:cNvSpPr/>
                <p:nvPr/>
              </p:nvSpPr>
              <p:spPr>
                <a:xfrm>
                  <a:off x="7594157" y="1767672"/>
                  <a:ext cx="7722" cy="51691"/>
                </a:xfrm>
                <a:custGeom>
                  <a:avLst/>
                  <a:gdLst>
                    <a:gd name="connsiteX0" fmla="*/ 7723 w 7722"/>
                    <a:gd name="connsiteY0" fmla="*/ 51691 h 51691"/>
                    <a:gd name="connsiteX1" fmla="*/ 3239 w 7722"/>
                    <a:gd name="connsiteY1" fmla="*/ 33381 h 51691"/>
                    <a:gd name="connsiteX2" fmla="*/ 4359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3"/>
                        <a:pt x="3363" y="37741"/>
                        <a:pt x="3239" y="33381"/>
                      </a:cubicBezTo>
                      <a:cubicBezTo>
                        <a:pt x="3114" y="26406"/>
                        <a:pt x="4733" y="23043"/>
                        <a:pt x="4359"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1" name="Freeform 7488">
                  <a:extLst>
                    <a:ext uri="{FF2B5EF4-FFF2-40B4-BE49-F238E27FC236}">
                      <a16:creationId xmlns:a16="http://schemas.microsoft.com/office/drawing/2014/main" id="{343AFA9F-999C-FE5A-CB7F-AFEA7183E963}"/>
                    </a:ext>
                  </a:extLst>
                </p:cNvPr>
                <p:cNvSpPr/>
                <p:nvPr/>
              </p:nvSpPr>
              <p:spPr>
                <a:xfrm>
                  <a:off x="7577341" y="1752974"/>
                  <a:ext cx="26406" cy="26530"/>
                </a:xfrm>
                <a:custGeom>
                  <a:avLst/>
                  <a:gdLst>
                    <a:gd name="connsiteX0" fmla="*/ 26282 w 26406"/>
                    <a:gd name="connsiteY0" fmla="*/ 11459 h 26530"/>
                    <a:gd name="connsiteX1" fmla="*/ 14947 w 26406"/>
                    <a:gd name="connsiteY1" fmla="*/ 26406 h 26530"/>
                    <a:gd name="connsiteX2" fmla="*/ 124 w 26406"/>
                    <a:gd name="connsiteY2" fmla="*/ 15071 h 26530"/>
                    <a:gd name="connsiteX3" fmla="*/ 11459 w 26406"/>
                    <a:gd name="connsiteY3" fmla="*/ 124 h 26530"/>
                    <a:gd name="connsiteX4" fmla="*/ 26282 w 26406"/>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26282" y="11459"/>
                      </a:moveTo>
                      <a:cubicBezTo>
                        <a:pt x="27278" y="18683"/>
                        <a:pt x="22171" y="25409"/>
                        <a:pt x="14947" y="26406"/>
                      </a:cubicBezTo>
                      <a:cubicBezTo>
                        <a:pt x="7723" y="27402"/>
                        <a:pt x="1121" y="22296"/>
                        <a:pt x="124" y="15071"/>
                      </a:cubicBezTo>
                      <a:cubicBezTo>
                        <a:pt x="-872" y="7847"/>
                        <a:pt x="4235" y="1121"/>
                        <a:pt x="11459" y="124"/>
                      </a:cubicBezTo>
                      <a:cubicBezTo>
                        <a:pt x="18559" y="-872"/>
                        <a:pt x="25285" y="4235"/>
                        <a:pt x="2628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7" name="Graphic 2987">
                <a:extLst>
                  <a:ext uri="{FF2B5EF4-FFF2-40B4-BE49-F238E27FC236}">
                    <a16:creationId xmlns:a16="http://schemas.microsoft.com/office/drawing/2014/main" id="{FF03CD79-033D-8179-7186-70B2BE849C57}"/>
                  </a:ext>
                </a:extLst>
              </p:cNvPr>
              <p:cNvGrpSpPr/>
              <p:nvPr/>
            </p:nvGrpSpPr>
            <p:grpSpPr>
              <a:xfrm>
                <a:off x="7548070" y="1756960"/>
                <a:ext cx="42598" cy="147727"/>
                <a:chOff x="7548070" y="1756960"/>
                <a:chExt cx="42598" cy="147727"/>
              </a:xfrm>
              <a:grpFill/>
            </p:grpSpPr>
            <p:sp>
              <p:nvSpPr>
                <p:cNvPr id="6630" name="Freeform 7490">
                  <a:extLst>
                    <a:ext uri="{FF2B5EF4-FFF2-40B4-BE49-F238E27FC236}">
                      <a16:creationId xmlns:a16="http://schemas.microsoft.com/office/drawing/2014/main" id="{918AFB94-B594-29BB-010D-70FF09BD62FE}"/>
                    </a:ext>
                  </a:extLst>
                </p:cNvPr>
                <p:cNvSpPr/>
                <p:nvPr/>
              </p:nvSpPr>
              <p:spPr>
                <a:xfrm>
                  <a:off x="7573168" y="1832193"/>
                  <a:ext cx="7620" cy="51815"/>
                </a:xfrm>
                <a:custGeom>
                  <a:avLst/>
                  <a:gdLst>
                    <a:gd name="connsiteX0" fmla="*/ 6914 w 7620"/>
                    <a:gd name="connsiteY0" fmla="*/ 51816 h 51815"/>
                    <a:gd name="connsiteX1" fmla="*/ 6416 w 7620"/>
                    <a:gd name="connsiteY1" fmla="*/ 33008 h 51815"/>
                    <a:gd name="connsiteX2" fmla="*/ 810 w 7620"/>
                    <a:gd name="connsiteY2" fmla="*/ 16566 h 51815"/>
                    <a:gd name="connsiteX3" fmla="*/ 810 w 7620"/>
                    <a:gd name="connsiteY3" fmla="*/ 0 h 51815"/>
                  </a:gdLst>
                  <a:ahLst/>
                  <a:cxnLst>
                    <a:cxn ang="0">
                      <a:pos x="connsiteX0" y="connsiteY0"/>
                    </a:cxn>
                    <a:cxn ang="0">
                      <a:pos x="connsiteX1" y="connsiteY1"/>
                    </a:cxn>
                    <a:cxn ang="0">
                      <a:pos x="connsiteX2" y="connsiteY2"/>
                    </a:cxn>
                    <a:cxn ang="0">
                      <a:pos x="connsiteX3" y="connsiteY3"/>
                    </a:cxn>
                  </a:cxnLst>
                  <a:rect l="l" t="t" r="r" b="b"/>
                  <a:pathLst>
                    <a:path w="7620" h="51815">
                      <a:moveTo>
                        <a:pt x="6914" y="51816"/>
                      </a:moveTo>
                      <a:cubicBezTo>
                        <a:pt x="8284" y="43471"/>
                        <a:pt x="7412" y="37243"/>
                        <a:pt x="6416" y="33008"/>
                      </a:cubicBezTo>
                      <a:cubicBezTo>
                        <a:pt x="4672"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1" name="Freeform 7491">
                  <a:extLst>
                    <a:ext uri="{FF2B5EF4-FFF2-40B4-BE49-F238E27FC236}">
                      <a16:creationId xmlns:a16="http://schemas.microsoft.com/office/drawing/2014/main" id="{1EBFEFA3-ED19-0BE7-3F85-2E524DB6C783}"/>
                    </a:ext>
                  </a:extLst>
                </p:cNvPr>
                <p:cNvSpPr/>
                <p:nvPr/>
              </p:nvSpPr>
              <p:spPr>
                <a:xfrm>
                  <a:off x="7566131" y="1838296"/>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7" y="7598"/>
                        <a:pt x="4359" y="13950"/>
                        <a:pt x="4484" y="18310"/>
                      </a:cubicBezTo>
                      <a:cubicBezTo>
                        <a:pt x="4609" y="25285"/>
                        <a:pt x="2865"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2" name="Freeform 7492">
                  <a:extLst>
                    <a:ext uri="{FF2B5EF4-FFF2-40B4-BE49-F238E27FC236}">
                      <a16:creationId xmlns:a16="http://schemas.microsoft.com/office/drawing/2014/main" id="{98B1A8C8-22DE-487B-C557-71CB086BCB2E}"/>
                    </a:ext>
                  </a:extLst>
                </p:cNvPr>
                <p:cNvSpPr/>
                <p:nvPr/>
              </p:nvSpPr>
              <p:spPr>
                <a:xfrm>
                  <a:off x="7564017" y="1878155"/>
                  <a:ext cx="26652" cy="26532"/>
                </a:xfrm>
                <a:custGeom>
                  <a:avLst/>
                  <a:gdLst>
                    <a:gd name="connsiteX0" fmla="*/ 122 w 26652"/>
                    <a:gd name="connsiteY0" fmla="*/ 15071 h 26532"/>
                    <a:gd name="connsiteX1" fmla="*/ 11581 w 26652"/>
                    <a:gd name="connsiteY1" fmla="*/ 124 h 26532"/>
                    <a:gd name="connsiteX2" fmla="*/ 26528 w 26652"/>
                    <a:gd name="connsiteY2" fmla="*/ 11459 h 26532"/>
                    <a:gd name="connsiteX3" fmla="*/ 15068 w 26652"/>
                    <a:gd name="connsiteY3" fmla="*/ 26406 h 26532"/>
                    <a:gd name="connsiteX4" fmla="*/ 122 w 26652"/>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531">
                      <a:moveTo>
                        <a:pt x="122" y="15071"/>
                      </a:moveTo>
                      <a:cubicBezTo>
                        <a:pt x="-875" y="7847"/>
                        <a:pt x="4356" y="1121"/>
                        <a:pt x="11581" y="124"/>
                      </a:cubicBezTo>
                      <a:cubicBezTo>
                        <a:pt x="18929" y="-872"/>
                        <a:pt x="25531" y="4235"/>
                        <a:pt x="26528" y="11459"/>
                      </a:cubicBezTo>
                      <a:cubicBezTo>
                        <a:pt x="27524" y="18683"/>
                        <a:pt x="22417" y="25409"/>
                        <a:pt x="15068" y="26406"/>
                      </a:cubicBezTo>
                      <a:cubicBezTo>
                        <a:pt x="7720" y="27402"/>
                        <a:pt x="1118" y="22420"/>
                        <a:pt x="122"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3" name="Freeform 7493">
                  <a:extLst>
                    <a:ext uri="{FF2B5EF4-FFF2-40B4-BE49-F238E27FC236}">
                      <a16:creationId xmlns:a16="http://schemas.microsoft.com/office/drawing/2014/main" id="{51C506D3-9777-C012-6D5A-F9DA5C9F4BDC}"/>
                    </a:ext>
                  </a:extLst>
                </p:cNvPr>
                <p:cNvSpPr/>
                <p:nvPr/>
              </p:nvSpPr>
              <p:spPr>
                <a:xfrm>
                  <a:off x="7557950" y="1777637"/>
                  <a:ext cx="7621" cy="51815"/>
                </a:xfrm>
                <a:custGeom>
                  <a:avLst/>
                  <a:gdLst>
                    <a:gd name="connsiteX0" fmla="*/ 708 w 7621"/>
                    <a:gd name="connsiteY0" fmla="*/ 0 h 51815"/>
                    <a:gd name="connsiteX1" fmla="*/ 1206 w 7621"/>
                    <a:gd name="connsiteY1" fmla="*/ 18808 h 51815"/>
                    <a:gd name="connsiteX2" fmla="*/ 6811 w 7621"/>
                    <a:gd name="connsiteY2" fmla="*/ 35250 h 51815"/>
                    <a:gd name="connsiteX3" fmla="*/ 6811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708" y="0"/>
                      </a:moveTo>
                      <a:cubicBezTo>
                        <a:pt x="-663" y="8345"/>
                        <a:pt x="209" y="14573"/>
                        <a:pt x="1206" y="18808"/>
                      </a:cubicBezTo>
                      <a:cubicBezTo>
                        <a:pt x="2950" y="25659"/>
                        <a:pt x="5440" y="28275"/>
                        <a:pt x="6811" y="35250"/>
                      </a:cubicBezTo>
                      <a:cubicBezTo>
                        <a:pt x="8181" y="41976"/>
                        <a:pt x="7558" y="47830"/>
                        <a:pt x="681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4" name="Freeform 7494">
                  <a:extLst>
                    <a:ext uri="{FF2B5EF4-FFF2-40B4-BE49-F238E27FC236}">
                      <a16:creationId xmlns:a16="http://schemas.microsoft.com/office/drawing/2014/main" id="{DB3CB0AE-AEA9-CFB4-EAC6-BDC891984493}"/>
                    </a:ext>
                  </a:extLst>
                </p:cNvPr>
                <p:cNvSpPr/>
                <p:nvPr/>
              </p:nvSpPr>
              <p:spPr>
                <a:xfrm>
                  <a:off x="7564886" y="1771658"/>
                  <a:ext cx="7597" cy="51691"/>
                </a:xfrm>
                <a:custGeom>
                  <a:avLst/>
                  <a:gdLst>
                    <a:gd name="connsiteX0" fmla="*/ 7598 w 7597"/>
                    <a:gd name="connsiteY0" fmla="*/ 51691 h 51691"/>
                    <a:gd name="connsiteX1" fmla="*/ 3114 w 7597"/>
                    <a:gd name="connsiteY1" fmla="*/ 33381 h 51691"/>
                    <a:gd name="connsiteX2" fmla="*/ 4235 w 7597"/>
                    <a:gd name="connsiteY2" fmla="*/ 15943 h 51691"/>
                    <a:gd name="connsiteX3" fmla="*/ 0 w 7597"/>
                    <a:gd name="connsiteY3" fmla="*/ 0 h 51691"/>
                  </a:gdLst>
                  <a:ahLst/>
                  <a:cxnLst>
                    <a:cxn ang="0">
                      <a:pos x="connsiteX0" y="connsiteY0"/>
                    </a:cxn>
                    <a:cxn ang="0">
                      <a:pos x="connsiteX1" y="connsiteY1"/>
                    </a:cxn>
                    <a:cxn ang="0">
                      <a:pos x="connsiteX2" y="connsiteY2"/>
                    </a:cxn>
                    <a:cxn ang="0">
                      <a:pos x="connsiteX3" y="connsiteY3"/>
                    </a:cxn>
                  </a:cxnLst>
                  <a:rect l="l" t="t" r="r" b="b"/>
                  <a:pathLst>
                    <a:path w="7597" h="51690">
                      <a:moveTo>
                        <a:pt x="7598" y="51691"/>
                      </a:moveTo>
                      <a:cubicBezTo>
                        <a:pt x="4110" y="44093"/>
                        <a:pt x="3238" y="37741"/>
                        <a:pt x="3114" y="33381"/>
                      </a:cubicBezTo>
                      <a:cubicBezTo>
                        <a:pt x="2989" y="26406"/>
                        <a:pt x="4732" y="23043"/>
                        <a:pt x="4235" y="15943"/>
                      </a:cubicBezTo>
                      <a:cubicBezTo>
                        <a:pt x="3861" y="9093"/>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5" name="Freeform 7495">
                  <a:extLst>
                    <a:ext uri="{FF2B5EF4-FFF2-40B4-BE49-F238E27FC236}">
                      <a16:creationId xmlns:a16="http://schemas.microsoft.com/office/drawing/2014/main" id="{B1B559BA-4F70-B6E6-C778-20A64D5D4F10}"/>
                    </a:ext>
                  </a:extLst>
                </p:cNvPr>
                <p:cNvSpPr/>
                <p:nvPr/>
              </p:nvSpPr>
              <p:spPr>
                <a:xfrm>
                  <a:off x="7548070" y="1756960"/>
                  <a:ext cx="26405" cy="26530"/>
                </a:xfrm>
                <a:custGeom>
                  <a:avLst/>
                  <a:gdLst>
                    <a:gd name="connsiteX0" fmla="*/ 26281 w 26405"/>
                    <a:gd name="connsiteY0" fmla="*/ 11459 h 26530"/>
                    <a:gd name="connsiteX1" fmla="*/ 14947 w 26405"/>
                    <a:gd name="connsiteY1" fmla="*/ 26406 h 26530"/>
                    <a:gd name="connsiteX2" fmla="*/ 124 w 26405"/>
                    <a:gd name="connsiteY2" fmla="*/ 15071 h 26530"/>
                    <a:gd name="connsiteX3" fmla="*/ 11459 w 26405"/>
                    <a:gd name="connsiteY3" fmla="*/ 124 h 26530"/>
                    <a:gd name="connsiteX4" fmla="*/ 26281 w 26405"/>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0">
                      <a:moveTo>
                        <a:pt x="26281" y="11459"/>
                      </a:moveTo>
                      <a:cubicBezTo>
                        <a:pt x="27278" y="18683"/>
                        <a:pt x="22171" y="25409"/>
                        <a:pt x="14947" y="26406"/>
                      </a:cubicBezTo>
                      <a:cubicBezTo>
                        <a:pt x="7722" y="27402"/>
                        <a:pt x="1121" y="22296"/>
                        <a:pt x="124" y="15071"/>
                      </a:cubicBezTo>
                      <a:cubicBezTo>
                        <a:pt x="-872" y="7847"/>
                        <a:pt x="4235" y="1121"/>
                        <a:pt x="11459" y="124"/>
                      </a:cubicBezTo>
                      <a:cubicBezTo>
                        <a:pt x="18683" y="-872"/>
                        <a:pt x="25285" y="4235"/>
                        <a:pt x="26281"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8" name="Graphic 2987">
                <a:extLst>
                  <a:ext uri="{FF2B5EF4-FFF2-40B4-BE49-F238E27FC236}">
                    <a16:creationId xmlns:a16="http://schemas.microsoft.com/office/drawing/2014/main" id="{43EF715B-87CB-DC85-08CB-B5264698CCB1}"/>
                  </a:ext>
                </a:extLst>
              </p:cNvPr>
              <p:cNvGrpSpPr/>
              <p:nvPr/>
            </p:nvGrpSpPr>
            <p:grpSpPr>
              <a:xfrm>
                <a:off x="7518825" y="1760822"/>
                <a:ext cx="42321" cy="147973"/>
                <a:chOff x="7518825" y="1760822"/>
                <a:chExt cx="42321" cy="147973"/>
              </a:xfrm>
              <a:grpFill/>
            </p:grpSpPr>
            <p:sp>
              <p:nvSpPr>
                <p:cNvPr id="6624" name="Freeform 7497">
                  <a:extLst>
                    <a:ext uri="{FF2B5EF4-FFF2-40B4-BE49-F238E27FC236}">
                      <a16:creationId xmlns:a16="http://schemas.microsoft.com/office/drawing/2014/main" id="{9942FC0D-187F-EB9F-177F-5AEAE3C6009A}"/>
                    </a:ext>
                  </a:extLst>
                </p:cNvPr>
                <p:cNvSpPr/>
                <p:nvPr/>
              </p:nvSpPr>
              <p:spPr>
                <a:xfrm>
                  <a:off x="7543648" y="1836179"/>
                  <a:ext cx="7708" cy="51815"/>
                </a:xfrm>
                <a:custGeom>
                  <a:avLst/>
                  <a:gdLst>
                    <a:gd name="connsiteX0" fmla="*/ 6914 w 7708"/>
                    <a:gd name="connsiteY0" fmla="*/ 51816 h 51815"/>
                    <a:gd name="connsiteX1" fmla="*/ 6416 w 7708"/>
                    <a:gd name="connsiteY1" fmla="*/ 33008 h 51815"/>
                    <a:gd name="connsiteX2" fmla="*/ 810 w 7708"/>
                    <a:gd name="connsiteY2" fmla="*/ 16566 h 51815"/>
                    <a:gd name="connsiteX3" fmla="*/ 810 w 7708"/>
                    <a:gd name="connsiteY3" fmla="*/ 0 h 51815"/>
                  </a:gdLst>
                  <a:ahLst/>
                  <a:cxnLst>
                    <a:cxn ang="0">
                      <a:pos x="connsiteX0" y="connsiteY0"/>
                    </a:cxn>
                    <a:cxn ang="0">
                      <a:pos x="connsiteX1" y="connsiteY1"/>
                    </a:cxn>
                    <a:cxn ang="0">
                      <a:pos x="connsiteX2" y="connsiteY2"/>
                    </a:cxn>
                    <a:cxn ang="0">
                      <a:pos x="connsiteX3" y="connsiteY3"/>
                    </a:cxn>
                  </a:cxnLst>
                  <a:rect l="l" t="t" r="r" b="b"/>
                  <a:pathLst>
                    <a:path w="7708" h="51815">
                      <a:moveTo>
                        <a:pt x="6914" y="51816"/>
                      </a:moveTo>
                      <a:cubicBezTo>
                        <a:pt x="8408" y="43471"/>
                        <a:pt x="7536" y="37243"/>
                        <a:pt x="6416" y="33008"/>
                      </a:cubicBezTo>
                      <a:cubicBezTo>
                        <a:pt x="4796"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5" name="Freeform 7498">
                  <a:extLst>
                    <a:ext uri="{FF2B5EF4-FFF2-40B4-BE49-F238E27FC236}">
                      <a16:creationId xmlns:a16="http://schemas.microsoft.com/office/drawing/2014/main" id="{EBB4377B-468C-AA2A-4D10-CFF3E03DB32E}"/>
                    </a:ext>
                  </a:extLst>
                </p:cNvPr>
                <p:cNvSpPr/>
                <p:nvPr/>
              </p:nvSpPr>
              <p:spPr>
                <a:xfrm>
                  <a:off x="7536736" y="184228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598"/>
                        <a:pt x="4235" y="13950"/>
                        <a:pt x="4359" y="18310"/>
                      </a:cubicBezTo>
                      <a:cubicBezTo>
                        <a:pt x="4484" y="25285"/>
                        <a:pt x="2740" y="28648"/>
                        <a:pt x="3114" y="35748"/>
                      </a:cubicBezTo>
                      <a:cubicBezTo>
                        <a:pt x="3487" y="42599"/>
                        <a:pt x="5605" y="48079"/>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6" name="Freeform 7499">
                  <a:extLst>
                    <a:ext uri="{FF2B5EF4-FFF2-40B4-BE49-F238E27FC236}">
                      <a16:creationId xmlns:a16="http://schemas.microsoft.com/office/drawing/2014/main" id="{C07F927F-FB3A-4760-9C35-55C3E80C7EB0}"/>
                    </a:ext>
                  </a:extLst>
                </p:cNvPr>
                <p:cNvSpPr/>
                <p:nvPr/>
              </p:nvSpPr>
              <p:spPr>
                <a:xfrm>
                  <a:off x="7534521" y="1882265"/>
                  <a:ext cx="26625" cy="26530"/>
                </a:xfrm>
                <a:custGeom>
                  <a:avLst/>
                  <a:gdLst>
                    <a:gd name="connsiteX0" fmla="*/ 97 w 26625"/>
                    <a:gd name="connsiteY0" fmla="*/ 15071 h 26530"/>
                    <a:gd name="connsiteX1" fmla="*/ 11557 w 26625"/>
                    <a:gd name="connsiteY1" fmla="*/ 124 h 26530"/>
                    <a:gd name="connsiteX2" fmla="*/ 26504 w 26625"/>
                    <a:gd name="connsiteY2" fmla="*/ 11459 h 26530"/>
                    <a:gd name="connsiteX3" fmla="*/ 15044 w 26625"/>
                    <a:gd name="connsiteY3" fmla="*/ 26406 h 26530"/>
                    <a:gd name="connsiteX4" fmla="*/ 97 w 26625"/>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30">
                      <a:moveTo>
                        <a:pt x="97" y="15071"/>
                      </a:moveTo>
                      <a:cubicBezTo>
                        <a:pt x="-774" y="7847"/>
                        <a:pt x="4332" y="1121"/>
                        <a:pt x="11557" y="124"/>
                      </a:cubicBezTo>
                      <a:cubicBezTo>
                        <a:pt x="18905" y="-872"/>
                        <a:pt x="25507" y="4235"/>
                        <a:pt x="26504" y="11459"/>
                      </a:cubicBezTo>
                      <a:cubicBezTo>
                        <a:pt x="27500" y="18683"/>
                        <a:pt x="22268" y="25410"/>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7" name="Freeform 7500">
                  <a:extLst>
                    <a:ext uri="{FF2B5EF4-FFF2-40B4-BE49-F238E27FC236}">
                      <a16:creationId xmlns:a16="http://schemas.microsoft.com/office/drawing/2014/main" id="{AF6E6A6A-2B7B-4F81-B74C-9E66BC9F8E47}"/>
                    </a:ext>
                  </a:extLst>
                </p:cNvPr>
                <p:cNvSpPr/>
                <p:nvPr/>
              </p:nvSpPr>
              <p:spPr>
                <a:xfrm>
                  <a:off x="7528646" y="1781622"/>
                  <a:ext cx="7654" cy="51815"/>
                </a:xfrm>
                <a:custGeom>
                  <a:avLst/>
                  <a:gdLst>
                    <a:gd name="connsiteX0" fmla="*/ 740 w 7654"/>
                    <a:gd name="connsiteY0" fmla="*/ 0 h 51815"/>
                    <a:gd name="connsiteX1" fmla="*/ 1239 w 7654"/>
                    <a:gd name="connsiteY1" fmla="*/ 18808 h 51815"/>
                    <a:gd name="connsiteX2" fmla="*/ 6843 w 7654"/>
                    <a:gd name="connsiteY2" fmla="*/ 35250 h 51815"/>
                    <a:gd name="connsiteX3" fmla="*/ 6843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740" y="0"/>
                      </a:moveTo>
                      <a:cubicBezTo>
                        <a:pt x="-630" y="8345"/>
                        <a:pt x="118" y="14573"/>
                        <a:pt x="1239" y="18808"/>
                      </a:cubicBezTo>
                      <a:cubicBezTo>
                        <a:pt x="2858" y="25659"/>
                        <a:pt x="5349" y="28275"/>
                        <a:pt x="6843" y="35250"/>
                      </a:cubicBezTo>
                      <a:cubicBezTo>
                        <a:pt x="8214" y="41976"/>
                        <a:pt x="7591" y="47830"/>
                        <a:pt x="684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8" name="Freeform 7501">
                  <a:extLst>
                    <a:ext uri="{FF2B5EF4-FFF2-40B4-BE49-F238E27FC236}">
                      <a16:creationId xmlns:a16="http://schemas.microsoft.com/office/drawing/2014/main" id="{B79CF0A3-75B6-F43D-55A5-A71E6063E251}"/>
                    </a:ext>
                  </a:extLst>
                </p:cNvPr>
                <p:cNvSpPr/>
                <p:nvPr/>
              </p:nvSpPr>
              <p:spPr>
                <a:xfrm>
                  <a:off x="7535614" y="1775644"/>
                  <a:ext cx="7473" cy="51691"/>
                </a:xfrm>
                <a:custGeom>
                  <a:avLst/>
                  <a:gdLst>
                    <a:gd name="connsiteX0" fmla="*/ 7474 w 7473"/>
                    <a:gd name="connsiteY0" fmla="*/ 51691 h 51691"/>
                    <a:gd name="connsiteX1" fmla="*/ 3114 w 7473"/>
                    <a:gd name="connsiteY1" fmla="*/ 33381 h 51691"/>
                    <a:gd name="connsiteX2" fmla="*/ 4235 w 7473"/>
                    <a:gd name="connsiteY2" fmla="*/ 15943 h 51691"/>
                    <a:gd name="connsiteX3" fmla="*/ 0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7474" y="51691"/>
                      </a:moveTo>
                      <a:cubicBezTo>
                        <a:pt x="3986" y="44093"/>
                        <a:pt x="3239" y="37741"/>
                        <a:pt x="3114" y="33381"/>
                      </a:cubicBezTo>
                      <a:cubicBezTo>
                        <a:pt x="2989" y="26406"/>
                        <a:pt x="4733" y="23043"/>
                        <a:pt x="4235"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9" name="Freeform 7502">
                  <a:extLst>
                    <a:ext uri="{FF2B5EF4-FFF2-40B4-BE49-F238E27FC236}">
                      <a16:creationId xmlns:a16="http://schemas.microsoft.com/office/drawing/2014/main" id="{064EDCAF-C506-D472-47EE-07AB7A54AE07}"/>
                    </a:ext>
                  </a:extLst>
                </p:cNvPr>
                <p:cNvSpPr/>
                <p:nvPr/>
              </p:nvSpPr>
              <p:spPr>
                <a:xfrm>
                  <a:off x="7518825" y="1760822"/>
                  <a:ext cx="26380" cy="26530"/>
                </a:xfrm>
                <a:custGeom>
                  <a:avLst/>
                  <a:gdLst>
                    <a:gd name="connsiteX0" fmla="*/ 26256 w 26380"/>
                    <a:gd name="connsiteY0" fmla="*/ 11459 h 26530"/>
                    <a:gd name="connsiteX1" fmla="*/ 14921 w 26380"/>
                    <a:gd name="connsiteY1" fmla="*/ 26406 h 26530"/>
                    <a:gd name="connsiteX2" fmla="*/ 99 w 26380"/>
                    <a:gd name="connsiteY2" fmla="*/ 15071 h 26530"/>
                    <a:gd name="connsiteX3" fmla="*/ 11433 w 26380"/>
                    <a:gd name="connsiteY3" fmla="*/ 124 h 26530"/>
                    <a:gd name="connsiteX4" fmla="*/ 26256 w 2638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30">
                      <a:moveTo>
                        <a:pt x="26256" y="11459"/>
                      </a:moveTo>
                      <a:cubicBezTo>
                        <a:pt x="27252" y="18683"/>
                        <a:pt x="22145" y="25410"/>
                        <a:pt x="14921" y="26406"/>
                      </a:cubicBezTo>
                      <a:cubicBezTo>
                        <a:pt x="7697" y="27402"/>
                        <a:pt x="1095" y="22296"/>
                        <a:pt x="99" y="15071"/>
                      </a:cubicBezTo>
                      <a:cubicBezTo>
                        <a:pt x="-773" y="7847"/>
                        <a:pt x="4209" y="1121"/>
                        <a:pt x="11433" y="124"/>
                      </a:cubicBezTo>
                      <a:cubicBezTo>
                        <a:pt x="18783" y="-872"/>
                        <a:pt x="25384" y="4235"/>
                        <a:pt x="26256"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9" name="Graphic 2987">
                <a:extLst>
                  <a:ext uri="{FF2B5EF4-FFF2-40B4-BE49-F238E27FC236}">
                    <a16:creationId xmlns:a16="http://schemas.microsoft.com/office/drawing/2014/main" id="{69E8D961-AADB-CB3E-4CD2-1050FBD37FB6}"/>
                  </a:ext>
                </a:extLst>
              </p:cNvPr>
              <p:cNvGrpSpPr/>
              <p:nvPr/>
            </p:nvGrpSpPr>
            <p:grpSpPr>
              <a:xfrm>
                <a:off x="7489680" y="1764807"/>
                <a:ext cx="42069" cy="147973"/>
                <a:chOff x="7489680" y="1764807"/>
                <a:chExt cx="42069" cy="147973"/>
              </a:xfrm>
              <a:grpFill/>
            </p:grpSpPr>
            <p:sp>
              <p:nvSpPr>
                <p:cNvPr id="6618" name="Freeform 7504">
                  <a:extLst>
                    <a:ext uri="{FF2B5EF4-FFF2-40B4-BE49-F238E27FC236}">
                      <a16:creationId xmlns:a16="http://schemas.microsoft.com/office/drawing/2014/main" id="{F6EA0192-9C7D-AAFA-E72A-9A423F4D4111}"/>
                    </a:ext>
                  </a:extLst>
                </p:cNvPr>
                <p:cNvSpPr/>
                <p:nvPr/>
              </p:nvSpPr>
              <p:spPr>
                <a:xfrm>
                  <a:off x="7514262" y="1840165"/>
                  <a:ext cx="7581" cy="51815"/>
                </a:xfrm>
                <a:custGeom>
                  <a:avLst/>
                  <a:gdLst>
                    <a:gd name="connsiteX0" fmla="*/ 6780 w 7581"/>
                    <a:gd name="connsiteY0" fmla="*/ 51816 h 51815"/>
                    <a:gd name="connsiteX1" fmla="*/ 6406 w 7581"/>
                    <a:gd name="connsiteY1" fmla="*/ 33008 h 51815"/>
                    <a:gd name="connsiteX2" fmla="*/ 801 w 7581"/>
                    <a:gd name="connsiteY2" fmla="*/ 16566 h 51815"/>
                    <a:gd name="connsiteX3" fmla="*/ 925 w 7581"/>
                    <a:gd name="connsiteY3" fmla="*/ 0 h 51815"/>
                  </a:gdLst>
                  <a:ahLst/>
                  <a:cxnLst>
                    <a:cxn ang="0">
                      <a:pos x="connsiteX0" y="connsiteY0"/>
                    </a:cxn>
                    <a:cxn ang="0">
                      <a:pos x="connsiteX1" y="connsiteY1"/>
                    </a:cxn>
                    <a:cxn ang="0">
                      <a:pos x="connsiteX2" y="connsiteY2"/>
                    </a:cxn>
                    <a:cxn ang="0">
                      <a:pos x="connsiteX3" y="connsiteY3"/>
                    </a:cxn>
                  </a:cxnLst>
                  <a:rect l="l" t="t" r="r" b="b"/>
                  <a:pathLst>
                    <a:path w="7581" h="51815">
                      <a:moveTo>
                        <a:pt x="6780" y="51816"/>
                      </a:moveTo>
                      <a:cubicBezTo>
                        <a:pt x="8274" y="43471"/>
                        <a:pt x="7402" y="37243"/>
                        <a:pt x="6406" y="33008"/>
                      </a:cubicBezTo>
                      <a:cubicBezTo>
                        <a:pt x="4786" y="26157"/>
                        <a:pt x="2296" y="23417"/>
                        <a:pt x="801" y="16566"/>
                      </a:cubicBezTo>
                      <a:cubicBezTo>
                        <a:pt x="-570" y="9840"/>
                        <a:pt x="54" y="3986"/>
                        <a:pt x="9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9" name="Freeform 7505">
                  <a:extLst>
                    <a:ext uri="{FF2B5EF4-FFF2-40B4-BE49-F238E27FC236}">
                      <a16:creationId xmlns:a16="http://schemas.microsoft.com/office/drawing/2014/main" id="{639C3988-D85A-927E-EB99-5FFC1EA18493}"/>
                    </a:ext>
                  </a:extLst>
                </p:cNvPr>
                <p:cNvSpPr/>
                <p:nvPr/>
              </p:nvSpPr>
              <p:spPr>
                <a:xfrm>
                  <a:off x="7507339" y="1846268"/>
                  <a:ext cx="7349" cy="51691"/>
                </a:xfrm>
                <a:custGeom>
                  <a:avLst/>
                  <a:gdLst>
                    <a:gd name="connsiteX0" fmla="*/ 0 w 7349"/>
                    <a:gd name="connsiteY0" fmla="*/ 0 h 51691"/>
                    <a:gd name="connsiteX1" fmla="*/ 4360 w 7349"/>
                    <a:gd name="connsiteY1" fmla="*/ 18310 h 51691"/>
                    <a:gd name="connsiteX2" fmla="*/ 3114 w 7349"/>
                    <a:gd name="connsiteY2" fmla="*/ 35748 h 51691"/>
                    <a:gd name="connsiteX3" fmla="*/ 7349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0" y="0"/>
                      </a:moveTo>
                      <a:cubicBezTo>
                        <a:pt x="3488" y="7598"/>
                        <a:pt x="4235" y="13950"/>
                        <a:pt x="4360" y="18310"/>
                      </a:cubicBezTo>
                      <a:cubicBezTo>
                        <a:pt x="4485" y="25285"/>
                        <a:pt x="2741" y="28648"/>
                        <a:pt x="3114" y="35748"/>
                      </a:cubicBezTo>
                      <a:cubicBezTo>
                        <a:pt x="3488" y="42599"/>
                        <a:pt x="5605" y="48204"/>
                        <a:pt x="734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0" name="Freeform 7506">
                  <a:extLst>
                    <a:ext uri="{FF2B5EF4-FFF2-40B4-BE49-F238E27FC236}">
                      <a16:creationId xmlns:a16="http://schemas.microsoft.com/office/drawing/2014/main" id="{C36C0180-7279-D678-E5AA-B1BE2EDC9BE2}"/>
                    </a:ext>
                  </a:extLst>
                </p:cNvPr>
                <p:cNvSpPr/>
                <p:nvPr/>
              </p:nvSpPr>
              <p:spPr>
                <a:xfrm>
                  <a:off x="7505001" y="1886251"/>
                  <a:ext cx="26749" cy="26530"/>
                </a:xfrm>
                <a:custGeom>
                  <a:avLst/>
                  <a:gdLst>
                    <a:gd name="connsiteX0" fmla="*/ 97 w 26749"/>
                    <a:gd name="connsiteY0" fmla="*/ 15071 h 26530"/>
                    <a:gd name="connsiteX1" fmla="*/ 11681 w 26749"/>
                    <a:gd name="connsiteY1" fmla="*/ 124 h 26530"/>
                    <a:gd name="connsiteX2" fmla="*/ 26628 w 26749"/>
                    <a:gd name="connsiteY2" fmla="*/ 11459 h 26530"/>
                    <a:gd name="connsiteX3" fmla="*/ 15044 w 26749"/>
                    <a:gd name="connsiteY3" fmla="*/ 26406 h 26530"/>
                    <a:gd name="connsiteX4" fmla="*/ 97 w 2674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0">
                      <a:moveTo>
                        <a:pt x="97" y="15071"/>
                      </a:moveTo>
                      <a:cubicBezTo>
                        <a:pt x="-775" y="7847"/>
                        <a:pt x="4332" y="1121"/>
                        <a:pt x="11681" y="124"/>
                      </a:cubicBezTo>
                      <a:cubicBezTo>
                        <a:pt x="19030" y="-872"/>
                        <a:pt x="25632" y="4235"/>
                        <a:pt x="26628" y="11459"/>
                      </a:cubicBezTo>
                      <a:cubicBezTo>
                        <a:pt x="27624" y="18683"/>
                        <a:pt x="22393" y="25409"/>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1" name="Freeform 7507">
                  <a:extLst>
                    <a:ext uri="{FF2B5EF4-FFF2-40B4-BE49-F238E27FC236}">
                      <a16:creationId xmlns:a16="http://schemas.microsoft.com/office/drawing/2014/main" id="{967A79A3-52FD-2CE1-476B-00520DDB8540}"/>
                    </a:ext>
                  </a:extLst>
                </p:cNvPr>
                <p:cNvSpPr/>
                <p:nvPr/>
              </p:nvSpPr>
              <p:spPr>
                <a:xfrm>
                  <a:off x="7499314" y="1785608"/>
                  <a:ext cx="7456" cy="51815"/>
                </a:xfrm>
                <a:custGeom>
                  <a:avLst/>
                  <a:gdLst>
                    <a:gd name="connsiteX0" fmla="*/ 802 w 7456"/>
                    <a:gd name="connsiteY0" fmla="*/ 0 h 51815"/>
                    <a:gd name="connsiteX1" fmla="*/ 1175 w 7456"/>
                    <a:gd name="connsiteY1" fmla="*/ 18808 h 51815"/>
                    <a:gd name="connsiteX2" fmla="*/ 6656 w 7456"/>
                    <a:gd name="connsiteY2" fmla="*/ 35250 h 51815"/>
                    <a:gd name="connsiteX3" fmla="*/ 6531 w 745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6" h="51815">
                      <a:moveTo>
                        <a:pt x="802" y="0"/>
                      </a:moveTo>
                      <a:cubicBezTo>
                        <a:pt x="-693" y="8345"/>
                        <a:pt x="179" y="14573"/>
                        <a:pt x="1175" y="18808"/>
                      </a:cubicBezTo>
                      <a:cubicBezTo>
                        <a:pt x="2795" y="25659"/>
                        <a:pt x="5286" y="28399"/>
                        <a:pt x="6656" y="35250"/>
                      </a:cubicBezTo>
                      <a:cubicBezTo>
                        <a:pt x="8026" y="41976"/>
                        <a:pt x="7403" y="47830"/>
                        <a:pt x="65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2" name="Freeform 7508">
                  <a:extLst>
                    <a:ext uri="{FF2B5EF4-FFF2-40B4-BE49-F238E27FC236}">
                      <a16:creationId xmlns:a16="http://schemas.microsoft.com/office/drawing/2014/main" id="{C32C7972-E1B0-7F38-08F4-9AF632A105D6}"/>
                    </a:ext>
                  </a:extLst>
                </p:cNvPr>
                <p:cNvSpPr/>
                <p:nvPr/>
              </p:nvSpPr>
              <p:spPr>
                <a:xfrm>
                  <a:off x="7506344" y="1779630"/>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3" name="Freeform 7509">
                  <a:extLst>
                    <a:ext uri="{FF2B5EF4-FFF2-40B4-BE49-F238E27FC236}">
                      <a16:creationId xmlns:a16="http://schemas.microsoft.com/office/drawing/2014/main" id="{717F177D-73B9-484D-3797-707B229E3EDE}"/>
                    </a:ext>
                  </a:extLst>
                </p:cNvPr>
                <p:cNvSpPr/>
                <p:nvPr/>
              </p:nvSpPr>
              <p:spPr>
                <a:xfrm>
                  <a:off x="7489680" y="1764807"/>
                  <a:ext cx="26377" cy="26530"/>
                </a:xfrm>
                <a:custGeom>
                  <a:avLst/>
                  <a:gdLst>
                    <a:gd name="connsiteX0" fmla="*/ 26254 w 26377"/>
                    <a:gd name="connsiteY0" fmla="*/ 11459 h 26530"/>
                    <a:gd name="connsiteX1" fmla="*/ 14795 w 26377"/>
                    <a:gd name="connsiteY1" fmla="*/ 26406 h 26530"/>
                    <a:gd name="connsiteX2" fmla="*/ 97 w 26377"/>
                    <a:gd name="connsiteY2" fmla="*/ 15071 h 26530"/>
                    <a:gd name="connsiteX3" fmla="*/ 11556 w 26377"/>
                    <a:gd name="connsiteY3" fmla="*/ 124 h 26530"/>
                    <a:gd name="connsiteX4" fmla="*/ 26254 w 26377"/>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0">
                      <a:moveTo>
                        <a:pt x="26254" y="11459"/>
                      </a:moveTo>
                      <a:cubicBezTo>
                        <a:pt x="27250" y="18683"/>
                        <a:pt x="22144" y="25409"/>
                        <a:pt x="14795" y="26406"/>
                      </a:cubicBezTo>
                      <a:cubicBezTo>
                        <a:pt x="7570" y="27402"/>
                        <a:pt x="969" y="22296"/>
                        <a:pt x="97" y="15071"/>
                      </a:cubicBezTo>
                      <a:cubicBezTo>
                        <a:pt x="-775" y="7847"/>
                        <a:pt x="4332" y="1121"/>
                        <a:pt x="11556" y="124"/>
                      </a:cubicBezTo>
                      <a:cubicBezTo>
                        <a:pt x="18656" y="-872"/>
                        <a:pt x="25258" y="4235"/>
                        <a:pt x="262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0" name="Graphic 2987">
                <a:extLst>
                  <a:ext uri="{FF2B5EF4-FFF2-40B4-BE49-F238E27FC236}">
                    <a16:creationId xmlns:a16="http://schemas.microsoft.com/office/drawing/2014/main" id="{FC88B351-3D95-178E-D996-91A80ECAC99F}"/>
                  </a:ext>
                </a:extLst>
              </p:cNvPr>
              <p:cNvGrpSpPr/>
              <p:nvPr/>
            </p:nvGrpSpPr>
            <p:grpSpPr>
              <a:xfrm>
                <a:off x="7460409" y="1768791"/>
                <a:ext cx="41546" cy="147976"/>
                <a:chOff x="7460409" y="1768791"/>
                <a:chExt cx="41546" cy="147976"/>
              </a:xfrm>
              <a:grpFill/>
            </p:grpSpPr>
            <p:sp>
              <p:nvSpPr>
                <p:cNvPr id="6612" name="Freeform 7511">
                  <a:extLst>
                    <a:ext uri="{FF2B5EF4-FFF2-40B4-BE49-F238E27FC236}">
                      <a16:creationId xmlns:a16="http://schemas.microsoft.com/office/drawing/2014/main" id="{CDD41A46-CE77-0016-2E43-5085BF5C9D93}"/>
                    </a:ext>
                  </a:extLst>
                </p:cNvPr>
                <p:cNvSpPr/>
                <p:nvPr/>
              </p:nvSpPr>
              <p:spPr>
                <a:xfrm>
                  <a:off x="7484779" y="1844150"/>
                  <a:ext cx="7419" cy="51815"/>
                </a:xfrm>
                <a:custGeom>
                  <a:avLst/>
                  <a:gdLst>
                    <a:gd name="connsiteX0" fmla="*/ 6618 w 7419"/>
                    <a:gd name="connsiteY0" fmla="*/ 51816 h 51815"/>
                    <a:gd name="connsiteX1" fmla="*/ 6244 w 7419"/>
                    <a:gd name="connsiteY1" fmla="*/ 33008 h 51815"/>
                    <a:gd name="connsiteX2" fmla="*/ 763 w 7419"/>
                    <a:gd name="connsiteY2" fmla="*/ 16566 h 51815"/>
                    <a:gd name="connsiteX3" fmla="*/ 888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51816"/>
                      </a:moveTo>
                      <a:cubicBezTo>
                        <a:pt x="8113" y="43471"/>
                        <a:pt x="7241" y="37243"/>
                        <a:pt x="6244" y="33008"/>
                      </a:cubicBezTo>
                      <a:cubicBezTo>
                        <a:pt x="4625" y="26157"/>
                        <a:pt x="2134" y="23417"/>
                        <a:pt x="763" y="16566"/>
                      </a:cubicBezTo>
                      <a:cubicBezTo>
                        <a:pt x="-607" y="9840"/>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3" name="Freeform 7512">
                  <a:extLst>
                    <a:ext uri="{FF2B5EF4-FFF2-40B4-BE49-F238E27FC236}">
                      <a16:creationId xmlns:a16="http://schemas.microsoft.com/office/drawing/2014/main" id="{1735B8B9-C83C-4FE9-1456-624A6F852D69}"/>
                    </a:ext>
                  </a:extLst>
                </p:cNvPr>
                <p:cNvSpPr/>
                <p:nvPr/>
              </p:nvSpPr>
              <p:spPr>
                <a:xfrm>
                  <a:off x="7477944" y="1850254"/>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598"/>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4" name="Freeform 7513">
                  <a:extLst>
                    <a:ext uri="{FF2B5EF4-FFF2-40B4-BE49-F238E27FC236}">
                      <a16:creationId xmlns:a16="http://schemas.microsoft.com/office/drawing/2014/main" id="{34703C7E-9A78-63E5-6D6E-23B64B88E8DE}"/>
                    </a:ext>
                  </a:extLst>
                </p:cNvPr>
                <p:cNvSpPr/>
                <p:nvPr/>
              </p:nvSpPr>
              <p:spPr>
                <a:xfrm>
                  <a:off x="7475356" y="1890237"/>
                  <a:ext cx="26600" cy="26530"/>
                </a:xfrm>
                <a:custGeom>
                  <a:avLst/>
                  <a:gdLst>
                    <a:gd name="connsiteX0" fmla="*/ 97 w 26600"/>
                    <a:gd name="connsiteY0" fmla="*/ 15071 h 26530"/>
                    <a:gd name="connsiteX1" fmla="*/ 11681 w 26600"/>
                    <a:gd name="connsiteY1" fmla="*/ 124 h 26530"/>
                    <a:gd name="connsiteX2" fmla="*/ 26504 w 26600"/>
                    <a:gd name="connsiteY2" fmla="*/ 11459 h 26530"/>
                    <a:gd name="connsiteX3" fmla="*/ 14919 w 26600"/>
                    <a:gd name="connsiteY3" fmla="*/ 26406 h 26530"/>
                    <a:gd name="connsiteX4" fmla="*/ 97 w 26600"/>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0">
                      <a:moveTo>
                        <a:pt x="97" y="15071"/>
                      </a:moveTo>
                      <a:cubicBezTo>
                        <a:pt x="-775" y="7847"/>
                        <a:pt x="4332" y="1121"/>
                        <a:pt x="11681" y="124"/>
                      </a:cubicBezTo>
                      <a:cubicBezTo>
                        <a:pt x="19030" y="-872"/>
                        <a:pt x="25632" y="4235"/>
                        <a:pt x="26504" y="11459"/>
                      </a:cubicBezTo>
                      <a:cubicBezTo>
                        <a:pt x="27375" y="18683"/>
                        <a:pt x="22268" y="25409"/>
                        <a:pt x="14919" y="26406"/>
                      </a:cubicBezTo>
                      <a:cubicBezTo>
                        <a:pt x="7571"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5" name="Freeform 7514">
                  <a:extLst>
                    <a:ext uri="{FF2B5EF4-FFF2-40B4-BE49-F238E27FC236}">
                      <a16:creationId xmlns:a16="http://schemas.microsoft.com/office/drawing/2014/main" id="{C85381B4-D14B-047A-8625-6001CAE2C5F1}"/>
                    </a:ext>
                  </a:extLst>
                </p:cNvPr>
                <p:cNvSpPr/>
                <p:nvPr/>
              </p:nvSpPr>
              <p:spPr>
                <a:xfrm>
                  <a:off x="7470042" y="1789470"/>
                  <a:ext cx="7419" cy="51815"/>
                </a:xfrm>
                <a:custGeom>
                  <a:avLst/>
                  <a:gdLst>
                    <a:gd name="connsiteX0" fmla="*/ 802 w 7419"/>
                    <a:gd name="connsiteY0" fmla="*/ 0 h 51815"/>
                    <a:gd name="connsiteX1" fmla="*/ 1176 w 7419"/>
                    <a:gd name="connsiteY1" fmla="*/ 18808 h 51815"/>
                    <a:gd name="connsiteX2" fmla="*/ 6656 w 7419"/>
                    <a:gd name="connsiteY2" fmla="*/ 35250 h 51815"/>
                    <a:gd name="connsiteX3" fmla="*/ 6532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802" y="0"/>
                      </a:moveTo>
                      <a:cubicBezTo>
                        <a:pt x="-693" y="8345"/>
                        <a:pt x="179" y="14573"/>
                        <a:pt x="1176" y="18808"/>
                      </a:cubicBezTo>
                      <a:cubicBezTo>
                        <a:pt x="2795" y="25659"/>
                        <a:pt x="5287" y="28399"/>
                        <a:pt x="6656" y="35250"/>
                      </a:cubicBezTo>
                      <a:cubicBezTo>
                        <a:pt x="8026" y="41976"/>
                        <a:pt x="7279" y="47955"/>
                        <a:pt x="653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6" name="Freeform 7515">
                  <a:extLst>
                    <a:ext uri="{FF2B5EF4-FFF2-40B4-BE49-F238E27FC236}">
                      <a16:creationId xmlns:a16="http://schemas.microsoft.com/office/drawing/2014/main" id="{62874129-7A0C-66E8-A413-1C7E437009C2}"/>
                    </a:ext>
                  </a:extLst>
                </p:cNvPr>
                <p:cNvSpPr/>
                <p:nvPr/>
              </p:nvSpPr>
              <p:spPr>
                <a:xfrm>
                  <a:off x="7477197" y="1783491"/>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3" y="44093"/>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7" name="Freeform 7516">
                  <a:extLst>
                    <a:ext uri="{FF2B5EF4-FFF2-40B4-BE49-F238E27FC236}">
                      <a16:creationId xmlns:a16="http://schemas.microsoft.com/office/drawing/2014/main" id="{6B3F831F-5D4D-6F26-84DC-34CA6A208DED}"/>
                    </a:ext>
                  </a:extLst>
                </p:cNvPr>
                <p:cNvSpPr/>
                <p:nvPr/>
              </p:nvSpPr>
              <p:spPr>
                <a:xfrm>
                  <a:off x="7460409" y="1768791"/>
                  <a:ext cx="26350" cy="26532"/>
                </a:xfrm>
                <a:custGeom>
                  <a:avLst/>
                  <a:gdLst>
                    <a:gd name="connsiteX0" fmla="*/ 26254 w 26350"/>
                    <a:gd name="connsiteY0" fmla="*/ 11461 h 26532"/>
                    <a:gd name="connsiteX1" fmla="*/ 14795 w 26350"/>
                    <a:gd name="connsiteY1" fmla="*/ 26408 h 26532"/>
                    <a:gd name="connsiteX2" fmla="*/ 97 w 26350"/>
                    <a:gd name="connsiteY2" fmla="*/ 15074 h 26532"/>
                    <a:gd name="connsiteX3" fmla="*/ 11556 w 26350"/>
                    <a:gd name="connsiteY3" fmla="*/ 127 h 26532"/>
                    <a:gd name="connsiteX4" fmla="*/ 26254 w 26350"/>
                    <a:gd name="connsiteY4" fmla="*/ 1146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531">
                      <a:moveTo>
                        <a:pt x="26254" y="11461"/>
                      </a:moveTo>
                      <a:cubicBezTo>
                        <a:pt x="27126" y="18686"/>
                        <a:pt x="22018" y="25412"/>
                        <a:pt x="14795" y="26408"/>
                      </a:cubicBezTo>
                      <a:cubicBezTo>
                        <a:pt x="7570" y="27405"/>
                        <a:pt x="969" y="22298"/>
                        <a:pt x="97" y="15074"/>
                      </a:cubicBezTo>
                      <a:cubicBezTo>
                        <a:pt x="-775" y="7849"/>
                        <a:pt x="4331" y="1123"/>
                        <a:pt x="11556" y="127"/>
                      </a:cubicBezTo>
                      <a:cubicBezTo>
                        <a:pt x="18781" y="-870"/>
                        <a:pt x="25382" y="4113"/>
                        <a:pt x="26254" y="114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1" name="Graphic 2987">
                <a:extLst>
                  <a:ext uri="{FF2B5EF4-FFF2-40B4-BE49-F238E27FC236}">
                    <a16:creationId xmlns:a16="http://schemas.microsoft.com/office/drawing/2014/main" id="{0585EFBA-4226-517E-3A72-AE4C3A8B4867}"/>
                  </a:ext>
                </a:extLst>
              </p:cNvPr>
              <p:cNvGrpSpPr/>
              <p:nvPr/>
            </p:nvGrpSpPr>
            <p:grpSpPr>
              <a:xfrm>
                <a:off x="7431263" y="1772477"/>
                <a:ext cx="41171" cy="148201"/>
                <a:chOff x="7431263" y="1772477"/>
                <a:chExt cx="41171" cy="148201"/>
              </a:xfrm>
              <a:grpFill/>
            </p:grpSpPr>
            <p:sp>
              <p:nvSpPr>
                <p:cNvPr id="6606" name="Freeform 7518">
                  <a:extLst>
                    <a:ext uri="{FF2B5EF4-FFF2-40B4-BE49-F238E27FC236}">
                      <a16:creationId xmlns:a16="http://schemas.microsoft.com/office/drawing/2014/main" id="{8AD30897-3D34-B768-6806-624AC568FC65}"/>
                    </a:ext>
                  </a:extLst>
                </p:cNvPr>
                <p:cNvSpPr/>
                <p:nvPr/>
              </p:nvSpPr>
              <p:spPr>
                <a:xfrm>
                  <a:off x="7455383" y="1848012"/>
                  <a:ext cx="7338" cy="51815"/>
                </a:xfrm>
                <a:custGeom>
                  <a:avLst/>
                  <a:gdLst>
                    <a:gd name="connsiteX0" fmla="*/ 6493 w 7338"/>
                    <a:gd name="connsiteY0" fmla="*/ 51816 h 51815"/>
                    <a:gd name="connsiteX1" fmla="*/ 6244 w 7338"/>
                    <a:gd name="connsiteY1" fmla="*/ 33008 h 51815"/>
                    <a:gd name="connsiteX2" fmla="*/ 763 w 7338"/>
                    <a:gd name="connsiteY2" fmla="*/ 16442 h 51815"/>
                    <a:gd name="connsiteX3" fmla="*/ 888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6493" y="51816"/>
                      </a:moveTo>
                      <a:cubicBezTo>
                        <a:pt x="7988" y="43595"/>
                        <a:pt x="7241" y="37243"/>
                        <a:pt x="6244" y="33008"/>
                      </a:cubicBezTo>
                      <a:cubicBezTo>
                        <a:pt x="4625" y="26157"/>
                        <a:pt x="2133" y="23417"/>
                        <a:pt x="763" y="16442"/>
                      </a:cubicBezTo>
                      <a:cubicBezTo>
                        <a:pt x="-607" y="9715"/>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7" name="Freeform 7519">
                  <a:extLst>
                    <a:ext uri="{FF2B5EF4-FFF2-40B4-BE49-F238E27FC236}">
                      <a16:creationId xmlns:a16="http://schemas.microsoft.com/office/drawing/2014/main" id="{D9440FED-9B10-0EC7-DE64-FF0334346F37}"/>
                    </a:ext>
                  </a:extLst>
                </p:cNvPr>
                <p:cNvSpPr/>
                <p:nvPr/>
              </p:nvSpPr>
              <p:spPr>
                <a:xfrm>
                  <a:off x="7448549" y="1853990"/>
                  <a:ext cx="6975" cy="51691"/>
                </a:xfrm>
                <a:custGeom>
                  <a:avLst/>
                  <a:gdLst>
                    <a:gd name="connsiteX0" fmla="*/ 0 w 6975"/>
                    <a:gd name="connsiteY0" fmla="*/ 0 h 51691"/>
                    <a:gd name="connsiteX1" fmla="*/ 4235 w 6975"/>
                    <a:gd name="connsiteY1" fmla="*/ 18310 h 51691"/>
                    <a:gd name="connsiteX2" fmla="*/ 2865 w 6975"/>
                    <a:gd name="connsiteY2" fmla="*/ 35624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488" y="7723"/>
                        <a:pt x="4235" y="13950"/>
                        <a:pt x="4235" y="18310"/>
                      </a:cubicBezTo>
                      <a:cubicBezTo>
                        <a:pt x="4359" y="25285"/>
                        <a:pt x="2491" y="28524"/>
                        <a:pt x="2865" y="35624"/>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8" name="Freeform 7520">
                  <a:extLst>
                    <a:ext uri="{FF2B5EF4-FFF2-40B4-BE49-F238E27FC236}">
                      <a16:creationId xmlns:a16="http://schemas.microsoft.com/office/drawing/2014/main" id="{16C9F9D7-B159-8918-A778-5C73F0FC220E}"/>
                    </a:ext>
                  </a:extLst>
                </p:cNvPr>
                <p:cNvSpPr/>
                <p:nvPr/>
              </p:nvSpPr>
              <p:spPr>
                <a:xfrm>
                  <a:off x="7445714" y="1894149"/>
                  <a:ext cx="26720" cy="26530"/>
                </a:xfrm>
                <a:custGeom>
                  <a:avLst/>
                  <a:gdLst>
                    <a:gd name="connsiteX0" fmla="*/ 95 w 26720"/>
                    <a:gd name="connsiteY0" fmla="*/ 14647 h 26530"/>
                    <a:gd name="connsiteX1" fmla="*/ 11803 w 26720"/>
                    <a:gd name="connsiteY1" fmla="*/ 74 h 26530"/>
                    <a:gd name="connsiteX2" fmla="*/ 26625 w 26720"/>
                    <a:gd name="connsiteY2" fmla="*/ 11658 h 26530"/>
                    <a:gd name="connsiteX3" fmla="*/ 15041 w 26720"/>
                    <a:gd name="connsiteY3" fmla="*/ 26480 h 26530"/>
                    <a:gd name="connsiteX4" fmla="*/ 95 w 26720"/>
                    <a:gd name="connsiteY4" fmla="*/ 14647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30">
                      <a:moveTo>
                        <a:pt x="95" y="14647"/>
                      </a:moveTo>
                      <a:cubicBezTo>
                        <a:pt x="-777" y="7423"/>
                        <a:pt x="4454" y="821"/>
                        <a:pt x="11803" y="74"/>
                      </a:cubicBezTo>
                      <a:cubicBezTo>
                        <a:pt x="19152" y="-673"/>
                        <a:pt x="25754" y="4309"/>
                        <a:pt x="26625" y="11658"/>
                      </a:cubicBezTo>
                      <a:cubicBezTo>
                        <a:pt x="27497" y="18882"/>
                        <a:pt x="22266" y="25733"/>
                        <a:pt x="15041" y="26480"/>
                      </a:cubicBezTo>
                      <a:cubicBezTo>
                        <a:pt x="7693" y="27103"/>
                        <a:pt x="966" y="21872"/>
                        <a:pt x="95" y="146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9" name="Freeform 7521">
                  <a:extLst>
                    <a:ext uri="{FF2B5EF4-FFF2-40B4-BE49-F238E27FC236}">
                      <a16:creationId xmlns:a16="http://schemas.microsoft.com/office/drawing/2014/main" id="{F661F957-FEC3-E447-AF54-53F3A14D064F}"/>
                    </a:ext>
                  </a:extLst>
                </p:cNvPr>
                <p:cNvSpPr/>
                <p:nvPr/>
              </p:nvSpPr>
              <p:spPr>
                <a:xfrm>
                  <a:off x="7440728" y="1793206"/>
                  <a:ext cx="7338" cy="51815"/>
                </a:xfrm>
                <a:custGeom>
                  <a:avLst/>
                  <a:gdLst>
                    <a:gd name="connsiteX0" fmla="*/ 845 w 7338"/>
                    <a:gd name="connsiteY0" fmla="*/ 0 h 51815"/>
                    <a:gd name="connsiteX1" fmla="*/ 1095 w 7338"/>
                    <a:gd name="connsiteY1" fmla="*/ 18808 h 51815"/>
                    <a:gd name="connsiteX2" fmla="*/ 6575 w 7338"/>
                    <a:gd name="connsiteY2" fmla="*/ 35374 h 51815"/>
                    <a:gd name="connsiteX3" fmla="*/ 6450 w 73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38" h="51815">
                      <a:moveTo>
                        <a:pt x="845" y="0"/>
                      </a:moveTo>
                      <a:cubicBezTo>
                        <a:pt x="-649" y="8221"/>
                        <a:pt x="98" y="14573"/>
                        <a:pt x="1095" y="18808"/>
                      </a:cubicBezTo>
                      <a:cubicBezTo>
                        <a:pt x="2714" y="25659"/>
                        <a:pt x="5204" y="28399"/>
                        <a:pt x="6575" y="35374"/>
                      </a:cubicBezTo>
                      <a:cubicBezTo>
                        <a:pt x="7945" y="42101"/>
                        <a:pt x="7198" y="47955"/>
                        <a:pt x="645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0" name="Freeform 7522">
                  <a:extLst>
                    <a:ext uri="{FF2B5EF4-FFF2-40B4-BE49-F238E27FC236}">
                      <a16:creationId xmlns:a16="http://schemas.microsoft.com/office/drawing/2014/main" id="{2BABF40F-EE8A-52C1-EA1C-662E73C51961}"/>
                    </a:ext>
                  </a:extLst>
                </p:cNvPr>
                <p:cNvSpPr/>
                <p:nvPr/>
              </p:nvSpPr>
              <p:spPr>
                <a:xfrm>
                  <a:off x="7448051" y="1787477"/>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487" y="43969"/>
                        <a:pt x="2740" y="37741"/>
                        <a:pt x="2740" y="33381"/>
                      </a:cubicBezTo>
                      <a:cubicBezTo>
                        <a:pt x="2615" y="26406"/>
                        <a:pt x="4359" y="23168"/>
                        <a:pt x="4110"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1" name="Freeform 7523">
                  <a:extLst>
                    <a:ext uri="{FF2B5EF4-FFF2-40B4-BE49-F238E27FC236}">
                      <a16:creationId xmlns:a16="http://schemas.microsoft.com/office/drawing/2014/main" id="{ED78D1C9-7990-4196-DBEC-93A0B6FD2F93}"/>
                    </a:ext>
                  </a:extLst>
                </p:cNvPr>
                <p:cNvSpPr/>
                <p:nvPr/>
              </p:nvSpPr>
              <p:spPr>
                <a:xfrm>
                  <a:off x="7431263" y="1772477"/>
                  <a:ext cx="26350" cy="26405"/>
                </a:xfrm>
                <a:custGeom>
                  <a:avLst/>
                  <a:gdLst>
                    <a:gd name="connsiteX0" fmla="*/ 26254 w 26350"/>
                    <a:gd name="connsiteY0" fmla="*/ 11636 h 26405"/>
                    <a:gd name="connsiteX1" fmla="*/ 14795 w 26350"/>
                    <a:gd name="connsiteY1" fmla="*/ 26334 h 26405"/>
                    <a:gd name="connsiteX2" fmla="*/ 97 w 26350"/>
                    <a:gd name="connsiteY2" fmla="*/ 14626 h 26405"/>
                    <a:gd name="connsiteX3" fmla="*/ 11556 w 26350"/>
                    <a:gd name="connsiteY3" fmla="*/ 52 h 26405"/>
                    <a:gd name="connsiteX4" fmla="*/ 26254 w 26350"/>
                    <a:gd name="connsiteY4" fmla="*/ 1163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05">
                      <a:moveTo>
                        <a:pt x="26254" y="11636"/>
                      </a:moveTo>
                      <a:cubicBezTo>
                        <a:pt x="27126" y="18861"/>
                        <a:pt x="22019" y="25711"/>
                        <a:pt x="14795" y="26334"/>
                      </a:cubicBezTo>
                      <a:cubicBezTo>
                        <a:pt x="7570" y="27082"/>
                        <a:pt x="969" y="21850"/>
                        <a:pt x="97" y="14626"/>
                      </a:cubicBezTo>
                      <a:cubicBezTo>
                        <a:pt x="-775" y="7401"/>
                        <a:pt x="4332" y="800"/>
                        <a:pt x="11556" y="52"/>
                      </a:cubicBezTo>
                      <a:cubicBezTo>
                        <a:pt x="18781" y="-570"/>
                        <a:pt x="25258" y="4412"/>
                        <a:pt x="26254" y="116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2" name="Graphic 2987">
                <a:extLst>
                  <a:ext uri="{FF2B5EF4-FFF2-40B4-BE49-F238E27FC236}">
                    <a16:creationId xmlns:a16="http://schemas.microsoft.com/office/drawing/2014/main" id="{5F7D9A10-6787-A6F1-6784-DB9B647314BB}"/>
                  </a:ext>
                </a:extLst>
              </p:cNvPr>
              <p:cNvGrpSpPr/>
              <p:nvPr/>
            </p:nvGrpSpPr>
            <p:grpSpPr>
              <a:xfrm>
                <a:off x="7401744" y="1775820"/>
                <a:ext cx="41045" cy="147993"/>
                <a:chOff x="7401744" y="1775820"/>
                <a:chExt cx="41045" cy="147993"/>
              </a:xfrm>
              <a:grpFill/>
            </p:grpSpPr>
            <p:sp>
              <p:nvSpPr>
                <p:cNvPr id="6600" name="Freeform 7525">
                  <a:extLst>
                    <a:ext uri="{FF2B5EF4-FFF2-40B4-BE49-F238E27FC236}">
                      <a16:creationId xmlns:a16="http://schemas.microsoft.com/office/drawing/2014/main" id="{48DC2A30-3A88-BF25-8702-72DCCE94684E}"/>
                    </a:ext>
                  </a:extLst>
                </p:cNvPr>
                <p:cNvSpPr/>
                <p:nvPr/>
              </p:nvSpPr>
              <p:spPr>
                <a:xfrm>
                  <a:off x="7425800" y="1851250"/>
                  <a:ext cx="7276" cy="51816"/>
                </a:xfrm>
                <a:custGeom>
                  <a:avLst/>
                  <a:gdLst>
                    <a:gd name="connsiteX0" fmla="*/ 6431 w 7276"/>
                    <a:gd name="connsiteY0" fmla="*/ 51816 h 51816"/>
                    <a:gd name="connsiteX1" fmla="*/ 6182 w 7276"/>
                    <a:gd name="connsiteY1" fmla="*/ 33008 h 51816"/>
                    <a:gd name="connsiteX2" fmla="*/ 701 w 7276"/>
                    <a:gd name="connsiteY2" fmla="*/ 16442 h 51816"/>
                    <a:gd name="connsiteX3" fmla="*/ 951 w 7276"/>
                    <a:gd name="connsiteY3" fmla="*/ 0 h 51816"/>
                  </a:gdLst>
                  <a:ahLst/>
                  <a:cxnLst>
                    <a:cxn ang="0">
                      <a:pos x="connsiteX0" y="connsiteY0"/>
                    </a:cxn>
                    <a:cxn ang="0">
                      <a:pos x="connsiteX1" y="connsiteY1"/>
                    </a:cxn>
                    <a:cxn ang="0">
                      <a:pos x="connsiteX2" y="connsiteY2"/>
                    </a:cxn>
                    <a:cxn ang="0">
                      <a:pos x="connsiteX3" y="connsiteY3"/>
                    </a:cxn>
                  </a:cxnLst>
                  <a:rect l="l" t="t" r="r" b="b"/>
                  <a:pathLst>
                    <a:path w="7276" h="51816">
                      <a:moveTo>
                        <a:pt x="6431" y="51816"/>
                      </a:moveTo>
                      <a:cubicBezTo>
                        <a:pt x="7926" y="43595"/>
                        <a:pt x="7179" y="37243"/>
                        <a:pt x="6182" y="33008"/>
                      </a:cubicBezTo>
                      <a:cubicBezTo>
                        <a:pt x="4563" y="26157"/>
                        <a:pt x="2072" y="23417"/>
                        <a:pt x="701" y="16442"/>
                      </a:cubicBezTo>
                      <a:cubicBezTo>
                        <a:pt x="-544" y="9716"/>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1" name="Freeform 7526">
                  <a:extLst>
                    <a:ext uri="{FF2B5EF4-FFF2-40B4-BE49-F238E27FC236}">
                      <a16:creationId xmlns:a16="http://schemas.microsoft.com/office/drawing/2014/main" id="{69690B42-2DA1-C8C6-F20B-CE78D5D48C67}"/>
                    </a:ext>
                  </a:extLst>
                </p:cNvPr>
                <p:cNvSpPr/>
                <p:nvPr/>
              </p:nvSpPr>
              <p:spPr>
                <a:xfrm>
                  <a:off x="7419028" y="1857229"/>
                  <a:ext cx="6975" cy="51691"/>
                </a:xfrm>
                <a:custGeom>
                  <a:avLst/>
                  <a:gdLst>
                    <a:gd name="connsiteX0" fmla="*/ 0 w 6975"/>
                    <a:gd name="connsiteY0" fmla="*/ 0 h 51691"/>
                    <a:gd name="connsiteX1" fmla="*/ 4235 w 6975"/>
                    <a:gd name="connsiteY1" fmla="*/ 18310 h 51691"/>
                    <a:gd name="connsiteX2" fmla="*/ 2865 w 6975"/>
                    <a:gd name="connsiteY2" fmla="*/ 35623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363" y="7723"/>
                        <a:pt x="4111" y="14075"/>
                        <a:pt x="4235" y="18310"/>
                      </a:cubicBezTo>
                      <a:cubicBezTo>
                        <a:pt x="4235" y="25285"/>
                        <a:pt x="2491" y="28524"/>
                        <a:pt x="2865" y="35623"/>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2" name="Freeform 7527">
                  <a:extLst>
                    <a:ext uri="{FF2B5EF4-FFF2-40B4-BE49-F238E27FC236}">
                      <a16:creationId xmlns:a16="http://schemas.microsoft.com/office/drawing/2014/main" id="{E7DDBEF9-A6FE-1E48-22C8-8DE90FA4541E}"/>
                    </a:ext>
                  </a:extLst>
                </p:cNvPr>
                <p:cNvSpPr/>
                <p:nvPr/>
              </p:nvSpPr>
              <p:spPr>
                <a:xfrm>
                  <a:off x="7416069" y="1897390"/>
                  <a:ext cx="26720" cy="26423"/>
                </a:xfrm>
                <a:custGeom>
                  <a:avLst/>
                  <a:gdLst>
                    <a:gd name="connsiteX0" fmla="*/ 95 w 26720"/>
                    <a:gd name="connsiteY0" fmla="*/ 14644 h 26423"/>
                    <a:gd name="connsiteX1" fmla="*/ 11803 w 26720"/>
                    <a:gd name="connsiteY1" fmla="*/ 71 h 26423"/>
                    <a:gd name="connsiteX2" fmla="*/ 26626 w 26720"/>
                    <a:gd name="connsiteY2" fmla="*/ 11779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79"/>
                      </a:cubicBezTo>
                      <a:cubicBezTo>
                        <a:pt x="27497" y="19004"/>
                        <a:pt x="22266" y="25605"/>
                        <a:pt x="14917" y="26353"/>
                      </a:cubicBezTo>
                      <a:cubicBezTo>
                        <a:pt x="7568" y="27100"/>
                        <a:pt x="966"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3" name="Freeform 7528">
                  <a:extLst>
                    <a:ext uri="{FF2B5EF4-FFF2-40B4-BE49-F238E27FC236}">
                      <a16:creationId xmlns:a16="http://schemas.microsoft.com/office/drawing/2014/main" id="{76EF4AA5-C99B-BE24-0265-CEC2BB8B27F3}"/>
                    </a:ext>
                  </a:extLst>
                </p:cNvPr>
                <p:cNvSpPr/>
                <p:nvPr/>
              </p:nvSpPr>
              <p:spPr>
                <a:xfrm>
                  <a:off x="7411457" y="1796445"/>
                  <a:ext cx="7151" cy="51815"/>
                </a:xfrm>
                <a:custGeom>
                  <a:avLst/>
                  <a:gdLst>
                    <a:gd name="connsiteX0" fmla="*/ 846 w 7151"/>
                    <a:gd name="connsiteY0" fmla="*/ 0 h 51815"/>
                    <a:gd name="connsiteX1" fmla="*/ 1094 w 7151"/>
                    <a:gd name="connsiteY1" fmla="*/ 18808 h 51815"/>
                    <a:gd name="connsiteX2" fmla="*/ 6450 w 7151"/>
                    <a:gd name="connsiteY2" fmla="*/ 35374 h 51815"/>
                    <a:gd name="connsiteX3" fmla="*/ 620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846" y="0"/>
                      </a:moveTo>
                      <a:cubicBezTo>
                        <a:pt x="-650" y="8221"/>
                        <a:pt x="98" y="14573"/>
                        <a:pt x="1094" y="18808"/>
                      </a:cubicBezTo>
                      <a:cubicBezTo>
                        <a:pt x="2713" y="25659"/>
                        <a:pt x="5205"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4" name="Freeform 7529">
                  <a:extLst>
                    <a:ext uri="{FF2B5EF4-FFF2-40B4-BE49-F238E27FC236}">
                      <a16:creationId xmlns:a16="http://schemas.microsoft.com/office/drawing/2014/main" id="{61BCE5DF-2143-8751-88F0-E3FC316A080C}"/>
                    </a:ext>
                  </a:extLst>
                </p:cNvPr>
                <p:cNvSpPr/>
                <p:nvPr/>
              </p:nvSpPr>
              <p:spPr>
                <a:xfrm>
                  <a:off x="7418531" y="1790715"/>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612" y="43969"/>
                        <a:pt x="2865" y="37616"/>
                        <a:pt x="2740" y="33381"/>
                      </a:cubicBezTo>
                      <a:cubicBezTo>
                        <a:pt x="2740" y="26406"/>
                        <a:pt x="4484" y="23168"/>
                        <a:pt x="4110"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5" name="Freeform 7530">
                  <a:extLst>
                    <a:ext uri="{FF2B5EF4-FFF2-40B4-BE49-F238E27FC236}">
                      <a16:creationId xmlns:a16="http://schemas.microsoft.com/office/drawing/2014/main" id="{1A88D695-18AE-84F9-5487-6E9354D4B16A}"/>
                    </a:ext>
                  </a:extLst>
                </p:cNvPr>
                <p:cNvSpPr/>
                <p:nvPr/>
              </p:nvSpPr>
              <p:spPr>
                <a:xfrm>
                  <a:off x="7401744" y="1775820"/>
                  <a:ext cx="26471" cy="26425"/>
                </a:xfrm>
                <a:custGeom>
                  <a:avLst/>
                  <a:gdLst>
                    <a:gd name="connsiteX0" fmla="*/ 26376 w 26471"/>
                    <a:gd name="connsiteY0" fmla="*/ 11781 h 26425"/>
                    <a:gd name="connsiteX1" fmla="*/ 14793 w 26471"/>
                    <a:gd name="connsiteY1" fmla="*/ 26354 h 26425"/>
                    <a:gd name="connsiteX2" fmla="*/ 95 w 26471"/>
                    <a:gd name="connsiteY2" fmla="*/ 14646 h 26425"/>
                    <a:gd name="connsiteX3" fmla="*/ 11679 w 26471"/>
                    <a:gd name="connsiteY3" fmla="*/ 73 h 26425"/>
                    <a:gd name="connsiteX4" fmla="*/ 26376 w 26471"/>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4">
                      <a:moveTo>
                        <a:pt x="26376" y="11781"/>
                      </a:moveTo>
                      <a:cubicBezTo>
                        <a:pt x="27248" y="19005"/>
                        <a:pt x="22017" y="25607"/>
                        <a:pt x="14793" y="26354"/>
                      </a:cubicBezTo>
                      <a:cubicBezTo>
                        <a:pt x="7568" y="27102"/>
                        <a:pt x="967" y="21870"/>
                        <a:pt x="95" y="14646"/>
                      </a:cubicBezTo>
                      <a:cubicBezTo>
                        <a:pt x="-777" y="7421"/>
                        <a:pt x="4454" y="820"/>
                        <a:pt x="11679" y="73"/>
                      </a:cubicBezTo>
                      <a:cubicBezTo>
                        <a:pt x="18903" y="-675"/>
                        <a:pt x="25504" y="4432"/>
                        <a:pt x="26376"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3" name="Graphic 2987">
                <a:extLst>
                  <a:ext uri="{FF2B5EF4-FFF2-40B4-BE49-F238E27FC236}">
                    <a16:creationId xmlns:a16="http://schemas.microsoft.com/office/drawing/2014/main" id="{12B65D5B-4A02-1D07-5572-1F706C081337}"/>
                  </a:ext>
                </a:extLst>
              </p:cNvPr>
              <p:cNvGrpSpPr/>
              <p:nvPr/>
            </p:nvGrpSpPr>
            <p:grpSpPr>
              <a:xfrm>
                <a:off x="7372474" y="1778936"/>
                <a:ext cx="40671" cy="148116"/>
                <a:chOff x="7372474" y="1778936"/>
                <a:chExt cx="40671" cy="148116"/>
              </a:xfrm>
              <a:grpFill/>
            </p:grpSpPr>
            <p:sp>
              <p:nvSpPr>
                <p:cNvPr id="6594" name="Freeform 7532">
                  <a:extLst>
                    <a:ext uri="{FF2B5EF4-FFF2-40B4-BE49-F238E27FC236}">
                      <a16:creationId xmlns:a16="http://schemas.microsoft.com/office/drawing/2014/main" id="{EC17DBF0-4BD8-82C9-87F7-86EB41739CF3}"/>
                    </a:ext>
                  </a:extLst>
                </p:cNvPr>
                <p:cNvSpPr/>
                <p:nvPr/>
              </p:nvSpPr>
              <p:spPr>
                <a:xfrm>
                  <a:off x="7396440" y="1854489"/>
                  <a:ext cx="7116" cy="51815"/>
                </a:xfrm>
                <a:custGeom>
                  <a:avLst/>
                  <a:gdLst>
                    <a:gd name="connsiteX0" fmla="*/ 6271 w 7116"/>
                    <a:gd name="connsiteY0" fmla="*/ 51816 h 51815"/>
                    <a:gd name="connsiteX1" fmla="*/ 6022 w 7116"/>
                    <a:gd name="connsiteY1" fmla="*/ 33008 h 51815"/>
                    <a:gd name="connsiteX2" fmla="*/ 666 w 7116"/>
                    <a:gd name="connsiteY2" fmla="*/ 16442 h 51815"/>
                    <a:gd name="connsiteX3" fmla="*/ 915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6271" y="51816"/>
                      </a:moveTo>
                      <a:cubicBezTo>
                        <a:pt x="7766" y="43595"/>
                        <a:pt x="7019" y="37243"/>
                        <a:pt x="6022" y="33008"/>
                      </a:cubicBezTo>
                      <a:cubicBezTo>
                        <a:pt x="4403" y="26157"/>
                        <a:pt x="1911" y="23417"/>
                        <a:pt x="666" y="16442"/>
                      </a:cubicBezTo>
                      <a:cubicBezTo>
                        <a:pt x="-579" y="9715"/>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5" name="Freeform 7533">
                  <a:extLst>
                    <a:ext uri="{FF2B5EF4-FFF2-40B4-BE49-F238E27FC236}">
                      <a16:creationId xmlns:a16="http://schemas.microsoft.com/office/drawing/2014/main" id="{6CE27ACF-7A30-E077-1D49-EA26D0137A4B}"/>
                    </a:ext>
                  </a:extLst>
                </p:cNvPr>
                <p:cNvSpPr/>
                <p:nvPr/>
              </p:nvSpPr>
              <p:spPr>
                <a:xfrm>
                  <a:off x="7389508" y="1860343"/>
                  <a:ext cx="6601" cy="51691"/>
                </a:xfrm>
                <a:custGeom>
                  <a:avLst/>
                  <a:gdLst>
                    <a:gd name="connsiteX0" fmla="*/ 0 w 6601"/>
                    <a:gd name="connsiteY0" fmla="*/ 0 h 51691"/>
                    <a:gd name="connsiteX1" fmla="*/ 4111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1" y="14075"/>
                        <a:pt x="4111" y="18310"/>
                      </a:cubicBezTo>
                      <a:cubicBezTo>
                        <a:pt x="4111" y="25285"/>
                        <a:pt x="2367" y="28524"/>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6" name="Freeform 7534">
                  <a:extLst>
                    <a:ext uri="{FF2B5EF4-FFF2-40B4-BE49-F238E27FC236}">
                      <a16:creationId xmlns:a16="http://schemas.microsoft.com/office/drawing/2014/main" id="{AAAB678C-8B24-1313-4FF2-BBCCB0A449DE}"/>
                    </a:ext>
                  </a:extLst>
                </p:cNvPr>
                <p:cNvSpPr/>
                <p:nvPr/>
              </p:nvSpPr>
              <p:spPr>
                <a:xfrm>
                  <a:off x="7386424" y="1900629"/>
                  <a:ext cx="26720" cy="26423"/>
                </a:xfrm>
                <a:custGeom>
                  <a:avLst/>
                  <a:gdLst>
                    <a:gd name="connsiteX0" fmla="*/ 95 w 26720"/>
                    <a:gd name="connsiteY0" fmla="*/ 14644 h 26423"/>
                    <a:gd name="connsiteX1" fmla="*/ 11803 w 26720"/>
                    <a:gd name="connsiteY1" fmla="*/ 71 h 26423"/>
                    <a:gd name="connsiteX2" fmla="*/ 26626 w 26720"/>
                    <a:gd name="connsiteY2" fmla="*/ 11780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80"/>
                      </a:cubicBezTo>
                      <a:cubicBezTo>
                        <a:pt x="27497" y="19004"/>
                        <a:pt x="22266" y="25605"/>
                        <a:pt x="14917" y="26353"/>
                      </a:cubicBezTo>
                      <a:cubicBezTo>
                        <a:pt x="7568" y="27100"/>
                        <a:pt x="967"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7" name="Freeform 7535">
                  <a:extLst>
                    <a:ext uri="{FF2B5EF4-FFF2-40B4-BE49-F238E27FC236}">
                      <a16:creationId xmlns:a16="http://schemas.microsoft.com/office/drawing/2014/main" id="{0B5FF0CB-D862-6EEC-96FB-F147759A1D87}"/>
                    </a:ext>
                  </a:extLst>
                </p:cNvPr>
                <p:cNvSpPr/>
                <p:nvPr/>
              </p:nvSpPr>
              <p:spPr>
                <a:xfrm>
                  <a:off x="7382061" y="1799559"/>
                  <a:ext cx="7116" cy="51815"/>
                </a:xfrm>
                <a:custGeom>
                  <a:avLst/>
                  <a:gdLst>
                    <a:gd name="connsiteX0" fmla="*/ 845 w 7116"/>
                    <a:gd name="connsiteY0" fmla="*/ 0 h 51815"/>
                    <a:gd name="connsiteX1" fmla="*/ 1095 w 7116"/>
                    <a:gd name="connsiteY1" fmla="*/ 18808 h 51815"/>
                    <a:gd name="connsiteX2" fmla="*/ 6450 w 7116"/>
                    <a:gd name="connsiteY2" fmla="*/ 35374 h 51815"/>
                    <a:gd name="connsiteX3" fmla="*/ 6201 w 711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16" h="51815">
                      <a:moveTo>
                        <a:pt x="845" y="0"/>
                      </a:moveTo>
                      <a:cubicBezTo>
                        <a:pt x="-649" y="8221"/>
                        <a:pt x="98" y="14573"/>
                        <a:pt x="1095" y="18808"/>
                      </a:cubicBezTo>
                      <a:cubicBezTo>
                        <a:pt x="2714" y="25659"/>
                        <a:pt x="5080" y="28399"/>
                        <a:pt x="6450" y="35374"/>
                      </a:cubicBezTo>
                      <a:cubicBezTo>
                        <a:pt x="7696" y="42225"/>
                        <a:pt x="6948"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8" name="Freeform 7536">
                  <a:extLst>
                    <a:ext uri="{FF2B5EF4-FFF2-40B4-BE49-F238E27FC236}">
                      <a16:creationId xmlns:a16="http://schemas.microsoft.com/office/drawing/2014/main" id="{F44E6423-45EE-4EB2-B752-FA0E16638077}"/>
                    </a:ext>
                  </a:extLst>
                </p:cNvPr>
                <p:cNvSpPr/>
                <p:nvPr/>
              </p:nvSpPr>
              <p:spPr>
                <a:xfrm>
                  <a:off x="7389384" y="1793829"/>
                  <a:ext cx="6725" cy="51691"/>
                </a:xfrm>
                <a:custGeom>
                  <a:avLst/>
                  <a:gdLst>
                    <a:gd name="connsiteX0" fmla="*/ 6726 w 6725"/>
                    <a:gd name="connsiteY0" fmla="*/ 51691 h 51691"/>
                    <a:gd name="connsiteX1" fmla="*/ 2616 w 6725"/>
                    <a:gd name="connsiteY1" fmla="*/ 33381 h 51691"/>
                    <a:gd name="connsiteX2" fmla="*/ 3986 w 6725"/>
                    <a:gd name="connsiteY2" fmla="*/ 16068 h 51691"/>
                    <a:gd name="connsiteX3" fmla="*/ 0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6726" y="51691"/>
                      </a:moveTo>
                      <a:cubicBezTo>
                        <a:pt x="3363" y="43969"/>
                        <a:pt x="2616" y="37616"/>
                        <a:pt x="2616" y="33381"/>
                      </a:cubicBezTo>
                      <a:cubicBezTo>
                        <a:pt x="2616" y="26406"/>
                        <a:pt x="4359"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9" name="Freeform 7537">
                  <a:extLst>
                    <a:ext uri="{FF2B5EF4-FFF2-40B4-BE49-F238E27FC236}">
                      <a16:creationId xmlns:a16="http://schemas.microsoft.com/office/drawing/2014/main" id="{12AC067A-50E6-1B87-43F4-054950ACADB9}"/>
                    </a:ext>
                  </a:extLst>
                </p:cNvPr>
                <p:cNvSpPr/>
                <p:nvPr/>
              </p:nvSpPr>
              <p:spPr>
                <a:xfrm>
                  <a:off x="7372474" y="1778936"/>
                  <a:ext cx="26471" cy="26423"/>
                </a:xfrm>
                <a:custGeom>
                  <a:avLst/>
                  <a:gdLst>
                    <a:gd name="connsiteX0" fmla="*/ 26376 w 26471"/>
                    <a:gd name="connsiteY0" fmla="*/ 11780 h 26423"/>
                    <a:gd name="connsiteX1" fmla="*/ 14793 w 26471"/>
                    <a:gd name="connsiteY1" fmla="*/ 26353 h 26423"/>
                    <a:gd name="connsiteX2" fmla="*/ 95 w 26471"/>
                    <a:gd name="connsiteY2" fmla="*/ 14644 h 26423"/>
                    <a:gd name="connsiteX3" fmla="*/ 11679 w 26471"/>
                    <a:gd name="connsiteY3" fmla="*/ 71 h 26423"/>
                    <a:gd name="connsiteX4" fmla="*/ 26376 w 26471"/>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3">
                      <a:moveTo>
                        <a:pt x="26376" y="11780"/>
                      </a:moveTo>
                      <a:cubicBezTo>
                        <a:pt x="27248" y="19004"/>
                        <a:pt x="22017" y="25605"/>
                        <a:pt x="14793" y="26353"/>
                      </a:cubicBezTo>
                      <a:cubicBezTo>
                        <a:pt x="7568" y="27100"/>
                        <a:pt x="966" y="21869"/>
                        <a:pt x="95" y="14644"/>
                      </a:cubicBezTo>
                      <a:cubicBezTo>
                        <a:pt x="-777" y="7420"/>
                        <a:pt x="4454" y="818"/>
                        <a:pt x="11679" y="71"/>
                      </a:cubicBezTo>
                      <a:cubicBezTo>
                        <a:pt x="18903" y="-676"/>
                        <a:pt x="25504" y="4555"/>
                        <a:pt x="26376"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4" name="Graphic 2987">
                <a:extLst>
                  <a:ext uri="{FF2B5EF4-FFF2-40B4-BE49-F238E27FC236}">
                    <a16:creationId xmlns:a16="http://schemas.microsoft.com/office/drawing/2014/main" id="{C196EBA0-9660-B745-E3A0-28AB331518B3}"/>
                  </a:ext>
                </a:extLst>
              </p:cNvPr>
              <p:cNvGrpSpPr/>
              <p:nvPr/>
            </p:nvGrpSpPr>
            <p:grpSpPr>
              <a:xfrm>
                <a:off x="7343327" y="1782174"/>
                <a:ext cx="40171" cy="148116"/>
                <a:chOff x="7343327" y="1782174"/>
                <a:chExt cx="40171" cy="148116"/>
              </a:xfrm>
              <a:grpFill/>
            </p:grpSpPr>
            <p:sp>
              <p:nvSpPr>
                <p:cNvPr id="6588" name="Freeform 7539">
                  <a:extLst>
                    <a:ext uri="{FF2B5EF4-FFF2-40B4-BE49-F238E27FC236}">
                      <a16:creationId xmlns:a16="http://schemas.microsoft.com/office/drawing/2014/main" id="{9E3C95BD-9EA7-0F02-892D-19DB49E09566}"/>
                    </a:ext>
                  </a:extLst>
                </p:cNvPr>
                <p:cNvSpPr/>
                <p:nvPr/>
              </p:nvSpPr>
              <p:spPr>
                <a:xfrm>
                  <a:off x="7366920" y="1857727"/>
                  <a:ext cx="7091" cy="51815"/>
                </a:xfrm>
                <a:custGeom>
                  <a:avLst/>
                  <a:gdLst>
                    <a:gd name="connsiteX0" fmla="*/ 6147 w 7091"/>
                    <a:gd name="connsiteY0" fmla="*/ 51816 h 51815"/>
                    <a:gd name="connsiteX1" fmla="*/ 6022 w 7091"/>
                    <a:gd name="connsiteY1" fmla="*/ 33008 h 51815"/>
                    <a:gd name="connsiteX2" fmla="*/ 666 w 7091"/>
                    <a:gd name="connsiteY2" fmla="*/ 16442 h 51815"/>
                    <a:gd name="connsiteX3" fmla="*/ 915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6147" y="51816"/>
                      </a:moveTo>
                      <a:cubicBezTo>
                        <a:pt x="7766" y="43595"/>
                        <a:pt x="7019" y="37243"/>
                        <a:pt x="6022" y="33008"/>
                      </a:cubicBezTo>
                      <a:cubicBezTo>
                        <a:pt x="4403" y="26157"/>
                        <a:pt x="2036" y="23417"/>
                        <a:pt x="666" y="16442"/>
                      </a:cubicBezTo>
                      <a:cubicBezTo>
                        <a:pt x="-579" y="9591"/>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9" name="Freeform 7540">
                  <a:extLst>
                    <a:ext uri="{FF2B5EF4-FFF2-40B4-BE49-F238E27FC236}">
                      <a16:creationId xmlns:a16="http://schemas.microsoft.com/office/drawing/2014/main" id="{DAF96AF8-6BCA-17DC-3F06-F451FB7F2269}"/>
                    </a:ext>
                  </a:extLst>
                </p:cNvPr>
                <p:cNvSpPr/>
                <p:nvPr/>
              </p:nvSpPr>
              <p:spPr>
                <a:xfrm>
                  <a:off x="7359988" y="1863581"/>
                  <a:ext cx="6601" cy="51691"/>
                </a:xfrm>
                <a:custGeom>
                  <a:avLst/>
                  <a:gdLst>
                    <a:gd name="connsiteX0" fmla="*/ 0 w 6601"/>
                    <a:gd name="connsiteY0" fmla="*/ 0 h 51691"/>
                    <a:gd name="connsiteX1" fmla="*/ 4110 w 6601"/>
                    <a:gd name="connsiteY1" fmla="*/ 18310 h 51691"/>
                    <a:gd name="connsiteX2" fmla="*/ 2615 w 6601"/>
                    <a:gd name="connsiteY2" fmla="*/ 35624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4075"/>
                        <a:pt x="4110" y="18310"/>
                      </a:cubicBezTo>
                      <a:cubicBezTo>
                        <a:pt x="4110" y="25285"/>
                        <a:pt x="2367" y="28524"/>
                        <a:pt x="2615" y="35624"/>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0" name="Freeform 7541">
                  <a:extLst>
                    <a:ext uri="{FF2B5EF4-FFF2-40B4-BE49-F238E27FC236}">
                      <a16:creationId xmlns:a16="http://schemas.microsoft.com/office/drawing/2014/main" id="{639198E8-9757-867D-B616-25C9BA9E400B}"/>
                    </a:ext>
                  </a:extLst>
                </p:cNvPr>
                <p:cNvSpPr/>
                <p:nvPr/>
              </p:nvSpPr>
              <p:spPr>
                <a:xfrm>
                  <a:off x="7356781" y="1903867"/>
                  <a:ext cx="26716" cy="26423"/>
                </a:xfrm>
                <a:custGeom>
                  <a:avLst/>
                  <a:gdLst>
                    <a:gd name="connsiteX0" fmla="*/ 93 w 26716"/>
                    <a:gd name="connsiteY0" fmla="*/ 14644 h 26423"/>
                    <a:gd name="connsiteX1" fmla="*/ 11926 w 26716"/>
                    <a:gd name="connsiteY1" fmla="*/ 71 h 26423"/>
                    <a:gd name="connsiteX2" fmla="*/ 26624 w 26716"/>
                    <a:gd name="connsiteY2" fmla="*/ 11779 h 26423"/>
                    <a:gd name="connsiteX3" fmla="*/ 14791 w 26716"/>
                    <a:gd name="connsiteY3" fmla="*/ 26353 h 26423"/>
                    <a:gd name="connsiteX4" fmla="*/ 93 w 26716"/>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423">
                      <a:moveTo>
                        <a:pt x="93" y="14644"/>
                      </a:moveTo>
                      <a:cubicBezTo>
                        <a:pt x="-779" y="7420"/>
                        <a:pt x="4577" y="818"/>
                        <a:pt x="11926" y="71"/>
                      </a:cubicBezTo>
                      <a:cubicBezTo>
                        <a:pt x="19275" y="-676"/>
                        <a:pt x="25877" y="4555"/>
                        <a:pt x="26624" y="11779"/>
                      </a:cubicBezTo>
                      <a:cubicBezTo>
                        <a:pt x="27496" y="19004"/>
                        <a:pt x="22139" y="25605"/>
                        <a:pt x="14791" y="26353"/>
                      </a:cubicBezTo>
                      <a:cubicBezTo>
                        <a:pt x="7566" y="27100"/>
                        <a:pt x="965" y="21869"/>
                        <a:pt x="93"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1" name="Freeform 7542">
                  <a:extLst>
                    <a:ext uri="{FF2B5EF4-FFF2-40B4-BE49-F238E27FC236}">
                      <a16:creationId xmlns:a16="http://schemas.microsoft.com/office/drawing/2014/main" id="{8681C274-9D6D-D5E7-9EE8-C631C5179853}"/>
                    </a:ext>
                  </a:extLst>
                </p:cNvPr>
                <p:cNvSpPr/>
                <p:nvPr/>
              </p:nvSpPr>
              <p:spPr>
                <a:xfrm>
                  <a:off x="7352743" y="1802797"/>
                  <a:ext cx="7038" cy="51815"/>
                </a:xfrm>
                <a:custGeom>
                  <a:avLst/>
                  <a:gdLst>
                    <a:gd name="connsiteX0" fmla="*/ 892 w 7038"/>
                    <a:gd name="connsiteY0" fmla="*/ 0 h 51815"/>
                    <a:gd name="connsiteX1" fmla="*/ 1017 w 7038"/>
                    <a:gd name="connsiteY1" fmla="*/ 18808 h 51815"/>
                    <a:gd name="connsiteX2" fmla="*/ 6373 w 7038"/>
                    <a:gd name="connsiteY2" fmla="*/ 35374 h 51815"/>
                    <a:gd name="connsiteX3" fmla="*/ 6123 w 70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38" h="51815">
                      <a:moveTo>
                        <a:pt x="892" y="0"/>
                      </a:moveTo>
                      <a:cubicBezTo>
                        <a:pt x="-602" y="8221"/>
                        <a:pt x="20" y="14573"/>
                        <a:pt x="1017" y="18808"/>
                      </a:cubicBezTo>
                      <a:cubicBezTo>
                        <a:pt x="2512" y="25659"/>
                        <a:pt x="5003" y="28399"/>
                        <a:pt x="6373" y="35374"/>
                      </a:cubicBezTo>
                      <a:cubicBezTo>
                        <a:pt x="7618" y="42225"/>
                        <a:pt x="6871" y="47955"/>
                        <a:pt x="612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2" name="Freeform 7543">
                  <a:extLst>
                    <a:ext uri="{FF2B5EF4-FFF2-40B4-BE49-F238E27FC236}">
                      <a16:creationId xmlns:a16="http://schemas.microsoft.com/office/drawing/2014/main" id="{76307FDF-6090-1E6E-F3FD-5D62519C302E}"/>
                    </a:ext>
                  </a:extLst>
                </p:cNvPr>
                <p:cNvSpPr/>
                <p:nvPr/>
              </p:nvSpPr>
              <p:spPr>
                <a:xfrm>
                  <a:off x="7359988" y="1797068"/>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616"/>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3" name="Freeform 7544">
                  <a:extLst>
                    <a:ext uri="{FF2B5EF4-FFF2-40B4-BE49-F238E27FC236}">
                      <a16:creationId xmlns:a16="http://schemas.microsoft.com/office/drawing/2014/main" id="{096D5A1A-E086-FBE0-28FB-AD67389274BB}"/>
                    </a:ext>
                  </a:extLst>
                </p:cNvPr>
                <p:cNvSpPr/>
                <p:nvPr/>
              </p:nvSpPr>
              <p:spPr>
                <a:xfrm>
                  <a:off x="7343327" y="1782174"/>
                  <a:ext cx="26346" cy="26423"/>
                </a:xfrm>
                <a:custGeom>
                  <a:avLst/>
                  <a:gdLst>
                    <a:gd name="connsiteX0" fmla="*/ 26252 w 26346"/>
                    <a:gd name="connsiteY0" fmla="*/ 11779 h 26423"/>
                    <a:gd name="connsiteX1" fmla="*/ 14668 w 26346"/>
                    <a:gd name="connsiteY1" fmla="*/ 26353 h 26423"/>
                    <a:gd name="connsiteX2" fmla="*/ 95 w 26346"/>
                    <a:gd name="connsiteY2" fmla="*/ 14644 h 26423"/>
                    <a:gd name="connsiteX3" fmla="*/ 11679 w 26346"/>
                    <a:gd name="connsiteY3" fmla="*/ 71 h 26423"/>
                    <a:gd name="connsiteX4" fmla="*/ 26252 w 26346"/>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23">
                      <a:moveTo>
                        <a:pt x="26252" y="11779"/>
                      </a:moveTo>
                      <a:cubicBezTo>
                        <a:pt x="27124" y="19004"/>
                        <a:pt x="21893" y="25605"/>
                        <a:pt x="14668" y="26353"/>
                      </a:cubicBezTo>
                      <a:cubicBezTo>
                        <a:pt x="7444" y="27100"/>
                        <a:pt x="842" y="21869"/>
                        <a:pt x="95" y="14644"/>
                      </a:cubicBezTo>
                      <a:cubicBezTo>
                        <a:pt x="-777" y="7420"/>
                        <a:pt x="4454" y="818"/>
                        <a:pt x="11679" y="71"/>
                      </a:cubicBezTo>
                      <a:cubicBezTo>
                        <a:pt x="18779" y="-676"/>
                        <a:pt x="25381" y="4555"/>
                        <a:pt x="26252"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5" name="Graphic 2987">
                <a:extLst>
                  <a:ext uri="{FF2B5EF4-FFF2-40B4-BE49-F238E27FC236}">
                    <a16:creationId xmlns:a16="http://schemas.microsoft.com/office/drawing/2014/main" id="{E678CEB1-F9F4-8C43-6F95-2E62B540A2BF}"/>
                  </a:ext>
                </a:extLst>
              </p:cNvPr>
              <p:cNvGrpSpPr/>
              <p:nvPr/>
            </p:nvGrpSpPr>
            <p:grpSpPr>
              <a:xfrm>
                <a:off x="7313831" y="1785411"/>
                <a:ext cx="40000" cy="148118"/>
                <a:chOff x="7313831" y="1785411"/>
                <a:chExt cx="40000" cy="148118"/>
              </a:xfrm>
              <a:grpFill/>
            </p:grpSpPr>
            <p:sp>
              <p:nvSpPr>
                <p:cNvPr id="6582" name="Freeform 7546">
                  <a:extLst>
                    <a:ext uri="{FF2B5EF4-FFF2-40B4-BE49-F238E27FC236}">
                      <a16:creationId xmlns:a16="http://schemas.microsoft.com/office/drawing/2014/main" id="{23368C78-EB64-56B4-B26B-9F07AC64FB3B}"/>
                    </a:ext>
                  </a:extLst>
                </p:cNvPr>
                <p:cNvSpPr/>
                <p:nvPr/>
              </p:nvSpPr>
              <p:spPr>
                <a:xfrm>
                  <a:off x="7337407" y="1860966"/>
                  <a:ext cx="6959" cy="51815"/>
                </a:xfrm>
                <a:custGeom>
                  <a:avLst/>
                  <a:gdLst>
                    <a:gd name="connsiteX0" fmla="*/ 6015 w 6959"/>
                    <a:gd name="connsiteY0" fmla="*/ 51816 h 51815"/>
                    <a:gd name="connsiteX1" fmla="*/ 5890 w 6959"/>
                    <a:gd name="connsiteY1" fmla="*/ 33008 h 51815"/>
                    <a:gd name="connsiteX2" fmla="*/ 659 w 6959"/>
                    <a:gd name="connsiteY2" fmla="*/ 16442 h 51815"/>
                    <a:gd name="connsiteX3" fmla="*/ 1032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51816"/>
                      </a:moveTo>
                      <a:cubicBezTo>
                        <a:pt x="7634" y="43595"/>
                        <a:pt x="6887" y="37243"/>
                        <a:pt x="5890" y="33008"/>
                      </a:cubicBezTo>
                      <a:cubicBezTo>
                        <a:pt x="4396" y="26157"/>
                        <a:pt x="1904" y="23417"/>
                        <a:pt x="659" y="16442"/>
                      </a:cubicBezTo>
                      <a:cubicBezTo>
                        <a:pt x="-586" y="9591"/>
                        <a:pt x="161" y="3861"/>
                        <a:pt x="10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3" name="Freeform 7547">
                  <a:extLst>
                    <a:ext uri="{FF2B5EF4-FFF2-40B4-BE49-F238E27FC236}">
                      <a16:creationId xmlns:a16="http://schemas.microsoft.com/office/drawing/2014/main" id="{1F94332D-6294-8E6D-3C35-02E8044115CE}"/>
                    </a:ext>
                  </a:extLst>
                </p:cNvPr>
                <p:cNvSpPr/>
                <p:nvPr/>
              </p:nvSpPr>
              <p:spPr>
                <a:xfrm>
                  <a:off x="7330468" y="1866820"/>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4075"/>
                        <a:pt x="3986" y="18310"/>
                      </a:cubicBezTo>
                      <a:cubicBezTo>
                        <a:pt x="3986" y="25285"/>
                        <a:pt x="2117"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4" name="Freeform 7548">
                  <a:extLst>
                    <a:ext uri="{FF2B5EF4-FFF2-40B4-BE49-F238E27FC236}">
                      <a16:creationId xmlns:a16="http://schemas.microsoft.com/office/drawing/2014/main" id="{CB137FBE-11BE-A264-31A7-9388A6EF145C}"/>
                    </a:ext>
                  </a:extLst>
                </p:cNvPr>
                <p:cNvSpPr/>
                <p:nvPr/>
              </p:nvSpPr>
              <p:spPr>
                <a:xfrm>
                  <a:off x="7327159" y="1907106"/>
                  <a:ext cx="26672" cy="26423"/>
                </a:xfrm>
                <a:custGeom>
                  <a:avLst/>
                  <a:gdLst>
                    <a:gd name="connsiteX0" fmla="*/ 71 w 26672"/>
                    <a:gd name="connsiteY0" fmla="*/ 14644 h 26423"/>
                    <a:gd name="connsiteX1" fmla="*/ 11904 w 26672"/>
                    <a:gd name="connsiteY1" fmla="*/ 71 h 26423"/>
                    <a:gd name="connsiteX2" fmla="*/ 26602 w 26672"/>
                    <a:gd name="connsiteY2" fmla="*/ 11779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79"/>
                      </a:cubicBezTo>
                      <a:cubicBezTo>
                        <a:pt x="27349" y="19004"/>
                        <a:pt x="22118" y="25605"/>
                        <a:pt x="14769" y="26353"/>
                      </a:cubicBezTo>
                      <a:cubicBezTo>
                        <a:pt x="7544"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5" name="Freeform 7549">
                  <a:extLst>
                    <a:ext uri="{FF2B5EF4-FFF2-40B4-BE49-F238E27FC236}">
                      <a16:creationId xmlns:a16="http://schemas.microsoft.com/office/drawing/2014/main" id="{43A9D78D-DB43-2F1C-6E79-EEAE03502009}"/>
                    </a:ext>
                  </a:extLst>
                </p:cNvPr>
                <p:cNvSpPr/>
                <p:nvPr/>
              </p:nvSpPr>
              <p:spPr>
                <a:xfrm>
                  <a:off x="7323295" y="1806036"/>
                  <a:ext cx="6959" cy="51815"/>
                </a:xfrm>
                <a:custGeom>
                  <a:avLst/>
                  <a:gdLst>
                    <a:gd name="connsiteX0" fmla="*/ 945 w 6959"/>
                    <a:gd name="connsiteY0" fmla="*/ 0 h 51815"/>
                    <a:gd name="connsiteX1" fmla="*/ 1069 w 6959"/>
                    <a:gd name="connsiteY1" fmla="*/ 18808 h 51815"/>
                    <a:gd name="connsiteX2" fmla="*/ 6301 w 6959"/>
                    <a:gd name="connsiteY2" fmla="*/ 35374 h 51815"/>
                    <a:gd name="connsiteX3" fmla="*/ 5927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945" y="0"/>
                      </a:moveTo>
                      <a:cubicBezTo>
                        <a:pt x="-675" y="8221"/>
                        <a:pt x="73" y="14573"/>
                        <a:pt x="1069" y="18808"/>
                      </a:cubicBezTo>
                      <a:cubicBezTo>
                        <a:pt x="2564" y="25659"/>
                        <a:pt x="5055" y="28399"/>
                        <a:pt x="6301" y="35374"/>
                      </a:cubicBezTo>
                      <a:cubicBezTo>
                        <a:pt x="7546" y="42225"/>
                        <a:pt x="6799" y="47955"/>
                        <a:pt x="592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6" name="Freeform 7550">
                  <a:extLst>
                    <a:ext uri="{FF2B5EF4-FFF2-40B4-BE49-F238E27FC236}">
                      <a16:creationId xmlns:a16="http://schemas.microsoft.com/office/drawing/2014/main" id="{EAE8B200-B391-D568-39D0-7CAFAEB16369}"/>
                    </a:ext>
                  </a:extLst>
                </p:cNvPr>
                <p:cNvSpPr/>
                <p:nvPr/>
              </p:nvSpPr>
              <p:spPr>
                <a:xfrm>
                  <a:off x="7330593" y="1800306"/>
                  <a:ext cx="6476" cy="51691"/>
                </a:xfrm>
                <a:custGeom>
                  <a:avLst/>
                  <a:gdLst>
                    <a:gd name="connsiteX0" fmla="*/ 6476 w 6476"/>
                    <a:gd name="connsiteY0" fmla="*/ 51691 h 51691"/>
                    <a:gd name="connsiteX1" fmla="*/ 2491 w 6476"/>
                    <a:gd name="connsiteY1" fmla="*/ 33381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1"/>
                      </a:moveTo>
                      <a:cubicBezTo>
                        <a:pt x="3114" y="43969"/>
                        <a:pt x="2491" y="37616"/>
                        <a:pt x="2491" y="33381"/>
                      </a:cubicBezTo>
                      <a:cubicBezTo>
                        <a:pt x="2491" y="26406"/>
                        <a:pt x="4235" y="23168"/>
                        <a:pt x="3985"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7" name="Freeform 7551">
                  <a:extLst>
                    <a:ext uri="{FF2B5EF4-FFF2-40B4-BE49-F238E27FC236}">
                      <a16:creationId xmlns:a16="http://schemas.microsoft.com/office/drawing/2014/main" id="{4BE5CEB1-F99C-498B-190F-00FAFBDC8F59}"/>
                    </a:ext>
                  </a:extLst>
                </p:cNvPr>
                <p:cNvSpPr/>
                <p:nvPr/>
              </p:nvSpPr>
              <p:spPr>
                <a:xfrm>
                  <a:off x="7313831" y="1785411"/>
                  <a:ext cx="26447" cy="26425"/>
                </a:xfrm>
                <a:custGeom>
                  <a:avLst/>
                  <a:gdLst>
                    <a:gd name="connsiteX0" fmla="*/ 26353 w 26447"/>
                    <a:gd name="connsiteY0" fmla="*/ 11781 h 26425"/>
                    <a:gd name="connsiteX1" fmla="*/ 14644 w 26447"/>
                    <a:gd name="connsiteY1" fmla="*/ 26354 h 26425"/>
                    <a:gd name="connsiteX2" fmla="*/ 71 w 26447"/>
                    <a:gd name="connsiteY2" fmla="*/ 14646 h 26425"/>
                    <a:gd name="connsiteX3" fmla="*/ 11780 w 26447"/>
                    <a:gd name="connsiteY3" fmla="*/ 73 h 26425"/>
                    <a:gd name="connsiteX4" fmla="*/ 26353 w 26447"/>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24">
                      <a:moveTo>
                        <a:pt x="26353" y="11781"/>
                      </a:moveTo>
                      <a:cubicBezTo>
                        <a:pt x="27225" y="19005"/>
                        <a:pt x="21993" y="25607"/>
                        <a:pt x="14644" y="26354"/>
                      </a:cubicBezTo>
                      <a:cubicBezTo>
                        <a:pt x="7296" y="27102"/>
                        <a:pt x="818" y="21870"/>
                        <a:pt x="71" y="14646"/>
                      </a:cubicBezTo>
                      <a:cubicBezTo>
                        <a:pt x="-676" y="7421"/>
                        <a:pt x="4555" y="820"/>
                        <a:pt x="11780" y="73"/>
                      </a:cubicBezTo>
                      <a:cubicBezTo>
                        <a:pt x="19004" y="-675"/>
                        <a:pt x="25605" y="4432"/>
                        <a:pt x="26353"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6" name="Graphic 2987">
                <a:extLst>
                  <a:ext uri="{FF2B5EF4-FFF2-40B4-BE49-F238E27FC236}">
                    <a16:creationId xmlns:a16="http://schemas.microsoft.com/office/drawing/2014/main" id="{CB5B1A5E-0C32-CDE3-F3B2-C11D4AA88D0D}"/>
                  </a:ext>
                </a:extLst>
              </p:cNvPr>
              <p:cNvGrpSpPr/>
              <p:nvPr/>
            </p:nvGrpSpPr>
            <p:grpSpPr>
              <a:xfrm>
                <a:off x="7284560" y="1788627"/>
                <a:ext cx="39626" cy="148140"/>
                <a:chOff x="7284560" y="1788627"/>
                <a:chExt cx="39626" cy="148140"/>
              </a:xfrm>
              <a:grpFill/>
            </p:grpSpPr>
            <p:sp>
              <p:nvSpPr>
                <p:cNvPr id="6576" name="Freeform 7553">
                  <a:extLst>
                    <a:ext uri="{FF2B5EF4-FFF2-40B4-BE49-F238E27FC236}">
                      <a16:creationId xmlns:a16="http://schemas.microsoft.com/office/drawing/2014/main" id="{8B70C821-E5F1-E880-C2DB-EFFFAFFA179D}"/>
                    </a:ext>
                  </a:extLst>
                </p:cNvPr>
                <p:cNvSpPr/>
                <p:nvPr/>
              </p:nvSpPr>
              <p:spPr>
                <a:xfrm>
                  <a:off x="7307886" y="1864204"/>
                  <a:ext cx="6845" cy="51815"/>
                </a:xfrm>
                <a:custGeom>
                  <a:avLst/>
                  <a:gdLst>
                    <a:gd name="connsiteX0" fmla="*/ 5891 w 6845"/>
                    <a:gd name="connsiteY0" fmla="*/ 51816 h 51815"/>
                    <a:gd name="connsiteX1" fmla="*/ 5891 w 6845"/>
                    <a:gd name="connsiteY1" fmla="*/ 33008 h 51815"/>
                    <a:gd name="connsiteX2" fmla="*/ 659 w 6845"/>
                    <a:gd name="connsiteY2" fmla="*/ 16442 h 51815"/>
                    <a:gd name="connsiteX3" fmla="*/ 1033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5891" y="51816"/>
                      </a:moveTo>
                      <a:cubicBezTo>
                        <a:pt x="7510" y="43595"/>
                        <a:pt x="6763" y="37243"/>
                        <a:pt x="5891" y="33008"/>
                      </a:cubicBezTo>
                      <a:cubicBezTo>
                        <a:pt x="4396" y="26157"/>
                        <a:pt x="1905" y="23417"/>
                        <a:pt x="659" y="16442"/>
                      </a:cubicBezTo>
                      <a:cubicBezTo>
                        <a:pt x="-587" y="9591"/>
                        <a:pt x="161" y="3737"/>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7" name="Freeform 7554">
                  <a:extLst>
                    <a:ext uri="{FF2B5EF4-FFF2-40B4-BE49-F238E27FC236}">
                      <a16:creationId xmlns:a16="http://schemas.microsoft.com/office/drawing/2014/main" id="{F41FFDE0-EAB6-52A7-D6C0-413B653B69B2}"/>
                    </a:ext>
                  </a:extLst>
                </p:cNvPr>
                <p:cNvSpPr/>
                <p:nvPr/>
              </p:nvSpPr>
              <p:spPr>
                <a:xfrm>
                  <a:off x="7300948" y="1870058"/>
                  <a:ext cx="6227" cy="51815"/>
                </a:xfrm>
                <a:custGeom>
                  <a:avLst/>
                  <a:gdLst>
                    <a:gd name="connsiteX0" fmla="*/ 0 w 6227"/>
                    <a:gd name="connsiteY0" fmla="*/ 0 h 51815"/>
                    <a:gd name="connsiteX1" fmla="*/ 3985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5" y="14075"/>
                        <a:pt x="3985" y="18435"/>
                      </a:cubicBezTo>
                      <a:cubicBezTo>
                        <a:pt x="3985" y="25410"/>
                        <a:pt x="2117" y="28648"/>
                        <a:pt x="2367" y="35748"/>
                      </a:cubicBezTo>
                      <a:cubicBezTo>
                        <a:pt x="2615"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8" name="Freeform 7555">
                  <a:extLst>
                    <a:ext uri="{FF2B5EF4-FFF2-40B4-BE49-F238E27FC236}">
                      <a16:creationId xmlns:a16="http://schemas.microsoft.com/office/drawing/2014/main" id="{B18D42FC-7A2D-FEA2-0E46-E952B8DE9C57}"/>
                    </a:ext>
                  </a:extLst>
                </p:cNvPr>
                <p:cNvSpPr/>
                <p:nvPr/>
              </p:nvSpPr>
              <p:spPr>
                <a:xfrm>
                  <a:off x="7297514" y="1910344"/>
                  <a:ext cx="26672" cy="26423"/>
                </a:xfrm>
                <a:custGeom>
                  <a:avLst/>
                  <a:gdLst>
                    <a:gd name="connsiteX0" fmla="*/ 71 w 26672"/>
                    <a:gd name="connsiteY0" fmla="*/ 14644 h 26423"/>
                    <a:gd name="connsiteX1" fmla="*/ 11904 w 26672"/>
                    <a:gd name="connsiteY1" fmla="*/ 71 h 26423"/>
                    <a:gd name="connsiteX2" fmla="*/ 26602 w 26672"/>
                    <a:gd name="connsiteY2" fmla="*/ 11780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80"/>
                      </a:cubicBezTo>
                      <a:cubicBezTo>
                        <a:pt x="27349" y="19004"/>
                        <a:pt x="22118" y="25605"/>
                        <a:pt x="14769" y="26353"/>
                      </a:cubicBezTo>
                      <a:cubicBezTo>
                        <a:pt x="7420"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9" name="Freeform 7556">
                  <a:extLst>
                    <a:ext uri="{FF2B5EF4-FFF2-40B4-BE49-F238E27FC236}">
                      <a16:creationId xmlns:a16="http://schemas.microsoft.com/office/drawing/2014/main" id="{F69E58E0-AF3C-42A4-B6FF-20CF2F39B883}"/>
                    </a:ext>
                  </a:extLst>
                </p:cNvPr>
                <p:cNvSpPr/>
                <p:nvPr/>
              </p:nvSpPr>
              <p:spPr>
                <a:xfrm>
                  <a:off x="7294014" y="1809274"/>
                  <a:ext cx="6845" cy="51815"/>
                </a:xfrm>
                <a:custGeom>
                  <a:avLst/>
                  <a:gdLst>
                    <a:gd name="connsiteX0" fmla="*/ 954 w 6845"/>
                    <a:gd name="connsiteY0" fmla="*/ 0 h 51815"/>
                    <a:gd name="connsiteX1" fmla="*/ 954 w 6845"/>
                    <a:gd name="connsiteY1" fmla="*/ 18808 h 51815"/>
                    <a:gd name="connsiteX2" fmla="*/ 6186 w 6845"/>
                    <a:gd name="connsiteY2" fmla="*/ 35374 h 51815"/>
                    <a:gd name="connsiteX3" fmla="*/ 5812 w 684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845" h="51815">
                      <a:moveTo>
                        <a:pt x="954" y="0"/>
                      </a:moveTo>
                      <a:cubicBezTo>
                        <a:pt x="-665" y="8221"/>
                        <a:pt x="82" y="14573"/>
                        <a:pt x="954" y="18808"/>
                      </a:cubicBezTo>
                      <a:cubicBezTo>
                        <a:pt x="2449" y="25659"/>
                        <a:pt x="4940" y="28399"/>
                        <a:pt x="6186" y="35374"/>
                      </a:cubicBezTo>
                      <a:cubicBezTo>
                        <a:pt x="7432" y="42225"/>
                        <a:pt x="6684" y="48079"/>
                        <a:pt x="581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0" name="Freeform 7557">
                  <a:extLst>
                    <a:ext uri="{FF2B5EF4-FFF2-40B4-BE49-F238E27FC236}">
                      <a16:creationId xmlns:a16="http://schemas.microsoft.com/office/drawing/2014/main" id="{E5F6A996-2ACA-D613-F949-A56B091E3301}"/>
                    </a:ext>
                  </a:extLst>
                </p:cNvPr>
                <p:cNvSpPr/>
                <p:nvPr/>
              </p:nvSpPr>
              <p:spPr>
                <a:xfrm>
                  <a:off x="7301321" y="1803420"/>
                  <a:ext cx="6352" cy="51815"/>
                </a:xfrm>
                <a:custGeom>
                  <a:avLst/>
                  <a:gdLst>
                    <a:gd name="connsiteX0" fmla="*/ 6353 w 6352"/>
                    <a:gd name="connsiteY0" fmla="*/ 51816 h 51815"/>
                    <a:gd name="connsiteX1" fmla="*/ 2367 w 6352"/>
                    <a:gd name="connsiteY1" fmla="*/ 33381 h 51815"/>
                    <a:gd name="connsiteX2" fmla="*/ 3861 w 6352"/>
                    <a:gd name="connsiteY2" fmla="*/ 16068 h 51815"/>
                    <a:gd name="connsiteX3" fmla="*/ 0 w 6352"/>
                    <a:gd name="connsiteY3" fmla="*/ 0 h 51815"/>
                  </a:gdLst>
                  <a:ahLst/>
                  <a:cxnLst>
                    <a:cxn ang="0">
                      <a:pos x="connsiteX0" y="connsiteY0"/>
                    </a:cxn>
                    <a:cxn ang="0">
                      <a:pos x="connsiteX1" y="connsiteY1"/>
                    </a:cxn>
                    <a:cxn ang="0">
                      <a:pos x="connsiteX2" y="connsiteY2"/>
                    </a:cxn>
                    <a:cxn ang="0">
                      <a:pos x="connsiteX3" y="connsiteY3"/>
                    </a:cxn>
                  </a:cxnLst>
                  <a:rect l="l" t="t" r="r" b="b"/>
                  <a:pathLst>
                    <a:path w="6352" h="51815">
                      <a:moveTo>
                        <a:pt x="6353" y="51816"/>
                      </a:moveTo>
                      <a:cubicBezTo>
                        <a:pt x="2989" y="44093"/>
                        <a:pt x="2367" y="37741"/>
                        <a:pt x="2367" y="33381"/>
                      </a:cubicBezTo>
                      <a:cubicBezTo>
                        <a:pt x="2367" y="26406"/>
                        <a:pt x="4235"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1" name="Freeform 7558">
                  <a:extLst>
                    <a:ext uri="{FF2B5EF4-FFF2-40B4-BE49-F238E27FC236}">
                      <a16:creationId xmlns:a16="http://schemas.microsoft.com/office/drawing/2014/main" id="{E6C4CC13-3588-7117-AF87-BF97956712C3}"/>
                    </a:ext>
                  </a:extLst>
                </p:cNvPr>
                <p:cNvSpPr/>
                <p:nvPr/>
              </p:nvSpPr>
              <p:spPr>
                <a:xfrm>
                  <a:off x="7284560" y="1788627"/>
                  <a:ext cx="26423" cy="26447"/>
                </a:xfrm>
                <a:custGeom>
                  <a:avLst/>
                  <a:gdLst>
                    <a:gd name="connsiteX0" fmla="*/ 26353 w 26423"/>
                    <a:gd name="connsiteY0" fmla="*/ 11803 h 26447"/>
                    <a:gd name="connsiteX1" fmla="*/ 14644 w 26423"/>
                    <a:gd name="connsiteY1" fmla="*/ 26377 h 26447"/>
                    <a:gd name="connsiteX2" fmla="*/ 71 w 26423"/>
                    <a:gd name="connsiteY2" fmla="*/ 14668 h 26447"/>
                    <a:gd name="connsiteX3" fmla="*/ 11780 w 26423"/>
                    <a:gd name="connsiteY3" fmla="*/ 95 h 26447"/>
                    <a:gd name="connsiteX4" fmla="*/ 26353 w 26423"/>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47">
                      <a:moveTo>
                        <a:pt x="26353" y="11803"/>
                      </a:moveTo>
                      <a:cubicBezTo>
                        <a:pt x="27100" y="19028"/>
                        <a:pt x="21869" y="25629"/>
                        <a:pt x="14644" y="26377"/>
                      </a:cubicBezTo>
                      <a:cubicBezTo>
                        <a:pt x="7420" y="27124"/>
                        <a:pt x="818" y="21893"/>
                        <a:pt x="71" y="14668"/>
                      </a:cubicBezTo>
                      <a:cubicBezTo>
                        <a:pt x="-676" y="7444"/>
                        <a:pt x="4555" y="842"/>
                        <a:pt x="11780" y="95"/>
                      </a:cubicBezTo>
                      <a:cubicBezTo>
                        <a:pt x="19003" y="-777"/>
                        <a:pt x="25481" y="4454"/>
                        <a:pt x="26353"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7" name="Graphic 2987">
                <a:extLst>
                  <a:ext uri="{FF2B5EF4-FFF2-40B4-BE49-F238E27FC236}">
                    <a16:creationId xmlns:a16="http://schemas.microsoft.com/office/drawing/2014/main" id="{03A7BBF3-5795-9431-58B1-A866AAEB175D}"/>
                  </a:ext>
                </a:extLst>
              </p:cNvPr>
              <p:cNvGrpSpPr/>
              <p:nvPr/>
            </p:nvGrpSpPr>
            <p:grpSpPr>
              <a:xfrm>
                <a:off x="7255288" y="1791765"/>
                <a:ext cx="39253" cy="148263"/>
                <a:chOff x="7255288" y="1791765"/>
                <a:chExt cx="39253" cy="148263"/>
              </a:xfrm>
              <a:grpFill/>
            </p:grpSpPr>
            <p:sp>
              <p:nvSpPr>
                <p:cNvPr id="6570" name="Freeform 7560">
                  <a:extLst>
                    <a:ext uri="{FF2B5EF4-FFF2-40B4-BE49-F238E27FC236}">
                      <a16:creationId xmlns:a16="http://schemas.microsoft.com/office/drawing/2014/main" id="{CE7608EC-EEED-2D48-B9A9-C9A87696904C}"/>
                    </a:ext>
                  </a:extLst>
                </p:cNvPr>
                <p:cNvSpPr/>
                <p:nvPr/>
              </p:nvSpPr>
              <p:spPr>
                <a:xfrm>
                  <a:off x="7278274" y="1867443"/>
                  <a:ext cx="6852" cy="51940"/>
                </a:xfrm>
                <a:custGeom>
                  <a:avLst/>
                  <a:gdLst>
                    <a:gd name="connsiteX0" fmla="*/ 5858 w 6852"/>
                    <a:gd name="connsiteY0" fmla="*/ 51941 h 51940"/>
                    <a:gd name="connsiteX1" fmla="*/ 5858 w 6852"/>
                    <a:gd name="connsiteY1" fmla="*/ 33132 h 51940"/>
                    <a:gd name="connsiteX2" fmla="*/ 627 w 6852"/>
                    <a:gd name="connsiteY2" fmla="*/ 16566 h 51940"/>
                    <a:gd name="connsiteX3" fmla="*/ 1000 w 6852"/>
                    <a:gd name="connsiteY3" fmla="*/ 0 h 51940"/>
                  </a:gdLst>
                  <a:ahLst/>
                  <a:cxnLst>
                    <a:cxn ang="0">
                      <a:pos x="connsiteX0" y="connsiteY0"/>
                    </a:cxn>
                    <a:cxn ang="0">
                      <a:pos x="connsiteX1" y="connsiteY1"/>
                    </a:cxn>
                    <a:cxn ang="0">
                      <a:pos x="connsiteX2" y="connsiteY2"/>
                    </a:cxn>
                    <a:cxn ang="0">
                      <a:pos x="connsiteX3" y="connsiteY3"/>
                    </a:cxn>
                  </a:cxnLst>
                  <a:rect l="l" t="t" r="r" b="b"/>
                  <a:pathLst>
                    <a:path w="6851" h="51940">
                      <a:moveTo>
                        <a:pt x="5858" y="51941"/>
                      </a:moveTo>
                      <a:cubicBezTo>
                        <a:pt x="7477" y="43720"/>
                        <a:pt x="6854" y="37367"/>
                        <a:pt x="5858" y="33132"/>
                      </a:cubicBezTo>
                      <a:cubicBezTo>
                        <a:pt x="4363" y="26282"/>
                        <a:pt x="1872" y="23541"/>
                        <a:pt x="627" y="16566"/>
                      </a:cubicBezTo>
                      <a:cubicBezTo>
                        <a:pt x="-619" y="9715"/>
                        <a:pt x="253" y="3861"/>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1" name="Freeform 7561">
                  <a:extLst>
                    <a:ext uri="{FF2B5EF4-FFF2-40B4-BE49-F238E27FC236}">
                      <a16:creationId xmlns:a16="http://schemas.microsoft.com/office/drawing/2014/main" id="{3E73CE99-4CDB-610D-8FAC-604327A5B9C1}"/>
                    </a:ext>
                  </a:extLst>
                </p:cNvPr>
                <p:cNvSpPr/>
                <p:nvPr/>
              </p:nvSpPr>
              <p:spPr>
                <a:xfrm>
                  <a:off x="7271552" y="1873297"/>
                  <a:ext cx="6227" cy="51815"/>
                </a:xfrm>
                <a:custGeom>
                  <a:avLst/>
                  <a:gdLst>
                    <a:gd name="connsiteX0" fmla="*/ 0 w 6227"/>
                    <a:gd name="connsiteY0" fmla="*/ 0 h 51815"/>
                    <a:gd name="connsiteX1" fmla="*/ 3986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2" name="Freeform 7562">
                  <a:extLst>
                    <a:ext uri="{FF2B5EF4-FFF2-40B4-BE49-F238E27FC236}">
                      <a16:creationId xmlns:a16="http://schemas.microsoft.com/office/drawing/2014/main" id="{A0642E54-C373-DB01-83A8-FD096A45BBEA}"/>
                    </a:ext>
                  </a:extLst>
                </p:cNvPr>
                <p:cNvSpPr/>
                <p:nvPr/>
              </p:nvSpPr>
              <p:spPr>
                <a:xfrm>
                  <a:off x="7267870" y="1913583"/>
                  <a:ext cx="26671" cy="26445"/>
                </a:xfrm>
                <a:custGeom>
                  <a:avLst/>
                  <a:gdLst>
                    <a:gd name="connsiteX0" fmla="*/ 70 w 26671"/>
                    <a:gd name="connsiteY0" fmla="*/ 14644 h 26445"/>
                    <a:gd name="connsiteX1" fmla="*/ 11903 w 26671"/>
                    <a:gd name="connsiteY1" fmla="*/ 71 h 26445"/>
                    <a:gd name="connsiteX2" fmla="*/ 26600 w 26671"/>
                    <a:gd name="connsiteY2" fmla="*/ 11779 h 26445"/>
                    <a:gd name="connsiteX3" fmla="*/ 14767 w 26671"/>
                    <a:gd name="connsiteY3" fmla="*/ 26353 h 26445"/>
                    <a:gd name="connsiteX4" fmla="*/ 70 w 26671"/>
                    <a:gd name="connsiteY4" fmla="*/ 14644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45">
                      <a:moveTo>
                        <a:pt x="70" y="14644"/>
                      </a:moveTo>
                      <a:cubicBezTo>
                        <a:pt x="-678" y="7420"/>
                        <a:pt x="4678" y="818"/>
                        <a:pt x="11903" y="71"/>
                      </a:cubicBezTo>
                      <a:cubicBezTo>
                        <a:pt x="19251" y="-676"/>
                        <a:pt x="25728" y="4555"/>
                        <a:pt x="26600" y="11779"/>
                      </a:cubicBezTo>
                      <a:cubicBezTo>
                        <a:pt x="27348" y="19004"/>
                        <a:pt x="22117" y="25605"/>
                        <a:pt x="14767" y="26353"/>
                      </a:cubicBezTo>
                      <a:cubicBezTo>
                        <a:pt x="7419" y="27225"/>
                        <a:pt x="942" y="21869"/>
                        <a:pt x="70"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3" name="Freeform 7563">
                  <a:extLst>
                    <a:ext uri="{FF2B5EF4-FFF2-40B4-BE49-F238E27FC236}">
                      <a16:creationId xmlns:a16="http://schemas.microsoft.com/office/drawing/2014/main" id="{0A89B3B4-A0F4-D1B4-15E7-11BE80C7DD88}"/>
                    </a:ext>
                  </a:extLst>
                </p:cNvPr>
                <p:cNvSpPr/>
                <p:nvPr/>
              </p:nvSpPr>
              <p:spPr>
                <a:xfrm>
                  <a:off x="7264579" y="1812513"/>
                  <a:ext cx="6846" cy="51940"/>
                </a:xfrm>
                <a:custGeom>
                  <a:avLst/>
                  <a:gdLst>
                    <a:gd name="connsiteX0" fmla="*/ 995 w 6846"/>
                    <a:gd name="connsiteY0" fmla="*/ 0 h 51940"/>
                    <a:gd name="connsiteX1" fmla="*/ 995 w 6846"/>
                    <a:gd name="connsiteY1" fmla="*/ 18808 h 51940"/>
                    <a:gd name="connsiteX2" fmla="*/ 6226 w 6846"/>
                    <a:gd name="connsiteY2" fmla="*/ 35374 h 51940"/>
                    <a:gd name="connsiteX3" fmla="*/ 5728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995" y="0"/>
                      </a:moveTo>
                      <a:cubicBezTo>
                        <a:pt x="-625" y="8221"/>
                        <a:pt x="-2" y="14573"/>
                        <a:pt x="995" y="18808"/>
                      </a:cubicBezTo>
                      <a:cubicBezTo>
                        <a:pt x="2489" y="25659"/>
                        <a:pt x="4980" y="28399"/>
                        <a:pt x="6226" y="35374"/>
                      </a:cubicBezTo>
                      <a:cubicBezTo>
                        <a:pt x="7472" y="42225"/>
                        <a:pt x="6600" y="48079"/>
                        <a:pt x="572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4" name="Freeform 7564">
                  <a:extLst>
                    <a:ext uri="{FF2B5EF4-FFF2-40B4-BE49-F238E27FC236}">
                      <a16:creationId xmlns:a16="http://schemas.microsoft.com/office/drawing/2014/main" id="{007006B5-4DA8-6872-1F88-0C1D1EAE203F}"/>
                    </a:ext>
                  </a:extLst>
                </p:cNvPr>
                <p:cNvSpPr/>
                <p:nvPr/>
              </p:nvSpPr>
              <p:spPr>
                <a:xfrm>
                  <a:off x="7271926" y="1806659"/>
                  <a:ext cx="6227" cy="51815"/>
                </a:xfrm>
                <a:custGeom>
                  <a:avLst/>
                  <a:gdLst>
                    <a:gd name="connsiteX0" fmla="*/ 6228 w 6227"/>
                    <a:gd name="connsiteY0" fmla="*/ 51816 h 51815"/>
                    <a:gd name="connsiteX1" fmla="*/ 2242 w 6227"/>
                    <a:gd name="connsiteY1" fmla="*/ 33381 h 51815"/>
                    <a:gd name="connsiteX2" fmla="*/ 3861 w 6227"/>
                    <a:gd name="connsiteY2" fmla="*/ 16068 h 51815"/>
                    <a:gd name="connsiteX3" fmla="*/ 0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51816"/>
                      </a:moveTo>
                      <a:cubicBezTo>
                        <a:pt x="2865" y="44093"/>
                        <a:pt x="2242" y="37741"/>
                        <a:pt x="2242" y="33381"/>
                      </a:cubicBezTo>
                      <a:cubicBezTo>
                        <a:pt x="2242" y="26406"/>
                        <a:pt x="4111"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5" name="Freeform 7565">
                  <a:extLst>
                    <a:ext uri="{FF2B5EF4-FFF2-40B4-BE49-F238E27FC236}">
                      <a16:creationId xmlns:a16="http://schemas.microsoft.com/office/drawing/2014/main" id="{20DE62ED-5B69-5510-FB81-8946735CDE7B}"/>
                    </a:ext>
                  </a:extLst>
                </p:cNvPr>
                <p:cNvSpPr/>
                <p:nvPr/>
              </p:nvSpPr>
              <p:spPr>
                <a:xfrm>
                  <a:off x="7255288" y="1791765"/>
                  <a:ext cx="26299" cy="26423"/>
                </a:xfrm>
                <a:custGeom>
                  <a:avLst/>
                  <a:gdLst>
                    <a:gd name="connsiteX0" fmla="*/ 26229 w 26299"/>
                    <a:gd name="connsiteY0" fmla="*/ 11779 h 26423"/>
                    <a:gd name="connsiteX1" fmla="*/ 14520 w 26299"/>
                    <a:gd name="connsiteY1" fmla="*/ 26353 h 26423"/>
                    <a:gd name="connsiteX2" fmla="*/ 71 w 26299"/>
                    <a:gd name="connsiteY2" fmla="*/ 14644 h 26423"/>
                    <a:gd name="connsiteX3" fmla="*/ 11780 w 26299"/>
                    <a:gd name="connsiteY3" fmla="*/ 71 h 26423"/>
                    <a:gd name="connsiteX4" fmla="*/ 26229 w 26299"/>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23">
                      <a:moveTo>
                        <a:pt x="26229" y="11779"/>
                      </a:moveTo>
                      <a:cubicBezTo>
                        <a:pt x="26976" y="19004"/>
                        <a:pt x="21744" y="25605"/>
                        <a:pt x="14520" y="26353"/>
                      </a:cubicBezTo>
                      <a:cubicBezTo>
                        <a:pt x="7296" y="27100"/>
                        <a:pt x="818" y="21869"/>
                        <a:pt x="71" y="14644"/>
                      </a:cubicBezTo>
                      <a:cubicBezTo>
                        <a:pt x="-676" y="7420"/>
                        <a:pt x="4555" y="818"/>
                        <a:pt x="11780" y="71"/>
                      </a:cubicBezTo>
                      <a:cubicBezTo>
                        <a:pt x="19004" y="-676"/>
                        <a:pt x="25481" y="4555"/>
                        <a:pt x="26229"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8" name="Graphic 2987">
                <a:extLst>
                  <a:ext uri="{FF2B5EF4-FFF2-40B4-BE49-F238E27FC236}">
                    <a16:creationId xmlns:a16="http://schemas.microsoft.com/office/drawing/2014/main" id="{A2066346-1E2F-8EF3-C585-27A2D61F2693}"/>
                  </a:ext>
                </a:extLst>
              </p:cNvPr>
              <p:cNvGrpSpPr/>
              <p:nvPr/>
            </p:nvGrpSpPr>
            <p:grpSpPr>
              <a:xfrm>
                <a:off x="7226018" y="1795004"/>
                <a:ext cx="38877" cy="148263"/>
                <a:chOff x="7226018" y="1795004"/>
                <a:chExt cx="38877" cy="148263"/>
              </a:xfrm>
              <a:grpFill/>
            </p:grpSpPr>
            <p:sp>
              <p:nvSpPr>
                <p:cNvPr id="6564" name="Freeform 7567">
                  <a:extLst>
                    <a:ext uri="{FF2B5EF4-FFF2-40B4-BE49-F238E27FC236}">
                      <a16:creationId xmlns:a16="http://schemas.microsoft.com/office/drawing/2014/main" id="{92914C57-C9E6-ACCF-C33C-1440363ABB95}"/>
                    </a:ext>
                  </a:extLst>
                </p:cNvPr>
                <p:cNvSpPr/>
                <p:nvPr/>
              </p:nvSpPr>
              <p:spPr>
                <a:xfrm>
                  <a:off x="7248760" y="1870681"/>
                  <a:ext cx="6722" cy="51940"/>
                </a:xfrm>
                <a:custGeom>
                  <a:avLst/>
                  <a:gdLst>
                    <a:gd name="connsiteX0" fmla="*/ 5728 w 6722"/>
                    <a:gd name="connsiteY0" fmla="*/ 51941 h 51940"/>
                    <a:gd name="connsiteX1" fmla="*/ 5728 w 6722"/>
                    <a:gd name="connsiteY1" fmla="*/ 33132 h 51940"/>
                    <a:gd name="connsiteX2" fmla="*/ 621 w 6722"/>
                    <a:gd name="connsiteY2" fmla="*/ 16566 h 51940"/>
                    <a:gd name="connsiteX3" fmla="*/ 1119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51941"/>
                      </a:moveTo>
                      <a:cubicBezTo>
                        <a:pt x="7347" y="43720"/>
                        <a:pt x="6724" y="37367"/>
                        <a:pt x="5728" y="33132"/>
                      </a:cubicBezTo>
                      <a:cubicBezTo>
                        <a:pt x="4233" y="26282"/>
                        <a:pt x="1742" y="23541"/>
                        <a:pt x="621" y="16566"/>
                      </a:cubicBezTo>
                      <a:cubicBezTo>
                        <a:pt x="-625" y="9715"/>
                        <a:pt x="247" y="3861"/>
                        <a:pt x="11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5" name="Freeform 7568">
                  <a:extLst>
                    <a:ext uri="{FF2B5EF4-FFF2-40B4-BE49-F238E27FC236}">
                      <a16:creationId xmlns:a16="http://schemas.microsoft.com/office/drawing/2014/main" id="{605D638C-C567-4ACC-80A6-75E6EE7719B7}"/>
                    </a:ext>
                  </a:extLst>
                </p:cNvPr>
                <p:cNvSpPr/>
                <p:nvPr/>
              </p:nvSpPr>
              <p:spPr>
                <a:xfrm>
                  <a:off x="7242032" y="1876535"/>
                  <a:ext cx="6103" cy="51815"/>
                </a:xfrm>
                <a:custGeom>
                  <a:avLst/>
                  <a:gdLst>
                    <a:gd name="connsiteX0" fmla="*/ 0 w 6103"/>
                    <a:gd name="connsiteY0" fmla="*/ 0 h 51815"/>
                    <a:gd name="connsiteX1" fmla="*/ 3861 w 6103"/>
                    <a:gd name="connsiteY1" fmla="*/ 18435 h 51815"/>
                    <a:gd name="connsiteX2" fmla="*/ 2242 w 6103"/>
                    <a:gd name="connsiteY2" fmla="*/ 35748 h 51815"/>
                    <a:gd name="connsiteX3" fmla="*/ 6103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0" y="0"/>
                      </a:moveTo>
                      <a:cubicBezTo>
                        <a:pt x="3239" y="7723"/>
                        <a:pt x="3861" y="14075"/>
                        <a:pt x="3861" y="18435"/>
                      </a:cubicBezTo>
                      <a:cubicBezTo>
                        <a:pt x="3737" y="25410"/>
                        <a:pt x="1993" y="28648"/>
                        <a:pt x="2242" y="35748"/>
                      </a:cubicBezTo>
                      <a:cubicBezTo>
                        <a:pt x="2491" y="42599"/>
                        <a:pt x="4485" y="48204"/>
                        <a:pt x="610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6" name="Freeform 7569">
                  <a:extLst>
                    <a:ext uri="{FF2B5EF4-FFF2-40B4-BE49-F238E27FC236}">
                      <a16:creationId xmlns:a16="http://schemas.microsoft.com/office/drawing/2014/main" id="{C83E91DF-63C9-DB94-96D6-EAA2EB477F4C}"/>
                    </a:ext>
                  </a:extLst>
                </p:cNvPr>
                <p:cNvSpPr/>
                <p:nvPr/>
              </p:nvSpPr>
              <p:spPr>
                <a:xfrm>
                  <a:off x="7238226" y="1916696"/>
                  <a:ext cx="26670" cy="26570"/>
                </a:xfrm>
                <a:custGeom>
                  <a:avLst/>
                  <a:gdLst>
                    <a:gd name="connsiteX0" fmla="*/ 70 w 26670"/>
                    <a:gd name="connsiteY0" fmla="*/ 14769 h 26570"/>
                    <a:gd name="connsiteX1" fmla="*/ 12027 w 26670"/>
                    <a:gd name="connsiteY1" fmla="*/ 71 h 26570"/>
                    <a:gd name="connsiteX2" fmla="*/ 26600 w 26670"/>
                    <a:gd name="connsiteY2" fmla="*/ 11779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79"/>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7" name="Freeform 7570">
                  <a:extLst>
                    <a:ext uri="{FF2B5EF4-FFF2-40B4-BE49-F238E27FC236}">
                      <a16:creationId xmlns:a16="http://schemas.microsoft.com/office/drawing/2014/main" id="{D682A4ED-A7DD-DD82-5185-50C35A882F3E}"/>
                    </a:ext>
                  </a:extLst>
                </p:cNvPr>
                <p:cNvSpPr/>
                <p:nvPr/>
              </p:nvSpPr>
              <p:spPr>
                <a:xfrm>
                  <a:off x="7235308" y="1815627"/>
                  <a:ext cx="6721" cy="51940"/>
                </a:xfrm>
                <a:custGeom>
                  <a:avLst/>
                  <a:gdLst>
                    <a:gd name="connsiteX0" fmla="*/ 995 w 6721"/>
                    <a:gd name="connsiteY0" fmla="*/ 0 h 51940"/>
                    <a:gd name="connsiteX1" fmla="*/ 995 w 6721"/>
                    <a:gd name="connsiteY1" fmla="*/ 18808 h 51940"/>
                    <a:gd name="connsiteX2" fmla="*/ 6101 w 6721"/>
                    <a:gd name="connsiteY2" fmla="*/ 35374 h 51940"/>
                    <a:gd name="connsiteX3" fmla="*/ 5603 w 672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1" h="51940">
                      <a:moveTo>
                        <a:pt x="995" y="0"/>
                      </a:moveTo>
                      <a:cubicBezTo>
                        <a:pt x="-625" y="8221"/>
                        <a:pt x="-2" y="14573"/>
                        <a:pt x="995" y="18808"/>
                      </a:cubicBezTo>
                      <a:cubicBezTo>
                        <a:pt x="2489" y="25659"/>
                        <a:pt x="4856" y="28399"/>
                        <a:pt x="6101" y="35374"/>
                      </a:cubicBezTo>
                      <a:cubicBezTo>
                        <a:pt x="7346" y="42225"/>
                        <a:pt x="6475" y="48079"/>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8" name="Freeform 7571">
                  <a:extLst>
                    <a:ext uri="{FF2B5EF4-FFF2-40B4-BE49-F238E27FC236}">
                      <a16:creationId xmlns:a16="http://schemas.microsoft.com/office/drawing/2014/main" id="{FBBBDACE-FBFA-DAB4-E5CC-43F4540F2A6A}"/>
                    </a:ext>
                  </a:extLst>
                </p:cNvPr>
                <p:cNvSpPr/>
                <p:nvPr/>
              </p:nvSpPr>
              <p:spPr>
                <a:xfrm>
                  <a:off x="7242654" y="1809897"/>
                  <a:ext cx="6103" cy="51815"/>
                </a:xfrm>
                <a:custGeom>
                  <a:avLst/>
                  <a:gdLst>
                    <a:gd name="connsiteX0" fmla="*/ 6104 w 6103"/>
                    <a:gd name="connsiteY0" fmla="*/ 51816 h 51815"/>
                    <a:gd name="connsiteX1" fmla="*/ 2243 w 6103"/>
                    <a:gd name="connsiteY1" fmla="*/ 33381 h 51815"/>
                    <a:gd name="connsiteX2" fmla="*/ 3862 w 6103"/>
                    <a:gd name="connsiteY2" fmla="*/ 16068 h 51815"/>
                    <a:gd name="connsiteX3" fmla="*/ 0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51816"/>
                      </a:moveTo>
                      <a:cubicBezTo>
                        <a:pt x="2865" y="44093"/>
                        <a:pt x="2243" y="37741"/>
                        <a:pt x="2243" y="33381"/>
                      </a:cubicBezTo>
                      <a:cubicBezTo>
                        <a:pt x="2243" y="26406"/>
                        <a:pt x="4111" y="23168"/>
                        <a:pt x="3862" y="16068"/>
                      </a:cubicBezTo>
                      <a:cubicBezTo>
                        <a:pt x="3613"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9" name="Freeform 7572">
                  <a:extLst>
                    <a:ext uri="{FF2B5EF4-FFF2-40B4-BE49-F238E27FC236}">
                      <a16:creationId xmlns:a16="http://schemas.microsoft.com/office/drawing/2014/main" id="{DD406A57-1129-F1B3-E27D-883AD4307AE1}"/>
                    </a:ext>
                  </a:extLst>
                </p:cNvPr>
                <p:cNvSpPr/>
                <p:nvPr/>
              </p:nvSpPr>
              <p:spPr>
                <a:xfrm>
                  <a:off x="7226018" y="1795004"/>
                  <a:ext cx="26298" cy="26423"/>
                </a:xfrm>
                <a:custGeom>
                  <a:avLst/>
                  <a:gdLst>
                    <a:gd name="connsiteX0" fmla="*/ 26228 w 26298"/>
                    <a:gd name="connsiteY0" fmla="*/ 11779 h 26423"/>
                    <a:gd name="connsiteX1" fmla="*/ 14519 w 26298"/>
                    <a:gd name="connsiteY1" fmla="*/ 26353 h 26423"/>
                    <a:gd name="connsiteX2" fmla="*/ 71 w 26298"/>
                    <a:gd name="connsiteY2" fmla="*/ 14644 h 26423"/>
                    <a:gd name="connsiteX3" fmla="*/ 11780 w 26298"/>
                    <a:gd name="connsiteY3" fmla="*/ 71 h 26423"/>
                    <a:gd name="connsiteX4" fmla="*/ 26228 w 26298"/>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423">
                      <a:moveTo>
                        <a:pt x="26228" y="11779"/>
                      </a:moveTo>
                      <a:cubicBezTo>
                        <a:pt x="26975" y="19004"/>
                        <a:pt x="21744" y="25605"/>
                        <a:pt x="14519" y="26353"/>
                      </a:cubicBezTo>
                      <a:cubicBezTo>
                        <a:pt x="7295" y="27100"/>
                        <a:pt x="818" y="21869"/>
                        <a:pt x="71" y="14644"/>
                      </a:cubicBezTo>
                      <a:cubicBezTo>
                        <a:pt x="-676" y="7420"/>
                        <a:pt x="4555" y="818"/>
                        <a:pt x="11780" y="71"/>
                      </a:cubicBezTo>
                      <a:cubicBezTo>
                        <a:pt x="19003" y="-676"/>
                        <a:pt x="25481" y="4555"/>
                        <a:pt x="26228"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9" name="Graphic 2987">
                <a:extLst>
                  <a:ext uri="{FF2B5EF4-FFF2-40B4-BE49-F238E27FC236}">
                    <a16:creationId xmlns:a16="http://schemas.microsoft.com/office/drawing/2014/main" id="{35B6FDFF-B66B-3A8E-7E6C-F14332B07062}"/>
                  </a:ext>
                </a:extLst>
              </p:cNvPr>
              <p:cNvGrpSpPr/>
              <p:nvPr/>
            </p:nvGrpSpPr>
            <p:grpSpPr>
              <a:xfrm>
                <a:off x="7196624" y="1798218"/>
                <a:ext cx="38627" cy="148287"/>
                <a:chOff x="7196624" y="1798218"/>
                <a:chExt cx="38627" cy="148287"/>
              </a:xfrm>
              <a:grpFill/>
            </p:grpSpPr>
            <p:sp>
              <p:nvSpPr>
                <p:cNvPr id="6558" name="Freeform 7574">
                  <a:extLst>
                    <a:ext uri="{FF2B5EF4-FFF2-40B4-BE49-F238E27FC236}">
                      <a16:creationId xmlns:a16="http://schemas.microsoft.com/office/drawing/2014/main" id="{671B0026-A0AE-A5BF-6680-83F769BA6CC1}"/>
                    </a:ext>
                  </a:extLst>
                </p:cNvPr>
                <p:cNvSpPr/>
                <p:nvPr/>
              </p:nvSpPr>
              <p:spPr>
                <a:xfrm>
                  <a:off x="7219295" y="1873920"/>
                  <a:ext cx="6553" cy="51940"/>
                </a:xfrm>
                <a:custGeom>
                  <a:avLst/>
                  <a:gdLst>
                    <a:gd name="connsiteX0" fmla="*/ 5548 w 6553"/>
                    <a:gd name="connsiteY0" fmla="*/ 51941 h 51940"/>
                    <a:gd name="connsiteX1" fmla="*/ 5672 w 6553"/>
                    <a:gd name="connsiteY1" fmla="*/ 33132 h 51940"/>
                    <a:gd name="connsiteX2" fmla="*/ 566 w 6553"/>
                    <a:gd name="connsiteY2" fmla="*/ 16566 h 51940"/>
                    <a:gd name="connsiteX3" fmla="*/ 1064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2" y="33132"/>
                      </a:cubicBezTo>
                      <a:cubicBezTo>
                        <a:pt x="4178" y="26282"/>
                        <a:pt x="1811" y="23541"/>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9" name="Freeform 7575">
                  <a:extLst>
                    <a:ext uri="{FF2B5EF4-FFF2-40B4-BE49-F238E27FC236}">
                      <a16:creationId xmlns:a16="http://schemas.microsoft.com/office/drawing/2014/main" id="{D386A282-7E51-F569-B2E7-22AE150E71A4}"/>
                    </a:ext>
                  </a:extLst>
                </p:cNvPr>
                <p:cNvSpPr/>
                <p:nvPr/>
              </p:nvSpPr>
              <p:spPr>
                <a:xfrm>
                  <a:off x="7212512" y="1879774"/>
                  <a:ext cx="5854" cy="51815"/>
                </a:xfrm>
                <a:custGeom>
                  <a:avLst/>
                  <a:gdLst>
                    <a:gd name="connsiteX0" fmla="*/ 0 w 5854"/>
                    <a:gd name="connsiteY0" fmla="*/ 0 h 51815"/>
                    <a:gd name="connsiteX1" fmla="*/ 3861 w 5854"/>
                    <a:gd name="connsiteY1" fmla="*/ 18435 h 51815"/>
                    <a:gd name="connsiteX2" fmla="*/ 2117 w 5854"/>
                    <a:gd name="connsiteY2" fmla="*/ 35748 h 51815"/>
                    <a:gd name="connsiteX3" fmla="*/ 5855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0" y="0"/>
                      </a:moveTo>
                      <a:cubicBezTo>
                        <a:pt x="3239" y="7723"/>
                        <a:pt x="3861" y="14075"/>
                        <a:pt x="3861" y="18435"/>
                      </a:cubicBezTo>
                      <a:cubicBezTo>
                        <a:pt x="3737" y="25410"/>
                        <a:pt x="1993" y="28648"/>
                        <a:pt x="2117" y="35748"/>
                      </a:cubicBezTo>
                      <a:cubicBezTo>
                        <a:pt x="2367" y="42599"/>
                        <a:pt x="4235" y="48204"/>
                        <a:pt x="585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0" name="Freeform 7576">
                  <a:extLst>
                    <a:ext uri="{FF2B5EF4-FFF2-40B4-BE49-F238E27FC236}">
                      <a16:creationId xmlns:a16="http://schemas.microsoft.com/office/drawing/2014/main" id="{1F4D7012-451F-BF24-8FBC-19C904D4277D}"/>
                    </a:ext>
                  </a:extLst>
                </p:cNvPr>
                <p:cNvSpPr/>
                <p:nvPr/>
              </p:nvSpPr>
              <p:spPr>
                <a:xfrm>
                  <a:off x="7208581" y="1919935"/>
                  <a:ext cx="26670" cy="26570"/>
                </a:xfrm>
                <a:custGeom>
                  <a:avLst/>
                  <a:gdLst>
                    <a:gd name="connsiteX0" fmla="*/ 70 w 26670"/>
                    <a:gd name="connsiteY0" fmla="*/ 14769 h 26570"/>
                    <a:gd name="connsiteX1" fmla="*/ 12027 w 26670"/>
                    <a:gd name="connsiteY1" fmla="*/ 71 h 26570"/>
                    <a:gd name="connsiteX2" fmla="*/ 26600 w 26670"/>
                    <a:gd name="connsiteY2" fmla="*/ 11780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80"/>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1" name="Freeform 7577">
                  <a:extLst>
                    <a:ext uri="{FF2B5EF4-FFF2-40B4-BE49-F238E27FC236}">
                      <a16:creationId xmlns:a16="http://schemas.microsoft.com/office/drawing/2014/main" id="{4E27AC4B-B4B8-0AD1-52E6-800937164DC7}"/>
                    </a:ext>
                  </a:extLst>
                </p:cNvPr>
                <p:cNvSpPr/>
                <p:nvPr/>
              </p:nvSpPr>
              <p:spPr>
                <a:xfrm>
                  <a:off x="7205901" y="1818865"/>
                  <a:ext cx="6553" cy="51940"/>
                </a:xfrm>
                <a:custGeom>
                  <a:avLst/>
                  <a:gdLst>
                    <a:gd name="connsiteX0" fmla="*/ 1005 w 6553"/>
                    <a:gd name="connsiteY0" fmla="*/ 0 h 51940"/>
                    <a:gd name="connsiteX1" fmla="*/ 881 w 6553"/>
                    <a:gd name="connsiteY1" fmla="*/ 18808 h 51940"/>
                    <a:gd name="connsiteX2" fmla="*/ 5988 w 6553"/>
                    <a:gd name="connsiteY2" fmla="*/ 35374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5" y="0"/>
                      </a:moveTo>
                      <a:cubicBezTo>
                        <a:pt x="-614" y="8221"/>
                        <a:pt x="9" y="14573"/>
                        <a:pt x="881" y="18808"/>
                      </a:cubicBezTo>
                      <a:cubicBezTo>
                        <a:pt x="2376" y="25659"/>
                        <a:pt x="4743" y="28399"/>
                        <a:pt x="5988" y="35374"/>
                      </a:cubicBezTo>
                      <a:cubicBezTo>
                        <a:pt x="7109" y="42225"/>
                        <a:pt x="6362" y="48079"/>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2" name="Freeform 7578">
                  <a:extLst>
                    <a:ext uri="{FF2B5EF4-FFF2-40B4-BE49-F238E27FC236}">
                      <a16:creationId xmlns:a16="http://schemas.microsoft.com/office/drawing/2014/main" id="{72254204-F3F5-94F7-F6DE-4C101259CEE5}"/>
                    </a:ext>
                  </a:extLst>
                </p:cNvPr>
                <p:cNvSpPr/>
                <p:nvPr/>
              </p:nvSpPr>
              <p:spPr>
                <a:xfrm>
                  <a:off x="7213384" y="1813136"/>
                  <a:ext cx="5854" cy="51815"/>
                </a:xfrm>
                <a:custGeom>
                  <a:avLst/>
                  <a:gdLst>
                    <a:gd name="connsiteX0" fmla="*/ 5855 w 5854"/>
                    <a:gd name="connsiteY0" fmla="*/ 51816 h 51815"/>
                    <a:gd name="connsiteX1" fmla="*/ 1993 w 5854"/>
                    <a:gd name="connsiteY1" fmla="*/ 33381 h 51815"/>
                    <a:gd name="connsiteX2" fmla="*/ 3737 w 5854"/>
                    <a:gd name="connsiteY2" fmla="*/ 16068 h 51815"/>
                    <a:gd name="connsiteX3" fmla="*/ 0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5855" y="51816"/>
                      </a:moveTo>
                      <a:cubicBezTo>
                        <a:pt x="2616" y="44093"/>
                        <a:pt x="1993" y="37741"/>
                        <a:pt x="1993" y="33381"/>
                      </a:cubicBezTo>
                      <a:cubicBezTo>
                        <a:pt x="2117" y="26406"/>
                        <a:pt x="3861" y="23168"/>
                        <a:pt x="3737"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3" name="Freeform 7579">
                  <a:extLst>
                    <a:ext uri="{FF2B5EF4-FFF2-40B4-BE49-F238E27FC236}">
                      <a16:creationId xmlns:a16="http://schemas.microsoft.com/office/drawing/2014/main" id="{A4C677A9-0FD6-3D07-FFC3-AF775AAB3D83}"/>
                    </a:ext>
                  </a:extLst>
                </p:cNvPr>
                <p:cNvSpPr/>
                <p:nvPr/>
              </p:nvSpPr>
              <p:spPr>
                <a:xfrm>
                  <a:off x="7196624" y="1798218"/>
                  <a:ext cx="26422" cy="26447"/>
                </a:xfrm>
                <a:custGeom>
                  <a:avLst/>
                  <a:gdLst>
                    <a:gd name="connsiteX0" fmla="*/ 26351 w 26422"/>
                    <a:gd name="connsiteY0" fmla="*/ 11803 h 26447"/>
                    <a:gd name="connsiteX1" fmla="*/ 14518 w 26422"/>
                    <a:gd name="connsiteY1" fmla="*/ 26377 h 26447"/>
                    <a:gd name="connsiteX2" fmla="*/ 70 w 26422"/>
                    <a:gd name="connsiteY2" fmla="*/ 14668 h 26447"/>
                    <a:gd name="connsiteX3" fmla="*/ 11902 w 26422"/>
                    <a:gd name="connsiteY3" fmla="*/ 95 h 26447"/>
                    <a:gd name="connsiteX4" fmla="*/ 26351 w 26422"/>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47">
                      <a:moveTo>
                        <a:pt x="26351" y="11803"/>
                      </a:moveTo>
                      <a:cubicBezTo>
                        <a:pt x="27099" y="19028"/>
                        <a:pt x="21867" y="25629"/>
                        <a:pt x="14518" y="26377"/>
                      </a:cubicBezTo>
                      <a:cubicBezTo>
                        <a:pt x="7294" y="27124"/>
                        <a:pt x="817" y="21893"/>
                        <a:pt x="70" y="14668"/>
                      </a:cubicBezTo>
                      <a:cubicBezTo>
                        <a:pt x="-678" y="7444"/>
                        <a:pt x="4678" y="842"/>
                        <a:pt x="11902" y="95"/>
                      </a:cubicBezTo>
                      <a:cubicBezTo>
                        <a:pt x="19127" y="-777"/>
                        <a:pt x="25604" y="4454"/>
                        <a:pt x="26351"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0" name="Graphic 2987">
                <a:extLst>
                  <a:ext uri="{FF2B5EF4-FFF2-40B4-BE49-F238E27FC236}">
                    <a16:creationId xmlns:a16="http://schemas.microsoft.com/office/drawing/2014/main" id="{60D83DC5-B671-B914-64BE-79AAA4B9C15F}"/>
                  </a:ext>
                </a:extLst>
              </p:cNvPr>
              <p:cNvGrpSpPr/>
              <p:nvPr/>
            </p:nvGrpSpPr>
            <p:grpSpPr>
              <a:xfrm>
                <a:off x="7167228" y="1801457"/>
                <a:ext cx="38378" cy="148262"/>
                <a:chOff x="7167228" y="1801457"/>
                <a:chExt cx="38378" cy="148262"/>
              </a:xfrm>
              <a:grpFill/>
            </p:grpSpPr>
            <p:sp>
              <p:nvSpPr>
                <p:cNvPr id="6552" name="Freeform 7581">
                  <a:extLst>
                    <a:ext uri="{FF2B5EF4-FFF2-40B4-BE49-F238E27FC236}">
                      <a16:creationId xmlns:a16="http://schemas.microsoft.com/office/drawing/2014/main" id="{F82D3AD7-329F-5F1A-C6E0-2D21485E5B56}"/>
                    </a:ext>
                  </a:extLst>
                </p:cNvPr>
                <p:cNvSpPr/>
                <p:nvPr/>
              </p:nvSpPr>
              <p:spPr>
                <a:xfrm>
                  <a:off x="7189781" y="1877034"/>
                  <a:ext cx="6640" cy="52065"/>
                </a:xfrm>
                <a:custGeom>
                  <a:avLst/>
                  <a:gdLst>
                    <a:gd name="connsiteX0" fmla="*/ 5542 w 6640"/>
                    <a:gd name="connsiteY0" fmla="*/ 52065 h 52065"/>
                    <a:gd name="connsiteX1" fmla="*/ 5667 w 6640"/>
                    <a:gd name="connsiteY1" fmla="*/ 33257 h 52065"/>
                    <a:gd name="connsiteX2" fmla="*/ 560 w 6640"/>
                    <a:gd name="connsiteY2" fmla="*/ 16566 h 52065"/>
                    <a:gd name="connsiteX3" fmla="*/ 1183 w 6640"/>
                    <a:gd name="connsiteY3" fmla="*/ 0 h 52065"/>
                  </a:gdLst>
                  <a:ahLst/>
                  <a:cxnLst>
                    <a:cxn ang="0">
                      <a:pos x="connsiteX0" y="connsiteY0"/>
                    </a:cxn>
                    <a:cxn ang="0">
                      <a:pos x="connsiteX1" y="connsiteY1"/>
                    </a:cxn>
                    <a:cxn ang="0">
                      <a:pos x="connsiteX2" y="connsiteY2"/>
                    </a:cxn>
                    <a:cxn ang="0">
                      <a:pos x="connsiteX3" y="connsiteY3"/>
                    </a:cxn>
                  </a:cxnLst>
                  <a:rect l="l" t="t" r="r" b="b"/>
                  <a:pathLst>
                    <a:path w="6640" h="52065">
                      <a:moveTo>
                        <a:pt x="5542" y="52065"/>
                      </a:moveTo>
                      <a:cubicBezTo>
                        <a:pt x="7286" y="43844"/>
                        <a:pt x="6663" y="37492"/>
                        <a:pt x="5667" y="33257"/>
                      </a:cubicBezTo>
                      <a:cubicBezTo>
                        <a:pt x="4172" y="26406"/>
                        <a:pt x="1805" y="23666"/>
                        <a:pt x="560" y="16566"/>
                      </a:cubicBezTo>
                      <a:cubicBezTo>
                        <a:pt x="-561" y="9715"/>
                        <a:pt x="186" y="3861"/>
                        <a:pt x="11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3" name="Freeform 7582">
                  <a:extLst>
                    <a:ext uri="{FF2B5EF4-FFF2-40B4-BE49-F238E27FC236}">
                      <a16:creationId xmlns:a16="http://schemas.microsoft.com/office/drawing/2014/main" id="{E3F425D2-3A95-88E6-3F75-503578377118}"/>
                    </a:ext>
                  </a:extLst>
                </p:cNvPr>
                <p:cNvSpPr/>
                <p:nvPr/>
              </p:nvSpPr>
              <p:spPr>
                <a:xfrm>
                  <a:off x="7182992" y="1883012"/>
                  <a:ext cx="5729" cy="51815"/>
                </a:xfrm>
                <a:custGeom>
                  <a:avLst/>
                  <a:gdLst>
                    <a:gd name="connsiteX0" fmla="*/ 0 w 5729"/>
                    <a:gd name="connsiteY0" fmla="*/ 0 h 51815"/>
                    <a:gd name="connsiteX1" fmla="*/ 3737 w 5729"/>
                    <a:gd name="connsiteY1" fmla="*/ 18435 h 51815"/>
                    <a:gd name="connsiteX2" fmla="*/ 1993 w 5729"/>
                    <a:gd name="connsiteY2" fmla="*/ 35748 h 51815"/>
                    <a:gd name="connsiteX3" fmla="*/ 573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0" y="0"/>
                      </a:moveTo>
                      <a:cubicBezTo>
                        <a:pt x="3239" y="7847"/>
                        <a:pt x="3861" y="14075"/>
                        <a:pt x="3737" y="18435"/>
                      </a:cubicBezTo>
                      <a:cubicBezTo>
                        <a:pt x="3612" y="25410"/>
                        <a:pt x="1744"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4" name="Freeform 7583">
                  <a:extLst>
                    <a:ext uri="{FF2B5EF4-FFF2-40B4-BE49-F238E27FC236}">
                      <a16:creationId xmlns:a16="http://schemas.microsoft.com/office/drawing/2014/main" id="{858AB4CE-1CA8-24CB-052F-7571D4A57606}"/>
                    </a:ext>
                  </a:extLst>
                </p:cNvPr>
                <p:cNvSpPr/>
                <p:nvPr/>
              </p:nvSpPr>
              <p:spPr>
                <a:xfrm>
                  <a:off x="7178937" y="1923173"/>
                  <a:ext cx="26668" cy="26545"/>
                </a:xfrm>
                <a:custGeom>
                  <a:avLst/>
                  <a:gdLst>
                    <a:gd name="connsiteX0" fmla="*/ 68 w 26668"/>
                    <a:gd name="connsiteY0" fmla="*/ 14520 h 26545"/>
                    <a:gd name="connsiteX1" fmla="*/ 12026 w 26668"/>
                    <a:gd name="connsiteY1" fmla="*/ 71 h 26545"/>
                    <a:gd name="connsiteX2" fmla="*/ 26599 w 26668"/>
                    <a:gd name="connsiteY2" fmla="*/ 11779 h 26545"/>
                    <a:gd name="connsiteX3" fmla="*/ 14642 w 26668"/>
                    <a:gd name="connsiteY3" fmla="*/ 26477 h 26545"/>
                    <a:gd name="connsiteX4" fmla="*/ 68 w 26668"/>
                    <a:gd name="connsiteY4" fmla="*/ 14520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45">
                      <a:moveTo>
                        <a:pt x="68" y="14520"/>
                      </a:moveTo>
                      <a:cubicBezTo>
                        <a:pt x="-679" y="7171"/>
                        <a:pt x="4802" y="943"/>
                        <a:pt x="12026" y="71"/>
                      </a:cubicBezTo>
                      <a:cubicBezTo>
                        <a:pt x="19375" y="-676"/>
                        <a:pt x="25852" y="4555"/>
                        <a:pt x="26599" y="11779"/>
                      </a:cubicBezTo>
                      <a:cubicBezTo>
                        <a:pt x="27346" y="19004"/>
                        <a:pt x="21991" y="25605"/>
                        <a:pt x="14642" y="26477"/>
                      </a:cubicBezTo>
                      <a:cubicBezTo>
                        <a:pt x="7293" y="27225"/>
                        <a:pt x="816" y="21744"/>
                        <a:pt x="68" y="145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5" name="Freeform 7584">
                  <a:extLst>
                    <a:ext uri="{FF2B5EF4-FFF2-40B4-BE49-F238E27FC236}">
                      <a16:creationId xmlns:a16="http://schemas.microsoft.com/office/drawing/2014/main" id="{AFCBD787-676E-0FAC-EFE2-7F22F6FC3ED6}"/>
                    </a:ext>
                  </a:extLst>
                </p:cNvPr>
                <p:cNvSpPr/>
                <p:nvPr/>
              </p:nvSpPr>
              <p:spPr>
                <a:xfrm>
                  <a:off x="7176413" y="1822104"/>
                  <a:ext cx="6640" cy="51940"/>
                </a:xfrm>
                <a:custGeom>
                  <a:avLst/>
                  <a:gdLst>
                    <a:gd name="connsiteX0" fmla="*/ 1098 w 6640"/>
                    <a:gd name="connsiteY0" fmla="*/ 0 h 51940"/>
                    <a:gd name="connsiteX1" fmla="*/ 973 w 6640"/>
                    <a:gd name="connsiteY1" fmla="*/ 18808 h 51940"/>
                    <a:gd name="connsiteX2" fmla="*/ 6081 w 6640"/>
                    <a:gd name="connsiteY2" fmla="*/ 35499 h 51940"/>
                    <a:gd name="connsiteX3" fmla="*/ 5458 w 664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40" h="51940">
                      <a:moveTo>
                        <a:pt x="1098" y="0"/>
                      </a:moveTo>
                      <a:cubicBezTo>
                        <a:pt x="-646" y="8221"/>
                        <a:pt x="-22" y="14573"/>
                        <a:pt x="973" y="18808"/>
                      </a:cubicBezTo>
                      <a:cubicBezTo>
                        <a:pt x="2468" y="25659"/>
                        <a:pt x="4835" y="28524"/>
                        <a:pt x="6081" y="35499"/>
                      </a:cubicBezTo>
                      <a:cubicBezTo>
                        <a:pt x="7201" y="42350"/>
                        <a:pt x="6454" y="48204"/>
                        <a:pt x="545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6" name="Freeform 7585">
                  <a:extLst>
                    <a:ext uri="{FF2B5EF4-FFF2-40B4-BE49-F238E27FC236}">
                      <a16:creationId xmlns:a16="http://schemas.microsoft.com/office/drawing/2014/main" id="{72812CDA-5A07-7E7C-9EF9-ECE2DD946F54}"/>
                    </a:ext>
                  </a:extLst>
                </p:cNvPr>
                <p:cNvSpPr/>
                <p:nvPr/>
              </p:nvSpPr>
              <p:spPr>
                <a:xfrm>
                  <a:off x="7184113" y="1816374"/>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4093"/>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7" name="Freeform 7586">
                  <a:extLst>
                    <a:ext uri="{FF2B5EF4-FFF2-40B4-BE49-F238E27FC236}">
                      <a16:creationId xmlns:a16="http://schemas.microsoft.com/office/drawing/2014/main" id="{22AD5532-E3B7-B9EC-84AA-DEFE1200FD4B}"/>
                    </a:ext>
                  </a:extLst>
                </p:cNvPr>
                <p:cNvSpPr/>
                <p:nvPr/>
              </p:nvSpPr>
              <p:spPr>
                <a:xfrm>
                  <a:off x="7167228" y="1801457"/>
                  <a:ext cx="26421" cy="26444"/>
                </a:xfrm>
                <a:custGeom>
                  <a:avLst/>
                  <a:gdLst>
                    <a:gd name="connsiteX0" fmla="*/ 26352 w 26421"/>
                    <a:gd name="connsiteY0" fmla="*/ 11803 h 26444"/>
                    <a:gd name="connsiteX1" fmla="*/ 14519 w 26421"/>
                    <a:gd name="connsiteY1" fmla="*/ 26377 h 26444"/>
                    <a:gd name="connsiteX2" fmla="*/ 70 w 26421"/>
                    <a:gd name="connsiteY2" fmla="*/ 14419 h 26444"/>
                    <a:gd name="connsiteX3" fmla="*/ 11903 w 26421"/>
                    <a:gd name="connsiteY3" fmla="*/ 95 h 26444"/>
                    <a:gd name="connsiteX4" fmla="*/ 26352 w 26421"/>
                    <a:gd name="connsiteY4" fmla="*/ 11803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44">
                      <a:moveTo>
                        <a:pt x="26352" y="11803"/>
                      </a:moveTo>
                      <a:cubicBezTo>
                        <a:pt x="27099" y="19028"/>
                        <a:pt x="21743" y="25629"/>
                        <a:pt x="14519" y="26377"/>
                      </a:cubicBezTo>
                      <a:cubicBezTo>
                        <a:pt x="7294" y="27124"/>
                        <a:pt x="817" y="21643"/>
                        <a:pt x="70" y="14419"/>
                      </a:cubicBezTo>
                      <a:cubicBezTo>
                        <a:pt x="-678" y="7070"/>
                        <a:pt x="4678" y="842"/>
                        <a:pt x="11903" y="95"/>
                      </a:cubicBezTo>
                      <a:cubicBezTo>
                        <a:pt x="19252" y="-777"/>
                        <a:pt x="25604" y="4454"/>
                        <a:pt x="26352"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1" name="Graphic 2987">
                <a:extLst>
                  <a:ext uri="{FF2B5EF4-FFF2-40B4-BE49-F238E27FC236}">
                    <a16:creationId xmlns:a16="http://schemas.microsoft.com/office/drawing/2014/main" id="{51D700B2-D727-89E7-85FA-B3C61ADFB6E0}"/>
                  </a:ext>
                </a:extLst>
              </p:cNvPr>
              <p:cNvGrpSpPr/>
              <p:nvPr/>
            </p:nvGrpSpPr>
            <p:grpSpPr>
              <a:xfrm>
                <a:off x="7137832" y="1803994"/>
                <a:ext cx="38252" cy="148322"/>
                <a:chOff x="7137832" y="1803994"/>
                <a:chExt cx="38252" cy="148322"/>
              </a:xfrm>
              <a:grpFill/>
            </p:grpSpPr>
            <p:sp>
              <p:nvSpPr>
                <p:cNvPr id="6546" name="Freeform 7588">
                  <a:extLst>
                    <a:ext uri="{FF2B5EF4-FFF2-40B4-BE49-F238E27FC236}">
                      <a16:creationId xmlns:a16="http://schemas.microsoft.com/office/drawing/2014/main" id="{3A584EAC-A05A-61EA-2275-4F64DF023425}"/>
                    </a:ext>
                  </a:extLst>
                </p:cNvPr>
                <p:cNvSpPr/>
                <p:nvPr/>
              </p:nvSpPr>
              <p:spPr>
                <a:xfrm>
                  <a:off x="7160290" y="1879774"/>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018"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7" name="Freeform 7589">
                  <a:extLst>
                    <a:ext uri="{FF2B5EF4-FFF2-40B4-BE49-F238E27FC236}">
                      <a16:creationId xmlns:a16="http://schemas.microsoft.com/office/drawing/2014/main" id="{BC481B8F-2BA8-C053-9F3C-609FE79DE60B}"/>
                    </a:ext>
                  </a:extLst>
                </p:cNvPr>
                <p:cNvSpPr/>
                <p:nvPr/>
              </p:nvSpPr>
              <p:spPr>
                <a:xfrm>
                  <a:off x="7153471" y="1885504"/>
                  <a:ext cx="5605" cy="51816"/>
                </a:xfrm>
                <a:custGeom>
                  <a:avLst/>
                  <a:gdLst>
                    <a:gd name="connsiteX0" fmla="*/ 0 w 5605"/>
                    <a:gd name="connsiteY0" fmla="*/ 0 h 51816"/>
                    <a:gd name="connsiteX1" fmla="*/ 3737 w 5605"/>
                    <a:gd name="connsiteY1" fmla="*/ 18435 h 51816"/>
                    <a:gd name="connsiteX2" fmla="*/ 1869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861" y="14075"/>
                        <a:pt x="3737" y="18435"/>
                      </a:cubicBezTo>
                      <a:cubicBezTo>
                        <a:pt x="3612" y="25410"/>
                        <a:pt x="1744" y="28648"/>
                        <a:pt x="1869" y="35748"/>
                      </a:cubicBezTo>
                      <a:cubicBezTo>
                        <a:pt x="1993" y="42599"/>
                        <a:pt x="3986"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8" name="Freeform 7590">
                  <a:extLst>
                    <a:ext uri="{FF2B5EF4-FFF2-40B4-BE49-F238E27FC236}">
                      <a16:creationId xmlns:a16="http://schemas.microsoft.com/office/drawing/2014/main" id="{1B888F99-528F-1026-D5FB-848E0686D7BB}"/>
                    </a:ext>
                  </a:extLst>
                </p:cNvPr>
                <p:cNvSpPr/>
                <p:nvPr/>
              </p:nvSpPr>
              <p:spPr>
                <a:xfrm>
                  <a:off x="7149312" y="1925811"/>
                  <a:ext cx="26772" cy="26504"/>
                </a:xfrm>
                <a:custGeom>
                  <a:avLst/>
                  <a:gdLst>
                    <a:gd name="connsiteX0" fmla="*/ 49 w 26772"/>
                    <a:gd name="connsiteY0" fmla="*/ 14373 h 26504"/>
                    <a:gd name="connsiteX1" fmla="*/ 12132 w 26772"/>
                    <a:gd name="connsiteY1" fmla="*/ 49 h 26504"/>
                    <a:gd name="connsiteX2" fmla="*/ 26705 w 26772"/>
                    <a:gd name="connsiteY2" fmla="*/ 12131 h 26504"/>
                    <a:gd name="connsiteX3" fmla="*/ 14623 w 26772"/>
                    <a:gd name="connsiteY3" fmla="*/ 26455 h 26504"/>
                    <a:gd name="connsiteX4" fmla="*/ 49 w 2677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2" h="26504">
                      <a:moveTo>
                        <a:pt x="49" y="14373"/>
                      </a:moveTo>
                      <a:cubicBezTo>
                        <a:pt x="-573" y="7024"/>
                        <a:pt x="4782" y="672"/>
                        <a:pt x="12132" y="49"/>
                      </a:cubicBezTo>
                      <a:cubicBezTo>
                        <a:pt x="19480" y="-574"/>
                        <a:pt x="25957" y="4782"/>
                        <a:pt x="26705" y="12131"/>
                      </a:cubicBezTo>
                      <a:cubicBezTo>
                        <a:pt x="27452" y="19480"/>
                        <a:pt x="21971" y="25833"/>
                        <a:pt x="14623" y="26455"/>
                      </a:cubicBezTo>
                      <a:cubicBezTo>
                        <a:pt x="7274"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9" name="Freeform 7591">
                  <a:extLst>
                    <a:ext uri="{FF2B5EF4-FFF2-40B4-BE49-F238E27FC236}">
                      <a16:creationId xmlns:a16="http://schemas.microsoft.com/office/drawing/2014/main" id="{B2CE0148-E119-E194-6FAF-A36615F181F1}"/>
                    </a:ext>
                  </a:extLst>
                </p:cNvPr>
                <p:cNvSpPr/>
                <p:nvPr/>
              </p:nvSpPr>
              <p:spPr>
                <a:xfrm>
                  <a:off x="7147005" y="1824595"/>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3" y="48079"/>
                        <a:pt x="522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0" name="Freeform 7592">
                  <a:extLst>
                    <a:ext uri="{FF2B5EF4-FFF2-40B4-BE49-F238E27FC236}">
                      <a16:creationId xmlns:a16="http://schemas.microsoft.com/office/drawing/2014/main" id="{1C25DDD5-6E5E-0CFE-0217-1D35AA3E2F0C}"/>
                    </a:ext>
                  </a:extLst>
                </p:cNvPr>
                <p:cNvSpPr/>
                <p:nvPr/>
              </p:nvSpPr>
              <p:spPr>
                <a:xfrm>
                  <a:off x="7154593" y="1818990"/>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3969"/>
                        <a:pt x="1868" y="37741"/>
                        <a:pt x="1993" y="33381"/>
                      </a:cubicBezTo>
                      <a:cubicBezTo>
                        <a:pt x="2117" y="26406"/>
                        <a:pt x="3985"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1" name="Freeform 7593">
                  <a:extLst>
                    <a:ext uri="{FF2B5EF4-FFF2-40B4-BE49-F238E27FC236}">
                      <a16:creationId xmlns:a16="http://schemas.microsoft.com/office/drawing/2014/main" id="{3951AE5F-9C54-0312-0921-5451A695FEB6}"/>
                    </a:ext>
                  </a:extLst>
                </p:cNvPr>
                <p:cNvSpPr/>
                <p:nvPr/>
              </p:nvSpPr>
              <p:spPr>
                <a:xfrm>
                  <a:off x="7137832" y="1803994"/>
                  <a:ext cx="26545" cy="26503"/>
                </a:xfrm>
                <a:custGeom>
                  <a:avLst/>
                  <a:gdLst>
                    <a:gd name="connsiteX0" fmla="*/ 26476 w 26545"/>
                    <a:gd name="connsiteY0" fmla="*/ 12131 h 26503"/>
                    <a:gd name="connsiteX1" fmla="*/ 14518 w 26545"/>
                    <a:gd name="connsiteY1" fmla="*/ 26455 h 26503"/>
                    <a:gd name="connsiteX2" fmla="*/ 70 w 26545"/>
                    <a:gd name="connsiteY2" fmla="*/ 14373 h 26503"/>
                    <a:gd name="connsiteX3" fmla="*/ 12027 w 26545"/>
                    <a:gd name="connsiteY3" fmla="*/ 49 h 26503"/>
                    <a:gd name="connsiteX4" fmla="*/ 26476 w 26545"/>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03">
                      <a:moveTo>
                        <a:pt x="26476" y="12131"/>
                      </a:moveTo>
                      <a:cubicBezTo>
                        <a:pt x="27223" y="19480"/>
                        <a:pt x="21867" y="25833"/>
                        <a:pt x="14518" y="26455"/>
                      </a:cubicBezTo>
                      <a:cubicBezTo>
                        <a:pt x="7294" y="27078"/>
                        <a:pt x="817" y="21598"/>
                        <a:pt x="70" y="14373"/>
                      </a:cubicBezTo>
                      <a:cubicBezTo>
                        <a:pt x="-678" y="7149"/>
                        <a:pt x="4678" y="672"/>
                        <a:pt x="12027" y="49"/>
                      </a:cubicBezTo>
                      <a:cubicBezTo>
                        <a:pt x="19251" y="-574"/>
                        <a:pt x="25728" y="4782"/>
                        <a:pt x="26476"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2" name="Graphic 2987">
                <a:extLst>
                  <a:ext uri="{FF2B5EF4-FFF2-40B4-BE49-F238E27FC236}">
                    <a16:creationId xmlns:a16="http://schemas.microsoft.com/office/drawing/2014/main" id="{1521B7F0-B4AA-35F4-5B49-8A8F41C5BC38}"/>
                  </a:ext>
                </a:extLst>
              </p:cNvPr>
              <p:cNvGrpSpPr/>
              <p:nvPr/>
            </p:nvGrpSpPr>
            <p:grpSpPr>
              <a:xfrm>
                <a:off x="7108582" y="1806485"/>
                <a:ext cx="37589" cy="148322"/>
                <a:chOff x="7108582" y="1806485"/>
                <a:chExt cx="37589" cy="148322"/>
              </a:xfrm>
              <a:grpFill/>
            </p:grpSpPr>
            <p:sp>
              <p:nvSpPr>
                <p:cNvPr id="6540" name="Freeform 7595">
                  <a:extLst>
                    <a:ext uri="{FF2B5EF4-FFF2-40B4-BE49-F238E27FC236}">
                      <a16:creationId xmlns:a16="http://schemas.microsoft.com/office/drawing/2014/main" id="{3BD666EB-6B67-C41B-A3D2-43386A6C1ED4}"/>
                    </a:ext>
                  </a:extLst>
                </p:cNvPr>
                <p:cNvSpPr/>
                <p:nvPr/>
              </p:nvSpPr>
              <p:spPr>
                <a:xfrm>
                  <a:off x="7130645" y="1882265"/>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143"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1" name="Freeform 7596">
                  <a:extLst>
                    <a:ext uri="{FF2B5EF4-FFF2-40B4-BE49-F238E27FC236}">
                      <a16:creationId xmlns:a16="http://schemas.microsoft.com/office/drawing/2014/main" id="{B1FD9E3E-BE32-EF5B-14DF-708896D6BCA6}"/>
                    </a:ext>
                  </a:extLst>
                </p:cNvPr>
                <p:cNvSpPr/>
                <p:nvPr/>
              </p:nvSpPr>
              <p:spPr>
                <a:xfrm>
                  <a:off x="7123827" y="1887995"/>
                  <a:ext cx="5480" cy="51815"/>
                </a:xfrm>
                <a:custGeom>
                  <a:avLst/>
                  <a:gdLst>
                    <a:gd name="connsiteX0" fmla="*/ 0 w 5480"/>
                    <a:gd name="connsiteY0" fmla="*/ 0 h 51815"/>
                    <a:gd name="connsiteX1" fmla="*/ 3737 w 5480"/>
                    <a:gd name="connsiteY1" fmla="*/ 18435 h 51815"/>
                    <a:gd name="connsiteX2" fmla="*/ 1869 w 5480"/>
                    <a:gd name="connsiteY2" fmla="*/ 35748 h 51815"/>
                    <a:gd name="connsiteX3" fmla="*/ 5481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0" y="0"/>
                      </a:moveTo>
                      <a:cubicBezTo>
                        <a:pt x="3239" y="7847"/>
                        <a:pt x="3737" y="14075"/>
                        <a:pt x="3737" y="18435"/>
                      </a:cubicBezTo>
                      <a:cubicBezTo>
                        <a:pt x="3612" y="25410"/>
                        <a:pt x="1744" y="28648"/>
                        <a:pt x="1869" y="35748"/>
                      </a:cubicBezTo>
                      <a:cubicBezTo>
                        <a:pt x="1993" y="42599"/>
                        <a:pt x="3986" y="48204"/>
                        <a:pt x="548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2" name="Freeform 7597">
                  <a:extLst>
                    <a:ext uri="{FF2B5EF4-FFF2-40B4-BE49-F238E27FC236}">
                      <a16:creationId xmlns:a16="http://schemas.microsoft.com/office/drawing/2014/main" id="{8C6E80FE-C570-E4AF-A29F-5CC80669CC1B}"/>
                    </a:ext>
                  </a:extLst>
                </p:cNvPr>
                <p:cNvSpPr/>
                <p:nvPr/>
              </p:nvSpPr>
              <p:spPr>
                <a:xfrm>
                  <a:off x="7119543" y="1928302"/>
                  <a:ext cx="26628" cy="26504"/>
                </a:xfrm>
                <a:custGeom>
                  <a:avLst/>
                  <a:gdLst>
                    <a:gd name="connsiteX0" fmla="*/ 49 w 26628"/>
                    <a:gd name="connsiteY0" fmla="*/ 14373 h 26504"/>
                    <a:gd name="connsiteX1" fmla="*/ 12131 w 26628"/>
                    <a:gd name="connsiteY1" fmla="*/ 49 h 26504"/>
                    <a:gd name="connsiteX2" fmla="*/ 26579 w 26628"/>
                    <a:gd name="connsiteY2" fmla="*/ 12131 h 26504"/>
                    <a:gd name="connsiteX3" fmla="*/ 14498 w 26628"/>
                    <a:gd name="connsiteY3" fmla="*/ 26455 h 26504"/>
                    <a:gd name="connsiteX4" fmla="*/ 49 w 2662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504">
                      <a:moveTo>
                        <a:pt x="49" y="14373"/>
                      </a:moveTo>
                      <a:cubicBezTo>
                        <a:pt x="-574" y="7024"/>
                        <a:pt x="4782" y="672"/>
                        <a:pt x="12131" y="49"/>
                      </a:cubicBezTo>
                      <a:cubicBezTo>
                        <a:pt x="19480" y="-574"/>
                        <a:pt x="25957" y="4782"/>
                        <a:pt x="26579" y="12131"/>
                      </a:cubicBezTo>
                      <a:cubicBezTo>
                        <a:pt x="27203" y="19480"/>
                        <a:pt x="21847" y="25833"/>
                        <a:pt x="14498" y="26455"/>
                      </a:cubicBezTo>
                      <a:cubicBezTo>
                        <a:pt x="7148" y="27078"/>
                        <a:pt x="797"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3" name="Freeform 7598">
                  <a:extLst>
                    <a:ext uri="{FF2B5EF4-FFF2-40B4-BE49-F238E27FC236}">
                      <a16:creationId xmlns:a16="http://schemas.microsoft.com/office/drawing/2014/main" id="{3C069B2C-76F4-7EE4-DACD-E4DBC7BFC06D}"/>
                    </a:ext>
                  </a:extLst>
                </p:cNvPr>
                <p:cNvSpPr/>
                <p:nvPr/>
              </p:nvSpPr>
              <p:spPr>
                <a:xfrm>
                  <a:off x="7117610" y="182708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0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2" y="48204"/>
                        <a:pt x="522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4" name="Freeform 7599">
                  <a:extLst>
                    <a:ext uri="{FF2B5EF4-FFF2-40B4-BE49-F238E27FC236}">
                      <a16:creationId xmlns:a16="http://schemas.microsoft.com/office/drawing/2014/main" id="{142238B3-99A4-C22B-A159-9A1DB856E055}"/>
                    </a:ext>
                  </a:extLst>
                </p:cNvPr>
                <p:cNvSpPr/>
                <p:nvPr/>
              </p:nvSpPr>
              <p:spPr>
                <a:xfrm>
                  <a:off x="7125321" y="1821481"/>
                  <a:ext cx="5480" cy="51815"/>
                </a:xfrm>
                <a:custGeom>
                  <a:avLst/>
                  <a:gdLst>
                    <a:gd name="connsiteX0" fmla="*/ 5481 w 5480"/>
                    <a:gd name="connsiteY0" fmla="*/ 51816 h 51815"/>
                    <a:gd name="connsiteX1" fmla="*/ 1744 w 5480"/>
                    <a:gd name="connsiteY1" fmla="*/ 33381 h 51815"/>
                    <a:gd name="connsiteX2" fmla="*/ 3613 w 5480"/>
                    <a:gd name="connsiteY2" fmla="*/ 16068 h 51815"/>
                    <a:gd name="connsiteX3" fmla="*/ 0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5481" y="51816"/>
                      </a:moveTo>
                      <a:cubicBezTo>
                        <a:pt x="2242" y="43969"/>
                        <a:pt x="1744" y="37741"/>
                        <a:pt x="1744" y="33381"/>
                      </a:cubicBezTo>
                      <a:cubicBezTo>
                        <a:pt x="1869" y="26406"/>
                        <a:pt x="3737" y="23168"/>
                        <a:pt x="3613" y="16068"/>
                      </a:cubicBezTo>
                      <a:cubicBezTo>
                        <a:pt x="3488"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5" name="Freeform 7600">
                  <a:extLst>
                    <a:ext uri="{FF2B5EF4-FFF2-40B4-BE49-F238E27FC236}">
                      <a16:creationId xmlns:a16="http://schemas.microsoft.com/office/drawing/2014/main" id="{5B9EC408-44CD-184A-B69D-BF96EEC89482}"/>
                    </a:ext>
                  </a:extLst>
                </p:cNvPr>
                <p:cNvSpPr/>
                <p:nvPr/>
              </p:nvSpPr>
              <p:spPr>
                <a:xfrm>
                  <a:off x="7108582" y="1806485"/>
                  <a:ext cx="26381" cy="26503"/>
                </a:xfrm>
                <a:custGeom>
                  <a:avLst/>
                  <a:gdLst>
                    <a:gd name="connsiteX0" fmla="*/ 26331 w 26381"/>
                    <a:gd name="connsiteY0" fmla="*/ 12131 h 26503"/>
                    <a:gd name="connsiteX1" fmla="*/ 14373 w 26381"/>
                    <a:gd name="connsiteY1" fmla="*/ 26455 h 26503"/>
                    <a:gd name="connsiteX2" fmla="*/ 49 w 26381"/>
                    <a:gd name="connsiteY2" fmla="*/ 14373 h 26503"/>
                    <a:gd name="connsiteX3" fmla="*/ 12006 w 26381"/>
                    <a:gd name="connsiteY3" fmla="*/ 49 h 26503"/>
                    <a:gd name="connsiteX4" fmla="*/ 26331 w 26381"/>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3">
                      <a:moveTo>
                        <a:pt x="26331" y="12131"/>
                      </a:moveTo>
                      <a:cubicBezTo>
                        <a:pt x="26953" y="19480"/>
                        <a:pt x="21722" y="25833"/>
                        <a:pt x="14373" y="26455"/>
                      </a:cubicBezTo>
                      <a:cubicBezTo>
                        <a:pt x="7149" y="27078"/>
                        <a:pt x="672" y="21598"/>
                        <a:pt x="49" y="14373"/>
                      </a:cubicBezTo>
                      <a:cubicBezTo>
                        <a:pt x="-574" y="7024"/>
                        <a:pt x="4783" y="672"/>
                        <a:pt x="12006" y="49"/>
                      </a:cubicBezTo>
                      <a:cubicBezTo>
                        <a:pt x="19106"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3" name="Graphic 2987">
                <a:extLst>
                  <a:ext uri="{FF2B5EF4-FFF2-40B4-BE49-F238E27FC236}">
                    <a16:creationId xmlns:a16="http://schemas.microsoft.com/office/drawing/2014/main" id="{E20F4544-83EC-9363-044B-FB866CDDD5E6}"/>
                  </a:ext>
                </a:extLst>
              </p:cNvPr>
              <p:cNvGrpSpPr/>
              <p:nvPr/>
            </p:nvGrpSpPr>
            <p:grpSpPr>
              <a:xfrm>
                <a:off x="7079186" y="1808976"/>
                <a:ext cx="37341" cy="148322"/>
                <a:chOff x="7079186" y="1808976"/>
                <a:chExt cx="37341" cy="148322"/>
              </a:xfrm>
              <a:grpFill/>
            </p:grpSpPr>
            <p:sp>
              <p:nvSpPr>
                <p:cNvPr id="6534" name="Freeform 7602">
                  <a:extLst>
                    <a:ext uri="{FF2B5EF4-FFF2-40B4-BE49-F238E27FC236}">
                      <a16:creationId xmlns:a16="http://schemas.microsoft.com/office/drawing/2014/main" id="{69FB1444-E8F5-4AEB-B33B-AF54FB90F05F}"/>
                    </a:ext>
                  </a:extLst>
                </p:cNvPr>
                <p:cNvSpPr/>
                <p:nvPr/>
              </p:nvSpPr>
              <p:spPr>
                <a:xfrm>
                  <a:off x="7101005" y="1884756"/>
                  <a:ext cx="6369" cy="51940"/>
                </a:xfrm>
                <a:custGeom>
                  <a:avLst/>
                  <a:gdLst>
                    <a:gd name="connsiteX0" fmla="*/ 5259 w 6369"/>
                    <a:gd name="connsiteY0" fmla="*/ 51941 h 51940"/>
                    <a:gd name="connsiteX1" fmla="*/ 5508 w 6369"/>
                    <a:gd name="connsiteY1" fmla="*/ 33132 h 51940"/>
                    <a:gd name="connsiteX2" fmla="*/ 526 w 6369"/>
                    <a:gd name="connsiteY2" fmla="*/ 16442 h 51940"/>
                    <a:gd name="connsiteX3" fmla="*/ 1273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5259" y="51941"/>
                      </a:moveTo>
                      <a:cubicBezTo>
                        <a:pt x="7003" y="43720"/>
                        <a:pt x="6380" y="37367"/>
                        <a:pt x="5508" y="33132"/>
                      </a:cubicBezTo>
                      <a:cubicBezTo>
                        <a:pt x="4138" y="26282"/>
                        <a:pt x="1647" y="23417"/>
                        <a:pt x="526" y="16442"/>
                      </a:cubicBezTo>
                      <a:cubicBezTo>
                        <a:pt x="-595" y="9591"/>
                        <a:pt x="277"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5" name="Freeform 7603">
                  <a:extLst>
                    <a:ext uri="{FF2B5EF4-FFF2-40B4-BE49-F238E27FC236}">
                      <a16:creationId xmlns:a16="http://schemas.microsoft.com/office/drawing/2014/main" id="{FD6A4A36-6185-CC61-6607-8633032BC17F}"/>
                    </a:ext>
                  </a:extLst>
                </p:cNvPr>
                <p:cNvSpPr/>
                <p:nvPr/>
              </p:nvSpPr>
              <p:spPr>
                <a:xfrm>
                  <a:off x="7094307" y="1890486"/>
                  <a:ext cx="5355" cy="51815"/>
                </a:xfrm>
                <a:custGeom>
                  <a:avLst/>
                  <a:gdLst>
                    <a:gd name="connsiteX0" fmla="*/ 0 w 5355"/>
                    <a:gd name="connsiteY0" fmla="*/ 0 h 51815"/>
                    <a:gd name="connsiteX1" fmla="*/ 3612 w 5355"/>
                    <a:gd name="connsiteY1" fmla="*/ 18435 h 51815"/>
                    <a:gd name="connsiteX2" fmla="*/ 1744 w 5355"/>
                    <a:gd name="connsiteY2" fmla="*/ 35748 h 51815"/>
                    <a:gd name="connsiteX3" fmla="*/ 5356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0" y="0"/>
                      </a:moveTo>
                      <a:cubicBezTo>
                        <a:pt x="3239" y="7847"/>
                        <a:pt x="3737" y="14075"/>
                        <a:pt x="3612" y="18435"/>
                      </a:cubicBezTo>
                      <a:cubicBezTo>
                        <a:pt x="3488" y="25410"/>
                        <a:pt x="1619" y="28648"/>
                        <a:pt x="1744" y="35748"/>
                      </a:cubicBezTo>
                      <a:cubicBezTo>
                        <a:pt x="1869"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6" name="Freeform 7604">
                  <a:extLst>
                    <a:ext uri="{FF2B5EF4-FFF2-40B4-BE49-F238E27FC236}">
                      <a16:creationId xmlns:a16="http://schemas.microsoft.com/office/drawing/2014/main" id="{502E3289-84D3-2892-A052-88B9A113DB9F}"/>
                    </a:ext>
                  </a:extLst>
                </p:cNvPr>
                <p:cNvSpPr/>
                <p:nvPr/>
              </p:nvSpPr>
              <p:spPr>
                <a:xfrm>
                  <a:off x="7089898" y="1930793"/>
                  <a:ext cx="26629" cy="26504"/>
                </a:xfrm>
                <a:custGeom>
                  <a:avLst/>
                  <a:gdLst>
                    <a:gd name="connsiteX0" fmla="*/ 49 w 26629"/>
                    <a:gd name="connsiteY0" fmla="*/ 14373 h 26504"/>
                    <a:gd name="connsiteX1" fmla="*/ 12131 w 26629"/>
                    <a:gd name="connsiteY1" fmla="*/ 49 h 26504"/>
                    <a:gd name="connsiteX2" fmla="*/ 26580 w 26629"/>
                    <a:gd name="connsiteY2" fmla="*/ 12131 h 26504"/>
                    <a:gd name="connsiteX3" fmla="*/ 14498 w 26629"/>
                    <a:gd name="connsiteY3" fmla="*/ 26455 h 26504"/>
                    <a:gd name="connsiteX4" fmla="*/ 49 w 2662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4373"/>
                      </a:moveTo>
                      <a:cubicBezTo>
                        <a:pt x="-574" y="7024"/>
                        <a:pt x="4783" y="672"/>
                        <a:pt x="12131" y="49"/>
                      </a:cubicBezTo>
                      <a:cubicBezTo>
                        <a:pt x="19480" y="-574"/>
                        <a:pt x="25957" y="4782"/>
                        <a:pt x="26580" y="12131"/>
                      </a:cubicBezTo>
                      <a:cubicBezTo>
                        <a:pt x="27203" y="19480"/>
                        <a:pt x="21847" y="25833"/>
                        <a:pt x="14498"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7" name="Freeform 7605">
                  <a:extLst>
                    <a:ext uri="{FF2B5EF4-FFF2-40B4-BE49-F238E27FC236}">
                      <a16:creationId xmlns:a16="http://schemas.microsoft.com/office/drawing/2014/main" id="{E0FCAE80-3FAC-732A-4FBB-8A1FE1A09E71}"/>
                    </a:ext>
                  </a:extLst>
                </p:cNvPr>
                <p:cNvSpPr/>
                <p:nvPr/>
              </p:nvSpPr>
              <p:spPr>
                <a:xfrm>
                  <a:off x="7088214" y="1829577"/>
                  <a:ext cx="6244" cy="51940"/>
                </a:xfrm>
                <a:custGeom>
                  <a:avLst/>
                  <a:gdLst>
                    <a:gd name="connsiteX0" fmla="*/ 1110 w 6244"/>
                    <a:gd name="connsiteY0" fmla="*/ 0 h 51940"/>
                    <a:gd name="connsiteX1" fmla="*/ 861 w 6244"/>
                    <a:gd name="connsiteY1" fmla="*/ 18808 h 51940"/>
                    <a:gd name="connsiteX2" fmla="*/ 5719 w 6244"/>
                    <a:gd name="connsiteY2" fmla="*/ 35499 h 51940"/>
                    <a:gd name="connsiteX3" fmla="*/ 4971 w 624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4" h="51940">
                      <a:moveTo>
                        <a:pt x="1110" y="0"/>
                      </a:moveTo>
                      <a:cubicBezTo>
                        <a:pt x="-633" y="8221"/>
                        <a:pt x="-11" y="14573"/>
                        <a:pt x="861" y="18808"/>
                      </a:cubicBezTo>
                      <a:cubicBezTo>
                        <a:pt x="2231" y="25659"/>
                        <a:pt x="4598" y="28524"/>
                        <a:pt x="5719" y="35499"/>
                      </a:cubicBezTo>
                      <a:cubicBezTo>
                        <a:pt x="6840" y="42350"/>
                        <a:pt x="5968" y="48204"/>
                        <a:pt x="497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8" name="Freeform 7606">
                  <a:extLst>
                    <a:ext uri="{FF2B5EF4-FFF2-40B4-BE49-F238E27FC236}">
                      <a16:creationId xmlns:a16="http://schemas.microsoft.com/office/drawing/2014/main" id="{7944CD3C-078A-3D34-A852-CE0D46669657}"/>
                    </a:ext>
                  </a:extLst>
                </p:cNvPr>
                <p:cNvSpPr/>
                <p:nvPr/>
              </p:nvSpPr>
              <p:spPr>
                <a:xfrm>
                  <a:off x="7095926" y="1823972"/>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117" y="43969"/>
                        <a:pt x="1619" y="37741"/>
                        <a:pt x="1744" y="33381"/>
                      </a:cubicBezTo>
                      <a:cubicBezTo>
                        <a:pt x="1869"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9" name="Freeform 7607">
                  <a:extLst>
                    <a:ext uri="{FF2B5EF4-FFF2-40B4-BE49-F238E27FC236}">
                      <a16:creationId xmlns:a16="http://schemas.microsoft.com/office/drawing/2014/main" id="{AD5FA607-F067-67FA-3046-7E9B928D7901}"/>
                    </a:ext>
                  </a:extLst>
                </p:cNvPr>
                <p:cNvSpPr/>
                <p:nvPr/>
              </p:nvSpPr>
              <p:spPr>
                <a:xfrm>
                  <a:off x="7079186" y="1808976"/>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8" y="25833"/>
                        <a:pt x="14374" y="26455"/>
                      </a:cubicBezTo>
                      <a:cubicBezTo>
                        <a:pt x="7149" y="27078"/>
                        <a:pt x="673" y="21598"/>
                        <a:pt x="49" y="14373"/>
                      </a:cubicBezTo>
                      <a:cubicBezTo>
                        <a:pt x="-573" y="7149"/>
                        <a:pt x="4782" y="672"/>
                        <a:pt x="12007" y="49"/>
                      </a:cubicBezTo>
                      <a:cubicBezTo>
                        <a:pt x="19232"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4" name="Graphic 2987">
                <a:extLst>
                  <a:ext uri="{FF2B5EF4-FFF2-40B4-BE49-F238E27FC236}">
                    <a16:creationId xmlns:a16="http://schemas.microsoft.com/office/drawing/2014/main" id="{310570B0-917B-8E7F-78DA-C753EC10B086}"/>
                  </a:ext>
                </a:extLst>
              </p:cNvPr>
              <p:cNvGrpSpPr/>
              <p:nvPr/>
            </p:nvGrpSpPr>
            <p:grpSpPr>
              <a:xfrm>
                <a:off x="7049790" y="1811467"/>
                <a:ext cx="37091" cy="148445"/>
                <a:chOff x="7049790" y="1811467"/>
                <a:chExt cx="37091" cy="148445"/>
              </a:xfrm>
              <a:grpFill/>
            </p:grpSpPr>
            <p:sp>
              <p:nvSpPr>
                <p:cNvPr id="6528" name="Freeform 7609">
                  <a:extLst>
                    <a:ext uri="{FF2B5EF4-FFF2-40B4-BE49-F238E27FC236}">
                      <a16:creationId xmlns:a16="http://schemas.microsoft.com/office/drawing/2014/main" id="{F8D8768F-4540-D2E7-807C-2FC1F24C4EAC}"/>
                    </a:ext>
                  </a:extLst>
                </p:cNvPr>
                <p:cNvSpPr/>
                <p:nvPr/>
              </p:nvSpPr>
              <p:spPr>
                <a:xfrm>
                  <a:off x="7071512" y="1887247"/>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9" name="Freeform 7610">
                  <a:extLst>
                    <a:ext uri="{FF2B5EF4-FFF2-40B4-BE49-F238E27FC236}">
                      <a16:creationId xmlns:a16="http://schemas.microsoft.com/office/drawing/2014/main" id="{B415536C-3B62-730E-FFA2-B0ED4902903E}"/>
                    </a:ext>
                  </a:extLst>
                </p:cNvPr>
                <p:cNvSpPr/>
                <p:nvPr/>
              </p:nvSpPr>
              <p:spPr>
                <a:xfrm>
                  <a:off x="7064662" y="1892977"/>
                  <a:ext cx="5231" cy="51815"/>
                </a:xfrm>
                <a:custGeom>
                  <a:avLst/>
                  <a:gdLst>
                    <a:gd name="connsiteX0" fmla="*/ 0 w 5231"/>
                    <a:gd name="connsiteY0" fmla="*/ 0 h 51815"/>
                    <a:gd name="connsiteX1" fmla="*/ 3612 w 5231"/>
                    <a:gd name="connsiteY1" fmla="*/ 18435 h 51815"/>
                    <a:gd name="connsiteX2" fmla="*/ 1619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5"/>
                      </a:cubicBezTo>
                      <a:cubicBezTo>
                        <a:pt x="3488" y="25410"/>
                        <a:pt x="1619" y="28648"/>
                        <a:pt x="1619" y="35748"/>
                      </a:cubicBezTo>
                      <a:cubicBezTo>
                        <a:pt x="1744" y="42599"/>
                        <a:pt x="3612"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0" name="Freeform 7611">
                  <a:extLst>
                    <a:ext uri="{FF2B5EF4-FFF2-40B4-BE49-F238E27FC236}">
                      <a16:creationId xmlns:a16="http://schemas.microsoft.com/office/drawing/2014/main" id="{60F9EB0F-EB04-385C-3EF2-D72738B898C6}"/>
                    </a:ext>
                  </a:extLst>
                </p:cNvPr>
                <p:cNvSpPr/>
                <p:nvPr/>
              </p:nvSpPr>
              <p:spPr>
                <a:xfrm>
                  <a:off x="7060130" y="1933409"/>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0" y="4782"/>
                        <a:pt x="26704" y="12131"/>
                      </a:cubicBezTo>
                      <a:cubicBezTo>
                        <a:pt x="27326" y="19480"/>
                        <a:pt x="21846" y="25833"/>
                        <a:pt x="14497" y="26455"/>
                      </a:cubicBezTo>
                      <a:cubicBezTo>
                        <a:pt x="7148"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1" name="Freeform 7612">
                  <a:extLst>
                    <a:ext uri="{FF2B5EF4-FFF2-40B4-BE49-F238E27FC236}">
                      <a16:creationId xmlns:a16="http://schemas.microsoft.com/office/drawing/2014/main" id="{2F49B06B-EB0A-8666-3551-93185F34E4D7}"/>
                    </a:ext>
                  </a:extLst>
                </p:cNvPr>
                <p:cNvSpPr/>
                <p:nvPr/>
              </p:nvSpPr>
              <p:spPr>
                <a:xfrm>
                  <a:off x="7058760" y="1832068"/>
                  <a:ext cx="6151" cy="51940"/>
                </a:xfrm>
                <a:custGeom>
                  <a:avLst/>
                  <a:gdLst>
                    <a:gd name="connsiteX0" fmla="*/ 1168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5" y="18808"/>
                      </a:cubicBezTo>
                      <a:cubicBezTo>
                        <a:pt x="2165" y="25659"/>
                        <a:pt x="4531" y="28524"/>
                        <a:pt x="5652" y="35499"/>
                      </a:cubicBezTo>
                      <a:cubicBezTo>
                        <a:pt x="6773"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2" name="Freeform 7613">
                  <a:extLst>
                    <a:ext uri="{FF2B5EF4-FFF2-40B4-BE49-F238E27FC236}">
                      <a16:creationId xmlns:a16="http://schemas.microsoft.com/office/drawing/2014/main" id="{8F5C1905-8B92-C1FF-ABA4-0377E77E2ED7}"/>
                    </a:ext>
                  </a:extLst>
                </p:cNvPr>
                <p:cNvSpPr/>
                <p:nvPr/>
              </p:nvSpPr>
              <p:spPr>
                <a:xfrm>
                  <a:off x="7066281" y="1826463"/>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242" y="43969"/>
                        <a:pt x="1619" y="37741"/>
                        <a:pt x="1744" y="33381"/>
                      </a:cubicBezTo>
                      <a:cubicBezTo>
                        <a:pt x="1869" y="26406"/>
                        <a:pt x="3737" y="23168"/>
                        <a:pt x="3612"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3" name="Freeform 7614">
                  <a:extLst>
                    <a:ext uri="{FF2B5EF4-FFF2-40B4-BE49-F238E27FC236}">
                      <a16:creationId xmlns:a16="http://schemas.microsoft.com/office/drawing/2014/main" id="{C825AD8B-FB91-C111-64BF-9440D91621C9}"/>
                    </a:ext>
                  </a:extLst>
                </p:cNvPr>
                <p:cNvSpPr/>
                <p:nvPr/>
              </p:nvSpPr>
              <p:spPr>
                <a:xfrm>
                  <a:off x="7049790" y="1811467"/>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7" y="25833"/>
                        <a:pt x="14374" y="26455"/>
                      </a:cubicBezTo>
                      <a:cubicBezTo>
                        <a:pt x="7149" y="27078"/>
                        <a:pt x="672" y="21598"/>
                        <a:pt x="49" y="14373"/>
                      </a:cubicBezTo>
                      <a:cubicBezTo>
                        <a:pt x="-573" y="7024"/>
                        <a:pt x="4782" y="672"/>
                        <a:pt x="12007" y="49"/>
                      </a:cubicBezTo>
                      <a:cubicBezTo>
                        <a:pt x="19232" y="-574"/>
                        <a:pt x="25583"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5" name="Graphic 2987">
                <a:extLst>
                  <a:ext uri="{FF2B5EF4-FFF2-40B4-BE49-F238E27FC236}">
                    <a16:creationId xmlns:a16="http://schemas.microsoft.com/office/drawing/2014/main" id="{294235B9-5675-8F75-74F0-F1FBDEC9C1D8}"/>
                  </a:ext>
                </a:extLst>
              </p:cNvPr>
              <p:cNvGrpSpPr/>
              <p:nvPr/>
            </p:nvGrpSpPr>
            <p:grpSpPr>
              <a:xfrm>
                <a:off x="7020270" y="1813958"/>
                <a:ext cx="36966" cy="148445"/>
                <a:chOff x="7020270" y="1813958"/>
                <a:chExt cx="36966" cy="148445"/>
              </a:xfrm>
              <a:grpFill/>
            </p:grpSpPr>
            <p:sp>
              <p:nvSpPr>
                <p:cNvPr id="6522" name="Freeform 7616">
                  <a:extLst>
                    <a:ext uri="{FF2B5EF4-FFF2-40B4-BE49-F238E27FC236}">
                      <a16:creationId xmlns:a16="http://schemas.microsoft.com/office/drawing/2014/main" id="{E3D4425C-0A60-3C51-41E3-573DEA3ED1E6}"/>
                    </a:ext>
                  </a:extLst>
                </p:cNvPr>
                <p:cNvSpPr/>
                <p:nvPr/>
              </p:nvSpPr>
              <p:spPr>
                <a:xfrm>
                  <a:off x="7041867" y="1889863"/>
                  <a:ext cx="6199" cy="51940"/>
                </a:xfrm>
                <a:custGeom>
                  <a:avLst/>
                  <a:gdLst>
                    <a:gd name="connsiteX0" fmla="*/ 4983 w 6199"/>
                    <a:gd name="connsiteY0" fmla="*/ 51941 h 51940"/>
                    <a:gd name="connsiteX1" fmla="*/ 5357 w 6199"/>
                    <a:gd name="connsiteY1" fmla="*/ 33132 h 51940"/>
                    <a:gd name="connsiteX2" fmla="*/ 499 w 6199"/>
                    <a:gd name="connsiteY2" fmla="*/ 16442 h 51940"/>
                    <a:gd name="connsiteX3" fmla="*/ 1247 w 6199"/>
                    <a:gd name="connsiteY3" fmla="*/ 0 h 51940"/>
                  </a:gdLst>
                  <a:ahLst/>
                  <a:cxnLst>
                    <a:cxn ang="0">
                      <a:pos x="connsiteX0" y="connsiteY0"/>
                    </a:cxn>
                    <a:cxn ang="0">
                      <a:pos x="connsiteX1" y="connsiteY1"/>
                    </a:cxn>
                    <a:cxn ang="0">
                      <a:pos x="connsiteX2" y="connsiteY2"/>
                    </a:cxn>
                    <a:cxn ang="0">
                      <a:pos x="connsiteX3" y="connsiteY3"/>
                    </a:cxn>
                  </a:cxnLst>
                  <a:rect l="l" t="t" r="r" b="b"/>
                  <a:pathLst>
                    <a:path w="6199" h="51940">
                      <a:moveTo>
                        <a:pt x="4983" y="51941"/>
                      </a:moveTo>
                      <a:cubicBezTo>
                        <a:pt x="6852"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3" name="Freeform 7617">
                  <a:extLst>
                    <a:ext uri="{FF2B5EF4-FFF2-40B4-BE49-F238E27FC236}">
                      <a16:creationId xmlns:a16="http://schemas.microsoft.com/office/drawing/2014/main" id="{2BFCD46C-F760-C53D-A0C1-543B70199641}"/>
                    </a:ext>
                  </a:extLst>
                </p:cNvPr>
                <p:cNvSpPr/>
                <p:nvPr/>
              </p:nvSpPr>
              <p:spPr>
                <a:xfrm>
                  <a:off x="7035142" y="1895468"/>
                  <a:ext cx="4982" cy="51815"/>
                </a:xfrm>
                <a:custGeom>
                  <a:avLst/>
                  <a:gdLst>
                    <a:gd name="connsiteX0" fmla="*/ 0 w 4982"/>
                    <a:gd name="connsiteY0" fmla="*/ 0 h 51815"/>
                    <a:gd name="connsiteX1" fmla="*/ 3488 w 4982"/>
                    <a:gd name="connsiteY1" fmla="*/ 18435 h 51815"/>
                    <a:gd name="connsiteX2" fmla="*/ 1495 w 4982"/>
                    <a:gd name="connsiteY2" fmla="*/ 35748 h 51815"/>
                    <a:gd name="connsiteX3" fmla="*/ 4983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0" y="0"/>
                      </a:moveTo>
                      <a:cubicBezTo>
                        <a:pt x="3114" y="7847"/>
                        <a:pt x="3612" y="14075"/>
                        <a:pt x="3488" y="18435"/>
                      </a:cubicBezTo>
                      <a:cubicBezTo>
                        <a:pt x="3239" y="25410"/>
                        <a:pt x="1370" y="28648"/>
                        <a:pt x="1495" y="35748"/>
                      </a:cubicBezTo>
                      <a:cubicBezTo>
                        <a:pt x="1619" y="42599"/>
                        <a:pt x="3488"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4" name="Freeform 7618">
                  <a:extLst>
                    <a:ext uri="{FF2B5EF4-FFF2-40B4-BE49-F238E27FC236}">
                      <a16:creationId xmlns:a16="http://schemas.microsoft.com/office/drawing/2014/main" id="{15FE61C2-D541-E0D2-AE8E-DE2D0D68BAF7}"/>
                    </a:ext>
                  </a:extLst>
                </p:cNvPr>
                <p:cNvSpPr/>
                <p:nvPr/>
              </p:nvSpPr>
              <p:spPr>
                <a:xfrm>
                  <a:off x="7030485" y="1935900"/>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1" y="4782"/>
                        <a:pt x="26704" y="12131"/>
                      </a:cubicBezTo>
                      <a:cubicBezTo>
                        <a:pt x="27326" y="19480"/>
                        <a:pt x="21846" y="25833"/>
                        <a:pt x="14497" y="26455"/>
                      </a:cubicBezTo>
                      <a:cubicBezTo>
                        <a:pt x="7023"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5" name="Freeform 7619">
                  <a:extLst>
                    <a:ext uri="{FF2B5EF4-FFF2-40B4-BE49-F238E27FC236}">
                      <a16:creationId xmlns:a16="http://schemas.microsoft.com/office/drawing/2014/main" id="{5666F26C-73A2-4949-F156-20D386C00DC1}"/>
                    </a:ext>
                  </a:extLst>
                </p:cNvPr>
                <p:cNvSpPr/>
                <p:nvPr/>
              </p:nvSpPr>
              <p:spPr>
                <a:xfrm>
                  <a:off x="7029365" y="1834559"/>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6" name="Freeform 7620">
                  <a:extLst>
                    <a:ext uri="{FF2B5EF4-FFF2-40B4-BE49-F238E27FC236}">
                      <a16:creationId xmlns:a16="http://schemas.microsoft.com/office/drawing/2014/main" id="{7E210FCF-F2E7-E453-4B9A-77B9802A9EB7}"/>
                    </a:ext>
                  </a:extLst>
                </p:cNvPr>
                <p:cNvSpPr/>
                <p:nvPr/>
              </p:nvSpPr>
              <p:spPr>
                <a:xfrm>
                  <a:off x="7037134" y="1828954"/>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488"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7" name="Freeform 7621">
                  <a:extLst>
                    <a:ext uri="{FF2B5EF4-FFF2-40B4-BE49-F238E27FC236}">
                      <a16:creationId xmlns:a16="http://schemas.microsoft.com/office/drawing/2014/main" id="{A74F1B07-0B64-1102-F426-DD71487679C6}"/>
                    </a:ext>
                  </a:extLst>
                </p:cNvPr>
                <p:cNvSpPr/>
                <p:nvPr/>
              </p:nvSpPr>
              <p:spPr>
                <a:xfrm>
                  <a:off x="7020270" y="1813958"/>
                  <a:ext cx="26504" cy="26503"/>
                </a:xfrm>
                <a:custGeom>
                  <a:avLst/>
                  <a:gdLst>
                    <a:gd name="connsiteX0" fmla="*/ 26455 w 26504"/>
                    <a:gd name="connsiteY0" fmla="*/ 12131 h 26503"/>
                    <a:gd name="connsiteX1" fmla="*/ 14374 w 26504"/>
                    <a:gd name="connsiteY1" fmla="*/ 26455 h 26503"/>
                    <a:gd name="connsiteX2" fmla="*/ 49 w 26504"/>
                    <a:gd name="connsiteY2" fmla="*/ 14373 h 26503"/>
                    <a:gd name="connsiteX3" fmla="*/ 12132 w 26504"/>
                    <a:gd name="connsiteY3" fmla="*/ 49 h 26503"/>
                    <a:gd name="connsiteX4" fmla="*/ 26455 w 26504"/>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4" h="26503">
                      <a:moveTo>
                        <a:pt x="26455" y="12131"/>
                      </a:moveTo>
                      <a:cubicBezTo>
                        <a:pt x="27078" y="19480"/>
                        <a:pt x="21722" y="25833"/>
                        <a:pt x="14374" y="26455"/>
                      </a:cubicBezTo>
                      <a:cubicBezTo>
                        <a:pt x="7149" y="27078"/>
                        <a:pt x="672" y="21598"/>
                        <a:pt x="49" y="14373"/>
                      </a:cubicBezTo>
                      <a:cubicBezTo>
                        <a:pt x="-573" y="7024"/>
                        <a:pt x="4782" y="672"/>
                        <a:pt x="12132" y="49"/>
                      </a:cubicBezTo>
                      <a:cubicBezTo>
                        <a:pt x="19356" y="-574"/>
                        <a:pt x="25833" y="4782"/>
                        <a:pt x="26455"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6" name="Graphic 2987">
                <a:extLst>
                  <a:ext uri="{FF2B5EF4-FFF2-40B4-BE49-F238E27FC236}">
                    <a16:creationId xmlns:a16="http://schemas.microsoft.com/office/drawing/2014/main" id="{CB6BAE12-B30E-67C4-50CF-F798B8EB3751}"/>
                  </a:ext>
                </a:extLst>
              </p:cNvPr>
              <p:cNvGrpSpPr/>
              <p:nvPr/>
            </p:nvGrpSpPr>
            <p:grpSpPr>
              <a:xfrm>
                <a:off x="6991000" y="1816326"/>
                <a:ext cx="36326" cy="148570"/>
                <a:chOff x="6991000" y="1816326"/>
                <a:chExt cx="36326" cy="148570"/>
              </a:xfrm>
              <a:grpFill/>
            </p:grpSpPr>
            <p:sp>
              <p:nvSpPr>
                <p:cNvPr id="6516" name="Freeform 7623">
                  <a:extLst>
                    <a:ext uri="{FF2B5EF4-FFF2-40B4-BE49-F238E27FC236}">
                      <a16:creationId xmlns:a16="http://schemas.microsoft.com/office/drawing/2014/main" id="{F10F50E3-844B-840F-2161-3594A14A8DF7}"/>
                    </a:ext>
                  </a:extLst>
                </p:cNvPr>
                <p:cNvSpPr/>
                <p:nvPr/>
              </p:nvSpPr>
              <p:spPr>
                <a:xfrm>
                  <a:off x="7012281" y="1892354"/>
                  <a:ext cx="6030" cy="51940"/>
                </a:xfrm>
                <a:custGeom>
                  <a:avLst/>
                  <a:gdLst>
                    <a:gd name="connsiteX0" fmla="*/ 4799 w 6030"/>
                    <a:gd name="connsiteY0" fmla="*/ 51941 h 51940"/>
                    <a:gd name="connsiteX1" fmla="*/ 5298 w 6030"/>
                    <a:gd name="connsiteY1" fmla="*/ 33132 h 51940"/>
                    <a:gd name="connsiteX2" fmla="*/ 440 w 6030"/>
                    <a:gd name="connsiteY2" fmla="*/ 16442 h 51940"/>
                    <a:gd name="connsiteX3" fmla="*/ 1312 w 6030"/>
                    <a:gd name="connsiteY3" fmla="*/ 0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51941"/>
                      </a:moveTo>
                      <a:cubicBezTo>
                        <a:pt x="6668" y="43720"/>
                        <a:pt x="6045" y="37367"/>
                        <a:pt x="5298" y="33132"/>
                      </a:cubicBezTo>
                      <a:cubicBezTo>
                        <a:pt x="3927" y="26282"/>
                        <a:pt x="1561"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7" name="Freeform 7624">
                  <a:extLst>
                    <a:ext uri="{FF2B5EF4-FFF2-40B4-BE49-F238E27FC236}">
                      <a16:creationId xmlns:a16="http://schemas.microsoft.com/office/drawing/2014/main" id="{7B42DF6C-E870-F3BA-D49C-36FCB328C3BA}"/>
                    </a:ext>
                  </a:extLst>
                </p:cNvPr>
                <p:cNvSpPr/>
                <p:nvPr/>
              </p:nvSpPr>
              <p:spPr>
                <a:xfrm>
                  <a:off x="7005622" y="1897959"/>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370"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8" name="Freeform 7625">
                  <a:extLst>
                    <a:ext uri="{FF2B5EF4-FFF2-40B4-BE49-F238E27FC236}">
                      <a16:creationId xmlns:a16="http://schemas.microsoft.com/office/drawing/2014/main" id="{83DCD2BA-AF1C-089B-4C3F-8E840DFF177D}"/>
                    </a:ext>
                  </a:extLst>
                </p:cNvPr>
                <p:cNvSpPr/>
                <p:nvPr/>
              </p:nvSpPr>
              <p:spPr>
                <a:xfrm>
                  <a:off x="7000715" y="1938391"/>
                  <a:ext cx="26611" cy="26504"/>
                </a:xfrm>
                <a:custGeom>
                  <a:avLst/>
                  <a:gdLst>
                    <a:gd name="connsiteX0" fmla="*/ 48 w 26611"/>
                    <a:gd name="connsiteY0" fmla="*/ 14373 h 26504"/>
                    <a:gd name="connsiteX1" fmla="*/ 12255 w 26611"/>
                    <a:gd name="connsiteY1" fmla="*/ 49 h 26504"/>
                    <a:gd name="connsiteX2" fmla="*/ 26579 w 26611"/>
                    <a:gd name="connsiteY2" fmla="*/ 12131 h 26504"/>
                    <a:gd name="connsiteX3" fmla="*/ 14373 w 26611"/>
                    <a:gd name="connsiteY3" fmla="*/ 26455 h 26504"/>
                    <a:gd name="connsiteX4" fmla="*/ 48 w 2661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1" h="26504">
                      <a:moveTo>
                        <a:pt x="48" y="14373"/>
                      </a:moveTo>
                      <a:cubicBezTo>
                        <a:pt x="-574" y="7024"/>
                        <a:pt x="4906" y="672"/>
                        <a:pt x="12255" y="49"/>
                      </a:cubicBezTo>
                      <a:cubicBezTo>
                        <a:pt x="19604" y="-574"/>
                        <a:pt x="26081" y="4782"/>
                        <a:pt x="26579" y="12131"/>
                      </a:cubicBezTo>
                      <a:cubicBezTo>
                        <a:pt x="27077" y="19480"/>
                        <a:pt x="21721" y="25833"/>
                        <a:pt x="14373" y="26455"/>
                      </a:cubicBezTo>
                      <a:cubicBezTo>
                        <a:pt x="7148" y="27078"/>
                        <a:pt x="671"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9" name="Freeform 7626">
                  <a:extLst>
                    <a:ext uri="{FF2B5EF4-FFF2-40B4-BE49-F238E27FC236}">
                      <a16:creationId xmlns:a16="http://schemas.microsoft.com/office/drawing/2014/main" id="{88E67C93-5FBC-1D39-905B-81F8E6422B41}"/>
                    </a:ext>
                  </a:extLst>
                </p:cNvPr>
                <p:cNvSpPr/>
                <p:nvPr/>
              </p:nvSpPr>
              <p:spPr>
                <a:xfrm>
                  <a:off x="6999907" y="1837051"/>
                  <a:ext cx="5905" cy="51940"/>
                </a:xfrm>
                <a:custGeom>
                  <a:avLst/>
                  <a:gdLst>
                    <a:gd name="connsiteX0" fmla="*/ 1231 w 5905"/>
                    <a:gd name="connsiteY0" fmla="*/ 0 h 51940"/>
                    <a:gd name="connsiteX1" fmla="*/ 732 w 5905"/>
                    <a:gd name="connsiteY1" fmla="*/ 18808 h 51940"/>
                    <a:gd name="connsiteX2" fmla="*/ 5465 w 5905"/>
                    <a:gd name="connsiteY2" fmla="*/ 35499 h 51940"/>
                    <a:gd name="connsiteX3" fmla="*/ 4593 w 590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0"/>
                      </a:moveTo>
                      <a:cubicBezTo>
                        <a:pt x="-638" y="8221"/>
                        <a:pt x="-15" y="14573"/>
                        <a:pt x="732" y="18808"/>
                      </a:cubicBezTo>
                      <a:cubicBezTo>
                        <a:pt x="2103" y="25659"/>
                        <a:pt x="4470" y="28524"/>
                        <a:pt x="5465" y="35499"/>
                      </a:cubicBezTo>
                      <a:cubicBezTo>
                        <a:pt x="6462" y="42350"/>
                        <a:pt x="5590" y="48204"/>
                        <a:pt x="459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0" name="Freeform 7627">
                  <a:extLst>
                    <a:ext uri="{FF2B5EF4-FFF2-40B4-BE49-F238E27FC236}">
                      <a16:creationId xmlns:a16="http://schemas.microsoft.com/office/drawing/2014/main" id="{20A9345F-C8E4-D1F3-F229-F28A48B66A65}"/>
                    </a:ext>
                  </a:extLst>
                </p:cNvPr>
                <p:cNvSpPr/>
                <p:nvPr/>
              </p:nvSpPr>
              <p:spPr>
                <a:xfrm>
                  <a:off x="7007614" y="1831446"/>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1" name="Freeform 7628">
                  <a:extLst>
                    <a:ext uri="{FF2B5EF4-FFF2-40B4-BE49-F238E27FC236}">
                      <a16:creationId xmlns:a16="http://schemas.microsoft.com/office/drawing/2014/main" id="{62D58B20-3153-38FE-83CE-9E35BF6841C6}"/>
                    </a:ext>
                  </a:extLst>
                </p:cNvPr>
                <p:cNvSpPr/>
                <p:nvPr/>
              </p:nvSpPr>
              <p:spPr>
                <a:xfrm>
                  <a:off x="6991000" y="1816326"/>
                  <a:ext cx="26378" cy="26502"/>
                </a:xfrm>
                <a:custGeom>
                  <a:avLst/>
                  <a:gdLst>
                    <a:gd name="connsiteX0" fmla="*/ 26330 w 26378"/>
                    <a:gd name="connsiteY0" fmla="*/ 12130 h 26502"/>
                    <a:gd name="connsiteX1" fmla="*/ 14247 w 26378"/>
                    <a:gd name="connsiteY1" fmla="*/ 26455 h 26502"/>
                    <a:gd name="connsiteX2" fmla="*/ 48 w 26378"/>
                    <a:gd name="connsiteY2" fmla="*/ 14372 h 26502"/>
                    <a:gd name="connsiteX3" fmla="*/ 12130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2" y="19479"/>
                        <a:pt x="21472" y="25832"/>
                        <a:pt x="14247" y="26455"/>
                      </a:cubicBezTo>
                      <a:cubicBezTo>
                        <a:pt x="7024" y="27077"/>
                        <a:pt x="546" y="21597"/>
                        <a:pt x="48" y="14372"/>
                      </a:cubicBezTo>
                      <a:cubicBezTo>
                        <a:pt x="-575" y="7024"/>
                        <a:pt x="4906" y="671"/>
                        <a:pt x="12130"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7" name="Graphic 2987">
                <a:extLst>
                  <a:ext uri="{FF2B5EF4-FFF2-40B4-BE49-F238E27FC236}">
                    <a16:creationId xmlns:a16="http://schemas.microsoft.com/office/drawing/2014/main" id="{6D4FC4AF-5BDA-F12D-AB9D-895B74E18120}"/>
                  </a:ext>
                </a:extLst>
              </p:cNvPr>
              <p:cNvGrpSpPr/>
              <p:nvPr/>
            </p:nvGrpSpPr>
            <p:grpSpPr>
              <a:xfrm>
                <a:off x="6961604" y="1818817"/>
                <a:ext cx="36093" cy="148570"/>
                <a:chOff x="6961604" y="1818817"/>
                <a:chExt cx="36093" cy="148570"/>
              </a:xfrm>
              <a:grpFill/>
            </p:grpSpPr>
            <p:sp>
              <p:nvSpPr>
                <p:cNvPr id="6510" name="Freeform 7630">
                  <a:extLst>
                    <a:ext uri="{FF2B5EF4-FFF2-40B4-BE49-F238E27FC236}">
                      <a16:creationId xmlns:a16="http://schemas.microsoft.com/office/drawing/2014/main" id="{A122FE30-A170-5423-685E-6282B7E8B123}"/>
                    </a:ext>
                  </a:extLst>
                </p:cNvPr>
                <p:cNvSpPr/>
                <p:nvPr/>
              </p:nvSpPr>
              <p:spPr>
                <a:xfrm>
                  <a:off x="6982761" y="1894845"/>
                  <a:ext cx="5951" cy="51940"/>
                </a:xfrm>
                <a:custGeom>
                  <a:avLst/>
                  <a:gdLst>
                    <a:gd name="connsiteX0" fmla="*/ 4675 w 5951"/>
                    <a:gd name="connsiteY0" fmla="*/ 51941 h 51940"/>
                    <a:gd name="connsiteX1" fmla="*/ 5173 w 5951"/>
                    <a:gd name="connsiteY1" fmla="*/ 33132 h 51940"/>
                    <a:gd name="connsiteX2" fmla="*/ 440 w 5951"/>
                    <a:gd name="connsiteY2" fmla="*/ 16442 h 51940"/>
                    <a:gd name="connsiteX3" fmla="*/ 1312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51941"/>
                      </a:moveTo>
                      <a:cubicBezTo>
                        <a:pt x="6543" y="43720"/>
                        <a:pt x="6045" y="37367"/>
                        <a:pt x="5173" y="33132"/>
                      </a:cubicBezTo>
                      <a:cubicBezTo>
                        <a:pt x="3803" y="26282"/>
                        <a:pt x="1436"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1" name="Freeform 7631">
                  <a:extLst>
                    <a:ext uri="{FF2B5EF4-FFF2-40B4-BE49-F238E27FC236}">
                      <a16:creationId xmlns:a16="http://schemas.microsoft.com/office/drawing/2014/main" id="{D353557C-D359-D925-1FA2-1059313B2B1F}"/>
                    </a:ext>
                  </a:extLst>
                </p:cNvPr>
                <p:cNvSpPr/>
                <p:nvPr/>
              </p:nvSpPr>
              <p:spPr>
                <a:xfrm>
                  <a:off x="6975977" y="1900450"/>
                  <a:ext cx="4857" cy="51815"/>
                </a:xfrm>
                <a:custGeom>
                  <a:avLst/>
                  <a:gdLst>
                    <a:gd name="connsiteX0" fmla="*/ 0 w 4857"/>
                    <a:gd name="connsiteY0" fmla="*/ 0 h 51815"/>
                    <a:gd name="connsiteX1" fmla="*/ 3488 w 4857"/>
                    <a:gd name="connsiteY1" fmla="*/ 18435 h 51815"/>
                    <a:gd name="connsiteX2" fmla="*/ 1370 w 4857"/>
                    <a:gd name="connsiteY2" fmla="*/ 35748 h 51815"/>
                    <a:gd name="connsiteX3" fmla="*/ 4858 w 485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857" h="51815">
                      <a:moveTo>
                        <a:pt x="0" y="0"/>
                      </a:moveTo>
                      <a:cubicBezTo>
                        <a:pt x="3114" y="7847"/>
                        <a:pt x="3612" y="14075"/>
                        <a:pt x="3488" y="18435"/>
                      </a:cubicBezTo>
                      <a:cubicBezTo>
                        <a:pt x="3239" y="25410"/>
                        <a:pt x="1370" y="28648"/>
                        <a:pt x="1370" y="35748"/>
                      </a:cubicBezTo>
                      <a:cubicBezTo>
                        <a:pt x="1370" y="42599"/>
                        <a:pt x="3239" y="48204"/>
                        <a:pt x="485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2" name="Freeform 7632">
                  <a:extLst>
                    <a:ext uri="{FF2B5EF4-FFF2-40B4-BE49-F238E27FC236}">
                      <a16:creationId xmlns:a16="http://schemas.microsoft.com/office/drawing/2014/main" id="{4FC22C9A-3D0C-2617-1FC2-3E7149025B89}"/>
                    </a:ext>
                  </a:extLst>
                </p:cNvPr>
                <p:cNvSpPr/>
                <p:nvPr/>
              </p:nvSpPr>
              <p:spPr>
                <a:xfrm>
                  <a:off x="6971071" y="1940882"/>
                  <a:ext cx="26627" cy="26504"/>
                </a:xfrm>
                <a:custGeom>
                  <a:avLst/>
                  <a:gdLst>
                    <a:gd name="connsiteX0" fmla="*/ 48 w 26627"/>
                    <a:gd name="connsiteY0" fmla="*/ 14373 h 26504"/>
                    <a:gd name="connsiteX1" fmla="*/ 12255 w 26627"/>
                    <a:gd name="connsiteY1" fmla="*/ 49 h 26504"/>
                    <a:gd name="connsiteX2" fmla="*/ 26579 w 26627"/>
                    <a:gd name="connsiteY2" fmla="*/ 12131 h 26504"/>
                    <a:gd name="connsiteX3" fmla="*/ 14373 w 26627"/>
                    <a:gd name="connsiteY3" fmla="*/ 26455 h 26504"/>
                    <a:gd name="connsiteX4" fmla="*/ 48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4373"/>
                      </a:moveTo>
                      <a:cubicBezTo>
                        <a:pt x="-574" y="7024"/>
                        <a:pt x="4906" y="672"/>
                        <a:pt x="12255" y="49"/>
                      </a:cubicBezTo>
                      <a:cubicBezTo>
                        <a:pt x="19604" y="-574"/>
                        <a:pt x="25956" y="4782"/>
                        <a:pt x="26579" y="12131"/>
                      </a:cubicBezTo>
                      <a:cubicBezTo>
                        <a:pt x="27202" y="19480"/>
                        <a:pt x="21721" y="25833"/>
                        <a:pt x="14373" y="26455"/>
                      </a:cubicBezTo>
                      <a:cubicBezTo>
                        <a:pt x="7023" y="27078"/>
                        <a:pt x="547"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3" name="Freeform 7633">
                  <a:extLst>
                    <a:ext uri="{FF2B5EF4-FFF2-40B4-BE49-F238E27FC236}">
                      <a16:creationId xmlns:a16="http://schemas.microsoft.com/office/drawing/2014/main" id="{3088B71D-A1D1-AB00-B548-3C98736F7820}"/>
                    </a:ext>
                  </a:extLst>
                </p:cNvPr>
                <p:cNvSpPr/>
                <p:nvPr/>
              </p:nvSpPr>
              <p:spPr>
                <a:xfrm>
                  <a:off x="6970340" y="1839417"/>
                  <a:ext cx="5951" cy="51940"/>
                </a:xfrm>
                <a:custGeom>
                  <a:avLst/>
                  <a:gdLst>
                    <a:gd name="connsiteX0" fmla="*/ 1277 w 5951"/>
                    <a:gd name="connsiteY0" fmla="*/ 0 h 51940"/>
                    <a:gd name="connsiteX1" fmla="*/ 778 w 5951"/>
                    <a:gd name="connsiteY1" fmla="*/ 18808 h 51940"/>
                    <a:gd name="connsiteX2" fmla="*/ 5512 w 5951"/>
                    <a:gd name="connsiteY2" fmla="*/ 35499 h 51940"/>
                    <a:gd name="connsiteX3" fmla="*/ 4640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0"/>
                      </a:moveTo>
                      <a:cubicBezTo>
                        <a:pt x="-592" y="8221"/>
                        <a:pt x="-94" y="14573"/>
                        <a:pt x="778" y="18808"/>
                      </a:cubicBezTo>
                      <a:cubicBezTo>
                        <a:pt x="2149" y="25659"/>
                        <a:pt x="4515" y="28524"/>
                        <a:pt x="5512" y="35499"/>
                      </a:cubicBezTo>
                      <a:cubicBezTo>
                        <a:pt x="6508" y="42350"/>
                        <a:pt x="5636"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4" name="Freeform 7634">
                  <a:extLst>
                    <a:ext uri="{FF2B5EF4-FFF2-40B4-BE49-F238E27FC236}">
                      <a16:creationId xmlns:a16="http://schemas.microsoft.com/office/drawing/2014/main" id="{A77D5C86-055F-9569-572E-4D61BB215E8F}"/>
                    </a:ext>
                  </a:extLst>
                </p:cNvPr>
                <p:cNvSpPr/>
                <p:nvPr/>
              </p:nvSpPr>
              <p:spPr>
                <a:xfrm>
                  <a:off x="6978094" y="1833812"/>
                  <a:ext cx="4982" cy="51940"/>
                </a:xfrm>
                <a:custGeom>
                  <a:avLst/>
                  <a:gdLst>
                    <a:gd name="connsiteX0" fmla="*/ 4983 w 4982"/>
                    <a:gd name="connsiteY0" fmla="*/ 51941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1"/>
                      </a:moveTo>
                      <a:cubicBezTo>
                        <a:pt x="1869" y="44093"/>
                        <a:pt x="1371" y="37866"/>
                        <a:pt x="1495" y="33506"/>
                      </a:cubicBezTo>
                      <a:cubicBezTo>
                        <a:pt x="1744" y="26531"/>
                        <a:pt x="3613" y="23292"/>
                        <a:pt x="3488" y="16192"/>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5" name="Freeform 7635">
                  <a:extLst>
                    <a:ext uri="{FF2B5EF4-FFF2-40B4-BE49-F238E27FC236}">
                      <a16:creationId xmlns:a16="http://schemas.microsoft.com/office/drawing/2014/main" id="{72C55C56-EC7A-D276-FD23-98A88E039159}"/>
                    </a:ext>
                  </a:extLst>
                </p:cNvPr>
                <p:cNvSpPr/>
                <p:nvPr/>
              </p:nvSpPr>
              <p:spPr>
                <a:xfrm>
                  <a:off x="6961604" y="1818817"/>
                  <a:ext cx="26378" cy="26502"/>
                </a:xfrm>
                <a:custGeom>
                  <a:avLst/>
                  <a:gdLst>
                    <a:gd name="connsiteX0" fmla="*/ 26330 w 26378"/>
                    <a:gd name="connsiteY0" fmla="*/ 12130 h 26502"/>
                    <a:gd name="connsiteX1" fmla="*/ 14248 w 26378"/>
                    <a:gd name="connsiteY1" fmla="*/ 26454 h 26502"/>
                    <a:gd name="connsiteX2" fmla="*/ 48 w 26378"/>
                    <a:gd name="connsiteY2" fmla="*/ 14372 h 26502"/>
                    <a:gd name="connsiteX3" fmla="*/ 12131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3" y="19479"/>
                        <a:pt x="21473" y="25832"/>
                        <a:pt x="14248" y="26454"/>
                      </a:cubicBezTo>
                      <a:cubicBezTo>
                        <a:pt x="7023" y="27077"/>
                        <a:pt x="672" y="21597"/>
                        <a:pt x="48" y="14372"/>
                      </a:cubicBezTo>
                      <a:cubicBezTo>
                        <a:pt x="-574" y="7024"/>
                        <a:pt x="4906" y="671"/>
                        <a:pt x="12131"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8" name="Graphic 2987">
                <a:extLst>
                  <a:ext uri="{FF2B5EF4-FFF2-40B4-BE49-F238E27FC236}">
                    <a16:creationId xmlns:a16="http://schemas.microsoft.com/office/drawing/2014/main" id="{F3C51CE7-D5AC-931E-986E-F96EADD7098C}"/>
                  </a:ext>
                </a:extLst>
              </p:cNvPr>
              <p:cNvGrpSpPr/>
              <p:nvPr/>
            </p:nvGrpSpPr>
            <p:grpSpPr>
              <a:xfrm>
                <a:off x="6932225" y="1821308"/>
                <a:ext cx="35827" cy="148570"/>
                <a:chOff x="6932225" y="1821308"/>
                <a:chExt cx="35827" cy="148570"/>
              </a:xfrm>
              <a:grpFill/>
            </p:grpSpPr>
            <p:sp>
              <p:nvSpPr>
                <p:cNvPr id="6504" name="Freeform 7637">
                  <a:extLst>
                    <a:ext uri="{FF2B5EF4-FFF2-40B4-BE49-F238E27FC236}">
                      <a16:creationId xmlns:a16="http://schemas.microsoft.com/office/drawing/2014/main" id="{B0FEF3EF-B84F-E2CB-E961-30B8397AF14C}"/>
                    </a:ext>
                  </a:extLst>
                </p:cNvPr>
                <p:cNvSpPr/>
                <p:nvPr/>
              </p:nvSpPr>
              <p:spPr>
                <a:xfrm>
                  <a:off x="6953140" y="1897337"/>
                  <a:ext cx="5927" cy="51940"/>
                </a:xfrm>
                <a:custGeom>
                  <a:avLst/>
                  <a:gdLst>
                    <a:gd name="connsiteX0" fmla="*/ 4651 w 5927"/>
                    <a:gd name="connsiteY0" fmla="*/ 51941 h 51940"/>
                    <a:gd name="connsiteX1" fmla="*/ 5149 w 5927"/>
                    <a:gd name="connsiteY1" fmla="*/ 33132 h 51940"/>
                    <a:gd name="connsiteX2" fmla="*/ 416 w 5927"/>
                    <a:gd name="connsiteY2" fmla="*/ 16442 h 51940"/>
                    <a:gd name="connsiteX3" fmla="*/ 1288 w 5927"/>
                    <a:gd name="connsiteY3" fmla="*/ 0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51941"/>
                      </a:moveTo>
                      <a:cubicBezTo>
                        <a:pt x="6519" y="43720"/>
                        <a:pt x="6021" y="37367"/>
                        <a:pt x="5149" y="33132"/>
                      </a:cubicBezTo>
                      <a:cubicBezTo>
                        <a:pt x="3779" y="26282"/>
                        <a:pt x="1413" y="23417"/>
                        <a:pt x="416" y="16442"/>
                      </a:cubicBezTo>
                      <a:cubicBezTo>
                        <a:pt x="-581"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5" name="Freeform 7638">
                  <a:extLst>
                    <a:ext uri="{FF2B5EF4-FFF2-40B4-BE49-F238E27FC236}">
                      <a16:creationId xmlns:a16="http://schemas.microsoft.com/office/drawing/2014/main" id="{4482BEB9-0581-F616-C204-4B93E6FE0832}"/>
                    </a:ext>
                  </a:extLst>
                </p:cNvPr>
                <p:cNvSpPr/>
                <p:nvPr/>
              </p:nvSpPr>
              <p:spPr>
                <a:xfrm>
                  <a:off x="6946457" y="1902942"/>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612"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6" name="Freeform 7639">
                  <a:extLst>
                    <a:ext uri="{FF2B5EF4-FFF2-40B4-BE49-F238E27FC236}">
                      <a16:creationId xmlns:a16="http://schemas.microsoft.com/office/drawing/2014/main" id="{8B069A54-0E2F-8D7F-4880-52E404687F18}"/>
                    </a:ext>
                  </a:extLst>
                </p:cNvPr>
                <p:cNvSpPr/>
                <p:nvPr/>
              </p:nvSpPr>
              <p:spPr>
                <a:xfrm>
                  <a:off x="6941319" y="1943374"/>
                  <a:ext cx="26733" cy="26504"/>
                </a:xfrm>
                <a:custGeom>
                  <a:avLst/>
                  <a:gdLst>
                    <a:gd name="connsiteX0" fmla="*/ 32 w 26733"/>
                    <a:gd name="connsiteY0" fmla="*/ 14373 h 26504"/>
                    <a:gd name="connsiteX1" fmla="*/ 12363 w 26733"/>
                    <a:gd name="connsiteY1" fmla="*/ 49 h 26504"/>
                    <a:gd name="connsiteX2" fmla="*/ 26686 w 26733"/>
                    <a:gd name="connsiteY2" fmla="*/ 12131 h 26504"/>
                    <a:gd name="connsiteX3" fmla="*/ 14355 w 26733"/>
                    <a:gd name="connsiteY3" fmla="*/ 26455 h 26504"/>
                    <a:gd name="connsiteX4" fmla="*/ 32 w 26733"/>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32" y="14373"/>
                      </a:moveTo>
                      <a:cubicBezTo>
                        <a:pt x="-467" y="7024"/>
                        <a:pt x="5013" y="672"/>
                        <a:pt x="12363" y="49"/>
                      </a:cubicBezTo>
                      <a:cubicBezTo>
                        <a:pt x="19711" y="-574"/>
                        <a:pt x="26064" y="4782"/>
                        <a:pt x="26686" y="12131"/>
                      </a:cubicBezTo>
                      <a:cubicBezTo>
                        <a:pt x="27309" y="19480"/>
                        <a:pt x="21704" y="25833"/>
                        <a:pt x="14355" y="26455"/>
                      </a:cubicBezTo>
                      <a:cubicBezTo>
                        <a:pt x="7007" y="27078"/>
                        <a:pt x="654" y="21722"/>
                        <a:pt x="32"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7" name="Freeform 7640">
                  <a:extLst>
                    <a:ext uri="{FF2B5EF4-FFF2-40B4-BE49-F238E27FC236}">
                      <a16:creationId xmlns:a16="http://schemas.microsoft.com/office/drawing/2014/main" id="{9EB068D9-3269-9FA3-01B6-C9F90897046F}"/>
                    </a:ext>
                  </a:extLst>
                </p:cNvPr>
                <p:cNvSpPr/>
                <p:nvPr/>
              </p:nvSpPr>
              <p:spPr>
                <a:xfrm>
                  <a:off x="6940945" y="1841908"/>
                  <a:ext cx="5927" cy="51940"/>
                </a:xfrm>
                <a:custGeom>
                  <a:avLst/>
                  <a:gdLst>
                    <a:gd name="connsiteX0" fmla="*/ 1276 w 5927"/>
                    <a:gd name="connsiteY0" fmla="*/ 0 h 51940"/>
                    <a:gd name="connsiteX1" fmla="*/ 778 w 5927"/>
                    <a:gd name="connsiteY1" fmla="*/ 18808 h 51940"/>
                    <a:gd name="connsiteX2" fmla="*/ 5512 w 5927"/>
                    <a:gd name="connsiteY2" fmla="*/ 35499 h 51940"/>
                    <a:gd name="connsiteX3" fmla="*/ 4640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1276" y="0"/>
                      </a:moveTo>
                      <a:cubicBezTo>
                        <a:pt x="-591" y="8221"/>
                        <a:pt x="-94" y="14573"/>
                        <a:pt x="778" y="18808"/>
                      </a:cubicBezTo>
                      <a:cubicBezTo>
                        <a:pt x="2024" y="25659"/>
                        <a:pt x="4390" y="28524"/>
                        <a:pt x="5512" y="35499"/>
                      </a:cubicBezTo>
                      <a:cubicBezTo>
                        <a:pt x="6508" y="42350"/>
                        <a:pt x="5512"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8" name="Freeform 7641">
                  <a:extLst>
                    <a:ext uri="{FF2B5EF4-FFF2-40B4-BE49-F238E27FC236}">
                      <a16:creationId xmlns:a16="http://schemas.microsoft.com/office/drawing/2014/main" id="{7BAF1209-415A-453B-390E-1E26358CA66F}"/>
                    </a:ext>
                  </a:extLst>
                </p:cNvPr>
                <p:cNvSpPr/>
                <p:nvPr/>
              </p:nvSpPr>
              <p:spPr>
                <a:xfrm>
                  <a:off x="6948948" y="1836303"/>
                  <a:ext cx="4608" cy="51940"/>
                </a:xfrm>
                <a:custGeom>
                  <a:avLst/>
                  <a:gdLst>
                    <a:gd name="connsiteX0" fmla="*/ 4609 w 4608"/>
                    <a:gd name="connsiteY0" fmla="*/ 51941 h 51940"/>
                    <a:gd name="connsiteX1" fmla="*/ 1245 w 4608"/>
                    <a:gd name="connsiteY1" fmla="*/ 33506 h 51940"/>
                    <a:gd name="connsiteX2" fmla="*/ 3363 w 4608"/>
                    <a:gd name="connsiteY2" fmla="*/ 16192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996" y="37865"/>
                        <a:pt x="1245" y="33506"/>
                      </a:cubicBezTo>
                      <a:cubicBezTo>
                        <a:pt x="1495" y="26531"/>
                        <a:pt x="3363" y="23292"/>
                        <a:pt x="3363" y="16192"/>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9" name="Freeform 7642">
                  <a:extLst>
                    <a:ext uri="{FF2B5EF4-FFF2-40B4-BE49-F238E27FC236}">
                      <a16:creationId xmlns:a16="http://schemas.microsoft.com/office/drawing/2014/main" id="{ED6DA833-A5DF-30C8-A6F8-5FEFBDF76906}"/>
                    </a:ext>
                  </a:extLst>
                </p:cNvPr>
                <p:cNvSpPr/>
                <p:nvPr/>
              </p:nvSpPr>
              <p:spPr>
                <a:xfrm>
                  <a:off x="6932225" y="1821308"/>
                  <a:ext cx="26361" cy="26502"/>
                </a:xfrm>
                <a:custGeom>
                  <a:avLst/>
                  <a:gdLst>
                    <a:gd name="connsiteX0" fmla="*/ 26314 w 26361"/>
                    <a:gd name="connsiteY0" fmla="*/ 12130 h 26502"/>
                    <a:gd name="connsiteX1" fmla="*/ 14232 w 26361"/>
                    <a:gd name="connsiteY1" fmla="*/ 26454 h 26502"/>
                    <a:gd name="connsiteX2" fmla="*/ 32 w 26361"/>
                    <a:gd name="connsiteY2" fmla="*/ 14372 h 26502"/>
                    <a:gd name="connsiteX3" fmla="*/ 12115 w 26361"/>
                    <a:gd name="connsiteY3" fmla="*/ 48 h 26502"/>
                    <a:gd name="connsiteX4" fmla="*/ 26314 w 26361"/>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2">
                      <a:moveTo>
                        <a:pt x="26314" y="12130"/>
                      </a:moveTo>
                      <a:cubicBezTo>
                        <a:pt x="26937" y="19479"/>
                        <a:pt x="21456" y="25832"/>
                        <a:pt x="14232" y="26454"/>
                      </a:cubicBezTo>
                      <a:cubicBezTo>
                        <a:pt x="7007" y="27077"/>
                        <a:pt x="655" y="21597"/>
                        <a:pt x="32" y="14372"/>
                      </a:cubicBezTo>
                      <a:cubicBezTo>
                        <a:pt x="-466" y="7024"/>
                        <a:pt x="4890" y="671"/>
                        <a:pt x="12115" y="48"/>
                      </a:cubicBezTo>
                      <a:cubicBezTo>
                        <a:pt x="19338" y="-575"/>
                        <a:pt x="25691" y="4906"/>
                        <a:pt x="26314"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9" name="Graphic 2987">
                <a:extLst>
                  <a:ext uri="{FF2B5EF4-FFF2-40B4-BE49-F238E27FC236}">
                    <a16:creationId xmlns:a16="http://schemas.microsoft.com/office/drawing/2014/main" id="{4B026315-F8BB-C54C-01D6-3BC776C58635}"/>
                  </a:ext>
                </a:extLst>
              </p:cNvPr>
              <p:cNvGrpSpPr/>
              <p:nvPr/>
            </p:nvGrpSpPr>
            <p:grpSpPr>
              <a:xfrm>
                <a:off x="6902830" y="1823799"/>
                <a:ext cx="35561" cy="148570"/>
                <a:chOff x="6902830" y="1823799"/>
                <a:chExt cx="35561" cy="148570"/>
              </a:xfrm>
              <a:grpFill/>
            </p:grpSpPr>
            <p:sp>
              <p:nvSpPr>
                <p:cNvPr id="6498" name="Freeform 7644">
                  <a:extLst>
                    <a:ext uri="{FF2B5EF4-FFF2-40B4-BE49-F238E27FC236}">
                      <a16:creationId xmlns:a16="http://schemas.microsoft.com/office/drawing/2014/main" id="{BB9A9216-8203-6654-5C90-2DBB8A148C54}"/>
                    </a:ext>
                  </a:extLst>
                </p:cNvPr>
                <p:cNvSpPr/>
                <p:nvPr/>
              </p:nvSpPr>
              <p:spPr>
                <a:xfrm>
                  <a:off x="6923499" y="1899828"/>
                  <a:ext cx="5816" cy="51940"/>
                </a:xfrm>
                <a:custGeom>
                  <a:avLst/>
                  <a:gdLst>
                    <a:gd name="connsiteX0" fmla="*/ 4523 w 5816"/>
                    <a:gd name="connsiteY0" fmla="*/ 51941 h 51940"/>
                    <a:gd name="connsiteX1" fmla="*/ 5146 w 5816"/>
                    <a:gd name="connsiteY1" fmla="*/ 33132 h 51940"/>
                    <a:gd name="connsiteX2" fmla="*/ 413 w 5816"/>
                    <a:gd name="connsiteY2" fmla="*/ 16442 h 51940"/>
                    <a:gd name="connsiteX3" fmla="*/ 1410 w 5816"/>
                    <a:gd name="connsiteY3" fmla="*/ 0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51941"/>
                      </a:moveTo>
                      <a:cubicBezTo>
                        <a:pt x="6391" y="43720"/>
                        <a:pt x="5893" y="37367"/>
                        <a:pt x="5146" y="33132"/>
                      </a:cubicBezTo>
                      <a:cubicBezTo>
                        <a:pt x="3900" y="26282"/>
                        <a:pt x="1533"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9" name="Freeform 7645">
                  <a:extLst>
                    <a:ext uri="{FF2B5EF4-FFF2-40B4-BE49-F238E27FC236}">
                      <a16:creationId xmlns:a16="http://schemas.microsoft.com/office/drawing/2014/main" id="{79BDAA97-105B-2D6A-9947-81D59D9A0B66}"/>
                    </a:ext>
                  </a:extLst>
                </p:cNvPr>
                <p:cNvSpPr/>
                <p:nvPr/>
              </p:nvSpPr>
              <p:spPr>
                <a:xfrm>
                  <a:off x="6916812" y="1905433"/>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0" name="Freeform 7646">
                  <a:extLst>
                    <a:ext uri="{FF2B5EF4-FFF2-40B4-BE49-F238E27FC236}">
                      <a16:creationId xmlns:a16="http://schemas.microsoft.com/office/drawing/2014/main" id="{956DBCBD-9D01-A986-E937-12CC10389938}"/>
                    </a:ext>
                  </a:extLst>
                </p:cNvPr>
                <p:cNvSpPr/>
                <p:nvPr/>
              </p:nvSpPr>
              <p:spPr>
                <a:xfrm>
                  <a:off x="6911674" y="1945866"/>
                  <a:ext cx="26717" cy="26503"/>
                </a:xfrm>
                <a:custGeom>
                  <a:avLst/>
                  <a:gdLst>
                    <a:gd name="connsiteX0" fmla="*/ 32 w 26717"/>
                    <a:gd name="connsiteY0" fmla="*/ 14372 h 26503"/>
                    <a:gd name="connsiteX1" fmla="*/ 12363 w 26717"/>
                    <a:gd name="connsiteY1" fmla="*/ 48 h 26503"/>
                    <a:gd name="connsiteX2" fmla="*/ 26686 w 26717"/>
                    <a:gd name="connsiteY2" fmla="*/ 12130 h 26503"/>
                    <a:gd name="connsiteX3" fmla="*/ 14355 w 26717"/>
                    <a:gd name="connsiteY3" fmla="*/ 26454 h 26503"/>
                    <a:gd name="connsiteX4" fmla="*/ 32 w 26717"/>
                    <a:gd name="connsiteY4" fmla="*/ 14372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3">
                      <a:moveTo>
                        <a:pt x="32" y="14372"/>
                      </a:moveTo>
                      <a:cubicBezTo>
                        <a:pt x="-467" y="7024"/>
                        <a:pt x="5013" y="671"/>
                        <a:pt x="12363" y="48"/>
                      </a:cubicBezTo>
                      <a:cubicBezTo>
                        <a:pt x="19711" y="-575"/>
                        <a:pt x="26064" y="4906"/>
                        <a:pt x="26686" y="12130"/>
                      </a:cubicBezTo>
                      <a:cubicBezTo>
                        <a:pt x="27185" y="19479"/>
                        <a:pt x="21704" y="25832"/>
                        <a:pt x="14355" y="26454"/>
                      </a:cubicBezTo>
                      <a:cubicBezTo>
                        <a:pt x="6882" y="27077"/>
                        <a:pt x="529" y="21721"/>
                        <a:pt x="32" y="143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1" name="Freeform 7647">
                  <a:extLst>
                    <a:ext uri="{FF2B5EF4-FFF2-40B4-BE49-F238E27FC236}">
                      <a16:creationId xmlns:a16="http://schemas.microsoft.com/office/drawing/2014/main" id="{7EF36CFF-891D-F43E-D152-38BA642EDB42}"/>
                    </a:ext>
                  </a:extLst>
                </p:cNvPr>
                <p:cNvSpPr/>
                <p:nvPr/>
              </p:nvSpPr>
              <p:spPr>
                <a:xfrm>
                  <a:off x="6911533" y="1844400"/>
                  <a:ext cx="5691" cy="51940"/>
                </a:xfrm>
                <a:custGeom>
                  <a:avLst/>
                  <a:gdLst>
                    <a:gd name="connsiteX0" fmla="*/ 1293 w 5691"/>
                    <a:gd name="connsiteY0" fmla="*/ 0 h 51940"/>
                    <a:gd name="connsiteX1" fmla="*/ 670 w 5691"/>
                    <a:gd name="connsiteY1" fmla="*/ 18808 h 51940"/>
                    <a:gd name="connsiteX2" fmla="*/ 5279 w 5691"/>
                    <a:gd name="connsiteY2" fmla="*/ 35499 h 51940"/>
                    <a:gd name="connsiteX3" fmla="*/ 4282 w 569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691" h="51940">
                      <a:moveTo>
                        <a:pt x="1293" y="0"/>
                      </a:moveTo>
                      <a:cubicBezTo>
                        <a:pt x="-575" y="8221"/>
                        <a:pt x="-77" y="14573"/>
                        <a:pt x="670" y="18808"/>
                      </a:cubicBezTo>
                      <a:cubicBezTo>
                        <a:pt x="1915" y="25659"/>
                        <a:pt x="4282" y="28524"/>
                        <a:pt x="5279" y="35499"/>
                      </a:cubicBezTo>
                      <a:cubicBezTo>
                        <a:pt x="6275" y="42350"/>
                        <a:pt x="5279" y="48204"/>
                        <a:pt x="428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2" name="Freeform 7648">
                  <a:extLst>
                    <a:ext uri="{FF2B5EF4-FFF2-40B4-BE49-F238E27FC236}">
                      <a16:creationId xmlns:a16="http://schemas.microsoft.com/office/drawing/2014/main" id="{B62D43E7-0D25-4A27-4173-799EBB18F520}"/>
                    </a:ext>
                  </a:extLst>
                </p:cNvPr>
                <p:cNvSpPr/>
                <p:nvPr/>
              </p:nvSpPr>
              <p:spPr>
                <a:xfrm>
                  <a:off x="6919428" y="1838794"/>
                  <a:ext cx="4608" cy="51940"/>
                </a:xfrm>
                <a:custGeom>
                  <a:avLst/>
                  <a:gdLst>
                    <a:gd name="connsiteX0" fmla="*/ 4609 w 4608"/>
                    <a:gd name="connsiteY0" fmla="*/ 51941 h 51940"/>
                    <a:gd name="connsiteX1" fmla="*/ 1245 w 4608"/>
                    <a:gd name="connsiteY1" fmla="*/ 33506 h 51940"/>
                    <a:gd name="connsiteX2" fmla="*/ 3363 w 4608"/>
                    <a:gd name="connsiteY2" fmla="*/ 16193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1121" y="37866"/>
                        <a:pt x="1245"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3" name="Freeform 7649">
                  <a:extLst>
                    <a:ext uri="{FF2B5EF4-FFF2-40B4-BE49-F238E27FC236}">
                      <a16:creationId xmlns:a16="http://schemas.microsoft.com/office/drawing/2014/main" id="{8C0F0608-1C88-3D71-CA29-FAAF51328837}"/>
                    </a:ext>
                  </a:extLst>
                </p:cNvPr>
                <p:cNvSpPr/>
                <p:nvPr/>
              </p:nvSpPr>
              <p:spPr>
                <a:xfrm>
                  <a:off x="6902830" y="1823799"/>
                  <a:ext cx="26345" cy="26502"/>
                </a:xfrm>
                <a:custGeom>
                  <a:avLst/>
                  <a:gdLst>
                    <a:gd name="connsiteX0" fmla="*/ 26313 w 26345"/>
                    <a:gd name="connsiteY0" fmla="*/ 12130 h 26502"/>
                    <a:gd name="connsiteX1" fmla="*/ 14106 w 26345"/>
                    <a:gd name="connsiteY1" fmla="*/ 26454 h 26502"/>
                    <a:gd name="connsiteX2" fmla="*/ 31 w 26345"/>
                    <a:gd name="connsiteY2" fmla="*/ 14372 h 26502"/>
                    <a:gd name="connsiteX3" fmla="*/ 12238 w 26345"/>
                    <a:gd name="connsiteY3" fmla="*/ 48 h 26502"/>
                    <a:gd name="connsiteX4" fmla="*/ 26313 w 26345"/>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2">
                      <a:moveTo>
                        <a:pt x="26313" y="12130"/>
                      </a:moveTo>
                      <a:cubicBezTo>
                        <a:pt x="26812" y="19479"/>
                        <a:pt x="21455" y="25832"/>
                        <a:pt x="14106" y="26454"/>
                      </a:cubicBezTo>
                      <a:cubicBezTo>
                        <a:pt x="6757" y="27077"/>
                        <a:pt x="529" y="21597"/>
                        <a:pt x="31" y="14372"/>
                      </a:cubicBezTo>
                      <a:cubicBezTo>
                        <a:pt x="-467" y="7023"/>
                        <a:pt x="5014" y="671"/>
                        <a:pt x="12238" y="48"/>
                      </a:cubicBezTo>
                      <a:cubicBezTo>
                        <a:pt x="19338" y="-575"/>
                        <a:pt x="25690" y="4906"/>
                        <a:pt x="26313"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0" name="Graphic 2987">
                <a:extLst>
                  <a:ext uri="{FF2B5EF4-FFF2-40B4-BE49-F238E27FC236}">
                    <a16:creationId xmlns:a16="http://schemas.microsoft.com/office/drawing/2014/main" id="{665C2B20-DF44-C377-A25A-29AA0CEC9373}"/>
                  </a:ext>
                </a:extLst>
              </p:cNvPr>
              <p:cNvGrpSpPr/>
              <p:nvPr/>
            </p:nvGrpSpPr>
            <p:grpSpPr>
              <a:xfrm>
                <a:off x="6873434" y="1826059"/>
                <a:ext cx="35063" cy="148534"/>
                <a:chOff x="6873434" y="1826059"/>
                <a:chExt cx="35063" cy="148534"/>
              </a:xfrm>
              <a:grpFill/>
            </p:grpSpPr>
            <p:sp>
              <p:nvSpPr>
                <p:cNvPr id="6492" name="Freeform 7651">
                  <a:extLst>
                    <a:ext uri="{FF2B5EF4-FFF2-40B4-BE49-F238E27FC236}">
                      <a16:creationId xmlns:a16="http://schemas.microsoft.com/office/drawing/2014/main" id="{927C9A7C-F064-8FFA-76E4-2E630E458D28}"/>
                    </a:ext>
                  </a:extLst>
                </p:cNvPr>
                <p:cNvSpPr/>
                <p:nvPr/>
              </p:nvSpPr>
              <p:spPr>
                <a:xfrm>
                  <a:off x="6893979" y="1902070"/>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1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6" y="26406"/>
                        <a:pt x="1410" y="23417"/>
                        <a:pt x="413" y="16442"/>
                      </a:cubicBezTo>
                      <a:cubicBezTo>
                        <a:pt x="-584" y="9591"/>
                        <a:pt x="413" y="3861"/>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3" name="Freeform 7652">
                  <a:extLst>
                    <a:ext uri="{FF2B5EF4-FFF2-40B4-BE49-F238E27FC236}">
                      <a16:creationId xmlns:a16="http://schemas.microsoft.com/office/drawing/2014/main" id="{358EACBA-6CD6-4749-664C-4FA807FC29B7}"/>
                    </a:ext>
                  </a:extLst>
                </p:cNvPr>
                <p:cNvSpPr/>
                <p:nvPr/>
              </p:nvSpPr>
              <p:spPr>
                <a:xfrm>
                  <a:off x="6887292" y="1907550"/>
                  <a:ext cx="4483" cy="51940"/>
                </a:xfrm>
                <a:custGeom>
                  <a:avLst/>
                  <a:gdLst>
                    <a:gd name="connsiteX0" fmla="*/ 0 w 4483"/>
                    <a:gd name="connsiteY0" fmla="*/ 0 h 51940"/>
                    <a:gd name="connsiteX1" fmla="*/ 3363 w 4483"/>
                    <a:gd name="connsiteY1" fmla="*/ 18559 h 51940"/>
                    <a:gd name="connsiteX2" fmla="*/ 1121 w 4483"/>
                    <a:gd name="connsiteY2" fmla="*/ 35748 h 51940"/>
                    <a:gd name="connsiteX3" fmla="*/ 4484 w 448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483" h="51940">
                      <a:moveTo>
                        <a:pt x="0" y="0"/>
                      </a:moveTo>
                      <a:cubicBezTo>
                        <a:pt x="2989" y="7847"/>
                        <a:pt x="3487" y="14200"/>
                        <a:pt x="3363" y="18559"/>
                      </a:cubicBezTo>
                      <a:cubicBezTo>
                        <a:pt x="3114" y="25534"/>
                        <a:pt x="1121" y="28648"/>
                        <a:pt x="1121" y="35748"/>
                      </a:cubicBezTo>
                      <a:cubicBezTo>
                        <a:pt x="1121" y="42599"/>
                        <a:pt x="2865" y="48328"/>
                        <a:pt x="448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4" name="Freeform 7653">
                  <a:extLst>
                    <a:ext uri="{FF2B5EF4-FFF2-40B4-BE49-F238E27FC236}">
                      <a16:creationId xmlns:a16="http://schemas.microsoft.com/office/drawing/2014/main" id="{000491C6-8CFB-C112-F501-03C4105BCAFE}"/>
                    </a:ext>
                  </a:extLst>
                </p:cNvPr>
                <p:cNvSpPr/>
                <p:nvPr/>
              </p:nvSpPr>
              <p:spPr>
                <a:xfrm>
                  <a:off x="6881904" y="1948125"/>
                  <a:ext cx="26593" cy="26467"/>
                </a:xfrm>
                <a:custGeom>
                  <a:avLst/>
                  <a:gdLst>
                    <a:gd name="connsiteX0" fmla="*/ 32 w 26593"/>
                    <a:gd name="connsiteY0" fmla="*/ 14106 h 26467"/>
                    <a:gd name="connsiteX1" fmla="*/ 12363 w 26593"/>
                    <a:gd name="connsiteY1" fmla="*/ 31 h 26467"/>
                    <a:gd name="connsiteX2" fmla="*/ 26562 w 26593"/>
                    <a:gd name="connsiteY2" fmla="*/ 12362 h 26467"/>
                    <a:gd name="connsiteX3" fmla="*/ 14231 w 26593"/>
                    <a:gd name="connsiteY3" fmla="*/ 26437 h 26467"/>
                    <a:gd name="connsiteX4" fmla="*/ 32 w 26593"/>
                    <a:gd name="connsiteY4" fmla="*/ 1410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7">
                      <a:moveTo>
                        <a:pt x="32" y="14106"/>
                      </a:moveTo>
                      <a:cubicBezTo>
                        <a:pt x="-467" y="6757"/>
                        <a:pt x="5013" y="529"/>
                        <a:pt x="12363" y="31"/>
                      </a:cubicBezTo>
                      <a:cubicBezTo>
                        <a:pt x="19712" y="-467"/>
                        <a:pt x="26064" y="5138"/>
                        <a:pt x="26562" y="12362"/>
                      </a:cubicBezTo>
                      <a:cubicBezTo>
                        <a:pt x="27060" y="19711"/>
                        <a:pt x="21580" y="25939"/>
                        <a:pt x="14231" y="26437"/>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5" name="Freeform 7654">
                  <a:extLst>
                    <a:ext uri="{FF2B5EF4-FFF2-40B4-BE49-F238E27FC236}">
                      <a16:creationId xmlns:a16="http://schemas.microsoft.com/office/drawing/2014/main" id="{6EBF080D-A301-77A2-F38B-8E5A11F90749}"/>
                    </a:ext>
                  </a:extLst>
                </p:cNvPr>
                <p:cNvSpPr/>
                <p:nvPr/>
              </p:nvSpPr>
              <p:spPr>
                <a:xfrm>
                  <a:off x="6882089" y="1846517"/>
                  <a:ext cx="5739" cy="52065"/>
                </a:xfrm>
                <a:custGeom>
                  <a:avLst/>
                  <a:gdLst>
                    <a:gd name="connsiteX0" fmla="*/ 1341 w 5739"/>
                    <a:gd name="connsiteY0" fmla="*/ 0 h 52065"/>
                    <a:gd name="connsiteX1" fmla="*/ 719 w 5739"/>
                    <a:gd name="connsiteY1" fmla="*/ 18808 h 52065"/>
                    <a:gd name="connsiteX2" fmla="*/ 5327 w 5739"/>
                    <a:gd name="connsiteY2" fmla="*/ 35624 h 52065"/>
                    <a:gd name="connsiteX3" fmla="*/ 4330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0"/>
                      </a:moveTo>
                      <a:cubicBezTo>
                        <a:pt x="-527" y="8221"/>
                        <a:pt x="-153" y="14449"/>
                        <a:pt x="719" y="18808"/>
                      </a:cubicBezTo>
                      <a:cubicBezTo>
                        <a:pt x="1964" y="25659"/>
                        <a:pt x="4330" y="28648"/>
                        <a:pt x="5327" y="35624"/>
                      </a:cubicBezTo>
                      <a:cubicBezTo>
                        <a:pt x="6324" y="42474"/>
                        <a:pt x="5327" y="48204"/>
                        <a:pt x="43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6" name="Freeform 7655">
                  <a:extLst>
                    <a:ext uri="{FF2B5EF4-FFF2-40B4-BE49-F238E27FC236}">
                      <a16:creationId xmlns:a16="http://schemas.microsoft.com/office/drawing/2014/main" id="{6AE2CF33-532D-EE8F-A0F7-9530E51254F6}"/>
                    </a:ext>
                  </a:extLst>
                </p:cNvPr>
                <p:cNvSpPr/>
                <p:nvPr/>
              </p:nvSpPr>
              <p:spPr>
                <a:xfrm>
                  <a:off x="6890032" y="1841161"/>
                  <a:ext cx="4484" cy="51940"/>
                </a:xfrm>
                <a:custGeom>
                  <a:avLst/>
                  <a:gdLst>
                    <a:gd name="connsiteX0" fmla="*/ 4485 w 4484"/>
                    <a:gd name="connsiteY0" fmla="*/ 51941 h 51940"/>
                    <a:gd name="connsiteX1" fmla="*/ 1121 w 4484"/>
                    <a:gd name="connsiteY1" fmla="*/ 33381 h 51940"/>
                    <a:gd name="connsiteX2" fmla="*/ 3363 w 4484"/>
                    <a:gd name="connsiteY2" fmla="*/ 16192 h 51940"/>
                    <a:gd name="connsiteX3" fmla="*/ 0 w 4484"/>
                    <a:gd name="connsiteY3" fmla="*/ 0 h 51940"/>
                  </a:gdLst>
                  <a:ahLst/>
                  <a:cxnLst>
                    <a:cxn ang="0">
                      <a:pos x="connsiteX0" y="connsiteY0"/>
                    </a:cxn>
                    <a:cxn ang="0">
                      <a:pos x="connsiteX1" y="connsiteY1"/>
                    </a:cxn>
                    <a:cxn ang="0">
                      <a:pos x="connsiteX2" y="connsiteY2"/>
                    </a:cxn>
                    <a:cxn ang="0">
                      <a:pos x="connsiteX3" y="connsiteY3"/>
                    </a:cxn>
                  </a:cxnLst>
                  <a:rect l="l" t="t" r="r" b="b"/>
                  <a:pathLst>
                    <a:path w="4484" h="51940">
                      <a:moveTo>
                        <a:pt x="4485" y="51941"/>
                      </a:moveTo>
                      <a:cubicBezTo>
                        <a:pt x="1495" y="44093"/>
                        <a:pt x="997" y="37741"/>
                        <a:pt x="1121" y="33381"/>
                      </a:cubicBezTo>
                      <a:cubicBezTo>
                        <a:pt x="1371" y="26406"/>
                        <a:pt x="3363" y="23292"/>
                        <a:pt x="3363" y="16192"/>
                      </a:cubicBezTo>
                      <a:cubicBezTo>
                        <a:pt x="3363"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7" name="Freeform 7656">
                  <a:extLst>
                    <a:ext uri="{FF2B5EF4-FFF2-40B4-BE49-F238E27FC236}">
                      <a16:creationId xmlns:a16="http://schemas.microsoft.com/office/drawing/2014/main" id="{F5F9AB3F-FF82-4C16-9CD4-3CB378BE41A1}"/>
                    </a:ext>
                  </a:extLst>
                </p:cNvPr>
                <p:cNvSpPr/>
                <p:nvPr/>
              </p:nvSpPr>
              <p:spPr>
                <a:xfrm>
                  <a:off x="6873434" y="1826059"/>
                  <a:ext cx="26344" cy="26467"/>
                </a:xfrm>
                <a:custGeom>
                  <a:avLst/>
                  <a:gdLst>
                    <a:gd name="connsiteX0" fmla="*/ 26313 w 26344"/>
                    <a:gd name="connsiteY0" fmla="*/ 12362 h 26467"/>
                    <a:gd name="connsiteX1" fmla="*/ 14107 w 26344"/>
                    <a:gd name="connsiteY1" fmla="*/ 26437 h 26467"/>
                    <a:gd name="connsiteX2" fmla="*/ 32 w 26344"/>
                    <a:gd name="connsiteY2" fmla="*/ 13981 h 26467"/>
                    <a:gd name="connsiteX3" fmla="*/ 12238 w 26344"/>
                    <a:gd name="connsiteY3" fmla="*/ 31 h 26467"/>
                    <a:gd name="connsiteX4" fmla="*/ 26313 w 26344"/>
                    <a:gd name="connsiteY4" fmla="*/ 1236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7">
                      <a:moveTo>
                        <a:pt x="26313" y="12362"/>
                      </a:moveTo>
                      <a:cubicBezTo>
                        <a:pt x="26811" y="19711"/>
                        <a:pt x="21330" y="25939"/>
                        <a:pt x="14107" y="26437"/>
                      </a:cubicBezTo>
                      <a:cubicBezTo>
                        <a:pt x="6757" y="26935"/>
                        <a:pt x="529" y="21330"/>
                        <a:pt x="32" y="13981"/>
                      </a:cubicBezTo>
                      <a:cubicBezTo>
                        <a:pt x="-467" y="6632"/>
                        <a:pt x="5013" y="404"/>
                        <a:pt x="12238" y="31"/>
                      </a:cubicBezTo>
                      <a:cubicBezTo>
                        <a:pt x="19462" y="-467"/>
                        <a:pt x="25690" y="5138"/>
                        <a:pt x="26313" y="123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1" name="Graphic 2987">
                <a:extLst>
                  <a:ext uri="{FF2B5EF4-FFF2-40B4-BE49-F238E27FC236}">
                    <a16:creationId xmlns:a16="http://schemas.microsoft.com/office/drawing/2014/main" id="{EE2153A2-D896-247A-9E38-8BA2506DC084}"/>
                  </a:ext>
                </a:extLst>
              </p:cNvPr>
              <p:cNvGrpSpPr/>
              <p:nvPr/>
            </p:nvGrpSpPr>
            <p:grpSpPr>
              <a:xfrm>
                <a:off x="6843914" y="1827803"/>
                <a:ext cx="34938" cy="148646"/>
                <a:chOff x="6843914" y="1827803"/>
                <a:chExt cx="34938" cy="148646"/>
              </a:xfrm>
              <a:grpFill/>
            </p:grpSpPr>
            <p:sp>
              <p:nvSpPr>
                <p:cNvPr id="6486" name="Freeform 7658">
                  <a:extLst>
                    <a:ext uri="{FF2B5EF4-FFF2-40B4-BE49-F238E27FC236}">
                      <a16:creationId xmlns:a16="http://schemas.microsoft.com/office/drawing/2014/main" id="{461EE0F0-6ADF-8DB9-8D8D-C951513B0184}"/>
                    </a:ext>
                  </a:extLst>
                </p:cNvPr>
                <p:cNvSpPr/>
                <p:nvPr/>
              </p:nvSpPr>
              <p:spPr>
                <a:xfrm>
                  <a:off x="6864334" y="1903814"/>
                  <a:ext cx="5677" cy="52065"/>
                </a:xfrm>
                <a:custGeom>
                  <a:avLst/>
                  <a:gdLst>
                    <a:gd name="connsiteX0" fmla="*/ 4274 w 5677"/>
                    <a:gd name="connsiteY0" fmla="*/ 52065 h 52065"/>
                    <a:gd name="connsiteX1" fmla="*/ 5021 w 5677"/>
                    <a:gd name="connsiteY1" fmla="*/ 33257 h 52065"/>
                    <a:gd name="connsiteX2" fmla="*/ 413 w 5677"/>
                    <a:gd name="connsiteY2" fmla="*/ 16442 h 52065"/>
                    <a:gd name="connsiteX3" fmla="*/ 1410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4274" y="52065"/>
                      </a:moveTo>
                      <a:cubicBezTo>
                        <a:pt x="6267" y="43844"/>
                        <a:pt x="5769" y="37616"/>
                        <a:pt x="5021" y="33257"/>
                      </a:cubicBezTo>
                      <a:cubicBezTo>
                        <a:pt x="3776" y="26406"/>
                        <a:pt x="1410"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7" name="Freeform 7659">
                  <a:extLst>
                    <a:ext uri="{FF2B5EF4-FFF2-40B4-BE49-F238E27FC236}">
                      <a16:creationId xmlns:a16="http://schemas.microsoft.com/office/drawing/2014/main" id="{B2DC1E49-0C4F-7D30-6CE5-2F5491321E37}"/>
                    </a:ext>
                  </a:extLst>
                </p:cNvPr>
                <p:cNvSpPr/>
                <p:nvPr/>
              </p:nvSpPr>
              <p:spPr>
                <a:xfrm>
                  <a:off x="6857647" y="1909419"/>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488" y="14200"/>
                        <a:pt x="3239" y="18559"/>
                      </a:cubicBezTo>
                      <a:cubicBezTo>
                        <a:pt x="2989"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8" name="Freeform 7660">
                  <a:extLst>
                    <a:ext uri="{FF2B5EF4-FFF2-40B4-BE49-F238E27FC236}">
                      <a16:creationId xmlns:a16="http://schemas.microsoft.com/office/drawing/2014/main" id="{511A27BA-7307-4CD1-36CE-8E3D9210875E}"/>
                    </a:ext>
                  </a:extLst>
                </p:cNvPr>
                <p:cNvSpPr/>
                <p:nvPr/>
              </p:nvSpPr>
              <p:spPr>
                <a:xfrm>
                  <a:off x="6852136" y="1949869"/>
                  <a:ext cx="26717" cy="26579"/>
                </a:xfrm>
                <a:custGeom>
                  <a:avLst/>
                  <a:gdLst>
                    <a:gd name="connsiteX0" fmla="*/ 31 w 26717"/>
                    <a:gd name="connsiteY0" fmla="*/ 14106 h 26579"/>
                    <a:gd name="connsiteX1" fmla="*/ 12487 w 26717"/>
                    <a:gd name="connsiteY1" fmla="*/ 31 h 26579"/>
                    <a:gd name="connsiteX2" fmla="*/ 26686 w 26717"/>
                    <a:gd name="connsiteY2" fmla="*/ 12487 h 26579"/>
                    <a:gd name="connsiteX3" fmla="*/ 14231 w 26717"/>
                    <a:gd name="connsiteY3" fmla="*/ 26562 h 26579"/>
                    <a:gd name="connsiteX4" fmla="*/ 31 w 26717"/>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79">
                      <a:moveTo>
                        <a:pt x="31" y="14106"/>
                      </a:moveTo>
                      <a:cubicBezTo>
                        <a:pt x="-467" y="6757"/>
                        <a:pt x="5138" y="529"/>
                        <a:pt x="12487" y="31"/>
                      </a:cubicBezTo>
                      <a:cubicBezTo>
                        <a:pt x="19836" y="-467"/>
                        <a:pt x="26188" y="5138"/>
                        <a:pt x="26686" y="12487"/>
                      </a:cubicBezTo>
                      <a:cubicBezTo>
                        <a:pt x="27184" y="19835"/>
                        <a:pt x="21704" y="26063"/>
                        <a:pt x="14231" y="26562"/>
                      </a:cubicBezTo>
                      <a:cubicBezTo>
                        <a:pt x="6881"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9" name="Freeform 7661">
                  <a:extLst>
                    <a:ext uri="{FF2B5EF4-FFF2-40B4-BE49-F238E27FC236}">
                      <a16:creationId xmlns:a16="http://schemas.microsoft.com/office/drawing/2014/main" id="{6705F4C7-CBBC-21A8-AC3B-567040259EC8}"/>
                    </a:ext>
                  </a:extLst>
                </p:cNvPr>
                <p:cNvSpPr/>
                <p:nvPr/>
              </p:nvSpPr>
              <p:spPr>
                <a:xfrm>
                  <a:off x="6852551" y="1848385"/>
                  <a:ext cx="5633" cy="52065"/>
                </a:xfrm>
                <a:custGeom>
                  <a:avLst/>
                  <a:gdLst>
                    <a:gd name="connsiteX0" fmla="*/ 1360 w 5633"/>
                    <a:gd name="connsiteY0" fmla="*/ 0 h 52065"/>
                    <a:gd name="connsiteX1" fmla="*/ 612 w 5633"/>
                    <a:gd name="connsiteY1" fmla="*/ 18808 h 52065"/>
                    <a:gd name="connsiteX2" fmla="*/ 5221 w 5633"/>
                    <a:gd name="connsiteY2" fmla="*/ 35624 h 52065"/>
                    <a:gd name="connsiteX3" fmla="*/ 4224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1360" y="0"/>
                      </a:moveTo>
                      <a:cubicBezTo>
                        <a:pt x="-509" y="8221"/>
                        <a:pt x="-135" y="14449"/>
                        <a:pt x="612" y="18808"/>
                      </a:cubicBezTo>
                      <a:cubicBezTo>
                        <a:pt x="1858" y="25659"/>
                        <a:pt x="4224" y="28648"/>
                        <a:pt x="5221" y="35624"/>
                      </a:cubicBezTo>
                      <a:cubicBezTo>
                        <a:pt x="6218" y="42474"/>
                        <a:pt x="5221" y="48328"/>
                        <a:pt x="42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0" name="Freeform 7662">
                  <a:extLst>
                    <a:ext uri="{FF2B5EF4-FFF2-40B4-BE49-F238E27FC236}">
                      <a16:creationId xmlns:a16="http://schemas.microsoft.com/office/drawing/2014/main" id="{190080A7-29C4-9289-9880-1F33CFD47A12}"/>
                    </a:ext>
                  </a:extLst>
                </p:cNvPr>
                <p:cNvSpPr/>
                <p:nvPr/>
              </p:nvSpPr>
              <p:spPr>
                <a:xfrm>
                  <a:off x="6860636" y="1842905"/>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747" y="37741"/>
                        <a:pt x="997" y="33381"/>
                      </a:cubicBezTo>
                      <a:cubicBezTo>
                        <a:pt x="1246" y="26406"/>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1" name="Freeform 7663">
                  <a:extLst>
                    <a:ext uri="{FF2B5EF4-FFF2-40B4-BE49-F238E27FC236}">
                      <a16:creationId xmlns:a16="http://schemas.microsoft.com/office/drawing/2014/main" id="{49BC71FD-BF1D-62A1-8C23-5EAE3E6AC335}"/>
                    </a:ext>
                  </a:extLst>
                </p:cNvPr>
                <p:cNvSpPr/>
                <p:nvPr/>
              </p:nvSpPr>
              <p:spPr>
                <a:xfrm>
                  <a:off x="6843914" y="1827803"/>
                  <a:ext cx="26344" cy="26592"/>
                </a:xfrm>
                <a:custGeom>
                  <a:avLst/>
                  <a:gdLst>
                    <a:gd name="connsiteX0" fmla="*/ 26313 w 26344"/>
                    <a:gd name="connsiteY0" fmla="*/ 12487 h 26592"/>
                    <a:gd name="connsiteX1" fmla="*/ 14107 w 26344"/>
                    <a:gd name="connsiteY1" fmla="*/ 26562 h 26592"/>
                    <a:gd name="connsiteX2" fmla="*/ 32 w 26344"/>
                    <a:gd name="connsiteY2" fmla="*/ 14106 h 26592"/>
                    <a:gd name="connsiteX3" fmla="*/ 12238 w 26344"/>
                    <a:gd name="connsiteY3" fmla="*/ 31 h 26592"/>
                    <a:gd name="connsiteX4" fmla="*/ 26313 w 26344"/>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92">
                      <a:moveTo>
                        <a:pt x="26313" y="12487"/>
                      </a:moveTo>
                      <a:cubicBezTo>
                        <a:pt x="26811" y="19835"/>
                        <a:pt x="21330" y="26063"/>
                        <a:pt x="14107" y="26562"/>
                      </a:cubicBezTo>
                      <a:cubicBezTo>
                        <a:pt x="6757" y="27060"/>
                        <a:pt x="529" y="21455"/>
                        <a:pt x="32" y="14106"/>
                      </a:cubicBezTo>
                      <a:cubicBezTo>
                        <a:pt x="-467" y="6757"/>
                        <a:pt x="5013" y="529"/>
                        <a:pt x="12238" y="31"/>
                      </a:cubicBezTo>
                      <a:cubicBezTo>
                        <a:pt x="19462" y="-467"/>
                        <a:pt x="25815" y="5138"/>
                        <a:pt x="2631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2" name="Graphic 2987">
                <a:extLst>
                  <a:ext uri="{FF2B5EF4-FFF2-40B4-BE49-F238E27FC236}">
                    <a16:creationId xmlns:a16="http://schemas.microsoft.com/office/drawing/2014/main" id="{1C5193E4-1C56-7B57-048B-9DC1060D9D2D}"/>
                  </a:ext>
                </a:extLst>
              </p:cNvPr>
              <p:cNvGrpSpPr/>
              <p:nvPr/>
            </p:nvGrpSpPr>
            <p:grpSpPr>
              <a:xfrm>
                <a:off x="6814394" y="1829546"/>
                <a:ext cx="34688" cy="148658"/>
                <a:chOff x="6814394" y="1829546"/>
                <a:chExt cx="34688" cy="148658"/>
              </a:xfrm>
              <a:grpFill/>
            </p:grpSpPr>
            <p:sp>
              <p:nvSpPr>
                <p:cNvPr id="6480" name="Freeform 7665">
                  <a:extLst>
                    <a:ext uri="{FF2B5EF4-FFF2-40B4-BE49-F238E27FC236}">
                      <a16:creationId xmlns:a16="http://schemas.microsoft.com/office/drawing/2014/main" id="{2396B51F-5BAA-C1BB-A656-078E4B98CB9C}"/>
                    </a:ext>
                  </a:extLst>
                </p:cNvPr>
                <p:cNvSpPr/>
                <p:nvPr/>
              </p:nvSpPr>
              <p:spPr>
                <a:xfrm>
                  <a:off x="6834589" y="1905557"/>
                  <a:ext cx="5653" cy="52065"/>
                </a:xfrm>
                <a:custGeom>
                  <a:avLst/>
                  <a:gdLst>
                    <a:gd name="connsiteX0" fmla="*/ 4250 w 5653"/>
                    <a:gd name="connsiteY0" fmla="*/ 52065 h 52065"/>
                    <a:gd name="connsiteX1" fmla="*/ 4997 w 5653"/>
                    <a:gd name="connsiteY1" fmla="*/ 33257 h 52065"/>
                    <a:gd name="connsiteX2" fmla="*/ 388 w 5653"/>
                    <a:gd name="connsiteY2" fmla="*/ 16442 h 52065"/>
                    <a:gd name="connsiteX3" fmla="*/ 1510 w 5653"/>
                    <a:gd name="connsiteY3" fmla="*/ 0 h 52065"/>
                  </a:gdLst>
                  <a:ahLst/>
                  <a:cxnLst>
                    <a:cxn ang="0">
                      <a:pos x="connsiteX0" y="connsiteY0"/>
                    </a:cxn>
                    <a:cxn ang="0">
                      <a:pos x="connsiteX1" y="connsiteY1"/>
                    </a:cxn>
                    <a:cxn ang="0">
                      <a:pos x="connsiteX2" y="connsiteY2"/>
                    </a:cxn>
                    <a:cxn ang="0">
                      <a:pos x="connsiteX3" y="connsiteY3"/>
                    </a:cxn>
                  </a:cxnLst>
                  <a:rect l="l" t="t" r="r" b="b"/>
                  <a:pathLst>
                    <a:path w="5653" h="52065">
                      <a:moveTo>
                        <a:pt x="4250" y="52065"/>
                      </a:moveTo>
                      <a:cubicBezTo>
                        <a:pt x="6243" y="43844"/>
                        <a:pt x="5744" y="37616"/>
                        <a:pt x="4997" y="33257"/>
                      </a:cubicBezTo>
                      <a:cubicBezTo>
                        <a:pt x="3752" y="26406"/>
                        <a:pt x="1385" y="23417"/>
                        <a:pt x="388" y="16442"/>
                      </a:cubicBezTo>
                      <a:cubicBezTo>
                        <a:pt x="-608" y="9591"/>
                        <a:pt x="513" y="3737"/>
                        <a:pt x="1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1" name="Freeform 7666">
                  <a:extLst>
                    <a:ext uri="{FF2B5EF4-FFF2-40B4-BE49-F238E27FC236}">
                      <a16:creationId xmlns:a16="http://schemas.microsoft.com/office/drawing/2014/main" id="{5DE0514C-AA73-FFCD-A62C-DB1E707CA287}"/>
                    </a:ext>
                  </a:extLst>
                </p:cNvPr>
                <p:cNvSpPr/>
                <p:nvPr/>
              </p:nvSpPr>
              <p:spPr>
                <a:xfrm>
                  <a:off x="6828002" y="1911162"/>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363" y="14200"/>
                        <a:pt x="3239" y="18559"/>
                      </a:cubicBezTo>
                      <a:cubicBezTo>
                        <a:pt x="2865"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2" name="Freeform 7667">
                  <a:extLst>
                    <a:ext uri="{FF2B5EF4-FFF2-40B4-BE49-F238E27FC236}">
                      <a16:creationId xmlns:a16="http://schemas.microsoft.com/office/drawing/2014/main" id="{B28C847F-914B-407D-82BA-8157995C4D74}"/>
                    </a:ext>
                  </a:extLst>
                </p:cNvPr>
                <p:cNvSpPr/>
                <p:nvPr/>
              </p:nvSpPr>
              <p:spPr>
                <a:xfrm>
                  <a:off x="6822366" y="1951613"/>
                  <a:ext cx="26717" cy="26592"/>
                </a:xfrm>
                <a:custGeom>
                  <a:avLst/>
                  <a:gdLst>
                    <a:gd name="connsiteX0" fmla="*/ 31 w 26717"/>
                    <a:gd name="connsiteY0" fmla="*/ 14106 h 26592"/>
                    <a:gd name="connsiteX1" fmla="*/ 12487 w 26717"/>
                    <a:gd name="connsiteY1" fmla="*/ 31 h 26592"/>
                    <a:gd name="connsiteX2" fmla="*/ 26686 w 26717"/>
                    <a:gd name="connsiteY2" fmla="*/ 12487 h 26592"/>
                    <a:gd name="connsiteX3" fmla="*/ 14231 w 26717"/>
                    <a:gd name="connsiteY3" fmla="*/ 26562 h 26592"/>
                    <a:gd name="connsiteX4" fmla="*/ 31 w 26717"/>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92">
                      <a:moveTo>
                        <a:pt x="31" y="14106"/>
                      </a:moveTo>
                      <a:cubicBezTo>
                        <a:pt x="-467" y="6757"/>
                        <a:pt x="5138" y="529"/>
                        <a:pt x="12487" y="31"/>
                      </a:cubicBezTo>
                      <a:cubicBezTo>
                        <a:pt x="19836" y="-467"/>
                        <a:pt x="26188" y="5138"/>
                        <a:pt x="26686" y="12487"/>
                      </a:cubicBezTo>
                      <a:cubicBezTo>
                        <a:pt x="27184" y="19835"/>
                        <a:pt x="21580" y="26063"/>
                        <a:pt x="14231" y="26562"/>
                      </a:cubicBezTo>
                      <a:cubicBezTo>
                        <a:pt x="6882"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3" name="Freeform 7668">
                  <a:extLst>
                    <a:ext uri="{FF2B5EF4-FFF2-40B4-BE49-F238E27FC236}">
                      <a16:creationId xmlns:a16="http://schemas.microsoft.com/office/drawing/2014/main" id="{FF18DDC2-D581-D6A0-9BD8-610D340E71D1}"/>
                    </a:ext>
                  </a:extLst>
                </p:cNvPr>
                <p:cNvSpPr/>
                <p:nvPr/>
              </p:nvSpPr>
              <p:spPr>
                <a:xfrm>
                  <a:off x="6823111" y="1850129"/>
                  <a:ext cx="5528" cy="52065"/>
                </a:xfrm>
                <a:custGeom>
                  <a:avLst/>
                  <a:gdLst>
                    <a:gd name="connsiteX0" fmla="*/ 1404 w 5528"/>
                    <a:gd name="connsiteY0" fmla="*/ 0 h 52065"/>
                    <a:gd name="connsiteX1" fmla="*/ 656 w 5528"/>
                    <a:gd name="connsiteY1" fmla="*/ 18808 h 52065"/>
                    <a:gd name="connsiteX2" fmla="*/ 5140 w 5528"/>
                    <a:gd name="connsiteY2" fmla="*/ 35623 h 52065"/>
                    <a:gd name="connsiteX3" fmla="*/ 4019 w 55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28" h="52065">
                      <a:moveTo>
                        <a:pt x="1404" y="0"/>
                      </a:moveTo>
                      <a:cubicBezTo>
                        <a:pt x="-590" y="8221"/>
                        <a:pt x="-91" y="14449"/>
                        <a:pt x="656" y="18808"/>
                      </a:cubicBezTo>
                      <a:cubicBezTo>
                        <a:pt x="1902" y="25659"/>
                        <a:pt x="4268" y="28648"/>
                        <a:pt x="5140" y="35623"/>
                      </a:cubicBezTo>
                      <a:cubicBezTo>
                        <a:pt x="6137" y="42474"/>
                        <a:pt x="5015"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4" name="Freeform 7669">
                  <a:extLst>
                    <a:ext uri="{FF2B5EF4-FFF2-40B4-BE49-F238E27FC236}">
                      <a16:creationId xmlns:a16="http://schemas.microsoft.com/office/drawing/2014/main" id="{365D00E0-7F65-788D-0B25-778CE0E91162}"/>
                    </a:ext>
                  </a:extLst>
                </p:cNvPr>
                <p:cNvSpPr/>
                <p:nvPr/>
              </p:nvSpPr>
              <p:spPr>
                <a:xfrm>
                  <a:off x="6831116" y="1844649"/>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872" y="37741"/>
                        <a:pt x="997" y="33381"/>
                      </a:cubicBezTo>
                      <a:cubicBezTo>
                        <a:pt x="1370" y="26406"/>
                        <a:pt x="3239" y="23168"/>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5" name="Freeform 7670">
                  <a:extLst>
                    <a:ext uri="{FF2B5EF4-FFF2-40B4-BE49-F238E27FC236}">
                      <a16:creationId xmlns:a16="http://schemas.microsoft.com/office/drawing/2014/main" id="{7AC148E8-B7C7-E40B-2AF2-93AC5997DCBB}"/>
                    </a:ext>
                  </a:extLst>
                </p:cNvPr>
                <p:cNvSpPr/>
                <p:nvPr/>
              </p:nvSpPr>
              <p:spPr>
                <a:xfrm>
                  <a:off x="6814394" y="1829546"/>
                  <a:ext cx="26469" cy="26592"/>
                </a:xfrm>
                <a:custGeom>
                  <a:avLst/>
                  <a:gdLst>
                    <a:gd name="connsiteX0" fmla="*/ 26438 w 26469"/>
                    <a:gd name="connsiteY0" fmla="*/ 12487 h 26592"/>
                    <a:gd name="connsiteX1" fmla="*/ 14106 w 26469"/>
                    <a:gd name="connsiteY1" fmla="*/ 26562 h 26592"/>
                    <a:gd name="connsiteX2" fmla="*/ 32 w 26469"/>
                    <a:gd name="connsiteY2" fmla="*/ 14106 h 26592"/>
                    <a:gd name="connsiteX3" fmla="*/ 12363 w 26469"/>
                    <a:gd name="connsiteY3" fmla="*/ 31 h 26592"/>
                    <a:gd name="connsiteX4" fmla="*/ 26438 w 26469"/>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92">
                      <a:moveTo>
                        <a:pt x="26438" y="12487"/>
                      </a:moveTo>
                      <a:cubicBezTo>
                        <a:pt x="26936" y="19835"/>
                        <a:pt x="21455" y="26063"/>
                        <a:pt x="14106" y="26562"/>
                      </a:cubicBezTo>
                      <a:cubicBezTo>
                        <a:pt x="6757" y="27060"/>
                        <a:pt x="529" y="21455"/>
                        <a:pt x="32" y="14106"/>
                      </a:cubicBezTo>
                      <a:cubicBezTo>
                        <a:pt x="-467" y="6757"/>
                        <a:pt x="5013" y="529"/>
                        <a:pt x="12363" y="31"/>
                      </a:cubicBezTo>
                      <a:cubicBezTo>
                        <a:pt x="19711" y="-467"/>
                        <a:pt x="25939" y="5138"/>
                        <a:pt x="26438"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3" name="Graphic 2987">
                <a:extLst>
                  <a:ext uri="{FF2B5EF4-FFF2-40B4-BE49-F238E27FC236}">
                    <a16:creationId xmlns:a16="http://schemas.microsoft.com/office/drawing/2014/main" id="{E112D854-0BE9-7B21-5ED0-14DCBA778723}"/>
                  </a:ext>
                </a:extLst>
              </p:cNvPr>
              <p:cNvGrpSpPr/>
              <p:nvPr/>
            </p:nvGrpSpPr>
            <p:grpSpPr>
              <a:xfrm>
                <a:off x="6784874" y="1831303"/>
                <a:ext cx="34439" cy="148757"/>
                <a:chOff x="6784874" y="1831303"/>
                <a:chExt cx="34439" cy="148757"/>
              </a:xfrm>
              <a:grpFill/>
            </p:grpSpPr>
            <p:sp>
              <p:nvSpPr>
                <p:cNvPr id="6474" name="Freeform 7672">
                  <a:extLst>
                    <a:ext uri="{FF2B5EF4-FFF2-40B4-BE49-F238E27FC236}">
                      <a16:creationId xmlns:a16="http://schemas.microsoft.com/office/drawing/2014/main" id="{933467F6-F376-118E-44A4-BF9EAE53D415}"/>
                    </a:ext>
                  </a:extLst>
                </p:cNvPr>
                <p:cNvSpPr/>
                <p:nvPr/>
              </p:nvSpPr>
              <p:spPr>
                <a:xfrm>
                  <a:off x="6805123" y="1907426"/>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6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206"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5" name="Freeform 7673">
                  <a:extLst>
                    <a:ext uri="{FF2B5EF4-FFF2-40B4-BE49-F238E27FC236}">
                      <a16:creationId xmlns:a16="http://schemas.microsoft.com/office/drawing/2014/main" id="{64C2818B-4072-D4A0-B6D6-F0C876D15339}"/>
                    </a:ext>
                  </a:extLst>
                </p:cNvPr>
                <p:cNvSpPr/>
                <p:nvPr/>
              </p:nvSpPr>
              <p:spPr>
                <a:xfrm>
                  <a:off x="6798357" y="1912906"/>
                  <a:ext cx="3985" cy="52065"/>
                </a:xfrm>
                <a:custGeom>
                  <a:avLst/>
                  <a:gdLst>
                    <a:gd name="connsiteX0" fmla="*/ 0 w 3985"/>
                    <a:gd name="connsiteY0" fmla="*/ 0 h 52065"/>
                    <a:gd name="connsiteX1" fmla="*/ 3114 w 3985"/>
                    <a:gd name="connsiteY1" fmla="*/ 18559 h 52065"/>
                    <a:gd name="connsiteX2" fmla="*/ 747 w 3985"/>
                    <a:gd name="connsiteY2" fmla="*/ 35873 h 52065"/>
                    <a:gd name="connsiteX3" fmla="*/ 3986 w 398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5" h="52065">
                      <a:moveTo>
                        <a:pt x="0" y="0"/>
                      </a:moveTo>
                      <a:cubicBezTo>
                        <a:pt x="2989" y="7847"/>
                        <a:pt x="3363" y="14200"/>
                        <a:pt x="3114" y="18559"/>
                      </a:cubicBezTo>
                      <a:cubicBezTo>
                        <a:pt x="2741" y="25534"/>
                        <a:pt x="872" y="28773"/>
                        <a:pt x="747" y="35873"/>
                      </a:cubicBezTo>
                      <a:cubicBezTo>
                        <a:pt x="747" y="42723"/>
                        <a:pt x="2491" y="48453"/>
                        <a:pt x="398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6" name="Freeform 7674">
                  <a:extLst>
                    <a:ext uri="{FF2B5EF4-FFF2-40B4-BE49-F238E27FC236}">
                      <a16:creationId xmlns:a16="http://schemas.microsoft.com/office/drawing/2014/main" id="{9EF939A9-59F1-1277-BA97-810E228DC492}"/>
                    </a:ext>
                  </a:extLst>
                </p:cNvPr>
                <p:cNvSpPr/>
                <p:nvPr/>
              </p:nvSpPr>
              <p:spPr>
                <a:xfrm>
                  <a:off x="6792597" y="1953481"/>
                  <a:ext cx="26716" cy="26579"/>
                </a:xfrm>
                <a:custGeom>
                  <a:avLst/>
                  <a:gdLst>
                    <a:gd name="connsiteX0" fmla="*/ 31 w 26716"/>
                    <a:gd name="connsiteY0" fmla="*/ 14106 h 26579"/>
                    <a:gd name="connsiteX1" fmla="*/ 12487 w 26716"/>
                    <a:gd name="connsiteY1" fmla="*/ 31 h 26579"/>
                    <a:gd name="connsiteX2" fmla="*/ 26686 w 26716"/>
                    <a:gd name="connsiteY2" fmla="*/ 12487 h 26579"/>
                    <a:gd name="connsiteX3" fmla="*/ 14230 w 26716"/>
                    <a:gd name="connsiteY3" fmla="*/ 26562 h 26579"/>
                    <a:gd name="connsiteX4" fmla="*/ 31 w 26716"/>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79">
                      <a:moveTo>
                        <a:pt x="31" y="14106"/>
                      </a:moveTo>
                      <a:cubicBezTo>
                        <a:pt x="-468" y="6757"/>
                        <a:pt x="5137" y="529"/>
                        <a:pt x="12487" y="31"/>
                      </a:cubicBezTo>
                      <a:cubicBezTo>
                        <a:pt x="19835" y="-467"/>
                        <a:pt x="26188" y="5138"/>
                        <a:pt x="26686" y="12487"/>
                      </a:cubicBezTo>
                      <a:cubicBezTo>
                        <a:pt x="27184" y="19835"/>
                        <a:pt x="21579" y="26063"/>
                        <a:pt x="14230" y="26562"/>
                      </a:cubicBezTo>
                      <a:cubicBezTo>
                        <a:pt x="6881"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7" name="Freeform 7675">
                  <a:extLst>
                    <a:ext uri="{FF2B5EF4-FFF2-40B4-BE49-F238E27FC236}">
                      <a16:creationId xmlns:a16="http://schemas.microsoft.com/office/drawing/2014/main" id="{23C15CB5-2933-5D52-775B-4D58B71666F4}"/>
                    </a:ext>
                  </a:extLst>
                </p:cNvPr>
                <p:cNvSpPr/>
                <p:nvPr/>
              </p:nvSpPr>
              <p:spPr>
                <a:xfrm>
                  <a:off x="6793591" y="1851873"/>
                  <a:ext cx="5474" cy="52065"/>
                </a:xfrm>
                <a:custGeom>
                  <a:avLst/>
                  <a:gdLst>
                    <a:gd name="connsiteX0" fmla="*/ 1404 w 5474"/>
                    <a:gd name="connsiteY0" fmla="*/ 0 h 52065"/>
                    <a:gd name="connsiteX1" fmla="*/ 656 w 5474"/>
                    <a:gd name="connsiteY1" fmla="*/ 18808 h 52065"/>
                    <a:gd name="connsiteX2" fmla="*/ 5141 w 5474"/>
                    <a:gd name="connsiteY2" fmla="*/ 35624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0"/>
                      </a:moveTo>
                      <a:cubicBezTo>
                        <a:pt x="-589" y="8221"/>
                        <a:pt x="-91" y="14449"/>
                        <a:pt x="656" y="18808"/>
                      </a:cubicBezTo>
                      <a:cubicBezTo>
                        <a:pt x="1902" y="25659"/>
                        <a:pt x="4144" y="28648"/>
                        <a:pt x="5141" y="35624"/>
                      </a:cubicBezTo>
                      <a:cubicBezTo>
                        <a:pt x="6013"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8" name="Freeform 7676">
                  <a:extLst>
                    <a:ext uri="{FF2B5EF4-FFF2-40B4-BE49-F238E27FC236}">
                      <a16:creationId xmlns:a16="http://schemas.microsoft.com/office/drawing/2014/main" id="{A7612E01-3C4E-8AC8-94E8-8860544B2498}"/>
                    </a:ext>
                  </a:extLst>
                </p:cNvPr>
                <p:cNvSpPr/>
                <p:nvPr/>
              </p:nvSpPr>
              <p:spPr>
                <a:xfrm>
                  <a:off x="6801721" y="1846392"/>
                  <a:ext cx="3985" cy="52065"/>
                </a:xfrm>
                <a:custGeom>
                  <a:avLst/>
                  <a:gdLst>
                    <a:gd name="connsiteX0" fmla="*/ 3986 w 3985"/>
                    <a:gd name="connsiteY0" fmla="*/ 52065 h 52065"/>
                    <a:gd name="connsiteX1" fmla="*/ 872 w 3985"/>
                    <a:gd name="connsiteY1" fmla="*/ 33506 h 52065"/>
                    <a:gd name="connsiteX2" fmla="*/ 3239 w 3985"/>
                    <a:gd name="connsiteY2" fmla="*/ 16193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6" y="52065"/>
                      </a:moveTo>
                      <a:cubicBezTo>
                        <a:pt x="997" y="44218"/>
                        <a:pt x="623" y="37866"/>
                        <a:pt x="872" y="33506"/>
                      </a:cubicBezTo>
                      <a:cubicBezTo>
                        <a:pt x="1245" y="26531"/>
                        <a:pt x="3114"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9" name="Freeform 7677">
                  <a:extLst>
                    <a:ext uri="{FF2B5EF4-FFF2-40B4-BE49-F238E27FC236}">
                      <a16:creationId xmlns:a16="http://schemas.microsoft.com/office/drawing/2014/main" id="{F50665CE-85E6-2024-9C4B-F814A5488B06}"/>
                    </a:ext>
                  </a:extLst>
                </p:cNvPr>
                <p:cNvSpPr/>
                <p:nvPr/>
              </p:nvSpPr>
              <p:spPr>
                <a:xfrm>
                  <a:off x="6784874" y="1831303"/>
                  <a:ext cx="26468" cy="26579"/>
                </a:xfrm>
                <a:custGeom>
                  <a:avLst/>
                  <a:gdLst>
                    <a:gd name="connsiteX0" fmla="*/ 26438 w 26468"/>
                    <a:gd name="connsiteY0" fmla="*/ 12473 h 26579"/>
                    <a:gd name="connsiteX1" fmla="*/ 14106 w 26468"/>
                    <a:gd name="connsiteY1" fmla="*/ 26548 h 26579"/>
                    <a:gd name="connsiteX2" fmla="*/ 31 w 26468"/>
                    <a:gd name="connsiteY2" fmla="*/ 14093 h 26579"/>
                    <a:gd name="connsiteX3" fmla="*/ 12363 w 26468"/>
                    <a:gd name="connsiteY3" fmla="*/ 18 h 26579"/>
                    <a:gd name="connsiteX4" fmla="*/ 26438 w 26468"/>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579">
                      <a:moveTo>
                        <a:pt x="26438" y="12473"/>
                      </a:moveTo>
                      <a:cubicBezTo>
                        <a:pt x="26936" y="19822"/>
                        <a:pt x="21330" y="26050"/>
                        <a:pt x="14106" y="26548"/>
                      </a:cubicBezTo>
                      <a:cubicBezTo>
                        <a:pt x="6882" y="27047"/>
                        <a:pt x="529" y="21442"/>
                        <a:pt x="31" y="14093"/>
                      </a:cubicBezTo>
                      <a:cubicBezTo>
                        <a:pt x="-467" y="6744"/>
                        <a:pt x="5138" y="516"/>
                        <a:pt x="12363" y="18"/>
                      </a:cubicBezTo>
                      <a:cubicBezTo>
                        <a:pt x="19711" y="-356"/>
                        <a:pt x="25939" y="5249"/>
                        <a:pt x="26438"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4" name="Graphic 2987">
                <a:extLst>
                  <a:ext uri="{FF2B5EF4-FFF2-40B4-BE49-F238E27FC236}">
                    <a16:creationId xmlns:a16="http://schemas.microsoft.com/office/drawing/2014/main" id="{C79051FB-CD2D-6819-2E33-313B8021D1A1}"/>
                  </a:ext>
                </a:extLst>
              </p:cNvPr>
              <p:cNvGrpSpPr/>
              <p:nvPr/>
            </p:nvGrpSpPr>
            <p:grpSpPr>
              <a:xfrm>
                <a:off x="6755603" y="1833047"/>
                <a:ext cx="33816" cy="148757"/>
                <a:chOff x="6755603" y="1833047"/>
                <a:chExt cx="33816" cy="148757"/>
              </a:xfrm>
              <a:grpFill/>
            </p:grpSpPr>
            <p:sp>
              <p:nvSpPr>
                <p:cNvPr id="6468" name="Freeform 7679">
                  <a:extLst>
                    <a:ext uri="{FF2B5EF4-FFF2-40B4-BE49-F238E27FC236}">
                      <a16:creationId xmlns:a16="http://schemas.microsoft.com/office/drawing/2014/main" id="{1ED0863E-26DB-CA01-15BE-446BC7760786}"/>
                    </a:ext>
                  </a:extLst>
                </p:cNvPr>
                <p:cNvSpPr/>
                <p:nvPr/>
              </p:nvSpPr>
              <p:spPr>
                <a:xfrm>
                  <a:off x="6775478" y="1909170"/>
                  <a:ext cx="5418" cy="52065"/>
                </a:xfrm>
                <a:custGeom>
                  <a:avLst/>
                  <a:gdLst>
                    <a:gd name="connsiteX0" fmla="*/ 3947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7"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9" name="Freeform 7680">
                  <a:extLst>
                    <a:ext uri="{FF2B5EF4-FFF2-40B4-BE49-F238E27FC236}">
                      <a16:creationId xmlns:a16="http://schemas.microsoft.com/office/drawing/2014/main" id="{ADF11708-B94C-BC1F-268B-A248C86E9F67}"/>
                    </a:ext>
                  </a:extLst>
                </p:cNvPr>
                <p:cNvSpPr/>
                <p:nvPr/>
              </p:nvSpPr>
              <p:spPr>
                <a:xfrm>
                  <a:off x="6768837" y="1914650"/>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0" name="Freeform 7681">
                  <a:extLst>
                    <a:ext uri="{FF2B5EF4-FFF2-40B4-BE49-F238E27FC236}">
                      <a16:creationId xmlns:a16="http://schemas.microsoft.com/office/drawing/2014/main" id="{4141651F-4E00-F75B-E558-B7AD8D986F6C}"/>
                    </a:ext>
                  </a:extLst>
                </p:cNvPr>
                <p:cNvSpPr/>
                <p:nvPr/>
              </p:nvSpPr>
              <p:spPr>
                <a:xfrm>
                  <a:off x="6762828" y="1955225"/>
                  <a:ext cx="26592" cy="26579"/>
                </a:xfrm>
                <a:custGeom>
                  <a:avLst/>
                  <a:gdLst>
                    <a:gd name="connsiteX0" fmla="*/ 31 w 26592"/>
                    <a:gd name="connsiteY0" fmla="*/ 14106 h 26579"/>
                    <a:gd name="connsiteX1" fmla="*/ 12487 w 26592"/>
                    <a:gd name="connsiteY1" fmla="*/ 31 h 26579"/>
                    <a:gd name="connsiteX2" fmla="*/ 26562 w 26592"/>
                    <a:gd name="connsiteY2" fmla="*/ 12487 h 26579"/>
                    <a:gd name="connsiteX3" fmla="*/ 14106 w 26592"/>
                    <a:gd name="connsiteY3" fmla="*/ 26562 h 26579"/>
                    <a:gd name="connsiteX4" fmla="*/ 31 w 2659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31" y="14106"/>
                      </a:moveTo>
                      <a:cubicBezTo>
                        <a:pt x="-468" y="6757"/>
                        <a:pt x="5137" y="529"/>
                        <a:pt x="12487" y="31"/>
                      </a:cubicBezTo>
                      <a:cubicBezTo>
                        <a:pt x="19835" y="-467"/>
                        <a:pt x="26188" y="5138"/>
                        <a:pt x="26562" y="12487"/>
                      </a:cubicBezTo>
                      <a:cubicBezTo>
                        <a:pt x="27060" y="19835"/>
                        <a:pt x="21454" y="26063"/>
                        <a:pt x="14106" y="26562"/>
                      </a:cubicBezTo>
                      <a:cubicBezTo>
                        <a:pt x="6757"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1" name="Freeform 7682">
                  <a:extLst>
                    <a:ext uri="{FF2B5EF4-FFF2-40B4-BE49-F238E27FC236}">
                      <a16:creationId xmlns:a16="http://schemas.microsoft.com/office/drawing/2014/main" id="{CEEC9479-1856-9928-F301-A6A0A1E2E157}"/>
                    </a:ext>
                  </a:extLst>
                </p:cNvPr>
                <p:cNvSpPr/>
                <p:nvPr/>
              </p:nvSpPr>
              <p:spPr>
                <a:xfrm>
                  <a:off x="6764002" y="1853617"/>
                  <a:ext cx="5418" cy="52065"/>
                </a:xfrm>
                <a:custGeom>
                  <a:avLst/>
                  <a:gdLst>
                    <a:gd name="connsiteX0" fmla="*/ 1472 w 5418"/>
                    <a:gd name="connsiteY0" fmla="*/ 0 h 52065"/>
                    <a:gd name="connsiteX1" fmla="*/ 601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1" y="8221"/>
                        <a:pt x="-147" y="14449"/>
                        <a:pt x="601"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2" name="Freeform 7683">
                  <a:extLst>
                    <a:ext uri="{FF2B5EF4-FFF2-40B4-BE49-F238E27FC236}">
                      <a16:creationId xmlns:a16="http://schemas.microsoft.com/office/drawing/2014/main" id="{FD7AE2E2-BE9C-FF6F-3630-E56C46243974}"/>
                    </a:ext>
                  </a:extLst>
                </p:cNvPr>
                <p:cNvSpPr/>
                <p:nvPr/>
              </p:nvSpPr>
              <p:spPr>
                <a:xfrm>
                  <a:off x="6772201" y="1848136"/>
                  <a:ext cx="3861" cy="52065"/>
                </a:xfrm>
                <a:custGeom>
                  <a:avLst/>
                  <a:gdLst>
                    <a:gd name="connsiteX0" fmla="*/ 3861 w 3861"/>
                    <a:gd name="connsiteY0" fmla="*/ 52065 h 52065"/>
                    <a:gd name="connsiteX1" fmla="*/ 747 w 3861"/>
                    <a:gd name="connsiteY1" fmla="*/ 33506 h 52065"/>
                    <a:gd name="connsiteX2" fmla="*/ 3114 w 3861"/>
                    <a:gd name="connsiteY2" fmla="*/ 16193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6"/>
                        <a:pt x="747" y="33506"/>
                      </a:cubicBezTo>
                      <a:cubicBezTo>
                        <a:pt x="1121" y="26531"/>
                        <a:pt x="2989" y="23292"/>
                        <a:pt x="3114" y="16193"/>
                      </a:cubicBezTo>
                      <a:cubicBezTo>
                        <a:pt x="323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3" name="Freeform 7684">
                  <a:extLst>
                    <a:ext uri="{FF2B5EF4-FFF2-40B4-BE49-F238E27FC236}">
                      <a16:creationId xmlns:a16="http://schemas.microsoft.com/office/drawing/2014/main" id="{B4045E8E-EAAB-F335-7CDF-7FD05B2500DD}"/>
                    </a:ext>
                  </a:extLst>
                </p:cNvPr>
                <p:cNvSpPr/>
                <p:nvPr/>
              </p:nvSpPr>
              <p:spPr>
                <a:xfrm>
                  <a:off x="6755603" y="1833047"/>
                  <a:ext cx="26343" cy="26579"/>
                </a:xfrm>
                <a:custGeom>
                  <a:avLst/>
                  <a:gdLst>
                    <a:gd name="connsiteX0" fmla="*/ 26312 w 26343"/>
                    <a:gd name="connsiteY0" fmla="*/ 12473 h 26579"/>
                    <a:gd name="connsiteX1" fmla="*/ 13981 w 26343"/>
                    <a:gd name="connsiteY1" fmla="*/ 26548 h 26579"/>
                    <a:gd name="connsiteX2" fmla="*/ 31 w 26343"/>
                    <a:gd name="connsiteY2" fmla="*/ 14093 h 26579"/>
                    <a:gd name="connsiteX3" fmla="*/ 12362 w 26343"/>
                    <a:gd name="connsiteY3" fmla="*/ 18 h 26579"/>
                    <a:gd name="connsiteX4" fmla="*/ 26312 w 26343"/>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79">
                      <a:moveTo>
                        <a:pt x="26312" y="12473"/>
                      </a:moveTo>
                      <a:cubicBezTo>
                        <a:pt x="26811" y="19822"/>
                        <a:pt x="21206" y="26050"/>
                        <a:pt x="13981" y="26548"/>
                      </a:cubicBezTo>
                      <a:cubicBezTo>
                        <a:pt x="6633" y="27047"/>
                        <a:pt x="405" y="21442"/>
                        <a:pt x="31" y="14093"/>
                      </a:cubicBezTo>
                      <a:cubicBezTo>
                        <a:pt x="-467" y="6744"/>
                        <a:pt x="5138" y="516"/>
                        <a:pt x="12362" y="18"/>
                      </a:cubicBezTo>
                      <a:cubicBezTo>
                        <a:pt x="19586" y="-356"/>
                        <a:pt x="25814" y="5249"/>
                        <a:pt x="2631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5" name="Graphic 2987">
                <a:extLst>
                  <a:ext uri="{FF2B5EF4-FFF2-40B4-BE49-F238E27FC236}">
                    <a16:creationId xmlns:a16="http://schemas.microsoft.com/office/drawing/2014/main" id="{EAB0778F-1E15-F6D6-F9E4-1F7B266450DA}"/>
                  </a:ext>
                </a:extLst>
              </p:cNvPr>
              <p:cNvGrpSpPr/>
              <p:nvPr/>
            </p:nvGrpSpPr>
            <p:grpSpPr>
              <a:xfrm>
                <a:off x="6725971" y="1834902"/>
                <a:ext cx="33803" cy="148658"/>
                <a:chOff x="6725971" y="1834902"/>
                <a:chExt cx="33803" cy="148658"/>
              </a:xfrm>
              <a:grpFill/>
            </p:grpSpPr>
            <p:sp>
              <p:nvSpPr>
                <p:cNvPr id="6462" name="Freeform 7686">
                  <a:extLst>
                    <a:ext uri="{FF2B5EF4-FFF2-40B4-BE49-F238E27FC236}">
                      <a16:creationId xmlns:a16="http://schemas.microsoft.com/office/drawing/2014/main" id="{8CA59B66-ABA0-7482-D2E5-0ACE8DFDDCF3}"/>
                    </a:ext>
                  </a:extLst>
                </p:cNvPr>
                <p:cNvSpPr/>
                <p:nvPr/>
              </p:nvSpPr>
              <p:spPr>
                <a:xfrm>
                  <a:off x="6745711" y="1910913"/>
                  <a:ext cx="5416" cy="52065"/>
                </a:xfrm>
                <a:custGeom>
                  <a:avLst/>
                  <a:gdLst>
                    <a:gd name="connsiteX0" fmla="*/ 3944 w 5416"/>
                    <a:gd name="connsiteY0" fmla="*/ 52065 h 52065"/>
                    <a:gd name="connsiteX1" fmla="*/ 4816 w 5416"/>
                    <a:gd name="connsiteY1" fmla="*/ 33257 h 52065"/>
                    <a:gd name="connsiteX2" fmla="*/ 332 w 5416"/>
                    <a:gd name="connsiteY2" fmla="*/ 16442 h 52065"/>
                    <a:gd name="connsiteX3" fmla="*/ 1578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3944" y="52065"/>
                      </a:moveTo>
                      <a:cubicBezTo>
                        <a:pt x="5937" y="43844"/>
                        <a:pt x="5564" y="37616"/>
                        <a:pt x="4816" y="33257"/>
                      </a:cubicBezTo>
                      <a:cubicBezTo>
                        <a:pt x="3570" y="26406"/>
                        <a:pt x="1328" y="23417"/>
                        <a:pt x="332" y="16442"/>
                      </a:cubicBezTo>
                      <a:cubicBezTo>
                        <a:pt x="-540" y="9591"/>
                        <a:pt x="456" y="3737"/>
                        <a:pt x="15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3" name="Freeform 7687">
                  <a:extLst>
                    <a:ext uri="{FF2B5EF4-FFF2-40B4-BE49-F238E27FC236}">
                      <a16:creationId xmlns:a16="http://schemas.microsoft.com/office/drawing/2014/main" id="{649474BC-7791-98BA-07EA-894030DD18BD}"/>
                    </a:ext>
                  </a:extLst>
                </p:cNvPr>
                <p:cNvSpPr/>
                <p:nvPr/>
              </p:nvSpPr>
              <p:spPr>
                <a:xfrm>
                  <a:off x="6739192" y="1916518"/>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4" name="Freeform 7688">
                  <a:extLst>
                    <a:ext uri="{FF2B5EF4-FFF2-40B4-BE49-F238E27FC236}">
                      <a16:creationId xmlns:a16="http://schemas.microsoft.com/office/drawing/2014/main" id="{BFD23501-CBA2-25C8-1532-0B5357510BCA}"/>
                    </a:ext>
                  </a:extLst>
                </p:cNvPr>
                <p:cNvSpPr/>
                <p:nvPr/>
              </p:nvSpPr>
              <p:spPr>
                <a:xfrm>
                  <a:off x="6733072" y="1956969"/>
                  <a:ext cx="26703" cy="26592"/>
                </a:xfrm>
                <a:custGeom>
                  <a:avLst/>
                  <a:gdLst>
                    <a:gd name="connsiteX0" fmla="*/ 18 w 26703"/>
                    <a:gd name="connsiteY0" fmla="*/ 14106 h 26592"/>
                    <a:gd name="connsiteX1" fmla="*/ 12598 w 26703"/>
                    <a:gd name="connsiteY1" fmla="*/ 31 h 26592"/>
                    <a:gd name="connsiteX2" fmla="*/ 26673 w 26703"/>
                    <a:gd name="connsiteY2" fmla="*/ 12487 h 26592"/>
                    <a:gd name="connsiteX3" fmla="*/ 14093 w 26703"/>
                    <a:gd name="connsiteY3" fmla="*/ 26562 h 26592"/>
                    <a:gd name="connsiteX4" fmla="*/ 18 w 2670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92">
                      <a:moveTo>
                        <a:pt x="18" y="14106"/>
                      </a:moveTo>
                      <a:cubicBezTo>
                        <a:pt x="-356" y="6757"/>
                        <a:pt x="5249" y="529"/>
                        <a:pt x="12598" y="31"/>
                      </a:cubicBezTo>
                      <a:cubicBezTo>
                        <a:pt x="19947" y="-467"/>
                        <a:pt x="26299" y="5138"/>
                        <a:pt x="26673" y="12487"/>
                      </a:cubicBezTo>
                      <a:cubicBezTo>
                        <a:pt x="27171" y="19835"/>
                        <a:pt x="21442" y="26063"/>
                        <a:pt x="14093" y="26562"/>
                      </a:cubicBezTo>
                      <a:cubicBezTo>
                        <a:pt x="6743" y="27060"/>
                        <a:pt x="51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5" name="Freeform 7689">
                  <a:extLst>
                    <a:ext uri="{FF2B5EF4-FFF2-40B4-BE49-F238E27FC236}">
                      <a16:creationId xmlns:a16="http://schemas.microsoft.com/office/drawing/2014/main" id="{8D75F946-1A7B-BDB1-AC24-03E6363E967B}"/>
                    </a:ext>
                  </a:extLst>
                </p:cNvPr>
                <p:cNvSpPr/>
                <p:nvPr/>
              </p:nvSpPr>
              <p:spPr>
                <a:xfrm>
                  <a:off x="6734606" y="1855361"/>
                  <a:ext cx="5292" cy="52065"/>
                </a:xfrm>
                <a:custGeom>
                  <a:avLst/>
                  <a:gdLst>
                    <a:gd name="connsiteX0" fmla="*/ 1472 w 5292"/>
                    <a:gd name="connsiteY0" fmla="*/ 0 h 52065"/>
                    <a:gd name="connsiteX1" fmla="*/ 600 w 5292"/>
                    <a:gd name="connsiteY1" fmla="*/ 18808 h 52065"/>
                    <a:gd name="connsiteX2" fmla="*/ 4960 w 5292"/>
                    <a:gd name="connsiteY2" fmla="*/ 35624 h 52065"/>
                    <a:gd name="connsiteX3" fmla="*/ 3714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1472" y="0"/>
                      </a:moveTo>
                      <a:cubicBezTo>
                        <a:pt x="-520" y="8221"/>
                        <a:pt x="-147" y="14449"/>
                        <a:pt x="600" y="18808"/>
                      </a:cubicBezTo>
                      <a:cubicBezTo>
                        <a:pt x="1722" y="25659"/>
                        <a:pt x="4088" y="28648"/>
                        <a:pt x="4960" y="35624"/>
                      </a:cubicBezTo>
                      <a:cubicBezTo>
                        <a:pt x="5832" y="42474"/>
                        <a:pt x="4835"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6" name="Freeform 7690">
                  <a:extLst>
                    <a:ext uri="{FF2B5EF4-FFF2-40B4-BE49-F238E27FC236}">
                      <a16:creationId xmlns:a16="http://schemas.microsoft.com/office/drawing/2014/main" id="{07477E41-3EEC-D6F8-55C1-7DB6A9001A01}"/>
                    </a:ext>
                  </a:extLst>
                </p:cNvPr>
                <p:cNvSpPr/>
                <p:nvPr/>
              </p:nvSpPr>
              <p:spPr>
                <a:xfrm>
                  <a:off x="6742680" y="1849880"/>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5"/>
                        <a:pt x="747" y="33506"/>
                      </a:cubicBezTo>
                      <a:cubicBezTo>
                        <a:pt x="1121" y="26531"/>
                        <a:pt x="3114"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7" name="Freeform 7691">
                  <a:extLst>
                    <a:ext uri="{FF2B5EF4-FFF2-40B4-BE49-F238E27FC236}">
                      <a16:creationId xmlns:a16="http://schemas.microsoft.com/office/drawing/2014/main" id="{3E03EAA6-9717-1FA0-7164-414AF0540FED}"/>
                    </a:ext>
                  </a:extLst>
                </p:cNvPr>
                <p:cNvSpPr/>
                <p:nvPr/>
              </p:nvSpPr>
              <p:spPr>
                <a:xfrm>
                  <a:off x="6725971" y="1834902"/>
                  <a:ext cx="26455" cy="26592"/>
                </a:xfrm>
                <a:custGeom>
                  <a:avLst/>
                  <a:gdLst>
                    <a:gd name="connsiteX0" fmla="*/ 26424 w 26455"/>
                    <a:gd name="connsiteY0" fmla="*/ 12487 h 26592"/>
                    <a:gd name="connsiteX1" fmla="*/ 13968 w 26455"/>
                    <a:gd name="connsiteY1" fmla="*/ 26562 h 26592"/>
                    <a:gd name="connsiteX2" fmla="*/ 18 w 26455"/>
                    <a:gd name="connsiteY2" fmla="*/ 14106 h 26592"/>
                    <a:gd name="connsiteX3" fmla="*/ 12474 w 26455"/>
                    <a:gd name="connsiteY3" fmla="*/ 31 h 26592"/>
                    <a:gd name="connsiteX4" fmla="*/ 26424 w 26455"/>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92">
                      <a:moveTo>
                        <a:pt x="26424" y="12487"/>
                      </a:moveTo>
                      <a:cubicBezTo>
                        <a:pt x="26923" y="19835"/>
                        <a:pt x="21318" y="26063"/>
                        <a:pt x="13968" y="26562"/>
                      </a:cubicBezTo>
                      <a:cubicBezTo>
                        <a:pt x="6620" y="27060"/>
                        <a:pt x="392" y="21455"/>
                        <a:pt x="18" y="14106"/>
                      </a:cubicBezTo>
                      <a:cubicBezTo>
                        <a:pt x="-355" y="6757"/>
                        <a:pt x="5125" y="529"/>
                        <a:pt x="12474" y="31"/>
                      </a:cubicBezTo>
                      <a:cubicBezTo>
                        <a:pt x="19823" y="-467"/>
                        <a:pt x="26051"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6" name="Graphic 2987">
                <a:extLst>
                  <a:ext uri="{FF2B5EF4-FFF2-40B4-BE49-F238E27FC236}">
                    <a16:creationId xmlns:a16="http://schemas.microsoft.com/office/drawing/2014/main" id="{35F0B922-9D15-7EA0-D7A0-251DBD13223C}"/>
                  </a:ext>
                </a:extLst>
              </p:cNvPr>
              <p:cNvGrpSpPr/>
              <p:nvPr/>
            </p:nvGrpSpPr>
            <p:grpSpPr>
              <a:xfrm>
                <a:off x="6696576" y="1836646"/>
                <a:ext cx="33429" cy="148770"/>
                <a:chOff x="6696576" y="1836646"/>
                <a:chExt cx="33429" cy="148770"/>
              </a:xfrm>
              <a:grpFill/>
            </p:grpSpPr>
            <p:sp>
              <p:nvSpPr>
                <p:cNvPr id="6456" name="Freeform 7693">
                  <a:extLst>
                    <a:ext uri="{FF2B5EF4-FFF2-40B4-BE49-F238E27FC236}">
                      <a16:creationId xmlns:a16="http://schemas.microsoft.com/office/drawing/2014/main" id="{61ED0708-594B-578B-CEDB-CF50BCD7F39B}"/>
                    </a:ext>
                  </a:extLst>
                </p:cNvPr>
                <p:cNvSpPr/>
                <p:nvPr/>
              </p:nvSpPr>
              <p:spPr>
                <a:xfrm>
                  <a:off x="6716085" y="1912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7" name="Freeform 7694">
                  <a:extLst>
                    <a:ext uri="{FF2B5EF4-FFF2-40B4-BE49-F238E27FC236}">
                      <a16:creationId xmlns:a16="http://schemas.microsoft.com/office/drawing/2014/main" id="{15CCE9B4-3211-807B-5242-4E6C25F87626}"/>
                    </a:ext>
                  </a:extLst>
                </p:cNvPr>
                <p:cNvSpPr/>
                <p:nvPr/>
              </p:nvSpPr>
              <p:spPr>
                <a:xfrm>
                  <a:off x="6709548" y="1918262"/>
                  <a:ext cx="3612" cy="52065"/>
                </a:xfrm>
                <a:custGeom>
                  <a:avLst/>
                  <a:gdLst>
                    <a:gd name="connsiteX0" fmla="*/ 0 w 3612"/>
                    <a:gd name="connsiteY0" fmla="*/ 0 h 52065"/>
                    <a:gd name="connsiteX1" fmla="*/ 2989 w 3612"/>
                    <a:gd name="connsiteY1" fmla="*/ 18559 h 52065"/>
                    <a:gd name="connsiteX2" fmla="*/ 499 w 3612"/>
                    <a:gd name="connsiteY2" fmla="*/ 35873 h 52065"/>
                    <a:gd name="connsiteX3" fmla="*/ 3613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0" y="0"/>
                      </a:moveTo>
                      <a:cubicBezTo>
                        <a:pt x="2989" y="7847"/>
                        <a:pt x="3239" y="14200"/>
                        <a:pt x="2989" y="18559"/>
                      </a:cubicBezTo>
                      <a:cubicBezTo>
                        <a:pt x="2616" y="25534"/>
                        <a:pt x="623" y="28773"/>
                        <a:pt x="499" y="35873"/>
                      </a:cubicBezTo>
                      <a:cubicBezTo>
                        <a:pt x="374" y="42723"/>
                        <a:pt x="2118" y="48453"/>
                        <a:pt x="361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8" name="Freeform 7695">
                  <a:extLst>
                    <a:ext uri="{FF2B5EF4-FFF2-40B4-BE49-F238E27FC236}">
                      <a16:creationId xmlns:a16="http://schemas.microsoft.com/office/drawing/2014/main" id="{33404897-2D20-743E-B1D9-63465902C030}"/>
                    </a:ext>
                  </a:extLst>
                </p:cNvPr>
                <p:cNvSpPr/>
                <p:nvPr/>
              </p:nvSpPr>
              <p:spPr>
                <a:xfrm>
                  <a:off x="6703302" y="1958837"/>
                  <a:ext cx="26703" cy="26579"/>
                </a:xfrm>
                <a:custGeom>
                  <a:avLst/>
                  <a:gdLst>
                    <a:gd name="connsiteX0" fmla="*/ 18 w 26703"/>
                    <a:gd name="connsiteY0" fmla="*/ 14106 h 26579"/>
                    <a:gd name="connsiteX1" fmla="*/ 12598 w 26703"/>
                    <a:gd name="connsiteY1" fmla="*/ 31 h 26579"/>
                    <a:gd name="connsiteX2" fmla="*/ 26673 w 26703"/>
                    <a:gd name="connsiteY2" fmla="*/ 12487 h 26579"/>
                    <a:gd name="connsiteX3" fmla="*/ 14093 w 26703"/>
                    <a:gd name="connsiteY3" fmla="*/ 26562 h 26579"/>
                    <a:gd name="connsiteX4" fmla="*/ 18 w 26703"/>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79">
                      <a:moveTo>
                        <a:pt x="18" y="14106"/>
                      </a:moveTo>
                      <a:cubicBezTo>
                        <a:pt x="-356" y="6757"/>
                        <a:pt x="5250" y="529"/>
                        <a:pt x="12598" y="31"/>
                      </a:cubicBezTo>
                      <a:cubicBezTo>
                        <a:pt x="19947" y="-467"/>
                        <a:pt x="26175" y="5138"/>
                        <a:pt x="26673" y="12487"/>
                      </a:cubicBezTo>
                      <a:cubicBezTo>
                        <a:pt x="27171" y="19835"/>
                        <a:pt x="21442" y="26063"/>
                        <a:pt x="14093" y="26562"/>
                      </a:cubicBezTo>
                      <a:cubicBezTo>
                        <a:pt x="6744" y="26935"/>
                        <a:pt x="516" y="21330"/>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9" name="Freeform 7696">
                  <a:extLst>
                    <a:ext uri="{FF2B5EF4-FFF2-40B4-BE49-F238E27FC236}">
                      <a16:creationId xmlns:a16="http://schemas.microsoft.com/office/drawing/2014/main" id="{7B159630-AB6E-2168-D319-39E8674AA76A}"/>
                    </a:ext>
                  </a:extLst>
                </p:cNvPr>
                <p:cNvSpPr/>
                <p:nvPr/>
              </p:nvSpPr>
              <p:spPr>
                <a:xfrm>
                  <a:off x="6705086" y="1857229"/>
                  <a:ext cx="5273" cy="52065"/>
                </a:xfrm>
                <a:custGeom>
                  <a:avLst/>
                  <a:gdLst>
                    <a:gd name="connsiteX0" fmla="*/ 1472 w 5273"/>
                    <a:gd name="connsiteY0" fmla="*/ 0 h 52065"/>
                    <a:gd name="connsiteX1" fmla="*/ 600 w 5273"/>
                    <a:gd name="connsiteY1" fmla="*/ 18808 h 52065"/>
                    <a:gd name="connsiteX2" fmla="*/ 4960 w 5273"/>
                    <a:gd name="connsiteY2" fmla="*/ 35623 h 52065"/>
                    <a:gd name="connsiteX3" fmla="*/ 3714 w 52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3" h="52065">
                      <a:moveTo>
                        <a:pt x="1472" y="0"/>
                      </a:moveTo>
                      <a:cubicBezTo>
                        <a:pt x="-520" y="8221"/>
                        <a:pt x="-147" y="14449"/>
                        <a:pt x="600" y="18808"/>
                      </a:cubicBezTo>
                      <a:cubicBezTo>
                        <a:pt x="1722" y="25659"/>
                        <a:pt x="4088" y="28648"/>
                        <a:pt x="4960" y="35623"/>
                      </a:cubicBezTo>
                      <a:cubicBezTo>
                        <a:pt x="5832"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0" name="Freeform 7697">
                  <a:extLst>
                    <a:ext uri="{FF2B5EF4-FFF2-40B4-BE49-F238E27FC236}">
                      <a16:creationId xmlns:a16="http://schemas.microsoft.com/office/drawing/2014/main" id="{76D24ED0-3A8A-0D2E-F2E8-0615F4E6642E}"/>
                    </a:ext>
                  </a:extLst>
                </p:cNvPr>
                <p:cNvSpPr/>
                <p:nvPr/>
              </p:nvSpPr>
              <p:spPr>
                <a:xfrm>
                  <a:off x="6713284" y="1851748"/>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623" y="44218"/>
                        <a:pt x="374" y="37866"/>
                        <a:pt x="623" y="33506"/>
                      </a:cubicBezTo>
                      <a:cubicBezTo>
                        <a:pt x="997"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1" name="Freeform 7698">
                  <a:extLst>
                    <a:ext uri="{FF2B5EF4-FFF2-40B4-BE49-F238E27FC236}">
                      <a16:creationId xmlns:a16="http://schemas.microsoft.com/office/drawing/2014/main" id="{5F471AAF-75E5-5E81-666D-53F1E713C232}"/>
                    </a:ext>
                  </a:extLst>
                </p:cNvPr>
                <p:cNvSpPr/>
                <p:nvPr/>
              </p:nvSpPr>
              <p:spPr>
                <a:xfrm>
                  <a:off x="6696576" y="1836646"/>
                  <a:ext cx="26442" cy="26592"/>
                </a:xfrm>
                <a:custGeom>
                  <a:avLst/>
                  <a:gdLst>
                    <a:gd name="connsiteX0" fmla="*/ 26424 w 26442"/>
                    <a:gd name="connsiteY0" fmla="*/ 12487 h 26592"/>
                    <a:gd name="connsiteX1" fmla="*/ 13968 w 26442"/>
                    <a:gd name="connsiteY1" fmla="*/ 26562 h 26592"/>
                    <a:gd name="connsiteX2" fmla="*/ 18 w 26442"/>
                    <a:gd name="connsiteY2" fmla="*/ 14106 h 26592"/>
                    <a:gd name="connsiteX3" fmla="*/ 12474 w 26442"/>
                    <a:gd name="connsiteY3" fmla="*/ 31 h 26592"/>
                    <a:gd name="connsiteX4" fmla="*/ 26424 w 26442"/>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92">
                      <a:moveTo>
                        <a:pt x="26424" y="12487"/>
                      </a:moveTo>
                      <a:cubicBezTo>
                        <a:pt x="26798" y="19835"/>
                        <a:pt x="21318" y="26063"/>
                        <a:pt x="13968" y="26562"/>
                      </a:cubicBezTo>
                      <a:cubicBezTo>
                        <a:pt x="6619" y="27060"/>
                        <a:pt x="391" y="21455"/>
                        <a:pt x="18" y="14106"/>
                      </a:cubicBezTo>
                      <a:cubicBezTo>
                        <a:pt x="-356" y="6757"/>
                        <a:pt x="5125" y="529"/>
                        <a:pt x="12474" y="31"/>
                      </a:cubicBezTo>
                      <a:cubicBezTo>
                        <a:pt x="19698" y="-467"/>
                        <a:pt x="25926"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7" name="Graphic 2987">
                <a:extLst>
                  <a:ext uri="{FF2B5EF4-FFF2-40B4-BE49-F238E27FC236}">
                    <a16:creationId xmlns:a16="http://schemas.microsoft.com/office/drawing/2014/main" id="{724B1B5D-8C0D-963D-C04B-AEC8AE457196}"/>
                  </a:ext>
                </a:extLst>
              </p:cNvPr>
              <p:cNvGrpSpPr/>
              <p:nvPr/>
            </p:nvGrpSpPr>
            <p:grpSpPr>
              <a:xfrm>
                <a:off x="6667056" y="1838403"/>
                <a:ext cx="33167" cy="148757"/>
                <a:chOff x="6667056" y="1838403"/>
                <a:chExt cx="33167" cy="148757"/>
              </a:xfrm>
              <a:grpFill/>
            </p:grpSpPr>
            <p:sp>
              <p:nvSpPr>
                <p:cNvPr id="6450" name="Freeform 7700">
                  <a:extLst>
                    <a:ext uri="{FF2B5EF4-FFF2-40B4-BE49-F238E27FC236}">
                      <a16:creationId xmlns:a16="http://schemas.microsoft.com/office/drawing/2014/main" id="{B8C88258-A8E6-5F6A-4EA7-F20729D9CD38}"/>
                    </a:ext>
                  </a:extLst>
                </p:cNvPr>
                <p:cNvSpPr/>
                <p:nvPr/>
              </p:nvSpPr>
              <p:spPr>
                <a:xfrm>
                  <a:off x="6686565" y="1914525"/>
                  <a:ext cx="5222" cy="52065"/>
                </a:xfrm>
                <a:custGeom>
                  <a:avLst/>
                  <a:gdLst>
                    <a:gd name="connsiteX0" fmla="*/ 3676 w 5222"/>
                    <a:gd name="connsiteY0" fmla="*/ 52065 h 52065"/>
                    <a:gd name="connsiteX1" fmla="*/ 4673 w 5222"/>
                    <a:gd name="connsiteY1" fmla="*/ 33257 h 52065"/>
                    <a:gd name="connsiteX2" fmla="*/ 313 w 5222"/>
                    <a:gd name="connsiteY2" fmla="*/ 16442 h 52065"/>
                    <a:gd name="connsiteX3" fmla="*/ 1559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52065"/>
                      </a:moveTo>
                      <a:cubicBezTo>
                        <a:pt x="5670"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1" name="Freeform 7701">
                  <a:extLst>
                    <a:ext uri="{FF2B5EF4-FFF2-40B4-BE49-F238E27FC236}">
                      <a16:creationId xmlns:a16="http://schemas.microsoft.com/office/drawing/2014/main" id="{4B484342-2262-DEE1-35FD-B401219B39D6}"/>
                    </a:ext>
                  </a:extLst>
                </p:cNvPr>
                <p:cNvSpPr/>
                <p:nvPr/>
              </p:nvSpPr>
              <p:spPr>
                <a:xfrm>
                  <a:off x="6679903" y="1920006"/>
                  <a:ext cx="3487" cy="52065"/>
                </a:xfrm>
                <a:custGeom>
                  <a:avLst/>
                  <a:gdLst>
                    <a:gd name="connsiteX0" fmla="*/ 0 w 3487"/>
                    <a:gd name="connsiteY0" fmla="*/ 0 h 52065"/>
                    <a:gd name="connsiteX1" fmla="*/ 2990 w 3487"/>
                    <a:gd name="connsiteY1" fmla="*/ 18559 h 52065"/>
                    <a:gd name="connsiteX2" fmla="*/ 499 w 3487"/>
                    <a:gd name="connsiteY2" fmla="*/ 35873 h 52065"/>
                    <a:gd name="connsiteX3" fmla="*/ 3488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0" y="0"/>
                      </a:moveTo>
                      <a:cubicBezTo>
                        <a:pt x="2865" y="7847"/>
                        <a:pt x="3239" y="14200"/>
                        <a:pt x="2990" y="18559"/>
                      </a:cubicBezTo>
                      <a:cubicBezTo>
                        <a:pt x="2616" y="25534"/>
                        <a:pt x="623" y="28773"/>
                        <a:pt x="499" y="35873"/>
                      </a:cubicBezTo>
                      <a:cubicBezTo>
                        <a:pt x="374" y="42723"/>
                        <a:pt x="2118" y="48453"/>
                        <a:pt x="34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2" name="Freeform 7702">
                  <a:extLst>
                    <a:ext uri="{FF2B5EF4-FFF2-40B4-BE49-F238E27FC236}">
                      <a16:creationId xmlns:a16="http://schemas.microsoft.com/office/drawing/2014/main" id="{B75CCFB4-9093-EFE3-1D58-B505FD209CCD}"/>
                    </a:ext>
                  </a:extLst>
                </p:cNvPr>
                <p:cNvSpPr/>
                <p:nvPr/>
              </p:nvSpPr>
              <p:spPr>
                <a:xfrm>
                  <a:off x="6673533" y="1960581"/>
                  <a:ext cx="26690" cy="26579"/>
                </a:xfrm>
                <a:custGeom>
                  <a:avLst/>
                  <a:gdLst>
                    <a:gd name="connsiteX0" fmla="*/ 18 w 26690"/>
                    <a:gd name="connsiteY0" fmla="*/ 14106 h 26579"/>
                    <a:gd name="connsiteX1" fmla="*/ 12597 w 26690"/>
                    <a:gd name="connsiteY1" fmla="*/ 31 h 26579"/>
                    <a:gd name="connsiteX2" fmla="*/ 26672 w 26690"/>
                    <a:gd name="connsiteY2" fmla="*/ 12487 h 26579"/>
                    <a:gd name="connsiteX3" fmla="*/ 14092 w 26690"/>
                    <a:gd name="connsiteY3" fmla="*/ 26562 h 26579"/>
                    <a:gd name="connsiteX4" fmla="*/ 18 w 2669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79">
                      <a:moveTo>
                        <a:pt x="18" y="14106"/>
                      </a:moveTo>
                      <a:cubicBezTo>
                        <a:pt x="-356" y="6757"/>
                        <a:pt x="5249" y="529"/>
                        <a:pt x="12597" y="31"/>
                      </a:cubicBezTo>
                      <a:cubicBezTo>
                        <a:pt x="19947" y="-467"/>
                        <a:pt x="26174" y="5138"/>
                        <a:pt x="26672" y="12487"/>
                      </a:cubicBezTo>
                      <a:cubicBezTo>
                        <a:pt x="27046" y="19835"/>
                        <a:pt x="21441" y="26063"/>
                        <a:pt x="14092" y="26562"/>
                      </a:cubicBezTo>
                      <a:cubicBezTo>
                        <a:pt x="6744"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3" name="Freeform 7703">
                  <a:extLst>
                    <a:ext uri="{FF2B5EF4-FFF2-40B4-BE49-F238E27FC236}">
                      <a16:creationId xmlns:a16="http://schemas.microsoft.com/office/drawing/2014/main" id="{A26779C1-BAC8-4B3A-A68D-29657D3DE222}"/>
                    </a:ext>
                  </a:extLst>
                </p:cNvPr>
                <p:cNvSpPr/>
                <p:nvPr/>
              </p:nvSpPr>
              <p:spPr>
                <a:xfrm>
                  <a:off x="6675617" y="1858973"/>
                  <a:ext cx="5222" cy="52065"/>
                </a:xfrm>
                <a:custGeom>
                  <a:avLst/>
                  <a:gdLst>
                    <a:gd name="connsiteX0" fmla="*/ 1546 w 5222"/>
                    <a:gd name="connsiteY0" fmla="*/ 0 h 52065"/>
                    <a:gd name="connsiteX1" fmla="*/ 549 w 5222"/>
                    <a:gd name="connsiteY1" fmla="*/ 18808 h 52065"/>
                    <a:gd name="connsiteX2" fmla="*/ 4909 w 5222"/>
                    <a:gd name="connsiteY2" fmla="*/ 35624 h 52065"/>
                    <a:gd name="connsiteX3" fmla="*/ 3663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0"/>
                      </a:moveTo>
                      <a:cubicBezTo>
                        <a:pt x="-448" y="8221"/>
                        <a:pt x="-198" y="14449"/>
                        <a:pt x="549" y="18808"/>
                      </a:cubicBezTo>
                      <a:cubicBezTo>
                        <a:pt x="1670" y="25659"/>
                        <a:pt x="4037" y="28648"/>
                        <a:pt x="4909" y="35624"/>
                      </a:cubicBezTo>
                      <a:cubicBezTo>
                        <a:pt x="5780" y="42474"/>
                        <a:pt x="4660" y="48328"/>
                        <a:pt x="36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4" name="Freeform 7704">
                  <a:extLst>
                    <a:ext uri="{FF2B5EF4-FFF2-40B4-BE49-F238E27FC236}">
                      <a16:creationId xmlns:a16="http://schemas.microsoft.com/office/drawing/2014/main" id="{F43AD81A-B906-FA7E-C174-A0A022F7E581}"/>
                    </a:ext>
                  </a:extLst>
                </p:cNvPr>
                <p:cNvSpPr/>
                <p:nvPr/>
              </p:nvSpPr>
              <p:spPr>
                <a:xfrm>
                  <a:off x="6683889" y="1853492"/>
                  <a:ext cx="3487" cy="52065"/>
                </a:xfrm>
                <a:custGeom>
                  <a:avLst/>
                  <a:gdLst>
                    <a:gd name="connsiteX0" fmla="*/ 3488 w 3487"/>
                    <a:gd name="connsiteY0" fmla="*/ 52065 h 52065"/>
                    <a:gd name="connsiteX1" fmla="*/ 499 w 3487"/>
                    <a:gd name="connsiteY1" fmla="*/ 33506 h 52065"/>
                    <a:gd name="connsiteX2" fmla="*/ 2989 w 3487"/>
                    <a:gd name="connsiteY2" fmla="*/ 16193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6"/>
                        <a:pt x="499" y="33506"/>
                      </a:cubicBezTo>
                      <a:cubicBezTo>
                        <a:pt x="872" y="26531"/>
                        <a:pt x="2865" y="23292"/>
                        <a:pt x="2989" y="16193"/>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5" name="Freeform 7705">
                  <a:extLst>
                    <a:ext uri="{FF2B5EF4-FFF2-40B4-BE49-F238E27FC236}">
                      <a16:creationId xmlns:a16="http://schemas.microsoft.com/office/drawing/2014/main" id="{A5588BB5-3FA6-802E-51DB-CC2E7D21707B}"/>
                    </a:ext>
                  </a:extLst>
                </p:cNvPr>
                <p:cNvSpPr/>
                <p:nvPr/>
              </p:nvSpPr>
              <p:spPr>
                <a:xfrm>
                  <a:off x="6667056" y="1838403"/>
                  <a:ext cx="26441" cy="26579"/>
                </a:xfrm>
                <a:custGeom>
                  <a:avLst/>
                  <a:gdLst>
                    <a:gd name="connsiteX0" fmla="*/ 26424 w 26441"/>
                    <a:gd name="connsiteY0" fmla="*/ 12474 h 26579"/>
                    <a:gd name="connsiteX1" fmla="*/ 13968 w 26441"/>
                    <a:gd name="connsiteY1" fmla="*/ 26549 h 26579"/>
                    <a:gd name="connsiteX2" fmla="*/ 18 w 26441"/>
                    <a:gd name="connsiteY2" fmla="*/ 14093 h 26579"/>
                    <a:gd name="connsiteX3" fmla="*/ 12473 w 26441"/>
                    <a:gd name="connsiteY3" fmla="*/ 18 h 26579"/>
                    <a:gd name="connsiteX4" fmla="*/ 26424 w 26441"/>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2474"/>
                      </a:moveTo>
                      <a:cubicBezTo>
                        <a:pt x="26797" y="19823"/>
                        <a:pt x="21193" y="26051"/>
                        <a:pt x="13968" y="26549"/>
                      </a:cubicBezTo>
                      <a:cubicBezTo>
                        <a:pt x="6619" y="27047"/>
                        <a:pt x="516" y="21442"/>
                        <a:pt x="18" y="14093"/>
                      </a:cubicBezTo>
                      <a:cubicBezTo>
                        <a:pt x="-356" y="6744"/>
                        <a:pt x="5249" y="516"/>
                        <a:pt x="12473" y="18"/>
                      </a:cubicBezTo>
                      <a:cubicBezTo>
                        <a:pt x="19822" y="-356"/>
                        <a:pt x="26050" y="5125"/>
                        <a:pt x="26424"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8" name="Graphic 2987">
                <a:extLst>
                  <a:ext uri="{FF2B5EF4-FFF2-40B4-BE49-F238E27FC236}">
                    <a16:creationId xmlns:a16="http://schemas.microsoft.com/office/drawing/2014/main" id="{F6FB3D64-488C-3FC6-FB73-8A77ED11FC97}"/>
                  </a:ext>
                </a:extLst>
              </p:cNvPr>
              <p:cNvGrpSpPr/>
              <p:nvPr/>
            </p:nvGrpSpPr>
            <p:grpSpPr>
              <a:xfrm>
                <a:off x="6637785" y="1840134"/>
                <a:ext cx="32670" cy="148783"/>
                <a:chOff x="6637785" y="1840134"/>
                <a:chExt cx="32670" cy="148783"/>
              </a:xfrm>
              <a:grpFill/>
            </p:grpSpPr>
            <p:sp>
              <p:nvSpPr>
                <p:cNvPr id="6444" name="Freeform 7707">
                  <a:extLst>
                    <a:ext uri="{FF2B5EF4-FFF2-40B4-BE49-F238E27FC236}">
                      <a16:creationId xmlns:a16="http://schemas.microsoft.com/office/drawing/2014/main" id="{7C16F665-195A-869D-289A-79C895E30941}"/>
                    </a:ext>
                  </a:extLst>
                </p:cNvPr>
                <p:cNvSpPr/>
                <p:nvPr/>
              </p:nvSpPr>
              <p:spPr>
                <a:xfrm>
                  <a:off x="6656798" y="1916269"/>
                  <a:ext cx="5259" cy="52065"/>
                </a:xfrm>
                <a:custGeom>
                  <a:avLst/>
                  <a:gdLst>
                    <a:gd name="connsiteX0" fmla="*/ 3674 w 5259"/>
                    <a:gd name="connsiteY0" fmla="*/ 52065 h 52065"/>
                    <a:gd name="connsiteX1" fmla="*/ 4671 w 5259"/>
                    <a:gd name="connsiteY1" fmla="*/ 33257 h 52065"/>
                    <a:gd name="connsiteX2" fmla="*/ 312 w 5259"/>
                    <a:gd name="connsiteY2" fmla="*/ 16442 h 52065"/>
                    <a:gd name="connsiteX3" fmla="*/ 1681 w 5259"/>
                    <a:gd name="connsiteY3" fmla="*/ 0 h 52065"/>
                  </a:gdLst>
                  <a:ahLst/>
                  <a:cxnLst>
                    <a:cxn ang="0">
                      <a:pos x="connsiteX0" y="connsiteY0"/>
                    </a:cxn>
                    <a:cxn ang="0">
                      <a:pos x="connsiteX1" y="connsiteY1"/>
                    </a:cxn>
                    <a:cxn ang="0">
                      <a:pos x="connsiteX2" y="connsiteY2"/>
                    </a:cxn>
                    <a:cxn ang="0">
                      <a:pos x="connsiteX3" y="connsiteY3"/>
                    </a:cxn>
                  </a:cxnLst>
                  <a:rect l="l" t="t" r="r" b="b"/>
                  <a:pathLst>
                    <a:path w="5259" h="52065">
                      <a:moveTo>
                        <a:pt x="3674" y="52065"/>
                      </a:moveTo>
                      <a:cubicBezTo>
                        <a:pt x="5792" y="43844"/>
                        <a:pt x="5418" y="37616"/>
                        <a:pt x="4671" y="33257"/>
                      </a:cubicBezTo>
                      <a:cubicBezTo>
                        <a:pt x="3549" y="26406"/>
                        <a:pt x="1184"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5" name="Freeform 7708">
                  <a:extLst>
                    <a:ext uri="{FF2B5EF4-FFF2-40B4-BE49-F238E27FC236}">
                      <a16:creationId xmlns:a16="http://schemas.microsoft.com/office/drawing/2014/main" id="{EC98D161-A559-05F9-7C6D-D6C38898AAB4}"/>
                    </a:ext>
                  </a:extLst>
                </p:cNvPr>
                <p:cNvSpPr/>
                <p:nvPr/>
              </p:nvSpPr>
              <p:spPr>
                <a:xfrm>
                  <a:off x="6650258" y="1921750"/>
                  <a:ext cx="3363" cy="52065"/>
                </a:xfrm>
                <a:custGeom>
                  <a:avLst/>
                  <a:gdLst>
                    <a:gd name="connsiteX0" fmla="*/ 0 w 3363"/>
                    <a:gd name="connsiteY0" fmla="*/ 0 h 52065"/>
                    <a:gd name="connsiteX1" fmla="*/ 2990 w 3363"/>
                    <a:gd name="connsiteY1" fmla="*/ 18559 h 52065"/>
                    <a:gd name="connsiteX2" fmla="*/ 374 w 3363"/>
                    <a:gd name="connsiteY2" fmla="*/ 35873 h 52065"/>
                    <a:gd name="connsiteX3" fmla="*/ 3363 w 33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0" y="0"/>
                      </a:moveTo>
                      <a:cubicBezTo>
                        <a:pt x="2865" y="7847"/>
                        <a:pt x="3239" y="14200"/>
                        <a:pt x="2990" y="18559"/>
                      </a:cubicBezTo>
                      <a:cubicBezTo>
                        <a:pt x="2616" y="25534"/>
                        <a:pt x="623" y="28773"/>
                        <a:pt x="374" y="35873"/>
                      </a:cubicBezTo>
                      <a:cubicBezTo>
                        <a:pt x="249" y="42723"/>
                        <a:pt x="1869" y="48453"/>
                        <a:pt x="33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6" name="Freeform 7709">
                  <a:extLst>
                    <a:ext uri="{FF2B5EF4-FFF2-40B4-BE49-F238E27FC236}">
                      <a16:creationId xmlns:a16="http://schemas.microsoft.com/office/drawing/2014/main" id="{694EAC7C-CE01-E0FB-B2E6-C7E628B7172F}"/>
                    </a:ext>
                  </a:extLst>
                </p:cNvPr>
                <p:cNvSpPr/>
                <p:nvPr/>
              </p:nvSpPr>
              <p:spPr>
                <a:xfrm>
                  <a:off x="6643889" y="1962325"/>
                  <a:ext cx="26566" cy="26592"/>
                </a:xfrm>
                <a:custGeom>
                  <a:avLst/>
                  <a:gdLst>
                    <a:gd name="connsiteX0" fmla="*/ 18 w 26566"/>
                    <a:gd name="connsiteY0" fmla="*/ 14106 h 26592"/>
                    <a:gd name="connsiteX1" fmla="*/ 12597 w 26566"/>
                    <a:gd name="connsiteY1" fmla="*/ 31 h 26592"/>
                    <a:gd name="connsiteX2" fmla="*/ 26549 w 26566"/>
                    <a:gd name="connsiteY2" fmla="*/ 12487 h 26592"/>
                    <a:gd name="connsiteX3" fmla="*/ 13968 w 26566"/>
                    <a:gd name="connsiteY3" fmla="*/ 26562 h 26592"/>
                    <a:gd name="connsiteX4" fmla="*/ 18 w 26566"/>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92">
                      <a:moveTo>
                        <a:pt x="18" y="14106"/>
                      </a:moveTo>
                      <a:cubicBezTo>
                        <a:pt x="-356" y="6757"/>
                        <a:pt x="5249" y="529"/>
                        <a:pt x="12597" y="31"/>
                      </a:cubicBezTo>
                      <a:cubicBezTo>
                        <a:pt x="19947" y="-467"/>
                        <a:pt x="26174" y="5138"/>
                        <a:pt x="26549" y="12487"/>
                      </a:cubicBezTo>
                      <a:cubicBezTo>
                        <a:pt x="26922" y="19835"/>
                        <a:pt x="21317" y="26063"/>
                        <a:pt x="13968" y="26562"/>
                      </a:cubicBezTo>
                      <a:cubicBezTo>
                        <a:pt x="6619" y="27060"/>
                        <a:pt x="26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7" name="Freeform 7710">
                  <a:extLst>
                    <a:ext uri="{FF2B5EF4-FFF2-40B4-BE49-F238E27FC236}">
                      <a16:creationId xmlns:a16="http://schemas.microsoft.com/office/drawing/2014/main" id="{CCAB521E-DD8C-EAAF-F409-70DD2BFDCF75}"/>
                    </a:ext>
                  </a:extLst>
                </p:cNvPr>
                <p:cNvSpPr/>
                <p:nvPr/>
              </p:nvSpPr>
              <p:spPr>
                <a:xfrm>
                  <a:off x="6646057" y="1860717"/>
                  <a:ext cx="5135" cy="52065"/>
                </a:xfrm>
                <a:custGeom>
                  <a:avLst/>
                  <a:gdLst>
                    <a:gd name="connsiteX0" fmla="*/ 1586 w 5135"/>
                    <a:gd name="connsiteY0" fmla="*/ 0 h 52065"/>
                    <a:gd name="connsiteX1" fmla="*/ 589 w 5135"/>
                    <a:gd name="connsiteY1" fmla="*/ 18808 h 52065"/>
                    <a:gd name="connsiteX2" fmla="*/ 4824 w 5135"/>
                    <a:gd name="connsiteY2" fmla="*/ 35624 h 52065"/>
                    <a:gd name="connsiteX3" fmla="*/ 3454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1586" y="0"/>
                      </a:moveTo>
                      <a:cubicBezTo>
                        <a:pt x="-532" y="8221"/>
                        <a:pt x="-158" y="14449"/>
                        <a:pt x="589" y="18808"/>
                      </a:cubicBezTo>
                      <a:cubicBezTo>
                        <a:pt x="1710" y="25659"/>
                        <a:pt x="3952" y="28648"/>
                        <a:pt x="4824" y="35624"/>
                      </a:cubicBezTo>
                      <a:cubicBezTo>
                        <a:pt x="5696" y="42474"/>
                        <a:pt x="4575" y="48328"/>
                        <a:pt x="34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8" name="Freeform 7711">
                  <a:extLst>
                    <a:ext uri="{FF2B5EF4-FFF2-40B4-BE49-F238E27FC236}">
                      <a16:creationId xmlns:a16="http://schemas.microsoft.com/office/drawing/2014/main" id="{474C9C60-4D9E-69BA-3B0E-3DBC96276D2B}"/>
                    </a:ext>
                  </a:extLst>
                </p:cNvPr>
                <p:cNvSpPr/>
                <p:nvPr/>
              </p:nvSpPr>
              <p:spPr>
                <a:xfrm>
                  <a:off x="6654244" y="1855236"/>
                  <a:ext cx="3487" cy="52065"/>
                </a:xfrm>
                <a:custGeom>
                  <a:avLst/>
                  <a:gdLst>
                    <a:gd name="connsiteX0" fmla="*/ 3488 w 3487"/>
                    <a:gd name="connsiteY0" fmla="*/ 52065 h 52065"/>
                    <a:gd name="connsiteX1" fmla="*/ 499 w 3487"/>
                    <a:gd name="connsiteY1" fmla="*/ 33506 h 52065"/>
                    <a:gd name="connsiteX2" fmla="*/ 2989 w 3487"/>
                    <a:gd name="connsiteY2" fmla="*/ 16192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5"/>
                        <a:pt x="499" y="33506"/>
                      </a:cubicBezTo>
                      <a:cubicBezTo>
                        <a:pt x="872" y="26531"/>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9" name="Freeform 7712">
                  <a:extLst>
                    <a:ext uri="{FF2B5EF4-FFF2-40B4-BE49-F238E27FC236}">
                      <a16:creationId xmlns:a16="http://schemas.microsoft.com/office/drawing/2014/main" id="{724E5225-3917-D8E8-A5D7-D1CD0650AF1E}"/>
                    </a:ext>
                  </a:extLst>
                </p:cNvPr>
                <p:cNvSpPr/>
                <p:nvPr/>
              </p:nvSpPr>
              <p:spPr>
                <a:xfrm>
                  <a:off x="6637785" y="1840134"/>
                  <a:ext cx="26317" cy="26592"/>
                </a:xfrm>
                <a:custGeom>
                  <a:avLst/>
                  <a:gdLst>
                    <a:gd name="connsiteX0" fmla="*/ 26300 w 26317"/>
                    <a:gd name="connsiteY0" fmla="*/ 12487 h 26592"/>
                    <a:gd name="connsiteX1" fmla="*/ 13844 w 26317"/>
                    <a:gd name="connsiteY1" fmla="*/ 26562 h 26592"/>
                    <a:gd name="connsiteX2" fmla="*/ 18 w 26317"/>
                    <a:gd name="connsiteY2" fmla="*/ 14106 h 26592"/>
                    <a:gd name="connsiteX3" fmla="*/ 12473 w 26317"/>
                    <a:gd name="connsiteY3" fmla="*/ 31 h 26592"/>
                    <a:gd name="connsiteX4" fmla="*/ 26300 w 26317"/>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92">
                      <a:moveTo>
                        <a:pt x="26300" y="12487"/>
                      </a:moveTo>
                      <a:cubicBezTo>
                        <a:pt x="26673" y="19835"/>
                        <a:pt x="21068" y="26063"/>
                        <a:pt x="13844" y="26562"/>
                      </a:cubicBezTo>
                      <a:cubicBezTo>
                        <a:pt x="6620" y="27060"/>
                        <a:pt x="392" y="21455"/>
                        <a:pt x="18" y="14106"/>
                      </a:cubicBezTo>
                      <a:cubicBezTo>
                        <a:pt x="-356" y="6757"/>
                        <a:pt x="5250" y="529"/>
                        <a:pt x="12473" y="31"/>
                      </a:cubicBezTo>
                      <a:cubicBezTo>
                        <a:pt x="19698" y="-467"/>
                        <a:pt x="25926" y="5138"/>
                        <a:pt x="26300"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9" name="Graphic 2987">
                <a:extLst>
                  <a:ext uri="{FF2B5EF4-FFF2-40B4-BE49-F238E27FC236}">
                    <a16:creationId xmlns:a16="http://schemas.microsoft.com/office/drawing/2014/main" id="{D9024C7C-D239-064C-B380-F8D031C51F7F}"/>
                  </a:ext>
                </a:extLst>
              </p:cNvPr>
              <p:cNvGrpSpPr/>
              <p:nvPr/>
            </p:nvGrpSpPr>
            <p:grpSpPr>
              <a:xfrm>
                <a:off x="6608265" y="1841891"/>
                <a:ext cx="32544" cy="148894"/>
                <a:chOff x="6608265" y="1841891"/>
                <a:chExt cx="32544" cy="148894"/>
              </a:xfrm>
              <a:grpFill/>
            </p:grpSpPr>
            <p:sp>
              <p:nvSpPr>
                <p:cNvPr id="6438" name="Freeform 7714">
                  <a:extLst>
                    <a:ext uri="{FF2B5EF4-FFF2-40B4-BE49-F238E27FC236}">
                      <a16:creationId xmlns:a16="http://schemas.microsoft.com/office/drawing/2014/main" id="{A1B11AE8-1A05-FDFF-1B60-E147671E8083}"/>
                    </a:ext>
                  </a:extLst>
                </p:cNvPr>
                <p:cNvSpPr/>
                <p:nvPr/>
              </p:nvSpPr>
              <p:spPr>
                <a:xfrm>
                  <a:off x="6627278" y="1918138"/>
                  <a:ext cx="5033" cy="52065"/>
                </a:xfrm>
                <a:custGeom>
                  <a:avLst/>
                  <a:gdLst>
                    <a:gd name="connsiteX0" fmla="*/ 3425 w 5033"/>
                    <a:gd name="connsiteY0" fmla="*/ 52065 h 52065"/>
                    <a:gd name="connsiteX1" fmla="*/ 4546 w 5033"/>
                    <a:gd name="connsiteY1" fmla="*/ 33257 h 52065"/>
                    <a:gd name="connsiteX2" fmla="*/ 312 w 5033"/>
                    <a:gd name="connsiteY2" fmla="*/ 16442 h 52065"/>
                    <a:gd name="connsiteX3" fmla="*/ 1681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52065"/>
                      </a:moveTo>
                      <a:cubicBezTo>
                        <a:pt x="5543" y="43844"/>
                        <a:pt x="5169" y="37492"/>
                        <a:pt x="4546" y="33257"/>
                      </a:cubicBezTo>
                      <a:cubicBezTo>
                        <a:pt x="3425" y="26406"/>
                        <a:pt x="1183"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9" name="Freeform 7715">
                  <a:extLst>
                    <a:ext uri="{FF2B5EF4-FFF2-40B4-BE49-F238E27FC236}">
                      <a16:creationId xmlns:a16="http://schemas.microsoft.com/office/drawing/2014/main" id="{937FB27E-F3F3-F798-41F7-40029B4BFB55}"/>
                    </a:ext>
                  </a:extLst>
                </p:cNvPr>
                <p:cNvSpPr/>
                <p:nvPr/>
              </p:nvSpPr>
              <p:spPr>
                <a:xfrm>
                  <a:off x="6620614" y="1923618"/>
                  <a:ext cx="3237" cy="52065"/>
                </a:xfrm>
                <a:custGeom>
                  <a:avLst/>
                  <a:gdLst>
                    <a:gd name="connsiteX0" fmla="*/ 0 w 3237"/>
                    <a:gd name="connsiteY0" fmla="*/ 0 h 52065"/>
                    <a:gd name="connsiteX1" fmla="*/ 2865 w 3237"/>
                    <a:gd name="connsiteY1" fmla="*/ 18559 h 52065"/>
                    <a:gd name="connsiteX2" fmla="*/ 249 w 3237"/>
                    <a:gd name="connsiteY2" fmla="*/ 35873 h 52065"/>
                    <a:gd name="connsiteX3" fmla="*/ 3238 w 323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7" h="52065">
                      <a:moveTo>
                        <a:pt x="0" y="0"/>
                      </a:moveTo>
                      <a:cubicBezTo>
                        <a:pt x="2865" y="7847"/>
                        <a:pt x="3114" y="14200"/>
                        <a:pt x="2865" y="18559"/>
                      </a:cubicBezTo>
                      <a:cubicBezTo>
                        <a:pt x="2366" y="25534"/>
                        <a:pt x="373" y="28773"/>
                        <a:pt x="249" y="35873"/>
                      </a:cubicBezTo>
                      <a:cubicBezTo>
                        <a:pt x="124" y="42723"/>
                        <a:pt x="1743" y="48453"/>
                        <a:pt x="323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0" name="Freeform 7716">
                  <a:extLst>
                    <a:ext uri="{FF2B5EF4-FFF2-40B4-BE49-F238E27FC236}">
                      <a16:creationId xmlns:a16="http://schemas.microsoft.com/office/drawing/2014/main" id="{F983377F-2E8B-D153-2A8F-92FBA0721E01}"/>
                    </a:ext>
                  </a:extLst>
                </p:cNvPr>
                <p:cNvSpPr/>
                <p:nvPr/>
              </p:nvSpPr>
              <p:spPr>
                <a:xfrm>
                  <a:off x="6614120" y="1964193"/>
                  <a:ext cx="26690" cy="26591"/>
                </a:xfrm>
                <a:custGeom>
                  <a:avLst/>
                  <a:gdLst>
                    <a:gd name="connsiteX0" fmla="*/ 17 w 26690"/>
                    <a:gd name="connsiteY0" fmla="*/ 13981 h 26591"/>
                    <a:gd name="connsiteX1" fmla="*/ 12722 w 26690"/>
                    <a:gd name="connsiteY1" fmla="*/ 31 h 26591"/>
                    <a:gd name="connsiteX2" fmla="*/ 26673 w 26690"/>
                    <a:gd name="connsiteY2" fmla="*/ 12487 h 26591"/>
                    <a:gd name="connsiteX3" fmla="*/ 13968 w 26690"/>
                    <a:gd name="connsiteY3" fmla="*/ 26562 h 26591"/>
                    <a:gd name="connsiteX4" fmla="*/ 17 w 26690"/>
                    <a:gd name="connsiteY4" fmla="*/ 13981 h 2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1">
                      <a:moveTo>
                        <a:pt x="17" y="13981"/>
                      </a:moveTo>
                      <a:cubicBezTo>
                        <a:pt x="-357" y="6632"/>
                        <a:pt x="5373" y="529"/>
                        <a:pt x="12722" y="31"/>
                      </a:cubicBezTo>
                      <a:cubicBezTo>
                        <a:pt x="20071" y="-467"/>
                        <a:pt x="26299" y="5138"/>
                        <a:pt x="26673" y="12487"/>
                      </a:cubicBezTo>
                      <a:cubicBezTo>
                        <a:pt x="27046" y="19835"/>
                        <a:pt x="21316" y="26063"/>
                        <a:pt x="13968" y="26562"/>
                      </a:cubicBezTo>
                      <a:cubicBezTo>
                        <a:pt x="6618" y="27060"/>
                        <a:pt x="267" y="21330"/>
                        <a:pt x="17" y="13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1" name="Freeform 7717">
                  <a:extLst>
                    <a:ext uri="{FF2B5EF4-FFF2-40B4-BE49-F238E27FC236}">
                      <a16:creationId xmlns:a16="http://schemas.microsoft.com/office/drawing/2014/main" id="{1E2A9E8A-30BC-82C7-16CF-2C79ED63E6D6}"/>
                    </a:ext>
                  </a:extLst>
                </p:cNvPr>
                <p:cNvSpPr/>
                <p:nvPr/>
              </p:nvSpPr>
              <p:spPr>
                <a:xfrm>
                  <a:off x="6616514" y="1862460"/>
                  <a:ext cx="5033" cy="52065"/>
                </a:xfrm>
                <a:custGeom>
                  <a:avLst/>
                  <a:gdLst>
                    <a:gd name="connsiteX0" fmla="*/ 1608 w 5033"/>
                    <a:gd name="connsiteY0" fmla="*/ 0 h 52065"/>
                    <a:gd name="connsiteX1" fmla="*/ 487 w 5033"/>
                    <a:gd name="connsiteY1" fmla="*/ 18808 h 52065"/>
                    <a:gd name="connsiteX2" fmla="*/ 4722 w 5033"/>
                    <a:gd name="connsiteY2" fmla="*/ 35624 h 52065"/>
                    <a:gd name="connsiteX3" fmla="*/ 335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0"/>
                      </a:moveTo>
                      <a:cubicBezTo>
                        <a:pt x="-510" y="8221"/>
                        <a:pt x="-136" y="14573"/>
                        <a:pt x="487" y="18808"/>
                      </a:cubicBezTo>
                      <a:cubicBezTo>
                        <a:pt x="1608" y="25659"/>
                        <a:pt x="3850" y="28648"/>
                        <a:pt x="4722" y="35624"/>
                      </a:cubicBezTo>
                      <a:cubicBezTo>
                        <a:pt x="5594" y="42474"/>
                        <a:pt x="4473" y="48328"/>
                        <a:pt x="335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2" name="Freeform 7718">
                  <a:extLst>
                    <a:ext uri="{FF2B5EF4-FFF2-40B4-BE49-F238E27FC236}">
                      <a16:creationId xmlns:a16="http://schemas.microsoft.com/office/drawing/2014/main" id="{1E160791-068B-A6ED-5C97-8F26DEE35D2D}"/>
                    </a:ext>
                  </a:extLst>
                </p:cNvPr>
                <p:cNvSpPr/>
                <p:nvPr/>
              </p:nvSpPr>
              <p:spPr>
                <a:xfrm>
                  <a:off x="6624973" y="1856980"/>
                  <a:ext cx="3238" cy="52065"/>
                </a:xfrm>
                <a:custGeom>
                  <a:avLst/>
                  <a:gdLst>
                    <a:gd name="connsiteX0" fmla="*/ 3239 w 3238"/>
                    <a:gd name="connsiteY0" fmla="*/ 52065 h 52065"/>
                    <a:gd name="connsiteX1" fmla="*/ 373 w 3238"/>
                    <a:gd name="connsiteY1" fmla="*/ 33506 h 52065"/>
                    <a:gd name="connsiteX2" fmla="*/ 2989 w 3238"/>
                    <a:gd name="connsiteY2" fmla="*/ 16192 h 52065"/>
                    <a:gd name="connsiteX3" fmla="*/ 0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3239" y="52065"/>
                      </a:moveTo>
                      <a:cubicBezTo>
                        <a:pt x="373" y="44218"/>
                        <a:pt x="125" y="37865"/>
                        <a:pt x="373" y="33506"/>
                      </a:cubicBezTo>
                      <a:cubicBezTo>
                        <a:pt x="872" y="26531"/>
                        <a:pt x="2740"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3" name="Freeform 7719">
                  <a:extLst>
                    <a:ext uri="{FF2B5EF4-FFF2-40B4-BE49-F238E27FC236}">
                      <a16:creationId xmlns:a16="http://schemas.microsoft.com/office/drawing/2014/main" id="{D26CD08F-6222-71F3-3697-E186EF7C19AF}"/>
                    </a:ext>
                  </a:extLst>
                </p:cNvPr>
                <p:cNvSpPr/>
                <p:nvPr/>
              </p:nvSpPr>
              <p:spPr>
                <a:xfrm>
                  <a:off x="6608265" y="1841891"/>
                  <a:ext cx="26441" cy="26578"/>
                </a:xfrm>
                <a:custGeom>
                  <a:avLst/>
                  <a:gdLst>
                    <a:gd name="connsiteX0" fmla="*/ 26424 w 26441"/>
                    <a:gd name="connsiteY0" fmla="*/ 12473 h 26578"/>
                    <a:gd name="connsiteX1" fmla="*/ 13844 w 26441"/>
                    <a:gd name="connsiteY1" fmla="*/ 26548 h 26578"/>
                    <a:gd name="connsiteX2" fmla="*/ 18 w 26441"/>
                    <a:gd name="connsiteY2" fmla="*/ 13968 h 26578"/>
                    <a:gd name="connsiteX3" fmla="*/ 12598 w 26441"/>
                    <a:gd name="connsiteY3" fmla="*/ 18 h 26578"/>
                    <a:gd name="connsiteX4" fmla="*/ 26424 w 26441"/>
                    <a:gd name="connsiteY4" fmla="*/ 12473 h 2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8">
                      <a:moveTo>
                        <a:pt x="26424" y="12473"/>
                      </a:moveTo>
                      <a:cubicBezTo>
                        <a:pt x="26798" y="19822"/>
                        <a:pt x="21193" y="26050"/>
                        <a:pt x="13844" y="26548"/>
                      </a:cubicBezTo>
                      <a:cubicBezTo>
                        <a:pt x="6620" y="27047"/>
                        <a:pt x="392" y="21317"/>
                        <a:pt x="18" y="13968"/>
                      </a:cubicBezTo>
                      <a:cubicBezTo>
                        <a:pt x="-356" y="6619"/>
                        <a:pt x="5250" y="516"/>
                        <a:pt x="12598" y="18"/>
                      </a:cubicBezTo>
                      <a:cubicBezTo>
                        <a:pt x="19823" y="-356"/>
                        <a:pt x="26051" y="5249"/>
                        <a:pt x="26424"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0" name="Graphic 2987">
                <a:extLst>
                  <a:ext uri="{FF2B5EF4-FFF2-40B4-BE49-F238E27FC236}">
                    <a16:creationId xmlns:a16="http://schemas.microsoft.com/office/drawing/2014/main" id="{276C25DD-0551-2245-7A4E-7AC8D40EFB85}"/>
                  </a:ext>
                </a:extLst>
              </p:cNvPr>
              <p:cNvGrpSpPr/>
              <p:nvPr/>
            </p:nvGrpSpPr>
            <p:grpSpPr>
              <a:xfrm>
                <a:off x="6578745" y="1843146"/>
                <a:ext cx="32170" cy="148746"/>
                <a:chOff x="6578745" y="1843146"/>
                <a:chExt cx="32170" cy="148746"/>
              </a:xfrm>
              <a:grpFill/>
            </p:grpSpPr>
            <p:sp>
              <p:nvSpPr>
                <p:cNvPr id="6432" name="Freeform 7721">
                  <a:extLst>
                    <a:ext uri="{FF2B5EF4-FFF2-40B4-BE49-F238E27FC236}">
                      <a16:creationId xmlns:a16="http://schemas.microsoft.com/office/drawing/2014/main" id="{F8A7082A-AC57-3E2E-7D55-92FC186D1899}"/>
                    </a:ext>
                  </a:extLst>
                </p:cNvPr>
                <p:cNvSpPr/>
                <p:nvPr/>
              </p:nvSpPr>
              <p:spPr>
                <a:xfrm>
                  <a:off x="6597525" y="1919383"/>
                  <a:ext cx="5016" cy="52189"/>
                </a:xfrm>
                <a:custGeom>
                  <a:avLst/>
                  <a:gdLst>
                    <a:gd name="connsiteX0" fmla="*/ 3409 w 5016"/>
                    <a:gd name="connsiteY0" fmla="*/ 52190 h 52189"/>
                    <a:gd name="connsiteX1" fmla="*/ 4529 w 5016"/>
                    <a:gd name="connsiteY1" fmla="*/ 33381 h 52189"/>
                    <a:gd name="connsiteX2" fmla="*/ 295 w 5016"/>
                    <a:gd name="connsiteY2" fmla="*/ 16442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90"/>
                      </a:moveTo>
                      <a:cubicBezTo>
                        <a:pt x="5526" y="44093"/>
                        <a:pt x="5153" y="37741"/>
                        <a:pt x="4529" y="33381"/>
                      </a:cubicBezTo>
                      <a:cubicBezTo>
                        <a:pt x="3409" y="26406"/>
                        <a:pt x="1167" y="23541"/>
                        <a:pt x="295" y="16442"/>
                      </a:cubicBezTo>
                      <a:cubicBezTo>
                        <a:pt x="-577" y="9591"/>
                        <a:pt x="668" y="3861"/>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3" name="Freeform 7722">
                  <a:extLst>
                    <a:ext uri="{FF2B5EF4-FFF2-40B4-BE49-F238E27FC236}">
                      <a16:creationId xmlns:a16="http://schemas.microsoft.com/office/drawing/2014/main" id="{FD4F505D-EFB7-1CDA-8ECF-444693182C9D}"/>
                    </a:ext>
                  </a:extLst>
                </p:cNvPr>
                <p:cNvSpPr/>
                <p:nvPr/>
              </p:nvSpPr>
              <p:spPr>
                <a:xfrm>
                  <a:off x="6590969" y="1924739"/>
                  <a:ext cx="3113" cy="52065"/>
                </a:xfrm>
                <a:custGeom>
                  <a:avLst/>
                  <a:gdLst>
                    <a:gd name="connsiteX0" fmla="*/ 0 w 3113"/>
                    <a:gd name="connsiteY0" fmla="*/ 0 h 52065"/>
                    <a:gd name="connsiteX1" fmla="*/ 2865 w 3113"/>
                    <a:gd name="connsiteY1" fmla="*/ 18559 h 52065"/>
                    <a:gd name="connsiteX2" fmla="*/ 249 w 3113"/>
                    <a:gd name="connsiteY2" fmla="*/ 35748 h 52065"/>
                    <a:gd name="connsiteX3" fmla="*/ 3114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0" y="0"/>
                      </a:moveTo>
                      <a:cubicBezTo>
                        <a:pt x="2865" y="7972"/>
                        <a:pt x="3114" y="14324"/>
                        <a:pt x="2865" y="18559"/>
                      </a:cubicBezTo>
                      <a:cubicBezTo>
                        <a:pt x="2367" y="25534"/>
                        <a:pt x="373" y="28648"/>
                        <a:pt x="249" y="35748"/>
                      </a:cubicBezTo>
                      <a:cubicBezTo>
                        <a:pt x="124" y="42599"/>
                        <a:pt x="1743" y="48328"/>
                        <a:pt x="31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4" name="Freeform 7723">
                  <a:extLst>
                    <a:ext uri="{FF2B5EF4-FFF2-40B4-BE49-F238E27FC236}">
                      <a16:creationId xmlns:a16="http://schemas.microsoft.com/office/drawing/2014/main" id="{7305B503-BC51-E796-BC23-8CE1BBC4006F}"/>
                    </a:ext>
                  </a:extLst>
                </p:cNvPr>
                <p:cNvSpPr/>
                <p:nvPr/>
              </p:nvSpPr>
              <p:spPr>
                <a:xfrm>
                  <a:off x="6584225" y="1965462"/>
                  <a:ext cx="26690" cy="26431"/>
                </a:xfrm>
                <a:custGeom>
                  <a:avLst/>
                  <a:gdLst>
                    <a:gd name="connsiteX0" fmla="*/ 17 w 26690"/>
                    <a:gd name="connsiteY0" fmla="*/ 13709 h 26431"/>
                    <a:gd name="connsiteX1" fmla="*/ 12722 w 26690"/>
                    <a:gd name="connsiteY1" fmla="*/ 8 h 26431"/>
                    <a:gd name="connsiteX2" fmla="*/ 26673 w 26690"/>
                    <a:gd name="connsiteY2" fmla="*/ 12713 h 26431"/>
                    <a:gd name="connsiteX3" fmla="*/ 13968 w 26690"/>
                    <a:gd name="connsiteY3" fmla="*/ 26414 h 26431"/>
                    <a:gd name="connsiteX4" fmla="*/ 17 w 26690"/>
                    <a:gd name="connsiteY4" fmla="*/ 13709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31">
                      <a:moveTo>
                        <a:pt x="17" y="13709"/>
                      </a:moveTo>
                      <a:cubicBezTo>
                        <a:pt x="-356" y="6360"/>
                        <a:pt x="5373" y="257"/>
                        <a:pt x="12722" y="8"/>
                      </a:cubicBezTo>
                      <a:cubicBezTo>
                        <a:pt x="20071" y="-241"/>
                        <a:pt x="26299" y="5488"/>
                        <a:pt x="26673" y="12713"/>
                      </a:cubicBezTo>
                      <a:cubicBezTo>
                        <a:pt x="27047" y="20062"/>
                        <a:pt x="21317" y="26165"/>
                        <a:pt x="13968" y="26414"/>
                      </a:cubicBezTo>
                      <a:cubicBezTo>
                        <a:pt x="6619" y="26788"/>
                        <a:pt x="391" y="21058"/>
                        <a:pt x="1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5" name="Freeform 7724">
                  <a:extLst>
                    <a:ext uri="{FF2B5EF4-FFF2-40B4-BE49-F238E27FC236}">
                      <a16:creationId xmlns:a16="http://schemas.microsoft.com/office/drawing/2014/main" id="{909A0C90-14D7-3E02-8168-FE769B177166}"/>
                    </a:ext>
                  </a:extLst>
                </p:cNvPr>
                <p:cNvSpPr/>
                <p:nvPr/>
              </p:nvSpPr>
              <p:spPr>
                <a:xfrm>
                  <a:off x="6587119" y="1863706"/>
                  <a:ext cx="4965" cy="52189"/>
                </a:xfrm>
                <a:custGeom>
                  <a:avLst/>
                  <a:gdLst>
                    <a:gd name="connsiteX0" fmla="*/ 1608 w 4965"/>
                    <a:gd name="connsiteY0" fmla="*/ 0 h 52189"/>
                    <a:gd name="connsiteX1" fmla="*/ 487 w 4965"/>
                    <a:gd name="connsiteY1" fmla="*/ 18808 h 52189"/>
                    <a:gd name="connsiteX2" fmla="*/ 4722 w 4965"/>
                    <a:gd name="connsiteY2" fmla="*/ 35748 h 52189"/>
                    <a:gd name="connsiteX3" fmla="*/ 3352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1608" y="0"/>
                      </a:moveTo>
                      <a:cubicBezTo>
                        <a:pt x="-510" y="8096"/>
                        <a:pt x="-136" y="14449"/>
                        <a:pt x="487" y="18808"/>
                      </a:cubicBezTo>
                      <a:cubicBezTo>
                        <a:pt x="1608" y="25783"/>
                        <a:pt x="3850" y="28648"/>
                        <a:pt x="4722" y="35748"/>
                      </a:cubicBezTo>
                      <a:cubicBezTo>
                        <a:pt x="5470" y="42599"/>
                        <a:pt x="4348" y="48328"/>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6" name="Freeform 7725">
                  <a:extLst>
                    <a:ext uri="{FF2B5EF4-FFF2-40B4-BE49-F238E27FC236}">
                      <a16:creationId xmlns:a16="http://schemas.microsoft.com/office/drawing/2014/main" id="{87D63DB8-22B2-0627-BC2A-89884E76FF24}"/>
                    </a:ext>
                  </a:extLst>
                </p:cNvPr>
                <p:cNvSpPr/>
                <p:nvPr/>
              </p:nvSpPr>
              <p:spPr>
                <a:xfrm>
                  <a:off x="6595453" y="1858350"/>
                  <a:ext cx="3113" cy="52065"/>
                </a:xfrm>
                <a:custGeom>
                  <a:avLst/>
                  <a:gdLst>
                    <a:gd name="connsiteX0" fmla="*/ 3114 w 3113"/>
                    <a:gd name="connsiteY0" fmla="*/ 52065 h 52065"/>
                    <a:gd name="connsiteX1" fmla="*/ 249 w 3113"/>
                    <a:gd name="connsiteY1" fmla="*/ 33506 h 52065"/>
                    <a:gd name="connsiteX2" fmla="*/ 2865 w 3113"/>
                    <a:gd name="connsiteY2" fmla="*/ 16317 h 52065"/>
                    <a:gd name="connsiteX3" fmla="*/ 0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52065"/>
                      </a:moveTo>
                      <a:cubicBezTo>
                        <a:pt x="249" y="44093"/>
                        <a:pt x="0"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7" name="Freeform 7726">
                  <a:extLst>
                    <a:ext uri="{FF2B5EF4-FFF2-40B4-BE49-F238E27FC236}">
                      <a16:creationId xmlns:a16="http://schemas.microsoft.com/office/drawing/2014/main" id="{B317593A-C908-7837-82E1-F7A033563D29}"/>
                    </a:ext>
                  </a:extLst>
                </p:cNvPr>
                <p:cNvSpPr/>
                <p:nvPr/>
              </p:nvSpPr>
              <p:spPr>
                <a:xfrm>
                  <a:off x="6578745" y="1843146"/>
                  <a:ext cx="26441" cy="26546"/>
                </a:xfrm>
                <a:custGeom>
                  <a:avLst/>
                  <a:gdLst>
                    <a:gd name="connsiteX0" fmla="*/ 26423 w 26441"/>
                    <a:gd name="connsiteY0" fmla="*/ 12837 h 26546"/>
                    <a:gd name="connsiteX1" fmla="*/ 13844 w 26441"/>
                    <a:gd name="connsiteY1" fmla="*/ 26539 h 26546"/>
                    <a:gd name="connsiteX2" fmla="*/ 17 w 26441"/>
                    <a:gd name="connsiteY2" fmla="*/ 13709 h 26546"/>
                    <a:gd name="connsiteX3" fmla="*/ 12598 w 26441"/>
                    <a:gd name="connsiteY3" fmla="*/ 8 h 26546"/>
                    <a:gd name="connsiteX4" fmla="*/ 26423 w 2644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3" y="12837"/>
                      </a:moveTo>
                      <a:cubicBezTo>
                        <a:pt x="26797" y="20186"/>
                        <a:pt x="21192" y="26290"/>
                        <a:pt x="13844" y="26539"/>
                      </a:cubicBezTo>
                      <a:cubicBezTo>
                        <a:pt x="6495" y="26788"/>
                        <a:pt x="391" y="21058"/>
                        <a:pt x="17" y="13709"/>
                      </a:cubicBezTo>
                      <a:cubicBezTo>
                        <a:pt x="-356" y="6360"/>
                        <a:pt x="5373" y="257"/>
                        <a:pt x="12598" y="8"/>
                      </a:cubicBezTo>
                      <a:cubicBezTo>
                        <a:pt x="19947" y="-241"/>
                        <a:pt x="26050"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1" name="Graphic 2987">
                <a:extLst>
                  <a:ext uri="{FF2B5EF4-FFF2-40B4-BE49-F238E27FC236}">
                    <a16:creationId xmlns:a16="http://schemas.microsoft.com/office/drawing/2014/main" id="{F6384B43-414E-D854-3702-4517C7218D0F}"/>
                  </a:ext>
                </a:extLst>
              </p:cNvPr>
              <p:cNvGrpSpPr/>
              <p:nvPr/>
            </p:nvGrpSpPr>
            <p:grpSpPr>
              <a:xfrm>
                <a:off x="6549225" y="1844267"/>
                <a:ext cx="31921" cy="148737"/>
                <a:chOff x="6549225" y="1844267"/>
                <a:chExt cx="31921" cy="148737"/>
              </a:xfrm>
              <a:grpFill/>
            </p:grpSpPr>
            <p:sp>
              <p:nvSpPr>
                <p:cNvPr id="6426" name="Freeform 7728">
                  <a:extLst>
                    <a:ext uri="{FF2B5EF4-FFF2-40B4-BE49-F238E27FC236}">
                      <a16:creationId xmlns:a16="http://schemas.microsoft.com/office/drawing/2014/main" id="{813B4039-C0FB-4D74-FBEC-0B1AA82F4073}"/>
                    </a:ext>
                  </a:extLst>
                </p:cNvPr>
                <p:cNvSpPr/>
                <p:nvPr/>
              </p:nvSpPr>
              <p:spPr>
                <a:xfrm>
                  <a:off x="6567808" y="1920380"/>
                  <a:ext cx="5016" cy="52189"/>
                </a:xfrm>
                <a:custGeom>
                  <a:avLst/>
                  <a:gdLst>
                    <a:gd name="connsiteX0" fmla="*/ 3356 w 5016"/>
                    <a:gd name="connsiteY0" fmla="*/ 52190 h 52189"/>
                    <a:gd name="connsiteX1" fmla="*/ 4477 w 5016"/>
                    <a:gd name="connsiteY1" fmla="*/ 33381 h 52189"/>
                    <a:gd name="connsiteX2" fmla="*/ 242 w 5016"/>
                    <a:gd name="connsiteY2" fmla="*/ 16442 h 52189"/>
                    <a:gd name="connsiteX3" fmla="*/ 1737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356" y="52190"/>
                      </a:moveTo>
                      <a:cubicBezTo>
                        <a:pt x="5473" y="44093"/>
                        <a:pt x="5225" y="37741"/>
                        <a:pt x="4477" y="33381"/>
                      </a:cubicBezTo>
                      <a:cubicBezTo>
                        <a:pt x="3356" y="26406"/>
                        <a:pt x="1114"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7" name="Freeform 7729">
                  <a:extLst>
                    <a:ext uri="{FF2B5EF4-FFF2-40B4-BE49-F238E27FC236}">
                      <a16:creationId xmlns:a16="http://schemas.microsoft.com/office/drawing/2014/main" id="{FEA99283-9006-FEAF-E64C-C56450B40529}"/>
                    </a:ext>
                  </a:extLst>
                </p:cNvPr>
                <p:cNvSpPr/>
                <p:nvPr/>
              </p:nvSpPr>
              <p:spPr>
                <a:xfrm>
                  <a:off x="6561300" y="1925860"/>
                  <a:ext cx="2899" cy="52065"/>
                </a:xfrm>
                <a:custGeom>
                  <a:avLst/>
                  <a:gdLst>
                    <a:gd name="connsiteX0" fmla="*/ 24 w 2899"/>
                    <a:gd name="connsiteY0" fmla="*/ 0 h 52065"/>
                    <a:gd name="connsiteX1" fmla="*/ 2764 w 2899"/>
                    <a:gd name="connsiteY1" fmla="*/ 18559 h 52065"/>
                    <a:gd name="connsiteX2" fmla="*/ 24 w 2899"/>
                    <a:gd name="connsiteY2" fmla="*/ 35748 h 52065"/>
                    <a:gd name="connsiteX3" fmla="*/ 2889 w 289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9" h="52065">
                      <a:moveTo>
                        <a:pt x="24" y="0"/>
                      </a:moveTo>
                      <a:cubicBezTo>
                        <a:pt x="2889" y="7972"/>
                        <a:pt x="3138" y="14324"/>
                        <a:pt x="2764" y="18559"/>
                      </a:cubicBezTo>
                      <a:cubicBezTo>
                        <a:pt x="2266" y="25534"/>
                        <a:pt x="273" y="28648"/>
                        <a:pt x="24" y="35748"/>
                      </a:cubicBezTo>
                      <a:cubicBezTo>
                        <a:pt x="-225" y="42599"/>
                        <a:pt x="1519" y="48328"/>
                        <a:pt x="288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8" name="Freeform 7730">
                  <a:extLst>
                    <a:ext uri="{FF2B5EF4-FFF2-40B4-BE49-F238E27FC236}">
                      <a16:creationId xmlns:a16="http://schemas.microsoft.com/office/drawing/2014/main" id="{A25E57DA-97AC-F390-76CA-F5DFD6082FCC}"/>
                    </a:ext>
                  </a:extLst>
                </p:cNvPr>
                <p:cNvSpPr/>
                <p:nvPr/>
              </p:nvSpPr>
              <p:spPr>
                <a:xfrm>
                  <a:off x="6554465" y="1966583"/>
                  <a:ext cx="26680" cy="26422"/>
                </a:xfrm>
                <a:custGeom>
                  <a:avLst/>
                  <a:gdLst>
                    <a:gd name="connsiteX0" fmla="*/ 8 w 26680"/>
                    <a:gd name="connsiteY0" fmla="*/ 13709 h 26422"/>
                    <a:gd name="connsiteX1" fmla="*/ 12713 w 26680"/>
                    <a:gd name="connsiteY1" fmla="*/ 8 h 26422"/>
                    <a:gd name="connsiteX2" fmla="*/ 26663 w 26680"/>
                    <a:gd name="connsiteY2" fmla="*/ 12713 h 26422"/>
                    <a:gd name="connsiteX3" fmla="*/ 13959 w 26680"/>
                    <a:gd name="connsiteY3" fmla="*/ 26414 h 26422"/>
                    <a:gd name="connsiteX4" fmla="*/ 8 w 26680"/>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422">
                      <a:moveTo>
                        <a:pt x="8" y="13709"/>
                      </a:moveTo>
                      <a:cubicBezTo>
                        <a:pt x="-241" y="6360"/>
                        <a:pt x="5365" y="257"/>
                        <a:pt x="12713" y="8"/>
                      </a:cubicBezTo>
                      <a:cubicBezTo>
                        <a:pt x="20062" y="-241"/>
                        <a:pt x="26290" y="5488"/>
                        <a:pt x="26663" y="12713"/>
                      </a:cubicBezTo>
                      <a:cubicBezTo>
                        <a:pt x="27038" y="20062"/>
                        <a:pt x="21308" y="26165"/>
                        <a:pt x="13959" y="26414"/>
                      </a:cubicBezTo>
                      <a:cubicBezTo>
                        <a:pt x="6610" y="26663"/>
                        <a:pt x="38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9" name="Freeform 7731">
                  <a:extLst>
                    <a:ext uri="{FF2B5EF4-FFF2-40B4-BE49-F238E27FC236}">
                      <a16:creationId xmlns:a16="http://schemas.microsoft.com/office/drawing/2014/main" id="{821C60BF-07F9-F9FF-C567-368DF89C32E9}"/>
                    </a:ext>
                  </a:extLst>
                </p:cNvPr>
                <p:cNvSpPr/>
                <p:nvPr/>
              </p:nvSpPr>
              <p:spPr>
                <a:xfrm>
                  <a:off x="6557546" y="1864702"/>
                  <a:ext cx="4892" cy="52189"/>
                </a:xfrm>
                <a:custGeom>
                  <a:avLst/>
                  <a:gdLst>
                    <a:gd name="connsiteX0" fmla="*/ 1660 w 4892"/>
                    <a:gd name="connsiteY0" fmla="*/ 0 h 52189"/>
                    <a:gd name="connsiteX1" fmla="*/ 540 w 4892"/>
                    <a:gd name="connsiteY1" fmla="*/ 18808 h 52189"/>
                    <a:gd name="connsiteX2" fmla="*/ 4650 w 4892"/>
                    <a:gd name="connsiteY2" fmla="*/ 35748 h 52189"/>
                    <a:gd name="connsiteX3" fmla="*/ 3155 w 48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0"/>
                      </a:moveTo>
                      <a:cubicBezTo>
                        <a:pt x="-457" y="8096"/>
                        <a:pt x="-208" y="14449"/>
                        <a:pt x="540" y="18808"/>
                      </a:cubicBezTo>
                      <a:cubicBezTo>
                        <a:pt x="1660" y="25783"/>
                        <a:pt x="3903" y="28648"/>
                        <a:pt x="4650" y="35748"/>
                      </a:cubicBezTo>
                      <a:cubicBezTo>
                        <a:pt x="5398" y="42599"/>
                        <a:pt x="4276" y="48328"/>
                        <a:pt x="31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0" name="Freeform 7732">
                  <a:extLst>
                    <a:ext uri="{FF2B5EF4-FFF2-40B4-BE49-F238E27FC236}">
                      <a16:creationId xmlns:a16="http://schemas.microsoft.com/office/drawing/2014/main" id="{4D6F7ED9-9AE3-142E-441F-ECC1296DB397}"/>
                    </a:ext>
                  </a:extLst>
                </p:cNvPr>
                <p:cNvSpPr/>
                <p:nvPr/>
              </p:nvSpPr>
              <p:spPr>
                <a:xfrm>
                  <a:off x="6565933" y="1859471"/>
                  <a:ext cx="2989" cy="52065"/>
                </a:xfrm>
                <a:custGeom>
                  <a:avLst/>
                  <a:gdLst>
                    <a:gd name="connsiteX0" fmla="*/ 2989 w 2989"/>
                    <a:gd name="connsiteY0" fmla="*/ 52065 h 52065"/>
                    <a:gd name="connsiteX1" fmla="*/ 249 w 2989"/>
                    <a:gd name="connsiteY1" fmla="*/ 33506 h 52065"/>
                    <a:gd name="connsiteX2" fmla="*/ 2865 w 2989"/>
                    <a:gd name="connsiteY2" fmla="*/ 16317 h 52065"/>
                    <a:gd name="connsiteX3" fmla="*/ 0 w 2989"/>
                    <a:gd name="connsiteY3" fmla="*/ 0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52065"/>
                      </a:moveTo>
                      <a:cubicBezTo>
                        <a:pt x="125" y="44093"/>
                        <a:pt x="-125"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1" name="Freeform 7733">
                  <a:extLst>
                    <a:ext uri="{FF2B5EF4-FFF2-40B4-BE49-F238E27FC236}">
                      <a16:creationId xmlns:a16="http://schemas.microsoft.com/office/drawing/2014/main" id="{97272391-6D82-8564-AF85-3233DD836C2F}"/>
                    </a:ext>
                  </a:extLst>
                </p:cNvPr>
                <p:cNvSpPr/>
                <p:nvPr/>
              </p:nvSpPr>
              <p:spPr>
                <a:xfrm>
                  <a:off x="6549225" y="1844267"/>
                  <a:ext cx="26440" cy="26546"/>
                </a:xfrm>
                <a:custGeom>
                  <a:avLst/>
                  <a:gdLst>
                    <a:gd name="connsiteX0" fmla="*/ 26423 w 26440"/>
                    <a:gd name="connsiteY0" fmla="*/ 12837 h 26546"/>
                    <a:gd name="connsiteX1" fmla="*/ 13843 w 26440"/>
                    <a:gd name="connsiteY1" fmla="*/ 26539 h 26546"/>
                    <a:gd name="connsiteX2" fmla="*/ 17 w 26440"/>
                    <a:gd name="connsiteY2" fmla="*/ 13709 h 26546"/>
                    <a:gd name="connsiteX3" fmla="*/ 12598 w 26440"/>
                    <a:gd name="connsiteY3" fmla="*/ 8 h 26546"/>
                    <a:gd name="connsiteX4" fmla="*/ 26423 w 2644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0" h="26545">
                      <a:moveTo>
                        <a:pt x="26423" y="12837"/>
                      </a:moveTo>
                      <a:cubicBezTo>
                        <a:pt x="26797" y="20186"/>
                        <a:pt x="21068" y="26290"/>
                        <a:pt x="13843" y="26539"/>
                      </a:cubicBezTo>
                      <a:cubicBezTo>
                        <a:pt x="6619" y="26788"/>
                        <a:pt x="391" y="21058"/>
                        <a:pt x="17" y="13709"/>
                      </a:cubicBezTo>
                      <a:cubicBezTo>
                        <a:pt x="-356" y="6360"/>
                        <a:pt x="5373" y="257"/>
                        <a:pt x="12598" y="8"/>
                      </a:cubicBezTo>
                      <a:cubicBezTo>
                        <a:pt x="19947" y="-241"/>
                        <a:pt x="26175"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2" name="Graphic 2987">
                <a:extLst>
                  <a:ext uri="{FF2B5EF4-FFF2-40B4-BE49-F238E27FC236}">
                    <a16:creationId xmlns:a16="http://schemas.microsoft.com/office/drawing/2014/main" id="{24F53091-B913-536B-2253-F31F93662B93}"/>
                  </a:ext>
                </a:extLst>
              </p:cNvPr>
              <p:cNvGrpSpPr/>
              <p:nvPr/>
            </p:nvGrpSpPr>
            <p:grpSpPr>
              <a:xfrm>
                <a:off x="6519714" y="1845264"/>
                <a:ext cx="31662" cy="148862"/>
                <a:chOff x="6519714" y="1845264"/>
                <a:chExt cx="31662" cy="148862"/>
              </a:xfrm>
              <a:grpFill/>
            </p:grpSpPr>
            <p:sp>
              <p:nvSpPr>
                <p:cNvPr id="6420" name="Freeform 7735">
                  <a:extLst>
                    <a:ext uri="{FF2B5EF4-FFF2-40B4-BE49-F238E27FC236}">
                      <a16:creationId xmlns:a16="http://schemas.microsoft.com/office/drawing/2014/main" id="{6864ECAC-92EB-CE34-20DE-26A81134806B}"/>
                    </a:ext>
                  </a:extLst>
                </p:cNvPr>
                <p:cNvSpPr/>
                <p:nvPr/>
              </p:nvSpPr>
              <p:spPr>
                <a:xfrm>
                  <a:off x="6538288" y="1921501"/>
                  <a:ext cx="4793" cy="52189"/>
                </a:xfrm>
                <a:custGeom>
                  <a:avLst/>
                  <a:gdLst>
                    <a:gd name="connsiteX0" fmla="*/ 3107 w 4793"/>
                    <a:gd name="connsiteY0" fmla="*/ 52190 h 52189"/>
                    <a:gd name="connsiteX1" fmla="*/ 4353 w 4793"/>
                    <a:gd name="connsiteY1" fmla="*/ 33381 h 52189"/>
                    <a:gd name="connsiteX2" fmla="*/ 242 w 4793"/>
                    <a:gd name="connsiteY2" fmla="*/ 16442 h 52189"/>
                    <a:gd name="connsiteX3" fmla="*/ 1737 w 4793"/>
                    <a:gd name="connsiteY3" fmla="*/ 0 h 52189"/>
                  </a:gdLst>
                  <a:ahLst/>
                  <a:cxnLst>
                    <a:cxn ang="0">
                      <a:pos x="connsiteX0" y="connsiteY0"/>
                    </a:cxn>
                    <a:cxn ang="0">
                      <a:pos x="connsiteX1" y="connsiteY1"/>
                    </a:cxn>
                    <a:cxn ang="0">
                      <a:pos x="connsiteX2" y="connsiteY2"/>
                    </a:cxn>
                    <a:cxn ang="0">
                      <a:pos x="connsiteX3" y="connsiteY3"/>
                    </a:cxn>
                  </a:cxnLst>
                  <a:rect l="l" t="t" r="r" b="b"/>
                  <a:pathLst>
                    <a:path w="4793" h="52189">
                      <a:moveTo>
                        <a:pt x="3107" y="52190"/>
                      </a:moveTo>
                      <a:cubicBezTo>
                        <a:pt x="5225" y="44093"/>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1" name="Freeform 7736">
                  <a:extLst>
                    <a:ext uri="{FF2B5EF4-FFF2-40B4-BE49-F238E27FC236}">
                      <a16:creationId xmlns:a16="http://schemas.microsoft.com/office/drawing/2014/main" id="{6B8BC0EC-9DCF-2476-B88C-00587D2112C6}"/>
                    </a:ext>
                  </a:extLst>
                </p:cNvPr>
                <p:cNvSpPr/>
                <p:nvPr/>
              </p:nvSpPr>
              <p:spPr>
                <a:xfrm>
                  <a:off x="6531654" y="1926857"/>
                  <a:ext cx="2900" cy="52065"/>
                </a:xfrm>
                <a:custGeom>
                  <a:avLst/>
                  <a:gdLst>
                    <a:gd name="connsiteX0" fmla="*/ 26 w 2900"/>
                    <a:gd name="connsiteY0" fmla="*/ 0 h 52065"/>
                    <a:gd name="connsiteX1" fmla="*/ 2765 w 2900"/>
                    <a:gd name="connsiteY1" fmla="*/ 18559 h 52065"/>
                    <a:gd name="connsiteX2" fmla="*/ 26 w 2900"/>
                    <a:gd name="connsiteY2" fmla="*/ 35748 h 52065"/>
                    <a:gd name="connsiteX3" fmla="*/ 2890 w 290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0" h="52065">
                      <a:moveTo>
                        <a:pt x="26" y="0"/>
                      </a:moveTo>
                      <a:cubicBezTo>
                        <a:pt x="2890" y="7972"/>
                        <a:pt x="3140" y="14324"/>
                        <a:pt x="2765" y="18559"/>
                      </a:cubicBezTo>
                      <a:cubicBezTo>
                        <a:pt x="2268" y="25534"/>
                        <a:pt x="274" y="28648"/>
                        <a:pt x="26" y="35748"/>
                      </a:cubicBezTo>
                      <a:cubicBezTo>
                        <a:pt x="-224" y="42599"/>
                        <a:pt x="1396" y="48328"/>
                        <a:pt x="289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2" name="Freeform 7737">
                  <a:extLst>
                    <a:ext uri="{FF2B5EF4-FFF2-40B4-BE49-F238E27FC236}">
                      <a16:creationId xmlns:a16="http://schemas.microsoft.com/office/drawing/2014/main" id="{D9C27DDB-BBFD-EDE7-25DC-AFCFC37CB3F4}"/>
                    </a:ext>
                  </a:extLst>
                </p:cNvPr>
                <p:cNvSpPr/>
                <p:nvPr/>
              </p:nvSpPr>
              <p:spPr>
                <a:xfrm>
                  <a:off x="6524697" y="1967704"/>
                  <a:ext cx="26679" cy="26421"/>
                </a:xfrm>
                <a:custGeom>
                  <a:avLst/>
                  <a:gdLst>
                    <a:gd name="connsiteX0" fmla="*/ 8 w 26679"/>
                    <a:gd name="connsiteY0" fmla="*/ 13709 h 26421"/>
                    <a:gd name="connsiteX1" fmla="*/ 12837 w 26679"/>
                    <a:gd name="connsiteY1" fmla="*/ 8 h 26421"/>
                    <a:gd name="connsiteX2" fmla="*/ 26663 w 26679"/>
                    <a:gd name="connsiteY2" fmla="*/ 12713 h 26421"/>
                    <a:gd name="connsiteX3" fmla="*/ 13834 w 26679"/>
                    <a:gd name="connsiteY3" fmla="*/ 26414 h 26421"/>
                    <a:gd name="connsiteX4" fmla="*/ 8 w 26679"/>
                    <a:gd name="connsiteY4" fmla="*/ 13709 h 2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 h="26420">
                      <a:moveTo>
                        <a:pt x="8" y="13709"/>
                      </a:moveTo>
                      <a:cubicBezTo>
                        <a:pt x="-242" y="6360"/>
                        <a:pt x="5488" y="257"/>
                        <a:pt x="12837" y="8"/>
                      </a:cubicBezTo>
                      <a:cubicBezTo>
                        <a:pt x="20186" y="-241"/>
                        <a:pt x="26414" y="5488"/>
                        <a:pt x="26663" y="12713"/>
                      </a:cubicBezTo>
                      <a:cubicBezTo>
                        <a:pt x="27037" y="20062"/>
                        <a:pt x="21307" y="26165"/>
                        <a:pt x="13834" y="26414"/>
                      </a:cubicBezTo>
                      <a:cubicBezTo>
                        <a:pt x="6484" y="26663"/>
                        <a:pt x="256"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3" name="Freeform 7738">
                  <a:extLst>
                    <a:ext uri="{FF2B5EF4-FFF2-40B4-BE49-F238E27FC236}">
                      <a16:creationId xmlns:a16="http://schemas.microsoft.com/office/drawing/2014/main" id="{CC444620-5E20-FE9D-7EBF-62DEA6EC8518}"/>
                    </a:ext>
                  </a:extLst>
                </p:cNvPr>
                <p:cNvSpPr/>
                <p:nvPr/>
              </p:nvSpPr>
              <p:spPr>
                <a:xfrm>
                  <a:off x="6528001" y="1865823"/>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3"/>
                        <a:pt x="3804"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4" name="Freeform 7739">
                  <a:extLst>
                    <a:ext uri="{FF2B5EF4-FFF2-40B4-BE49-F238E27FC236}">
                      <a16:creationId xmlns:a16="http://schemas.microsoft.com/office/drawing/2014/main" id="{0A9A05F4-7FFB-7E8F-9BBC-010AB8BD52CA}"/>
                    </a:ext>
                  </a:extLst>
                </p:cNvPr>
                <p:cNvSpPr/>
                <p:nvPr/>
              </p:nvSpPr>
              <p:spPr>
                <a:xfrm>
                  <a:off x="6536402" y="1860467"/>
                  <a:ext cx="2899" cy="52065"/>
                </a:xfrm>
                <a:custGeom>
                  <a:avLst/>
                  <a:gdLst>
                    <a:gd name="connsiteX0" fmla="*/ 2875 w 2899"/>
                    <a:gd name="connsiteY0" fmla="*/ 52065 h 52065"/>
                    <a:gd name="connsiteX1" fmla="*/ 135 w 2899"/>
                    <a:gd name="connsiteY1" fmla="*/ 33506 h 52065"/>
                    <a:gd name="connsiteX2" fmla="*/ 2875 w 2899"/>
                    <a:gd name="connsiteY2" fmla="*/ 16317 h 52065"/>
                    <a:gd name="connsiteX3" fmla="*/ 10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875" y="52065"/>
                      </a:moveTo>
                      <a:cubicBezTo>
                        <a:pt x="10" y="44093"/>
                        <a:pt x="-239" y="37741"/>
                        <a:pt x="135" y="33506"/>
                      </a:cubicBezTo>
                      <a:cubicBezTo>
                        <a:pt x="633" y="26531"/>
                        <a:pt x="2626" y="23417"/>
                        <a:pt x="2875" y="16317"/>
                      </a:cubicBezTo>
                      <a:cubicBezTo>
                        <a:pt x="3124" y="9466"/>
                        <a:pt x="1380"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5" name="Freeform 7740">
                  <a:extLst>
                    <a:ext uri="{FF2B5EF4-FFF2-40B4-BE49-F238E27FC236}">
                      <a16:creationId xmlns:a16="http://schemas.microsoft.com/office/drawing/2014/main" id="{C9EB6BEB-DF4B-78A4-575F-8E589CFE100C}"/>
                    </a:ext>
                  </a:extLst>
                </p:cNvPr>
                <p:cNvSpPr/>
                <p:nvPr/>
              </p:nvSpPr>
              <p:spPr>
                <a:xfrm>
                  <a:off x="6519714" y="1845264"/>
                  <a:ext cx="26431" cy="26546"/>
                </a:xfrm>
                <a:custGeom>
                  <a:avLst/>
                  <a:gdLst>
                    <a:gd name="connsiteX0" fmla="*/ 26414 w 26431"/>
                    <a:gd name="connsiteY0" fmla="*/ 12837 h 26546"/>
                    <a:gd name="connsiteX1" fmla="*/ 13710 w 26431"/>
                    <a:gd name="connsiteY1" fmla="*/ 26539 h 26546"/>
                    <a:gd name="connsiteX2" fmla="*/ 8 w 26431"/>
                    <a:gd name="connsiteY2" fmla="*/ 13709 h 26546"/>
                    <a:gd name="connsiteX3" fmla="*/ 12713 w 26431"/>
                    <a:gd name="connsiteY3" fmla="*/ 8 h 26546"/>
                    <a:gd name="connsiteX4" fmla="*/ 26414 w 2643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4" y="12837"/>
                      </a:moveTo>
                      <a:cubicBezTo>
                        <a:pt x="26788" y="20186"/>
                        <a:pt x="21058" y="26290"/>
                        <a:pt x="13710" y="26539"/>
                      </a:cubicBezTo>
                      <a:cubicBezTo>
                        <a:pt x="6361" y="26788"/>
                        <a:pt x="257" y="21058"/>
                        <a:pt x="8" y="13709"/>
                      </a:cubicBezTo>
                      <a:cubicBezTo>
                        <a:pt x="-241" y="6360"/>
                        <a:pt x="5364" y="257"/>
                        <a:pt x="12713" y="8"/>
                      </a:cubicBezTo>
                      <a:cubicBezTo>
                        <a:pt x="20062" y="-241"/>
                        <a:pt x="26166"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3" name="Graphic 2987">
                <a:extLst>
                  <a:ext uri="{FF2B5EF4-FFF2-40B4-BE49-F238E27FC236}">
                    <a16:creationId xmlns:a16="http://schemas.microsoft.com/office/drawing/2014/main" id="{32DFB856-6F59-09C1-FFE9-80A71AB9D20D}"/>
                  </a:ext>
                </a:extLst>
              </p:cNvPr>
              <p:cNvGrpSpPr/>
              <p:nvPr/>
            </p:nvGrpSpPr>
            <p:grpSpPr>
              <a:xfrm>
                <a:off x="6490318" y="1846385"/>
                <a:ext cx="31279" cy="148737"/>
                <a:chOff x="6490318" y="1846385"/>
                <a:chExt cx="31279" cy="148737"/>
              </a:xfrm>
              <a:grpFill/>
            </p:grpSpPr>
            <p:sp>
              <p:nvSpPr>
                <p:cNvPr id="6414" name="Freeform 7742">
                  <a:extLst>
                    <a:ext uri="{FF2B5EF4-FFF2-40B4-BE49-F238E27FC236}">
                      <a16:creationId xmlns:a16="http://schemas.microsoft.com/office/drawing/2014/main" id="{F09E4651-F744-570C-53E3-055F0244801C}"/>
                    </a:ext>
                  </a:extLst>
                </p:cNvPr>
                <p:cNvSpPr/>
                <p:nvPr/>
              </p:nvSpPr>
              <p:spPr>
                <a:xfrm>
                  <a:off x="6508519" y="1922497"/>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5" y="44093"/>
                        <a:pt x="4975" y="37741"/>
                        <a:pt x="4353" y="33381"/>
                      </a:cubicBezTo>
                      <a:cubicBezTo>
                        <a:pt x="3356" y="26406"/>
                        <a:pt x="989"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5" name="Freeform 7743">
                  <a:extLst>
                    <a:ext uri="{FF2B5EF4-FFF2-40B4-BE49-F238E27FC236}">
                      <a16:creationId xmlns:a16="http://schemas.microsoft.com/office/drawing/2014/main" id="{356ABE32-532B-F0DA-357C-99D037E2E9AF}"/>
                    </a:ext>
                  </a:extLst>
                </p:cNvPr>
                <p:cNvSpPr/>
                <p:nvPr/>
              </p:nvSpPr>
              <p:spPr>
                <a:xfrm>
                  <a:off x="6502009" y="192797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2"/>
                        <a:pt x="3015" y="14324"/>
                        <a:pt x="2766" y="18559"/>
                      </a:cubicBezTo>
                      <a:cubicBezTo>
                        <a:pt x="2268" y="25534"/>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6" name="Freeform 7744">
                  <a:extLst>
                    <a:ext uri="{FF2B5EF4-FFF2-40B4-BE49-F238E27FC236}">
                      <a16:creationId xmlns:a16="http://schemas.microsoft.com/office/drawing/2014/main" id="{5674F90E-0C4C-EBAE-95B9-9557D909A3AC}"/>
                    </a:ext>
                  </a:extLst>
                </p:cNvPr>
                <p:cNvSpPr/>
                <p:nvPr/>
              </p:nvSpPr>
              <p:spPr>
                <a:xfrm>
                  <a:off x="6494927" y="1968700"/>
                  <a:ext cx="26671" cy="26422"/>
                </a:xfrm>
                <a:custGeom>
                  <a:avLst/>
                  <a:gdLst>
                    <a:gd name="connsiteX0" fmla="*/ 8 w 26671"/>
                    <a:gd name="connsiteY0" fmla="*/ 13709 h 26422"/>
                    <a:gd name="connsiteX1" fmla="*/ 12837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2" y="6360"/>
                        <a:pt x="5488" y="257"/>
                        <a:pt x="12837" y="8"/>
                      </a:cubicBezTo>
                      <a:cubicBezTo>
                        <a:pt x="20186" y="-241"/>
                        <a:pt x="26414" y="5488"/>
                        <a:pt x="26663" y="12713"/>
                      </a:cubicBezTo>
                      <a:cubicBezTo>
                        <a:pt x="26912"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7" name="Freeform 7745">
                  <a:extLst>
                    <a:ext uri="{FF2B5EF4-FFF2-40B4-BE49-F238E27FC236}">
                      <a16:creationId xmlns:a16="http://schemas.microsoft.com/office/drawing/2014/main" id="{B8F985CA-C7A4-3F4C-C713-964FF78A54B2}"/>
                    </a:ext>
                  </a:extLst>
                </p:cNvPr>
                <p:cNvSpPr/>
                <p:nvPr/>
              </p:nvSpPr>
              <p:spPr>
                <a:xfrm>
                  <a:off x="6498481" y="1866820"/>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437" y="25783"/>
                        <a:pt x="3679"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8" name="Freeform 7746">
                  <a:extLst>
                    <a:ext uri="{FF2B5EF4-FFF2-40B4-BE49-F238E27FC236}">
                      <a16:creationId xmlns:a16="http://schemas.microsoft.com/office/drawing/2014/main" id="{734923E9-1E3A-D7A9-A217-F34EDE303A30}"/>
                    </a:ext>
                  </a:extLst>
                </p:cNvPr>
                <p:cNvSpPr/>
                <p:nvPr/>
              </p:nvSpPr>
              <p:spPr>
                <a:xfrm>
                  <a:off x="6506942" y="1861588"/>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3"/>
                        <a:pt x="-174" y="37741"/>
                        <a:pt x="74" y="33506"/>
                      </a:cubicBezTo>
                      <a:cubicBezTo>
                        <a:pt x="573" y="26531"/>
                        <a:pt x="2566" y="23417"/>
                        <a:pt x="2815" y="16317"/>
                      </a:cubicBezTo>
                      <a:cubicBezTo>
                        <a:pt x="3064" y="9466"/>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9" name="Freeform 7747">
                  <a:extLst>
                    <a:ext uri="{FF2B5EF4-FFF2-40B4-BE49-F238E27FC236}">
                      <a16:creationId xmlns:a16="http://schemas.microsoft.com/office/drawing/2014/main" id="{F3D263B2-7211-9EFE-0844-6B3D4F862FEF}"/>
                    </a:ext>
                  </a:extLst>
                </p:cNvPr>
                <p:cNvSpPr/>
                <p:nvPr/>
              </p:nvSpPr>
              <p:spPr>
                <a:xfrm>
                  <a:off x="6490318" y="1846385"/>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3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4" y="20186"/>
                        <a:pt x="21058" y="26290"/>
                        <a:pt x="13709" y="26539"/>
                      </a:cubicBezTo>
                      <a:cubicBezTo>
                        <a:pt x="6361" y="26788"/>
                        <a:pt x="257" y="21058"/>
                        <a:pt x="8" y="13709"/>
                      </a:cubicBezTo>
                      <a:cubicBezTo>
                        <a:pt x="-241" y="6360"/>
                        <a:pt x="5364" y="257"/>
                        <a:pt x="12713" y="8"/>
                      </a:cubicBezTo>
                      <a:cubicBezTo>
                        <a:pt x="20062" y="-241"/>
                        <a:pt x="26040"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4" name="Graphic 2987">
                <a:extLst>
                  <a:ext uri="{FF2B5EF4-FFF2-40B4-BE49-F238E27FC236}">
                    <a16:creationId xmlns:a16="http://schemas.microsoft.com/office/drawing/2014/main" id="{BEC52DC9-E64D-9863-F84D-6210F9E34C4F}"/>
                  </a:ext>
                </a:extLst>
              </p:cNvPr>
              <p:cNvGrpSpPr/>
              <p:nvPr/>
            </p:nvGrpSpPr>
            <p:grpSpPr>
              <a:xfrm>
                <a:off x="6460799" y="1847381"/>
                <a:ext cx="31030" cy="148862"/>
                <a:chOff x="6460799" y="1847381"/>
                <a:chExt cx="31030" cy="148862"/>
              </a:xfrm>
              <a:grpFill/>
            </p:grpSpPr>
            <p:sp>
              <p:nvSpPr>
                <p:cNvPr id="6408" name="Freeform 7749">
                  <a:extLst>
                    <a:ext uri="{FF2B5EF4-FFF2-40B4-BE49-F238E27FC236}">
                      <a16:creationId xmlns:a16="http://schemas.microsoft.com/office/drawing/2014/main" id="{FCACB21B-904E-5810-5BC5-DAED081FEFD3}"/>
                    </a:ext>
                  </a:extLst>
                </p:cNvPr>
                <p:cNvSpPr/>
                <p:nvPr/>
              </p:nvSpPr>
              <p:spPr>
                <a:xfrm>
                  <a:off x="6478765" y="1923618"/>
                  <a:ext cx="4868" cy="52189"/>
                </a:xfrm>
                <a:custGeom>
                  <a:avLst/>
                  <a:gdLst>
                    <a:gd name="connsiteX0" fmla="*/ 3092 w 4868"/>
                    <a:gd name="connsiteY0" fmla="*/ 52190 h 52189"/>
                    <a:gd name="connsiteX1" fmla="*/ 4337 w 4868"/>
                    <a:gd name="connsiteY1" fmla="*/ 33381 h 52189"/>
                    <a:gd name="connsiteX2" fmla="*/ 227 w 4868"/>
                    <a:gd name="connsiteY2" fmla="*/ 16442 h 52189"/>
                    <a:gd name="connsiteX3" fmla="*/ 1846 w 4868"/>
                    <a:gd name="connsiteY3" fmla="*/ 0 h 52189"/>
                  </a:gdLst>
                  <a:ahLst/>
                  <a:cxnLst>
                    <a:cxn ang="0">
                      <a:pos x="connsiteX0" y="connsiteY0"/>
                    </a:cxn>
                    <a:cxn ang="0">
                      <a:pos x="connsiteX1" y="connsiteY1"/>
                    </a:cxn>
                    <a:cxn ang="0">
                      <a:pos x="connsiteX2" y="connsiteY2"/>
                    </a:cxn>
                    <a:cxn ang="0">
                      <a:pos x="connsiteX3" y="connsiteY3"/>
                    </a:cxn>
                  </a:cxnLst>
                  <a:rect l="l" t="t" r="r" b="b"/>
                  <a:pathLst>
                    <a:path w="4868" h="52189">
                      <a:moveTo>
                        <a:pt x="3092" y="52190"/>
                      </a:moveTo>
                      <a:cubicBezTo>
                        <a:pt x="5334" y="44093"/>
                        <a:pt x="5085" y="37741"/>
                        <a:pt x="4337" y="33381"/>
                      </a:cubicBezTo>
                      <a:cubicBezTo>
                        <a:pt x="3341" y="26406"/>
                        <a:pt x="1099"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9" name="Freeform 7750">
                  <a:extLst>
                    <a:ext uri="{FF2B5EF4-FFF2-40B4-BE49-F238E27FC236}">
                      <a16:creationId xmlns:a16="http://schemas.microsoft.com/office/drawing/2014/main" id="{9CD1DEF5-7FD5-1A10-0F38-54ADC86069CE}"/>
                    </a:ext>
                  </a:extLst>
                </p:cNvPr>
                <p:cNvSpPr/>
                <p:nvPr/>
              </p:nvSpPr>
              <p:spPr>
                <a:xfrm>
                  <a:off x="6472115" y="1928974"/>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5"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0" name="Freeform 7751">
                  <a:extLst>
                    <a:ext uri="{FF2B5EF4-FFF2-40B4-BE49-F238E27FC236}">
                      <a16:creationId xmlns:a16="http://schemas.microsoft.com/office/drawing/2014/main" id="{BC4D7A17-E2E5-FC85-628A-8F0DE2477347}"/>
                    </a:ext>
                  </a:extLst>
                </p:cNvPr>
                <p:cNvSpPr/>
                <p:nvPr/>
              </p:nvSpPr>
              <p:spPr>
                <a:xfrm>
                  <a:off x="6465158" y="1969821"/>
                  <a:ext cx="26671" cy="26422"/>
                </a:xfrm>
                <a:custGeom>
                  <a:avLst/>
                  <a:gdLst>
                    <a:gd name="connsiteX0" fmla="*/ 8 w 26671"/>
                    <a:gd name="connsiteY0" fmla="*/ 13709 h 26422"/>
                    <a:gd name="connsiteX1" fmla="*/ 12838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1" y="6360"/>
                        <a:pt x="5488" y="257"/>
                        <a:pt x="12838" y="8"/>
                      </a:cubicBezTo>
                      <a:cubicBezTo>
                        <a:pt x="20186" y="-241"/>
                        <a:pt x="26414" y="5488"/>
                        <a:pt x="26663" y="12713"/>
                      </a:cubicBezTo>
                      <a:cubicBezTo>
                        <a:pt x="26913"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1" name="Freeform 7752">
                  <a:extLst>
                    <a:ext uri="{FF2B5EF4-FFF2-40B4-BE49-F238E27FC236}">
                      <a16:creationId xmlns:a16="http://schemas.microsoft.com/office/drawing/2014/main" id="{5D66D07D-6C04-5223-BDBE-8B87A901B441}"/>
                    </a:ext>
                  </a:extLst>
                </p:cNvPr>
                <p:cNvSpPr/>
                <p:nvPr/>
              </p:nvSpPr>
              <p:spPr>
                <a:xfrm>
                  <a:off x="6468907" y="1867941"/>
                  <a:ext cx="4706" cy="52189"/>
                </a:xfrm>
                <a:custGeom>
                  <a:avLst/>
                  <a:gdLst>
                    <a:gd name="connsiteX0" fmla="*/ 1740 w 4706"/>
                    <a:gd name="connsiteY0" fmla="*/ 0 h 52189"/>
                    <a:gd name="connsiteX1" fmla="*/ 494 w 4706"/>
                    <a:gd name="connsiteY1" fmla="*/ 18808 h 52189"/>
                    <a:gd name="connsiteX2" fmla="*/ 4480 w 4706"/>
                    <a:gd name="connsiteY2" fmla="*/ 35748 h 52189"/>
                    <a:gd name="connsiteX3" fmla="*/ 2861 w 470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06" h="52189">
                      <a:moveTo>
                        <a:pt x="1740" y="0"/>
                      </a:moveTo>
                      <a:cubicBezTo>
                        <a:pt x="-378" y="8096"/>
                        <a:pt x="-253" y="14449"/>
                        <a:pt x="494" y="18808"/>
                      </a:cubicBezTo>
                      <a:cubicBezTo>
                        <a:pt x="1490" y="25783"/>
                        <a:pt x="3733" y="28648"/>
                        <a:pt x="4480" y="35748"/>
                      </a:cubicBezTo>
                      <a:cubicBezTo>
                        <a:pt x="5228" y="42599"/>
                        <a:pt x="3982" y="48453"/>
                        <a:pt x="28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2" name="Freeform 7753">
                  <a:extLst>
                    <a:ext uri="{FF2B5EF4-FFF2-40B4-BE49-F238E27FC236}">
                      <a16:creationId xmlns:a16="http://schemas.microsoft.com/office/drawing/2014/main" id="{C061B18E-F838-0077-D919-38DB5C4E5F05}"/>
                    </a:ext>
                  </a:extLst>
                </p:cNvPr>
                <p:cNvSpPr/>
                <p:nvPr/>
              </p:nvSpPr>
              <p:spPr>
                <a:xfrm>
                  <a:off x="6477361" y="1862585"/>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3"/>
                        <a:pt x="-237" y="37741"/>
                        <a:pt x="136" y="33506"/>
                      </a:cubicBezTo>
                      <a:cubicBezTo>
                        <a:pt x="635" y="26531"/>
                        <a:pt x="2627" y="23417"/>
                        <a:pt x="2877" y="16317"/>
                      </a:cubicBezTo>
                      <a:cubicBezTo>
                        <a:pt x="3126" y="9466"/>
                        <a:pt x="1507"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3" name="Freeform 7754">
                  <a:extLst>
                    <a:ext uri="{FF2B5EF4-FFF2-40B4-BE49-F238E27FC236}">
                      <a16:creationId xmlns:a16="http://schemas.microsoft.com/office/drawing/2014/main" id="{8F7EDA74-FC07-7AC6-8EE4-D076B364A771}"/>
                    </a:ext>
                  </a:extLst>
                </p:cNvPr>
                <p:cNvSpPr/>
                <p:nvPr/>
              </p:nvSpPr>
              <p:spPr>
                <a:xfrm>
                  <a:off x="6460799" y="1847381"/>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2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3" y="20186"/>
                        <a:pt x="21058"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5" name="Graphic 2987">
                <a:extLst>
                  <a:ext uri="{FF2B5EF4-FFF2-40B4-BE49-F238E27FC236}">
                    <a16:creationId xmlns:a16="http://schemas.microsoft.com/office/drawing/2014/main" id="{32769078-EF85-CCB7-0FAA-9214892CAC98}"/>
                  </a:ext>
                </a:extLst>
              </p:cNvPr>
              <p:cNvGrpSpPr/>
              <p:nvPr/>
            </p:nvGrpSpPr>
            <p:grpSpPr>
              <a:xfrm>
                <a:off x="6431278" y="1848502"/>
                <a:ext cx="30781" cy="148862"/>
                <a:chOff x="6431278" y="1848502"/>
                <a:chExt cx="30781" cy="148862"/>
              </a:xfrm>
              <a:grpFill/>
            </p:grpSpPr>
            <p:sp>
              <p:nvSpPr>
                <p:cNvPr id="6402" name="Freeform 7756">
                  <a:extLst>
                    <a:ext uri="{FF2B5EF4-FFF2-40B4-BE49-F238E27FC236}">
                      <a16:creationId xmlns:a16="http://schemas.microsoft.com/office/drawing/2014/main" id="{A811F9BA-B194-56DF-8521-085338A89D74}"/>
                    </a:ext>
                  </a:extLst>
                </p:cNvPr>
                <p:cNvSpPr/>
                <p:nvPr/>
              </p:nvSpPr>
              <p:spPr>
                <a:xfrm>
                  <a:off x="6449244" y="1924739"/>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3"/>
                        <a:pt x="4835" y="37741"/>
                        <a:pt x="4213" y="33381"/>
                      </a:cubicBezTo>
                      <a:cubicBezTo>
                        <a:pt x="3217"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3" name="Freeform 7757">
                  <a:extLst>
                    <a:ext uri="{FF2B5EF4-FFF2-40B4-BE49-F238E27FC236}">
                      <a16:creationId xmlns:a16="http://schemas.microsoft.com/office/drawing/2014/main" id="{BD1A4DF3-4A81-19E6-795D-89690A2179EF}"/>
                    </a:ext>
                  </a:extLst>
                </p:cNvPr>
                <p:cNvSpPr/>
                <p:nvPr/>
              </p:nvSpPr>
              <p:spPr>
                <a:xfrm>
                  <a:off x="6442471" y="1930095"/>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4" name="Freeform 7758">
                  <a:extLst>
                    <a:ext uri="{FF2B5EF4-FFF2-40B4-BE49-F238E27FC236}">
                      <a16:creationId xmlns:a16="http://schemas.microsoft.com/office/drawing/2014/main" id="{2A208B99-445D-F011-CCA7-4710FCAC385F}"/>
                    </a:ext>
                  </a:extLst>
                </p:cNvPr>
                <p:cNvSpPr/>
                <p:nvPr/>
              </p:nvSpPr>
              <p:spPr>
                <a:xfrm>
                  <a:off x="6435388" y="1970818"/>
                  <a:ext cx="26671" cy="26546"/>
                </a:xfrm>
                <a:custGeom>
                  <a:avLst/>
                  <a:gdLst>
                    <a:gd name="connsiteX0" fmla="*/ 8 w 26671"/>
                    <a:gd name="connsiteY0" fmla="*/ 13709 h 26546"/>
                    <a:gd name="connsiteX1" fmla="*/ 12838 w 26671"/>
                    <a:gd name="connsiteY1" fmla="*/ 8 h 26546"/>
                    <a:gd name="connsiteX2" fmla="*/ 26663 w 26671"/>
                    <a:gd name="connsiteY2" fmla="*/ 12837 h 26546"/>
                    <a:gd name="connsiteX3" fmla="*/ 13834 w 26671"/>
                    <a:gd name="connsiteY3" fmla="*/ 26539 h 26546"/>
                    <a:gd name="connsiteX4" fmla="*/ 8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3709"/>
                      </a:moveTo>
                      <a:cubicBezTo>
                        <a:pt x="-241" y="6360"/>
                        <a:pt x="5488" y="257"/>
                        <a:pt x="12838" y="8"/>
                      </a:cubicBezTo>
                      <a:cubicBezTo>
                        <a:pt x="20187" y="-241"/>
                        <a:pt x="26415" y="5488"/>
                        <a:pt x="26663" y="12837"/>
                      </a:cubicBezTo>
                      <a:cubicBezTo>
                        <a:pt x="26913" y="20186"/>
                        <a:pt x="21183" y="26290"/>
                        <a:pt x="13834"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5" name="Freeform 7759">
                  <a:extLst>
                    <a:ext uri="{FF2B5EF4-FFF2-40B4-BE49-F238E27FC236}">
                      <a16:creationId xmlns:a16="http://schemas.microsoft.com/office/drawing/2014/main" id="{E7E15D13-D771-6654-D39C-13D9033CF595}"/>
                    </a:ext>
                  </a:extLst>
                </p:cNvPr>
                <p:cNvSpPr/>
                <p:nvPr/>
              </p:nvSpPr>
              <p:spPr>
                <a:xfrm>
                  <a:off x="6439324" y="1868937"/>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6" name="Freeform 7760">
                  <a:extLst>
                    <a:ext uri="{FF2B5EF4-FFF2-40B4-BE49-F238E27FC236}">
                      <a16:creationId xmlns:a16="http://schemas.microsoft.com/office/drawing/2014/main" id="{7A22E7C5-7AB4-8A56-BEA4-65D06697AA45}"/>
                    </a:ext>
                  </a:extLst>
                </p:cNvPr>
                <p:cNvSpPr/>
                <p:nvPr/>
              </p:nvSpPr>
              <p:spPr>
                <a:xfrm>
                  <a:off x="6447716" y="186370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3"/>
                        <a:pt x="-237" y="37741"/>
                        <a:pt x="136" y="33506"/>
                      </a:cubicBezTo>
                      <a:cubicBezTo>
                        <a:pt x="635" y="26531"/>
                        <a:pt x="2752" y="23417"/>
                        <a:pt x="3001" y="16317"/>
                      </a:cubicBezTo>
                      <a:cubicBezTo>
                        <a:pt x="3250" y="9466"/>
                        <a:pt x="1632"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7" name="Freeform 7761">
                  <a:extLst>
                    <a:ext uri="{FF2B5EF4-FFF2-40B4-BE49-F238E27FC236}">
                      <a16:creationId xmlns:a16="http://schemas.microsoft.com/office/drawing/2014/main" id="{AE1F46C7-8A3D-09B8-44EA-C61A5C1ACF2F}"/>
                    </a:ext>
                  </a:extLst>
                </p:cNvPr>
                <p:cNvSpPr/>
                <p:nvPr/>
              </p:nvSpPr>
              <p:spPr>
                <a:xfrm>
                  <a:off x="6431278" y="1848502"/>
                  <a:ext cx="26421" cy="26546"/>
                </a:xfrm>
                <a:custGeom>
                  <a:avLst/>
                  <a:gdLst>
                    <a:gd name="connsiteX0" fmla="*/ 26414 w 26421"/>
                    <a:gd name="connsiteY0" fmla="*/ 12837 h 26546"/>
                    <a:gd name="connsiteX1" fmla="*/ 13709 w 26421"/>
                    <a:gd name="connsiteY1" fmla="*/ 26539 h 26546"/>
                    <a:gd name="connsiteX2" fmla="*/ 8 w 26421"/>
                    <a:gd name="connsiteY2" fmla="*/ 13709 h 26546"/>
                    <a:gd name="connsiteX3" fmla="*/ 12712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6" name="Graphic 2987">
                <a:extLst>
                  <a:ext uri="{FF2B5EF4-FFF2-40B4-BE49-F238E27FC236}">
                    <a16:creationId xmlns:a16="http://schemas.microsoft.com/office/drawing/2014/main" id="{18E8C0C9-7736-9E8A-95DB-83F760853162}"/>
                  </a:ext>
                </a:extLst>
              </p:cNvPr>
              <p:cNvGrpSpPr/>
              <p:nvPr/>
            </p:nvGrpSpPr>
            <p:grpSpPr>
              <a:xfrm>
                <a:off x="6401758" y="1849499"/>
                <a:ext cx="30531" cy="148986"/>
                <a:chOff x="6401758" y="1849499"/>
                <a:chExt cx="30531" cy="148986"/>
              </a:xfrm>
              <a:grpFill/>
            </p:grpSpPr>
            <p:sp>
              <p:nvSpPr>
                <p:cNvPr id="6396" name="Freeform 7763">
                  <a:extLst>
                    <a:ext uri="{FF2B5EF4-FFF2-40B4-BE49-F238E27FC236}">
                      <a16:creationId xmlns:a16="http://schemas.microsoft.com/office/drawing/2014/main" id="{6A62B444-DA51-2AB5-B766-9E53836241C1}"/>
                    </a:ext>
                  </a:extLst>
                </p:cNvPr>
                <p:cNvSpPr/>
                <p:nvPr/>
              </p:nvSpPr>
              <p:spPr>
                <a:xfrm>
                  <a:off x="6419476" y="1925736"/>
                  <a:ext cx="4644" cy="52189"/>
                </a:xfrm>
                <a:custGeom>
                  <a:avLst/>
                  <a:gdLst>
                    <a:gd name="connsiteX0" fmla="*/ 2842 w 4644"/>
                    <a:gd name="connsiteY0" fmla="*/ 52190 h 52189"/>
                    <a:gd name="connsiteX1" fmla="*/ 4212 w 4644"/>
                    <a:gd name="connsiteY1" fmla="*/ 33381 h 52189"/>
                    <a:gd name="connsiteX2" fmla="*/ 227 w 4644"/>
                    <a:gd name="connsiteY2" fmla="*/ 16442 h 52189"/>
                    <a:gd name="connsiteX3" fmla="*/ 1846 w 4644"/>
                    <a:gd name="connsiteY3" fmla="*/ 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52190"/>
                      </a:moveTo>
                      <a:cubicBezTo>
                        <a:pt x="5084" y="44093"/>
                        <a:pt x="4835" y="37741"/>
                        <a:pt x="4212"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7" name="Freeform 7764">
                  <a:extLst>
                    <a:ext uri="{FF2B5EF4-FFF2-40B4-BE49-F238E27FC236}">
                      <a16:creationId xmlns:a16="http://schemas.microsoft.com/office/drawing/2014/main" id="{505AC8AC-B34D-BA5C-E4CF-5FDE78266E5F}"/>
                    </a:ext>
                  </a:extLst>
                </p:cNvPr>
                <p:cNvSpPr/>
                <p:nvPr/>
              </p:nvSpPr>
              <p:spPr>
                <a:xfrm>
                  <a:off x="6412824" y="1931092"/>
                  <a:ext cx="2979" cy="52065"/>
                </a:xfrm>
                <a:custGeom>
                  <a:avLst/>
                  <a:gdLst>
                    <a:gd name="connsiteX0" fmla="*/ 277 w 2979"/>
                    <a:gd name="connsiteY0" fmla="*/ 0 h 52065"/>
                    <a:gd name="connsiteX1" fmla="*/ 2893 w 2979"/>
                    <a:gd name="connsiteY1" fmla="*/ 18559 h 52065"/>
                    <a:gd name="connsiteX2" fmla="*/ 27 w 2979"/>
                    <a:gd name="connsiteY2" fmla="*/ 35748 h 52065"/>
                    <a:gd name="connsiteX3" fmla="*/ 2768 w 297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9" h="52065">
                      <a:moveTo>
                        <a:pt x="277" y="0"/>
                      </a:moveTo>
                      <a:cubicBezTo>
                        <a:pt x="3017" y="7972"/>
                        <a:pt x="3141" y="14324"/>
                        <a:pt x="2893" y="18559"/>
                      </a:cubicBezTo>
                      <a:cubicBezTo>
                        <a:pt x="2270" y="25534"/>
                        <a:pt x="277" y="28648"/>
                        <a:pt x="27" y="35748"/>
                      </a:cubicBezTo>
                      <a:cubicBezTo>
                        <a:pt x="-221" y="42599"/>
                        <a:pt x="1273" y="48328"/>
                        <a:pt x="276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8" name="Freeform 7765">
                  <a:extLst>
                    <a:ext uri="{FF2B5EF4-FFF2-40B4-BE49-F238E27FC236}">
                      <a16:creationId xmlns:a16="http://schemas.microsoft.com/office/drawing/2014/main" id="{C89534FE-E0ED-02F6-568E-7C8E7C48B18C}"/>
                    </a:ext>
                  </a:extLst>
                </p:cNvPr>
                <p:cNvSpPr/>
                <p:nvPr/>
              </p:nvSpPr>
              <p:spPr>
                <a:xfrm>
                  <a:off x="6405620" y="1971939"/>
                  <a:ext cx="26670" cy="26546"/>
                </a:xfrm>
                <a:custGeom>
                  <a:avLst/>
                  <a:gdLst>
                    <a:gd name="connsiteX0" fmla="*/ 8 w 26670"/>
                    <a:gd name="connsiteY0" fmla="*/ 13709 h 26546"/>
                    <a:gd name="connsiteX1" fmla="*/ 12961 w 26670"/>
                    <a:gd name="connsiteY1" fmla="*/ 8 h 26546"/>
                    <a:gd name="connsiteX2" fmla="*/ 26662 w 26670"/>
                    <a:gd name="connsiteY2" fmla="*/ 12837 h 26546"/>
                    <a:gd name="connsiteX3" fmla="*/ 13709 w 26670"/>
                    <a:gd name="connsiteY3" fmla="*/ 26539 h 26546"/>
                    <a:gd name="connsiteX4" fmla="*/ 8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3709"/>
                      </a:moveTo>
                      <a:cubicBezTo>
                        <a:pt x="-242" y="6360"/>
                        <a:pt x="5612" y="257"/>
                        <a:pt x="12961" y="8"/>
                      </a:cubicBezTo>
                      <a:cubicBezTo>
                        <a:pt x="20311" y="-241"/>
                        <a:pt x="26414" y="5488"/>
                        <a:pt x="26662" y="12837"/>
                      </a:cubicBezTo>
                      <a:cubicBezTo>
                        <a:pt x="26912" y="20186"/>
                        <a:pt x="21182" y="26290"/>
                        <a:pt x="13709" y="26539"/>
                      </a:cubicBezTo>
                      <a:cubicBezTo>
                        <a:pt x="6236" y="26788"/>
                        <a:pt x="13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9" name="Freeform 7766">
                  <a:extLst>
                    <a:ext uri="{FF2B5EF4-FFF2-40B4-BE49-F238E27FC236}">
                      <a16:creationId xmlns:a16="http://schemas.microsoft.com/office/drawing/2014/main" id="{C0967E4D-71AB-DB41-86B0-75729E5E3A18}"/>
                    </a:ext>
                  </a:extLst>
                </p:cNvPr>
                <p:cNvSpPr/>
                <p:nvPr/>
              </p:nvSpPr>
              <p:spPr>
                <a:xfrm>
                  <a:off x="6409803" y="1870058"/>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8"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0" name="Freeform 7767">
                  <a:extLst>
                    <a:ext uri="{FF2B5EF4-FFF2-40B4-BE49-F238E27FC236}">
                      <a16:creationId xmlns:a16="http://schemas.microsoft.com/office/drawing/2014/main" id="{EF1684F6-B5C5-B23A-AFB8-EB60EE487336}"/>
                    </a:ext>
                  </a:extLst>
                </p:cNvPr>
                <p:cNvSpPr/>
                <p:nvPr/>
              </p:nvSpPr>
              <p:spPr>
                <a:xfrm>
                  <a:off x="6418121" y="1864827"/>
                  <a:ext cx="2977" cy="52065"/>
                </a:xfrm>
                <a:custGeom>
                  <a:avLst/>
                  <a:gdLst>
                    <a:gd name="connsiteX0" fmla="*/ 2702 w 2977"/>
                    <a:gd name="connsiteY0" fmla="*/ 52065 h 52065"/>
                    <a:gd name="connsiteX1" fmla="*/ 87 w 2977"/>
                    <a:gd name="connsiteY1" fmla="*/ 33506 h 52065"/>
                    <a:gd name="connsiteX2" fmla="*/ 2951 w 2977"/>
                    <a:gd name="connsiteY2" fmla="*/ 16317 h 52065"/>
                    <a:gd name="connsiteX3" fmla="*/ 335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02" y="52065"/>
                      </a:moveTo>
                      <a:cubicBezTo>
                        <a:pt x="-38" y="44093"/>
                        <a:pt x="-162" y="37741"/>
                        <a:pt x="87" y="33506"/>
                      </a:cubicBezTo>
                      <a:cubicBezTo>
                        <a:pt x="585" y="26531"/>
                        <a:pt x="2702" y="23417"/>
                        <a:pt x="2951" y="16317"/>
                      </a:cubicBezTo>
                      <a:cubicBezTo>
                        <a:pt x="3201" y="9466"/>
                        <a:pt x="1582" y="3737"/>
                        <a:pt x="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1" name="Freeform 7768">
                  <a:extLst>
                    <a:ext uri="{FF2B5EF4-FFF2-40B4-BE49-F238E27FC236}">
                      <a16:creationId xmlns:a16="http://schemas.microsoft.com/office/drawing/2014/main" id="{432B1136-477F-3C28-BCA1-3522D4FB5328}"/>
                    </a:ext>
                  </a:extLst>
                </p:cNvPr>
                <p:cNvSpPr/>
                <p:nvPr/>
              </p:nvSpPr>
              <p:spPr>
                <a:xfrm>
                  <a:off x="6401758" y="1849499"/>
                  <a:ext cx="26421" cy="26546"/>
                </a:xfrm>
                <a:custGeom>
                  <a:avLst/>
                  <a:gdLst>
                    <a:gd name="connsiteX0" fmla="*/ 26414 w 26421"/>
                    <a:gd name="connsiteY0" fmla="*/ 12837 h 26546"/>
                    <a:gd name="connsiteX1" fmla="*/ 13584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584" y="26539"/>
                      </a:cubicBezTo>
                      <a:cubicBezTo>
                        <a:pt x="6236" y="26788"/>
                        <a:pt x="132" y="21058"/>
                        <a:pt x="8" y="13709"/>
                      </a:cubicBezTo>
                      <a:cubicBezTo>
                        <a:pt x="-242" y="6360"/>
                        <a:pt x="5488" y="257"/>
                        <a:pt x="12837" y="8"/>
                      </a:cubicBezTo>
                      <a:cubicBezTo>
                        <a:pt x="20186" y="-241"/>
                        <a:pt x="26289"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7" name="Graphic 2987">
                <a:extLst>
                  <a:ext uri="{FF2B5EF4-FFF2-40B4-BE49-F238E27FC236}">
                    <a16:creationId xmlns:a16="http://schemas.microsoft.com/office/drawing/2014/main" id="{D980D1A5-8C8E-2794-9E1F-F342DB279D68}"/>
                  </a:ext>
                </a:extLst>
              </p:cNvPr>
              <p:cNvGrpSpPr/>
              <p:nvPr/>
            </p:nvGrpSpPr>
            <p:grpSpPr>
              <a:xfrm>
                <a:off x="6372362" y="1850620"/>
                <a:ext cx="30033" cy="148980"/>
                <a:chOff x="6372362" y="1850620"/>
                <a:chExt cx="30033" cy="148980"/>
              </a:xfrm>
              <a:grpFill/>
            </p:grpSpPr>
            <p:sp>
              <p:nvSpPr>
                <p:cNvPr id="6390" name="Freeform 7770">
                  <a:extLst>
                    <a:ext uri="{FF2B5EF4-FFF2-40B4-BE49-F238E27FC236}">
                      <a16:creationId xmlns:a16="http://schemas.microsoft.com/office/drawing/2014/main" id="{1F94E160-0148-8672-6E5A-83092AB773B2}"/>
                    </a:ext>
                  </a:extLst>
                </p:cNvPr>
                <p:cNvSpPr/>
                <p:nvPr/>
              </p:nvSpPr>
              <p:spPr>
                <a:xfrm>
                  <a:off x="6389831" y="1926857"/>
                  <a:ext cx="4549" cy="52189"/>
                </a:xfrm>
                <a:custGeom>
                  <a:avLst/>
                  <a:gdLst>
                    <a:gd name="connsiteX0" fmla="*/ 2717 w 4549"/>
                    <a:gd name="connsiteY0" fmla="*/ 52190 h 52189"/>
                    <a:gd name="connsiteX1" fmla="*/ 4213 w 4549"/>
                    <a:gd name="connsiteY1" fmla="*/ 33381 h 52189"/>
                    <a:gd name="connsiteX2" fmla="*/ 227 w 4549"/>
                    <a:gd name="connsiteY2" fmla="*/ 16442 h 52189"/>
                    <a:gd name="connsiteX3" fmla="*/ 1846 w 4549"/>
                    <a:gd name="connsiteY3" fmla="*/ 0 h 52189"/>
                  </a:gdLst>
                  <a:ahLst/>
                  <a:cxnLst>
                    <a:cxn ang="0">
                      <a:pos x="connsiteX0" y="connsiteY0"/>
                    </a:cxn>
                    <a:cxn ang="0">
                      <a:pos x="connsiteX1" y="connsiteY1"/>
                    </a:cxn>
                    <a:cxn ang="0">
                      <a:pos x="connsiteX2" y="connsiteY2"/>
                    </a:cxn>
                    <a:cxn ang="0">
                      <a:pos x="connsiteX3" y="connsiteY3"/>
                    </a:cxn>
                  </a:cxnLst>
                  <a:rect l="l" t="t" r="r" b="b"/>
                  <a:pathLst>
                    <a:path w="4549" h="52189">
                      <a:moveTo>
                        <a:pt x="2717" y="52190"/>
                      </a:moveTo>
                      <a:cubicBezTo>
                        <a:pt x="4960" y="44093"/>
                        <a:pt x="4711"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1" name="Freeform 7771">
                  <a:extLst>
                    <a:ext uri="{FF2B5EF4-FFF2-40B4-BE49-F238E27FC236}">
                      <a16:creationId xmlns:a16="http://schemas.microsoft.com/office/drawing/2014/main" id="{434A4550-3558-8330-743B-84EDBC13B35E}"/>
                    </a:ext>
                  </a:extLst>
                </p:cNvPr>
                <p:cNvSpPr/>
                <p:nvPr/>
              </p:nvSpPr>
              <p:spPr>
                <a:xfrm>
                  <a:off x="6382930" y="1932213"/>
                  <a:ext cx="3170" cy="52189"/>
                </a:xfrm>
                <a:custGeom>
                  <a:avLst/>
                  <a:gdLst>
                    <a:gd name="connsiteX0" fmla="*/ 525 w 3170"/>
                    <a:gd name="connsiteY0" fmla="*/ 0 h 52189"/>
                    <a:gd name="connsiteX1" fmla="*/ 3017 w 3170"/>
                    <a:gd name="connsiteY1" fmla="*/ 18684 h 52189"/>
                    <a:gd name="connsiteX2" fmla="*/ 27 w 3170"/>
                    <a:gd name="connsiteY2" fmla="*/ 35873 h 52189"/>
                    <a:gd name="connsiteX3" fmla="*/ 2643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0"/>
                      </a:moveTo>
                      <a:cubicBezTo>
                        <a:pt x="3266" y="7972"/>
                        <a:pt x="3390" y="14324"/>
                        <a:pt x="3017" y="18684"/>
                      </a:cubicBezTo>
                      <a:cubicBezTo>
                        <a:pt x="2394" y="25659"/>
                        <a:pt x="401"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2" name="Freeform 7772">
                  <a:extLst>
                    <a:ext uri="{FF2B5EF4-FFF2-40B4-BE49-F238E27FC236}">
                      <a16:creationId xmlns:a16="http://schemas.microsoft.com/office/drawing/2014/main" id="{AC5BF4FF-B6C8-C31B-1F17-2D90A38F7D6B}"/>
                    </a:ext>
                  </a:extLst>
                </p:cNvPr>
                <p:cNvSpPr/>
                <p:nvPr/>
              </p:nvSpPr>
              <p:spPr>
                <a:xfrm>
                  <a:off x="6375726" y="1973060"/>
                  <a:ext cx="26670" cy="26540"/>
                </a:xfrm>
                <a:custGeom>
                  <a:avLst/>
                  <a:gdLst>
                    <a:gd name="connsiteX0" fmla="*/ 8 w 26670"/>
                    <a:gd name="connsiteY0" fmla="*/ 13709 h 26540"/>
                    <a:gd name="connsiteX1" fmla="*/ 12961 w 26670"/>
                    <a:gd name="connsiteY1" fmla="*/ 8 h 26540"/>
                    <a:gd name="connsiteX2" fmla="*/ 26663 w 26670"/>
                    <a:gd name="connsiteY2" fmla="*/ 12837 h 26540"/>
                    <a:gd name="connsiteX3" fmla="*/ 13709 w 26670"/>
                    <a:gd name="connsiteY3" fmla="*/ 26539 h 26540"/>
                    <a:gd name="connsiteX4" fmla="*/ 8 w 26670"/>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0">
                      <a:moveTo>
                        <a:pt x="8" y="13709"/>
                      </a:moveTo>
                      <a:cubicBezTo>
                        <a:pt x="-241" y="6360"/>
                        <a:pt x="5613" y="257"/>
                        <a:pt x="12961" y="8"/>
                      </a:cubicBezTo>
                      <a:cubicBezTo>
                        <a:pt x="20311" y="-241"/>
                        <a:pt x="26414" y="5488"/>
                        <a:pt x="26663" y="12837"/>
                      </a:cubicBezTo>
                      <a:cubicBezTo>
                        <a:pt x="26913" y="20186"/>
                        <a:pt x="21058" y="26290"/>
                        <a:pt x="13709" y="26539"/>
                      </a:cubicBezTo>
                      <a:cubicBezTo>
                        <a:pt x="6360" y="26663"/>
                        <a:pt x="257"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3" name="Freeform 7773">
                  <a:extLst>
                    <a:ext uri="{FF2B5EF4-FFF2-40B4-BE49-F238E27FC236}">
                      <a16:creationId xmlns:a16="http://schemas.microsoft.com/office/drawing/2014/main" id="{569EE016-DB03-1735-4CDE-13E5BAB0F849}"/>
                    </a:ext>
                  </a:extLst>
                </p:cNvPr>
                <p:cNvSpPr/>
                <p:nvPr/>
              </p:nvSpPr>
              <p:spPr>
                <a:xfrm>
                  <a:off x="6380254" y="1871055"/>
                  <a:ext cx="4424" cy="52189"/>
                </a:xfrm>
                <a:custGeom>
                  <a:avLst/>
                  <a:gdLst>
                    <a:gd name="connsiteX0" fmla="*/ 1832 w 4424"/>
                    <a:gd name="connsiteY0" fmla="*/ 0 h 52189"/>
                    <a:gd name="connsiteX1" fmla="*/ 337 w 4424"/>
                    <a:gd name="connsiteY1" fmla="*/ 18808 h 52189"/>
                    <a:gd name="connsiteX2" fmla="*/ 4199 w 4424"/>
                    <a:gd name="connsiteY2" fmla="*/ 35748 h 52189"/>
                    <a:gd name="connsiteX3" fmla="*/ 2455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1832" y="0"/>
                      </a:moveTo>
                      <a:cubicBezTo>
                        <a:pt x="-410" y="8096"/>
                        <a:pt x="-161" y="14449"/>
                        <a:pt x="337" y="18808"/>
                      </a:cubicBezTo>
                      <a:cubicBezTo>
                        <a:pt x="1334" y="25783"/>
                        <a:pt x="3576" y="28648"/>
                        <a:pt x="4199" y="35748"/>
                      </a:cubicBezTo>
                      <a:cubicBezTo>
                        <a:pt x="4946" y="42599"/>
                        <a:pt x="3701" y="48453"/>
                        <a:pt x="24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4" name="Freeform 7774">
                  <a:extLst>
                    <a:ext uri="{FF2B5EF4-FFF2-40B4-BE49-F238E27FC236}">
                      <a16:creationId xmlns:a16="http://schemas.microsoft.com/office/drawing/2014/main" id="{63F45BEA-E8A2-A9AA-8E21-5FC6711851ED}"/>
                    </a:ext>
                  </a:extLst>
                </p:cNvPr>
                <p:cNvSpPr/>
                <p:nvPr/>
              </p:nvSpPr>
              <p:spPr>
                <a:xfrm>
                  <a:off x="6388533" y="1865823"/>
                  <a:ext cx="3046" cy="52065"/>
                </a:xfrm>
                <a:custGeom>
                  <a:avLst/>
                  <a:gdLst>
                    <a:gd name="connsiteX0" fmla="*/ 2645 w 3046"/>
                    <a:gd name="connsiteY0" fmla="*/ 52065 h 52065"/>
                    <a:gd name="connsiteX1" fmla="*/ 154 w 3046"/>
                    <a:gd name="connsiteY1" fmla="*/ 33506 h 52065"/>
                    <a:gd name="connsiteX2" fmla="*/ 3019 w 3046"/>
                    <a:gd name="connsiteY2" fmla="*/ 16317 h 52065"/>
                    <a:gd name="connsiteX3" fmla="*/ 403 w 3046"/>
                    <a:gd name="connsiteY3" fmla="*/ 0 h 52065"/>
                  </a:gdLst>
                  <a:ahLst/>
                  <a:cxnLst>
                    <a:cxn ang="0">
                      <a:pos x="connsiteX0" y="connsiteY0"/>
                    </a:cxn>
                    <a:cxn ang="0">
                      <a:pos x="connsiteX1" y="connsiteY1"/>
                    </a:cxn>
                    <a:cxn ang="0">
                      <a:pos x="connsiteX2" y="connsiteY2"/>
                    </a:cxn>
                    <a:cxn ang="0">
                      <a:pos x="connsiteX3" y="connsiteY3"/>
                    </a:cxn>
                  </a:cxnLst>
                  <a:rect l="l" t="t" r="r" b="b"/>
                  <a:pathLst>
                    <a:path w="3046" h="52065">
                      <a:moveTo>
                        <a:pt x="2645" y="52065"/>
                      </a:moveTo>
                      <a:cubicBezTo>
                        <a:pt x="-95" y="44093"/>
                        <a:pt x="-220" y="37741"/>
                        <a:pt x="154" y="33506"/>
                      </a:cubicBezTo>
                      <a:cubicBezTo>
                        <a:pt x="777" y="26531"/>
                        <a:pt x="2770" y="23417"/>
                        <a:pt x="3019" y="16317"/>
                      </a:cubicBezTo>
                      <a:cubicBezTo>
                        <a:pt x="3267" y="9466"/>
                        <a:pt x="1773" y="3737"/>
                        <a:pt x="4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5" name="Freeform 7775">
                  <a:extLst>
                    <a:ext uri="{FF2B5EF4-FFF2-40B4-BE49-F238E27FC236}">
                      <a16:creationId xmlns:a16="http://schemas.microsoft.com/office/drawing/2014/main" id="{15AE31CA-B809-EDC6-0D03-DF7BB85E59E4}"/>
                    </a:ext>
                  </a:extLst>
                </p:cNvPr>
                <p:cNvSpPr/>
                <p:nvPr/>
              </p:nvSpPr>
              <p:spPr>
                <a:xfrm>
                  <a:off x="6372362" y="1850620"/>
                  <a:ext cx="26421" cy="26546"/>
                </a:xfrm>
                <a:custGeom>
                  <a:avLst/>
                  <a:gdLst>
                    <a:gd name="connsiteX0" fmla="*/ 26414 w 26421"/>
                    <a:gd name="connsiteY0" fmla="*/ 12837 h 26546"/>
                    <a:gd name="connsiteX1" fmla="*/ 13585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4" y="26290"/>
                        <a:pt x="13585" y="26539"/>
                      </a:cubicBezTo>
                      <a:cubicBezTo>
                        <a:pt x="6235" y="26788"/>
                        <a:pt x="257" y="21058"/>
                        <a:pt x="8" y="13709"/>
                      </a:cubicBezTo>
                      <a:cubicBezTo>
                        <a:pt x="-242" y="6360"/>
                        <a:pt x="5488" y="257"/>
                        <a:pt x="12837" y="8"/>
                      </a:cubicBezTo>
                      <a:cubicBezTo>
                        <a:pt x="20062"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8" name="Graphic 2987">
                <a:extLst>
                  <a:ext uri="{FF2B5EF4-FFF2-40B4-BE49-F238E27FC236}">
                    <a16:creationId xmlns:a16="http://schemas.microsoft.com/office/drawing/2014/main" id="{93602D41-53D4-3235-6887-3AF7D2610CF8}"/>
                  </a:ext>
                </a:extLst>
              </p:cNvPr>
              <p:cNvGrpSpPr/>
              <p:nvPr/>
            </p:nvGrpSpPr>
            <p:grpSpPr>
              <a:xfrm>
                <a:off x="6342848" y="1851616"/>
                <a:ext cx="29778" cy="148986"/>
                <a:chOff x="6342848" y="1851616"/>
                <a:chExt cx="29778" cy="148986"/>
              </a:xfrm>
              <a:grpFill/>
            </p:grpSpPr>
            <p:sp>
              <p:nvSpPr>
                <p:cNvPr id="6384" name="Freeform 7777">
                  <a:extLst>
                    <a:ext uri="{FF2B5EF4-FFF2-40B4-BE49-F238E27FC236}">
                      <a16:creationId xmlns:a16="http://schemas.microsoft.com/office/drawing/2014/main" id="{75CE5116-426A-0A37-335B-12C5672D07A4}"/>
                    </a:ext>
                  </a:extLst>
                </p:cNvPr>
                <p:cNvSpPr/>
                <p:nvPr/>
              </p:nvSpPr>
              <p:spPr>
                <a:xfrm>
                  <a:off x="6360246" y="1927853"/>
                  <a:ext cx="4419" cy="52189"/>
                </a:xfrm>
                <a:custGeom>
                  <a:avLst/>
                  <a:gdLst>
                    <a:gd name="connsiteX0" fmla="*/ 2533 w 4419"/>
                    <a:gd name="connsiteY0" fmla="*/ 52190 h 52189"/>
                    <a:gd name="connsiteX1" fmla="*/ 4028 w 4419"/>
                    <a:gd name="connsiteY1" fmla="*/ 33381 h 52189"/>
                    <a:gd name="connsiteX2" fmla="*/ 167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789" y="23541"/>
                        <a:pt x="167"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5" name="Freeform 7778">
                  <a:extLst>
                    <a:ext uri="{FF2B5EF4-FFF2-40B4-BE49-F238E27FC236}">
                      <a16:creationId xmlns:a16="http://schemas.microsoft.com/office/drawing/2014/main" id="{D78FA6D1-988C-D618-D866-F160FAE04B71}"/>
                    </a:ext>
                  </a:extLst>
                </p:cNvPr>
                <p:cNvSpPr/>
                <p:nvPr/>
              </p:nvSpPr>
              <p:spPr>
                <a:xfrm>
                  <a:off x="6353258" y="1933334"/>
                  <a:ext cx="3197" cy="52189"/>
                </a:xfrm>
                <a:custGeom>
                  <a:avLst/>
                  <a:gdLst>
                    <a:gd name="connsiteX0" fmla="*/ 553 w 3197"/>
                    <a:gd name="connsiteY0" fmla="*/ 0 h 52189"/>
                    <a:gd name="connsiteX1" fmla="*/ 3044 w 3197"/>
                    <a:gd name="connsiteY1" fmla="*/ 18684 h 52189"/>
                    <a:gd name="connsiteX2" fmla="*/ 55 w 3197"/>
                    <a:gd name="connsiteY2" fmla="*/ 35873 h 52189"/>
                    <a:gd name="connsiteX3" fmla="*/ 2670 w 31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0"/>
                      </a:moveTo>
                      <a:cubicBezTo>
                        <a:pt x="3293" y="7972"/>
                        <a:pt x="3417" y="14324"/>
                        <a:pt x="3044" y="18684"/>
                      </a:cubicBezTo>
                      <a:cubicBezTo>
                        <a:pt x="2421" y="25659"/>
                        <a:pt x="428"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6" name="Freeform 7779">
                  <a:extLst>
                    <a:ext uri="{FF2B5EF4-FFF2-40B4-BE49-F238E27FC236}">
                      <a16:creationId xmlns:a16="http://schemas.microsoft.com/office/drawing/2014/main" id="{E39911AC-AC3D-74B9-73AA-F46FC3B639D2}"/>
                    </a:ext>
                  </a:extLst>
                </p:cNvPr>
                <p:cNvSpPr/>
                <p:nvPr/>
              </p:nvSpPr>
              <p:spPr>
                <a:xfrm>
                  <a:off x="6345962" y="1974056"/>
                  <a:ext cx="26664" cy="26546"/>
                </a:xfrm>
                <a:custGeom>
                  <a:avLst/>
                  <a:gdLst>
                    <a:gd name="connsiteX0" fmla="*/ 2 w 26664"/>
                    <a:gd name="connsiteY0" fmla="*/ 13709 h 26546"/>
                    <a:gd name="connsiteX1" fmla="*/ 12956 w 26664"/>
                    <a:gd name="connsiteY1" fmla="*/ 8 h 26546"/>
                    <a:gd name="connsiteX2" fmla="*/ 26657 w 26664"/>
                    <a:gd name="connsiteY2" fmla="*/ 12837 h 26546"/>
                    <a:gd name="connsiteX3" fmla="*/ 13703 w 26664"/>
                    <a:gd name="connsiteY3" fmla="*/ 26539 h 26546"/>
                    <a:gd name="connsiteX4" fmla="*/ 2 w 26664"/>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3709"/>
                      </a:moveTo>
                      <a:cubicBezTo>
                        <a:pt x="-123" y="6360"/>
                        <a:pt x="5607" y="257"/>
                        <a:pt x="12956" y="8"/>
                      </a:cubicBezTo>
                      <a:cubicBezTo>
                        <a:pt x="20305" y="-241"/>
                        <a:pt x="26408" y="5488"/>
                        <a:pt x="26657" y="12837"/>
                      </a:cubicBezTo>
                      <a:cubicBezTo>
                        <a:pt x="26907" y="20186"/>
                        <a:pt x="21052" y="26290"/>
                        <a:pt x="13703" y="26539"/>
                      </a:cubicBezTo>
                      <a:cubicBezTo>
                        <a:pt x="6354" y="26788"/>
                        <a:pt x="251" y="21058"/>
                        <a:pt x="2"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7" name="Freeform 7780">
                  <a:extLst>
                    <a:ext uri="{FF2B5EF4-FFF2-40B4-BE49-F238E27FC236}">
                      <a16:creationId xmlns:a16="http://schemas.microsoft.com/office/drawing/2014/main" id="{6440B909-6838-2BA4-0411-754DFF534EF9}"/>
                    </a:ext>
                  </a:extLst>
                </p:cNvPr>
                <p:cNvSpPr/>
                <p:nvPr/>
              </p:nvSpPr>
              <p:spPr>
                <a:xfrm>
                  <a:off x="6350679" y="1872176"/>
                  <a:ext cx="4419" cy="52189"/>
                </a:xfrm>
                <a:custGeom>
                  <a:avLst/>
                  <a:gdLst>
                    <a:gd name="connsiteX0" fmla="*/ 1887 w 4419"/>
                    <a:gd name="connsiteY0" fmla="*/ 0 h 52189"/>
                    <a:gd name="connsiteX1" fmla="*/ 392 w 4419"/>
                    <a:gd name="connsiteY1" fmla="*/ 18808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808"/>
                      </a:cubicBezTo>
                      <a:cubicBezTo>
                        <a:pt x="1389" y="25783"/>
                        <a:pt x="3506" y="28648"/>
                        <a:pt x="4253" y="35748"/>
                      </a:cubicBezTo>
                      <a:cubicBezTo>
                        <a:pt x="4876" y="42599"/>
                        <a:pt x="3630" y="48453"/>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8" name="Freeform 7781">
                  <a:extLst>
                    <a:ext uri="{FF2B5EF4-FFF2-40B4-BE49-F238E27FC236}">
                      <a16:creationId xmlns:a16="http://schemas.microsoft.com/office/drawing/2014/main" id="{09D8F30D-B6A3-7A05-B825-C29017A66582}"/>
                    </a:ext>
                  </a:extLst>
                </p:cNvPr>
                <p:cNvSpPr/>
                <p:nvPr/>
              </p:nvSpPr>
              <p:spPr>
                <a:xfrm>
                  <a:off x="6359013" y="1866820"/>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6" y="44218"/>
                        <a:pt x="-220" y="37866"/>
                        <a:pt x="154" y="33506"/>
                      </a:cubicBezTo>
                      <a:cubicBezTo>
                        <a:pt x="776" y="26531"/>
                        <a:pt x="2769" y="23417"/>
                        <a:pt x="3143" y="16317"/>
                      </a:cubicBezTo>
                      <a:cubicBezTo>
                        <a:pt x="3392" y="9466"/>
                        <a:pt x="1897"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9" name="Freeform 7782">
                  <a:extLst>
                    <a:ext uri="{FF2B5EF4-FFF2-40B4-BE49-F238E27FC236}">
                      <a16:creationId xmlns:a16="http://schemas.microsoft.com/office/drawing/2014/main" id="{BAE73A99-361D-1205-FB35-D2A3B78A4394}"/>
                    </a:ext>
                  </a:extLst>
                </p:cNvPr>
                <p:cNvSpPr/>
                <p:nvPr/>
              </p:nvSpPr>
              <p:spPr>
                <a:xfrm>
                  <a:off x="6342848" y="1851616"/>
                  <a:ext cx="26415" cy="26546"/>
                </a:xfrm>
                <a:custGeom>
                  <a:avLst/>
                  <a:gdLst>
                    <a:gd name="connsiteX0" fmla="*/ 26408 w 26415"/>
                    <a:gd name="connsiteY0" fmla="*/ 12837 h 26546"/>
                    <a:gd name="connsiteX1" fmla="*/ 13579 w 26415"/>
                    <a:gd name="connsiteY1" fmla="*/ 26539 h 26546"/>
                    <a:gd name="connsiteX2" fmla="*/ 2 w 26415"/>
                    <a:gd name="connsiteY2" fmla="*/ 13709 h 26546"/>
                    <a:gd name="connsiteX3" fmla="*/ 12831 w 26415"/>
                    <a:gd name="connsiteY3" fmla="*/ 8 h 26546"/>
                    <a:gd name="connsiteX4" fmla="*/ 26408 w 2641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5">
                      <a:moveTo>
                        <a:pt x="26408" y="12837"/>
                      </a:moveTo>
                      <a:cubicBezTo>
                        <a:pt x="26657" y="20186"/>
                        <a:pt x="20803" y="26290"/>
                        <a:pt x="13579" y="26539"/>
                      </a:cubicBezTo>
                      <a:cubicBezTo>
                        <a:pt x="6230" y="26788"/>
                        <a:pt x="251" y="21058"/>
                        <a:pt x="2" y="13709"/>
                      </a:cubicBezTo>
                      <a:cubicBezTo>
                        <a:pt x="-123" y="6360"/>
                        <a:pt x="5607" y="257"/>
                        <a:pt x="12831" y="8"/>
                      </a:cubicBezTo>
                      <a:cubicBezTo>
                        <a:pt x="20056" y="-241"/>
                        <a:pt x="26159" y="5488"/>
                        <a:pt x="2640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9" name="Graphic 2987">
                <a:extLst>
                  <a:ext uri="{FF2B5EF4-FFF2-40B4-BE49-F238E27FC236}">
                    <a16:creationId xmlns:a16="http://schemas.microsoft.com/office/drawing/2014/main" id="{BE9F2049-09A1-C97A-118F-CF5595DB4294}"/>
                  </a:ext>
                </a:extLst>
              </p:cNvPr>
              <p:cNvGrpSpPr/>
              <p:nvPr/>
            </p:nvGrpSpPr>
            <p:grpSpPr>
              <a:xfrm>
                <a:off x="6313328" y="1852852"/>
                <a:ext cx="29530" cy="148865"/>
                <a:chOff x="6313328" y="1852852"/>
                <a:chExt cx="29530" cy="148865"/>
              </a:xfrm>
              <a:grpFill/>
            </p:grpSpPr>
            <p:sp>
              <p:nvSpPr>
                <p:cNvPr id="6378" name="Freeform 7784">
                  <a:extLst>
                    <a:ext uri="{FF2B5EF4-FFF2-40B4-BE49-F238E27FC236}">
                      <a16:creationId xmlns:a16="http://schemas.microsoft.com/office/drawing/2014/main" id="{BA047461-36B1-3ECD-3188-67AF2F2EC5AD}"/>
                    </a:ext>
                  </a:extLst>
                </p:cNvPr>
                <p:cNvSpPr/>
                <p:nvPr/>
              </p:nvSpPr>
              <p:spPr>
                <a:xfrm>
                  <a:off x="6330477" y="1928974"/>
                  <a:ext cx="4419" cy="52189"/>
                </a:xfrm>
                <a:custGeom>
                  <a:avLst/>
                  <a:gdLst>
                    <a:gd name="connsiteX0" fmla="*/ 2533 w 4419"/>
                    <a:gd name="connsiteY0" fmla="*/ 52190 h 52189"/>
                    <a:gd name="connsiteX1" fmla="*/ 4028 w 4419"/>
                    <a:gd name="connsiteY1" fmla="*/ 33381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914" y="23541"/>
                        <a:pt x="166"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9" name="Freeform 7785">
                  <a:extLst>
                    <a:ext uri="{FF2B5EF4-FFF2-40B4-BE49-F238E27FC236}">
                      <a16:creationId xmlns:a16="http://schemas.microsoft.com/office/drawing/2014/main" id="{F4A9A361-E1D6-FBAF-7D69-C2E245C2F791}"/>
                    </a:ext>
                  </a:extLst>
                </p:cNvPr>
                <p:cNvSpPr/>
                <p:nvPr/>
              </p:nvSpPr>
              <p:spPr>
                <a:xfrm>
                  <a:off x="6323614" y="1934330"/>
                  <a:ext cx="3181" cy="52189"/>
                </a:xfrm>
                <a:custGeom>
                  <a:avLst/>
                  <a:gdLst>
                    <a:gd name="connsiteX0" fmla="*/ 553 w 3181"/>
                    <a:gd name="connsiteY0" fmla="*/ 0 h 52189"/>
                    <a:gd name="connsiteX1" fmla="*/ 3044 w 3181"/>
                    <a:gd name="connsiteY1" fmla="*/ 18684 h 52189"/>
                    <a:gd name="connsiteX2" fmla="*/ 55 w 3181"/>
                    <a:gd name="connsiteY2" fmla="*/ 35873 h 52189"/>
                    <a:gd name="connsiteX3" fmla="*/ 2670 w 31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81" h="52189">
                      <a:moveTo>
                        <a:pt x="553" y="0"/>
                      </a:moveTo>
                      <a:cubicBezTo>
                        <a:pt x="3168" y="7972"/>
                        <a:pt x="3417" y="14324"/>
                        <a:pt x="3044" y="18684"/>
                      </a:cubicBezTo>
                      <a:cubicBezTo>
                        <a:pt x="2421" y="25659"/>
                        <a:pt x="304"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0" name="Freeform 7786">
                  <a:extLst>
                    <a:ext uri="{FF2B5EF4-FFF2-40B4-BE49-F238E27FC236}">
                      <a16:creationId xmlns:a16="http://schemas.microsoft.com/office/drawing/2014/main" id="{41C7B2AA-4C57-7133-25A3-7EDFFEE2BC71}"/>
                    </a:ext>
                  </a:extLst>
                </p:cNvPr>
                <p:cNvSpPr/>
                <p:nvPr/>
              </p:nvSpPr>
              <p:spPr>
                <a:xfrm>
                  <a:off x="6316193" y="1975177"/>
                  <a:ext cx="26665" cy="26540"/>
                </a:xfrm>
                <a:custGeom>
                  <a:avLst/>
                  <a:gdLst>
                    <a:gd name="connsiteX0" fmla="*/ 2 w 26665"/>
                    <a:gd name="connsiteY0" fmla="*/ 13460 h 26540"/>
                    <a:gd name="connsiteX1" fmla="*/ 12956 w 26665"/>
                    <a:gd name="connsiteY1" fmla="*/ 8 h 26540"/>
                    <a:gd name="connsiteX2" fmla="*/ 26658 w 26665"/>
                    <a:gd name="connsiteY2" fmla="*/ 12837 h 26540"/>
                    <a:gd name="connsiteX3" fmla="*/ 13703 w 26665"/>
                    <a:gd name="connsiteY3" fmla="*/ 26539 h 26540"/>
                    <a:gd name="connsiteX4" fmla="*/ 2 w 2666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0">
                      <a:moveTo>
                        <a:pt x="2" y="13460"/>
                      </a:moveTo>
                      <a:cubicBezTo>
                        <a:pt x="-123" y="6111"/>
                        <a:pt x="5607" y="257"/>
                        <a:pt x="12956" y="8"/>
                      </a:cubicBezTo>
                      <a:cubicBezTo>
                        <a:pt x="20305" y="-241"/>
                        <a:pt x="26408" y="5488"/>
                        <a:pt x="26658" y="12837"/>
                      </a:cubicBezTo>
                      <a:cubicBezTo>
                        <a:pt x="26907" y="20186"/>
                        <a:pt x="21052" y="26290"/>
                        <a:pt x="13703" y="26539"/>
                      </a:cubicBezTo>
                      <a:cubicBezTo>
                        <a:pt x="6230" y="26663"/>
                        <a:pt x="127" y="20684"/>
                        <a:pt x="2"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1" name="Freeform 7787">
                  <a:extLst>
                    <a:ext uri="{FF2B5EF4-FFF2-40B4-BE49-F238E27FC236}">
                      <a16:creationId xmlns:a16="http://schemas.microsoft.com/office/drawing/2014/main" id="{2D6C1A1B-1C62-30D7-28E6-B50D8DFE8D23}"/>
                    </a:ext>
                  </a:extLst>
                </p:cNvPr>
                <p:cNvSpPr/>
                <p:nvPr/>
              </p:nvSpPr>
              <p:spPr>
                <a:xfrm>
                  <a:off x="6321283" y="1873172"/>
                  <a:ext cx="4419" cy="52065"/>
                </a:xfrm>
                <a:custGeom>
                  <a:avLst/>
                  <a:gdLst>
                    <a:gd name="connsiteX0" fmla="*/ 1887 w 4419"/>
                    <a:gd name="connsiteY0" fmla="*/ 0 h 52065"/>
                    <a:gd name="connsiteX1" fmla="*/ 392 w 4419"/>
                    <a:gd name="connsiteY1" fmla="*/ 18684 h 52065"/>
                    <a:gd name="connsiteX2" fmla="*/ 4253 w 4419"/>
                    <a:gd name="connsiteY2" fmla="*/ 35624 h 52065"/>
                    <a:gd name="connsiteX3" fmla="*/ 2510 w 4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419" h="52065">
                      <a:moveTo>
                        <a:pt x="1887" y="0"/>
                      </a:moveTo>
                      <a:cubicBezTo>
                        <a:pt x="-355" y="8096"/>
                        <a:pt x="-231" y="14449"/>
                        <a:pt x="392" y="18684"/>
                      </a:cubicBezTo>
                      <a:cubicBezTo>
                        <a:pt x="1388" y="25659"/>
                        <a:pt x="3506" y="28648"/>
                        <a:pt x="4253" y="35624"/>
                      </a:cubicBezTo>
                      <a:cubicBezTo>
                        <a:pt x="4876" y="42474"/>
                        <a:pt x="3631" y="48328"/>
                        <a:pt x="25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2" name="Freeform 7788">
                  <a:extLst>
                    <a:ext uri="{FF2B5EF4-FFF2-40B4-BE49-F238E27FC236}">
                      <a16:creationId xmlns:a16="http://schemas.microsoft.com/office/drawing/2014/main" id="{2252C95C-BF71-2725-4DBE-50E38C652DD9}"/>
                    </a:ext>
                  </a:extLst>
                </p:cNvPr>
                <p:cNvSpPr/>
                <p:nvPr/>
              </p:nvSpPr>
              <p:spPr>
                <a:xfrm>
                  <a:off x="6329385" y="1867816"/>
                  <a:ext cx="3181" cy="52189"/>
                </a:xfrm>
                <a:custGeom>
                  <a:avLst/>
                  <a:gdLst>
                    <a:gd name="connsiteX0" fmla="*/ 2629 w 3181"/>
                    <a:gd name="connsiteY0" fmla="*/ 52190 h 52189"/>
                    <a:gd name="connsiteX1" fmla="*/ 138 w 3181"/>
                    <a:gd name="connsiteY1" fmla="*/ 33506 h 52189"/>
                    <a:gd name="connsiteX2" fmla="*/ 3127 w 3181"/>
                    <a:gd name="connsiteY2" fmla="*/ 16317 h 52189"/>
                    <a:gd name="connsiteX3" fmla="*/ 636 w 3181"/>
                    <a:gd name="connsiteY3" fmla="*/ 0 h 52189"/>
                  </a:gdLst>
                  <a:ahLst/>
                  <a:cxnLst>
                    <a:cxn ang="0">
                      <a:pos x="connsiteX0" y="connsiteY0"/>
                    </a:cxn>
                    <a:cxn ang="0">
                      <a:pos x="connsiteX1" y="connsiteY1"/>
                    </a:cxn>
                    <a:cxn ang="0">
                      <a:pos x="connsiteX2" y="connsiteY2"/>
                    </a:cxn>
                    <a:cxn ang="0">
                      <a:pos x="connsiteX3" y="connsiteY3"/>
                    </a:cxn>
                  </a:cxnLst>
                  <a:rect l="l" t="t" r="r" b="b"/>
                  <a:pathLst>
                    <a:path w="3181" h="52189">
                      <a:moveTo>
                        <a:pt x="2629" y="52190"/>
                      </a:moveTo>
                      <a:cubicBezTo>
                        <a:pt x="13" y="44218"/>
                        <a:pt x="-236" y="37866"/>
                        <a:pt x="138" y="33506"/>
                      </a:cubicBezTo>
                      <a:cubicBezTo>
                        <a:pt x="760" y="26531"/>
                        <a:pt x="2753" y="23417"/>
                        <a:pt x="3127" y="16317"/>
                      </a:cubicBezTo>
                      <a:cubicBezTo>
                        <a:pt x="3501" y="9466"/>
                        <a:pt x="1881" y="3737"/>
                        <a:pt x="6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3" name="Freeform 7789">
                  <a:extLst>
                    <a:ext uri="{FF2B5EF4-FFF2-40B4-BE49-F238E27FC236}">
                      <a16:creationId xmlns:a16="http://schemas.microsoft.com/office/drawing/2014/main" id="{29D7A3C8-A6D1-9E74-FD96-5C5537E16955}"/>
                    </a:ext>
                  </a:extLst>
                </p:cNvPr>
                <p:cNvSpPr/>
                <p:nvPr/>
              </p:nvSpPr>
              <p:spPr>
                <a:xfrm>
                  <a:off x="6313328" y="1852852"/>
                  <a:ext cx="26410" cy="26431"/>
                </a:xfrm>
                <a:custGeom>
                  <a:avLst/>
                  <a:gdLst>
                    <a:gd name="connsiteX0" fmla="*/ 26409 w 26410"/>
                    <a:gd name="connsiteY0" fmla="*/ 12722 h 26431"/>
                    <a:gd name="connsiteX1" fmla="*/ 13579 w 26410"/>
                    <a:gd name="connsiteY1" fmla="*/ 26424 h 26431"/>
                    <a:gd name="connsiteX2" fmla="*/ 2 w 26410"/>
                    <a:gd name="connsiteY2" fmla="*/ 13470 h 26431"/>
                    <a:gd name="connsiteX3" fmla="*/ 12832 w 26410"/>
                    <a:gd name="connsiteY3" fmla="*/ 17 h 26431"/>
                    <a:gd name="connsiteX4" fmla="*/ 26409 w 26410"/>
                    <a:gd name="connsiteY4" fmla="*/ 12722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31">
                      <a:moveTo>
                        <a:pt x="26409" y="12722"/>
                      </a:moveTo>
                      <a:cubicBezTo>
                        <a:pt x="26533" y="20071"/>
                        <a:pt x="20803" y="26174"/>
                        <a:pt x="13579" y="26424"/>
                      </a:cubicBezTo>
                      <a:cubicBezTo>
                        <a:pt x="6230" y="26673"/>
                        <a:pt x="251" y="20694"/>
                        <a:pt x="2" y="13470"/>
                      </a:cubicBezTo>
                      <a:cubicBezTo>
                        <a:pt x="-122" y="6121"/>
                        <a:pt x="5607" y="266"/>
                        <a:pt x="12832" y="17"/>
                      </a:cubicBezTo>
                      <a:cubicBezTo>
                        <a:pt x="20181" y="-356"/>
                        <a:pt x="26284" y="5373"/>
                        <a:pt x="26409" y="127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0" name="Graphic 2987">
                <a:extLst>
                  <a:ext uri="{FF2B5EF4-FFF2-40B4-BE49-F238E27FC236}">
                    <a16:creationId xmlns:a16="http://schemas.microsoft.com/office/drawing/2014/main" id="{29D8BA1C-39BB-9FEA-8641-4B09E07DD885}"/>
                  </a:ext>
                </a:extLst>
              </p:cNvPr>
              <p:cNvGrpSpPr/>
              <p:nvPr/>
            </p:nvGrpSpPr>
            <p:grpSpPr>
              <a:xfrm>
                <a:off x="6283808" y="1853241"/>
                <a:ext cx="29275" cy="148850"/>
                <a:chOff x="6283808" y="1853241"/>
                <a:chExt cx="29275" cy="148850"/>
              </a:xfrm>
              <a:grpFill/>
            </p:grpSpPr>
            <p:sp>
              <p:nvSpPr>
                <p:cNvPr id="6372" name="Freeform 7791">
                  <a:extLst>
                    <a:ext uri="{FF2B5EF4-FFF2-40B4-BE49-F238E27FC236}">
                      <a16:creationId xmlns:a16="http://schemas.microsoft.com/office/drawing/2014/main" id="{F7FDF02E-7885-BE7A-F1BB-19B2C665002F}"/>
                    </a:ext>
                  </a:extLst>
                </p:cNvPr>
                <p:cNvSpPr/>
                <p:nvPr/>
              </p:nvSpPr>
              <p:spPr>
                <a:xfrm>
                  <a:off x="6300832" y="1929472"/>
                  <a:ext cx="4358" cy="52189"/>
                </a:xfrm>
                <a:custGeom>
                  <a:avLst/>
                  <a:gdLst>
                    <a:gd name="connsiteX0" fmla="*/ 2408 w 4358"/>
                    <a:gd name="connsiteY0" fmla="*/ 52190 h 52189"/>
                    <a:gd name="connsiteX1" fmla="*/ 4028 w 4358"/>
                    <a:gd name="connsiteY1" fmla="*/ 33506 h 52189"/>
                    <a:gd name="connsiteX2" fmla="*/ 166 w 4358"/>
                    <a:gd name="connsiteY2" fmla="*/ 16442 h 52189"/>
                    <a:gd name="connsiteX3" fmla="*/ 1910 w 4358"/>
                    <a:gd name="connsiteY3" fmla="*/ 0 h 52189"/>
                  </a:gdLst>
                  <a:ahLst/>
                  <a:cxnLst>
                    <a:cxn ang="0">
                      <a:pos x="connsiteX0" y="connsiteY0"/>
                    </a:cxn>
                    <a:cxn ang="0">
                      <a:pos x="connsiteX1" y="connsiteY1"/>
                    </a:cxn>
                    <a:cxn ang="0">
                      <a:pos x="connsiteX2" y="connsiteY2"/>
                    </a:cxn>
                    <a:cxn ang="0">
                      <a:pos x="connsiteX3" y="connsiteY3"/>
                    </a:cxn>
                  </a:cxnLst>
                  <a:rect l="l" t="t" r="r" b="b"/>
                  <a:pathLst>
                    <a:path w="4358" h="52189">
                      <a:moveTo>
                        <a:pt x="2408" y="52190"/>
                      </a:moveTo>
                      <a:cubicBezTo>
                        <a:pt x="4775" y="44093"/>
                        <a:pt x="4526" y="37741"/>
                        <a:pt x="4028" y="33506"/>
                      </a:cubicBezTo>
                      <a:cubicBezTo>
                        <a:pt x="3031"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3" name="Freeform 7792">
                  <a:extLst>
                    <a:ext uri="{FF2B5EF4-FFF2-40B4-BE49-F238E27FC236}">
                      <a16:creationId xmlns:a16="http://schemas.microsoft.com/office/drawing/2014/main" id="{C961B1E5-F240-F5AF-5562-2917930914DE}"/>
                    </a:ext>
                  </a:extLst>
                </p:cNvPr>
                <p:cNvSpPr/>
                <p:nvPr/>
              </p:nvSpPr>
              <p:spPr>
                <a:xfrm>
                  <a:off x="6293595" y="1934704"/>
                  <a:ext cx="3324" cy="52065"/>
                </a:xfrm>
                <a:custGeom>
                  <a:avLst/>
                  <a:gdLst>
                    <a:gd name="connsiteX0" fmla="*/ 802 w 3324"/>
                    <a:gd name="connsiteY0" fmla="*/ 0 h 52065"/>
                    <a:gd name="connsiteX1" fmla="*/ 3169 w 3324"/>
                    <a:gd name="connsiteY1" fmla="*/ 18684 h 52065"/>
                    <a:gd name="connsiteX2" fmla="*/ 55 w 3324"/>
                    <a:gd name="connsiteY2" fmla="*/ 35748 h 52065"/>
                    <a:gd name="connsiteX3" fmla="*/ 2546 w 332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4" h="52065">
                      <a:moveTo>
                        <a:pt x="802" y="0"/>
                      </a:moveTo>
                      <a:cubicBezTo>
                        <a:pt x="3418" y="7972"/>
                        <a:pt x="3542" y="14324"/>
                        <a:pt x="3169" y="18684"/>
                      </a:cubicBezTo>
                      <a:cubicBezTo>
                        <a:pt x="2546" y="25659"/>
                        <a:pt x="428" y="28773"/>
                        <a:pt x="55" y="35748"/>
                      </a:cubicBezTo>
                      <a:cubicBezTo>
                        <a:pt x="-319" y="42599"/>
                        <a:pt x="1300" y="48328"/>
                        <a:pt x="254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4" name="Freeform 7793">
                  <a:extLst>
                    <a:ext uri="{FF2B5EF4-FFF2-40B4-BE49-F238E27FC236}">
                      <a16:creationId xmlns:a16="http://schemas.microsoft.com/office/drawing/2014/main" id="{8B50D2A1-9DB1-DDBF-3E06-A246791581A8}"/>
                    </a:ext>
                  </a:extLst>
                </p:cNvPr>
                <p:cNvSpPr/>
                <p:nvPr/>
              </p:nvSpPr>
              <p:spPr>
                <a:xfrm>
                  <a:off x="6286424" y="1975557"/>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2" y="5732"/>
                        <a:pt x="26657" y="13080"/>
                      </a:cubicBezTo>
                      <a:cubicBezTo>
                        <a:pt x="26782" y="20429"/>
                        <a:pt x="20928" y="26408"/>
                        <a:pt x="13579" y="26533"/>
                      </a:cubicBezTo>
                      <a:cubicBezTo>
                        <a:pt x="6230" y="26657"/>
                        <a:pt x="126"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5" name="Freeform 7794">
                  <a:extLst>
                    <a:ext uri="{FF2B5EF4-FFF2-40B4-BE49-F238E27FC236}">
                      <a16:creationId xmlns:a16="http://schemas.microsoft.com/office/drawing/2014/main" id="{58ED4ADB-9689-8A2F-FDB2-66138C4D120C}"/>
                    </a:ext>
                  </a:extLst>
                </p:cNvPr>
                <p:cNvSpPr/>
                <p:nvPr/>
              </p:nvSpPr>
              <p:spPr>
                <a:xfrm>
                  <a:off x="6291730" y="1873546"/>
                  <a:ext cx="4203" cy="52189"/>
                </a:xfrm>
                <a:custGeom>
                  <a:avLst/>
                  <a:gdLst>
                    <a:gd name="connsiteX0" fmla="*/ 1920 w 4203"/>
                    <a:gd name="connsiteY0" fmla="*/ 0 h 52189"/>
                    <a:gd name="connsiteX1" fmla="*/ 300 w 4203"/>
                    <a:gd name="connsiteY1" fmla="*/ 18684 h 52189"/>
                    <a:gd name="connsiteX2" fmla="*/ 4037 w 4203"/>
                    <a:gd name="connsiteY2" fmla="*/ 35748 h 52189"/>
                    <a:gd name="connsiteX3" fmla="*/ 2293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1920" y="0"/>
                      </a:moveTo>
                      <a:cubicBezTo>
                        <a:pt x="-322" y="8096"/>
                        <a:pt x="-198" y="14449"/>
                        <a:pt x="300" y="18684"/>
                      </a:cubicBezTo>
                      <a:cubicBezTo>
                        <a:pt x="1172" y="25659"/>
                        <a:pt x="3414" y="28648"/>
                        <a:pt x="4037" y="35748"/>
                      </a:cubicBezTo>
                      <a:cubicBezTo>
                        <a:pt x="4660" y="42599"/>
                        <a:pt x="3414" y="48328"/>
                        <a:pt x="229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6" name="Freeform 7795">
                  <a:extLst>
                    <a:ext uri="{FF2B5EF4-FFF2-40B4-BE49-F238E27FC236}">
                      <a16:creationId xmlns:a16="http://schemas.microsoft.com/office/drawing/2014/main" id="{EF78B0E7-7F6A-E0C8-5035-C3524F2218F4}"/>
                    </a:ext>
                  </a:extLst>
                </p:cNvPr>
                <p:cNvSpPr/>
                <p:nvPr/>
              </p:nvSpPr>
              <p:spPr>
                <a:xfrm>
                  <a:off x="6299847" y="1868439"/>
                  <a:ext cx="3199" cy="52065"/>
                </a:xfrm>
                <a:custGeom>
                  <a:avLst/>
                  <a:gdLst>
                    <a:gd name="connsiteX0" fmla="*/ 2522 w 3199"/>
                    <a:gd name="connsiteY0" fmla="*/ 52065 h 52065"/>
                    <a:gd name="connsiteX1" fmla="*/ 156 w 3199"/>
                    <a:gd name="connsiteY1" fmla="*/ 33381 h 52065"/>
                    <a:gd name="connsiteX2" fmla="*/ 3145 w 3199"/>
                    <a:gd name="connsiteY2" fmla="*/ 16317 h 52065"/>
                    <a:gd name="connsiteX3" fmla="*/ 654 w 3199"/>
                    <a:gd name="connsiteY3" fmla="*/ 0 h 52065"/>
                  </a:gdLst>
                  <a:ahLst/>
                  <a:cxnLst>
                    <a:cxn ang="0">
                      <a:pos x="connsiteX0" y="connsiteY0"/>
                    </a:cxn>
                    <a:cxn ang="0">
                      <a:pos x="connsiteX1" y="connsiteY1"/>
                    </a:cxn>
                    <a:cxn ang="0">
                      <a:pos x="connsiteX2" y="connsiteY2"/>
                    </a:cxn>
                    <a:cxn ang="0">
                      <a:pos x="connsiteX3" y="connsiteY3"/>
                    </a:cxn>
                  </a:cxnLst>
                  <a:rect l="l" t="t" r="r" b="b"/>
                  <a:pathLst>
                    <a:path w="3199" h="52065">
                      <a:moveTo>
                        <a:pt x="2522" y="52065"/>
                      </a:moveTo>
                      <a:cubicBezTo>
                        <a:pt x="-94" y="44093"/>
                        <a:pt x="-218" y="37741"/>
                        <a:pt x="156" y="33381"/>
                      </a:cubicBezTo>
                      <a:cubicBezTo>
                        <a:pt x="778" y="26406"/>
                        <a:pt x="2896" y="23292"/>
                        <a:pt x="3145" y="16317"/>
                      </a:cubicBezTo>
                      <a:cubicBezTo>
                        <a:pt x="3519"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7" name="Freeform 7796">
                  <a:extLst>
                    <a:ext uri="{FF2B5EF4-FFF2-40B4-BE49-F238E27FC236}">
                      <a16:creationId xmlns:a16="http://schemas.microsoft.com/office/drawing/2014/main" id="{BCE1FAA7-3C63-06DA-4A14-5B5C97B6B350}"/>
                    </a:ext>
                  </a:extLst>
                </p:cNvPr>
                <p:cNvSpPr/>
                <p:nvPr/>
              </p:nvSpPr>
              <p:spPr>
                <a:xfrm>
                  <a:off x="6283808" y="1853241"/>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803" y="26408"/>
                        <a:pt x="13454" y="26533"/>
                      </a:cubicBezTo>
                      <a:cubicBezTo>
                        <a:pt x="6106" y="26657"/>
                        <a:pt x="127" y="20803"/>
                        <a:pt x="2" y="13454"/>
                      </a:cubicBezTo>
                      <a:cubicBezTo>
                        <a:pt x="-122" y="6105"/>
                        <a:pt x="5607" y="126"/>
                        <a:pt x="12956"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1" name="Graphic 2987">
                <a:extLst>
                  <a:ext uri="{FF2B5EF4-FFF2-40B4-BE49-F238E27FC236}">
                    <a16:creationId xmlns:a16="http://schemas.microsoft.com/office/drawing/2014/main" id="{4693006D-7BCC-141D-B131-0541F156FE2B}"/>
                  </a:ext>
                </a:extLst>
              </p:cNvPr>
              <p:cNvGrpSpPr/>
              <p:nvPr/>
            </p:nvGrpSpPr>
            <p:grpSpPr>
              <a:xfrm>
                <a:off x="6254288" y="1853492"/>
                <a:ext cx="28901" cy="148971"/>
                <a:chOff x="6254288" y="1853492"/>
                <a:chExt cx="28901" cy="148971"/>
              </a:xfrm>
              <a:grpFill/>
            </p:grpSpPr>
            <p:sp>
              <p:nvSpPr>
                <p:cNvPr id="6366" name="Freeform 7798">
                  <a:extLst>
                    <a:ext uri="{FF2B5EF4-FFF2-40B4-BE49-F238E27FC236}">
                      <a16:creationId xmlns:a16="http://schemas.microsoft.com/office/drawing/2014/main" id="{2FDDE5FF-FA3A-26FA-C45C-4FE2C3F8F7B6}"/>
                    </a:ext>
                  </a:extLst>
                </p:cNvPr>
                <p:cNvSpPr/>
                <p:nvPr/>
              </p:nvSpPr>
              <p:spPr>
                <a:xfrm>
                  <a:off x="6271188" y="1929846"/>
                  <a:ext cx="4288" cy="52189"/>
                </a:xfrm>
                <a:custGeom>
                  <a:avLst/>
                  <a:gdLst>
                    <a:gd name="connsiteX0" fmla="*/ 2283 w 4288"/>
                    <a:gd name="connsiteY0" fmla="*/ 52190 h 52189"/>
                    <a:gd name="connsiteX1" fmla="*/ 3903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3" y="33506"/>
                      </a:cubicBezTo>
                      <a:cubicBezTo>
                        <a:pt x="3031" y="26531"/>
                        <a:pt x="789" y="23541"/>
                        <a:pt x="166" y="16442"/>
                      </a:cubicBezTo>
                      <a:cubicBezTo>
                        <a:pt x="-457"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7" name="Freeform 7799">
                  <a:extLst>
                    <a:ext uri="{FF2B5EF4-FFF2-40B4-BE49-F238E27FC236}">
                      <a16:creationId xmlns:a16="http://schemas.microsoft.com/office/drawing/2014/main" id="{33A524C8-C469-4EE6-C2CC-9EF3C1F20BAE}"/>
                    </a:ext>
                  </a:extLst>
                </p:cNvPr>
                <p:cNvSpPr/>
                <p:nvPr/>
              </p:nvSpPr>
              <p:spPr>
                <a:xfrm>
                  <a:off x="6263947" y="1935078"/>
                  <a:ext cx="3327" cy="52065"/>
                </a:xfrm>
                <a:custGeom>
                  <a:avLst/>
                  <a:gdLst>
                    <a:gd name="connsiteX0" fmla="*/ 806 w 3327"/>
                    <a:gd name="connsiteY0" fmla="*/ 0 h 52065"/>
                    <a:gd name="connsiteX1" fmla="*/ 3172 w 3327"/>
                    <a:gd name="connsiteY1" fmla="*/ 18684 h 52065"/>
                    <a:gd name="connsiteX2" fmla="*/ 58 w 3327"/>
                    <a:gd name="connsiteY2" fmla="*/ 35748 h 52065"/>
                    <a:gd name="connsiteX3" fmla="*/ 2550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806" y="0"/>
                      </a:moveTo>
                      <a:cubicBezTo>
                        <a:pt x="3422" y="7972"/>
                        <a:pt x="3546" y="14324"/>
                        <a:pt x="3172" y="18684"/>
                      </a:cubicBezTo>
                      <a:cubicBezTo>
                        <a:pt x="2550" y="25659"/>
                        <a:pt x="432" y="28773"/>
                        <a:pt x="58" y="35748"/>
                      </a:cubicBezTo>
                      <a:cubicBezTo>
                        <a:pt x="-315" y="42599"/>
                        <a:pt x="1179" y="48328"/>
                        <a:pt x="255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8" name="Freeform 7800">
                  <a:extLst>
                    <a:ext uri="{FF2B5EF4-FFF2-40B4-BE49-F238E27FC236}">
                      <a16:creationId xmlns:a16="http://schemas.microsoft.com/office/drawing/2014/main" id="{1BA96893-514E-FFA7-C11B-94A40125BDF4}"/>
                    </a:ext>
                  </a:extLst>
                </p:cNvPr>
                <p:cNvSpPr/>
                <p:nvPr/>
              </p:nvSpPr>
              <p:spPr>
                <a:xfrm>
                  <a:off x="6256530" y="1975930"/>
                  <a:ext cx="26659" cy="26532"/>
                </a:xfrm>
                <a:custGeom>
                  <a:avLst/>
                  <a:gdLst>
                    <a:gd name="connsiteX0" fmla="*/ 2 w 26659"/>
                    <a:gd name="connsiteY0" fmla="*/ 13454 h 26532"/>
                    <a:gd name="connsiteX1" fmla="*/ 13081 w 26659"/>
                    <a:gd name="connsiteY1" fmla="*/ 2 h 26532"/>
                    <a:gd name="connsiteX2" fmla="*/ 26657 w 26659"/>
                    <a:gd name="connsiteY2" fmla="*/ 13080 h 26532"/>
                    <a:gd name="connsiteX3" fmla="*/ 13579 w 26659"/>
                    <a:gd name="connsiteY3" fmla="*/ 26533 h 26532"/>
                    <a:gd name="connsiteX4" fmla="*/ 2 w 26659"/>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1">
                      <a:moveTo>
                        <a:pt x="2" y="13454"/>
                      </a:moveTo>
                      <a:cubicBezTo>
                        <a:pt x="-122" y="6105"/>
                        <a:pt x="5732" y="126"/>
                        <a:pt x="13081" y="2"/>
                      </a:cubicBezTo>
                      <a:cubicBezTo>
                        <a:pt x="20430" y="-123"/>
                        <a:pt x="26533" y="5732"/>
                        <a:pt x="26657" y="13080"/>
                      </a:cubicBezTo>
                      <a:cubicBezTo>
                        <a:pt x="26782" y="20429"/>
                        <a:pt x="20928" y="26408"/>
                        <a:pt x="13579" y="26533"/>
                      </a:cubicBezTo>
                      <a:cubicBezTo>
                        <a:pt x="6230" y="26533"/>
                        <a:pt x="251"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9" name="Freeform 7801">
                  <a:extLst>
                    <a:ext uri="{FF2B5EF4-FFF2-40B4-BE49-F238E27FC236}">
                      <a16:creationId xmlns:a16="http://schemas.microsoft.com/office/drawing/2014/main" id="{DE36AA7C-C486-C835-F6FC-B63E9AAD99AF}"/>
                    </a:ext>
                  </a:extLst>
                </p:cNvPr>
                <p:cNvSpPr/>
                <p:nvPr/>
              </p:nvSpPr>
              <p:spPr>
                <a:xfrm>
                  <a:off x="6262000" y="1873920"/>
                  <a:ext cx="4288" cy="52189"/>
                </a:xfrm>
                <a:custGeom>
                  <a:avLst/>
                  <a:gdLst>
                    <a:gd name="connsiteX0" fmla="*/ 2005 w 4288"/>
                    <a:gd name="connsiteY0" fmla="*/ 0 h 52189"/>
                    <a:gd name="connsiteX1" fmla="*/ 386 w 4288"/>
                    <a:gd name="connsiteY1" fmla="*/ 18684 h 52189"/>
                    <a:gd name="connsiteX2" fmla="*/ 4123 w 4288"/>
                    <a:gd name="connsiteY2" fmla="*/ 35748 h 52189"/>
                    <a:gd name="connsiteX3" fmla="*/ 2255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6"/>
                        <a:pt x="-237" y="14449"/>
                        <a:pt x="386" y="18684"/>
                      </a:cubicBezTo>
                      <a:cubicBezTo>
                        <a:pt x="1258" y="25659"/>
                        <a:pt x="3500" y="28648"/>
                        <a:pt x="4123" y="35748"/>
                      </a:cubicBezTo>
                      <a:cubicBezTo>
                        <a:pt x="4745" y="42599"/>
                        <a:pt x="3500" y="48328"/>
                        <a:pt x="22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0" name="Freeform 7802">
                  <a:extLst>
                    <a:ext uri="{FF2B5EF4-FFF2-40B4-BE49-F238E27FC236}">
                      <a16:creationId xmlns:a16="http://schemas.microsoft.com/office/drawing/2014/main" id="{68547D3F-D277-FF1A-5CC2-860CC9727063}"/>
                    </a:ext>
                  </a:extLst>
                </p:cNvPr>
                <p:cNvSpPr/>
                <p:nvPr/>
              </p:nvSpPr>
              <p:spPr>
                <a:xfrm>
                  <a:off x="6270202" y="1868813"/>
                  <a:ext cx="3327" cy="52065"/>
                </a:xfrm>
                <a:custGeom>
                  <a:avLst/>
                  <a:gdLst>
                    <a:gd name="connsiteX0" fmla="*/ 2522 w 3327"/>
                    <a:gd name="connsiteY0" fmla="*/ 52065 h 52065"/>
                    <a:gd name="connsiteX1" fmla="*/ 156 w 3327"/>
                    <a:gd name="connsiteY1" fmla="*/ 33381 h 52065"/>
                    <a:gd name="connsiteX2" fmla="*/ 3270 w 3327"/>
                    <a:gd name="connsiteY2" fmla="*/ 16317 h 52065"/>
                    <a:gd name="connsiteX3" fmla="*/ 778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52065"/>
                      </a:moveTo>
                      <a:cubicBezTo>
                        <a:pt x="-93" y="44093"/>
                        <a:pt x="-218" y="37741"/>
                        <a:pt x="156" y="33381"/>
                      </a:cubicBezTo>
                      <a:cubicBezTo>
                        <a:pt x="778" y="26406"/>
                        <a:pt x="2896" y="23292"/>
                        <a:pt x="3270" y="16317"/>
                      </a:cubicBezTo>
                      <a:cubicBezTo>
                        <a:pt x="3643" y="9466"/>
                        <a:pt x="2149" y="3737"/>
                        <a:pt x="7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1" name="Freeform 7803">
                  <a:extLst>
                    <a:ext uri="{FF2B5EF4-FFF2-40B4-BE49-F238E27FC236}">
                      <a16:creationId xmlns:a16="http://schemas.microsoft.com/office/drawing/2014/main" id="{FD6E62DD-1A01-6F1C-36EF-94D9E809AEF3}"/>
                    </a:ext>
                  </a:extLst>
                </p:cNvPr>
                <p:cNvSpPr/>
                <p:nvPr/>
              </p:nvSpPr>
              <p:spPr>
                <a:xfrm>
                  <a:off x="6254288" y="1853492"/>
                  <a:ext cx="26410" cy="26532"/>
                </a:xfrm>
                <a:custGeom>
                  <a:avLst/>
                  <a:gdLst>
                    <a:gd name="connsiteX0" fmla="*/ 26408 w 26410"/>
                    <a:gd name="connsiteY0" fmla="*/ 13079 h 26532"/>
                    <a:gd name="connsiteX1" fmla="*/ 13454 w 26410"/>
                    <a:gd name="connsiteY1" fmla="*/ 26531 h 26532"/>
                    <a:gd name="connsiteX2" fmla="*/ 2 w 26410"/>
                    <a:gd name="connsiteY2" fmla="*/ 13452 h 26532"/>
                    <a:gd name="connsiteX3" fmla="*/ 12956 w 26410"/>
                    <a:gd name="connsiteY3" fmla="*/ 0 h 26532"/>
                    <a:gd name="connsiteX4" fmla="*/ 26408 w 26410"/>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1">
                      <a:moveTo>
                        <a:pt x="26408" y="13079"/>
                      </a:moveTo>
                      <a:cubicBezTo>
                        <a:pt x="26533" y="20427"/>
                        <a:pt x="20803" y="26406"/>
                        <a:pt x="13454" y="26531"/>
                      </a:cubicBezTo>
                      <a:cubicBezTo>
                        <a:pt x="6105" y="26655"/>
                        <a:pt x="127" y="20801"/>
                        <a:pt x="2" y="13452"/>
                      </a:cubicBezTo>
                      <a:cubicBezTo>
                        <a:pt x="-123" y="6103"/>
                        <a:pt x="5607" y="125"/>
                        <a:pt x="12956" y="0"/>
                      </a:cubicBezTo>
                      <a:cubicBezTo>
                        <a:pt x="20305" y="0"/>
                        <a:pt x="26284"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2" name="Graphic 2987">
                <a:extLst>
                  <a:ext uri="{FF2B5EF4-FFF2-40B4-BE49-F238E27FC236}">
                    <a16:creationId xmlns:a16="http://schemas.microsoft.com/office/drawing/2014/main" id="{6B307B6A-DA27-9805-060E-6FF945392B9D}"/>
                  </a:ext>
                </a:extLst>
              </p:cNvPr>
              <p:cNvGrpSpPr/>
              <p:nvPr/>
            </p:nvGrpSpPr>
            <p:grpSpPr>
              <a:xfrm>
                <a:off x="6224892" y="1853864"/>
                <a:ext cx="28527" cy="148850"/>
                <a:chOff x="6224892" y="1853864"/>
                <a:chExt cx="28527" cy="148850"/>
              </a:xfrm>
              <a:grpFill/>
            </p:grpSpPr>
            <p:sp>
              <p:nvSpPr>
                <p:cNvPr id="6360" name="Freeform 7805">
                  <a:extLst>
                    <a:ext uri="{FF2B5EF4-FFF2-40B4-BE49-F238E27FC236}">
                      <a16:creationId xmlns:a16="http://schemas.microsoft.com/office/drawing/2014/main" id="{793CA616-D437-0E3D-9527-249190F9F5CF}"/>
                    </a:ext>
                  </a:extLst>
                </p:cNvPr>
                <p:cNvSpPr/>
                <p:nvPr/>
              </p:nvSpPr>
              <p:spPr>
                <a:xfrm>
                  <a:off x="6241429" y="1930220"/>
                  <a:ext cx="4278" cy="52189"/>
                </a:xfrm>
                <a:custGeom>
                  <a:avLst/>
                  <a:gdLst>
                    <a:gd name="connsiteX0" fmla="*/ 2273 w 4278"/>
                    <a:gd name="connsiteY0" fmla="*/ 52190 h 52189"/>
                    <a:gd name="connsiteX1" fmla="*/ 3893 w 4278"/>
                    <a:gd name="connsiteY1" fmla="*/ 33506 h 52189"/>
                    <a:gd name="connsiteX2" fmla="*/ 156 w 4278"/>
                    <a:gd name="connsiteY2" fmla="*/ 16442 h 52189"/>
                    <a:gd name="connsiteX3" fmla="*/ 202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52190"/>
                      </a:moveTo>
                      <a:cubicBezTo>
                        <a:pt x="4640" y="44093"/>
                        <a:pt x="4516" y="37741"/>
                        <a:pt x="3893" y="33506"/>
                      </a:cubicBezTo>
                      <a:cubicBezTo>
                        <a:pt x="3021" y="26531"/>
                        <a:pt x="779"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1" name="Freeform 7806">
                  <a:extLst>
                    <a:ext uri="{FF2B5EF4-FFF2-40B4-BE49-F238E27FC236}">
                      <a16:creationId xmlns:a16="http://schemas.microsoft.com/office/drawing/2014/main" id="{A5975FAE-081A-17F8-4E40-A30077022189}"/>
                    </a:ext>
                  </a:extLst>
                </p:cNvPr>
                <p:cNvSpPr/>
                <p:nvPr/>
              </p:nvSpPr>
              <p:spPr>
                <a:xfrm>
                  <a:off x="6234178" y="1935451"/>
                  <a:ext cx="3403" cy="52065"/>
                </a:xfrm>
                <a:custGeom>
                  <a:avLst/>
                  <a:gdLst>
                    <a:gd name="connsiteX0" fmla="*/ 930 w 3403"/>
                    <a:gd name="connsiteY0" fmla="*/ 0 h 52065"/>
                    <a:gd name="connsiteX1" fmla="*/ 3172 w 3403"/>
                    <a:gd name="connsiteY1" fmla="*/ 18684 h 52065"/>
                    <a:gd name="connsiteX2" fmla="*/ 58 w 3403"/>
                    <a:gd name="connsiteY2" fmla="*/ 35748 h 52065"/>
                    <a:gd name="connsiteX3" fmla="*/ 2549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930" y="0"/>
                      </a:moveTo>
                      <a:cubicBezTo>
                        <a:pt x="3546" y="7972"/>
                        <a:pt x="3670" y="14324"/>
                        <a:pt x="3172" y="18684"/>
                      </a:cubicBezTo>
                      <a:cubicBezTo>
                        <a:pt x="2549" y="25659"/>
                        <a:pt x="432" y="28773"/>
                        <a:pt x="58" y="35748"/>
                      </a:cubicBezTo>
                      <a:cubicBezTo>
                        <a:pt x="-315" y="42599"/>
                        <a:pt x="1179" y="48328"/>
                        <a:pt x="25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2" name="Freeform 7807">
                  <a:extLst>
                    <a:ext uri="{FF2B5EF4-FFF2-40B4-BE49-F238E27FC236}">
                      <a16:creationId xmlns:a16="http://schemas.microsoft.com/office/drawing/2014/main" id="{674A4D47-E611-979B-C991-A0206F5781A9}"/>
                    </a:ext>
                  </a:extLst>
                </p:cNvPr>
                <p:cNvSpPr/>
                <p:nvPr/>
              </p:nvSpPr>
              <p:spPr>
                <a:xfrm>
                  <a:off x="6226760" y="1976180"/>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3" y="5732"/>
                        <a:pt x="26657" y="13080"/>
                      </a:cubicBezTo>
                      <a:cubicBezTo>
                        <a:pt x="26782" y="20429"/>
                        <a:pt x="20928" y="26408"/>
                        <a:pt x="13579" y="26533"/>
                      </a:cubicBezTo>
                      <a:cubicBezTo>
                        <a:pt x="6230"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3" name="Freeform 7808">
                  <a:extLst>
                    <a:ext uri="{FF2B5EF4-FFF2-40B4-BE49-F238E27FC236}">
                      <a16:creationId xmlns:a16="http://schemas.microsoft.com/office/drawing/2014/main" id="{4F7C0AC9-53ED-E92E-25D9-D419DD82296D}"/>
                    </a:ext>
                  </a:extLst>
                </p:cNvPr>
                <p:cNvSpPr/>
                <p:nvPr/>
              </p:nvSpPr>
              <p:spPr>
                <a:xfrm>
                  <a:off x="6232480" y="1874293"/>
                  <a:ext cx="4278" cy="52189"/>
                </a:xfrm>
                <a:custGeom>
                  <a:avLst/>
                  <a:gdLst>
                    <a:gd name="connsiteX0" fmla="*/ 2005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0"/>
                      </a:moveTo>
                      <a:cubicBezTo>
                        <a:pt x="-361" y="8096"/>
                        <a:pt x="-237" y="14449"/>
                        <a:pt x="386" y="18684"/>
                      </a:cubicBezTo>
                      <a:cubicBezTo>
                        <a:pt x="1258" y="25659"/>
                        <a:pt x="3500" y="28648"/>
                        <a:pt x="4123" y="35748"/>
                      </a:cubicBezTo>
                      <a:cubicBezTo>
                        <a:pt x="4745" y="42599"/>
                        <a:pt x="3376"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4" name="Freeform 7809">
                  <a:extLst>
                    <a:ext uri="{FF2B5EF4-FFF2-40B4-BE49-F238E27FC236}">
                      <a16:creationId xmlns:a16="http://schemas.microsoft.com/office/drawing/2014/main" id="{274E1DC0-A5E9-4D1F-3AB1-0B9DFDC04420}"/>
                    </a:ext>
                  </a:extLst>
                </p:cNvPr>
                <p:cNvSpPr/>
                <p:nvPr/>
              </p:nvSpPr>
              <p:spPr>
                <a:xfrm>
                  <a:off x="6240606" y="1869187"/>
                  <a:ext cx="3403" cy="52065"/>
                </a:xfrm>
                <a:custGeom>
                  <a:avLst/>
                  <a:gdLst>
                    <a:gd name="connsiteX0" fmla="*/ 2473 w 3403"/>
                    <a:gd name="connsiteY0" fmla="*/ 52065 h 52065"/>
                    <a:gd name="connsiteX1" fmla="*/ 231 w 3403"/>
                    <a:gd name="connsiteY1" fmla="*/ 33381 h 52065"/>
                    <a:gd name="connsiteX2" fmla="*/ 3345 w 3403"/>
                    <a:gd name="connsiteY2" fmla="*/ 16317 h 52065"/>
                    <a:gd name="connsiteX3" fmla="*/ 854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52065"/>
                      </a:moveTo>
                      <a:cubicBezTo>
                        <a:pt x="-143" y="44093"/>
                        <a:pt x="-267" y="37741"/>
                        <a:pt x="231" y="33381"/>
                      </a:cubicBezTo>
                      <a:cubicBezTo>
                        <a:pt x="854" y="26406"/>
                        <a:pt x="2971" y="23292"/>
                        <a:pt x="3345" y="16317"/>
                      </a:cubicBezTo>
                      <a:cubicBezTo>
                        <a:pt x="3719" y="9466"/>
                        <a:pt x="2224" y="3737"/>
                        <a:pt x="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5" name="Freeform 7810">
                  <a:extLst>
                    <a:ext uri="{FF2B5EF4-FFF2-40B4-BE49-F238E27FC236}">
                      <a16:creationId xmlns:a16="http://schemas.microsoft.com/office/drawing/2014/main" id="{FF7DE8B9-FB12-4FDB-1289-144008A21914}"/>
                    </a:ext>
                  </a:extLst>
                </p:cNvPr>
                <p:cNvSpPr/>
                <p:nvPr/>
              </p:nvSpPr>
              <p:spPr>
                <a:xfrm>
                  <a:off x="6224892" y="1853864"/>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454" y="26533"/>
                      </a:cubicBezTo>
                      <a:cubicBezTo>
                        <a:pt x="6105" y="26657"/>
                        <a:pt x="126" y="20803"/>
                        <a:pt x="2" y="13454"/>
                      </a:cubicBezTo>
                      <a:cubicBezTo>
                        <a:pt x="-123" y="6105"/>
                        <a:pt x="5732" y="126"/>
                        <a:pt x="12956" y="2"/>
                      </a:cubicBezTo>
                      <a:cubicBezTo>
                        <a:pt x="20180" y="-123"/>
                        <a:pt x="26159" y="5856"/>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3" name="Graphic 2987">
                <a:extLst>
                  <a:ext uri="{FF2B5EF4-FFF2-40B4-BE49-F238E27FC236}">
                    <a16:creationId xmlns:a16="http://schemas.microsoft.com/office/drawing/2014/main" id="{157812CD-831D-03EB-1E68-97CE01544DB2}"/>
                  </a:ext>
                </a:extLst>
              </p:cNvPr>
              <p:cNvGrpSpPr/>
              <p:nvPr/>
            </p:nvGrpSpPr>
            <p:grpSpPr>
              <a:xfrm>
                <a:off x="6195372" y="1854238"/>
                <a:ext cx="28278" cy="148850"/>
                <a:chOff x="6195372" y="1854238"/>
                <a:chExt cx="28278" cy="148850"/>
              </a:xfrm>
              <a:grpFill/>
            </p:grpSpPr>
            <p:sp>
              <p:nvSpPr>
                <p:cNvPr id="6354" name="Freeform 7812">
                  <a:extLst>
                    <a:ext uri="{FF2B5EF4-FFF2-40B4-BE49-F238E27FC236}">
                      <a16:creationId xmlns:a16="http://schemas.microsoft.com/office/drawing/2014/main" id="{7E99D601-7CD8-97E4-C35D-B9E817C9266D}"/>
                    </a:ext>
                  </a:extLst>
                </p:cNvPr>
                <p:cNvSpPr/>
                <p:nvPr/>
              </p:nvSpPr>
              <p:spPr>
                <a:xfrm>
                  <a:off x="6211784" y="1930593"/>
                  <a:ext cx="4187" cy="52189"/>
                </a:xfrm>
                <a:custGeom>
                  <a:avLst/>
                  <a:gdLst>
                    <a:gd name="connsiteX0" fmla="*/ 2149 w 4187"/>
                    <a:gd name="connsiteY0" fmla="*/ 52190 h 52189"/>
                    <a:gd name="connsiteX1" fmla="*/ 3892 w 4187"/>
                    <a:gd name="connsiteY1" fmla="*/ 33506 h 52189"/>
                    <a:gd name="connsiteX2" fmla="*/ 156 w 4187"/>
                    <a:gd name="connsiteY2" fmla="*/ 16442 h 52189"/>
                    <a:gd name="connsiteX3" fmla="*/ 2024 w 4187"/>
                    <a:gd name="connsiteY3" fmla="*/ 0 h 52189"/>
                  </a:gdLst>
                  <a:ahLst/>
                  <a:cxnLst>
                    <a:cxn ang="0">
                      <a:pos x="connsiteX0" y="connsiteY0"/>
                    </a:cxn>
                    <a:cxn ang="0">
                      <a:pos x="connsiteX1" y="connsiteY1"/>
                    </a:cxn>
                    <a:cxn ang="0">
                      <a:pos x="connsiteX2" y="connsiteY2"/>
                    </a:cxn>
                    <a:cxn ang="0">
                      <a:pos x="connsiteX3" y="connsiteY3"/>
                    </a:cxn>
                  </a:cxnLst>
                  <a:rect l="l" t="t" r="r" b="b"/>
                  <a:pathLst>
                    <a:path w="4187" h="52189">
                      <a:moveTo>
                        <a:pt x="2149" y="52190"/>
                      </a:moveTo>
                      <a:cubicBezTo>
                        <a:pt x="4515" y="44093"/>
                        <a:pt x="4391" y="37741"/>
                        <a:pt x="3892" y="33506"/>
                      </a:cubicBezTo>
                      <a:cubicBezTo>
                        <a:pt x="3021" y="26531"/>
                        <a:pt x="778"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5" name="Freeform 7813">
                  <a:extLst>
                    <a:ext uri="{FF2B5EF4-FFF2-40B4-BE49-F238E27FC236}">
                      <a16:creationId xmlns:a16="http://schemas.microsoft.com/office/drawing/2014/main" id="{C0A3D446-F74A-1E3F-5261-86831A1CBAE6}"/>
                    </a:ext>
                  </a:extLst>
                </p:cNvPr>
                <p:cNvSpPr/>
                <p:nvPr/>
              </p:nvSpPr>
              <p:spPr>
                <a:xfrm>
                  <a:off x="6204408" y="1935700"/>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1" y="7972"/>
                        <a:pt x="3671" y="14324"/>
                        <a:pt x="3297" y="18684"/>
                      </a:cubicBezTo>
                      <a:cubicBezTo>
                        <a:pt x="2674" y="25659"/>
                        <a:pt x="557"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6" name="Freeform 7814">
                  <a:extLst>
                    <a:ext uri="{FF2B5EF4-FFF2-40B4-BE49-F238E27FC236}">
                      <a16:creationId xmlns:a16="http://schemas.microsoft.com/office/drawing/2014/main" id="{68712AE4-3A65-B394-2CC3-A934B0C6633A}"/>
                    </a:ext>
                  </a:extLst>
                </p:cNvPr>
                <p:cNvSpPr/>
                <p:nvPr/>
              </p:nvSpPr>
              <p:spPr>
                <a:xfrm>
                  <a:off x="6196991" y="1976553"/>
                  <a:ext cx="26659" cy="26534"/>
                </a:xfrm>
                <a:custGeom>
                  <a:avLst/>
                  <a:gdLst>
                    <a:gd name="connsiteX0" fmla="*/ 2 w 26659"/>
                    <a:gd name="connsiteY0" fmla="*/ 13454 h 26534"/>
                    <a:gd name="connsiteX1" fmla="*/ 13081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2" y="6105"/>
                        <a:pt x="5732" y="127"/>
                        <a:pt x="13081" y="2"/>
                      </a:cubicBezTo>
                      <a:cubicBezTo>
                        <a:pt x="20430" y="-123"/>
                        <a:pt x="26533" y="5732"/>
                        <a:pt x="26657" y="13080"/>
                      </a:cubicBezTo>
                      <a:cubicBezTo>
                        <a:pt x="26782" y="20429"/>
                        <a:pt x="20928" y="26408"/>
                        <a:pt x="13579" y="26533"/>
                      </a:cubicBezTo>
                      <a:cubicBezTo>
                        <a:pt x="6106"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7" name="Freeform 7815">
                  <a:extLst>
                    <a:ext uri="{FF2B5EF4-FFF2-40B4-BE49-F238E27FC236}">
                      <a16:creationId xmlns:a16="http://schemas.microsoft.com/office/drawing/2014/main" id="{B2CD928F-4B3D-FA0B-4243-DBF915E954A9}"/>
                    </a:ext>
                  </a:extLst>
                </p:cNvPr>
                <p:cNvSpPr/>
                <p:nvPr/>
              </p:nvSpPr>
              <p:spPr>
                <a:xfrm>
                  <a:off x="6202926" y="1874667"/>
                  <a:ext cx="4063" cy="52189"/>
                </a:xfrm>
                <a:custGeom>
                  <a:avLst/>
                  <a:gdLst>
                    <a:gd name="connsiteX0" fmla="*/ 2039 w 4063"/>
                    <a:gd name="connsiteY0" fmla="*/ 0 h 52189"/>
                    <a:gd name="connsiteX1" fmla="*/ 295 w 4063"/>
                    <a:gd name="connsiteY1" fmla="*/ 18684 h 52189"/>
                    <a:gd name="connsiteX2" fmla="*/ 3907 w 4063"/>
                    <a:gd name="connsiteY2" fmla="*/ 35748 h 52189"/>
                    <a:gd name="connsiteX3" fmla="*/ 2039 w 406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0"/>
                      </a:moveTo>
                      <a:cubicBezTo>
                        <a:pt x="-327" y="8096"/>
                        <a:pt x="-203" y="14449"/>
                        <a:pt x="295" y="18684"/>
                      </a:cubicBezTo>
                      <a:cubicBezTo>
                        <a:pt x="1167" y="25659"/>
                        <a:pt x="3285" y="28648"/>
                        <a:pt x="3907" y="35748"/>
                      </a:cubicBezTo>
                      <a:cubicBezTo>
                        <a:pt x="4530" y="42599"/>
                        <a:pt x="3160" y="48328"/>
                        <a:pt x="203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8" name="Freeform 7816">
                  <a:extLst>
                    <a:ext uri="{FF2B5EF4-FFF2-40B4-BE49-F238E27FC236}">
                      <a16:creationId xmlns:a16="http://schemas.microsoft.com/office/drawing/2014/main" id="{ED9E4588-1CFF-D0DF-2020-EF2A4AC57306}"/>
                    </a:ext>
                  </a:extLst>
                </p:cNvPr>
                <p:cNvSpPr/>
                <p:nvPr/>
              </p:nvSpPr>
              <p:spPr>
                <a:xfrm>
                  <a:off x="6211016" y="1869560"/>
                  <a:ext cx="3349" cy="52065"/>
                </a:xfrm>
                <a:custGeom>
                  <a:avLst/>
                  <a:gdLst>
                    <a:gd name="connsiteX0" fmla="*/ 2419 w 3349"/>
                    <a:gd name="connsiteY0" fmla="*/ 52065 h 52065"/>
                    <a:gd name="connsiteX1" fmla="*/ 177 w 3349"/>
                    <a:gd name="connsiteY1" fmla="*/ 33381 h 52065"/>
                    <a:gd name="connsiteX2" fmla="*/ 3291 w 3349"/>
                    <a:gd name="connsiteY2" fmla="*/ 16317 h 52065"/>
                    <a:gd name="connsiteX3" fmla="*/ 924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52065"/>
                      </a:moveTo>
                      <a:cubicBezTo>
                        <a:pt x="-197" y="44093"/>
                        <a:pt x="-197" y="37741"/>
                        <a:pt x="177" y="33381"/>
                      </a:cubicBezTo>
                      <a:cubicBezTo>
                        <a:pt x="800" y="26406"/>
                        <a:pt x="2917" y="23292"/>
                        <a:pt x="3291" y="16317"/>
                      </a:cubicBezTo>
                      <a:cubicBezTo>
                        <a:pt x="3664" y="9466"/>
                        <a:pt x="2170" y="3737"/>
                        <a:pt x="9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9" name="Freeform 7817">
                  <a:extLst>
                    <a:ext uri="{FF2B5EF4-FFF2-40B4-BE49-F238E27FC236}">
                      <a16:creationId xmlns:a16="http://schemas.microsoft.com/office/drawing/2014/main" id="{E4CA49BB-97CE-FF8D-4AC6-51B69377862E}"/>
                    </a:ext>
                  </a:extLst>
                </p:cNvPr>
                <p:cNvSpPr/>
                <p:nvPr/>
              </p:nvSpPr>
              <p:spPr>
                <a:xfrm>
                  <a:off x="6195372" y="1854238"/>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2" y="20429"/>
                        <a:pt x="20678" y="26408"/>
                        <a:pt x="13454" y="26533"/>
                      </a:cubicBezTo>
                      <a:cubicBezTo>
                        <a:pt x="6230" y="26657"/>
                        <a:pt x="126" y="20803"/>
                        <a:pt x="2" y="13454"/>
                      </a:cubicBezTo>
                      <a:cubicBezTo>
                        <a:pt x="-123" y="6105"/>
                        <a:pt x="5732" y="126"/>
                        <a:pt x="12956" y="2"/>
                      </a:cubicBezTo>
                      <a:cubicBezTo>
                        <a:pt x="20305" y="-123"/>
                        <a:pt x="26283"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4" name="Graphic 2987">
                <a:extLst>
                  <a:ext uri="{FF2B5EF4-FFF2-40B4-BE49-F238E27FC236}">
                    <a16:creationId xmlns:a16="http://schemas.microsoft.com/office/drawing/2014/main" id="{2886D6AC-E82B-002E-579E-6242123BF57B}"/>
                  </a:ext>
                </a:extLst>
              </p:cNvPr>
              <p:cNvGrpSpPr/>
              <p:nvPr/>
            </p:nvGrpSpPr>
            <p:grpSpPr>
              <a:xfrm>
                <a:off x="6165852" y="1854611"/>
                <a:ext cx="28029" cy="148850"/>
                <a:chOff x="6165852" y="1854611"/>
                <a:chExt cx="28029" cy="148850"/>
              </a:xfrm>
              <a:grpFill/>
            </p:grpSpPr>
            <p:sp>
              <p:nvSpPr>
                <p:cNvPr id="6348" name="Freeform 7819">
                  <a:extLst>
                    <a:ext uri="{FF2B5EF4-FFF2-40B4-BE49-F238E27FC236}">
                      <a16:creationId xmlns:a16="http://schemas.microsoft.com/office/drawing/2014/main" id="{827026AA-F251-C449-C4C1-F23F0E0FD73B}"/>
                    </a:ext>
                  </a:extLst>
                </p:cNvPr>
                <p:cNvSpPr/>
                <p:nvPr/>
              </p:nvSpPr>
              <p:spPr>
                <a:xfrm>
                  <a:off x="6182015" y="1930967"/>
                  <a:ext cx="4062" cy="52189"/>
                </a:xfrm>
                <a:custGeom>
                  <a:avLst/>
                  <a:gdLst>
                    <a:gd name="connsiteX0" fmla="*/ 2024 w 4062"/>
                    <a:gd name="connsiteY0" fmla="*/ 52190 h 52189"/>
                    <a:gd name="connsiteX1" fmla="*/ 3767 w 4062"/>
                    <a:gd name="connsiteY1" fmla="*/ 33506 h 52189"/>
                    <a:gd name="connsiteX2" fmla="*/ 155 w 4062"/>
                    <a:gd name="connsiteY2" fmla="*/ 16442 h 52189"/>
                    <a:gd name="connsiteX3" fmla="*/ 2148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24" y="52190"/>
                      </a:moveTo>
                      <a:cubicBezTo>
                        <a:pt x="4390" y="44093"/>
                        <a:pt x="4266"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9" name="Freeform 7820">
                  <a:extLst>
                    <a:ext uri="{FF2B5EF4-FFF2-40B4-BE49-F238E27FC236}">
                      <a16:creationId xmlns:a16="http://schemas.microsoft.com/office/drawing/2014/main" id="{986116B1-1696-216B-566E-064019EF2094}"/>
                    </a:ext>
                  </a:extLst>
                </p:cNvPr>
                <p:cNvSpPr/>
                <p:nvPr/>
              </p:nvSpPr>
              <p:spPr>
                <a:xfrm>
                  <a:off x="6174639" y="1936074"/>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0" y="7972"/>
                        <a:pt x="3670" y="14324"/>
                        <a:pt x="3297" y="18684"/>
                      </a:cubicBezTo>
                      <a:cubicBezTo>
                        <a:pt x="2549" y="25659"/>
                        <a:pt x="556"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0" name="Freeform 7821">
                  <a:extLst>
                    <a:ext uri="{FF2B5EF4-FFF2-40B4-BE49-F238E27FC236}">
                      <a16:creationId xmlns:a16="http://schemas.microsoft.com/office/drawing/2014/main" id="{2905E8A3-C127-E06B-7AE5-06BA27A6FF51}"/>
                    </a:ext>
                  </a:extLst>
                </p:cNvPr>
                <p:cNvSpPr/>
                <p:nvPr/>
              </p:nvSpPr>
              <p:spPr>
                <a:xfrm>
                  <a:off x="6167222" y="1976927"/>
                  <a:ext cx="26658" cy="26534"/>
                </a:xfrm>
                <a:custGeom>
                  <a:avLst/>
                  <a:gdLst>
                    <a:gd name="connsiteX0" fmla="*/ 2 w 26658"/>
                    <a:gd name="connsiteY0" fmla="*/ 13454 h 26534"/>
                    <a:gd name="connsiteX1" fmla="*/ 13205 w 26658"/>
                    <a:gd name="connsiteY1" fmla="*/ 2 h 26534"/>
                    <a:gd name="connsiteX2" fmla="*/ 26657 w 26658"/>
                    <a:gd name="connsiteY2" fmla="*/ 13081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7"/>
                        <a:pt x="13205" y="2"/>
                      </a:cubicBezTo>
                      <a:cubicBezTo>
                        <a:pt x="20554" y="-123"/>
                        <a:pt x="26657" y="5732"/>
                        <a:pt x="26657" y="13081"/>
                      </a:cubicBezTo>
                      <a:cubicBezTo>
                        <a:pt x="26782" y="20429"/>
                        <a:pt x="20803" y="26408"/>
                        <a:pt x="13454" y="26533"/>
                      </a:cubicBezTo>
                      <a:cubicBezTo>
                        <a:pt x="6105" y="26657"/>
                        <a:pt x="2"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1" name="Freeform 7822">
                  <a:extLst>
                    <a:ext uri="{FF2B5EF4-FFF2-40B4-BE49-F238E27FC236}">
                      <a16:creationId xmlns:a16="http://schemas.microsoft.com/office/drawing/2014/main" id="{FF97A8B8-E9EC-E4C5-0998-6B17D5EF1594}"/>
                    </a:ext>
                  </a:extLst>
                </p:cNvPr>
                <p:cNvSpPr/>
                <p:nvPr/>
              </p:nvSpPr>
              <p:spPr>
                <a:xfrm>
                  <a:off x="6173405" y="1874916"/>
                  <a:ext cx="4062" cy="52189"/>
                </a:xfrm>
                <a:custGeom>
                  <a:avLst/>
                  <a:gdLst>
                    <a:gd name="connsiteX0" fmla="*/ 2039 w 4062"/>
                    <a:gd name="connsiteY0" fmla="*/ 0 h 52189"/>
                    <a:gd name="connsiteX1" fmla="*/ 295 w 4062"/>
                    <a:gd name="connsiteY1" fmla="*/ 18684 h 52189"/>
                    <a:gd name="connsiteX2" fmla="*/ 3908 w 4062"/>
                    <a:gd name="connsiteY2" fmla="*/ 35748 h 52189"/>
                    <a:gd name="connsiteX3" fmla="*/ 1915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0"/>
                      </a:moveTo>
                      <a:cubicBezTo>
                        <a:pt x="-327" y="8096"/>
                        <a:pt x="-203" y="14449"/>
                        <a:pt x="295" y="18684"/>
                      </a:cubicBezTo>
                      <a:cubicBezTo>
                        <a:pt x="1167" y="25659"/>
                        <a:pt x="3285" y="28648"/>
                        <a:pt x="3908" y="35748"/>
                      </a:cubicBezTo>
                      <a:cubicBezTo>
                        <a:pt x="4530" y="42599"/>
                        <a:pt x="3160" y="48328"/>
                        <a:pt x="191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2" name="Freeform 7823">
                  <a:extLst>
                    <a:ext uri="{FF2B5EF4-FFF2-40B4-BE49-F238E27FC236}">
                      <a16:creationId xmlns:a16="http://schemas.microsoft.com/office/drawing/2014/main" id="{6861A338-42A0-D56C-142E-23C4A7522622}"/>
                    </a:ext>
                  </a:extLst>
                </p:cNvPr>
                <p:cNvSpPr/>
                <p:nvPr/>
              </p:nvSpPr>
              <p:spPr>
                <a:xfrm>
                  <a:off x="6181371" y="1869934"/>
                  <a:ext cx="3473" cy="52065"/>
                </a:xfrm>
                <a:custGeom>
                  <a:avLst/>
                  <a:gdLst>
                    <a:gd name="connsiteX0" fmla="*/ 2419 w 3473"/>
                    <a:gd name="connsiteY0" fmla="*/ 52065 h 52065"/>
                    <a:gd name="connsiteX1" fmla="*/ 177 w 3473"/>
                    <a:gd name="connsiteY1" fmla="*/ 33381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3"/>
                        <a:pt x="-197" y="37741"/>
                        <a:pt x="177" y="33381"/>
                      </a:cubicBezTo>
                      <a:cubicBezTo>
                        <a:pt x="924" y="26406"/>
                        <a:pt x="2917" y="23292"/>
                        <a:pt x="3415" y="16317"/>
                      </a:cubicBezTo>
                      <a:cubicBezTo>
                        <a:pt x="3789" y="9466"/>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3" name="Freeform 7824">
                  <a:extLst>
                    <a:ext uri="{FF2B5EF4-FFF2-40B4-BE49-F238E27FC236}">
                      <a16:creationId xmlns:a16="http://schemas.microsoft.com/office/drawing/2014/main" id="{71EC9E25-C9F4-8DA3-CFAD-3DBB3B4CADDB}"/>
                    </a:ext>
                  </a:extLst>
                </p:cNvPr>
                <p:cNvSpPr/>
                <p:nvPr/>
              </p:nvSpPr>
              <p:spPr>
                <a:xfrm>
                  <a:off x="6165852" y="1854611"/>
                  <a:ext cx="26410" cy="26534"/>
                </a:xfrm>
                <a:custGeom>
                  <a:avLst/>
                  <a:gdLst>
                    <a:gd name="connsiteX0" fmla="*/ 26408 w 26410"/>
                    <a:gd name="connsiteY0" fmla="*/ 13081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1"/>
                      </a:moveTo>
                      <a:cubicBezTo>
                        <a:pt x="26533" y="20429"/>
                        <a:pt x="20679" y="26408"/>
                        <a:pt x="13330" y="26533"/>
                      </a:cubicBezTo>
                      <a:cubicBezTo>
                        <a:pt x="5981" y="26657"/>
                        <a:pt x="2" y="20803"/>
                        <a:pt x="2" y="13454"/>
                      </a:cubicBezTo>
                      <a:cubicBezTo>
                        <a:pt x="-122" y="6105"/>
                        <a:pt x="5732" y="127"/>
                        <a:pt x="13081" y="2"/>
                      </a:cubicBezTo>
                      <a:cubicBezTo>
                        <a:pt x="20305" y="-123"/>
                        <a:pt x="26284" y="5732"/>
                        <a:pt x="26408"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5" name="Graphic 2987">
                <a:extLst>
                  <a:ext uri="{FF2B5EF4-FFF2-40B4-BE49-F238E27FC236}">
                    <a16:creationId xmlns:a16="http://schemas.microsoft.com/office/drawing/2014/main" id="{ECA33C3B-EBF3-D6F0-657C-1FC609BEED72}"/>
                  </a:ext>
                </a:extLst>
              </p:cNvPr>
              <p:cNvGrpSpPr/>
              <p:nvPr/>
            </p:nvGrpSpPr>
            <p:grpSpPr>
              <a:xfrm>
                <a:off x="6136331" y="1854985"/>
                <a:ext cx="27655" cy="148850"/>
                <a:chOff x="6136331" y="1854985"/>
                <a:chExt cx="27655" cy="148850"/>
              </a:xfrm>
              <a:grpFill/>
            </p:grpSpPr>
            <p:sp>
              <p:nvSpPr>
                <p:cNvPr id="6342" name="Freeform 7826">
                  <a:extLst>
                    <a:ext uri="{FF2B5EF4-FFF2-40B4-BE49-F238E27FC236}">
                      <a16:creationId xmlns:a16="http://schemas.microsoft.com/office/drawing/2014/main" id="{B2CEA25B-CF64-211F-5E2A-F2F621E60F8E}"/>
                    </a:ext>
                  </a:extLst>
                </p:cNvPr>
                <p:cNvSpPr/>
                <p:nvPr/>
              </p:nvSpPr>
              <p:spPr>
                <a:xfrm>
                  <a:off x="6152246" y="1931341"/>
                  <a:ext cx="4118" cy="52189"/>
                </a:xfrm>
                <a:custGeom>
                  <a:avLst/>
                  <a:gdLst>
                    <a:gd name="connsiteX0" fmla="*/ 2023 w 4118"/>
                    <a:gd name="connsiteY0" fmla="*/ 52190 h 52189"/>
                    <a:gd name="connsiteX1" fmla="*/ 3767 w 4118"/>
                    <a:gd name="connsiteY1" fmla="*/ 33506 h 52189"/>
                    <a:gd name="connsiteX2" fmla="*/ 155 w 4118"/>
                    <a:gd name="connsiteY2" fmla="*/ 16442 h 52189"/>
                    <a:gd name="connsiteX3" fmla="*/ 2148 w 4118"/>
                    <a:gd name="connsiteY3" fmla="*/ 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52190"/>
                      </a:moveTo>
                      <a:cubicBezTo>
                        <a:pt x="4390" y="44093"/>
                        <a:pt x="4390"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3" name="Freeform 7827">
                  <a:extLst>
                    <a:ext uri="{FF2B5EF4-FFF2-40B4-BE49-F238E27FC236}">
                      <a16:creationId xmlns:a16="http://schemas.microsoft.com/office/drawing/2014/main" id="{BFDD076A-0F3F-A08F-24AC-3114FADCDCEE}"/>
                    </a:ext>
                  </a:extLst>
                </p:cNvPr>
                <p:cNvSpPr/>
                <p:nvPr/>
              </p:nvSpPr>
              <p:spPr>
                <a:xfrm>
                  <a:off x="6144866" y="1936448"/>
                  <a:ext cx="3557" cy="52065"/>
                </a:xfrm>
                <a:custGeom>
                  <a:avLst/>
                  <a:gdLst>
                    <a:gd name="connsiteX0" fmla="*/ 1183 w 3557"/>
                    <a:gd name="connsiteY0" fmla="*/ 0 h 52065"/>
                    <a:gd name="connsiteX1" fmla="*/ 3301 w 3557"/>
                    <a:gd name="connsiteY1" fmla="*/ 18684 h 52065"/>
                    <a:gd name="connsiteX2" fmla="*/ 62 w 3557"/>
                    <a:gd name="connsiteY2" fmla="*/ 35748 h 52065"/>
                    <a:gd name="connsiteX3" fmla="*/ 24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0"/>
                      </a:moveTo>
                      <a:cubicBezTo>
                        <a:pt x="3799" y="7972"/>
                        <a:pt x="3799" y="14324"/>
                        <a:pt x="3301" y="18684"/>
                      </a:cubicBezTo>
                      <a:cubicBezTo>
                        <a:pt x="2554" y="25659"/>
                        <a:pt x="436" y="28773"/>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4" name="Freeform 7828">
                  <a:extLst>
                    <a:ext uri="{FF2B5EF4-FFF2-40B4-BE49-F238E27FC236}">
                      <a16:creationId xmlns:a16="http://schemas.microsoft.com/office/drawing/2014/main" id="{E72A52A3-958D-1A98-9BA2-6A4F7112A103}"/>
                    </a:ext>
                  </a:extLst>
                </p:cNvPr>
                <p:cNvSpPr/>
                <p:nvPr/>
              </p:nvSpPr>
              <p:spPr>
                <a:xfrm>
                  <a:off x="6137328" y="1977301"/>
                  <a:ext cx="26658" cy="26534"/>
                </a:xfrm>
                <a:custGeom>
                  <a:avLst/>
                  <a:gdLst>
                    <a:gd name="connsiteX0" fmla="*/ 2 w 26658"/>
                    <a:gd name="connsiteY0" fmla="*/ 13454 h 26534"/>
                    <a:gd name="connsiteX1" fmla="*/ 13205 w 26658"/>
                    <a:gd name="connsiteY1" fmla="*/ 2 h 26534"/>
                    <a:gd name="connsiteX2" fmla="*/ 26657 w 26658"/>
                    <a:gd name="connsiteY2" fmla="*/ 13080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6"/>
                        <a:pt x="13205" y="2"/>
                      </a:cubicBezTo>
                      <a:cubicBezTo>
                        <a:pt x="20554" y="-123"/>
                        <a:pt x="26532" y="5732"/>
                        <a:pt x="26657" y="13080"/>
                      </a:cubicBezTo>
                      <a:cubicBezTo>
                        <a:pt x="26782" y="20429"/>
                        <a:pt x="20803" y="26408"/>
                        <a:pt x="13454" y="26533"/>
                      </a:cubicBezTo>
                      <a:cubicBezTo>
                        <a:pt x="6105" y="26657"/>
                        <a:pt x="126"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5" name="Freeform 7829">
                  <a:extLst>
                    <a:ext uri="{FF2B5EF4-FFF2-40B4-BE49-F238E27FC236}">
                      <a16:creationId xmlns:a16="http://schemas.microsoft.com/office/drawing/2014/main" id="{2871EEFD-5977-F999-4832-5636EA7C82D0}"/>
                    </a:ext>
                  </a:extLst>
                </p:cNvPr>
                <p:cNvSpPr/>
                <p:nvPr/>
              </p:nvSpPr>
              <p:spPr>
                <a:xfrm>
                  <a:off x="6143830" y="1875290"/>
                  <a:ext cx="4075" cy="52189"/>
                </a:xfrm>
                <a:custGeom>
                  <a:avLst/>
                  <a:gdLst>
                    <a:gd name="connsiteX0" fmla="*/ 2095 w 4075"/>
                    <a:gd name="connsiteY0" fmla="*/ 0 h 52189"/>
                    <a:gd name="connsiteX1" fmla="*/ 351 w 4075"/>
                    <a:gd name="connsiteY1" fmla="*/ 18684 h 52189"/>
                    <a:gd name="connsiteX2" fmla="*/ 3963 w 4075"/>
                    <a:gd name="connsiteY2" fmla="*/ 35748 h 52189"/>
                    <a:gd name="connsiteX3" fmla="*/ 1970 w 407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75" h="52189">
                      <a:moveTo>
                        <a:pt x="2095" y="0"/>
                      </a:moveTo>
                      <a:cubicBezTo>
                        <a:pt x="-272" y="8096"/>
                        <a:pt x="-272" y="14449"/>
                        <a:pt x="351" y="18684"/>
                      </a:cubicBezTo>
                      <a:cubicBezTo>
                        <a:pt x="1223" y="25659"/>
                        <a:pt x="3340" y="28648"/>
                        <a:pt x="3963" y="35748"/>
                      </a:cubicBezTo>
                      <a:cubicBezTo>
                        <a:pt x="4461" y="42599"/>
                        <a:pt x="3216" y="48328"/>
                        <a:pt x="19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6" name="Freeform 7830">
                  <a:extLst>
                    <a:ext uri="{FF2B5EF4-FFF2-40B4-BE49-F238E27FC236}">
                      <a16:creationId xmlns:a16="http://schemas.microsoft.com/office/drawing/2014/main" id="{CCE19095-EE51-786F-59A8-ABFD7EBC033F}"/>
                    </a:ext>
                  </a:extLst>
                </p:cNvPr>
                <p:cNvSpPr/>
                <p:nvPr/>
              </p:nvSpPr>
              <p:spPr>
                <a:xfrm>
                  <a:off x="6151771" y="1870308"/>
                  <a:ext cx="3557" cy="52065"/>
                </a:xfrm>
                <a:custGeom>
                  <a:avLst/>
                  <a:gdLst>
                    <a:gd name="connsiteX0" fmla="*/ 2374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4" y="52065"/>
                      </a:moveTo>
                      <a:cubicBezTo>
                        <a:pt x="-242" y="44093"/>
                        <a:pt x="-242" y="37741"/>
                        <a:pt x="257" y="33381"/>
                      </a:cubicBezTo>
                      <a:cubicBezTo>
                        <a:pt x="1004" y="26406"/>
                        <a:pt x="3122" y="23292"/>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7" name="Freeform 7831">
                  <a:extLst>
                    <a:ext uri="{FF2B5EF4-FFF2-40B4-BE49-F238E27FC236}">
                      <a16:creationId xmlns:a16="http://schemas.microsoft.com/office/drawing/2014/main" id="{2B6BE598-1B37-5661-429C-52CBFAEC3325}"/>
                    </a:ext>
                  </a:extLst>
                </p:cNvPr>
                <p:cNvSpPr/>
                <p:nvPr/>
              </p:nvSpPr>
              <p:spPr>
                <a:xfrm>
                  <a:off x="6136331" y="1854985"/>
                  <a:ext cx="26410" cy="26534"/>
                </a:xfrm>
                <a:custGeom>
                  <a:avLst/>
                  <a:gdLst>
                    <a:gd name="connsiteX0" fmla="*/ 26408 w 26410"/>
                    <a:gd name="connsiteY0" fmla="*/ 13080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330" y="26533"/>
                      </a:cubicBezTo>
                      <a:cubicBezTo>
                        <a:pt x="5981" y="26657"/>
                        <a:pt x="2" y="20803"/>
                        <a:pt x="2" y="13454"/>
                      </a:cubicBezTo>
                      <a:cubicBezTo>
                        <a:pt x="-122" y="6105"/>
                        <a:pt x="5731" y="126"/>
                        <a:pt x="13081"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6" name="Graphic 2987">
                <a:extLst>
                  <a:ext uri="{FF2B5EF4-FFF2-40B4-BE49-F238E27FC236}">
                    <a16:creationId xmlns:a16="http://schemas.microsoft.com/office/drawing/2014/main" id="{7CD3A3A2-B502-538F-98FB-ACE07F955879}"/>
                  </a:ext>
                </a:extLst>
              </p:cNvPr>
              <p:cNvGrpSpPr/>
              <p:nvPr/>
            </p:nvGrpSpPr>
            <p:grpSpPr>
              <a:xfrm>
                <a:off x="6106813" y="1855359"/>
                <a:ext cx="27404" cy="148850"/>
                <a:chOff x="6106813" y="1855359"/>
                <a:chExt cx="27404" cy="148850"/>
              </a:xfrm>
              <a:grpFill/>
            </p:grpSpPr>
            <p:sp>
              <p:nvSpPr>
                <p:cNvPr id="6336" name="Freeform 7833">
                  <a:extLst>
                    <a:ext uri="{FF2B5EF4-FFF2-40B4-BE49-F238E27FC236}">
                      <a16:creationId xmlns:a16="http://schemas.microsoft.com/office/drawing/2014/main" id="{4F2A143A-9F70-0D04-0D9E-9FB83EBE8703}"/>
                    </a:ext>
                  </a:extLst>
                </p:cNvPr>
                <p:cNvSpPr/>
                <p:nvPr/>
              </p:nvSpPr>
              <p:spPr>
                <a:xfrm>
                  <a:off x="6122651" y="1931590"/>
                  <a:ext cx="4008" cy="52189"/>
                </a:xfrm>
                <a:custGeom>
                  <a:avLst/>
                  <a:gdLst>
                    <a:gd name="connsiteX0" fmla="*/ 1849 w 4008"/>
                    <a:gd name="connsiteY0" fmla="*/ 52190 h 52189"/>
                    <a:gd name="connsiteX1" fmla="*/ 3718 w 4008"/>
                    <a:gd name="connsiteY1" fmla="*/ 33506 h 52189"/>
                    <a:gd name="connsiteX2" fmla="*/ 105 w 4008"/>
                    <a:gd name="connsiteY2" fmla="*/ 16442 h 52189"/>
                    <a:gd name="connsiteX3" fmla="*/ 2098 w 4008"/>
                    <a:gd name="connsiteY3" fmla="*/ 0 h 52189"/>
                  </a:gdLst>
                  <a:ahLst/>
                  <a:cxnLst>
                    <a:cxn ang="0">
                      <a:pos x="connsiteX0" y="connsiteY0"/>
                    </a:cxn>
                    <a:cxn ang="0">
                      <a:pos x="connsiteX1" y="connsiteY1"/>
                    </a:cxn>
                    <a:cxn ang="0">
                      <a:pos x="connsiteX2" y="connsiteY2"/>
                    </a:cxn>
                    <a:cxn ang="0">
                      <a:pos x="connsiteX3" y="connsiteY3"/>
                    </a:cxn>
                  </a:cxnLst>
                  <a:rect l="l" t="t" r="r" b="b"/>
                  <a:pathLst>
                    <a:path w="4008" h="52189">
                      <a:moveTo>
                        <a:pt x="1849" y="52190"/>
                      </a:moveTo>
                      <a:cubicBezTo>
                        <a:pt x="4340" y="44093"/>
                        <a:pt x="4216" y="37741"/>
                        <a:pt x="3718" y="33506"/>
                      </a:cubicBezTo>
                      <a:cubicBezTo>
                        <a:pt x="2846" y="26531"/>
                        <a:pt x="728" y="23541"/>
                        <a:pt x="105" y="16442"/>
                      </a:cubicBezTo>
                      <a:cubicBezTo>
                        <a:pt x="-393" y="9591"/>
                        <a:pt x="977" y="3861"/>
                        <a:pt x="20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7" name="Freeform 7834">
                  <a:extLst>
                    <a:ext uri="{FF2B5EF4-FFF2-40B4-BE49-F238E27FC236}">
                      <a16:creationId xmlns:a16="http://schemas.microsoft.com/office/drawing/2014/main" id="{82AD3C8E-AC10-2EAC-5EB4-3F47A4DD2DBB}"/>
                    </a:ext>
                  </a:extLst>
                </p:cNvPr>
                <p:cNvSpPr/>
                <p:nvPr/>
              </p:nvSpPr>
              <p:spPr>
                <a:xfrm>
                  <a:off x="6115060" y="1936821"/>
                  <a:ext cx="3695" cy="52065"/>
                </a:xfrm>
                <a:custGeom>
                  <a:avLst/>
                  <a:gdLst>
                    <a:gd name="connsiteX0" fmla="*/ 1344 w 3695"/>
                    <a:gd name="connsiteY0" fmla="*/ 0 h 52065"/>
                    <a:gd name="connsiteX1" fmla="*/ 3461 w 3695"/>
                    <a:gd name="connsiteY1" fmla="*/ 18684 h 52065"/>
                    <a:gd name="connsiteX2" fmla="*/ 98 w 3695"/>
                    <a:gd name="connsiteY2" fmla="*/ 35748 h 52065"/>
                    <a:gd name="connsiteX3" fmla="*/ 2340 w 369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0"/>
                      </a:moveTo>
                      <a:cubicBezTo>
                        <a:pt x="3835" y="7972"/>
                        <a:pt x="3960"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8" name="Freeform 7835">
                  <a:extLst>
                    <a:ext uri="{FF2B5EF4-FFF2-40B4-BE49-F238E27FC236}">
                      <a16:creationId xmlns:a16="http://schemas.microsoft.com/office/drawing/2014/main" id="{24BBB0DE-F3ED-0BCE-D5B1-FA2FA3D1FA59}"/>
                    </a:ext>
                  </a:extLst>
                </p:cNvPr>
                <p:cNvSpPr/>
                <p:nvPr/>
              </p:nvSpPr>
              <p:spPr>
                <a:xfrm>
                  <a:off x="6107561" y="1977674"/>
                  <a:ext cx="26657" cy="26534"/>
                </a:xfrm>
                <a:custGeom>
                  <a:avLst/>
                  <a:gdLst>
                    <a:gd name="connsiteX0" fmla="*/ 0 w 26657"/>
                    <a:gd name="connsiteY0" fmla="*/ 13454 h 26534"/>
                    <a:gd name="connsiteX1" fmla="*/ 13203 w 26657"/>
                    <a:gd name="connsiteY1" fmla="*/ 2 h 26534"/>
                    <a:gd name="connsiteX2" fmla="*/ 26656 w 26657"/>
                    <a:gd name="connsiteY2" fmla="*/ 13080 h 26534"/>
                    <a:gd name="connsiteX3" fmla="*/ 13452 w 26657"/>
                    <a:gd name="connsiteY3" fmla="*/ 26533 h 26534"/>
                    <a:gd name="connsiteX4" fmla="*/ 0 w 26657"/>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454"/>
                      </a:moveTo>
                      <a:cubicBezTo>
                        <a:pt x="0" y="6105"/>
                        <a:pt x="5854" y="127"/>
                        <a:pt x="13203" y="2"/>
                      </a:cubicBezTo>
                      <a:cubicBezTo>
                        <a:pt x="20552" y="-123"/>
                        <a:pt x="26531" y="5732"/>
                        <a:pt x="26656" y="13080"/>
                      </a:cubicBezTo>
                      <a:cubicBezTo>
                        <a:pt x="26780" y="20429"/>
                        <a:pt x="20801" y="26408"/>
                        <a:pt x="13452" y="26533"/>
                      </a:cubicBezTo>
                      <a:cubicBezTo>
                        <a:pt x="6103" y="26657"/>
                        <a:pt x="125" y="20803"/>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9" name="Freeform 7836">
                  <a:extLst>
                    <a:ext uri="{FF2B5EF4-FFF2-40B4-BE49-F238E27FC236}">
                      <a16:creationId xmlns:a16="http://schemas.microsoft.com/office/drawing/2014/main" id="{3D1BBA04-E231-CD31-2609-906A63D98EAA}"/>
                    </a:ext>
                  </a:extLst>
                </p:cNvPr>
                <p:cNvSpPr/>
                <p:nvPr/>
              </p:nvSpPr>
              <p:spPr>
                <a:xfrm>
                  <a:off x="6114272" y="1875664"/>
                  <a:ext cx="3857" cy="52189"/>
                </a:xfrm>
                <a:custGeom>
                  <a:avLst/>
                  <a:gdLst>
                    <a:gd name="connsiteX0" fmla="*/ 2132 w 3857"/>
                    <a:gd name="connsiteY0" fmla="*/ 0 h 52189"/>
                    <a:gd name="connsiteX1" fmla="*/ 264 w 3857"/>
                    <a:gd name="connsiteY1" fmla="*/ 18684 h 52189"/>
                    <a:gd name="connsiteX2" fmla="*/ 3752 w 3857"/>
                    <a:gd name="connsiteY2" fmla="*/ 35748 h 52189"/>
                    <a:gd name="connsiteX3" fmla="*/ 1759 w 385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7" h="52189">
                      <a:moveTo>
                        <a:pt x="2132" y="0"/>
                      </a:moveTo>
                      <a:cubicBezTo>
                        <a:pt x="-234" y="8096"/>
                        <a:pt x="-234" y="14449"/>
                        <a:pt x="264" y="18684"/>
                      </a:cubicBezTo>
                      <a:cubicBezTo>
                        <a:pt x="1136" y="25659"/>
                        <a:pt x="3254" y="28648"/>
                        <a:pt x="3752" y="35748"/>
                      </a:cubicBezTo>
                      <a:cubicBezTo>
                        <a:pt x="4250" y="42599"/>
                        <a:pt x="2880" y="48328"/>
                        <a:pt x="17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0" name="Freeform 7837">
                  <a:extLst>
                    <a:ext uri="{FF2B5EF4-FFF2-40B4-BE49-F238E27FC236}">
                      <a16:creationId xmlns:a16="http://schemas.microsoft.com/office/drawing/2014/main" id="{E2C19CD5-C4FE-97FA-FDB9-A7D6193F8C86}"/>
                    </a:ext>
                  </a:extLst>
                </p:cNvPr>
                <p:cNvSpPr/>
                <p:nvPr/>
              </p:nvSpPr>
              <p:spPr>
                <a:xfrm>
                  <a:off x="6122149" y="1870681"/>
                  <a:ext cx="3570" cy="52065"/>
                </a:xfrm>
                <a:custGeom>
                  <a:avLst/>
                  <a:gdLst>
                    <a:gd name="connsiteX0" fmla="*/ 2352 w 3570"/>
                    <a:gd name="connsiteY0" fmla="*/ 52065 h 52065"/>
                    <a:gd name="connsiteX1" fmla="*/ 234 w 3570"/>
                    <a:gd name="connsiteY1" fmla="*/ 33381 h 52065"/>
                    <a:gd name="connsiteX2" fmla="*/ 3473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52065"/>
                      </a:moveTo>
                      <a:cubicBezTo>
                        <a:pt x="-140" y="44093"/>
                        <a:pt x="-264" y="37741"/>
                        <a:pt x="234" y="33381"/>
                      </a:cubicBezTo>
                      <a:cubicBezTo>
                        <a:pt x="981" y="26406"/>
                        <a:pt x="3099" y="23292"/>
                        <a:pt x="3473" y="16317"/>
                      </a:cubicBezTo>
                      <a:cubicBezTo>
                        <a:pt x="3970" y="9466"/>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1" name="Freeform 7838">
                  <a:extLst>
                    <a:ext uri="{FF2B5EF4-FFF2-40B4-BE49-F238E27FC236}">
                      <a16:creationId xmlns:a16="http://schemas.microsoft.com/office/drawing/2014/main" id="{9022D8FF-F64C-691A-A1BA-A86F02543F7D}"/>
                    </a:ext>
                  </a:extLst>
                </p:cNvPr>
                <p:cNvSpPr/>
                <p:nvPr/>
              </p:nvSpPr>
              <p:spPr>
                <a:xfrm>
                  <a:off x="6106813" y="1855359"/>
                  <a:ext cx="26408" cy="26534"/>
                </a:xfrm>
                <a:custGeom>
                  <a:avLst/>
                  <a:gdLst>
                    <a:gd name="connsiteX0" fmla="*/ 26406 w 26408"/>
                    <a:gd name="connsiteY0" fmla="*/ 13080 h 26534"/>
                    <a:gd name="connsiteX1" fmla="*/ 13328 w 26408"/>
                    <a:gd name="connsiteY1" fmla="*/ 26533 h 26534"/>
                    <a:gd name="connsiteX2" fmla="*/ 0 w 26408"/>
                    <a:gd name="connsiteY2" fmla="*/ 13454 h 26534"/>
                    <a:gd name="connsiteX3" fmla="*/ 13078 w 26408"/>
                    <a:gd name="connsiteY3" fmla="*/ 2 h 26534"/>
                    <a:gd name="connsiteX4" fmla="*/ 26406 w 26408"/>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080"/>
                      </a:moveTo>
                      <a:cubicBezTo>
                        <a:pt x="26531" y="20429"/>
                        <a:pt x="20552" y="26408"/>
                        <a:pt x="13328" y="26533"/>
                      </a:cubicBezTo>
                      <a:cubicBezTo>
                        <a:pt x="6103" y="26657"/>
                        <a:pt x="125" y="20803"/>
                        <a:pt x="0" y="13454"/>
                      </a:cubicBezTo>
                      <a:cubicBezTo>
                        <a:pt x="0" y="6105"/>
                        <a:pt x="5854" y="126"/>
                        <a:pt x="13078" y="2"/>
                      </a:cubicBezTo>
                      <a:cubicBezTo>
                        <a:pt x="20428" y="-123"/>
                        <a:pt x="26282"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7" name="Graphic 2987">
                <a:extLst>
                  <a:ext uri="{FF2B5EF4-FFF2-40B4-BE49-F238E27FC236}">
                    <a16:creationId xmlns:a16="http://schemas.microsoft.com/office/drawing/2014/main" id="{6D8C83A5-B958-BA96-B0BA-A4A963AA25B0}"/>
                  </a:ext>
                </a:extLst>
              </p:cNvPr>
              <p:cNvGrpSpPr/>
              <p:nvPr/>
            </p:nvGrpSpPr>
            <p:grpSpPr>
              <a:xfrm>
                <a:off x="6077291" y="1855610"/>
                <a:ext cx="27281" cy="148972"/>
                <a:chOff x="6077291" y="1855610"/>
                <a:chExt cx="27281" cy="148972"/>
              </a:xfrm>
              <a:grpFill/>
            </p:grpSpPr>
            <p:sp>
              <p:nvSpPr>
                <p:cNvPr id="6330" name="Freeform 7840">
                  <a:extLst>
                    <a:ext uri="{FF2B5EF4-FFF2-40B4-BE49-F238E27FC236}">
                      <a16:creationId xmlns:a16="http://schemas.microsoft.com/office/drawing/2014/main" id="{A2634773-A3D5-93E0-5C98-D80BBFB144A6}"/>
                    </a:ext>
                  </a:extLst>
                </p:cNvPr>
                <p:cNvSpPr/>
                <p:nvPr/>
              </p:nvSpPr>
              <p:spPr>
                <a:xfrm>
                  <a:off x="6093007" y="1931964"/>
                  <a:ext cx="3883" cy="52189"/>
                </a:xfrm>
                <a:custGeom>
                  <a:avLst/>
                  <a:gdLst>
                    <a:gd name="connsiteX0" fmla="*/ 1724 w 3883"/>
                    <a:gd name="connsiteY0" fmla="*/ 52190 h 52189"/>
                    <a:gd name="connsiteX1" fmla="*/ 3592 w 3883"/>
                    <a:gd name="connsiteY1" fmla="*/ 33506 h 52189"/>
                    <a:gd name="connsiteX2" fmla="*/ 105 w 3883"/>
                    <a:gd name="connsiteY2" fmla="*/ 16442 h 52189"/>
                    <a:gd name="connsiteX3" fmla="*/ 2223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2" y="33506"/>
                      </a:cubicBezTo>
                      <a:cubicBezTo>
                        <a:pt x="2721" y="26531"/>
                        <a:pt x="603" y="23541"/>
                        <a:pt x="105" y="16442"/>
                      </a:cubicBezTo>
                      <a:cubicBezTo>
                        <a:pt x="-393" y="9591"/>
                        <a:pt x="977" y="3861"/>
                        <a:pt x="22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1" name="Freeform 7841">
                  <a:extLst>
                    <a:ext uri="{FF2B5EF4-FFF2-40B4-BE49-F238E27FC236}">
                      <a16:creationId xmlns:a16="http://schemas.microsoft.com/office/drawing/2014/main" id="{ED254E90-D397-F3CD-0FC3-380021198374}"/>
                    </a:ext>
                  </a:extLst>
                </p:cNvPr>
                <p:cNvSpPr/>
                <p:nvPr/>
              </p:nvSpPr>
              <p:spPr>
                <a:xfrm>
                  <a:off x="6085416" y="1937195"/>
                  <a:ext cx="3640" cy="52065"/>
                </a:xfrm>
                <a:custGeom>
                  <a:avLst/>
                  <a:gdLst>
                    <a:gd name="connsiteX0" fmla="*/ 1344 w 3640"/>
                    <a:gd name="connsiteY0" fmla="*/ 0 h 52065"/>
                    <a:gd name="connsiteX1" fmla="*/ 3461 w 3640"/>
                    <a:gd name="connsiteY1" fmla="*/ 18684 h 52065"/>
                    <a:gd name="connsiteX2" fmla="*/ 98 w 3640"/>
                    <a:gd name="connsiteY2" fmla="*/ 35748 h 52065"/>
                    <a:gd name="connsiteX3" fmla="*/ 234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0"/>
                      </a:moveTo>
                      <a:cubicBezTo>
                        <a:pt x="3835" y="7972"/>
                        <a:pt x="3835"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2" name="Freeform 7842">
                  <a:extLst>
                    <a:ext uri="{FF2B5EF4-FFF2-40B4-BE49-F238E27FC236}">
                      <a16:creationId xmlns:a16="http://schemas.microsoft.com/office/drawing/2014/main" id="{9CFF8BB3-7782-0AB7-11B2-B0DFF56A4863}"/>
                    </a:ext>
                  </a:extLst>
                </p:cNvPr>
                <p:cNvSpPr/>
                <p:nvPr/>
              </p:nvSpPr>
              <p:spPr>
                <a:xfrm>
                  <a:off x="6077792" y="1978048"/>
                  <a:ext cx="26781" cy="26534"/>
                </a:xfrm>
                <a:custGeom>
                  <a:avLst/>
                  <a:gdLst>
                    <a:gd name="connsiteX0" fmla="*/ 0 w 26781"/>
                    <a:gd name="connsiteY0" fmla="*/ 13454 h 26534"/>
                    <a:gd name="connsiteX1" fmla="*/ 13327 w 26781"/>
                    <a:gd name="connsiteY1" fmla="*/ 2 h 26534"/>
                    <a:gd name="connsiteX2" fmla="*/ 26780 w 26781"/>
                    <a:gd name="connsiteY2" fmla="*/ 13081 h 26534"/>
                    <a:gd name="connsiteX3" fmla="*/ 13452 w 26781"/>
                    <a:gd name="connsiteY3" fmla="*/ 26533 h 26534"/>
                    <a:gd name="connsiteX4" fmla="*/ 0 w 26781"/>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0" y="13454"/>
                      </a:moveTo>
                      <a:cubicBezTo>
                        <a:pt x="0" y="6105"/>
                        <a:pt x="5854" y="127"/>
                        <a:pt x="13327" y="2"/>
                      </a:cubicBezTo>
                      <a:cubicBezTo>
                        <a:pt x="20801" y="-123"/>
                        <a:pt x="26655" y="5732"/>
                        <a:pt x="26780" y="13081"/>
                      </a:cubicBezTo>
                      <a:cubicBezTo>
                        <a:pt x="26904" y="20429"/>
                        <a:pt x="20926" y="26408"/>
                        <a:pt x="13452" y="26533"/>
                      </a:cubicBezTo>
                      <a:cubicBezTo>
                        <a:pt x="5979" y="26657"/>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3" name="Freeform 7843">
                  <a:extLst>
                    <a:ext uri="{FF2B5EF4-FFF2-40B4-BE49-F238E27FC236}">
                      <a16:creationId xmlns:a16="http://schemas.microsoft.com/office/drawing/2014/main" id="{A2791D18-4572-3D3C-2784-0C51E3ED951B}"/>
                    </a:ext>
                  </a:extLst>
                </p:cNvPr>
                <p:cNvSpPr/>
                <p:nvPr/>
              </p:nvSpPr>
              <p:spPr>
                <a:xfrm>
                  <a:off x="6084725" y="1876037"/>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4" name="Freeform 7844">
                  <a:extLst>
                    <a:ext uri="{FF2B5EF4-FFF2-40B4-BE49-F238E27FC236}">
                      <a16:creationId xmlns:a16="http://schemas.microsoft.com/office/drawing/2014/main" id="{8234C54C-785F-7583-342E-AAA57E3AFEB2}"/>
                    </a:ext>
                  </a:extLst>
                </p:cNvPr>
                <p:cNvSpPr/>
                <p:nvPr/>
              </p:nvSpPr>
              <p:spPr>
                <a:xfrm>
                  <a:off x="6092559" y="1870930"/>
                  <a:ext cx="3641" cy="52065"/>
                </a:xfrm>
                <a:custGeom>
                  <a:avLst/>
                  <a:gdLst>
                    <a:gd name="connsiteX0" fmla="*/ 2297 w 3641"/>
                    <a:gd name="connsiteY0" fmla="*/ 52065 h 52065"/>
                    <a:gd name="connsiteX1" fmla="*/ 180 w 3641"/>
                    <a:gd name="connsiteY1" fmla="*/ 33381 h 52065"/>
                    <a:gd name="connsiteX2" fmla="*/ 3543 w 3641"/>
                    <a:gd name="connsiteY2" fmla="*/ 16317 h 52065"/>
                    <a:gd name="connsiteX3" fmla="*/ 1300 w 3641"/>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3"/>
                        <a:pt x="-194" y="37741"/>
                        <a:pt x="180" y="33381"/>
                      </a:cubicBezTo>
                      <a:cubicBezTo>
                        <a:pt x="927" y="26406"/>
                        <a:pt x="3044" y="23292"/>
                        <a:pt x="3543" y="16317"/>
                      </a:cubicBezTo>
                      <a:cubicBezTo>
                        <a:pt x="4041" y="9466"/>
                        <a:pt x="2546" y="3737"/>
                        <a:pt x="1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5" name="Freeform 7845">
                  <a:extLst>
                    <a:ext uri="{FF2B5EF4-FFF2-40B4-BE49-F238E27FC236}">
                      <a16:creationId xmlns:a16="http://schemas.microsoft.com/office/drawing/2014/main" id="{5767900B-71EF-9E62-927F-D487B966180C}"/>
                    </a:ext>
                  </a:extLst>
                </p:cNvPr>
                <p:cNvSpPr/>
                <p:nvPr/>
              </p:nvSpPr>
              <p:spPr>
                <a:xfrm>
                  <a:off x="6077291" y="1855610"/>
                  <a:ext cx="26408" cy="26532"/>
                </a:xfrm>
                <a:custGeom>
                  <a:avLst/>
                  <a:gdLst>
                    <a:gd name="connsiteX0" fmla="*/ 26408 w 26408"/>
                    <a:gd name="connsiteY0" fmla="*/ 13079 h 26532"/>
                    <a:gd name="connsiteX1" fmla="*/ 13330 w 26408"/>
                    <a:gd name="connsiteY1" fmla="*/ 26531 h 26532"/>
                    <a:gd name="connsiteX2" fmla="*/ 2 w 26408"/>
                    <a:gd name="connsiteY2" fmla="*/ 13452 h 26532"/>
                    <a:gd name="connsiteX3" fmla="*/ 13080 w 26408"/>
                    <a:gd name="connsiteY3" fmla="*/ 0 h 26532"/>
                    <a:gd name="connsiteX4" fmla="*/ 26408 w 26408"/>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1">
                      <a:moveTo>
                        <a:pt x="26408" y="13079"/>
                      </a:moveTo>
                      <a:cubicBezTo>
                        <a:pt x="26408" y="20427"/>
                        <a:pt x="20554" y="26406"/>
                        <a:pt x="13330" y="26531"/>
                      </a:cubicBezTo>
                      <a:cubicBezTo>
                        <a:pt x="5981" y="26655"/>
                        <a:pt x="127" y="20801"/>
                        <a:pt x="2" y="13452"/>
                      </a:cubicBezTo>
                      <a:cubicBezTo>
                        <a:pt x="-123" y="6103"/>
                        <a:pt x="5856" y="125"/>
                        <a:pt x="13080" y="0"/>
                      </a:cubicBezTo>
                      <a:cubicBezTo>
                        <a:pt x="20429" y="0"/>
                        <a:pt x="26408"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8" name="Graphic 2987">
                <a:extLst>
                  <a:ext uri="{FF2B5EF4-FFF2-40B4-BE49-F238E27FC236}">
                    <a16:creationId xmlns:a16="http://schemas.microsoft.com/office/drawing/2014/main" id="{827827BC-9C09-D0B7-DDC0-8C0EBDCE236A}"/>
                  </a:ext>
                </a:extLst>
              </p:cNvPr>
              <p:cNvGrpSpPr/>
              <p:nvPr/>
            </p:nvGrpSpPr>
            <p:grpSpPr>
              <a:xfrm>
                <a:off x="6047773" y="1855981"/>
                <a:ext cx="26904" cy="148972"/>
                <a:chOff x="6047773" y="1855981"/>
                <a:chExt cx="26904" cy="148972"/>
              </a:xfrm>
              <a:grpFill/>
            </p:grpSpPr>
            <p:sp>
              <p:nvSpPr>
                <p:cNvPr id="6324" name="Freeform 7847">
                  <a:extLst>
                    <a:ext uri="{FF2B5EF4-FFF2-40B4-BE49-F238E27FC236}">
                      <a16:creationId xmlns:a16="http://schemas.microsoft.com/office/drawing/2014/main" id="{ED106EFF-DC36-527D-5BEB-2A70899E36BC}"/>
                    </a:ext>
                  </a:extLst>
                </p:cNvPr>
                <p:cNvSpPr/>
                <p:nvPr/>
              </p:nvSpPr>
              <p:spPr>
                <a:xfrm>
                  <a:off x="6063238" y="1932337"/>
                  <a:ext cx="3883" cy="52189"/>
                </a:xfrm>
                <a:custGeom>
                  <a:avLst/>
                  <a:gdLst>
                    <a:gd name="connsiteX0" fmla="*/ 1724 w 3883"/>
                    <a:gd name="connsiteY0" fmla="*/ 52190 h 52189"/>
                    <a:gd name="connsiteX1" fmla="*/ 3593 w 3883"/>
                    <a:gd name="connsiteY1" fmla="*/ 33506 h 52189"/>
                    <a:gd name="connsiteX2" fmla="*/ 105 w 3883"/>
                    <a:gd name="connsiteY2" fmla="*/ 16442 h 52189"/>
                    <a:gd name="connsiteX3" fmla="*/ 2222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5" name="Freeform 7848">
                  <a:extLst>
                    <a:ext uri="{FF2B5EF4-FFF2-40B4-BE49-F238E27FC236}">
                      <a16:creationId xmlns:a16="http://schemas.microsoft.com/office/drawing/2014/main" id="{FD88F86D-112F-FDF1-2AAF-5C77E37DBE1D}"/>
                    </a:ext>
                  </a:extLst>
                </p:cNvPr>
                <p:cNvSpPr/>
                <p:nvPr/>
              </p:nvSpPr>
              <p:spPr>
                <a:xfrm>
                  <a:off x="6055646" y="1937569"/>
                  <a:ext cx="3721" cy="52065"/>
                </a:xfrm>
                <a:custGeom>
                  <a:avLst/>
                  <a:gdLst>
                    <a:gd name="connsiteX0" fmla="*/ 1469 w 3721"/>
                    <a:gd name="connsiteY0" fmla="*/ 0 h 52065"/>
                    <a:gd name="connsiteX1" fmla="*/ 3462 w 3721"/>
                    <a:gd name="connsiteY1" fmla="*/ 18684 h 52065"/>
                    <a:gd name="connsiteX2" fmla="*/ 98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0"/>
                      </a:moveTo>
                      <a:cubicBezTo>
                        <a:pt x="3960" y="7972"/>
                        <a:pt x="3960" y="14324"/>
                        <a:pt x="3462" y="18684"/>
                      </a:cubicBezTo>
                      <a:cubicBezTo>
                        <a:pt x="2714" y="25659"/>
                        <a:pt x="597"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6" name="Freeform 7849">
                  <a:extLst>
                    <a:ext uri="{FF2B5EF4-FFF2-40B4-BE49-F238E27FC236}">
                      <a16:creationId xmlns:a16="http://schemas.microsoft.com/office/drawing/2014/main" id="{A80DC69C-A19D-0871-62B9-7D16CDA9517D}"/>
                    </a:ext>
                  </a:extLst>
                </p:cNvPr>
                <p:cNvSpPr/>
                <p:nvPr/>
              </p:nvSpPr>
              <p:spPr>
                <a:xfrm>
                  <a:off x="6048022" y="1978422"/>
                  <a:ext cx="26655" cy="26532"/>
                </a:xfrm>
                <a:custGeom>
                  <a:avLst/>
                  <a:gdLst>
                    <a:gd name="connsiteX0" fmla="*/ 0 w 26655"/>
                    <a:gd name="connsiteY0" fmla="*/ 13454 h 26532"/>
                    <a:gd name="connsiteX1" fmla="*/ 13328 w 26655"/>
                    <a:gd name="connsiteY1" fmla="*/ 2 h 26532"/>
                    <a:gd name="connsiteX2" fmla="*/ 26656 w 26655"/>
                    <a:gd name="connsiteY2" fmla="*/ 13080 h 26532"/>
                    <a:gd name="connsiteX3" fmla="*/ 13328 w 26655"/>
                    <a:gd name="connsiteY3" fmla="*/ 26533 h 26532"/>
                    <a:gd name="connsiteX4" fmla="*/ 0 w 26655"/>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454"/>
                      </a:moveTo>
                      <a:cubicBezTo>
                        <a:pt x="0" y="6105"/>
                        <a:pt x="5979" y="126"/>
                        <a:pt x="13328" y="2"/>
                      </a:cubicBezTo>
                      <a:cubicBezTo>
                        <a:pt x="20677" y="-123"/>
                        <a:pt x="26656" y="5732"/>
                        <a:pt x="26656" y="13080"/>
                      </a:cubicBezTo>
                      <a:cubicBezTo>
                        <a:pt x="26656" y="20429"/>
                        <a:pt x="20677" y="26408"/>
                        <a:pt x="13328" y="26533"/>
                      </a:cubicBezTo>
                      <a:cubicBezTo>
                        <a:pt x="5979" y="26533"/>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7" name="Freeform 7850">
                  <a:extLst>
                    <a:ext uri="{FF2B5EF4-FFF2-40B4-BE49-F238E27FC236}">
                      <a16:creationId xmlns:a16="http://schemas.microsoft.com/office/drawing/2014/main" id="{496DAC15-EE9D-65F4-30C8-A42EDC55EACD}"/>
                    </a:ext>
                  </a:extLst>
                </p:cNvPr>
                <p:cNvSpPr/>
                <p:nvPr/>
              </p:nvSpPr>
              <p:spPr>
                <a:xfrm>
                  <a:off x="6055205" y="1876411"/>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8" name="Freeform 7851">
                  <a:extLst>
                    <a:ext uri="{FF2B5EF4-FFF2-40B4-BE49-F238E27FC236}">
                      <a16:creationId xmlns:a16="http://schemas.microsoft.com/office/drawing/2014/main" id="{27AE9BA1-CD05-9981-51A7-637DFDC82C80}"/>
                    </a:ext>
                  </a:extLst>
                </p:cNvPr>
                <p:cNvSpPr/>
                <p:nvPr/>
              </p:nvSpPr>
              <p:spPr>
                <a:xfrm>
                  <a:off x="6062958" y="1871304"/>
                  <a:ext cx="3721" cy="52065"/>
                </a:xfrm>
                <a:custGeom>
                  <a:avLst/>
                  <a:gdLst>
                    <a:gd name="connsiteX0" fmla="*/ 2253 w 3721"/>
                    <a:gd name="connsiteY0" fmla="*/ 52065 h 52065"/>
                    <a:gd name="connsiteX1" fmla="*/ 260 w 3721"/>
                    <a:gd name="connsiteY1" fmla="*/ 33381 h 52065"/>
                    <a:gd name="connsiteX2" fmla="*/ 3623 w 3721"/>
                    <a:gd name="connsiteY2" fmla="*/ 16317 h 52065"/>
                    <a:gd name="connsiteX3" fmla="*/ 1381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3"/>
                        <a:pt x="-238" y="37741"/>
                        <a:pt x="260" y="33381"/>
                      </a:cubicBezTo>
                      <a:cubicBezTo>
                        <a:pt x="1008" y="26406"/>
                        <a:pt x="3125" y="23292"/>
                        <a:pt x="3623" y="16317"/>
                      </a:cubicBezTo>
                      <a:cubicBezTo>
                        <a:pt x="4122" y="9466"/>
                        <a:pt x="2627" y="3737"/>
                        <a:pt x="13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9" name="Freeform 7852">
                  <a:extLst>
                    <a:ext uri="{FF2B5EF4-FFF2-40B4-BE49-F238E27FC236}">
                      <a16:creationId xmlns:a16="http://schemas.microsoft.com/office/drawing/2014/main" id="{F4582D23-83AE-E1FD-4A75-A470EA26E84C}"/>
                    </a:ext>
                  </a:extLst>
                </p:cNvPr>
                <p:cNvSpPr/>
                <p:nvPr/>
              </p:nvSpPr>
              <p:spPr>
                <a:xfrm>
                  <a:off x="6047773" y="1855981"/>
                  <a:ext cx="26406" cy="26534"/>
                </a:xfrm>
                <a:custGeom>
                  <a:avLst/>
                  <a:gdLst>
                    <a:gd name="connsiteX0" fmla="*/ 26406 w 26406"/>
                    <a:gd name="connsiteY0" fmla="*/ 13080 h 26534"/>
                    <a:gd name="connsiteX1" fmla="*/ 13203 w 26406"/>
                    <a:gd name="connsiteY1" fmla="*/ 26533 h 26534"/>
                    <a:gd name="connsiteX2" fmla="*/ 0 w 26406"/>
                    <a:gd name="connsiteY2" fmla="*/ 13454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803"/>
                        <a:pt x="0" y="13454"/>
                      </a:cubicBezTo>
                      <a:cubicBezTo>
                        <a:pt x="0" y="6105"/>
                        <a:pt x="5854" y="127"/>
                        <a:pt x="13203" y="2"/>
                      </a:cubicBezTo>
                      <a:cubicBezTo>
                        <a:pt x="20427"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9" name="Graphic 2987">
                <a:extLst>
                  <a:ext uri="{FF2B5EF4-FFF2-40B4-BE49-F238E27FC236}">
                    <a16:creationId xmlns:a16="http://schemas.microsoft.com/office/drawing/2014/main" id="{90046494-F164-C71E-DA77-B282B17FA92E}"/>
                  </a:ext>
                </a:extLst>
              </p:cNvPr>
              <p:cNvGrpSpPr/>
              <p:nvPr/>
            </p:nvGrpSpPr>
            <p:grpSpPr>
              <a:xfrm>
                <a:off x="6018128" y="1856355"/>
                <a:ext cx="26655" cy="148972"/>
                <a:chOff x="6018128" y="1856355"/>
                <a:chExt cx="26655" cy="148972"/>
              </a:xfrm>
              <a:grpFill/>
            </p:grpSpPr>
            <p:sp>
              <p:nvSpPr>
                <p:cNvPr id="6318" name="Freeform 7854">
                  <a:extLst>
                    <a:ext uri="{FF2B5EF4-FFF2-40B4-BE49-F238E27FC236}">
                      <a16:creationId xmlns:a16="http://schemas.microsoft.com/office/drawing/2014/main" id="{C165A032-AB97-D61C-2F52-A02ACD122229}"/>
                    </a:ext>
                  </a:extLst>
                </p:cNvPr>
                <p:cNvSpPr/>
                <p:nvPr/>
              </p:nvSpPr>
              <p:spPr>
                <a:xfrm>
                  <a:off x="6033593" y="1932711"/>
                  <a:ext cx="3853" cy="52189"/>
                </a:xfrm>
                <a:custGeom>
                  <a:avLst/>
                  <a:gdLst>
                    <a:gd name="connsiteX0" fmla="*/ 1600 w 3853"/>
                    <a:gd name="connsiteY0" fmla="*/ 52190 h 52189"/>
                    <a:gd name="connsiteX1" fmla="*/ 3593 w 3853"/>
                    <a:gd name="connsiteY1" fmla="*/ 33506 h 52189"/>
                    <a:gd name="connsiteX2" fmla="*/ 105 w 3853"/>
                    <a:gd name="connsiteY2" fmla="*/ 16442 h 52189"/>
                    <a:gd name="connsiteX3" fmla="*/ 2222 w 3853"/>
                    <a:gd name="connsiteY3" fmla="*/ 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52190"/>
                      </a:moveTo>
                      <a:cubicBezTo>
                        <a:pt x="4091"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9" name="Freeform 7855">
                  <a:extLst>
                    <a:ext uri="{FF2B5EF4-FFF2-40B4-BE49-F238E27FC236}">
                      <a16:creationId xmlns:a16="http://schemas.microsoft.com/office/drawing/2014/main" id="{B09BDEB7-30C0-620F-5DE5-9793DDF417AA}"/>
                    </a:ext>
                  </a:extLst>
                </p:cNvPr>
                <p:cNvSpPr/>
                <p:nvPr/>
              </p:nvSpPr>
              <p:spPr>
                <a:xfrm>
                  <a:off x="6025746" y="1937818"/>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324"/>
                        <a:pt x="3593" y="18684"/>
                      </a:cubicBezTo>
                      <a:cubicBezTo>
                        <a:pt x="2845" y="25659"/>
                        <a:pt x="728"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0" name="Freeform 7856">
                  <a:extLst>
                    <a:ext uri="{FF2B5EF4-FFF2-40B4-BE49-F238E27FC236}">
                      <a16:creationId xmlns:a16="http://schemas.microsoft.com/office/drawing/2014/main" id="{5F29642B-A7FF-2CC2-A2FE-2692311BC2C6}"/>
                    </a:ext>
                  </a:extLst>
                </p:cNvPr>
                <p:cNvSpPr/>
                <p:nvPr/>
              </p:nvSpPr>
              <p:spPr>
                <a:xfrm>
                  <a:off x="6018128" y="1978795"/>
                  <a:ext cx="26655" cy="26532"/>
                </a:xfrm>
                <a:custGeom>
                  <a:avLst/>
                  <a:gdLst>
                    <a:gd name="connsiteX0" fmla="*/ 0 w 26655"/>
                    <a:gd name="connsiteY0" fmla="*/ 13205 h 26532"/>
                    <a:gd name="connsiteX1" fmla="*/ 13328 w 26655"/>
                    <a:gd name="connsiteY1" fmla="*/ 2 h 26532"/>
                    <a:gd name="connsiteX2" fmla="*/ 26655 w 26655"/>
                    <a:gd name="connsiteY2" fmla="*/ 13080 h 26532"/>
                    <a:gd name="connsiteX3" fmla="*/ 13328 w 26655"/>
                    <a:gd name="connsiteY3" fmla="*/ 26533 h 26532"/>
                    <a:gd name="connsiteX4" fmla="*/ 0 w 26655"/>
                    <a:gd name="connsiteY4" fmla="*/ 13205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205"/>
                      </a:moveTo>
                      <a:cubicBezTo>
                        <a:pt x="0" y="5856"/>
                        <a:pt x="5979" y="126"/>
                        <a:pt x="13328" y="2"/>
                      </a:cubicBezTo>
                      <a:cubicBezTo>
                        <a:pt x="20677" y="-123"/>
                        <a:pt x="26655" y="5732"/>
                        <a:pt x="26655" y="13080"/>
                      </a:cubicBezTo>
                      <a:cubicBezTo>
                        <a:pt x="26655" y="20429"/>
                        <a:pt x="20677" y="26408"/>
                        <a:pt x="13328" y="26533"/>
                      </a:cubicBezTo>
                      <a:cubicBezTo>
                        <a:pt x="5979" y="26533"/>
                        <a:pt x="0" y="20429"/>
                        <a:pt x="0" y="13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1" name="Freeform 7857">
                  <a:extLst>
                    <a:ext uri="{FF2B5EF4-FFF2-40B4-BE49-F238E27FC236}">
                      <a16:creationId xmlns:a16="http://schemas.microsoft.com/office/drawing/2014/main" id="{93B9A5FB-9067-1014-8CB8-64A05B7E898F}"/>
                    </a:ext>
                  </a:extLst>
                </p:cNvPr>
                <p:cNvSpPr/>
                <p:nvPr/>
              </p:nvSpPr>
              <p:spPr>
                <a:xfrm>
                  <a:off x="6025590" y="1876785"/>
                  <a:ext cx="3728" cy="52065"/>
                </a:xfrm>
                <a:custGeom>
                  <a:avLst/>
                  <a:gdLst>
                    <a:gd name="connsiteX0" fmla="*/ 2253 w 3728"/>
                    <a:gd name="connsiteY0" fmla="*/ 0 h 52065"/>
                    <a:gd name="connsiteX1" fmla="*/ 260 w 3728"/>
                    <a:gd name="connsiteY1" fmla="*/ 18684 h 52065"/>
                    <a:gd name="connsiteX2" fmla="*/ 3623 w 3728"/>
                    <a:gd name="connsiteY2" fmla="*/ 35748 h 52065"/>
                    <a:gd name="connsiteX3" fmla="*/ 1506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0"/>
                      </a:moveTo>
                      <a:cubicBezTo>
                        <a:pt x="-238" y="7972"/>
                        <a:pt x="-238" y="14324"/>
                        <a:pt x="260" y="18684"/>
                      </a:cubicBezTo>
                      <a:cubicBezTo>
                        <a:pt x="1008" y="25659"/>
                        <a:pt x="3125" y="28773"/>
                        <a:pt x="3623" y="35748"/>
                      </a:cubicBezTo>
                      <a:cubicBezTo>
                        <a:pt x="4122" y="42599"/>
                        <a:pt x="2752" y="48453"/>
                        <a:pt x="15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2" name="Freeform 7858">
                  <a:extLst>
                    <a:ext uri="{FF2B5EF4-FFF2-40B4-BE49-F238E27FC236}">
                      <a16:creationId xmlns:a16="http://schemas.microsoft.com/office/drawing/2014/main" id="{4F1781BC-23C2-3480-7B34-9B8A0DE7825E}"/>
                    </a:ext>
                  </a:extLst>
                </p:cNvPr>
                <p:cNvSpPr/>
                <p:nvPr/>
              </p:nvSpPr>
              <p:spPr>
                <a:xfrm>
                  <a:off x="6033313" y="1871678"/>
                  <a:ext cx="3728" cy="52065"/>
                </a:xfrm>
                <a:custGeom>
                  <a:avLst/>
                  <a:gdLst>
                    <a:gd name="connsiteX0" fmla="*/ 2253 w 3728"/>
                    <a:gd name="connsiteY0" fmla="*/ 52065 h 52065"/>
                    <a:gd name="connsiteX1" fmla="*/ 260 w 3728"/>
                    <a:gd name="connsiteY1" fmla="*/ 33381 h 52065"/>
                    <a:gd name="connsiteX2" fmla="*/ 3624 w 3728"/>
                    <a:gd name="connsiteY2" fmla="*/ 16317 h 52065"/>
                    <a:gd name="connsiteX3" fmla="*/ 1506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4093"/>
                        <a:pt x="-238" y="37741"/>
                        <a:pt x="260" y="33381"/>
                      </a:cubicBezTo>
                      <a:cubicBezTo>
                        <a:pt x="1008" y="26406"/>
                        <a:pt x="3125" y="23292"/>
                        <a:pt x="3624" y="16317"/>
                      </a:cubicBezTo>
                      <a:cubicBezTo>
                        <a:pt x="4122" y="9466"/>
                        <a:pt x="2752" y="3737"/>
                        <a:pt x="15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3" name="Freeform 7859">
                  <a:extLst>
                    <a:ext uri="{FF2B5EF4-FFF2-40B4-BE49-F238E27FC236}">
                      <a16:creationId xmlns:a16="http://schemas.microsoft.com/office/drawing/2014/main" id="{C8C5C5BE-9DF9-9AD0-995F-2B21DC994350}"/>
                    </a:ext>
                  </a:extLst>
                </p:cNvPr>
                <p:cNvSpPr/>
                <p:nvPr/>
              </p:nvSpPr>
              <p:spPr>
                <a:xfrm>
                  <a:off x="6018253" y="1856355"/>
                  <a:ext cx="26406" cy="26534"/>
                </a:xfrm>
                <a:custGeom>
                  <a:avLst/>
                  <a:gdLst>
                    <a:gd name="connsiteX0" fmla="*/ 26406 w 26406"/>
                    <a:gd name="connsiteY0" fmla="*/ 13080 h 26534"/>
                    <a:gd name="connsiteX1" fmla="*/ 13203 w 26406"/>
                    <a:gd name="connsiteY1" fmla="*/ 26533 h 26534"/>
                    <a:gd name="connsiteX2" fmla="*/ 0 w 26406"/>
                    <a:gd name="connsiteY2" fmla="*/ 13205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429"/>
                        <a:pt x="0" y="13205"/>
                      </a:cubicBezTo>
                      <a:cubicBezTo>
                        <a:pt x="0" y="5856"/>
                        <a:pt x="5979" y="126"/>
                        <a:pt x="13203" y="2"/>
                      </a:cubicBezTo>
                      <a:cubicBezTo>
                        <a:pt x="20552"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0" name="Graphic 2987">
                <a:extLst>
                  <a:ext uri="{FF2B5EF4-FFF2-40B4-BE49-F238E27FC236}">
                    <a16:creationId xmlns:a16="http://schemas.microsoft.com/office/drawing/2014/main" id="{8C95D6B5-F2F0-30F6-BF44-1F1B7542110A}"/>
                  </a:ext>
                </a:extLst>
              </p:cNvPr>
              <p:cNvGrpSpPr/>
              <p:nvPr/>
            </p:nvGrpSpPr>
            <p:grpSpPr>
              <a:xfrm>
                <a:off x="5988359" y="1855981"/>
                <a:ext cx="26780" cy="149099"/>
                <a:chOff x="5988359" y="1855981"/>
                <a:chExt cx="26780" cy="149099"/>
              </a:xfrm>
              <a:grpFill/>
            </p:grpSpPr>
            <p:sp>
              <p:nvSpPr>
                <p:cNvPr id="6312" name="Freeform 7861">
                  <a:extLst>
                    <a:ext uri="{FF2B5EF4-FFF2-40B4-BE49-F238E27FC236}">
                      <a16:creationId xmlns:a16="http://schemas.microsoft.com/office/drawing/2014/main" id="{290D3E7A-62A7-39EB-9AF3-E22B2F08E496}"/>
                    </a:ext>
                  </a:extLst>
                </p:cNvPr>
                <p:cNvSpPr/>
                <p:nvPr/>
              </p:nvSpPr>
              <p:spPr>
                <a:xfrm>
                  <a:off x="6003955" y="1932586"/>
                  <a:ext cx="3721" cy="52065"/>
                </a:xfrm>
                <a:custGeom>
                  <a:avLst/>
                  <a:gdLst>
                    <a:gd name="connsiteX0" fmla="*/ 1469 w 3721"/>
                    <a:gd name="connsiteY0" fmla="*/ 52065 h 52065"/>
                    <a:gd name="connsiteX1" fmla="*/ 3461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52065"/>
                      </a:moveTo>
                      <a:cubicBezTo>
                        <a:pt x="3960"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3" name="Freeform 7862">
                  <a:extLst>
                    <a:ext uri="{FF2B5EF4-FFF2-40B4-BE49-F238E27FC236}">
                      <a16:creationId xmlns:a16="http://schemas.microsoft.com/office/drawing/2014/main" id="{0B62F562-F173-C0F5-7EDC-FB635077AA2F}"/>
                    </a:ext>
                  </a:extLst>
                </p:cNvPr>
                <p:cNvSpPr/>
                <p:nvPr/>
              </p:nvSpPr>
              <p:spPr>
                <a:xfrm>
                  <a:off x="5996101" y="1937444"/>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449"/>
                        <a:pt x="3593" y="18684"/>
                      </a:cubicBezTo>
                      <a:cubicBezTo>
                        <a:pt x="2845" y="25659"/>
                        <a:pt x="603"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4" name="Freeform 7863">
                  <a:extLst>
                    <a:ext uri="{FF2B5EF4-FFF2-40B4-BE49-F238E27FC236}">
                      <a16:creationId xmlns:a16="http://schemas.microsoft.com/office/drawing/2014/main" id="{F71DF2E2-7EB4-17E1-03AA-4AAF2FF016A9}"/>
                    </a:ext>
                  </a:extLst>
                </p:cNvPr>
                <p:cNvSpPr/>
                <p:nvPr/>
              </p:nvSpPr>
              <p:spPr>
                <a:xfrm>
                  <a:off x="5988359" y="1978546"/>
                  <a:ext cx="26655" cy="26534"/>
                </a:xfrm>
                <a:custGeom>
                  <a:avLst/>
                  <a:gdLst>
                    <a:gd name="connsiteX0" fmla="*/ 0 w 26655"/>
                    <a:gd name="connsiteY0" fmla="*/ 13080 h 26534"/>
                    <a:gd name="connsiteX1" fmla="*/ 13328 w 26655"/>
                    <a:gd name="connsiteY1" fmla="*/ 2 h 26534"/>
                    <a:gd name="connsiteX2" fmla="*/ 26656 w 26655"/>
                    <a:gd name="connsiteY2" fmla="*/ 13454 h 26534"/>
                    <a:gd name="connsiteX3" fmla="*/ 13328 w 26655"/>
                    <a:gd name="connsiteY3" fmla="*/ 26533 h 26534"/>
                    <a:gd name="connsiteX4" fmla="*/ 0 w 26655"/>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4">
                      <a:moveTo>
                        <a:pt x="0" y="13080"/>
                      </a:moveTo>
                      <a:cubicBezTo>
                        <a:pt x="0" y="5732"/>
                        <a:pt x="5979" y="-123"/>
                        <a:pt x="13328" y="2"/>
                      </a:cubicBezTo>
                      <a:cubicBezTo>
                        <a:pt x="20677" y="127"/>
                        <a:pt x="26656" y="6105"/>
                        <a:pt x="26656" y="13454"/>
                      </a:cubicBezTo>
                      <a:cubicBezTo>
                        <a:pt x="26656" y="20803"/>
                        <a:pt x="20677" y="26657"/>
                        <a:pt x="13328" y="26533"/>
                      </a:cubicBezTo>
                      <a:cubicBezTo>
                        <a:pt x="5979" y="26408"/>
                        <a:pt x="0" y="20305"/>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5" name="Freeform 7864">
                  <a:extLst>
                    <a:ext uri="{FF2B5EF4-FFF2-40B4-BE49-F238E27FC236}">
                      <a16:creationId xmlns:a16="http://schemas.microsoft.com/office/drawing/2014/main" id="{C53A8810-EB29-866C-0619-26ECBD246D82}"/>
                    </a:ext>
                  </a:extLst>
                </p:cNvPr>
                <p:cNvSpPr/>
                <p:nvPr/>
              </p:nvSpPr>
              <p:spPr>
                <a:xfrm>
                  <a:off x="5996070" y="1876411"/>
                  <a:ext cx="3721" cy="52065"/>
                </a:xfrm>
                <a:custGeom>
                  <a:avLst/>
                  <a:gdLst>
                    <a:gd name="connsiteX0" fmla="*/ 2253 w 3721"/>
                    <a:gd name="connsiteY0" fmla="*/ 0 h 52065"/>
                    <a:gd name="connsiteX1" fmla="*/ 260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2"/>
                        <a:pt x="-238" y="14324"/>
                        <a:pt x="260" y="18684"/>
                      </a:cubicBezTo>
                      <a:cubicBezTo>
                        <a:pt x="1008" y="25659"/>
                        <a:pt x="3125" y="28773"/>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6" name="Freeform 7865">
                  <a:extLst>
                    <a:ext uri="{FF2B5EF4-FFF2-40B4-BE49-F238E27FC236}">
                      <a16:creationId xmlns:a16="http://schemas.microsoft.com/office/drawing/2014/main" id="{7F51C56B-0D26-A682-F555-57DA112108D2}"/>
                    </a:ext>
                  </a:extLst>
                </p:cNvPr>
                <p:cNvSpPr/>
                <p:nvPr/>
              </p:nvSpPr>
              <p:spPr>
                <a:xfrm>
                  <a:off x="6003668" y="1871429"/>
                  <a:ext cx="3852" cy="52189"/>
                </a:xfrm>
                <a:custGeom>
                  <a:avLst/>
                  <a:gdLst>
                    <a:gd name="connsiteX0" fmla="*/ 2253 w 3852"/>
                    <a:gd name="connsiteY0" fmla="*/ 52190 h 52189"/>
                    <a:gd name="connsiteX1" fmla="*/ 260 w 3852"/>
                    <a:gd name="connsiteY1" fmla="*/ 33506 h 52189"/>
                    <a:gd name="connsiteX2" fmla="*/ 3748 w 3852"/>
                    <a:gd name="connsiteY2" fmla="*/ 16442 h 52189"/>
                    <a:gd name="connsiteX3" fmla="*/ 1631 w 3852"/>
                    <a:gd name="connsiteY3" fmla="*/ 0 h 52189"/>
                  </a:gdLst>
                  <a:ahLst/>
                  <a:cxnLst>
                    <a:cxn ang="0">
                      <a:pos x="connsiteX0" y="connsiteY0"/>
                    </a:cxn>
                    <a:cxn ang="0">
                      <a:pos x="connsiteX1" y="connsiteY1"/>
                    </a:cxn>
                    <a:cxn ang="0">
                      <a:pos x="connsiteX2" y="connsiteY2"/>
                    </a:cxn>
                    <a:cxn ang="0">
                      <a:pos x="connsiteX3" y="connsiteY3"/>
                    </a:cxn>
                  </a:cxnLst>
                  <a:rect l="l" t="t" r="r" b="b"/>
                  <a:pathLst>
                    <a:path w="3852" h="52189">
                      <a:moveTo>
                        <a:pt x="2253" y="52190"/>
                      </a:moveTo>
                      <a:cubicBezTo>
                        <a:pt x="-238" y="44093"/>
                        <a:pt x="-238" y="37741"/>
                        <a:pt x="260" y="33506"/>
                      </a:cubicBezTo>
                      <a:cubicBezTo>
                        <a:pt x="1007" y="26531"/>
                        <a:pt x="3125" y="23541"/>
                        <a:pt x="3748" y="16442"/>
                      </a:cubicBezTo>
                      <a:cubicBezTo>
                        <a:pt x="4246" y="9591"/>
                        <a:pt x="2876" y="3861"/>
                        <a:pt x="16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7" name="Freeform 7866">
                  <a:extLst>
                    <a:ext uri="{FF2B5EF4-FFF2-40B4-BE49-F238E27FC236}">
                      <a16:creationId xmlns:a16="http://schemas.microsoft.com/office/drawing/2014/main" id="{7C8057C6-4302-DA82-105B-E82A89B3A4ED}"/>
                    </a:ext>
                  </a:extLst>
                </p:cNvPr>
                <p:cNvSpPr/>
                <p:nvPr/>
              </p:nvSpPr>
              <p:spPr>
                <a:xfrm>
                  <a:off x="5988732" y="1855981"/>
                  <a:ext cx="26406" cy="26534"/>
                </a:xfrm>
                <a:custGeom>
                  <a:avLst/>
                  <a:gdLst>
                    <a:gd name="connsiteX0" fmla="*/ 26407 w 26406"/>
                    <a:gd name="connsiteY0" fmla="*/ 13454 h 26534"/>
                    <a:gd name="connsiteX1" fmla="*/ 13203 w 26406"/>
                    <a:gd name="connsiteY1" fmla="*/ 26533 h 26534"/>
                    <a:gd name="connsiteX2" fmla="*/ 0 w 26406"/>
                    <a:gd name="connsiteY2" fmla="*/ 13080 h 26534"/>
                    <a:gd name="connsiteX3" fmla="*/ 13203 w 26406"/>
                    <a:gd name="connsiteY3" fmla="*/ 2 h 26534"/>
                    <a:gd name="connsiteX4" fmla="*/ 26407 w 26406"/>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7" y="13454"/>
                      </a:moveTo>
                      <a:cubicBezTo>
                        <a:pt x="26407" y="20803"/>
                        <a:pt x="20428" y="26657"/>
                        <a:pt x="13203" y="26533"/>
                      </a:cubicBezTo>
                      <a:cubicBezTo>
                        <a:pt x="5854" y="26408"/>
                        <a:pt x="0" y="20429"/>
                        <a:pt x="0" y="13080"/>
                      </a:cubicBezTo>
                      <a:cubicBezTo>
                        <a:pt x="0" y="5732"/>
                        <a:pt x="5979" y="-123"/>
                        <a:pt x="13203" y="2"/>
                      </a:cubicBezTo>
                      <a:cubicBezTo>
                        <a:pt x="20552" y="127"/>
                        <a:pt x="26407" y="6230"/>
                        <a:pt x="26407"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1" name="Graphic 2987">
                <a:extLst>
                  <a:ext uri="{FF2B5EF4-FFF2-40B4-BE49-F238E27FC236}">
                    <a16:creationId xmlns:a16="http://schemas.microsoft.com/office/drawing/2014/main" id="{7BAE302A-187B-FFCD-C6AC-F1B25A2C6845}"/>
                  </a:ext>
                </a:extLst>
              </p:cNvPr>
              <p:cNvGrpSpPr/>
              <p:nvPr/>
            </p:nvGrpSpPr>
            <p:grpSpPr>
              <a:xfrm>
                <a:off x="5958588" y="1855732"/>
                <a:ext cx="27032" cy="148974"/>
                <a:chOff x="5958588" y="1855732"/>
                <a:chExt cx="27032" cy="148974"/>
              </a:xfrm>
              <a:grpFill/>
            </p:grpSpPr>
            <p:sp>
              <p:nvSpPr>
                <p:cNvPr id="6306" name="Freeform 7868">
                  <a:extLst>
                    <a:ext uri="{FF2B5EF4-FFF2-40B4-BE49-F238E27FC236}">
                      <a16:creationId xmlns:a16="http://schemas.microsoft.com/office/drawing/2014/main" id="{AFFB1C41-0626-2E07-1660-B388459EFDF8}"/>
                    </a:ext>
                  </a:extLst>
                </p:cNvPr>
                <p:cNvSpPr/>
                <p:nvPr/>
              </p:nvSpPr>
              <p:spPr>
                <a:xfrm>
                  <a:off x="5974186" y="1932337"/>
                  <a:ext cx="3640" cy="52065"/>
                </a:xfrm>
                <a:custGeom>
                  <a:avLst/>
                  <a:gdLst>
                    <a:gd name="connsiteX0" fmla="*/ 1344 w 3640"/>
                    <a:gd name="connsiteY0" fmla="*/ 52065 h 52065"/>
                    <a:gd name="connsiteX1" fmla="*/ 3461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3"/>
                        <a:pt x="3835" y="37741"/>
                        <a:pt x="3461" y="33381"/>
                      </a:cubicBezTo>
                      <a:cubicBezTo>
                        <a:pt x="2714" y="26406"/>
                        <a:pt x="596"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7" name="Freeform 7869">
                  <a:extLst>
                    <a:ext uri="{FF2B5EF4-FFF2-40B4-BE49-F238E27FC236}">
                      <a16:creationId xmlns:a16="http://schemas.microsoft.com/office/drawing/2014/main" id="{A948DF40-FCEA-F06B-983C-CCAE0B4C01A4}"/>
                    </a:ext>
                  </a:extLst>
                </p:cNvPr>
                <p:cNvSpPr/>
                <p:nvPr/>
              </p:nvSpPr>
              <p:spPr>
                <a:xfrm>
                  <a:off x="5966332" y="1937195"/>
                  <a:ext cx="3883" cy="52189"/>
                </a:xfrm>
                <a:custGeom>
                  <a:avLst/>
                  <a:gdLst>
                    <a:gd name="connsiteX0" fmla="*/ 1724 w 3883"/>
                    <a:gd name="connsiteY0" fmla="*/ 0 h 52189"/>
                    <a:gd name="connsiteX1" fmla="*/ 3593 w 3883"/>
                    <a:gd name="connsiteY1" fmla="*/ 18684 h 52189"/>
                    <a:gd name="connsiteX2" fmla="*/ 105 w 3883"/>
                    <a:gd name="connsiteY2" fmla="*/ 35748 h 52189"/>
                    <a:gd name="connsiteX3" fmla="*/ 2222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0"/>
                      </a:moveTo>
                      <a:cubicBezTo>
                        <a:pt x="4215" y="8096"/>
                        <a:pt x="4091" y="14449"/>
                        <a:pt x="3593" y="18684"/>
                      </a:cubicBezTo>
                      <a:cubicBezTo>
                        <a:pt x="2721" y="25659"/>
                        <a:pt x="603" y="28648"/>
                        <a:pt x="105" y="35748"/>
                      </a:cubicBezTo>
                      <a:cubicBezTo>
                        <a:pt x="-393" y="42599"/>
                        <a:pt x="977" y="48328"/>
                        <a:pt x="222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8" name="Freeform 7870">
                  <a:extLst>
                    <a:ext uri="{FF2B5EF4-FFF2-40B4-BE49-F238E27FC236}">
                      <a16:creationId xmlns:a16="http://schemas.microsoft.com/office/drawing/2014/main" id="{F7F33263-3C2F-4639-3B16-BFA7C319A475}"/>
                    </a:ext>
                  </a:extLst>
                </p:cNvPr>
                <p:cNvSpPr/>
                <p:nvPr/>
              </p:nvSpPr>
              <p:spPr>
                <a:xfrm>
                  <a:off x="5958588" y="1978173"/>
                  <a:ext cx="26781" cy="26534"/>
                </a:xfrm>
                <a:custGeom>
                  <a:avLst/>
                  <a:gdLst>
                    <a:gd name="connsiteX0" fmla="*/ 2 w 26781"/>
                    <a:gd name="connsiteY0" fmla="*/ 13080 h 26534"/>
                    <a:gd name="connsiteX1" fmla="*/ 13454 w 26781"/>
                    <a:gd name="connsiteY1" fmla="*/ 2 h 26534"/>
                    <a:gd name="connsiteX2" fmla="*/ 26782 w 26781"/>
                    <a:gd name="connsiteY2" fmla="*/ 13454 h 26534"/>
                    <a:gd name="connsiteX3" fmla="*/ 13330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2" y="5732"/>
                        <a:pt x="5980" y="-123"/>
                        <a:pt x="13454" y="2"/>
                      </a:cubicBezTo>
                      <a:cubicBezTo>
                        <a:pt x="20928" y="126"/>
                        <a:pt x="26782" y="6105"/>
                        <a:pt x="26782" y="13454"/>
                      </a:cubicBezTo>
                      <a:cubicBezTo>
                        <a:pt x="26782" y="20803"/>
                        <a:pt x="20803" y="26657"/>
                        <a:pt x="13330"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9" name="Freeform 7871">
                  <a:extLst>
                    <a:ext uri="{FF2B5EF4-FFF2-40B4-BE49-F238E27FC236}">
                      <a16:creationId xmlns:a16="http://schemas.microsoft.com/office/drawing/2014/main" id="{E66D368F-E142-6040-F2F3-8B1390AC23F0}"/>
                    </a:ext>
                  </a:extLst>
                </p:cNvPr>
                <p:cNvSpPr/>
                <p:nvPr/>
              </p:nvSpPr>
              <p:spPr>
                <a:xfrm>
                  <a:off x="5966506" y="1876037"/>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773"/>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0" name="Freeform 7872">
                  <a:extLst>
                    <a:ext uri="{FF2B5EF4-FFF2-40B4-BE49-F238E27FC236}">
                      <a16:creationId xmlns:a16="http://schemas.microsoft.com/office/drawing/2014/main" id="{A97C8E03-CFED-4AD7-DF98-BA94ADDE15C1}"/>
                    </a:ext>
                  </a:extLst>
                </p:cNvPr>
                <p:cNvSpPr/>
                <p:nvPr/>
              </p:nvSpPr>
              <p:spPr>
                <a:xfrm>
                  <a:off x="5974118" y="1871055"/>
                  <a:ext cx="3883" cy="52189"/>
                </a:xfrm>
                <a:custGeom>
                  <a:avLst/>
                  <a:gdLst>
                    <a:gd name="connsiteX0" fmla="*/ 2159 w 3883"/>
                    <a:gd name="connsiteY0" fmla="*/ 52190 h 52189"/>
                    <a:gd name="connsiteX1" fmla="*/ 291 w 3883"/>
                    <a:gd name="connsiteY1" fmla="*/ 33506 h 52189"/>
                    <a:gd name="connsiteX2" fmla="*/ 3778 w 3883"/>
                    <a:gd name="connsiteY2" fmla="*/ 16442 h 52189"/>
                    <a:gd name="connsiteX3" fmla="*/ 1661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52190"/>
                      </a:moveTo>
                      <a:cubicBezTo>
                        <a:pt x="-332" y="44093"/>
                        <a:pt x="-208" y="37741"/>
                        <a:pt x="291" y="33506"/>
                      </a:cubicBezTo>
                      <a:cubicBezTo>
                        <a:pt x="1038" y="26531"/>
                        <a:pt x="3280" y="23541"/>
                        <a:pt x="3778" y="16442"/>
                      </a:cubicBezTo>
                      <a:cubicBezTo>
                        <a:pt x="4277" y="9591"/>
                        <a:pt x="2906" y="3861"/>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1" name="Freeform 7873">
                  <a:extLst>
                    <a:ext uri="{FF2B5EF4-FFF2-40B4-BE49-F238E27FC236}">
                      <a16:creationId xmlns:a16="http://schemas.microsoft.com/office/drawing/2014/main" id="{050A69E4-87C0-0C31-6ECA-80ECB6AAEB8B}"/>
                    </a:ext>
                  </a:extLst>
                </p:cNvPr>
                <p:cNvSpPr/>
                <p:nvPr/>
              </p:nvSpPr>
              <p:spPr>
                <a:xfrm>
                  <a:off x="5959212" y="1855732"/>
                  <a:ext cx="26408" cy="26534"/>
                </a:xfrm>
                <a:custGeom>
                  <a:avLst/>
                  <a:gdLst>
                    <a:gd name="connsiteX0" fmla="*/ 26406 w 26408"/>
                    <a:gd name="connsiteY0" fmla="*/ 13454 h 26534"/>
                    <a:gd name="connsiteX1" fmla="*/ 13203 w 26408"/>
                    <a:gd name="connsiteY1" fmla="*/ 26533 h 26534"/>
                    <a:gd name="connsiteX2" fmla="*/ 0 w 26408"/>
                    <a:gd name="connsiteY2" fmla="*/ 13081 h 26534"/>
                    <a:gd name="connsiteX3" fmla="*/ 13203 w 26408"/>
                    <a:gd name="connsiteY3" fmla="*/ 2 h 26534"/>
                    <a:gd name="connsiteX4" fmla="*/ 26406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454"/>
                      </a:moveTo>
                      <a:cubicBezTo>
                        <a:pt x="26406" y="20803"/>
                        <a:pt x="20428" y="26657"/>
                        <a:pt x="13203" y="26533"/>
                      </a:cubicBezTo>
                      <a:cubicBezTo>
                        <a:pt x="5979" y="26408"/>
                        <a:pt x="0" y="20429"/>
                        <a:pt x="0" y="13081"/>
                      </a:cubicBezTo>
                      <a:cubicBezTo>
                        <a:pt x="0" y="5732"/>
                        <a:pt x="5979" y="-123"/>
                        <a:pt x="13203" y="2"/>
                      </a:cubicBezTo>
                      <a:cubicBezTo>
                        <a:pt x="20552" y="127"/>
                        <a:pt x="26531" y="6105"/>
                        <a:pt x="26406"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2" name="Graphic 2987">
                <a:extLst>
                  <a:ext uri="{FF2B5EF4-FFF2-40B4-BE49-F238E27FC236}">
                    <a16:creationId xmlns:a16="http://schemas.microsoft.com/office/drawing/2014/main" id="{E68E9138-230B-7760-4E20-2A29D50C6AF4}"/>
                  </a:ext>
                </a:extLst>
              </p:cNvPr>
              <p:cNvGrpSpPr/>
              <p:nvPr/>
            </p:nvGrpSpPr>
            <p:grpSpPr>
              <a:xfrm>
                <a:off x="5928818" y="1855359"/>
                <a:ext cx="27282" cy="148974"/>
                <a:chOff x="5928818" y="1855359"/>
                <a:chExt cx="27282" cy="148974"/>
              </a:xfrm>
              <a:grpFill/>
            </p:grpSpPr>
            <p:sp>
              <p:nvSpPr>
                <p:cNvPr id="6300" name="Freeform 7875">
                  <a:extLst>
                    <a:ext uri="{FF2B5EF4-FFF2-40B4-BE49-F238E27FC236}">
                      <a16:creationId xmlns:a16="http://schemas.microsoft.com/office/drawing/2014/main" id="{BBCC79BD-69D3-61DB-45CF-037944AFF291}"/>
                    </a:ext>
                  </a:extLst>
                </p:cNvPr>
                <p:cNvSpPr/>
                <p:nvPr/>
              </p:nvSpPr>
              <p:spPr>
                <a:xfrm>
                  <a:off x="5944416" y="1931964"/>
                  <a:ext cx="3695" cy="52065"/>
                </a:xfrm>
                <a:custGeom>
                  <a:avLst/>
                  <a:gdLst>
                    <a:gd name="connsiteX0" fmla="*/ 1344 w 3695"/>
                    <a:gd name="connsiteY0" fmla="*/ 52065 h 52065"/>
                    <a:gd name="connsiteX1" fmla="*/ 3461 w 3695"/>
                    <a:gd name="connsiteY1" fmla="*/ 33381 h 52065"/>
                    <a:gd name="connsiteX2" fmla="*/ 98 w 3695"/>
                    <a:gd name="connsiteY2" fmla="*/ 16317 h 52065"/>
                    <a:gd name="connsiteX3" fmla="*/ 2340 w 3695"/>
                    <a:gd name="connsiteY3" fmla="*/ 0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52065"/>
                      </a:moveTo>
                      <a:cubicBezTo>
                        <a:pt x="3835"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1" name="Freeform 7876">
                  <a:extLst>
                    <a:ext uri="{FF2B5EF4-FFF2-40B4-BE49-F238E27FC236}">
                      <a16:creationId xmlns:a16="http://schemas.microsoft.com/office/drawing/2014/main" id="{45160B26-F361-AA19-3463-F2D1219C801D}"/>
                    </a:ext>
                  </a:extLst>
                </p:cNvPr>
                <p:cNvSpPr/>
                <p:nvPr/>
              </p:nvSpPr>
              <p:spPr>
                <a:xfrm>
                  <a:off x="5936562" y="1936821"/>
                  <a:ext cx="3981" cy="52189"/>
                </a:xfrm>
                <a:custGeom>
                  <a:avLst/>
                  <a:gdLst>
                    <a:gd name="connsiteX0" fmla="*/ 1849 w 3981"/>
                    <a:gd name="connsiteY0" fmla="*/ 0 h 52189"/>
                    <a:gd name="connsiteX1" fmla="*/ 3718 w 3981"/>
                    <a:gd name="connsiteY1" fmla="*/ 18684 h 52189"/>
                    <a:gd name="connsiteX2" fmla="*/ 105 w 3981"/>
                    <a:gd name="connsiteY2" fmla="*/ 35748 h 52189"/>
                    <a:gd name="connsiteX3" fmla="*/ 2098 w 39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981" h="52189">
                      <a:moveTo>
                        <a:pt x="1849" y="0"/>
                      </a:moveTo>
                      <a:cubicBezTo>
                        <a:pt x="4216" y="8096"/>
                        <a:pt x="4216" y="14449"/>
                        <a:pt x="3718" y="18684"/>
                      </a:cubicBezTo>
                      <a:cubicBezTo>
                        <a:pt x="2846" y="25659"/>
                        <a:pt x="728" y="28648"/>
                        <a:pt x="105" y="35748"/>
                      </a:cubicBezTo>
                      <a:cubicBezTo>
                        <a:pt x="-393" y="42599"/>
                        <a:pt x="977" y="48328"/>
                        <a:pt x="209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2" name="Freeform 7877">
                  <a:extLst>
                    <a:ext uri="{FF2B5EF4-FFF2-40B4-BE49-F238E27FC236}">
                      <a16:creationId xmlns:a16="http://schemas.microsoft.com/office/drawing/2014/main" id="{FA54BA1E-86D9-A447-801A-D5B6D5A7D486}"/>
                    </a:ext>
                  </a:extLst>
                </p:cNvPr>
                <p:cNvSpPr/>
                <p:nvPr/>
              </p:nvSpPr>
              <p:spPr>
                <a:xfrm>
                  <a:off x="5928818" y="1977799"/>
                  <a:ext cx="26659" cy="26534"/>
                </a:xfrm>
                <a:custGeom>
                  <a:avLst/>
                  <a:gdLst>
                    <a:gd name="connsiteX0" fmla="*/ 2 w 26659"/>
                    <a:gd name="connsiteY0" fmla="*/ 13080 h 26534"/>
                    <a:gd name="connsiteX1" fmla="*/ 13454 w 26659"/>
                    <a:gd name="connsiteY1" fmla="*/ 2 h 26534"/>
                    <a:gd name="connsiteX2" fmla="*/ 26657 w 26659"/>
                    <a:gd name="connsiteY2" fmla="*/ 13454 h 26534"/>
                    <a:gd name="connsiteX3" fmla="*/ 13205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2" y="5732"/>
                        <a:pt x="6105" y="-123"/>
                        <a:pt x="13454" y="2"/>
                      </a:cubicBezTo>
                      <a:cubicBezTo>
                        <a:pt x="20803" y="126"/>
                        <a:pt x="26782" y="6105"/>
                        <a:pt x="26657" y="13454"/>
                      </a:cubicBezTo>
                      <a:cubicBezTo>
                        <a:pt x="26657" y="20803"/>
                        <a:pt x="20554" y="26657"/>
                        <a:pt x="13205" y="26533"/>
                      </a:cubicBezTo>
                      <a:cubicBezTo>
                        <a:pt x="5856" y="26408"/>
                        <a:pt x="-122"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3" name="Freeform 7878">
                  <a:extLst>
                    <a:ext uri="{FF2B5EF4-FFF2-40B4-BE49-F238E27FC236}">
                      <a16:creationId xmlns:a16="http://schemas.microsoft.com/office/drawing/2014/main" id="{B8EEB2E7-4506-A5AA-EACA-1E1657F6478D}"/>
                    </a:ext>
                  </a:extLst>
                </p:cNvPr>
                <p:cNvSpPr/>
                <p:nvPr/>
              </p:nvSpPr>
              <p:spPr>
                <a:xfrm>
                  <a:off x="5936932" y="1875664"/>
                  <a:ext cx="3570" cy="52065"/>
                </a:xfrm>
                <a:custGeom>
                  <a:avLst/>
                  <a:gdLst>
                    <a:gd name="connsiteX0" fmla="*/ 2351 w 3570"/>
                    <a:gd name="connsiteY0" fmla="*/ 0 h 52065"/>
                    <a:gd name="connsiteX1" fmla="*/ 234 w 3570"/>
                    <a:gd name="connsiteY1" fmla="*/ 18684 h 52065"/>
                    <a:gd name="connsiteX2" fmla="*/ 3473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0"/>
                      </a:moveTo>
                      <a:cubicBezTo>
                        <a:pt x="-140" y="7972"/>
                        <a:pt x="-264" y="14324"/>
                        <a:pt x="234" y="18684"/>
                      </a:cubicBezTo>
                      <a:cubicBezTo>
                        <a:pt x="981" y="25659"/>
                        <a:pt x="3099" y="28773"/>
                        <a:pt x="3473" y="35748"/>
                      </a:cubicBezTo>
                      <a:cubicBezTo>
                        <a:pt x="3970"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4" name="Freeform 7879">
                  <a:extLst>
                    <a:ext uri="{FF2B5EF4-FFF2-40B4-BE49-F238E27FC236}">
                      <a16:creationId xmlns:a16="http://schemas.microsoft.com/office/drawing/2014/main" id="{AF9C4A8F-D469-68EA-8244-D9EB03640FD6}"/>
                    </a:ext>
                  </a:extLst>
                </p:cNvPr>
                <p:cNvSpPr/>
                <p:nvPr/>
              </p:nvSpPr>
              <p:spPr>
                <a:xfrm>
                  <a:off x="5944500" y="1870681"/>
                  <a:ext cx="3856" cy="52189"/>
                </a:xfrm>
                <a:custGeom>
                  <a:avLst/>
                  <a:gdLst>
                    <a:gd name="connsiteX0" fmla="*/ 2133 w 3856"/>
                    <a:gd name="connsiteY0" fmla="*/ 52190 h 52189"/>
                    <a:gd name="connsiteX1" fmla="*/ 264 w 3856"/>
                    <a:gd name="connsiteY1" fmla="*/ 33506 h 52189"/>
                    <a:gd name="connsiteX2" fmla="*/ 3752 w 3856"/>
                    <a:gd name="connsiteY2" fmla="*/ 16442 h 52189"/>
                    <a:gd name="connsiteX3" fmla="*/ 1759 w 3856"/>
                    <a:gd name="connsiteY3" fmla="*/ 0 h 52189"/>
                  </a:gdLst>
                  <a:ahLst/>
                  <a:cxnLst>
                    <a:cxn ang="0">
                      <a:pos x="connsiteX0" y="connsiteY0"/>
                    </a:cxn>
                    <a:cxn ang="0">
                      <a:pos x="connsiteX1" y="connsiteY1"/>
                    </a:cxn>
                    <a:cxn ang="0">
                      <a:pos x="connsiteX2" y="connsiteY2"/>
                    </a:cxn>
                    <a:cxn ang="0">
                      <a:pos x="connsiteX3" y="connsiteY3"/>
                    </a:cxn>
                  </a:cxnLst>
                  <a:rect l="l" t="t" r="r" b="b"/>
                  <a:pathLst>
                    <a:path w="3856" h="52189">
                      <a:moveTo>
                        <a:pt x="2133" y="52190"/>
                      </a:moveTo>
                      <a:cubicBezTo>
                        <a:pt x="-234" y="44093"/>
                        <a:pt x="-234" y="37741"/>
                        <a:pt x="264" y="33506"/>
                      </a:cubicBezTo>
                      <a:cubicBezTo>
                        <a:pt x="1136" y="26531"/>
                        <a:pt x="3254" y="23541"/>
                        <a:pt x="3752" y="16442"/>
                      </a:cubicBezTo>
                      <a:cubicBezTo>
                        <a:pt x="4250" y="9591"/>
                        <a:pt x="2880" y="3861"/>
                        <a:pt x="17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5" name="Freeform 7880">
                  <a:extLst>
                    <a:ext uri="{FF2B5EF4-FFF2-40B4-BE49-F238E27FC236}">
                      <a16:creationId xmlns:a16="http://schemas.microsoft.com/office/drawing/2014/main" id="{CB1787A9-767D-1999-8694-6AA805E975D8}"/>
                    </a:ext>
                  </a:extLst>
                </p:cNvPr>
                <p:cNvSpPr/>
                <p:nvPr/>
              </p:nvSpPr>
              <p:spPr>
                <a:xfrm>
                  <a:off x="5929690" y="1855359"/>
                  <a:ext cx="26410" cy="26534"/>
                </a:xfrm>
                <a:custGeom>
                  <a:avLst/>
                  <a:gdLst>
                    <a:gd name="connsiteX0" fmla="*/ 26408 w 26410"/>
                    <a:gd name="connsiteY0" fmla="*/ 13454 h 26534"/>
                    <a:gd name="connsiteX1" fmla="*/ 13080 w 26410"/>
                    <a:gd name="connsiteY1" fmla="*/ 26533 h 26534"/>
                    <a:gd name="connsiteX2" fmla="*/ 2 w 26410"/>
                    <a:gd name="connsiteY2" fmla="*/ 13080 h 26534"/>
                    <a:gd name="connsiteX3" fmla="*/ 13330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408" y="20803"/>
                        <a:pt x="20430" y="26657"/>
                        <a:pt x="13080" y="26533"/>
                      </a:cubicBezTo>
                      <a:cubicBezTo>
                        <a:pt x="5732" y="26408"/>
                        <a:pt x="-123" y="20429"/>
                        <a:pt x="2" y="13080"/>
                      </a:cubicBezTo>
                      <a:cubicBezTo>
                        <a:pt x="2" y="5732"/>
                        <a:pt x="5981" y="-123"/>
                        <a:pt x="13330"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3" name="Graphic 2987">
                <a:extLst>
                  <a:ext uri="{FF2B5EF4-FFF2-40B4-BE49-F238E27FC236}">
                    <a16:creationId xmlns:a16="http://schemas.microsoft.com/office/drawing/2014/main" id="{16F157CF-F4D6-F559-2598-63FC0E882B8D}"/>
                  </a:ext>
                </a:extLst>
              </p:cNvPr>
              <p:cNvGrpSpPr/>
              <p:nvPr/>
            </p:nvGrpSpPr>
            <p:grpSpPr>
              <a:xfrm>
                <a:off x="5898926" y="1854985"/>
                <a:ext cx="27776" cy="148974"/>
                <a:chOff x="5898926" y="1854985"/>
                <a:chExt cx="27776" cy="148974"/>
              </a:xfrm>
              <a:grpFill/>
            </p:grpSpPr>
            <p:sp>
              <p:nvSpPr>
                <p:cNvPr id="6294" name="Freeform 7882">
                  <a:extLst>
                    <a:ext uri="{FF2B5EF4-FFF2-40B4-BE49-F238E27FC236}">
                      <a16:creationId xmlns:a16="http://schemas.microsoft.com/office/drawing/2014/main" id="{D4D3396A-2908-87E0-1002-8300ABB38DD9}"/>
                    </a:ext>
                  </a:extLst>
                </p:cNvPr>
                <p:cNvSpPr/>
                <p:nvPr/>
              </p:nvSpPr>
              <p:spPr>
                <a:xfrm>
                  <a:off x="5914807" y="1931590"/>
                  <a:ext cx="3557" cy="52065"/>
                </a:xfrm>
                <a:custGeom>
                  <a:avLst/>
                  <a:gdLst>
                    <a:gd name="connsiteX0" fmla="*/ 1183 w 3557"/>
                    <a:gd name="connsiteY0" fmla="*/ 52065 h 52065"/>
                    <a:gd name="connsiteX1" fmla="*/ 3301 w 3557"/>
                    <a:gd name="connsiteY1" fmla="*/ 33381 h 52065"/>
                    <a:gd name="connsiteX2" fmla="*/ 62 w 3557"/>
                    <a:gd name="connsiteY2" fmla="*/ 16317 h 52065"/>
                    <a:gd name="connsiteX3" fmla="*/ 24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52065"/>
                      </a:moveTo>
                      <a:cubicBezTo>
                        <a:pt x="3799" y="44093"/>
                        <a:pt x="3799"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5" name="Freeform 7883">
                  <a:extLst>
                    <a:ext uri="{FF2B5EF4-FFF2-40B4-BE49-F238E27FC236}">
                      <a16:creationId xmlns:a16="http://schemas.microsoft.com/office/drawing/2014/main" id="{F6756230-CFE2-E1A6-1A3F-34E4CBCDBA75}"/>
                    </a:ext>
                  </a:extLst>
                </p:cNvPr>
                <p:cNvSpPr/>
                <p:nvPr/>
              </p:nvSpPr>
              <p:spPr>
                <a:xfrm>
                  <a:off x="5906618" y="1936448"/>
                  <a:ext cx="4118" cy="52189"/>
                </a:xfrm>
                <a:custGeom>
                  <a:avLst/>
                  <a:gdLst>
                    <a:gd name="connsiteX0" fmla="*/ 2023 w 4118"/>
                    <a:gd name="connsiteY0" fmla="*/ 0 h 52189"/>
                    <a:gd name="connsiteX1" fmla="*/ 3767 w 4118"/>
                    <a:gd name="connsiteY1" fmla="*/ 18684 h 52189"/>
                    <a:gd name="connsiteX2" fmla="*/ 155 w 4118"/>
                    <a:gd name="connsiteY2" fmla="*/ 35748 h 52189"/>
                    <a:gd name="connsiteX3" fmla="*/ 2148 w 411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0"/>
                      </a:moveTo>
                      <a:cubicBezTo>
                        <a:pt x="4390" y="8096"/>
                        <a:pt x="4390"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6" name="Freeform 7884">
                  <a:extLst>
                    <a:ext uri="{FF2B5EF4-FFF2-40B4-BE49-F238E27FC236}">
                      <a16:creationId xmlns:a16="http://schemas.microsoft.com/office/drawing/2014/main" id="{3A59301B-8D9F-26FA-BA34-C93885BD1175}"/>
                    </a:ext>
                  </a:extLst>
                </p:cNvPr>
                <p:cNvSpPr/>
                <p:nvPr/>
              </p:nvSpPr>
              <p:spPr>
                <a:xfrm>
                  <a:off x="5898926" y="1977425"/>
                  <a:ext cx="26657" cy="26534"/>
                </a:xfrm>
                <a:custGeom>
                  <a:avLst/>
                  <a:gdLst>
                    <a:gd name="connsiteX0" fmla="*/ 0 w 26657"/>
                    <a:gd name="connsiteY0" fmla="*/ 13080 h 26534"/>
                    <a:gd name="connsiteX1" fmla="*/ 13452 w 26657"/>
                    <a:gd name="connsiteY1" fmla="*/ 2 h 26534"/>
                    <a:gd name="connsiteX2" fmla="*/ 26656 w 26657"/>
                    <a:gd name="connsiteY2" fmla="*/ 13454 h 26534"/>
                    <a:gd name="connsiteX3" fmla="*/ 13203 w 26657"/>
                    <a:gd name="connsiteY3" fmla="*/ 26533 h 26534"/>
                    <a:gd name="connsiteX4" fmla="*/ 0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080"/>
                      </a:moveTo>
                      <a:cubicBezTo>
                        <a:pt x="125" y="5732"/>
                        <a:pt x="6103" y="-123"/>
                        <a:pt x="13452" y="2"/>
                      </a:cubicBezTo>
                      <a:cubicBezTo>
                        <a:pt x="20801" y="127"/>
                        <a:pt x="26780" y="6105"/>
                        <a:pt x="26656" y="13454"/>
                      </a:cubicBezTo>
                      <a:cubicBezTo>
                        <a:pt x="26656" y="20803"/>
                        <a:pt x="20552" y="26657"/>
                        <a:pt x="13203" y="26533"/>
                      </a:cubicBezTo>
                      <a:cubicBezTo>
                        <a:pt x="5854" y="26408"/>
                        <a:pt x="0" y="20429"/>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7" name="Freeform 7885">
                  <a:extLst>
                    <a:ext uri="{FF2B5EF4-FFF2-40B4-BE49-F238E27FC236}">
                      <a16:creationId xmlns:a16="http://schemas.microsoft.com/office/drawing/2014/main" id="{F7F1A651-C831-EE13-D06D-EDD04703F875}"/>
                    </a:ext>
                  </a:extLst>
                </p:cNvPr>
                <p:cNvSpPr/>
                <p:nvPr/>
              </p:nvSpPr>
              <p:spPr>
                <a:xfrm>
                  <a:off x="5907412" y="1875290"/>
                  <a:ext cx="3534" cy="52065"/>
                </a:xfrm>
                <a:custGeom>
                  <a:avLst/>
                  <a:gdLst>
                    <a:gd name="connsiteX0" fmla="*/ 2351 w 3534"/>
                    <a:gd name="connsiteY0" fmla="*/ 0 h 52065"/>
                    <a:gd name="connsiteX1" fmla="*/ 234 w 3534"/>
                    <a:gd name="connsiteY1" fmla="*/ 18684 h 52065"/>
                    <a:gd name="connsiteX2" fmla="*/ 3472 w 3534"/>
                    <a:gd name="connsiteY2" fmla="*/ 35748 h 52065"/>
                    <a:gd name="connsiteX3" fmla="*/ 1106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2351" y="0"/>
                      </a:moveTo>
                      <a:cubicBezTo>
                        <a:pt x="-140" y="7972"/>
                        <a:pt x="-264" y="14324"/>
                        <a:pt x="234" y="18684"/>
                      </a:cubicBezTo>
                      <a:cubicBezTo>
                        <a:pt x="981" y="25659"/>
                        <a:pt x="3098" y="28773"/>
                        <a:pt x="3472" y="35748"/>
                      </a:cubicBezTo>
                      <a:cubicBezTo>
                        <a:pt x="3846" y="42599"/>
                        <a:pt x="2476" y="48328"/>
                        <a:pt x="1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8" name="Freeform 7886">
                  <a:extLst>
                    <a:ext uri="{FF2B5EF4-FFF2-40B4-BE49-F238E27FC236}">
                      <a16:creationId xmlns:a16="http://schemas.microsoft.com/office/drawing/2014/main" id="{750AF08C-0546-7DDD-4183-D722717E12F4}"/>
                    </a:ext>
                  </a:extLst>
                </p:cNvPr>
                <p:cNvSpPr/>
                <p:nvPr/>
              </p:nvSpPr>
              <p:spPr>
                <a:xfrm>
                  <a:off x="5914855" y="1870308"/>
                  <a:ext cx="3988" cy="52189"/>
                </a:xfrm>
                <a:custGeom>
                  <a:avLst/>
                  <a:gdLst>
                    <a:gd name="connsiteX0" fmla="*/ 2132 w 3988"/>
                    <a:gd name="connsiteY0" fmla="*/ 52190 h 52189"/>
                    <a:gd name="connsiteX1" fmla="*/ 264 w 3988"/>
                    <a:gd name="connsiteY1" fmla="*/ 33506 h 52189"/>
                    <a:gd name="connsiteX2" fmla="*/ 3876 w 3988"/>
                    <a:gd name="connsiteY2" fmla="*/ 16442 h 52189"/>
                    <a:gd name="connsiteX3" fmla="*/ 1883 w 3988"/>
                    <a:gd name="connsiteY3" fmla="*/ 0 h 52189"/>
                  </a:gdLst>
                  <a:ahLst/>
                  <a:cxnLst>
                    <a:cxn ang="0">
                      <a:pos x="connsiteX0" y="connsiteY0"/>
                    </a:cxn>
                    <a:cxn ang="0">
                      <a:pos x="connsiteX1" y="connsiteY1"/>
                    </a:cxn>
                    <a:cxn ang="0">
                      <a:pos x="connsiteX2" y="connsiteY2"/>
                    </a:cxn>
                    <a:cxn ang="0">
                      <a:pos x="connsiteX3" y="connsiteY3"/>
                    </a:cxn>
                  </a:cxnLst>
                  <a:rect l="l" t="t" r="r" b="b"/>
                  <a:pathLst>
                    <a:path w="3988" h="52189">
                      <a:moveTo>
                        <a:pt x="2132" y="52190"/>
                      </a:moveTo>
                      <a:cubicBezTo>
                        <a:pt x="-234" y="44093"/>
                        <a:pt x="-234" y="37741"/>
                        <a:pt x="264" y="33506"/>
                      </a:cubicBezTo>
                      <a:cubicBezTo>
                        <a:pt x="1136" y="26531"/>
                        <a:pt x="3253" y="23541"/>
                        <a:pt x="3876" y="16442"/>
                      </a:cubicBezTo>
                      <a:cubicBezTo>
                        <a:pt x="4374" y="9591"/>
                        <a:pt x="3129" y="3861"/>
                        <a:pt x="18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9" name="Freeform 7887">
                  <a:extLst>
                    <a:ext uri="{FF2B5EF4-FFF2-40B4-BE49-F238E27FC236}">
                      <a16:creationId xmlns:a16="http://schemas.microsoft.com/office/drawing/2014/main" id="{80C86039-65A0-1BA6-848F-FB895778C071}"/>
                    </a:ext>
                  </a:extLst>
                </p:cNvPr>
                <p:cNvSpPr/>
                <p:nvPr/>
              </p:nvSpPr>
              <p:spPr>
                <a:xfrm>
                  <a:off x="5900295" y="1854985"/>
                  <a:ext cx="26408" cy="26534"/>
                </a:xfrm>
                <a:custGeom>
                  <a:avLst/>
                  <a:gdLst>
                    <a:gd name="connsiteX0" fmla="*/ 26408 w 26408"/>
                    <a:gd name="connsiteY0" fmla="*/ 13454 h 26534"/>
                    <a:gd name="connsiteX1" fmla="*/ 13080 w 26408"/>
                    <a:gd name="connsiteY1" fmla="*/ 26533 h 26534"/>
                    <a:gd name="connsiteX2" fmla="*/ 2 w 26408"/>
                    <a:gd name="connsiteY2" fmla="*/ 13080 h 26534"/>
                    <a:gd name="connsiteX3" fmla="*/ 13329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408" y="20803"/>
                        <a:pt x="20429" y="26657"/>
                        <a:pt x="13080" y="26533"/>
                      </a:cubicBezTo>
                      <a:cubicBezTo>
                        <a:pt x="5732" y="26408"/>
                        <a:pt x="-123" y="20429"/>
                        <a:pt x="2" y="13080"/>
                      </a:cubicBezTo>
                      <a:cubicBezTo>
                        <a:pt x="126" y="5732"/>
                        <a:pt x="6105" y="-123"/>
                        <a:pt x="13329" y="2"/>
                      </a:cubicBezTo>
                      <a:cubicBezTo>
                        <a:pt x="20554" y="126"/>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4" name="Graphic 2987">
                <a:extLst>
                  <a:ext uri="{FF2B5EF4-FFF2-40B4-BE49-F238E27FC236}">
                    <a16:creationId xmlns:a16="http://schemas.microsoft.com/office/drawing/2014/main" id="{042D7DEA-09AF-F2F7-ED5D-39C455465C41}"/>
                  </a:ext>
                </a:extLst>
              </p:cNvPr>
              <p:cNvGrpSpPr/>
              <p:nvPr/>
            </p:nvGrpSpPr>
            <p:grpSpPr>
              <a:xfrm>
                <a:off x="5869155" y="1854611"/>
                <a:ext cx="28027" cy="148974"/>
                <a:chOff x="5869155" y="1854611"/>
                <a:chExt cx="28027" cy="148974"/>
              </a:xfrm>
              <a:grpFill/>
            </p:grpSpPr>
            <p:sp>
              <p:nvSpPr>
                <p:cNvPr id="6288" name="Freeform 7889">
                  <a:extLst>
                    <a:ext uri="{FF2B5EF4-FFF2-40B4-BE49-F238E27FC236}">
                      <a16:creationId xmlns:a16="http://schemas.microsoft.com/office/drawing/2014/main" id="{47B061DA-40CA-4645-9407-75276C168B9C}"/>
                    </a:ext>
                  </a:extLst>
                </p:cNvPr>
                <p:cNvSpPr/>
                <p:nvPr/>
              </p:nvSpPr>
              <p:spPr>
                <a:xfrm>
                  <a:off x="5885163" y="1931216"/>
                  <a:ext cx="3477" cy="52065"/>
                </a:xfrm>
                <a:custGeom>
                  <a:avLst/>
                  <a:gdLst>
                    <a:gd name="connsiteX0" fmla="*/ 1059 w 3477"/>
                    <a:gd name="connsiteY0" fmla="*/ 52065 h 52065"/>
                    <a:gd name="connsiteX1" fmla="*/ 3301 w 3477"/>
                    <a:gd name="connsiteY1" fmla="*/ 33381 h 52065"/>
                    <a:gd name="connsiteX2" fmla="*/ 62 w 3477"/>
                    <a:gd name="connsiteY2" fmla="*/ 16317 h 52065"/>
                    <a:gd name="connsiteX3" fmla="*/ 2429 w 3477"/>
                    <a:gd name="connsiteY3" fmla="*/ 0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52065"/>
                      </a:moveTo>
                      <a:cubicBezTo>
                        <a:pt x="3675" y="44093"/>
                        <a:pt x="3675"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9" name="Freeform 7890">
                  <a:extLst>
                    <a:ext uri="{FF2B5EF4-FFF2-40B4-BE49-F238E27FC236}">
                      <a16:creationId xmlns:a16="http://schemas.microsoft.com/office/drawing/2014/main" id="{26EE6B6A-8949-383B-0FB3-EA8F1F31ABC8}"/>
                    </a:ext>
                  </a:extLst>
                </p:cNvPr>
                <p:cNvSpPr/>
                <p:nvPr/>
              </p:nvSpPr>
              <p:spPr>
                <a:xfrm>
                  <a:off x="5876974" y="1936074"/>
                  <a:ext cx="4062" cy="52189"/>
                </a:xfrm>
                <a:custGeom>
                  <a:avLst/>
                  <a:gdLst>
                    <a:gd name="connsiteX0" fmla="*/ 2023 w 4062"/>
                    <a:gd name="connsiteY0" fmla="*/ 0 h 52189"/>
                    <a:gd name="connsiteX1" fmla="*/ 3767 w 4062"/>
                    <a:gd name="connsiteY1" fmla="*/ 18684 h 52189"/>
                    <a:gd name="connsiteX2" fmla="*/ 155 w 4062"/>
                    <a:gd name="connsiteY2" fmla="*/ 35748 h 52189"/>
                    <a:gd name="connsiteX3" fmla="*/ 2148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23" y="0"/>
                      </a:moveTo>
                      <a:cubicBezTo>
                        <a:pt x="4390" y="8096"/>
                        <a:pt x="4266"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0" name="Freeform 7891">
                  <a:extLst>
                    <a:ext uri="{FF2B5EF4-FFF2-40B4-BE49-F238E27FC236}">
                      <a16:creationId xmlns:a16="http://schemas.microsoft.com/office/drawing/2014/main" id="{70164DF3-42E6-DA72-CF29-F568301E6133}"/>
                    </a:ext>
                  </a:extLst>
                </p:cNvPr>
                <p:cNvSpPr/>
                <p:nvPr/>
              </p:nvSpPr>
              <p:spPr>
                <a:xfrm>
                  <a:off x="5869155" y="1977051"/>
                  <a:ext cx="26657" cy="26534"/>
                </a:xfrm>
                <a:custGeom>
                  <a:avLst/>
                  <a:gdLst>
                    <a:gd name="connsiteX0" fmla="*/ 2 w 26657"/>
                    <a:gd name="connsiteY0" fmla="*/ 13080 h 26534"/>
                    <a:gd name="connsiteX1" fmla="*/ 13454 w 26657"/>
                    <a:gd name="connsiteY1" fmla="*/ 2 h 26534"/>
                    <a:gd name="connsiteX2" fmla="*/ 26657 w 26657"/>
                    <a:gd name="connsiteY2" fmla="*/ 13454 h 26534"/>
                    <a:gd name="connsiteX3" fmla="*/ 13205 w 26657"/>
                    <a:gd name="connsiteY3" fmla="*/ 26533 h 26534"/>
                    <a:gd name="connsiteX4" fmla="*/ 2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2" y="13080"/>
                      </a:moveTo>
                      <a:cubicBezTo>
                        <a:pt x="126" y="5732"/>
                        <a:pt x="6105" y="-123"/>
                        <a:pt x="13454" y="2"/>
                      </a:cubicBezTo>
                      <a:cubicBezTo>
                        <a:pt x="20803" y="126"/>
                        <a:pt x="26657" y="6105"/>
                        <a:pt x="26657" y="13454"/>
                      </a:cubicBezTo>
                      <a:cubicBezTo>
                        <a:pt x="26532" y="20803"/>
                        <a:pt x="20554" y="26657"/>
                        <a:pt x="13205"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1" name="Freeform 7892">
                  <a:extLst>
                    <a:ext uri="{FF2B5EF4-FFF2-40B4-BE49-F238E27FC236}">
                      <a16:creationId xmlns:a16="http://schemas.microsoft.com/office/drawing/2014/main" id="{9D5AF3DA-16A2-BD2D-754C-423C2018070F}"/>
                    </a:ext>
                  </a:extLst>
                </p:cNvPr>
                <p:cNvSpPr/>
                <p:nvPr/>
              </p:nvSpPr>
              <p:spPr>
                <a:xfrm>
                  <a:off x="5877824" y="1875041"/>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2"/>
                        <a:pt x="-197" y="14324"/>
                        <a:pt x="177" y="18684"/>
                      </a:cubicBezTo>
                      <a:cubicBezTo>
                        <a:pt x="924" y="25659"/>
                        <a:pt x="2917" y="28773"/>
                        <a:pt x="3415" y="35748"/>
                      </a:cubicBezTo>
                      <a:cubicBezTo>
                        <a:pt x="3789" y="42599"/>
                        <a:pt x="2294"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2" name="Freeform 7893">
                  <a:extLst>
                    <a:ext uri="{FF2B5EF4-FFF2-40B4-BE49-F238E27FC236}">
                      <a16:creationId xmlns:a16="http://schemas.microsoft.com/office/drawing/2014/main" id="{449C1854-CB2F-D5E8-123D-C4A4A66FB99F}"/>
                    </a:ext>
                  </a:extLst>
                </p:cNvPr>
                <p:cNvSpPr/>
                <p:nvPr/>
              </p:nvSpPr>
              <p:spPr>
                <a:xfrm>
                  <a:off x="5885304" y="1869934"/>
                  <a:ext cx="4062" cy="52189"/>
                </a:xfrm>
                <a:custGeom>
                  <a:avLst/>
                  <a:gdLst>
                    <a:gd name="connsiteX0" fmla="*/ 2039 w 4062"/>
                    <a:gd name="connsiteY0" fmla="*/ 52190 h 52189"/>
                    <a:gd name="connsiteX1" fmla="*/ 295 w 4062"/>
                    <a:gd name="connsiteY1" fmla="*/ 33506 h 52189"/>
                    <a:gd name="connsiteX2" fmla="*/ 3907 w 4062"/>
                    <a:gd name="connsiteY2" fmla="*/ 16442 h 52189"/>
                    <a:gd name="connsiteX3" fmla="*/ 1915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52190"/>
                      </a:moveTo>
                      <a:cubicBezTo>
                        <a:pt x="-327" y="44093"/>
                        <a:pt x="-203" y="37741"/>
                        <a:pt x="295" y="33506"/>
                      </a:cubicBezTo>
                      <a:cubicBezTo>
                        <a:pt x="1167" y="26531"/>
                        <a:pt x="3285" y="23541"/>
                        <a:pt x="3907" y="16442"/>
                      </a:cubicBezTo>
                      <a:cubicBezTo>
                        <a:pt x="4530" y="9591"/>
                        <a:pt x="3160" y="3861"/>
                        <a:pt x="1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3" name="Freeform 7894">
                  <a:extLst>
                    <a:ext uri="{FF2B5EF4-FFF2-40B4-BE49-F238E27FC236}">
                      <a16:creationId xmlns:a16="http://schemas.microsoft.com/office/drawing/2014/main" id="{5FB065EA-DEAE-34B3-A87B-5BA5BE19ECCE}"/>
                    </a:ext>
                  </a:extLst>
                </p:cNvPr>
                <p:cNvSpPr/>
                <p:nvPr/>
              </p:nvSpPr>
              <p:spPr>
                <a:xfrm>
                  <a:off x="5870774" y="1854611"/>
                  <a:ext cx="26408" cy="26534"/>
                </a:xfrm>
                <a:custGeom>
                  <a:avLst/>
                  <a:gdLst>
                    <a:gd name="connsiteX0" fmla="*/ 26408 w 26408"/>
                    <a:gd name="connsiteY0" fmla="*/ 13454 h 26534"/>
                    <a:gd name="connsiteX1" fmla="*/ 13081 w 26408"/>
                    <a:gd name="connsiteY1" fmla="*/ 26533 h 26534"/>
                    <a:gd name="connsiteX2" fmla="*/ 2 w 26408"/>
                    <a:gd name="connsiteY2" fmla="*/ 13081 h 26534"/>
                    <a:gd name="connsiteX3" fmla="*/ 13330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284" y="20803"/>
                        <a:pt x="20305" y="26657"/>
                        <a:pt x="13081" y="26533"/>
                      </a:cubicBezTo>
                      <a:cubicBezTo>
                        <a:pt x="5732" y="26408"/>
                        <a:pt x="-122" y="20429"/>
                        <a:pt x="2" y="13081"/>
                      </a:cubicBezTo>
                      <a:cubicBezTo>
                        <a:pt x="127" y="5732"/>
                        <a:pt x="6106" y="-123"/>
                        <a:pt x="13330" y="2"/>
                      </a:cubicBezTo>
                      <a:cubicBezTo>
                        <a:pt x="20554" y="127"/>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5" name="Graphic 2987">
                <a:extLst>
                  <a:ext uri="{FF2B5EF4-FFF2-40B4-BE49-F238E27FC236}">
                    <a16:creationId xmlns:a16="http://schemas.microsoft.com/office/drawing/2014/main" id="{9E74094D-44EE-D072-40D4-842D91C0FE2B}"/>
                  </a:ext>
                </a:extLst>
              </p:cNvPr>
              <p:cNvGrpSpPr/>
              <p:nvPr/>
            </p:nvGrpSpPr>
            <p:grpSpPr>
              <a:xfrm>
                <a:off x="5839386" y="1854238"/>
                <a:ext cx="28276" cy="149099"/>
                <a:chOff x="5839386" y="1854238"/>
                <a:chExt cx="28276" cy="149099"/>
              </a:xfrm>
              <a:grpFill/>
            </p:grpSpPr>
            <p:sp>
              <p:nvSpPr>
                <p:cNvPr id="6282" name="Freeform 7896">
                  <a:extLst>
                    <a:ext uri="{FF2B5EF4-FFF2-40B4-BE49-F238E27FC236}">
                      <a16:creationId xmlns:a16="http://schemas.microsoft.com/office/drawing/2014/main" id="{36B71473-96AA-78EC-DF67-AEA53B7F5092}"/>
                    </a:ext>
                  </a:extLst>
                </p:cNvPr>
                <p:cNvSpPr/>
                <p:nvPr/>
              </p:nvSpPr>
              <p:spPr>
                <a:xfrm>
                  <a:off x="5855398" y="1930843"/>
                  <a:ext cx="3473" cy="52065"/>
                </a:xfrm>
                <a:custGeom>
                  <a:avLst/>
                  <a:gdLst>
                    <a:gd name="connsiteX0" fmla="*/ 1055 w 3473"/>
                    <a:gd name="connsiteY0" fmla="*/ 52065 h 52065"/>
                    <a:gd name="connsiteX1" fmla="*/ 3297 w 3473"/>
                    <a:gd name="connsiteY1" fmla="*/ 33381 h 52065"/>
                    <a:gd name="connsiteX2" fmla="*/ 58 w 3473"/>
                    <a:gd name="connsiteY2" fmla="*/ 16317 h 52065"/>
                    <a:gd name="connsiteX3" fmla="*/ 2425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52065"/>
                      </a:moveTo>
                      <a:cubicBezTo>
                        <a:pt x="3671" y="44093"/>
                        <a:pt x="3671" y="37741"/>
                        <a:pt x="3297" y="33381"/>
                      </a:cubicBezTo>
                      <a:cubicBezTo>
                        <a:pt x="2549" y="26406"/>
                        <a:pt x="557"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3" name="Freeform 7897">
                  <a:extLst>
                    <a:ext uri="{FF2B5EF4-FFF2-40B4-BE49-F238E27FC236}">
                      <a16:creationId xmlns:a16="http://schemas.microsoft.com/office/drawing/2014/main" id="{12052D9B-C1DF-58B8-8546-5B3F8EF7AA69}"/>
                    </a:ext>
                  </a:extLst>
                </p:cNvPr>
                <p:cNvSpPr/>
                <p:nvPr/>
              </p:nvSpPr>
              <p:spPr>
                <a:xfrm>
                  <a:off x="5847204" y="1935700"/>
                  <a:ext cx="4187" cy="52189"/>
                </a:xfrm>
                <a:custGeom>
                  <a:avLst/>
                  <a:gdLst>
                    <a:gd name="connsiteX0" fmla="*/ 2148 w 4187"/>
                    <a:gd name="connsiteY0" fmla="*/ 0 h 52189"/>
                    <a:gd name="connsiteX1" fmla="*/ 3892 w 4187"/>
                    <a:gd name="connsiteY1" fmla="*/ 18684 h 52189"/>
                    <a:gd name="connsiteX2" fmla="*/ 155 w 4187"/>
                    <a:gd name="connsiteY2" fmla="*/ 35748 h 52189"/>
                    <a:gd name="connsiteX3" fmla="*/ 2148 w 418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87" h="52189">
                      <a:moveTo>
                        <a:pt x="2148" y="0"/>
                      </a:moveTo>
                      <a:cubicBezTo>
                        <a:pt x="4515" y="8096"/>
                        <a:pt x="4390" y="14449"/>
                        <a:pt x="3892" y="18684"/>
                      </a:cubicBezTo>
                      <a:cubicBezTo>
                        <a:pt x="3020" y="25659"/>
                        <a:pt x="778" y="28648"/>
                        <a:pt x="155" y="35748"/>
                      </a:cubicBezTo>
                      <a:cubicBezTo>
                        <a:pt x="-468"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4" name="Freeform 7898">
                  <a:extLst>
                    <a:ext uri="{FF2B5EF4-FFF2-40B4-BE49-F238E27FC236}">
                      <a16:creationId xmlns:a16="http://schemas.microsoft.com/office/drawing/2014/main" id="{39854C2F-3C3D-4BC5-117D-E9B7ADB285D3}"/>
                    </a:ext>
                  </a:extLst>
                </p:cNvPr>
                <p:cNvSpPr/>
                <p:nvPr/>
              </p:nvSpPr>
              <p:spPr>
                <a:xfrm>
                  <a:off x="5839386" y="1976802"/>
                  <a:ext cx="26781" cy="26534"/>
                </a:xfrm>
                <a:custGeom>
                  <a:avLst/>
                  <a:gdLst>
                    <a:gd name="connsiteX0" fmla="*/ 2 w 26781"/>
                    <a:gd name="connsiteY0" fmla="*/ 13080 h 26534"/>
                    <a:gd name="connsiteX1" fmla="*/ 13579 w 26781"/>
                    <a:gd name="connsiteY1" fmla="*/ 2 h 26534"/>
                    <a:gd name="connsiteX2" fmla="*/ 26782 w 26781"/>
                    <a:gd name="connsiteY2" fmla="*/ 13454 h 26534"/>
                    <a:gd name="connsiteX3" fmla="*/ 13205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127" y="5732"/>
                        <a:pt x="6230" y="-123"/>
                        <a:pt x="13579" y="2"/>
                      </a:cubicBezTo>
                      <a:cubicBezTo>
                        <a:pt x="20928" y="126"/>
                        <a:pt x="26782" y="6105"/>
                        <a:pt x="26782" y="13454"/>
                      </a:cubicBezTo>
                      <a:cubicBezTo>
                        <a:pt x="26657" y="20803"/>
                        <a:pt x="20679" y="26657"/>
                        <a:pt x="13205" y="26533"/>
                      </a:cubicBezTo>
                      <a:cubicBezTo>
                        <a:pt x="5732" y="26408"/>
                        <a:pt x="-123" y="20305"/>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5" name="Freeform 7899">
                  <a:extLst>
                    <a:ext uri="{FF2B5EF4-FFF2-40B4-BE49-F238E27FC236}">
                      <a16:creationId xmlns:a16="http://schemas.microsoft.com/office/drawing/2014/main" id="{A3CDC267-4A3B-26D0-09E7-E24C2F7FBA7C}"/>
                    </a:ext>
                  </a:extLst>
                </p:cNvPr>
                <p:cNvSpPr/>
                <p:nvPr/>
              </p:nvSpPr>
              <p:spPr>
                <a:xfrm>
                  <a:off x="5848304" y="1874667"/>
                  <a:ext cx="3349" cy="52065"/>
                </a:xfrm>
                <a:custGeom>
                  <a:avLst/>
                  <a:gdLst>
                    <a:gd name="connsiteX0" fmla="*/ 2419 w 3349"/>
                    <a:gd name="connsiteY0" fmla="*/ 0 h 52065"/>
                    <a:gd name="connsiteX1" fmla="*/ 177 w 3349"/>
                    <a:gd name="connsiteY1" fmla="*/ 18684 h 52065"/>
                    <a:gd name="connsiteX2" fmla="*/ 3291 w 3349"/>
                    <a:gd name="connsiteY2" fmla="*/ 35748 h 52065"/>
                    <a:gd name="connsiteX3" fmla="*/ 924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0"/>
                      </a:moveTo>
                      <a:cubicBezTo>
                        <a:pt x="-197" y="7972"/>
                        <a:pt x="-197" y="14324"/>
                        <a:pt x="177" y="18684"/>
                      </a:cubicBezTo>
                      <a:cubicBezTo>
                        <a:pt x="800" y="25659"/>
                        <a:pt x="2917" y="28773"/>
                        <a:pt x="3291" y="35748"/>
                      </a:cubicBezTo>
                      <a:cubicBezTo>
                        <a:pt x="3664" y="42599"/>
                        <a:pt x="2170" y="48328"/>
                        <a:pt x="9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6" name="Freeform 7900">
                  <a:extLst>
                    <a:ext uri="{FF2B5EF4-FFF2-40B4-BE49-F238E27FC236}">
                      <a16:creationId xmlns:a16="http://schemas.microsoft.com/office/drawing/2014/main" id="{C7E2A05D-B5DA-1D68-2785-C8104A808305}"/>
                    </a:ext>
                  </a:extLst>
                </p:cNvPr>
                <p:cNvSpPr/>
                <p:nvPr/>
              </p:nvSpPr>
              <p:spPr>
                <a:xfrm>
                  <a:off x="5855659" y="1869685"/>
                  <a:ext cx="4063" cy="52189"/>
                </a:xfrm>
                <a:custGeom>
                  <a:avLst/>
                  <a:gdLst>
                    <a:gd name="connsiteX0" fmla="*/ 2039 w 4063"/>
                    <a:gd name="connsiteY0" fmla="*/ 52190 h 52189"/>
                    <a:gd name="connsiteX1" fmla="*/ 295 w 4063"/>
                    <a:gd name="connsiteY1" fmla="*/ 33506 h 52189"/>
                    <a:gd name="connsiteX2" fmla="*/ 3907 w 4063"/>
                    <a:gd name="connsiteY2" fmla="*/ 16442 h 52189"/>
                    <a:gd name="connsiteX3" fmla="*/ 2039 w 4063"/>
                    <a:gd name="connsiteY3" fmla="*/ 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52190"/>
                      </a:moveTo>
                      <a:cubicBezTo>
                        <a:pt x="-328" y="44093"/>
                        <a:pt x="-203" y="37741"/>
                        <a:pt x="295" y="33506"/>
                      </a:cubicBezTo>
                      <a:cubicBezTo>
                        <a:pt x="1167" y="26531"/>
                        <a:pt x="3285" y="23541"/>
                        <a:pt x="3907" y="16442"/>
                      </a:cubicBezTo>
                      <a:cubicBezTo>
                        <a:pt x="4530" y="9591"/>
                        <a:pt x="3160" y="3861"/>
                        <a:pt x="20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7" name="Freeform 7901">
                  <a:extLst>
                    <a:ext uri="{FF2B5EF4-FFF2-40B4-BE49-F238E27FC236}">
                      <a16:creationId xmlns:a16="http://schemas.microsoft.com/office/drawing/2014/main" id="{B0088610-FD38-5FCB-84C3-C252DF8566E4}"/>
                    </a:ext>
                  </a:extLst>
                </p:cNvPr>
                <p:cNvSpPr/>
                <p:nvPr/>
              </p:nvSpPr>
              <p:spPr>
                <a:xfrm>
                  <a:off x="5841132" y="1854238"/>
                  <a:ext cx="26530" cy="26534"/>
                </a:xfrm>
                <a:custGeom>
                  <a:avLst/>
                  <a:gdLst>
                    <a:gd name="connsiteX0" fmla="*/ 26530 w 26530"/>
                    <a:gd name="connsiteY0" fmla="*/ 13454 h 26534"/>
                    <a:gd name="connsiteX1" fmla="*/ 13078 w 26530"/>
                    <a:gd name="connsiteY1" fmla="*/ 26533 h 26534"/>
                    <a:gd name="connsiteX2" fmla="*/ 0 w 26530"/>
                    <a:gd name="connsiteY2" fmla="*/ 13080 h 26534"/>
                    <a:gd name="connsiteX3" fmla="*/ 13452 w 26530"/>
                    <a:gd name="connsiteY3" fmla="*/ 2 h 26534"/>
                    <a:gd name="connsiteX4" fmla="*/ 26530 w 2653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4">
                      <a:moveTo>
                        <a:pt x="26530" y="13454"/>
                      </a:moveTo>
                      <a:cubicBezTo>
                        <a:pt x="26406" y="20803"/>
                        <a:pt x="20427" y="26657"/>
                        <a:pt x="13078" y="26533"/>
                      </a:cubicBezTo>
                      <a:cubicBezTo>
                        <a:pt x="5730" y="26408"/>
                        <a:pt x="0" y="20429"/>
                        <a:pt x="0" y="13080"/>
                      </a:cubicBezTo>
                      <a:cubicBezTo>
                        <a:pt x="0" y="5732"/>
                        <a:pt x="6103" y="-123"/>
                        <a:pt x="13452" y="2"/>
                      </a:cubicBezTo>
                      <a:cubicBezTo>
                        <a:pt x="20801" y="126"/>
                        <a:pt x="26530" y="6230"/>
                        <a:pt x="2653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6" name="Graphic 2987">
                <a:extLst>
                  <a:ext uri="{FF2B5EF4-FFF2-40B4-BE49-F238E27FC236}">
                    <a16:creationId xmlns:a16="http://schemas.microsoft.com/office/drawing/2014/main" id="{FB7815CB-515E-B2C2-0429-5F3CAD1A8C4A}"/>
                  </a:ext>
                </a:extLst>
              </p:cNvPr>
              <p:cNvGrpSpPr/>
              <p:nvPr/>
            </p:nvGrpSpPr>
            <p:grpSpPr>
              <a:xfrm>
                <a:off x="5809611" y="1853989"/>
                <a:ext cx="28532" cy="148974"/>
                <a:chOff x="5809611" y="1853989"/>
                <a:chExt cx="28532" cy="148974"/>
              </a:xfrm>
              <a:grpFill/>
            </p:grpSpPr>
            <p:sp>
              <p:nvSpPr>
                <p:cNvPr id="6276" name="Freeform 7903">
                  <a:extLst>
                    <a:ext uri="{FF2B5EF4-FFF2-40B4-BE49-F238E27FC236}">
                      <a16:creationId xmlns:a16="http://schemas.microsoft.com/office/drawing/2014/main" id="{CB47CFFF-B56F-D693-6570-00A3FFC5964C}"/>
                    </a:ext>
                  </a:extLst>
                </p:cNvPr>
                <p:cNvSpPr/>
                <p:nvPr/>
              </p:nvSpPr>
              <p:spPr>
                <a:xfrm>
                  <a:off x="5825753" y="1930593"/>
                  <a:ext cx="3403" cy="52065"/>
                </a:xfrm>
                <a:custGeom>
                  <a:avLst/>
                  <a:gdLst>
                    <a:gd name="connsiteX0" fmla="*/ 930 w 3403"/>
                    <a:gd name="connsiteY0" fmla="*/ 52065 h 52065"/>
                    <a:gd name="connsiteX1" fmla="*/ 3172 w 3403"/>
                    <a:gd name="connsiteY1" fmla="*/ 33381 h 52065"/>
                    <a:gd name="connsiteX2" fmla="*/ 58 w 3403"/>
                    <a:gd name="connsiteY2" fmla="*/ 16317 h 52065"/>
                    <a:gd name="connsiteX3" fmla="*/ 2425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930" y="52065"/>
                      </a:moveTo>
                      <a:cubicBezTo>
                        <a:pt x="3546" y="44093"/>
                        <a:pt x="3671" y="37741"/>
                        <a:pt x="3172" y="33381"/>
                      </a:cubicBezTo>
                      <a:cubicBezTo>
                        <a:pt x="2550" y="26406"/>
                        <a:pt x="432"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7" name="Freeform 7904">
                  <a:extLst>
                    <a:ext uri="{FF2B5EF4-FFF2-40B4-BE49-F238E27FC236}">
                      <a16:creationId xmlns:a16="http://schemas.microsoft.com/office/drawing/2014/main" id="{840352BC-7677-98C7-142E-1345C9394E55}"/>
                    </a:ext>
                  </a:extLst>
                </p:cNvPr>
                <p:cNvSpPr/>
                <p:nvPr/>
              </p:nvSpPr>
              <p:spPr>
                <a:xfrm>
                  <a:off x="5817434" y="1935451"/>
                  <a:ext cx="4278" cy="52189"/>
                </a:xfrm>
                <a:custGeom>
                  <a:avLst/>
                  <a:gdLst>
                    <a:gd name="connsiteX0" fmla="*/ 2273 w 4278"/>
                    <a:gd name="connsiteY0" fmla="*/ 0 h 52189"/>
                    <a:gd name="connsiteX1" fmla="*/ 3892 w 4278"/>
                    <a:gd name="connsiteY1" fmla="*/ 18684 h 52189"/>
                    <a:gd name="connsiteX2" fmla="*/ 156 w 4278"/>
                    <a:gd name="connsiteY2" fmla="*/ 35748 h 52189"/>
                    <a:gd name="connsiteX3" fmla="*/ 202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0"/>
                      </a:moveTo>
                      <a:cubicBezTo>
                        <a:pt x="4640" y="8096"/>
                        <a:pt x="4515" y="14449"/>
                        <a:pt x="3892" y="18684"/>
                      </a:cubicBezTo>
                      <a:cubicBezTo>
                        <a:pt x="3021" y="25659"/>
                        <a:pt x="778" y="28648"/>
                        <a:pt x="156" y="35748"/>
                      </a:cubicBezTo>
                      <a:cubicBezTo>
                        <a:pt x="-467" y="42599"/>
                        <a:pt x="903" y="48328"/>
                        <a:pt x="202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8" name="Freeform 7905">
                  <a:extLst>
                    <a:ext uri="{FF2B5EF4-FFF2-40B4-BE49-F238E27FC236}">
                      <a16:creationId xmlns:a16="http://schemas.microsoft.com/office/drawing/2014/main" id="{C877DF09-0C3B-70BB-D6E9-D89AF478C7D6}"/>
                    </a:ext>
                  </a:extLst>
                </p:cNvPr>
                <p:cNvSpPr/>
                <p:nvPr/>
              </p:nvSpPr>
              <p:spPr>
                <a:xfrm>
                  <a:off x="5809611" y="1976429"/>
                  <a:ext cx="26664" cy="26534"/>
                </a:xfrm>
                <a:custGeom>
                  <a:avLst/>
                  <a:gdLst>
                    <a:gd name="connsiteX0" fmla="*/ 8 w 26664"/>
                    <a:gd name="connsiteY0" fmla="*/ 13080 h 26534"/>
                    <a:gd name="connsiteX1" fmla="*/ 13584 w 26664"/>
                    <a:gd name="connsiteY1" fmla="*/ 2 h 26534"/>
                    <a:gd name="connsiteX2" fmla="*/ 26663 w 26664"/>
                    <a:gd name="connsiteY2" fmla="*/ 13454 h 26534"/>
                    <a:gd name="connsiteX3" fmla="*/ 13086 w 26664"/>
                    <a:gd name="connsiteY3" fmla="*/ 26533 h 26534"/>
                    <a:gd name="connsiteX4" fmla="*/ 8 w 26664"/>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34">
                      <a:moveTo>
                        <a:pt x="8" y="13080"/>
                      </a:moveTo>
                      <a:cubicBezTo>
                        <a:pt x="132" y="5732"/>
                        <a:pt x="6235" y="-123"/>
                        <a:pt x="13584" y="2"/>
                      </a:cubicBezTo>
                      <a:cubicBezTo>
                        <a:pt x="20933" y="126"/>
                        <a:pt x="26787" y="6105"/>
                        <a:pt x="26663" y="13454"/>
                      </a:cubicBezTo>
                      <a:cubicBezTo>
                        <a:pt x="26538" y="20803"/>
                        <a:pt x="20435" y="26657"/>
                        <a:pt x="13086" y="26533"/>
                      </a:cubicBezTo>
                      <a:cubicBezTo>
                        <a:pt x="5737" y="26408"/>
                        <a:pt x="-242" y="20429"/>
                        <a:pt x="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9" name="Freeform 7906">
                  <a:extLst>
                    <a:ext uri="{FF2B5EF4-FFF2-40B4-BE49-F238E27FC236}">
                      <a16:creationId xmlns:a16="http://schemas.microsoft.com/office/drawing/2014/main" id="{B0D10E9C-247A-EF4F-8D0C-8F2183CEE764}"/>
                    </a:ext>
                  </a:extLst>
                </p:cNvPr>
                <p:cNvSpPr/>
                <p:nvPr/>
              </p:nvSpPr>
              <p:spPr>
                <a:xfrm>
                  <a:off x="5818730" y="1874293"/>
                  <a:ext cx="3403" cy="52065"/>
                </a:xfrm>
                <a:custGeom>
                  <a:avLst/>
                  <a:gdLst>
                    <a:gd name="connsiteX0" fmla="*/ 2473 w 3403"/>
                    <a:gd name="connsiteY0" fmla="*/ 0 h 52065"/>
                    <a:gd name="connsiteX1" fmla="*/ 231 w 3403"/>
                    <a:gd name="connsiteY1" fmla="*/ 18684 h 52065"/>
                    <a:gd name="connsiteX2" fmla="*/ 3345 w 3403"/>
                    <a:gd name="connsiteY2" fmla="*/ 35748 h 52065"/>
                    <a:gd name="connsiteX3" fmla="*/ 854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0"/>
                      </a:moveTo>
                      <a:cubicBezTo>
                        <a:pt x="-143" y="7972"/>
                        <a:pt x="-267" y="14324"/>
                        <a:pt x="231" y="18684"/>
                      </a:cubicBezTo>
                      <a:cubicBezTo>
                        <a:pt x="854" y="25659"/>
                        <a:pt x="2971" y="28773"/>
                        <a:pt x="3345" y="35748"/>
                      </a:cubicBezTo>
                      <a:cubicBezTo>
                        <a:pt x="3719" y="42599"/>
                        <a:pt x="2224" y="48328"/>
                        <a:pt x="8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0" name="Freeform 7907">
                  <a:extLst>
                    <a:ext uri="{FF2B5EF4-FFF2-40B4-BE49-F238E27FC236}">
                      <a16:creationId xmlns:a16="http://schemas.microsoft.com/office/drawing/2014/main" id="{8674290F-771E-296E-F268-D8D0733DF517}"/>
                    </a:ext>
                  </a:extLst>
                </p:cNvPr>
                <p:cNvSpPr/>
                <p:nvPr/>
              </p:nvSpPr>
              <p:spPr>
                <a:xfrm>
                  <a:off x="5826173" y="1869311"/>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3"/>
                        <a:pt x="-237" y="37741"/>
                        <a:pt x="386" y="33506"/>
                      </a:cubicBezTo>
                      <a:cubicBezTo>
                        <a:pt x="1258" y="26531"/>
                        <a:pt x="3500" y="23541"/>
                        <a:pt x="4122" y="16442"/>
                      </a:cubicBezTo>
                      <a:cubicBezTo>
                        <a:pt x="4745" y="9591"/>
                        <a:pt x="3375"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1" name="Freeform 7908">
                  <a:extLst>
                    <a:ext uri="{FF2B5EF4-FFF2-40B4-BE49-F238E27FC236}">
                      <a16:creationId xmlns:a16="http://schemas.microsoft.com/office/drawing/2014/main" id="{F4C27ED0-EE8C-E493-18EA-37687DF0A7CA}"/>
                    </a:ext>
                  </a:extLst>
                </p:cNvPr>
                <p:cNvSpPr/>
                <p:nvPr/>
              </p:nvSpPr>
              <p:spPr>
                <a:xfrm>
                  <a:off x="5811734" y="1853989"/>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4" y="20803"/>
                        <a:pt x="20305" y="26657"/>
                        <a:pt x="12956" y="26533"/>
                      </a:cubicBezTo>
                      <a:cubicBezTo>
                        <a:pt x="5607" y="26408"/>
                        <a:pt x="-123" y="20429"/>
                        <a:pt x="2" y="13080"/>
                      </a:cubicBezTo>
                      <a:cubicBezTo>
                        <a:pt x="127" y="5732"/>
                        <a:pt x="6105" y="-123"/>
                        <a:pt x="13454" y="2"/>
                      </a:cubicBezTo>
                      <a:cubicBezTo>
                        <a:pt x="20679" y="127"/>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7" name="Graphic 2987">
                <a:extLst>
                  <a:ext uri="{FF2B5EF4-FFF2-40B4-BE49-F238E27FC236}">
                    <a16:creationId xmlns:a16="http://schemas.microsoft.com/office/drawing/2014/main" id="{EEE980EB-E6B0-7B9D-E093-DD368E4E19DF}"/>
                  </a:ext>
                </a:extLst>
              </p:cNvPr>
              <p:cNvGrpSpPr/>
              <p:nvPr/>
            </p:nvGrpSpPr>
            <p:grpSpPr>
              <a:xfrm>
                <a:off x="5779723" y="1853615"/>
                <a:ext cx="28901" cy="148974"/>
                <a:chOff x="5779723" y="1853615"/>
                <a:chExt cx="28901" cy="148974"/>
              </a:xfrm>
              <a:grpFill/>
            </p:grpSpPr>
            <p:sp>
              <p:nvSpPr>
                <p:cNvPr id="6270" name="Freeform 7910">
                  <a:extLst>
                    <a:ext uri="{FF2B5EF4-FFF2-40B4-BE49-F238E27FC236}">
                      <a16:creationId xmlns:a16="http://schemas.microsoft.com/office/drawing/2014/main" id="{C12FFA88-2B0C-FCD7-4BAD-A6B77F9DF558}"/>
                    </a:ext>
                  </a:extLst>
                </p:cNvPr>
                <p:cNvSpPr/>
                <p:nvPr/>
              </p:nvSpPr>
              <p:spPr>
                <a:xfrm>
                  <a:off x="5796108" y="1930220"/>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50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50" y="26406"/>
                        <a:pt x="432" y="23292"/>
                        <a:pt x="58" y="16317"/>
                      </a:cubicBezTo>
                      <a:cubicBezTo>
                        <a:pt x="-315" y="9466"/>
                        <a:pt x="1179" y="3737"/>
                        <a:pt x="2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1" name="Freeform 7911">
                  <a:extLst>
                    <a:ext uri="{FF2B5EF4-FFF2-40B4-BE49-F238E27FC236}">
                      <a16:creationId xmlns:a16="http://schemas.microsoft.com/office/drawing/2014/main" id="{C0676EC5-CA00-83BB-169B-A5C09EB997D7}"/>
                    </a:ext>
                  </a:extLst>
                </p:cNvPr>
                <p:cNvSpPr/>
                <p:nvPr/>
              </p:nvSpPr>
              <p:spPr>
                <a:xfrm>
                  <a:off x="5787780" y="1935078"/>
                  <a:ext cx="4288" cy="52189"/>
                </a:xfrm>
                <a:custGeom>
                  <a:avLst/>
                  <a:gdLst>
                    <a:gd name="connsiteX0" fmla="*/ 2283 w 4288"/>
                    <a:gd name="connsiteY0" fmla="*/ 0 h 52189"/>
                    <a:gd name="connsiteX1" fmla="*/ 3903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3" y="18684"/>
                      </a:cubicBezTo>
                      <a:cubicBezTo>
                        <a:pt x="3031" y="25659"/>
                        <a:pt x="789" y="28648"/>
                        <a:pt x="166" y="35748"/>
                      </a:cubicBezTo>
                      <a:cubicBezTo>
                        <a:pt x="-457" y="42599"/>
                        <a:pt x="789"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2" name="Freeform 7912">
                  <a:extLst>
                    <a:ext uri="{FF2B5EF4-FFF2-40B4-BE49-F238E27FC236}">
                      <a16:creationId xmlns:a16="http://schemas.microsoft.com/office/drawing/2014/main" id="{FE479769-536C-B8F5-C2A9-1E64001C819D}"/>
                    </a:ext>
                  </a:extLst>
                </p:cNvPr>
                <p:cNvSpPr/>
                <p:nvPr/>
              </p:nvSpPr>
              <p:spPr>
                <a:xfrm>
                  <a:off x="5779723" y="1976055"/>
                  <a:ext cx="26659" cy="26534"/>
                </a:xfrm>
                <a:custGeom>
                  <a:avLst/>
                  <a:gdLst>
                    <a:gd name="connsiteX0" fmla="*/ 2 w 26659"/>
                    <a:gd name="connsiteY0" fmla="*/ 13081 h 26534"/>
                    <a:gd name="connsiteX1" fmla="*/ 13579 w 26659"/>
                    <a:gd name="connsiteY1" fmla="*/ 2 h 26534"/>
                    <a:gd name="connsiteX2" fmla="*/ 26657 w 26659"/>
                    <a:gd name="connsiteY2" fmla="*/ 13454 h 26534"/>
                    <a:gd name="connsiteX3" fmla="*/ 13081 w 26659"/>
                    <a:gd name="connsiteY3" fmla="*/ 26533 h 26534"/>
                    <a:gd name="connsiteX4" fmla="*/ 2 w 26659"/>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1"/>
                      </a:moveTo>
                      <a:cubicBezTo>
                        <a:pt x="127" y="5732"/>
                        <a:pt x="6230" y="-123"/>
                        <a:pt x="13579" y="2"/>
                      </a:cubicBezTo>
                      <a:cubicBezTo>
                        <a:pt x="20928" y="127"/>
                        <a:pt x="26782" y="6105"/>
                        <a:pt x="26657" y="13454"/>
                      </a:cubicBezTo>
                      <a:cubicBezTo>
                        <a:pt x="26533" y="20803"/>
                        <a:pt x="20430" y="26657"/>
                        <a:pt x="13081" y="26533"/>
                      </a:cubicBezTo>
                      <a:cubicBezTo>
                        <a:pt x="5732" y="26408"/>
                        <a:pt x="-122" y="20429"/>
                        <a:pt x="2"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3" name="Freeform 7913">
                  <a:extLst>
                    <a:ext uri="{FF2B5EF4-FFF2-40B4-BE49-F238E27FC236}">
                      <a16:creationId xmlns:a16="http://schemas.microsoft.com/office/drawing/2014/main" id="{F8AEEBD5-262C-DE76-3478-D5F5E484A738}"/>
                    </a:ext>
                  </a:extLst>
                </p:cNvPr>
                <p:cNvSpPr/>
                <p:nvPr/>
              </p:nvSpPr>
              <p:spPr>
                <a:xfrm>
                  <a:off x="5789160" y="1873920"/>
                  <a:ext cx="3327" cy="52065"/>
                </a:xfrm>
                <a:custGeom>
                  <a:avLst/>
                  <a:gdLst>
                    <a:gd name="connsiteX0" fmla="*/ 2522 w 3327"/>
                    <a:gd name="connsiteY0" fmla="*/ 0 h 52065"/>
                    <a:gd name="connsiteX1" fmla="*/ 156 w 3327"/>
                    <a:gd name="connsiteY1" fmla="*/ 18684 h 52065"/>
                    <a:gd name="connsiteX2" fmla="*/ 3270 w 3327"/>
                    <a:gd name="connsiteY2" fmla="*/ 35748 h 52065"/>
                    <a:gd name="connsiteX3" fmla="*/ 778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0"/>
                      </a:moveTo>
                      <a:cubicBezTo>
                        <a:pt x="-94" y="7972"/>
                        <a:pt x="-218" y="14324"/>
                        <a:pt x="156" y="18684"/>
                      </a:cubicBezTo>
                      <a:cubicBezTo>
                        <a:pt x="778" y="25659"/>
                        <a:pt x="2896" y="28773"/>
                        <a:pt x="3270" y="35748"/>
                      </a:cubicBezTo>
                      <a:cubicBezTo>
                        <a:pt x="3643" y="42599"/>
                        <a:pt x="2149" y="48328"/>
                        <a:pt x="7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4" name="Freeform 7914">
                  <a:extLst>
                    <a:ext uri="{FF2B5EF4-FFF2-40B4-BE49-F238E27FC236}">
                      <a16:creationId xmlns:a16="http://schemas.microsoft.com/office/drawing/2014/main" id="{BC79E52C-6D0F-C37F-7B42-7D7B7E66480F}"/>
                    </a:ext>
                  </a:extLst>
                </p:cNvPr>
                <p:cNvSpPr/>
                <p:nvPr/>
              </p:nvSpPr>
              <p:spPr>
                <a:xfrm>
                  <a:off x="5796528" y="1868937"/>
                  <a:ext cx="4288" cy="52189"/>
                </a:xfrm>
                <a:custGeom>
                  <a:avLst/>
                  <a:gdLst>
                    <a:gd name="connsiteX0" fmla="*/ 2005 w 4288"/>
                    <a:gd name="connsiteY0" fmla="*/ 52190 h 52189"/>
                    <a:gd name="connsiteX1" fmla="*/ 386 w 4288"/>
                    <a:gd name="connsiteY1" fmla="*/ 33506 h 52189"/>
                    <a:gd name="connsiteX2" fmla="*/ 4123 w 4288"/>
                    <a:gd name="connsiteY2" fmla="*/ 16442 h 52189"/>
                    <a:gd name="connsiteX3" fmla="*/ 225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90"/>
                      </a:moveTo>
                      <a:cubicBezTo>
                        <a:pt x="-361" y="44093"/>
                        <a:pt x="-237" y="37741"/>
                        <a:pt x="386" y="33506"/>
                      </a:cubicBezTo>
                      <a:cubicBezTo>
                        <a:pt x="1258" y="26531"/>
                        <a:pt x="3500" y="23541"/>
                        <a:pt x="4123" y="16442"/>
                      </a:cubicBezTo>
                      <a:cubicBezTo>
                        <a:pt x="4745" y="9591"/>
                        <a:pt x="3500"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5" name="Freeform 7915">
                  <a:extLst>
                    <a:ext uri="{FF2B5EF4-FFF2-40B4-BE49-F238E27FC236}">
                      <a16:creationId xmlns:a16="http://schemas.microsoft.com/office/drawing/2014/main" id="{279A351B-7D2B-3F7B-C540-85C192F84DEA}"/>
                    </a:ext>
                  </a:extLst>
                </p:cNvPr>
                <p:cNvSpPr/>
                <p:nvPr/>
              </p:nvSpPr>
              <p:spPr>
                <a:xfrm>
                  <a:off x="5782214" y="1853615"/>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305" y="26657"/>
                        <a:pt x="12956" y="26533"/>
                      </a:cubicBezTo>
                      <a:cubicBezTo>
                        <a:pt x="5607" y="26408"/>
                        <a:pt x="-123" y="20429"/>
                        <a:pt x="2" y="13080"/>
                      </a:cubicBezTo>
                      <a:cubicBezTo>
                        <a:pt x="127" y="5732"/>
                        <a:pt x="6230" y="-123"/>
                        <a:pt x="13454"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8" name="Graphic 2987">
                <a:extLst>
                  <a:ext uri="{FF2B5EF4-FFF2-40B4-BE49-F238E27FC236}">
                    <a16:creationId xmlns:a16="http://schemas.microsoft.com/office/drawing/2014/main" id="{ADE56E20-130D-25BD-9970-96ABD1384F90}"/>
                  </a:ext>
                </a:extLst>
              </p:cNvPr>
              <p:cNvGrpSpPr/>
              <p:nvPr/>
            </p:nvGrpSpPr>
            <p:grpSpPr>
              <a:xfrm>
                <a:off x="5749954" y="1853241"/>
                <a:ext cx="29150" cy="148974"/>
                <a:chOff x="5749954" y="1853241"/>
                <a:chExt cx="29150" cy="148974"/>
              </a:xfrm>
              <a:grpFill/>
            </p:grpSpPr>
            <p:sp>
              <p:nvSpPr>
                <p:cNvPr id="6264" name="Freeform 7917">
                  <a:extLst>
                    <a:ext uri="{FF2B5EF4-FFF2-40B4-BE49-F238E27FC236}">
                      <a16:creationId xmlns:a16="http://schemas.microsoft.com/office/drawing/2014/main" id="{2D1B977E-148A-FF27-FE5B-398B59B9BBB3}"/>
                    </a:ext>
                  </a:extLst>
                </p:cNvPr>
                <p:cNvSpPr/>
                <p:nvPr/>
              </p:nvSpPr>
              <p:spPr>
                <a:xfrm>
                  <a:off x="5766339" y="1929846"/>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49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49" y="26406"/>
                        <a:pt x="432" y="23292"/>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5" name="Freeform 7918">
                  <a:extLst>
                    <a:ext uri="{FF2B5EF4-FFF2-40B4-BE49-F238E27FC236}">
                      <a16:creationId xmlns:a16="http://schemas.microsoft.com/office/drawing/2014/main" id="{0E6EC359-2E3A-D984-4CD3-E4D383DB5974}"/>
                    </a:ext>
                  </a:extLst>
                </p:cNvPr>
                <p:cNvSpPr/>
                <p:nvPr/>
              </p:nvSpPr>
              <p:spPr>
                <a:xfrm>
                  <a:off x="5758011" y="1934704"/>
                  <a:ext cx="4233" cy="52189"/>
                </a:xfrm>
                <a:custGeom>
                  <a:avLst/>
                  <a:gdLst>
                    <a:gd name="connsiteX0" fmla="*/ 2283 w 4233"/>
                    <a:gd name="connsiteY0" fmla="*/ 0 h 52189"/>
                    <a:gd name="connsiteX1" fmla="*/ 3902 w 4233"/>
                    <a:gd name="connsiteY1" fmla="*/ 18684 h 52189"/>
                    <a:gd name="connsiteX2" fmla="*/ 166 w 4233"/>
                    <a:gd name="connsiteY2" fmla="*/ 35748 h 52189"/>
                    <a:gd name="connsiteX3" fmla="*/ 2034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2283" y="0"/>
                      </a:moveTo>
                      <a:cubicBezTo>
                        <a:pt x="4650" y="8096"/>
                        <a:pt x="4401"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6" name="Freeform 7919">
                  <a:extLst>
                    <a:ext uri="{FF2B5EF4-FFF2-40B4-BE49-F238E27FC236}">
                      <a16:creationId xmlns:a16="http://schemas.microsoft.com/office/drawing/2014/main" id="{4D0872BE-D3D4-779B-D5D5-CFF3E53C4FBD}"/>
                    </a:ext>
                  </a:extLst>
                </p:cNvPr>
                <p:cNvSpPr/>
                <p:nvPr/>
              </p:nvSpPr>
              <p:spPr>
                <a:xfrm>
                  <a:off x="5749954" y="1975681"/>
                  <a:ext cx="26659" cy="26534"/>
                </a:xfrm>
                <a:custGeom>
                  <a:avLst/>
                  <a:gdLst>
                    <a:gd name="connsiteX0" fmla="*/ 2 w 26659"/>
                    <a:gd name="connsiteY0" fmla="*/ 13080 h 26534"/>
                    <a:gd name="connsiteX1" fmla="*/ 13579 w 26659"/>
                    <a:gd name="connsiteY1" fmla="*/ 2 h 26534"/>
                    <a:gd name="connsiteX2" fmla="*/ 26657 w 26659"/>
                    <a:gd name="connsiteY2" fmla="*/ 13454 h 26534"/>
                    <a:gd name="connsiteX3" fmla="*/ 13080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127" y="5732"/>
                        <a:pt x="6230" y="-123"/>
                        <a:pt x="13579" y="2"/>
                      </a:cubicBezTo>
                      <a:cubicBezTo>
                        <a:pt x="20928" y="126"/>
                        <a:pt x="26782" y="6105"/>
                        <a:pt x="26657" y="13454"/>
                      </a:cubicBezTo>
                      <a:cubicBezTo>
                        <a:pt x="26533" y="20803"/>
                        <a:pt x="20429" y="26657"/>
                        <a:pt x="13080" y="26533"/>
                      </a:cubicBezTo>
                      <a:cubicBezTo>
                        <a:pt x="5732"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7" name="Freeform 7920">
                  <a:extLst>
                    <a:ext uri="{FF2B5EF4-FFF2-40B4-BE49-F238E27FC236}">
                      <a16:creationId xmlns:a16="http://schemas.microsoft.com/office/drawing/2014/main" id="{0F8D5CFA-248F-4A9B-96D7-86E1C80068A8}"/>
                    </a:ext>
                  </a:extLst>
                </p:cNvPr>
                <p:cNvSpPr/>
                <p:nvPr/>
              </p:nvSpPr>
              <p:spPr>
                <a:xfrm>
                  <a:off x="5759640" y="1873546"/>
                  <a:ext cx="3203" cy="52065"/>
                </a:xfrm>
                <a:custGeom>
                  <a:avLst/>
                  <a:gdLst>
                    <a:gd name="connsiteX0" fmla="*/ 2522 w 3203"/>
                    <a:gd name="connsiteY0" fmla="*/ 0 h 52065"/>
                    <a:gd name="connsiteX1" fmla="*/ 156 w 3203"/>
                    <a:gd name="connsiteY1" fmla="*/ 18684 h 52065"/>
                    <a:gd name="connsiteX2" fmla="*/ 3145 w 3203"/>
                    <a:gd name="connsiteY2" fmla="*/ 35748 h 52065"/>
                    <a:gd name="connsiteX3" fmla="*/ 654 w 32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02" h="52065">
                      <a:moveTo>
                        <a:pt x="2522" y="0"/>
                      </a:moveTo>
                      <a:cubicBezTo>
                        <a:pt x="-94" y="7972"/>
                        <a:pt x="-218" y="14324"/>
                        <a:pt x="156" y="18684"/>
                      </a:cubicBezTo>
                      <a:cubicBezTo>
                        <a:pt x="778" y="25659"/>
                        <a:pt x="2896" y="28773"/>
                        <a:pt x="3145" y="35748"/>
                      </a:cubicBezTo>
                      <a:cubicBezTo>
                        <a:pt x="3519" y="42599"/>
                        <a:pt x="2024" y="48328"/>
                        <a:pt x="6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8" name="Freeform 7921">
                  <a:extLst>
                    <a:ext uri="{FF2B5EF4-FFF2-40B4-BE49-F238E27FC236}">
                      <a16:creationId xmlns:a16="http://schemas.microsoft.com/office/drawing/2014/main" id="{01C24B6D-599F-064A-87D5-C58F8497654E}"/>
                    </a:ext>
                  </a:extLst>
                </p:cNvPr>
                <p:cNvSpPr/>
                <p:nvPr/>
              </p:nvSpPr>
              <p:spPr>
                <a:xfrm>
                  <a:off x="5766938" y="1868564"/>
                  <a:ext cx="4233" cy="52189"/>
                </a:xfrm>
                <a:custGeom>
                  <a:avLst/>
                  <a:gdLst>
                    <a:gd name="connsiteX0" fmla="*/ 1950 w 4233"/>
                    <a:gd name="connsiteY0" fmla="*/ 52190 h 52189"/>
                    <a:gd name="connsiteX1" fmla="*/ 331 w 4233"/>
                    <a:gd name="connsiteY1" fmla="*/ 33506 h 52189"/>
                    <a:gd name="connsiteX2" fmla="*/ 4068 w 4233"/>
                    <a:gd name="connsiteY2" fmla="*/ 16442 h 52189"/>
                    <a:gd name="connsiteX3" fmla="*/ 2199 w 4233"/>
                    <a:gd name="connsiteY3" fmla="*/ 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52190"/>
                      </a:moveTo>
                      <a:cubicBezTo>
                        <a:pt x="-417" y="44093"/>
                        <a:pt x="-167" y="37741"/>
                        <a:pt x="331" y="33506"/>
                      </a:cubicBezTo>
                      <a:cubicBezTo>
                        <a:pt x="1203" y="26531"/>
                        <a:pt x="3445" y="23541"/>
                        <a:pt x="4068" y="16442"/>
                      </a:cubicBezTo>
                      <a:cubicBezTo>
                        <a:pt x="4690" y="9591"/>
                        <a:pt x="3445" y="3861"/>
                        <a:pt x="2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9" name="Freeform 7922">
                  <a:extLst>
                    <a:ext uri="{FF2B5EF4-FFF2-40B4-BE49-F238E27FC236}">
                      <a16:creationId xmlns:a16="http://schemas.microsoft.com/office/drawing/2014/main" id="{0FFDC505-EEA1-3633-7DD6-E6CDECA151E3}"/>
                    </a:ext>
                  </a:extLst>
                </p:cNvPr>
                <p:cNvSpPr/>
                <p:nvPr/>
              </p:nvSpPr>
              <p:spPr>
                <a:xfrm>
                  <a:off x="5752694" y="1853241"/>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180" y="26657"/>
                        <a:pt x="12956" y="26533"/>
                      </a:cubicBezTo>
                      <a:cubicBezTo>
                        <a:pt x="5607" y="26408"/>
                        <a:pt x="-123" y="20429"/>
                        <a:pt x="2" y="13080"/>
                      </a:cubicBezTo>
                      <a:cubicBezTo>
                        <a:pt x="126" y="5732"/>
                        <a:pt x="6230" y="-123"/>
                        <a:pt x="13454" y="2"/>
                      </a:cubicBezTo>
                      <a:cubicBezTo>
                        <a:pt x="20803"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9" name="Graphic 2987">
                <a:extLst>
                  <a:ext uri="{FF2B5EF4-FFF2-40B4-BE49-F238E27FC236}">
                    <a16:creationId xmlns:a16="http://schemas.microsoft.com/office/drawing/2014/main" id="{703F4393-A35E-665E-059E-AA633EEF74D2}"/>
                  </a:ext>
                </a:extLst>
              </p:cNvPr>
              <p:cNvGrpSpPr/>
              <p:nvPr/>
            </p:nvGrpSpPr>
            <p:grpSpPr>
              <a:xfrm>
                <a:off x="5720178" y="1852862"/>
                <a:ext cx="29405" cy="148980"/>
                <a:chOff x="5720178" y="1852862"/>
                <a:chExt cx="29405" cy="148980"/>
              </a:xfrm>
              <a:grpFill/>
            </p:grpSpPr>
            <p:sp>
              <p:nvSpPr>
                <p:cNvPr id="6258" name="Freeform 7924">
                  <a:extLst>
                    <a:ext uri="{FF2B5EF4-FFF2-40B4-BE49-F238E27FC236}">
                      <a16:creationId xmlns:a16="http://schemas.microsoft.com/office/drawing/2014/main" id="{EBF6B5E9-C227-1539-2BFB-6FB12FE7CA40}"/>
                    </a:ext>
                  </a:extLst>
                </p:cNvPr>
                <p:cNvSpPr/>
                <p:nvPr/>
              </p:nvSpPr>
              <p:spPr>
                <a:xfrm>
                  <a:off x="5736573" y="1929472"/>
                  <a:ext cx="3272" cy="52065"/>
                </a:xfrm>
                <a:custGeom>
                  <a:avLst/>
                  <a:gdLst>
                    <a:gd name="connsiteX0" fmla="*/ 677 w 3272"/>
                    <a:gd name="connsiteY0" fmla="*/ 52065 h 52065"/>
                    <a:gd name="connsiteX1" fmla="*/ 3044 w 3272"/>
                    <a:gd name="connsiteY1" fmla="*/ 33381 h 52065"/>
                    <a:gd name="connsiteX2" fmla="*/ 55 w 3272"/>
                    <a:gd name="connsiteY2" fmla="*/ 16317 h 52065"/>
                    <a:gd name="connsiteX3" fmla="*/ 2546 w 3272"/>
                    <a:gd name="connsiteY3" fmla="*/ 0 h 52065"/>
                  </a:gdLst>
                  <a:ahLst/>
                  <a:cxnLst>
                    <a:cxn ang="0">
                      <a:pos x="connsiteX0" y="connsiteY0"/>
                    </a:cxn>
                    <a:cxn ang="0">
                      <a:pos x="connsiteX1" y="connsiteY1"/>
                    </a:cxn>
                    <a:cxn ang="0">
                      <a:pos x="connsiteX2" y="connsiteY2"/>
                    </a:cxn>
                    <a:cxn ang="0">
                      <a:pos x="connsiteX3" y="connsiteY3"/>
                    </a:cxn>
                  </a:cxnLst>
                  <a:rect l="l" t="t" r="r" b="b"/>
                  <a:pathLst>
                    <a:path w="3272" h="52065">
                      <a:moveTo>
                        <a:pt x="677" y="52065"/>
                      </a:moveTo>
                      <a:cubicBezTo>
                        <a:pt x="3418" y="44093"/>
                        <a:pt x="3542" y="37741"/>
                        <a:pt x="3044" y="33381"/>
                      </a:cubicBezTo>
                      <a:cubicBezTo>
                        <a:pt x="2421" y="26406"/>
                        <a:pt x="304" y="23292"/>
                        <a:pt x="55" y="16317"/>
                      </a:cubicBezTo>
                      <a:cubicBezTo>
                        <a:pt x="-319" y="9466"/>
                        <a:pt x="1300" y="3737"/>
                        <a:pt x="25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9" name="Freeform 7925">
                  <a:extLst>
                    <a:ext uri="{FF2B5EF4-FFF2-40B4-BE49-F238E27FC236}">
                      <a16:creationId xmlns:a16="http://schemas.microsoft.com/office/drawing/2014/main" id="{8C0F73EE-FD46-2C21-B44E-ED7519DFCF61}"/>
                    </a:ext>
                  </a:extLst>
                </p:cNvPr>
                <p:cNvSpPr/>
                <p:nvPr/>
              </p:nvSpPr>
              <p:spPr>
                <a:xfrm>
                  <a:off x="5728116" y="1934206"/>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914"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0" name="Freeform 7926">
                  <a:extLst>
                    <a:ext uri="{FF2B5EF4-FFF2-40B4-BE49-F238E27FC236}">
                      <a16:creationId xmlns:a16="http://schemas.microsoft.com/office/drawing/2014/main" id="{0C68C04A-2A3C-4910-177D-18DCE2C25EFF}"/>
                    </a:ext>
                  </a:extLst>
                </p:cNvPr>
                <p:cNvSpPr/>
                <p:nvPr/>
              </p:nvSpPr>
              <p:spPr>
                <a:xfrm>
                  <a:off x="5720178" y="1975302"/>
                  <a:ext cx="26789" cy="26540"/>
                </a:xfrm>
                <a:custGeom>
                  <a:avLst/>
                  <a:gdLst>
                    <a:gd name="connsiteX0" fmla="*/ 8 w 26789"/>
                    <a:gd name="connsiteY0" fmla="*/ 12837 h 26540"/>
                    <a:gd name="connsiteX1" fmla="*/ 13709 w 26789"/>
                    <a:gd name="connsiteY1" fmla="*/ 8 h 26540"/>
                    <a:gd name="connsiteX2" fmla="*/ 26788 w 26789"/>
                    <a:gd name="connsiteY2" fmla="*/ 13460 h 26540"/>
                    <a:gd name="connsiteX3" fmla="*/ 13086 w 26789"/>
                    <a:gd name="connsiteY3" fmla="*/ 26539 h 26540"/>
                    <a:gd name="connsiteX4" fmla="*/ 8 w 26789"/>
                    <a:gd name="connsiteY4" fmla="*/ 12837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26540">
                      <a:moveTo>
                        <a:pt x="8" y="12837"/>
                      </a:moveTo>
                      <a:cubicBezTo>
                        <a:pt x="132" y="5488"/>
                        <a:pt x="6360" y="-241"/>
                        <a:pt x="13709" y="8"/>
                      </a:cubicBezTo>
                      <a:cubicBezTo>
                        <a:pt x="21058" y="132"/>
                        <a:pt x="26912" y="6111"/>
                        <a:pt x="26788" y="13460"/>
                      </a:cubicBezTo>
                      <a:cubicBezTo>
                        <a:pt x="26663" y="20809"/>
                        <a:pt x="20560" y="26663"/>
                        <a:pt x="13086" y="26539"/>
                      </a:cubicBezTo>
                      <a:cubicBezTo>
                        <a:pt x="5613" y="26290"/>
                        <a:pt x="-241" y="20062"/>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1" name="Freeform 7927">
                  <a:extLst>
                    <a:ext uri="{FF2B5EF4-FFF2-40B4-BE49-F238E27FC236}">
                      <a16:creationId xmlns:a16="http://schemas.microsoft.com/office/drawing/2014/main" id="{BA91A2DD-DFE4-7F5F-ADEF-A3E4D6927B1A}"/>
                    </a:ext>
                  </a:extLst>
                </p:cNvPr>
                <p:cNvSpPr/>
                <p:nvPr/>
              </p:nvSpPr>
              <p:spPr>
                <a:xfrm>
                  <a:off x="5730120" y="1873172"/>
                  <a:ext cx="3199" cy="52189"/>
                </a:xfrm>
                <a:custGeom>
                  <a:avLst/>
                  <a:gdLst>
                    <a:gd name="connsiteX0" fmla="*/ 2522 w 3199"/>
                    <a:gd name="connsiteY0" fmla="*/ 0 h 52189"/>
                    <a:gd name="connsiteX1" fmla="*/ 156 w 3199"/>
                    <a:gd name="connsiteY1" fmla="*/ 18684 h 52189"/>
                    <a:gd name="connsiteX2" fmla="*/ 3145 w 3199"/>
                    <a:gd name="connsiteY2" fmla="*/ 35873 h 52189"/>
                    <a:gd name="connsiteX3" fmla="*/ 654 w 319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9" h="52189">
                      <a:moveTo>
                        <a:pt x="2522" y="0"/>
                      </a:moveTo>
                      <a:cubicBezTo>
                        <a:pt x="-93" y="7972"/>
                        <a:pt x="-218" y="14324"/>
                        <a:pt x="156" y="18684"/>
                      </a:cubicBezTo>
                      <a:cubicBezTo>
                        <a:pt x="779" y="25659"/>
                        <a:pt x="2772" y="28773"/>
                        <a:pt x="3145" y="35873"/>
                      </a:cubicBezTo>
                      <a:cubicBezTo>
                        <a:pt x="3519" y="42723"/>
                        <a:pt x="1900" y="48453"/>
                        <a:pt x="6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2" name="Freeform 7928">
                  <a:extLst>
                    <a:ext uri="{FF2B5EF4-FFF2-40B4-BE49-F238E27FC236}">
                      <a16:creationId xmlns:a16="http://schemas.microsoft.com/office/drawing/2014/main" id="{CC945C22-795A-4BE1-BDC5-6DF05B4F687A}"/>
                    </a:ext>
                  </a:extLst>
                </p:cNvPr>
                <p:cNvSpPr/>
                <p:nvPr/>
              </p:nvSpPr>
              <p:spPr>
                <a:xfrm>
                  <a:off x="5737357" y="1868190"/>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506" y="23541"/>
                        <a:pt x="4253" y="16442"/>
                      </a:cubicBezTo>
                      <a:cubicBezTo>
                        <a:pt x="4876" y="9591"/>
                        <a:pt x="3631" y="3861"/>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3" name="Freeform 7929">
                  <a:extLst>
                    <a:ext uri="{FF2B5EF4-FFF2-40B4-BE49-F238E27FC236}">
                      <a16:creationId xmlns:a16="http://schemas.microsoft.com/office/drawing/2014/main" id="{5805369E-E49E-3188-5312-7451E4282630}"/>
                    </a:ext>
                  </a:extLst>
                </p:cNvPr>
                <p:cNvSpPr/>
                <p:nvPr/>
              </p:nvSpPr>
              <p:spPr>
                <a:xfrm>
                  <a:off x="5723168" y="1852862"/>
                  <a:ext cx="26415" cy="26540"/>
                </a:xfrm>
                <a:custGeom>
                  <a:avLst/>
                  <a:gdLst>
                    <a:gd name="connsiteX0" fmla="*/ 26414 w 26415"/>
                    <a:gd name="connsiteY0" fmla="*/ 13460 h 26540"/>
                    <a:gd name="connsiteX1" fmla="*/ 12837 w 26415"/>
                    <a:gd name="connsiteY1" fmla="*/ 26539 h 26540"/>
                    <a:gd name="connsiteX2" fmla="*/ 8 w 26415"/>
                    <a:gd name="connsiteY2" fmla="*/ 12837 h 26540"/>
                    <a:gd name="connsiteX3" fmla="*/ 13460 w 26415"/>
                    <a:gd name="connsiteY3" fmla="*/ 8 h 26540"/>
                    <a:gd name="connsiteX4" fmla="*/ 26414 w 2641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0">
                      <a:moveTo>
                        <a:pt x="26414" y="13460"/>
                      </a:moveTo>
                      <a:cubicBezTo>
                        <a:pt x="26289" y="20809"/>
                        <a:pt x="20186" y="26663"/>
                        <a:pt x="12837" y="26539"/>
                      </a:cubicBezTo>
                      <a:cubicBezTo>
                        <a:pt x="5488" y="26290"/>
                        <a:pt x="-242" y="20186"/>
                        <a:pt x="8" y="12837"/>
                      </a:cubicBezTo>
                      <a:cubicBezTo>
                        <a:pt x="132" y="5488"/>
                        <a:pt x="6236" y="-241"/>
                        <a:pt x="13460" y="8"/>
                      </a:cubicBezTo>
                      <a:cubicBezTo>
                        <a:pt x="20809" y="132"/>
                        <a:pt x="26538" y="6236"/>
                        <a:pt x="26414"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0" name="Graphic 2987">
                <a:extLst>
                  <a:ext uri="{FF2B5EF4-FFF2-40B4-BE49-F238E27FC236}">
                    <a16:creationId xmlns:a16="http://schemas.microsoft.com/office/drawing/2014/main" id="{E3E6808F-1C4E-FF32-7445-25FF1933C6C3}"/>
                  </a:ext>
                </a:extLst>
              </p:cNvPr>
              <p:cNvGrpSpPr/>
              <p:nvPr/>
            </p:nvGrpSpPr>
            <p:grpSpPr>
              <a:xfrm>
                <a:off x="5690409" y="1851865"/>
                <a:ext cx="29660" cy="148862"/>
                <a:chOff x="5690409" y="1851865"/>
                <a:chExt cx="29660" cy="148862"/>
              </a:xfrm>
              <a:grpFill/>
            </p:grpSpPr>
            <p:sp>
              <p:nvSpPr>
                <p:cNvPr id="6252" name="Freeform 7931">
                  <a:extLst>
                    <a:ext uri="{FF2B5EF4-FFF2-40B4-BE49-F238E27FC236}">
                      <a16:creationId xmlns:a16="http://schemas.microsoft.com/office/drawing/2014/main" id="{512BD05B-C84B-B4D5-F93D-53B7169A0312}"/>
                    </a:ext>
                  </a:extLst>
                </p:cNvPr>
                <p:cNvSpPr/>
                <p:nvPr/>
              </p:nvSpPr>
              <p:spPr>
                <a:xfrm>
                  <a:off x="5706929" y="1928351"/>
                  <a:ext cx="3197" cy="52189"/>
                </a:xfrm>
                <a:custGeom>
                  <a:avLst/>
                  <a:gdLst>
                    <a:gd name="connsiteX0" fmla="*/ 553 w 3197"/>
                    <a:gd name="connsiteY0" fmla="*/ 52190 h 52189"/>
                    <a:gd name="connsiteX1" fmla="*/ 3044 w 3197"/>
                    <a:gd name="connsiteY1" fmla="*/ 33506 h 52189"/>
                    <a:gd name="connsiteX2" fmla="*/ 55 w 3197"/>
                    <a:gd name="connsiteY2" fmla="*/ 16317 h 52189"/>
                    <a:gd name="connsiteX3" fmla="*/ 2671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52190"/>
                      </a:moveTo>
                      <a:cubicBezTo>
                        <a:pt x="3293" y="44218"/>
                        <a:pt x="3418" y="37866"/>
                        <a:pt x="3044" y="33506"/>
                      </a:cubicBezTo>
                      <a:cubicBezTo>
                        <a:pt x="2421" y="26531"/>
                        <a:pt x="428" y="23417"/>
                        <a:pt x="55" y="16317"/>
                      </a:cubicBezTo>
                      <a:cubicBezTo>
                        <a:pt x="-319" y="9466"/>
                        <a:pt x="1300" y="3737"/>
                        <a:pt x="26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3" name="Freeform 7932">
                  <a:extLst>
                    <a:ext uri="{FF2B5EF4-FFF2-40B4-BE49-F238E27FC236}">
                      <a16:creationId xmlns:a16="http://schemas.microsoft.com/office/drawing/2014/main" id="{BD72DFBB-238E-EE78-865F-B334E31948A0}"/>
                    </a:ext>
                  </a:extLst>
                </p:cNvPr>
                <p:cNvSpPr/>
                <p:nvPr/>
              </p:nvSpPr>
              <p:spPr>
                <a:xfrm>
                  <a:off x="5698471" y="1933209"/>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789"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4" name="Freeform 7933">
                  <a:extLst>
                    <a:ext uri="{FF2B5EF4-FFF2-40B4-BE49-F238E27FC236}">
                      <a16:creationId xmlns:a16="http://schemas.microsoft.com/office/drawing/2014/main" id="{E51E7EFD-ABAC-D6DE-6C33-C225367B6914}"/>
                    </a:ext>
                  </a:extLst>
                </p:cNvPr>
                <p:cNvSpPr/>
                <p:nvPr/>
              </p:nvSpPr>
              <p:spPr>
                <a:xfrm>
                  <a:off x="5690409" y="1974181"/>
                  <a:ext cx="26670" cy="26546"/>
                </a:xfrm>
                <a:custGeom>
                  <a:avLst/>
                  <a:gdLst>
                    <a:gd name="connsiteX0" fmla="*/ 8 w 26670"/>
                    <a:gd name="connsiteY0" fmla="*/ 12837 h 26546"/>
                    <a:gd name="connsiteX1" fmla="*/ 13709 w 26670"/>
                    <a:gd name="connsiteY1" fmla="*/ 8 h 26546"/>
                    <a:gd name="connsiteX2" fmla="*/ 26663 w 26670"/>
                    <a:gd name="connsiteY2" fmla="*/ 13709 h 26546"/>
                    <a:gd name="connsiteX3" fmla="*/ 12962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360" y="-241"/>
                        <a:pt x="13709" y="8"/>
                      </a:cubicBezTo>
                      <a:cubicBezTo>
                        <a:pt x="21058" y="257"/>
                        <a:pt x="26912" y="6360"/>
                        <a:pt x="26663" y="13709"/>
                      </a:cubicBezTo>
                      <a:cubicBezTo>
                        <a:pt x="26539" y="21058"/>
                        <a:pt x="20311" y="26788"/>
                        <a:pt x="12962" y="26539"/>
                      </a:cubicBezTo>
                      <a:cubicBezTo>
                        <a:pt x="5613"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5" name="Freeform 7934">
                  <a:extLst>
                    <a:ext uri="{FF2B5EF4-FFF2-40B4-BE49-F238E27FC236}">
                      <a16:creationId xmlns:a16="http://schemas.microsoft.com/office/drawing/2014/main" id="{13CC8EAB-381D-56BC-2CA0-CF1B46095D3A}"/>
                    </a:ext>
                  </a:extLst>
                </p:cNvPr>
                <p:cNvSpPr/>
                <p:nvPr/>
              </p:nvSpPr>
              <p:spPr>
                <a:xfrm>
                  <a:off x="5700477" y="1872051"/>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6" y="7972"/>
                        <a:pt x="-220" y="14324"/>
                        <a:pt x="154" y="18684"/>
                      </a:cubicBezTo>
                      <a:cubicBezTo>
                        <a:pt x="776" y="25659"/>
                        <a:pt x="2769" y="28773"/>
                        <a:pt x="3143" y="35873"/>
                      </a:cubicBezTo>
                      <a:cubicBezTo>
                        <a:pt x="3392" y="42723"/>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6" name="Freeform 7935">
                  <a:extLst>
                    <a:ext uri="{FF2B5EF4-FFF2-40B4-BE49-F238E27FC236}">
                      <a16:creationId xmlns:a16="http://schemas.microsoft.com/office/drawing/2014/main" id="{491E8F0A-0360-3C4E-2D61-1D50317CD791}"/>
                    </a:ext>
                  </a:extLst>
                </p:cNvPr>
                <p:cNvSpPr/>
                <p:nvPr/>
              </p:nvSpPr>
              <p:spPr>
                <a:xfrm>
                  <a:off x="5707712" y="1867318"/>
                  <a:ext cx="4419" cy="52189"/>
                </a:xfrm>
                <a:custGeom>
                  <a:avLst/>
                  <a:gdLst>
                    <a:gd name="connsiteX0" fmla="*/ 1887 w 4419"/>
                    <a:gd name="connsiteY0" fmla="*/ 52190 h 52189"/>
                    <a:gd name="connsiteX1" fmla="*/ 392 w 4419"/>
                    <a:gd name="connsiteY1" fmla="*/ 33381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381"/>
                      </a:cubicBezTo>
                      <a:cubicBezTo>
                        <a:pt x="1389" y="26406"/>
                        <a:pt x="3506" y="23541"/>
                        <a:pt x="4253" y="16442"/>
                      </a:cubicBezTo>
                      <a:cubicBezTo>
                        <a:pt x="4876" y="9591"/>
                        <a:pt x="3631" y="3737"/>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7" name="Freeform 7936">
                  <a:extLst>
                    <a:ext uri="{FF2B5EF4-FFF2-40B4-BE49-F238E27FC236}">
                      <a16:creationId xmlns:a16="http://schemas.microsoft.com/office/drawing/2014/main" id="{E85D4C7E-AD8F-9FA5-2E88-46589AECECEC}"/>
                    </a:ext>
                  </a:extLst>
                </p:cNvPr>
                <p:cNvSpPr/>
                <p:nvPr/>
              </p:nvSpPr>
              <p:spPr>
                <a:xfrm>
                  <a:off x="5693647" y="1851865"/>
                  <a:ext cx="26422" cy="26546"/>
                </a:xfrm>
                <a:custGeom>
                  <a:avLst/>
                  <a:gdLst>
                    <a:gd name="connsiteX0" fmla="*/ 26414 w 26422"/>
                    <a:gd name="connsiteY0" fmla="*/ 13709 h 26546"/>
                    <a:gd name="connsiteX1" fmla="*/ 12838 w 26422"/>
                    <a:gd name="connsiteY1" fmla="*/ 26539 h 26546"/>
                    <a:gd name="connsiteX2" fmla="*/ 8 w 26422"/>
                    <a:gd name="connsiteY2" fmla="*/ 12837 h 26546"/>
                    <a:gd name="connsiteX3" fmla="*/ 13585 w 26422"/>
                    <a:gd name="connsiteY3" fmla="*/ 8 h 26546"/>
                    <a:gd name="connsiteX4" fmla="*/ 26414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3709"/>
                      </a:moveTo>
                      <a:cubicBezTo>
                        <a:pt x="26290" y="21058"/>
                        <a:pt x="20186" y="26788"/>
                        <a:pt x="12838" y="26539"/>
                      </a:cubicBezTo>
                      <a:cubicBezTo>
                        <a:pt x="5488" y="26290"/>
                        <a:pt x="-241" y="20186"/>
                        <a:pt x="8" y="12837"/>
                      </a:cubicBezTo>
                      <a:cubicBezTo>
                        <a:pt x="257" y="5488"/>
                        <a:pt x="6236" y="-241"/>
                        <a:pt x="13585" y="8"/>
                      </a:cubicBezTo>
                      <a:cubicBezTo>
                        <a:pt x="20809" y="257"/>
                        <a:pt x="26663" y="6485"/>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1" name="Graphic 2987">
                <a:extLst>
                  <a:ext uri="{FF2B5EF4-FFF2-40B4-BE49-F238E27FC236}">
                    <a16:creationId xmlns:a16="http://schemas.microsoft.com/office/drawing/2014/main" id="{6077EA0D-8795-3648-3ADA-78C53B3A1653}"/>
                  </a:ext>
                </a:extLst>
              </p:cNvPr>
              <p:cNvGrpSpPr/>
              <p:nvPr/>
            </p:nvGrpSpPr>
            <p:grpSpPr>
              <a:xfrm>
                <a:off x="5660521" y="1850869"/>
                <a:ext cx="30027" cy="148862"/>
                <a:chOff x="5660521" y="1850869"/>
                <a:chExt cx="30027" cy="148862"/>
              </a:xfrm>
              <a:grpFill/>
            </p:grpSpPr>
            <p:sp>
              <p:nvSpPr>
                <p:cNvPr id="6246" name="Freeform 7938">
                  <a:extLst>
                    <a:ext uri="{FF2B5EF4-FFF2-40B4-BE49-F238E27FC236}">
                      <a16:creationId xmlns:a16="http://schemas.microsoft.com/office/drawing/2014/main" id="{9AE28324-1FA0-4D0A-EAB4-1384CBCE242B}"/>
                    </a:ext>
                  </a:extLst>
                </p:cNvPr>
                <p:cNvSpPr/>
                <p:nvPr/>
              </p:nvSpPr>
              <p:spPr>
                <a:xfrm>
                  <a:off x="5677187" y="192735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6" y="44218"/>
                        <a:pt x="3390" y="37866"/>
                        <a:pt x="3017" y="33506"/>
                      </a:cubicBezTo>
                      <a:cubicBezTo>
                        <a:pt x="2394" y="26531"/>
                        <a:pt x="401"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7" name="Freeform 7939">
                  <a:extLst>
                    <a:ext uri="{FF2B5EF4-FFF2-40B4-BE49-F238E27FC236}">
                      <a16:creationId xmlns:a16="http://schemas.microsoft.com/office/drawing/2014/main" id="{9C7DA2B2-8D7D-A9F4-5168-254B6D1D287F}"/>
                    </a:ext>
                  </a:extLst>
                </p:cNvPr>
                <p:cNvSpPr/>
                <p:nvPr/>
              </p:nvSpPr>
              <p:spPr>
                <a:xfrm>
                  <a:off x="5668768" y="1932088"/>
                  <a:ext cx="4424" cy="52189"/>
                </a:xfrm>
                <a:custGeom>
                  <a:avLst/>
                  <a:gdLst>
                    <a:gd name="connsiteX0" fmla="*/ 2592 w 4424"/>
                    <a:gd name="connsiteY0" fmla="*/ 0 h 52189"/>
                    <a:gd name="connsiteX1" fmla="*/ 4087 w 4424"/>
                    <a:gd name="connsiteY1" fmla="*/ 18808 h 52189"/>
                    <a:gd name="connsiteX2" fmla="*/ 226 w 4424"/>
                    <a:gd name="connsiteY2" fmla="*/ 35748 h 52189"/>
                    <a:gd name="connsiteX3" fmla="*/ 1969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2592" y="0"/>
                      </a:moveTo>
                      <a:cubicBezTo>
                        <a:pt x="4834" y="8096"/>
                        <a:pt x="4585" y="14449"/>
                        <a:pt x="4087" y="18808"/>
                      </a:cubicBezTo>
                      <a:cubicBezTo>
                        <a:pt x="3090" y="25783"/>
                        <a:pt x="848" y="28648"/>
                        <a:pt x="226" y="35748"/>
                      </a:cubicBezTo>
                      <a:cubicBezTo>
                        <a:pt x="-522" y="42599"/>
                        <a:pt x="724" y="48453"/>
                        <a:pt x="196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8" name="Freeform 7940">
                  <a:extLst>
                    <a:ext uri="{FF2B5EF4-FFF2-40B4-BE49-F238E27FC236}">
                      <a16:creationId xmlns:a16="http://schemas.microsoft.com/office/drawing/2014/main" id="{E649ABC1-1D02-A334-2690-983D142CE920}"/>
                    </a:ext>
                  </a:extLst>
                </p:cNvPr>
                <p:cNvSpPr/>
                <p:nvPr/>
              </p:nvSpPr>
              <p:spPr>
                <a:xfrm>
                  <a:off x="5660521" y="1973184"/>
                  <a:ext cx="26664" cy="26546"/>
                </a:xfrm>
                <a:custGeom>
                  <a:avLst/>
                  <a:gdLst>
                    <a:gd name="connsiteX0" fmla="*/ 2 w 26664"/>
                    <a:gd name="connsiteY0" fmla="*/ 12837 h 26546"/>
                    <a:gd name="connsiteX1" fmla="*/ 13703 w 26664"/>
                    <a:gd name="connsiteY1" fmla="*/ 8 h 26546"/>
                    <a:gd name="connsiteX2" fmla="*/ 26657 w 26664"/>
                    <a:gd name="connsiteY2" fmla="*/ 13709 h 26546"/>
                    <a:gd name="connsiteX3" fmla="*/ 12956 w 26664"/>
                    <a:gd name="connsiteY3" fmla="*/ 26539 h 26546"/>
                    <a:gd name="connsiteX4" fmla="*/ 2 w 26664"/>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2837"/>
                      </a:moveTo>
                      <a:cubicBezTo>
                        <a:pt x="251" y="5488"/>
                        <a:pt x="6354" y="-241"/>
                        <a:pt x="13703" y="8"/>
                      </a:cubicBezTo>
                      <a:cubicBezTo>
                        <a:pt x="21052" y="257"/>
                        <a:pt x="26906" y="6360"/>
                        <a:pt x="26657" y="13709"/>
                      </a:cubicBezTo>
                      <a:cubicBezTo>
                        <a:pt x="26408" y="21058"/>
                        <a:pt x="20305" y="26788"/>
                        <a:pt x="12956" y="26539"/>
                      </a:cubicBezTo>
                      <a:cubicBezTo>
                        <a:pt x="5607" y="26290"/>
                        <a:pt x="-123" y="20062"/>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9" name="Freeform 7941">
                  <a:extLst>
                    <a:ext uri="{FF2B5EF4-FFF2-40B4-BE49-F238E27FC236}">
                      <a16:creationId xmlns:a16="http://schemas.microsoft.com/office/drawing/2014/main" id="{F809CFE2-3FC3-7DE4-55CB-05F10A2DCDFF}"/>
                    </a:ext>
                  </a:extLst>
                </p:cNvPr>
                <p:cNvSpPr/>
                <p:nvPr/>
              </p:nvSpPr>
              <p:spPr>
                <a:xfrm>
                  <a:off x="5670957" y="1871055"/>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8"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0" name="Freeform 7942">
                  <a:extLst>
                    <a:ext uri="{FF2B5EF4-FFF2-40B4-BE49-F238E27FC236}">
                      <a16:creationId xmlns:a16="http://schemas.microsoft.com/office/drawing/2014/main" id="{A0526D8D-B6DC-48E4-694F-D97B8E69E49A}"/>
                    </a:ext>
                  </a:extLst>
                </p:cNvPr>
                <p:cNvSpPr/>
                <p:nvPr/>
              </p:nvSpPr>
              <p:spPr>
                <a:xfrm>
                  <a:off x="5678122" y="1866197"/>
                  <a:ext cx="4375" cy="52189"/>
                </a:xfrm>
                <a:custGeom>
                  <a:avLst/>
                  <a:gdLst>
                    <a:gd name="connsiteX0" fmla="*/ 1832 w 4375"/>
                    <a:gd name="connsiteY0" fmla="*/ 52190 h 52189"/>
                    <a:gd name="connsiteX1" fmla="*/ 337 w 4375"/>
                    <a:gd name="connsiteY1" fmla="*/ 33381 h 52189"/>
                    <a:gd name="connsiteX2" fmla="*/ 4199 w 4375"/>
                    <a:gd name="connsiteY2" fmla="*/ 16442 h 52189"/>
                    <a:gd name="connsiteX3" fmla="*/ 2455 w 4375"/>
                    <a:gd name="connsiteY3" fmla="*/ 0 h 52189"/>
                  </a:gdLst>
                  <a:ahLst/>
                  <a:cxnLst>
                    <a:cxn ang="0">
                      <a:pos x="connsiteX0" y="connsiteY0"/>
                    </a:cxn>
                    <a:cxn ang="0">
                      <a:pos x="connsiteX1" y="connsiteY1"/>
                    </a:cxn>
                    <a:cxn ang="0">
                      <a:pos x="connsiteX2" y="connsiteY2"/>
                    </a:cxn>
                    <a:cxn ang="0">
                      <a:pos x="connsiteX3" y="connsiteY3"/>
                    </a:cxn>
                  </a:cxnLst>
                  <a:rect l="l" t="t" r="r" b="b"/>
                  <a:pathLst>
                    <a:path w="4375" h="52189">
                      <a:moveTo>
                        <a:pt x="1832" y="52190"/>
                      </a:moveTo>
                      <a:cubicBezTo>
                        <a:pt x="-410" y="44093"/>
                        <a:pt x="-161" y="37741"/>
                        <a:pt x="337" y="33381"/>
                      </a:cubicBezTo>
                      <a:cubicBezTo>
                        <a:pt x="1334" y="26406"/>
                        <a:pt x="3576" y="23541"/>
                        <a:pt x="4199" y="16442"/>
                      </a:cubicBezTo>
                      <a:cubicBezTo>
                        <a:pt x="4821" y="9591"/>
                        <a:pt x="3700" y="3737"/>
                        <a:pt x="2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1" name="Freeform 7943">
                  <a:extLst>
                    <a:ext uri="{FF2B5EF4-FFF2-40B4-BE49-F238E27FC236}">
                      <a16:creationId xmlns:a16="http://schemas.microsoft.com/office/drawing/2014/main" id="{A5923C06-3CF4-3316-0CC0-69555C464AD5}"/>
                    </a:ext>
                  </a:extLst>
                </p:cNvPr>
                <p:cNvSpPr/>
                <p:nvPr/>
              </p:nvSpPr>
              <p:spPr>
                <a:xfrm>
                  <a:off x="5664127" y="1850869"/>
                  <a:ext cx="26421" cy="26546"/>
                </a:xfrm>
                <a:custGeom>
                  <a:avLst/>
                  <a:gdLst>
                    <a:gd name="connsiteX0" fmla="*/ 26414 w 26421"/>
                    <a:gd name="connsiteY0" fmla="*/ 13709 h 26546"/>
                    <a:gd name="connsiteX1" fmla="*/ 12837 w 26421"/>
                    <a:gd name="connsiteY1" fmla="*/ 26539 h 26546"/>
                    <a:gd name="connsiteX2" fmla="*/ 8 w 26421"/>
                    <a:gd name="connsiteY2" fmla="*/ 12837 h 26546"/>
                    <a:gd name="connsiteX3" fmla="*/ 13585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186" y="26788"/>
                        <a:pt x="12837" y="26539"/>
                      </a:cubicBezTo>
                      <a:cubicBezTo>
                        <a:pt x="5488" y="26290"/>
                        <a:pt x="-241" y="20186"/>
                        <a:pt x="8" y="12837"/>
                      </a:cubicBezTo>
                      <a:cubicBezTo>
                        <a:pt x="257" y="5488"/>
                        <a:pt x="6360" y="-241"/>
                        <a:pt x="13585"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2" name="Graphic 2987">
                <a:extLst>
                  <a:ext uri="{FF2B5EF4-FFF2-40B4-BE49-F238E27FC236}">
                    <a16:creationId xmlns:a16="http://schemas.microsoft.com/office/drawing/2014/main" id="{C0D82299-498B-94A5-6D3B-79822718BCD3}"/>
                  </a:ext>
                </a:extLst>
              </p:cNvPr>
              <p:cNvGrpSpPr/>
              <p:nvPr/>
            </p:nvGrpSpPr>
            <p:grpSpPr>
              <a:xfrm>
                <a:off x="5630746" y="1849872"/>
                <a:ext cx="30401" cy="148737"/>
                <a:chOff x="5630746" y="1849872"/>
                <a:chExt cx="30401" cy="148737"/>
              </a:xfrm>
              <a:grpFill/>
            </p:grpSpPr>
            <p:sp>
              <p:nvSpPr>
                <p:cNvPr id="6240" name="Freeform 7945">
                  <a:extLst>
                    <a:ext uri="{FF2B5EF4-FFF2-40B4-BE49-F238E27FC236}">
                      <a16:creationId xmlns:a16="http://schemas.microsoft.com/office/drawing/2014/main" id="{0A22E8B6-43EC-102E-3A86-99D11710451C}"/>
                    </a:ext>
                  </a:extLst>
                </p:cNvPr>
                <p:cNvSpPr/>
                <p:nvPr/>
              </p:nvSpPr>
              <p:spPr>
                <a:xfrm>
                  <a:off x="5647666" y="1926358"/>
                  <a:ext cx="2978" cy="52065"/>
                </a:xfrm>
                <a:custGeom>
                  <a:avLst/>
                  <a:gdLst>
                    <a:gd name="connsiteX0" fmla="*/ 276 w 2978"/>
                    <a:gd name="connsiteY0" fmla="*/ 52065 h 52065"/>
                    <a:gd name="connsiteX1" fmla="*/ 2892 w 2978"/>
                    <a:gd name="connsiteY1" fmla="*/ 33506 h 52065"/>
                    <a:gd name="connsiteX2" fmla="*/ 27 w 2978"/>
                    <a:gd name="connsiteY2" fmla="*/ 16317 h 52065"/>
                    <a:gd name="connsiteX3" fmla="*/ 2643 w 2978"/>
                    <a:gd name="connsiteY3" fmla="*/ 0 h 52065"/>
                  </a:gdLst>
                  <a:ahLst/>
                  <a:cxnLst>
                    <a:cxn ang="0">
                      <a:pos x="connsiteX0" y="connsiteY0"/>
                    </a:cxn>
                    <a:cxn ang="0">
                      <a:pos x="connsiteX1" y="connsiteY1"/>
                    </a:cxn>
                    <a:cxn ang="0">
                      <a:pos x="connsiteX2" y="connsiteY2"/>
                    </a:cxn>
                    <a:cxn ang="0">
                      <a:pos x="connsiteX3" y="connsiteY3"/>
                    </a:cxn>
                  </a:cxnLst>
                  <a:rect l="l" t="t" r="r" b="b"/>
                  <a:pathLst>
                    <a:path w="2978" h="52065">
                      <a:moveTo>
                        <a:pt x="276" y="52065"/>
                      </a:moveTo>
                      <a:cubicBezTo>
                        <a:pt x="3017" y="44093"/>
                        <a:pt x="3141" y="37741"/>
                        <a:pt x="2892" y="33506"/>
                      </a:cubicBezTo>
                      <a:cubicBezTo>
                        <a:pt x="2269" y="26531"/>
                        <a:pt x="276"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1" name="Freeform 7946">
                  <a:extLst>
                    <a:ext uri="{FF2B5EF4-FFF2-40B4-BE49-F238E27FC236}">
                      <a16:creationId xmlns:a16="http://schemas.microsoft.com/office/drawing/2014/main" id="{BB22962A-68EA-BF53-9D97-2BC4D95EE302}"/>
                    </a:ext>
                  </a:extLst>
                </p:cNvPr>
                <p:cNvSpPr/>
                <p:nvPr/>
              </p:nvSpPr>
              <p:spPr>
                <a:xfrm>
                  <a:off x="5638873" y="193109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2"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2" name="Freeform 7947">
                  <a:extLst>
                    <a:ext uri="{FF2B5EF4-FFF2-40B4-BE49-F238E27FC236}">
                      <a16:creationId xmlns:a16="http://schemas.microsoft.com/office/drawing/2014/main" id="{0C903DB8-1E19-3073-297E-4FE89CF6B4F0}"/>
                    </a:ext>
                  </a:extLst>
                </p:cNvPr>
                <p:cNvSpPr/>
                <p:nvPr/>
              </p:nvSpPr>
              <p:spPr>
                <a:xfrm>
                  <a:off x="5630746" y="1972063"/>
                  <a:ext cx="26665" cy="26546"/>
                </a:xfrm>
                <a:custGeom>
                  <a:avLst/>
                  <a:gdLst>
                    <a:gd name="connsiteX0" fmla="*/ 8 w 26665"/>
                    <a:gd name="connsiteY0" fmla="*/ 12837 h 26546"/>
                    <a:gd name="connsiteX1" fmla="*/ 13709 w 26665"/>
                    <a:gd name="connsiteY1" fmla="*/ 8 h 26546"/>
                    <a:gd name="connsiteX2" fmla="*/ 26663 w 26665"/>
                    <a:gd name="connsiteY2" fmla="*/ 13709 h 26546"/>
                    <a:gd name="connsiteX3" fmla="*/ 12962 w 26665"/>
                    <a:gd name="connsiteY3" fmla="*/ 26539 h 26546"/>
                    <a:gd name="connsiteX4" fmla="*/ 8 w 2666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8" y="12837"/>
                      </a:moveTo>
                      <a:cubicBezTo>
                        <a:pt x="257" y="5488"/>
                        <a:pt x="6360" y="-241"/>
                        <a:pt x="13709" y="8"/>
                      </a:cubicBezTo>
                      <a:cubicBezTo>
                        <a:pt x="21058" y="257"/>
                        <a:pt x="26787" y="6360"/>
                        <a:pt x="26663" y="13709"/>
                      </a:cubicBezTo>
                      <a:cubicBezTo>
                        <a:pt x="26414" y="21058"/>
                        <a:pt x="20311" y="26788"/>
                        <a:pt x="12962" y="26539"/>
                      </a:cubicBezTo>
                      <a:cubicBezTo>
                        <a:pt x="5613"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3" name="Freeform 7948">
                  <a:extLst>
                    <a:ext uri="{FF2B5EF4-FFF2-40B4-BE49-F238E27FC236}">
                      <a16:creationId xmlns:a16="http://schemas.microsoft.com/office/drawing/2014/main" id="{26C11451-953C-51E4-DF1E-CCE2CFD3462B}"/>
                    </a:ext>
                  </a:extLst>
                </p:cNvPr>
                <p:cNvSpPr/>
                <p:nvPr/>
              </p:nvSpPr>
              <p:spPr>
                <a:xfrm>
                  <a:off x="5641379" y="1870058"/>
                  <a:ext cx="2978" cy="52065"/>
                </a:xfrm>
                <a:custGeom>
                  <a:avLst/>
                  <a:gdLst>
                    <a:gd name="connsiteX0" fmla="*/ 2702 w 2978"/>
                    <a:gd name="connsiteY0" fmla="*/ 0 h 52065"/>
                    <a:gd name="connsiteX1" fmla="*/ 87 w 2978"/>
                    <a:gd name="connsiteY1" fmla="*/ 18559 h 52065"/>
                    <a:gd name="connsiteX2" fmla="*/ 2951 w 2978"/>
                    <a:gd name="connsiteY2" fmla="*/ 35748 h 52065"/>
                    <a:gd name="connsiteX3" fmla="*/ 336 w 297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8" h="52065">
                      <a:moveTo>
                        <a:pt x="2702" y="0"/>
                      </a:moveTo>
                      <a:cubicBezTo>
                        <a:pt x="-38" y="7972"/>
                        <a:pt x="-162" y="14324"/>
                        <a:pt x="87" y="18559"/>
                      </a:cubicBezTo>
                      <a:cubicBezTo>
                        <a:pt x="585" y="25534"/>
                        <a:pt x="2702" y="28648"/>
                        <a:pt x="2951" y="35748"/>
                      </a:cubicBezTo>
                      <a:cubicBezTo>
                        <a:pt x="3201" y="42599"/>
                        <a:pt x="1706" y="48328"/>
                        <a:pt x="3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4" name="Freeform 7949">
                  <a:extLst>
                    <a:ext uri="{FF2B5EF4-FFF2-40B4-BE49-F238E27FC236}">
                      <a16:creationId xmlns:a16="http://schemas.microsoft.com/office/drawing/2014/main" id="{63CA3487-0533-8928-519A-67AA5856309E}"/>
                    </a:ext>
                  </a:extLst>
                </p:cNvPr>
                <p:cNvSpPr/>
                <p:nvPr/>
              </p:nvSpPr>
              <p:spPr>
                <a:xfrm>
                  <a:off x="5648507" y="1865201"/>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5" name="Freeform 7950">
                  <a:extLst>
                    <a:ext uri="{FF2B5EF4-FFF2-40B4-BE49-F238E27FC236}">
                      <a16:creationId xmlns:a16="http://schemas.microsoft.com/office/drawing/2014/main" id="{47D82BEA-4853-8C8E-12CE-9601B05E8370}"/>
                    </a:ext>
                  </a:extLst>
                </p:cNvPr>
                <p:cNvSpPr/>
                <p:nvPr/>
              </p:nvSpPr>
              <p:spPr>
                <a:xfrm>
                  <a:off x="5634732" y="1849872"/>
                  <a:ext cx="26416" cy="26546"/>
                </a:xfrm>
                <a:custGeom>
                  <a:avLst/>
                  <a:gdLst>
                    <a:gd name="connsiteX0" fmla="*/ 26414 w 26416"/>
                    <a:gd name="connsiteY0" fmla="*/ 13709 h 26546"/>
                    <a:gd name="connsiteX1" fmla="*/ 12837 w 26416"/>
                    <a:gd name="connsiteY1" fmla="*/ 26539 h 26546"/>
                    <a:gd name="connsiteX2" fmla="*/ 8 w 26416"/>
                    <a:gd name="connsiteY2" fmla="*/ 12837 h 26546"/>
                    <a:gd name="connsiteX3" fmla="*/ 13585 w 26416"/>
                    <a:gd name="connsiteY3" fmla="*/ 8 h 26546"/>
                    <a:gd name="connsiteX4" fmla="*/ 26414 w 2641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545">
                      <a:moveTo>
                        <a:pt x="26414" y="13709"/>
                      </a:moveTo>
                      <a:cubicBezTo>
                        <a:pt x="26165" y="21058"/>
                        <a:pt x="20061" y="26788"/>
                        <a:pt x="12837" y="26539"/>
                      </a:cubicBezTo>
                      <a:cubicBezTo>
                        <a:pt x="5488" y="26289"/>
                        <a:pt x="-242" y="20186"/>
                        <a:pt x="8" y="12837"/>
                      </a:cubicBezTo>
                      <a:cubicBezTo>
                        <a:pt x="257" y="5488"/>
                        <a:pt x="6360" y="-241"/>
                        <a:pt x="13585" y="8"/>
                      </a:cubicBezTo>
                      <a:cubicBezTo>
                        <a:pt x="20809" y="132"/>
                        <a:pt x="26539"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3" name="Graphic 2987">
                <a:extLst>
                  <a:ext uri="{FF2B5EF4-FFF2-40B4-BE49-F238E27FC236}">
                    <a16:creationId xmlns:a16="http://schemas.microsoft.com/office/drawing/2014/main" id="{AABDEA28-49EE-C27F-8C18-AA42649BCF65}"/>
                  </a:ext>
                </a:extLst>
              </p:cNvPr>
              <p:cNvGrpSpPr/>
              <p:nvPr/>
            </p:nvGrpSpPr>
            <p:grpSpPr>
              <a:xfrm>
                <a:off x="5600977" y="1848751"/>
                <a:ext cx="30656" cy="148862"/>
                <a:chOff x="5600977" y="1848751"/>
                <a:chExt cx="30656" cy="148862"/>
              </a:xfrm>
              <a:grpFill/>
            </p:grpSpPr>
            <p:sp>
              <p:nvSpPr>
                <p:cNvPr id="6234" name="Freeform 7952">
                  <a:extLst>
                    <a:ext uri="{FF2B5EF4-FFF2-40B4-BE49-F238E27FC236}">
                      <a16:creationId xmlns:a16="http://schemas.microsoft.com/office/drawing/2014/main" id="{88CD716D-017F-AB96-5EAB-05792728A9E0}"/>
                    </a:ext>
                  </a:extLst>
                </p:cNvPr>
                <p:cNvSpPr/>
                <p:nvPr/>
              </p:nvSpPr>
              <p:spPr>
                <a:xfrm>
                  <a:off x="5617899" y="1925362"/>
                  <a:ext cx="3026" cy="52065"/>
                </a:xfrm>
                <a:custGeom>
                  <a:avLst/>
                  <a:gdLst>
                    <a:gd name="connsiteX0" fmla="*/ 275 w 3026"/>
                    <a:gd name="connsiteY0" fmla="*/ 52065 h 52065"/>
                    <a:gd name="connsiteX1" fmla="*/ 2891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1" y="33506"/>
                      </a:cubicBezTo>
                      <a:cubicBezTo>
                        <a:pt x="2392"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5" name="Freeform 7953">
                  <a:extLst>
                    <a:ext uri="{FF2B5EF4-FFF2-40B4-BE49-F238E27FC236}">
                      <a16:creationId xmlns:a16="http://schemas.microsoft.com/office/drawing/2014/main" id="{E8C4246C-A403-5871-0DE7-4AA97A5BE123}"/>
                    </a:ext>
                  </a:extLst>
                </p:cNvPr>
                <p:cNvSpPr/>
                <p:nvPr/>
              </p:nvSpPr>
              <p:spPr>
                <a:xfrm>
                  <a:off x="5609228" y="1930095"/>
                  <a:ext cx="4645" cy="52189"/>
                </a:xfrm>
                <a:custGeom>
                  <a:avLst/>
                  <a:gdLst>
                    <a:gd name="connsiteX0" fmla="*/ 2842 w 4645"/>
                    <a:gd name="connsiteY0" fmla="*/ 0 h 52189"/>
                    <a:gd name="connsiteX1" fmla="*/ 4213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6" name="Freeform 7954">
                  <a:extLst>
                    <a:ext uri="{FF2B5EF4-FFF2-40B4-BE49-F238E27FC236}">
                      <a16:creationId xmlns:a16="http://schemas.microsoft.com/office/drawing/2014/main" id="{BC0B5D3C-8849-9D56-5D5D-603600C93C48}"/>
                    </a:ext>
                  </a:extLst>
                </p:cNvPr>
                <p:cNvSpPr/>
                <p:nvPr/>
              </p:nvSpPr>
              <p:spPr>
                <a:xfrm>
                  <a:off x="5600977" y="1971067"/>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310"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7" name="Freeform 7955">
                  <a:extLst>
                    <a:ext uri="{FF2B5EF4-FFF2-40B4-BE49-F238E27FC236}">
                      <a16:creationId xmlns:a16="http://schemas.microsoft.com/office/drawing/2014/main" id="{8431F23A-F12F-0EFC-84F9-2F2224832232}"/>
                    </a:ext>
                  </a:extLst>
                </p:cNvPr>
                <p:cNvSpPr/>
                <p:nvPr/>
              </p:nvSpPr>
              <p:spPr>
                <a:xfrm>
                  <a:off x="5611809" y="186893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8" name="Freeform 7956">
                  <a:extLst>
                    <a:ext uri="{FF2B5EF4-FFF2-40B4-BE49-F238E27FC236}">
                      <a16:creationId xmlns:a16="http://schemas.microsoft.com/office/drawing/2014/main" id="{5DE25BC5-6146-5765-34E9-BE6A35437361}"/>
                    </a:ext>
                  </a:extLst>
                </p:cNvPr>
                <p:cNvSpPr/>
                <p:nvPr/>
              </p:nvSpPr>
              <p:spPr>
                <a:xfrm>
                  <a:off x="5618862" y="1864080"/>
                  <a:ext cx="4645" cy="52189"/>
                </a:xfrm>
                <a:custGeom>
                  <a:avLst/>
                  <a:gdLst>
                    <a:gd name="connsiteX0" fmla="*/ 1803 w 4645"/>
                    <a:gd name="connsiteY0" fmla="*/ 52190 h 52189"/>
                    <a:gd name="connsiteX1" fmla="*/ 433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9" name="Freeform 7957">
                  <a:extLst>
                    <a:ext uri="{FF2B5EF4-FFF2-40B4-BE49-F238E27FC236}">
                      <a16:creationId xmlns:a16="http://schemas.microsoft.com/office/drawing/2014/main" id="{7EF2251C-1A9A-1FAF-4595-280B00E9D73A}"/>
                    </a:ext>
                  </a:extLst>
                </p:cNvPr>
                <p:cNvSpPr/>
                <p:nvPr/>
              </p:nvSpPr>
              <p:spPr>
                <a:xfrm>
                  <a:off x="5605336" y="1848751"/>
                  <a:ext cx="26297" cy="26546"/>
                </a:xfrm>
                <a:custGeom>
                  <a:avLst/>
                  <a:gdLst>
                    <a:gd name="connsiteX0" fmla="*/ 26290 w 26297"/>
                    <a:gd name="connsiteY0" fmla="*/ 13709 h 26546"/>
                    <a:gd name="connsiteX1" fmla="*/ 12713 w 26297"/>
                    <a:gd name="connsiteY1" fmla="*/ 26539 h 26546"/>
                    <a:gd name="connsiteX2" fmla="*/ 8 w 26297"/>
                    <a:gd name="connsiteY2" fmla="*/ 12837 h 26546"/>
                    <a:gd name="connsiteX3" fmla="*/ 13585 w 26297"/>
                    <a:gd name="connsiteY3" fmla="*/ 8 h 26546"/>
                    <a:gd name="connsiteX4" fmla="*/ 26290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26290" y="13709"/>
                      </a:moveTo>
                      <a:cubicBezTo>
                        <a:pt x="26040" y="21058"/>
                        <a:pt x="19937" y="26788"/>
                        <a:pt x="12713" y="26539"/>
                      </a:cubicBezTo>
                      <a:cubicBezTo>
                        <a:pt x="5364" y="26290"/>
                        <a:pt x="-241" y="20186"/>
                        <a:pt x="8" y="12837"/>
                      </a:cubicBezTo>
                      <a:cubicBezTo>
                        <a:pt x="257" y="5488"/>
                        <a:pt x="6361" y="-241"/>
                        <a:pt x="13585" y="8"/>
                      </a:cubicBezTo>
                      <a:cubicBezTo>
                        <a:pt x="20809" y="257"/>
                        <a:pt x="26539" y="6360"/>
                        <a:pt x="26290"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4" name="Graphic 2987">
                <a:extLst>
                  <a:ext uri="{FF2B5EF4-FFF2-40B4-BE49-F238E27FC236}">
                    <a16:creationId xmlns:a16="http://schemas.microsoft.com/office/drawing/2014/main" id="{2BF95BAC-D4BF-9FB7-FC9E-9329FA86CA96}"/>
                  </a:ext>
                </a:extLst>
              </p:cNvPr>
              <p:cNvGrpSpPr/>
              <p:nvPr/>
            </p:nvGrpSpPr>
            <p:grpSpPr>
              <a:xfrm>
                <a:off x="5571207" y="1847755"/>
                <a:ext cx="30906" cy="148737"/>
                <a:chOff x="5571207" y="1847755"/>
                <a:chExt cx="30906" cy="148737"/>
              </a:xfrm>
              <a:grpFill/>
            </p:grpSpPr>
            <p:sp>
              <p:nvSpPr>
                <p:cNvPr id="6228" name="Freeform 7959">
                  <a:extLst>
                    <a:ext uri="{FF2B5EF4-FFF2-40B4-BE49-F238E27FC236}">
                      <a16:creationId xmlns:a16="http://schemas.microsoft.com/office/drawing/2014/main" id="{B1BE3923-0680-2E76-BD71-D6EC7F41C640}"/>
                    </a:ext>
                  </a:extLst>
                </p:cNvPr>
                <p:cNvSpPr/>
                <p:nvPr/>
              </p:nvSpPr>
              <p:spPr>
                <a:xfrm>
                  <a:off x="5588130" y="1924241"/>
                  <a:ext cx="3026" cy="52065"/>
                </a:xfrm>
                <a:custGeom>
                  <a:avLst/>
                  <a:gdLst>
                    <a:gd name="connsiteX0" fmla="*/ 275 w 3026"/>
                    <a:gd name="connsiteY0" fmla="*/ 52065 h 52065"/>
                    <a:gd name="connsiteX1" fmla="*/ 2890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0" y="33506"/>
                      </a:cubicBezTo>
                      <a:cubicBezTo>
                        <a:pt x="2392" y="26531"/>
                        <a:pt x="275"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9" name="Freeform 7960">
                  <a:extLst>
                    <a:ext uri="{FF2B5EF4-FFF2-40B4-BE49-F238E27FC236}">
                      <a16:creationId xmlns:a16="http://schemas.microsoft.com/office/drawing/2014/main" id="{F3CE0B02-9232-1897-6929-D861AA5F784D}"/>
                    </a:ext>
                  </a:extLst>
                </p:cNvPr>
                <p:cNvSpPr/>
                <p:nvPr/>
              </p:nvSpPr>
              <p:spPr>
                <a:xfrm>
                  <a:off x="5579458" y="1928974"/>
                  <a:ext cx="4743" cy="52189"/>
                </a:xfrm>
                <a:custGeom>
                  <a:avLst/>
                  <a:gdLst>
                    <a:gd name="connsiteX0" fmla="*/ 2967 w 4743"/>
                    <a:gd name="connsiteY0" fmla="*/ 0 h 52189"/>
                    <a:gd name="connsiteX1" fmla="*/ 4213 w 4743"/>
                    <a:gd name="connsiteY1" fmla="*/ 18808 h 52189"/>
                    <a:gd name="connsiteX2" fmla="*/ 227 w 4743"/>
                    <a:gd name="connsiteY2" fmla="*/ 35748 h 52189"/>
                    <a:gd name="connsiteX3" fmla="*/ 1846 w 474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43" h="52189">
                      <a:moveTo>
                        <a:pt x="2967" y="0"/>
                      </a:moveTo>
                      <a:cubicBezTo>
                        <a:pt x="5209" y="8096"/>
                        <a:pt x="4960"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0" name="Freeform 7961">
                  <a:extLst>
                    <a:ext uri="{FF2B5EF4-FFF2-40B4-BE49-F238E27FC236}">
                      <a16:creationId xmlns:a16="http://schemas.microsoft.com/office/drawing/2014/main" id="{90CE3157-527E-BCAA-23D7-351D267B3EEF}"/>
                    </a:ext>
                  </a:extLst>
                </p:cNvPr>
                <p:cNvSpPr/>
                <p:nvPr/>
              </p:nvSpPr>
              <p:spPr>
                <a:xfrm>
                  <a:off x="5571207" y="1969946"/>
                  <a:ext cx="26671" cy="26546"/>
                </a:xfrm>
                <a:custGeom>
                  <a:avLst/>
                  <a:gdLst>
                    <a:gd name="connsiteX0" fmla="*/ 8 w 26671"/>
                    <a:gd name="connsiteY0" fmla="*/ 12837 h 26546"/>
                    <a:gd name="connsiteX1" fmla="*/ 13834 w 26671"/>
                    <a:gd name="connsiteY1" fmla="*/ 8 h 26546"/>
                    <a:gd name="connsiteX2" fmla="*/ 26663 w 26671"/>
                    <a:gd name="connsiteY2" fmla="*/ 13709 h 26546"/>
                    <a:gd name="connsiteX3" fmla="*/ 12837 w 26671"/>
                    <a:gd name="connsiteY3" fmla="*/ 26539 h 26546"/>
                    <a:gd name="connsiteX4" fmla="*/ 8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2837"/>
                      </a:moveTo>
                      <a:cubicBezTo>
                        <a:pt x="257" y="5488"/>
                        <a:pt x="6485" y="-241"/>
                        <a:pt x="13834" y="8"/>
                      </a:cubicBezTo>
                      <a:cubicBezTo>
                        <a:pt x="21183" y="257"/>
                        <a:pt x="26912" y="6360"/>
                        <a:pt x="26663" y="13709"/>
                      </a:cubicBezTo>
                      <a:cubicBezTo>
                        <a:pt x="26414" y="21058"/>
                        <a:pt x="20186" y="26788"/>
                        <a:pt x="12837" y="26539"/>
                      </a:cubicBezTo>
                      <a:cubicBezTo>
                        <a:pt x="5488"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1" name="Freeform 7962">
                  <a:extLst>
                    <a:ext uri="{FF2B5EF4-FFF2-40B4-BE49-F238E27FC236}">
                      <a16:creationId xmlns:a16="http://schemas.microsoft.com/office/drawing/2014/main" id="{DAD31A99-FFBA-028D-8FF5-ADDC296E060A}"/>
                    </a:ext>
                  </a:extLst>
                </p:cNvPr>
                <p:cNvSpPr/>
                <p:nvPr/>
              </p:nvSpPr>
              <p:spPr>
                <a:xfrm>
                  <a:off x="5582289" y="1867941"/>
                  <a:ext cx="2902" cy="52065"/>
                </a:xfrm>
                <a:custGeom>
                  <a:avLst/>
                  <a:gdLst>
                    <a:gd name="connsiteX0" fmla="*/ 2752 w 2902"/>
                    <a:gd name="connsiteY0" fmla="*/ 0 h 52065"/>
                    <a:gd name="connsiteX1" fmla="*/ 136 w 2902"/>
                    <a:gd name="connsiteY1" fmla="*/ 18559 h 52065"/>
                    <a:gd name="connsiteX2" fmla="*/ 2877 w 2902"/>
                    <a:gd name="connsiteY2" fmla="*/ 35748 h 52065"/>
                    <a:gd name="connsiteX3" fmla="*/ 13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0"/>
                      </a:moveTo>
                      <a:cubicBezTo>
                        <a:pt x="12" y="7972"/>
                        <a:pt x="-237" y="14324"/>
                        <a:pt x="136" y="18559"/>
                      </a:cubicBezTo>
                      <a:cubicBezTo>
                        <a:pt x="635" y="25534"/>
                        <a:pt x="2628" y="28648"/>
                        <a:pt x="2877" y="35748"/>
                      </a:cubicBezTo>
                      <a:cubicBezTo>
                        <a:pt x="3126" y="42599"/>
                        <a:pt x="1507" y="48328"/>
                        <a:pt x="1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2" name="Freeform 7963">
                  <a:extLst>
                    <a:ext uri="{FF2B5EF4-FFF2-40B4-BE49-F238E27FC236}">
                      <a16:creationId xmlns:a16="http://schemas.microsoft.com/office/drawing/2014/main" id="{028B84CE-6C73-12D6-FB16-4EA6240BD421}"/>
                    </a:ext>
                  </a:extLst>
                </p:cNvPr>
                <p:cNvSpPr/>
                <p:nvPr/>
              </p:nvSpPr>
              <p:spPr>
                <a:xfrm>
                  <a:off x="5589342" y="1863083"/>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3" name="Freeform 7964">
                  <a:extLst>
                    <a:ext uri="{FF2B5EF4-FFF2-40B4-BE49-F238E27FC236}">
                      <a16:creationId xmlns:a16="http://schemas.microsoft.com/office/drawing/2014/main" id="{DB51E669-E6AC-F51A-9CE7-A134E16F6FF0}"/>
                    </a:ext>
                  </a:extLst>
                </p:cNvPr>
                <p:cNvSpPr/>
                <p:nvPr/>
              </p:nvSpPr>
              <p:spPr>
                <a:xfrm>
                  <a:off x="5575692" y="1847755"/>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062" y="26788"/>
                        <a:pt x="12713" y="26539"/>
                      </a:cubicBezTo>
                      <a:cubicBezTo>
                        <a:pt x="5364" y="26290"/>
                        <a:pt x="-241" y="20186"/>
                        <a:pt x="8" y="12837"/>
                      </a:cubicBezTo>
                      <a:cubicBezTo>
                        <a:pt x="257" y="5488"/>
                        <a:pt x="6360"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5" name="Graphic 2987">
                <a:extLst>
                  <a:ext uri="{FF2B5EF4-FFF2-40B4-BE49-F238E27FC236}">
                    <a16:creationId xmlns:a16="http://schemas.microsoft.com/office/drawing/2014/main" id="{32C68531-861D-5579-E845-35DD2DA926A5}"/>
                  </a:ext>
                </a:extLst>
              </p:cNvPr>
              <p:cNvGrpSpPr/>
              <p:nvPr/>
            </p:nvGrpSpPr>
            <p:grpSpPr>
              <a:xfrm>
                <a:off x="5541438" y="1846634"/>
                <a:ext cx="31164" cy="148862"/>
                <a:chOff x="5541438" y="1846634"/>
                <a:chExt cx="31164" cy="148862"/>
              </a:xfrm>
              <a:grpFill/>
            </p:grpSpPr>
            <p:sp>
              <p:nvSpPr>
                <p:cNvPr id="6222" name="Freeform 7966">
                  <a:extLst>
                    <a:ext uri="{FF2B5EF4-FFF2-40B4-BE49-F238E27FC236}">
                      <a16:creationId xmlns:a16="http://schemas.microsoft.com/office/drawing/2014/main" id="{934AD729-50C0-E043-152F-1DCF96018C5E}"/>
                    </a:ext>
                  </a:extLst>
                </p:cNvPr>
                <p:cNvSpPr/>
                <p:nvPr/>
              </p:nvSpPr>
              <p:spPr>
                <a:xfrm>
                  <a:off x="5558609" y="1923245"/>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3"/>
                        <a:pt x="3015" y="37741"/>
                        <a:pt x="2766" y="33506"/>
                      </a:cubicBezTo>
                      <a:cubicBezTo>
                        <a:pt x="2268"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3" name="Freeform 7967">
                  <a:extLst>
                    <a:ext uri="{FF2B5EF4-FFF2-40B4-BE49-F238E27FC236}">
                      <a16:creationId xmlns:a16="http://schemas.microsoft.com/office/drawing/2014/main" id="{1EF6543B-300E-CBB8-5F26-892D08AFE3F2}"/>
                    </a:ext>
                  </a:extLst>
                </p:cNvPr>
                <p:cNvSpPr/>
                <p:nvPr/>
              </p:nvSpPr>
              <p:spPr>
                <a:xfrm>
                  <a:off x="5549674" y="1927978"/>
                  <a:ext cx="4792" cy="52189"/>
                </a:xfrm>
                <a:custGeom>
                  <a:avLst/>
                  <a:gdLst>
                    <a:gd name="connsiteX0" fmla="*/ 3107 w 4792"/>
                    <a:gd name="connsiteY0" fmla="*/ 0 h 52189"/>
                    <a:gd name="connsiteX1" fmla="*/ 4352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2" y="18808"/>
                      </a:cubicBezTo>
                      <a:cubicBezTo>
                        <a:pt x="3356"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4" name="Freeform 7968">
                  <a:extLst>
                    <a:ext uri="{FF2B5EF4-FFF2-40B4-BE49-F238E27FC236}">
                      <a16:creationId xmlns:a16="http://schemas.microsoft.com/office/drawing/2014/main" id="{18081636-3DE9-2E53-34FE-84187B7D2C4C}"/>
                    </a:ext>
                  </a:extLst>
                </p:cNvPr>
                <p:cNvSpPr/>
                <p:nvPr/>
              </p:nvSpPr>
              <p:spPr>
                <a:xfrm>
                  <a:off x="5541438" y="1968949"/>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186"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5" name="Freeform 7969">
                  <a:extLst>
                    <a:ext uri="{FF2B5EF4-FFF2-40B4-BE49-F238E27FC236}">
                      <a16:creationId xmlns:a16="http://schemas.microsoft.com/office/drawing/2014/main" id="{800D63F3-9BDB-78F4-BC35-FD9949849D0A}"/>
                    </a:ext>
                  </a:extLst>
                </p:cNvPr>
                <p:cNvSpPr/>
                <p:nvPr/>
              </p:nvSpPr>
              <p:spPr>
                <a:xfrm>
                  <a:off x="5552706" y="1866820"/>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5" y="14324"/>
                        <a:pt x="74" y="18559"/>
                      </a:cubicBezTo>
                      <a:cubicBezTo>
                        <a:pt x="573" y="25534"/>
                        <a:pt x="2566" y="28648"/>
                        <a:pt x="2815" y="35748"/>
                      </a:cubicBezTo>
                      <a:cubicBezTo>
                        <a:pt x="3064" y="42599"/>
                        <a:pt x="1445"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6" name="Freeform 7970">
                  <a:extLst>
                    <a:ext uri="{FF2B5EF4-FFF2-40B4-BE49-F238E27FC236}">
                      <a16:creationId xmlns:a16="http://schemas.microsoft.com/office/drawing/2014/main" id="{19673B54-11EA-016F-2A74-A20E66FCED0F}"/>
                    </a:ext>
                  </a:extLst>
                </p:cNvPr>
                <p:cNvSpPr/>
                <p:nvPr/>
              </p:nvSpPr>
              <p:spPr>
                <a:xfrm>
                  <a:off x="5559814" y="1861962"/>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437" y="26406"/>
                        <a:pt x="3679"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7" name="Freeform 7971">
                  <a:extLst>
                    <a:ext uri="{FF2B5EF4-FFF2-40B4-BE49-F238E27FC236}">
                      <a16:creationId xmlns:a16="http://schemas.microsoft.com/office/drawing/2014/main" id="{C53DE585-A927-53CA-59EC-4A50F111448F}"/>
                    </a:ext>
                  </a:extLst>
                </p:cNvPr>
                <p:cNvSpPr/>
                <p:nvPr/>
              </p:nvSpPr>
              <p:spPr>
                <a:xfrm>
                  <a:off x="5546171" y="1846634"/>
                  <a:ext cx="26431" cy="26546"/>
                </a:xfrm>
                <a:custGeom>
                  <a:avLst/>
                  <a:gdLst>
                    <a:gd name="connsiteX0" fmla="*/ 26415 w 26431"/>
                    <a:gd name="connsiteY0" fmla="*/ 13709 h 26546"/>
                    <a:gd name="connsiteX1" fmla="*/ 12713 w 26431"/>
                    <a:gd name="connsiteY1" fmla="*/ 26539 h 26546"/>
                    <a:gd name="connsiteX2" fmla="*/ 8 w 26431"/>
                    <a:gd name="connsiteY2" fmla="*/ 12837 h 26546"/>
                    <a:gd name="connsiteX3" fmla="*/ 13709 w 26431"/>
                    <a:gd name="connsiteY3" fmla="*/ 8 h 26546"/>
                    <a:gd name="connsiteX4" fmla="*/ 26415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5" y="13709"/>
                      </a:moveTo>
                      <a:cubicBezTo>
                        <a:pt x="26165" y="21058"/>
                        <a:pt x="20062" y="26788"/>
                        <a:pt x="12713" y="26539"/>
                      </a:cubicBezTo>
                      <a:cubicBezTo>
                        <a:pt x="5364" y="26290"/>
                        <a:pt x="-241" y="20186"/>
                        <a:pt x="8" y="12837"/>
                      </a:cubicBezTo>
                      <a:cubicBezTo>
                        <a:pt x="257" y="5488"/>
                        <a:pt x="6485" y="-241"/>
                        <a:pt x="13709" y="8"/>
                      </a:cubicBezTo>
                      <a:cubicBezTo>
                        <a:pt x="21058" y="257"/>
                        <a:pt x="26788" y="6485"/>
                        <a:pt x="26415"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6" name="Graphic 2987">
                <a:extLst>
                  <a:ext uri="{FF2B5EF4-FFF2-40B4-BE49-F238E27FC236}">
                    <a16:creationId xmlns:a16="http://schemas.microsoft.com/office/drawing/2014/main" id="{29B0E8A7-734A-DA9E-F50B-BF66ED9C323A}"/>
                  </a:ext>
                </a:extLst>
              </p:cNvPr>
              <p:cNvGrpSpPr/>
              <p:nvPr/>
            </p:nvGrpSpPr>
            <p:grpSpPr>
              <a:xfrm>
                <a:off x="5511659" y="1845637"/>
                <a:ext cx="31538" cy="148737"/>
                <a:chOff x="5511659" y="1845637"/>
                <a:chExt cx="31538" cy="148737"/>
              </a:xfrm>
              <a:grpFill/>
            </p:grpSpPr>
            <p:sp>
              <p:nvSpPr>
                <p:cNvPr id="6216" name="Freeform 7973">
                  <a:extLst>
                    <a:ext uri="{FF2B5EF4-FFF2-40B4-BE49-F238E27FC236}">
                      <a16:creationId xmlns:a16="http://schemas.microsoft.com/office/drawing/2014/main" id="{855B8DDD-4D9E-4E58-648C-877C277CB851}"/>
                    </a:ext>
                  </a:extLst>
                </p:cNvPr>
                <p:cNvSpPr/>
                <p:nvPr/>
              </p:nvSpPr>
              <p:spPr>
                <a:xfrm>
                  <a:off x="5528840" y="1922124"/>
                  <a:ext cx="2890" cy="52065"/>
                </a:xfrm>
                <a:custGeom>
                  <a:avLst/>
                  <a:gdLst>
                    <a:gd name="connsiteX0" fmla="*/ 26 w 2890"/>
                    <a:gd name="connsiteY0" fmla="*/ 52065 h 52065"/>
                    <a:gd name="connsiteX1" fmla="*/ 2766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890" y="44093"/>
                        <a:pt x="3015" y="37741"/>
                        <a:pt x="2766" y="33506"/>
                      </a:cubicBezTo>
                      <a:cubicBezTo>
                        <a:pt x="2268" y="26531"/>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7" name="Freeform 7974">
                  <a:extLst>
                    <a:ext uri="{FF2B5EF4-FFF2-40B4-BE49-F238E27FC236}">
                      <a16:creationId xmlns:a16="http://schemas.microsoft.com/office/drawing/2014/main" id="{65C83A7A-6981-1923-4ADE-A368960057B4}"/>
                    </a:ext>
                  </a:extLst>
                </p:cNvPr>
                <p:cNvSpPr/>
                <p:nvPr/>
              </p:nvSpPr>
              <p:spPr>
                <a:xfrm>
                  <a:off x="5519905" y="1926857"/>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3" y="18808"/>
                      </a:cubicBezTo>
                      <a:cubicBezTo>
                        <a:pt x="3232"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8" name="Freeform 7975">
                  <a:extLst>
                    <a:ext uri="{FF2B5EF4-FFF2-40B4-BE49-F238E27FC236}">
                      <a16:creationId xmlns:a16="http://schemas.microsoft.com/office/drawing/2014/main" id="{CC0693F5-7588-73BB-0923-E5C177D6844E}"/>
                    </a:ext>
                  </a:extLst>
                </p:cNvPr>
                <p:cNvSpPr/>
                <p:nvPr/>
              </p:nvSpPr>
              <p:spPr>
                <a:xfrm>
                  <a:off x="5511659" y="1967828"/>
                  <a:ext cx="26680" cy="26546"/>
                </a:xfrm>
                <a:custGeom>
                  <a:avLst/>
                  <a:gdLst>
                    <a:gd name="connsiteX0" fmla="*/ 17 w 26680"/>
                    <a:gd name="connsiteY0" fmla="*/ 12837 h 26546"/>
                    <a:gd name="connsiteX1" fmla="*/ 13843 w 26680"/>
                    <a:gd name="connsiteY1" fmla="*/ 8 h 26546"/>
                    <a:gd name="connsiteX2" fmla="*/ 26673 w 26680"/>
                    <a:gd name="connsiteY2" fmla="*/ 13709 h 26546"/>
                    <a:gd name="connsiteX3" fmla="*/ 12847 w 26680"/>
                    <a:gd name="connsiteY3" fmla="*/ 26539 h 26546"/>
                    <a:gd name="connsiteX4" fmla="*/ 17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17" y="12837"/>
                      </a:moveTo>
                      <a:cubicBezTo>
                        <a:pt x="266" y="5488"/>
                        <a:pt x="6494" y="-241"/>
                        <a:pt x="13843" y="8"/>
                      </a:cubicBezTo>
                      <a:cubicBezTo>
                        <a:pt x="21192" y="257"/>
                        <a:pt x="26922" y="6360"/>
                        <a:pt x="26673" y="13709"/>
                      </a:cubicBezTo>
                      <a:cubicBezTo>
                        <a:pt x="26423" y="21058"/>
                        <a:pt x="20196" y="26788"/>
                        <a:pt x="12847" y="26539"/>
                      </a:cubicBezTo>
                      <a:cubicBezTo>
                        <a:pt x="5373"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9" name="Freeform 7976">
                  <a:extLst>
                    <a:ext uri="{FF2B5EF4-FFF2-40B4-BE49-F238E27FC236}">
                      <a16:creationId xmlns:a16="http://schemas.microsoft.com/office/drawing/2014/main" id="{F21E1230-5B79-BEAA-57F4-151DD32F961C}"/>
                    </a:ext>
                  </a:extLst>
                </p:cNvPr>
                <p:cNvSpPr/>
                <p:nvPr/>
              </p:nvSpPr>
              <p:spPr>
                <a:xfrm>
                  <a:off x="5523136" y="1865823"/>
                  <a:ext cx="2890" cy="52065"/>
                </a:xfrm>
                <a:custGeom>
                  <a:avLst/>
                  <a:gdLst>
                    <a:gd name="connsiteX0" fmla="*/ 2865 w 2890"/>
                    <a:gd name="connsiteY0" fmla="*/ 0 h 52065"/>
                    <a:gd name="connsiteX1" fmla="*/ 124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124" y="7972"/>
                        <a:pt x="-125" y="14324"/>
                        <a:pt x="124" y="18559"/>
                      </a:cubicBezTo>
                      <a:cubicBezTo>
                        <a:pt x="623" y="25534"/>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0" name="Freeform 7977">
                  <a:extLst>
                    <a:ext uri="{FF2B5EF4-FFF2-40B4-BE49-F238E27FC236}">
                      <a16:creationId xmlns:a16="http://schemas.microsoft.com/office/drawing/2014/main" id="{A07FBB58-E12B-2A14-82A3-3DB131CBCB13}"/>
                    </a:ext>
                  </a:extLst>
                </p:cNvPr>
                <p:cNvSpPr/>
                <p:nvPr/>
              </p:nvSpPr>
              <p:spPr>
                <a:xfrm>
                  <a:off x="5530169" y="1860966"/>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1" y="44093"/>
                        <a:pt x="-182" y="37741"/>
                        <a:pt x="440" y="33381"/>
                      </a:cubicBezTo>
                      <a:cubicBezTo>
                        <a:pt x="1561" y="26406"/>
                        <a:pt x="3804"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1" name="Freeform 7978">
                  <a:extLst>
                    <a:ext uri="{FF2B5EF4-FFF2-40B4-BE49-F238E27FC236}">
                      <a16:creationId xmlns:a16="http://schemas.microsoft.com/office/drawing/2014/main" id="{B7676209-B421-FBEC-029C-22094EAD0F20}"/>
                    </a:ext>
                  </a:extLst>
                </p:cNvPr>
                <p:cNvSpPr/>
                <p:nvPr/>
              </p:nvSpPr>
              <p:spPr>
                <a:xfrm>
                  <a:off x="5516776" y="1845637"/>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19937" y="26788"/>
                        <a:pt x="12713" y="26539"/>
                      </a:cubicBezTo>
                      <a:cubicBezTo>
                        <a:pt x="5364" y="26290"/>
                        <a:pt x="-241" y="20186"/>
                        <a:pt x="8" y="12837"/>
                      </a:cubicBezTo>
                      <a:cubicBezTo>
                        <a:pt x="257" y="5488"/>
                        <a:pt x="6485"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7" name="Graphic 2987">
                <a:extLst>
                  <a:ext uri="{FF2B5EF4-FFF2-40B4-BE49-F238E27FC236}">
                    <a16:creationId xmlns:a16="http://schemas.microsoft.com/office/drawing/2014/main" id="{0DADCEAC-E305-25CA-8462-3C96FDD79F3C}"/>
                  </a:ext>
                </a:extLst>
              </p:cNvPr>
              <p:cNvGrpSpPr/>
              <p:nvPr/>
            </p:nvGrpSpPr>
            <p:grpSpPr>
              <a:xfrm>
                <a:off x="5481890" y="1844641"/>
                <a:ext cx="31787" cy="148737"/>
                <a:chOff x="5481890" y="1844641"/>
                <a:chExt cx="31787" cy="148737"/>
              </a:xfrm>
              <a:grpFill/>
            </p:grpSpPr>
            <p:sp>
              <p:nvSpPr>
                <p:cNvPr id="6210" name="Freeform 7980">
                  <a:extLst>
                    <a:ext uri="{FF2B5EF4-FFF2-40B4-BE49-F238E27FC236}">
                      <a16:creationId xmlns:a16="http://schemas.microsoft.com/office/drawing/2014/main" id="{9C846068-36DC-8C6A-82EB-D5FA1F23E8C2}"/>
                    </a:ext>
                  </a:extLst>
                </p:cNvPr>
                <p:cNvSpPr/>
                <p:nvPr/>
              </p:nvSpPr>
              <p:spPr>
                <a:xfrm>
                  <a:off x="5499072" y="1921127"/>
                  <a:ext cx="2899" cy="52065"/>
                </a:xfrm>
                <a:custGeom>
                  <a:avLst/>
                  <a:gdLst>
                    <a:gd name="connsiteX0" fmla="*/ 24 w 2899"/>
                    <a:gd name="connsiteY0" fmla="*/ 52065 h 52065"/>
                    <a:gd name="connsiteX1" fmla="*/ 2764 w 2899"/>
                    <a:gd name="connsiteY1" fmla="*/ 33506 h 52065"/>
                    <a:gd name="connsiteX2" fmla="*/ 24 w 2899"/>
                    <a:gd name="connsiteY2" fmla="*/ 16317 h 52065"/>
                    <a:gd name="connsiteX3" fmla="*/ 2889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4" y="52065"/>
                      </a:moveTo>
                      <a:cubicBezTo>
                        <a:pt x="2889" y="44093"/>
                        <a:pt x="3138" y="37741"/>
                        <a:pt x="2764" y="33506"/>
                      </a:cubicBezTo>
                      <a:cubicBezTo>
                        <a:pt x="2266" y="26531"/>
                        <a:pt x="273" y="23417"/>
                        <a:pt x="24" y="16317"/>
                      </a:cubicBezTo>
                      <a:cubicBezTo>
                        <a:pt x="-225" y="9466"/>
                        <a:pt x="1519" y="3737"/>
                        <a:pt x="28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1" name="Freeform 7981">
                  <a:extLst>
                    <a:ext uri="{FF2B5EF4-FFF2-40B4-BE49-F238E27FC236}">
                      <a16:creationId xmlns:a16="http://schemas.microsoft.com/office/drawing/2014/main" id="{6636A6C7-BFA3-EA7E-8681-BC8827BDBA80}"/>
                    </a:ext>
                  </a:extLst>
                </p:cNvPr>
                <p:cNvSpPr/>
                <p:nvPr/>
              </p:nvSpPr>
              <p:spPr>
                <a:xfrm>
                  <a:off x="5490135" y="1925860"/>
                  <a:ext cx="4891" cy="52189"/>
                </a:xfrm>
                <a:custGeom>
                  <a:avLst/>
                  <a:gdLst>
                    <a:gd name="connsiteX0" fmla="*/ 3231 w 4891"/>
                    <a:gd name="connsiteY0" fmla="*/ 0 h 52189"/>
                    <a:gd name="connsiteX1" fmla="*/ 4352 w 4891"/>
                    <a:gd name="connsiteY1" fmla="*/ 18808 h 52189"/>
                    <a:gd name="connsiteX2" fmla="*/ 242 w 4891"/>
                    <a:gd name="connsiteY2" fmla="*/ 35748 h 52189"/>
                    <a:gd name="connsiteX3" fmla="*/ 1737 w 489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0"/>
                      </a:moveTo>
                      <a:cubicBezTo>
                        <a:pt x="5349" y="8096"/>
                        <a:pt x="5100" y="14449"/>
                        <a:pt x="4352" y="18808"/>
                      </a:cubicBezTo>
                      <a:cubicBezTo>
                        <a:pt x="3231"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2" name="Freeform 7982">
                  <a:extLst>
                    <a:ext uri="{FF2B5EF4-FFF2-40B4-BE49-F238E27FC236}">
                      <a16:creationId xmlns:a16="http://schemas.microsoft.com/office/drawing/2014/main" id="{A988AECB-BBE6-0EC4-9CFF-B472A7500BEC}"/>
                    </a:ext>
                  </a:extLst>
                </p:cNvPr>
                <p:cNvSpPr/>
                <p:nvPr/>
              </p:nvSpPr>
              <p:spPr>
                <a:xfrm>
                  <a:off x="5481890" y="1966832"/>
                  <a:ext cx="26690" cy="26546"/>
                </a:xfrm>
                <a:custGeom>
                  <a:avLst/>
                  <a:gdLst>
                    <a:gd name="connsiteX0" fmla="*/ 17 w 26690"/>
                    <a:gd name="connsiteY0" fmla="*/ 12837 h 26546"/>
                    <a:gd name="connsiteX1" fmla="*/ 13968 w 26690"/>
                    <a:gd name="connsiteY1" fmla="*/ 8 h 26546"/>
                    <a:gd name="connsiteX2" fmla="*/ 26673 w 26690"/>
                    <a:gd name="connsiteY2" fmla="*/ 13709 h 26546"/>
                    <a:gd name="connsiteX3" fmla="*/ 12722 w 26690"/>
                    <a:gd name="connsiteY3" fmla="*/ 26539 h 26546"/>
                    <a:gd name="connsiteX4" fmla="*/ 17 w 2669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45">
                      <a:moveTo>
                        <a:pt x="17" y="12837"/>
                      </a:moveTo>
                      <a:cubicBezTo>
                        <a:pt x="391" y="5488"/>
                        <a:pt x="6619" y="-241"/>
                        <a:pt x="13968" y="8"/>
                      </a:cubicBezTo>
                      <a:cubicBezTo>
                        <a:pt x="21317" y="257"/>
                        <a:pt x="27046" y="6360"/>
                        <a:pt x="26673" y="13709"/>
                      </a:cubicBezTo>
                      <a:cubicBezTo>
                        <a:pt x="26424" y="21058"/>
                        <a:pt x="20196" y="26788"/>
                        <a:pt x="12722" y="26539"/>
                      </a:cubicBezTo>
                      <a:cubicBezTo>
                        <a:pt x="5374"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3" name="Freeform 7983">
                  <a:extLst>
                    <a:ext uri="{FF2B5EF4-FFF2-40B4-BE49-F238E27FC236}">
                      <a16:creationId xmlns:a16="http://schemas.microsoft.com/office/drawing/2014/main" id="{A4A930D7-719E-5C11-37F4-DA2752F599E8}"/>
                    </a:ext>
                  </a:extLst>
                </p:cNvPr>
                <p:cNvSpPr/>
                <p:nvPr/>
              </p:nvSpPr>
              <p:spPr>
                <a:xfrm>
                  <a:off x="5493491" y="1864827"/>
                  <a:ext cx="2989" cy="52065"/>
                </a:xfrm>
                <a:custGeom>
                  <a:avLst/>
                  <a:gdLst>
                    <a:gd name="connsiteX0" fmla="*/ 2989 w 2989"/>
                    <a:gd name="connsiteY0" fmla="*/ 0 h 52065"/>
                    <a:gd name="connsiteX1" fmla="*/ 249 w 2989"/>
                    <a:gd name="connsiteY1" fmla="*/ 18559 h 52065"/>
                    <a:gd name="connsiteX2" fmla="*/ 2865 w 2989"/>
                    <a:gd name="connsiteY2" fmla="*/ 35748 h 52065"/>
                    <a:gd name="connsiteX3" fmla="*/ 0 w 298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0"/>
                      </a:moveTo>
                      <a:cubicBezTo>
                        <a:pt x="124" y="7972"/>
                        <a:pt x="-125" y="14324"/>
                        <a:pt x="249" y="18559"/>
                      </a:cubicBezTo>
                      <a:cubicBezTo>
                        <a:pt x="747" y="25534"/>
                        <a:pt x="2740" y="28648"/>
                        <a:pt x="2865" y="35748"/>
                      </a:cubicBezTo>
                      <a:cubicBezTo>
                        <a:pt x="3114"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4" name="Freeform 7984">
                  <a:extLst>
                    <a:ext uri="{FF2B5EF4-FFF2-40B4-BE49-F238E27FC236}">
                      <a16:creationId xmlns:a16="http://schemas.microsoft.com/office/drawing/2014/main" id="{B4EE6840-078D-FB0C-B96E-0E15D219B561}"/>
                    </a:ext>
                  </a:extLst>
                </p:cNvPr>
                <p:cNvSpPr/>
                <p:nvPr/>
              </p:nvSpPr>
              <p:spPr>
                <a:xfrm>
                  <a:off x="5500550" y="1859969"/>
                  <a:ext cx="4892" cy="52189"/>
                </a:xfrm>
                <a:custGeom>
                  <a:avLst/>
                  <a:gdLst>
                    <a:gd name="connsiteX0" fmla="*/ 1660 w 4892"/>
                    <a:gd name="connsiteY0" fmla="*/ 52190 h 52189"/>
                    <a:gd name="connsiteX1" fmla="*/ 540 w 4892"/>
                    <a:gd name="connsiteY1" fmla="*/ 33381 h 52189"/>
                    <a:gd name="connsiteX2" fmla="*/ 4650 w 4892"/>
                    <a:gd name="connsiteY2" fmla="*/ 16442 h 52189"/>
                    <a:gd name="connsiteX3" fmla="*/ 3155 w 4892"/>
                    <a:gd name="connsiteY3" fmla="*/ 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52190"/>
                      </a:moveTo>
                      <a:cubicBezTo>
                        <a:pt x="-457" y="44093"/>
                        <a:pt x="-208" y="37741"/>
                        <a:pt x="540" y="33381"/>
                      </a:cubicBezTo>
                      <a:cubicBezTo>
                        <a:pt x="1660" y="26406"/>
                        <a:pt x="3903" y="23541"/>
                        <a:pt x="4650" y="16442"/>
                      </a:cubicBezTo>
                      <a:cubicBezTo>
                        <a:pt x="5397" y="9591"/>
                        <a:pt x="4276" y="3861"/>
                        <a:pt x="31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5" name="Freeform 7985">
                  <a:extLst>
                    <a:ext uri="{FF2B5EF4-FFF2-40B4-BE49-F238E27FC236}">
                      <a16:creationId xmlns:a16="http://schemas.microsoft.com/office/drawing/2014/main" id="{FF605DC9-1EFC-55F3-4CA1-5D8D192DC4BB}"/>
                    </a:ext>
                  </a:extLst>
                </p:cNvPr>
                <p:cNvSpPr/>
                <p:nvPr/>
              </p:nvSpPr>
              <p:spPr>
                <a:xfrm>
                  <a:off x="5487246" y="1844641"/>
                  <a:ext cx="26431" cy="26546"/>
                </a:xfrm>
                <a:custGeom>
                  <a:avLst/>
                  <a:gdLst>
                    <a:gd name="connsiteX0" fmla="*/ 26424 w 26431"/>
                    <a:gd name="connsiteY0" fmla="*/ 13709 h 26546"/>
                    <a:gd name="connsiteX1" fmla="*/ 12598 w 26431"/>
                    <a:gd name="connsiteY1" fmla="*/ 26539 h 26546"/>
                    <a:gd name="connsiteX2" fmla="*/ 18 w 26431"/>
                    <a:gd name="connsiteY2" fmla="*/ 12837 h 26546"/>
                    <a:gd name="connsiteX3" fmla="*/ 13843 w 26431"/>
                    <a:gd name="connsiteY3" fmla="*/ 8 h 26546"/>
                    <a:gd name="connsiteX4" fmla="*/ 26424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24" y="13709"/>
                      </a:moveTo>
                      <a:cubicBezTo>
                        <a:pt x="26175" y="21058"/>
                        <a:pt x="19947" y="26788"/>
                        <a:pt x="12598" y="26539"/>
                      </a:cubicBezTo>
                      <a:cubicBezTo>
                        <a:pt x="5249" y="26290"/>
                        <a:pt x="-356" y="20186"/>
                        <a:pt x="18" y="12837"/>
                      </a:cubicBezTo>
                      <a:cubicBezTo>
                        <a:pt x="391" y="5488"/>
                        <a:pt x="6495" y="-241"/>
                        <a:pt x="13843" y="8"/>
                      </a:cubicBezTo>
                      <a:cubicBezTo>
                        <a:pt x="21068" y="257"/>
                        <a:pt x="26673"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8" name="Graphic 2987">
                <a:extLst>
                  <a:ext uri="{FF2B5EF4-FFF2-40B4-BE49-F238E27FC236}">
                    <a16:creationId xmlns:a16="http://schemas.microsoft.com/office/drawing/2014/main" id="{57F0F153-5CD1-6628-1966-F3141F753DD9}"/>
                  </a:ext>
                </a:extLst>
              </p:cNvPr>
              <p:cNvGrpSpPr/>
              <p:nvPr/>
            </p:nvGrpSpPr>
            <p:grpSpPr>
              <a:xfrm>
                <a:off x="5452005" y="1843520"/>
                <a:ext cx="32161" cy="148737"/>
                <a:chOff x="5452005" y="1843520"/>
                <a:chExt cx="32161" cy="148737"/>
              </a:xfrm>
              <a:grpFill/>
            </p:grpSpPr>
            <p:sp>
              <p:nvSpPr>
                <p:cNvPr id="6204" name="Freeform 7987">
                  <a:extLst>
                    <a:ext uri="{FF2B5EF4-FFF2-40B4-BE49-F238E27FC236}">
                      <a16:creationId xmlns:a16="http://schemas.microsoft.com/office/drawing/2014/main" id="{D90671AC-256D-A411-CAC4-5E493A8A760D}"/>
                    </a:ext>
                  </a:extLst>
                </p:cNvPr>
                <p:cNvSpPr/>
                <p:nvPr/>
              </p:nvSpPr>
              <p:spPr>
                <a:xfrm>
                  <a:off x="5469327" y="1920006"/>
                  <a:ext cx="3113" cy="52065"/>
                </a:xfrm>
                <a:custGeom>
                  <a:avLst/>
                  <a:gdLst>
                    <a:gd name="connsiteX0" fmla="*/ 0 w 3113"/>
                    <a:gd name="connsiteY0" fmla="*/ 52065 h 52065"/>
                    <a:gd name="connsiteX1" fmla="*/ 2865 w 3113"/>
                    <a:gd name="connsiteY1" fmla="*/ 33506 h 52065"/>
                    <a:gd name="connsiteX2" fmla="*/ 249 w 3113"/>
                    <a:gd name="connsiteY2" fmla="*/ 16317 h 52065"/>
                    <a:gd name="connsiteX3" fmla="*/ 3114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0" y="52065"/>
                      </a:moveTo>
                      <a:cubicBezTo>
                        <a:pt x="2865" y="44093"/>
                        <a:pt x="3114" y="37741"/>
                        <a:pt x="2865" y="33506"/>
                      </a:cubicBezTo>
                      <a:cubicBezTo>
                        <a:pt x="2367" y="26531"/>
                        <a:pt x="374" y="23417"/>
                        <a:pt x="249" y="16317"/>
                      </a:cubicBezTo>
                      <a:cubicBezTo>
                        <a:pt x="124" y="9466"/>
                        <a:pt x="1744" y="3737"/>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5" name="Freeform 7988">
                  <a:extLst>
                    <a:ext uri="{FF2B5EF4-FFF2-40B4-BE49-F238E27FC236}">
                      <a16:creationId xmlns:a16="http://schemas.microsoft.com/office/drawing/2014/main" id="{C802ED49-1832-A72A-CFDC-44C3AC00864C}"/>
                    </a:ext>
                  </a:extLst>
                </p:cNvPr>
                <p:cNvSpPr/>
                <p:nvPr/>
              </p:nvSpPr>
              <p:spPr>
                <a:xfrm>
                  <a:off x="5460313" y="1924739"/>
                  <a:ext cx="5069" cy="52189"/>
                </a:xfrm>
                <a:custGeom>
                  <a:avLst/>
                  <a:gdLst>
                    <a:gd name="connsiteX0" fmla="*/ 3409 w 5069"/>
                    <a:gd name="connsiteY0" fmla="*/ 0 h 52189"/>
                    <a:gd name="connsiteX1" fmla="*/ 4530 w 5069"/>
                    <a:gd name="connsiteY1" fmla="*/ 18808 h 52189"/>
                    <a:gd name="connsiteX2" fmla="*/ 295 w 5069"/>
                    <a:gd name="connsiteY2" fmla="*/ 35748 h 52189"/>
                    <a:gd name="connsiteX3" fmla="*/ 1665 w 50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69" h="52189">
                      <a:moveTo>
                        <a:pt x="3409" y="0"/>
                      </a:moveTo>
                      <a:cubicBezTo>
                        <a:pt x="5526" y="8096"/>
                        <a:pt x="5277" y="14449"/>
                        <a:pt x="4530" y="18808"/>
                      </a:cubicBezTo>
                      <a:cubicBezTo>
                        <a:pt x="3409" y="25783"/>
                        <a:pt x="1167" y="28648"/>
                        <a:pt x="295" y="35748"/>
                      </a:cubicBezTo>
                      <a:cubicBezTo>
                        <a:pt x="-577" y="42599"/>
                        <a:pt x="668" y="48328"/>
                        <a:pt x="166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6" name="Freeform 7989">
                  <a:extLst>
                    <a:ext uri="{FF2B5EF4-FFF2-40B4-BE49-F238E27FC236}">
                      <a16:creationId xmlns:a16="http://schemas.microsoft.com/office/drawing/2014/main" id="{5BE48336-9213-EC08-AD53-28A90641CEAC}"/>
                    </a:ext>
                  </a:extLst>
                </p:cNvPr>
                <p:cNvSpPr/>
                <p:nvPr/>
              </p:nvSpPr>
              <p:spPr>
                <a:xfrm>
                  <a:off x="5452005" y="1965711"/>
                  <a:ext cx="26680" cy="26546"/>
                </a:xfrm>
                <a:custGeom>
                  <a:avLst/>
                  <a:gdLst>
                    <a:gd name="connsiteX0" fmla="*/ 8 w 26680"/>
                    <a:gd name="connsiteY0" fmla="*/ 12837 h 26546"/>
                    <a:gd name="connsiteX1" fmla="*/ 13958 w 26680"/>
                    <a:gd name="connsiteY1" fmla="*/ 8 h 26546"/>
                    <a:gd name="connsiteX2" fmla="*/ 26664 w 26680"/>
                    <a:gd name="connsiteY2" fmla="*/ 13709 h 26546"/>
                    <a:gd name="connsiteX3" fmla="*/ 12713 w 26680"/>
                    <a:gd name="connsiteY3" fmla="*/ 26539 h 26546"/>
                    <a:gd name="connsiteX4" fmla="*/ 8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8" y="12837"/>
                      </a:moveTo>
                      <a:cubicBezTo>
                        <a:pt x="382" y="5488"/>
                        <a:pt x="6610" y="-241"/>
                        <a:pt x="13958" y="8"/>
                      </a:cubicBezTo>
                      <a:cubicBezTo>
                        <a:pt x="21308" y="257"/>
                        <a:pt x="27037" y="6360"/>
                        <a:pt x="26664" y="13709"/>
                      </a:cubicBezTo>
                      <a:cubicBezTo>
                        <a:pt x="26290" y="21058"/>
                        <a:pt x="20062" y="26788"/>
                        <a:pt x="12713"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7" name="Freeform 7990">
                  <a:extLst>
                    <a:ext uri="{FF2B5EF4-FFF2-40B4-BE49-F238E27FC236}">
                      <a16:creationId xmlns:a16="http://schemas.microsoft.com/office/drawing/2014/main" id="{536AC4DF-91D7-5929-3D12-3F814A7522CA}"/>
                    </a:ext>
                  </a:extLst>
                </p:cNvPr>
                <p:cNvSpPr/>
                <p:nvPr/>
              </p:nvSpPr>
              <p:spPr>
                <a:xfrm>
                  <a:off x="5463971" y="1863706"/>
                  <a:ext cx="3113" cy="52065"/>
                </a:xfrm>
                <a:custGeom>
                  <a:avLst/>
                  <a:gdLst>
                    <a:gd name="connsiteX0" fmla="*/ 3114 w 3113"/>
                    <a:gd name="connsiteY0" fmla="*/ 0 h 52065"/>
                    <a:gd name="connsiteX1" fmla="*/ 249 w 3113"/>
                    <a:gd name="connsiteY1" fmla="*/ 18559 h 52065"/>
                    <a:gd name="connsiteX2" fmla="*/ 2865 w 3113"/>
                    <a:gd name="connsiteY2" fmla="*/ 35748 h 52065"/>
                    <a:gd name="connsiteX3" fmla="*/ 0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0"/>
                      </a:moveTo>
                      <a:cubicBezTo>
                        <a:pt x="249" y="7972"/>
                        <a:pt x="0" y="14324"/>
                        <a:pt x="249" y="18559"/>
                      </a:cubicBezTo>
                      <a:cubicBezTo>
                        <a:pt x="747" y="25534"/>
                        <a:pt x="2740" y="28648"/>
                        <a:pt x="2865" y="35748"/>
                      </a:cubicBezTo>
                      <a:cubicBezTo>
                        <a:pt x="2989"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8" name="Freeform 7991">
                  <a:extLst>
                    <a:ext uri="{FF2B5EF4-FFF2-40B4-BE49-F238E27FC236}">
                      <a16:creationId xmlns:a16="http://schemas.microsoft.com/office/drawing/2014/main" id="{05D2D71E-5B82-36E5-547C-A8FC12995907}"/>
                    </a:ext>
                  </a:extLst>
                </p:cNvPr>
                <p:cNvSpPr/>
                <p:nvPr/>
              </p:nvSpPr>
              <p:spPr>
                <a:xfrm>
                  <a:off x="5470905" y="1858848"/>
                  <a:ext cx="5018" cy="52189"/>
                </a:xfrm>
                <a:custGeom>
                  <a:avLst/>
                  <a:gdLst>
                    <a:gd name="connsiteX0" fmla="*/ 1660 w 5018"/>
                    <a:gd name="connsiteY0" fmla="*/ 52190 h 52189"/>
                    <a:gd name="connsiteX1" fmla="*/ 540 w 5018"/>
                    <a:gd name="connsiteY1" fmla="*/ 33381 h 52189"/>
                    <a:gd name="connsiteX2" fmla="*/ 4774 w 5018"/>
                    <a:gd name="connsiteY2" fmla="*/ 16442 h 52189"/>
                    <a:gd name="connsiteX3" fmla="*/ 3404 w 5018"/>
                    <a:gd name="connsiteY3" fmla="*/ 0 h 52189"/>
                  </a:gdLst>
                  <a:ahLst/>
                  <a:cxnLst>
                    <a:cxn ang="0">
                      <a:pos x="connsiteX0" y="connsiteY0"/>
                    </a:cxn>
                    <a:cxn ang="0">
                      <a:pos x="connsiteX1" y="connsiteY1"/>
                    </a:cxn>
                    <a:cxn ang="0">
                      <a:pos x="connsiteX2" y="connsiteY2"/>
                    </a:cxn>
                    <a:cxn ang="0">
                      <a:pos x="connsiteX3" y="connsiteY3"/>
                    </a:cxn>
                  </a:cxnLst>
                  <a:rect l="l" t="t" r="r" b="b"/>
                  <a:pathLst>
                    <a:path w="5018" h="52189">
                      <a:moveTo>
                        <a:pt x="1660" y="52190"/>
                      </a:moveTo>
                      <a:cubicBezTo>
                        <a:pt x="-457" y="44093"/>
                        <a:pt x="-208" y="37741"/>
                        <a:pt x="540" y="33381"/>
                      </a:cubicBezTo>
                      <a:cubicBezTo>
                        <a:pt x="1660" y="26406"/>
                        <a:pt x="3903" y="23541"/>
                        <a:pt x="4774" y="16442"/>
                      </a:cubicBezTo>
                      <a:cubicBezTo>
                        <a:pt x="5522" y="9591"/>
                        <a:pt x="4401" y="3861"/>
                        <a:pt x="340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9" name="Freeform 7992">
                  <a:extLst>
                    <a:ext uri="{FF2B5EF4-FFF2-40B4-BE49-F238E27FC236}">
                      <a16:creationId xmlns:a16="http://schemas.microsoft.com/office/drawing/2014/main" id="{003FFE67-ED54-BC1A-2C2D-1F5FAF190260}"/>
                    </a:ext>
                  </a:extLst>
                </p:cNvPr>
                <p:cNvSpPr/>
                <p:nvPr/>
              </p:nvSpPr>
              <p:spPr>
                <a:xfrm>
                  <a:off x="5457726" y="1843520"/>
                  <a:ext cx="26441" cy="26546"/>
                </a:xfrm>
                <a:custGeom>
                  <a:avLst/>
                  <a:gdLst>
                    <a:gd name="connsiteX0" fmla="*/ 26424 w 26441"/>
                    <a:gd name="connsiteY0" fmla="*/ 13709 h 26546"/>
                    <a:gd name="connsiteX1" fmla="*/ 12598 w 26441"/>
                    <a:gd name="connsiteY1" fmla="*/ 26539 h 26546"/>
                    <a:gd name="connsiteX2" fmla="*/ 18 w 26441"/>
                    <a:gd name="connsiteY2" fmla="*/ 12837 h 26546"/>
                    <a:gd name="connsiteX3" fmla="*/ 13843 w 26441"/>
                    <a:gd name="connsiteY3" fmla="*/ 8 h 26546"/>
                    <a:gd name="connsiteX4" fmla="*/ 26424 w 2644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4" y="13709"/>
                      </a:moveTo>
                      <a:cubicBezTo>
                        <a:pt x="26050" y="21058"/>
                        <a:pt x="19947" y="26788"/>
                        <a:pt x="12598" y="26539"/>
                      </a:cubicBezTo>
                      <a:cubicBezTo>
                        <a:pt x="5249" y="26290"/>
                        <a:pt x="-356" y="20186"/>
                        <a:pt x="18" y="12837"/>
                      </a:cubicBezTo>
                      <a:cubicBezTo>
                        <a:pt x="391" y="5488"/>
                        <a:pt x="6495" y="-241"/>
                        <a:pt x="13843" y="8"/>
                      </a:cubicBezTo>
                      <a:cubicBezTo>
                        <a:pt x="21068" y="257"/>
                        <a:pt x="26797"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9" name="Graphic 2987">
                <a:extLst>
                  <a:ext uri="{FF2B5EF4-FFF2-40B4-BE49-F238E27FC236}">
                    <a16:creationId xmlns:a16="http://schemas.microsoft.com/office/drawing/2014/main" id="{EEF69BD2-7F9D-597F-78DE-BA32F3878C9F}"/>
                  </a:ext>
                </a:extLst>
              </p:cNvPr>
              <p:cNvGrpSpPr/>
              <p:nvPr/>
            </p:nvGrpSpPr>
            <p:grpSpPr>
              <a:xfrm>
                <a:off x="5422227" y="1842264"/>
                <a:ext cx="32420" cy="148894"/>
                <a:chOff x="5422227" y="1842264"/>
                <a:chExt cx="32420" cy="148894"/>
              </a:xfrm>
              <a:grpFill/>
            </p:grpSpPr>
            <p:sp>
              <p:nvSpPr>
                <p:cNvPr id="6198" name="Freeform 7994">
                  <a:extLst>
                    <a:ext uri="{FF2B5EF4-FFF2-40B4-BE49-F238E27FC236}">
                      <a16:creationId xmlns:a16="http://schemas.microsoft.com/office/drawing/2014/main" id="{F9B75152-DE0C-AF46-6891-8D7D444261E8}"/>
                    </a:ext>
                  </a:extLst>
                </p:cNvPr>
                <p:cNvSpPr/>
                <p:nvPr/>
              </p:nvSpPr>
              <p:spPr>
                <a:xfrm>
                  <a:off x="5439558" y="1918885"/>
                  <a:ext cx="3238" cy="52065"/>
                </a:xfrm>
                <a:custGeom>
                  <a:avLst/>
                  <a:gdLst>
                    <a:gd name="connsiteX0" fmla="*/ 0 w 3238"/>
                    <a:gd name="connsiteY0" fmla="*/ 52065 h 52065"/>
                    <a:gd name="connsiteX1" fmla="*/ 2865 w 3238"/>
                    <a:gd name="connsiteY1" fmla="*/ 33506 h 52065"/>
                    <a:gd name="connsiteX2" fmla="*/ 249 w 3238"/>
                    <a:gd name="connsiteY2" fmla="*/ 16193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114" y="37866"/>
                        <a:pt x="2865" y="33506"/>
                      </a:cubicBezTo>
                      <a:cubicBezTo>
                        <a:pt x="2367" y="26531"/>
                        <a:pt x="374" y="23292"/>
                        <a:pt x="249" y="16193"/>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9" name="Freeform 7995">
                  <a:extLst>
                    <a:ext uri="{FF2B5EF4-FFF2-40B4-BE49-F238E27FC236}">
                      <a16:creationId xmlns:a16="http://schemas.microsoft.com/office/drawing/2014/main" id="{086E63B7-68F7-F6A0-024E-D4E59E3D5C17}"/>
                    </a:ext>
                  </a:extLst>
                </p:cNvPr>
                <p:cNvSpPr/>
                <p:nvPr/>
              </p:nvSpPr>
              <p:spPr>
                <a:xfrm>
                  <a:off x="5430652" y="1923369"/>
                  <a:ext cx="5033" cy="52065"/>
                </a:xfrm>
                <a:custGeom>
                  <a:avLst/>
                  <a:gdLst>
                    <a:gd name="connsiteX0" fmla="*/ 3425 w 5033"/>
                    <a:gd name="connsiteY0" fmla="*/ 0 h 52065"/>
                    <a:gd name="connsiteX1" fmla="*/ 4546 w 5033"/>
                    <a:gd name="connsiteY1" fmla="*/ 18808 h 52065"/>
                    <a:gd name="connsiteX2" fmla="*/ 311 w 5033"/>
                    <a:gd name="connsiteY2" fmla="*/ 35624 h 52065"/>
                    <a:gd name="connsiteX3" fmla="*/ 168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0"/>
                      </a:moveTo>
                      <a:cubicBezTo>
                        <a:pt x="5543" y="8221"/>
                        <a:pt x="5169" y="14449"/>
                        <a:pt x="4546" y="18808"/>
                      </a:cubicBezTo>
                      <a:cubicBezTo>
                        <a:pt x="3425" y="25659"/>
                        <a:pt x="1183" y="28648"/>
                        <a:pt x="311" y="35624"/>
                      </a:cubicBezTo>
                      <a:cubicBezTo>
                        <a:pt x="-560" y="42474"/>
                        <a:pt x="561" y="48328"/>
                        <a:pt x="168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0" name="Freeform 7996">
                  <a:extLst>
                    <a:ext uri="{FF2B5EF4-FFF2-40B4-BE49-F238E27FC236}">
                      <a16:creationId xmlns:a16="http://schemas.microsoft.com/office/drawing/2014/main" id="{8AC41006-CF2C-68C7-9D78-B8DCBBE82C0A}"/>
                    </a:ext>
                  </a:extLst>
                </p:cNvPr>
                <p:cNvSpPr/>
                <p:nvPr/>
              </p:nvSpPr>
              <p:spPr>
                <a:xfrm>
                  <a:off x="5422227" y="1964580"/>
                  <a:ext cx="26689" cy="26579"/>
                </a:xfrm>
                <a:custGeom>
                  <a:avLst/>
                  <a:gdLst>
                    <a:gd name="connsiteX0" fmla="*/ 17 w 26689"/>
                    <a:gd name="connsiteY0" fmla="*/ 12474 h 26579"/>
                    <a:gd name="connsiteX1" fmla="*/ 13968 w 26689"/>
                    <a:gd name="connsiteY1" fmla="*/ 18 h 26579"/>
                    <a:gd name="connsiteX2" fmla="*/ 26672 w 26689"/>
                    <a:gd name="connsiteY2" fmla="*/ 13968 h 26579"/>
                    <a:gd name="connsiteX3" fmla="*/ 12722 w 26689"/>
                    <a:gd name="connsiteY3" fmla="*/ 26549 h 26579"/>
                    <a:gd name="connsiteX4" fmla="*/ 17 w 26689"/>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8" h="26579">
                      <a:moveTo>
                        <a:pt x="17" y="12474"/>
                      </a:moveTo>
                      <a:cubicBezTo>
                        <a:pt x="391" y="5125"/>
                        <a:pt x="6619" y="-356"/>
                        <a:pt x="13968" y="18"/>
                      </a:cubicBezTo>
                      <a:cubicBezTo>
                        <a:pt x="21317" y="516"/>
                        <a:pt x="27046" y="6620"/>
                        <a:pt x="26672" y="13968"/>
                      </a:cubicBezTo>
                      <a:cubicBezTo>
                        <a:pt x="26299" y="21317"/>
                        <a:pt x="20071" y="27047"/>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1" name="Freeform 7997">
                  <a:extLst>
                    <a:ext uri="{FF2B5EF4-FFF2-40B4-BE49-F238E27FC236}">
                      <a16:creationId xmlns:a16="http://schemas.microsoft.com/office/drawing/2014/main" id="{ED8ABC50-913F-C0CC-EB37-D4810097BB42}"/>
                    </a:ext>
                  </a:extLst>
                </p:cNvPr>
                <p:cNvSpPr/>
                <p:nvPr/>
              </p:nvSpPr>
              <p:spPr>
                <a:xfrm>
                  <a:off x="5434326" y="1862336"/>
                  <a:ext cx="3238" cy="52065"/>
                </a:xfrm>
                <a:custGeom>
                  <a:avLst/>
                  <a:gdLst>
                    <a:gd name="connsiteX0" fmla="*/ 3238 w 3238"/>
                    <a:gd name="connsiteY0" fmla="*/ 0 h 52065"/>
                    <a:gd name="connsiteX1" fmla="*/ 374 w 3238"/>
                    <a:gd name="connsiteY1" fmla="*/ 18559 h 52065"/>
                    <a:gd name="connsiteX2" fmla="*/ 2989 w 3238"/>
                    <a:gd name="connsiteY2" fmla="*/ 35873 h 52065"/>
                    <a:gd name="connsiteX3" fmla="*/ 0 w 323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8" h="52065">
                      <a:moveTo>
                        <a:pt x="3238" y="0"/>
                      </a:moveTo>
                      <a:cubicBezTo>
                        <a:pt x="374" y="7847"/>
                        <a:pt x="124" y="14200"/>
                        <a:pt x="374" y="18559"/>
                      </a:cubicBezTo>
                      <a:cubicBezTo>
                        <a:pt x="872" y="25534"/>
                        <a:pt x="2740"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2" name="Freeform 7998">
                  <a:extLst>
                    <a:ext uri="{FF2B5EF4-FFF2-40B4-BE49-F238E27FC236}">
                      <a16:creationId xmlns:a16="http://schemas.microsoft.com/office/drawing/2014/main" id="{89C2E7DB-E317-991E-7E10-D2D7137CF1BA}"/>
                    </a:ext>
                  </a:extLst>
                </p:cNvPr>
                <p:cNvSpPr/>
                <p:nvPr/>
              </p:nvSpPr>
              <p:spPr>
                <a:xfrm>
                  <a:off x="5441313" y="1857852"/>
                  <a:ext cx="5033" cy="52065"/>
                </a:xfrm>
                <a:custGeom>
                  <a:avLst/>
                  <a:gdLst>
                    <a:gd name="connsiteX0" fmla="*/ 1608 w 5033"/>
                    <a:gd name="connsiteY0" fmla="*/ 52065 h 52065"/>
                    <a:gd name="connsiteX1" fmla="*/ 487 w 5033"/>
                    <a:gd name="connsiteY1" fmla="*/ 33257 h 52065"/>
                    <a:gd name="connsiteX2" fmla="*/ 4722 w 5033"/>
                    <a:gd name="connsiteY2" fmla="*/ 16442 h 52065"/>
                    <a:gd name="connsiteX3" fmla="*/ 3352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52065"/>
                      </a:moveTo>
                      <a:cubicBezTo>
                        <a:pt x="-510" y="43844"/>
                        <a:pt x="-136" y="37616"/>
                        <a:pt x="487" y="33257"/>
                      </a:cubicBezTo>
                      <a:cubicBezTo>
                        <a:pt x="1608" y="26406"/>
                        <a:pt x="3850" y="23417"/>
                        <a:pt x="4722" y="16442"/>
                      </a:cubicBezTo>
                      <a:cubicBezTo>
                        <a:pt x="5594" y="9591"/>
                        <a:pt x="4473"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3" name="Freeform 7999">
                  <a:extLst>
                    <a:ext uri="{FF2B5EF4-FFF2-40B4-BE49-F238E27FC236}">
                      <a16:creationId xmlns:a16="http://schemas.microsoft.com/office/drawing/2014/main" id="{320ACC78-CE01-D62F-61C2-1C3ECFB6AC27}"/>
                    </a:ext>
                  </a:extLst>
                </p:cNvPr>
                <p:cNvSpPr/>
                <p:nvPr/>
              </p:nvSpPr>
              <p:spPr>
                <a:xfrm>
                  <a:off x="5428205" y="1842264"/>
                  <a:ext cx="26441" cy="26579"/>
                </a:xfrm>
                <a:custGeom>
                  <a:avLst/>
                  <a:gdLst>
                    <a:gd name="connsiteX0" fmla="*/ 26424 w 26441"/>
                    <a:gd name="connsiteY0" fmla="*/ 13968 h 26579"/>
                    <a:gd name="connsiteX1" fmla="*/ 12598 w 26441"/>
                    <a:gd name="connsiteY1" fmla="*/ 26549 h 26579"/>
                    <a:gd name="connsiteX2" fmla="*/ 18 w 26441"/>
                    <a:gd name="connsiteY2" fmla="*/ 12474 h 26579"/>
                    <a:gd name="connsiteX3" fmla="*/ 13844 w 26441"/>
                    <a:gd name="connsiteY3" fmla="*/ 18 h 26579"/>
                    <a:gd name="connsiteX4" fmla="*/ 26424 w 26441"/>
                    <a:gd name="connsiteY4" fmla="*/ 13968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3968"/>
                      </a:moveTo>
                      <a:cubicBezTo>
                        <a:pt x="26051" y="21317"/>
                        <a:pt x="19947" y="27047"/>
                        <a:pt x="12598" y="26549"/>
                      </a:cubicBezTo>
                      <a:cubicBezTo>
                        <a:pt x="5249" y="26175"/>
                        <a:pt x="-356" y="19823"/>
                        <a:pt x="18" y="12474"/>
                      </a:cubicBezTo>
                      <a:cubicBezTo>
                        <a:pt x="391" y="5125"/>
                        <a:pt x="6619" y="-356"/>
                        <a:pt x="13844" y="18"/>
                      </a:cubicBezTo>
                      <a:cubicBezTo>
                        <a:pt x="21193" y="516"/>
                        <a:pt x="26798" y="6620"/>
                        <a:pt x="2642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0" name="Graphic 2987">
                <a:extLst>
                  <a:ext uri="{FF2B5EF4-FFF2-40B4-BE49-F238E27FC236}">
                    <a16:creationId xmlns:a16="http://schemas.microsoft.com/office/drawing/2014/main" id="{CAF0CF7C-57E5-5B4B-CA2A-FE1DD093D66A}"/>
                  </a:ext>
                </a:extLst>
              </p:cNvPr>
              <p:cNvGrpSpPr/>
              <p:nvPr/>
            </p:nvGrpSpPr>
            <p:grpSpPr>
              <a:xfrm>
                <a:off x="5392458" y="1840520"/>
                <a:ext cx="32793" cy="148882"/>
                <a:chOff x="5392458" y="1840520"/>
                <a:chExt cx="32793" cy="148882"/>
              </a:xfrm>
              <a:grpFill/>
            </p:grpSpPr>
            <p:sp>
              <p:nvSpPr>
                <p:cNvPr id="6192" name="Freeform 8001">
                  <a:extLst>
                    <a:ext uri="{FF2B5EF4-FFF2-40B4-BE49-F238E27FC236}">
                      <a16:creationId xmlns:a16="http://schemas.microsoft.com/office/drawing/2014/main" id="{04C1048B-8562-B822-D168-5255527A768D}"/>
                    </a:ext>
                  </a:extLst>
                </p:cNvPr>
                <p:cNvSpPr/>
                <p:nvPr/>
              </p:nvSpPr>
              <p:spPr>
                <a:xfrm>
                  <a:off x="5409913" y="1917141"/>
                  <a:ext cx="3238" cy="52065"/>
                </a:xfrm>
                <a:custGeom>
                  <a:avLst/>
                  <a:gdLst>
                    <a:gd name="connsiteX0" fmla="*/ 0 w 3238"/>
                    <a:gd name="connsiteY0" fmla="*/ 52065 h 52065"/>
                    <a:gd name="connsiteX1" fmla="*/ 2865 w 3238"/>
                    <a:gd name="connsiteY1" fmla="*/ 33506 h 52065"/>
                    <a:gd name="connsiteX2" fmla="*/ 249 w 3238"/>
                    <a:gd name="connsiteY2" fmla="*/ 16192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239" y="37866"/>
                        <a:pt x="2865" y="33506"/>
                      </a:cubicBezTo>
                      <a:cubicBezTo>
                        <a:pt x="2491" y="26531"/>
                        <a:pt x="498" y="23292"/>
                        <a:pt x="249" y="16192"/>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3" name="Freeform 8002">
                  <a:extLst>
                    <a:ext uri="{FF2B5EF4-FFF2-40B4-BE49-F238E27FC236}">
                      <a16:creationId xmlns:a16="http://schemas.microsoft.com/office/drawing/2014/main" id="{D8D10673-BC7D-C3D4-78EC-FB4BE5B916BB}"/>
                    </a:ext>
                  </a:extLst>
                </p:cNvPr>
                <p:cNvSpPr/>
                <p:nvPr/>
              </p:nvSpPr>
              <p:spPr>
                <a:xfrm>
                  <a:off x="5400883" y="1921625"/>
                  <a:ext cx="5135" cy="52065"/>
                </a:xfrm>
                <a:custGeom>
                  <a:avLst/>
                  <a:gdLst>
                    <a:gd name="connsiteX0" fmla="*/ 3550 w 5135"/>
                    <a:gd name="connsiteY0" fmla="*/ 0 h 52065"/>
                    <a:gd name="connsiteX1" fmla="*/ 4546 w 5135"/>
                    <a:gd name="connsiteY1" fmla="*/ 18808 h 52065"/>
                    <a:gd name="connsiteX2" fmla="*/ 311 w 5135"/>
                    <a:gd name="connsiteY2" fmla="*/ 35624 h 52065"/>
                    <a:gd name="connsiteX3" fmla="*/ 1681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3550" y="0"/>
                      </a:moveTo>
                      <a:cubicBezTo>
                        <a:pt x="5667" y="8221"/>
                        <a:pt x="5294" y="14449"/>
                        <a:pt x="4546" y="18808"/>
                      </a:cubicBezTo>
                      <a:cubicBezTo>
                        <a:pt x="3425" y="25659"/>
                        <a:pt x="1183" y="28648"/>
                        <a:pt x="311" y="35624"/>
                      </a:cubicBezTo>
                      <a:cubicBezTo>
                        <a:pt x="-561" y="42474"/>
                        <a:pt x="560" y="48328"/>
                        <a:pt x="16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4" name="Freeform 8003">
                  <a:extLst>
                    <a:ext uri="{FF2B5EF4-FFF2-40B4-BE49-F238E27FC236}">
                      <a16:creationId xmlns:a16="http://schemas.microsoft.com/office/drawing/2014/main" id="{E90DAD78-3A3B-84C5-0B39-081AFF22D4EC}"/>
                    </a:ext>
                  </a:extLst>
                </p:cNvPr>
                <p:cNvSpPr/>
                <p:nvPr/>
              </p:nvSpPr>
              <p:spPr>
                <a:xfrm>
                  <a:off x="5392458" y="1962836"/>
                  <a:ext cx="26680" cy="26566"/>
                </a:xfrm>
                <a:custGeom>
                  <a:avLst/>
                  <a:gdLst>
                    <a:gd name="connsiteX0" fmla="*/ 17 w 26680"/>
                    <a:gd name="connsiteY0" fmla="*/ 12474 h 26566"/>
                    <a:gd name="connsiteX1" fmla="*/ 13968 w 26680"/>
                    <a:gd name="connsiteY1" fmla="*/ 18 h 26566"/>
                    <a:gd name="connsiteX2" fmla="*/ 26673 w 26680"/>
                    <a:gd name="connsiteY2" fmla="*/ 14093 h 26566"/>
                    <a:gd name="connsiteX3" fmla="*/ 12722 w 26680"/>
                    <a:gd name="connsiteY3" fmla="*/ 26549 h 26566"/>
                    <a:gd name="connsiteX4" fmla="*/ 17 w 26680"/>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17" y="12474"/>
                      </a:moveTo>
                      <a:cubicBezTo>
                        <a:pt x="391" y="5125"/>
                        <a:pt x="6619" y="-356"/>
                        <a:pt x="13968" y="18"/>
                      </a:cubicBezTo>
                      <a:cubicBezTo>
                        <a:pt x="21317" y="392"/>
                        <a:pt x="26922" y="6744"/>
                        <a:pt x="26673" y="14093"/>
                      </a:cubicBezTo>
                      <a:cubicBezTo>
                        <a:pt x="26299" y="21442"/>
                        <a:pt x="20071" y="26922"/>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5" name="Freeform 8004">
                  <a:extLst>
                    <a:ext uri="{FF2B5EF4-FFF2-40B4-BE49-F238E27FC236}">
                      <a16:creationId xmlns:a16="http://schemas.microsoft.com/office/drawing/2014/main" id="{F9597EA3-6154-4D18-741D-D7FD0A7F0C94}"/>
                    </a:ext>
                  </a:extLst>
                </p:cNvPr>
                <p:cNvSpPr/>
                <p:nvPr/>
              </p:nvSpPr>
              <p:spPr>
                <a:xfrm>
                  <a:off x="5404682" y="1860592"/>
                  <a:ext cx="3362" cy="52065"/>
                </a:xfrm>
                <a:custGeom>
                  <a:avLst/>
                  <a:gdLst>
                    <a:gd name="connsiteX0" fmla="*/ 3363 w 3362"/>
                    <a:gd name="connsiteY0" fmla="*/ 0 h 52065"/>
                    <a:gd name="connsiteX1" fmla="*/ 498 w 3362"/>
                    <a:gd name="connsiteY1" fmla="*/ 18559 h 52065"/>
                    <a:gd name="connsiteX2" fmla="*/ 2989 w 3362"/>
                    <a:gd name="connsiteY2" fmla="*/ 35873 h 52065"/>
                    <a:gd name="connsiteX3" fmla="*/ 0 w 33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3363" y="0"/>
                      </a:moveTo>
                      <a:cubicBezTo>
                        <a:pt x="498" y="7847"/>
                        <a:pt x="125" y="14200"/>
                        <a:pt x="498" y="18559"/>
                      </a:cubicBezTo>
                      <a:cubicBezTo>
                        <a:pt x="872" y="25534"/>
                        <a:pt x="2865"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6" name="Freeform 8005">
                  <a:extLst>
                    <a:ext uri="{FF2B5EF4-FFF2-40B4-BE49-F238E27FC236}">
                      <a16:creationId xmlns:a16="http://schemas.microsoft.com/office/drawing/2014/main" id="{1E9E01BE-3421-3771-44E9-DDA33839D2F9}"/>
                    </a:ext>
                  </a:extLst>
                </p:cNvPr>
                <p:cNvSpPr/>
                <p:nvPr/>
              </p:nvSpPr>
              <p:spPr>
                <a:xfrm>
                  <a:off x="5411815" y="1856108"/>
                  <a:ext cx="5135" cy="52065"/>
                </a:xfrm>
                <a:custGeom>
                  <a:avLst/>
                  <a:gdLst>
                    <a:gd name="connsiteX0" fmla="*/ 1585 w 5135"/>
                    <a:gd name="connsiteY0" fmla="*/ 52065 h 52065"/>
                    <a:gd name="connsiteX1" fmla="*/ 589 w 5135"/>
                    <a:gd name="connsiteY1" fmla="*/ 33257 h 52065"/>
                    <a:gd name="connsiteX2" fmla="*/ 4824 w 5135"/>
                    <a:gd name="connsiteY2" fmla="*/ 16442 h 52065"/>
                    <a:gd name="connsiteX3" fmla="*/ 3454 w 5135"/>
                    <a:gd name="connsiteY3" fmla="*/ 0 h 52065"/>
                  </a:gdLst>
                  <a:ahLst/>
                  <a:cxnLst>
                    <a:cxn ang="0">
                      <a:pos x="connsiteX0" y="connsiteY0"/>
                    </a:cxn>
                    <a:cxn ang="0">
                      <a:pos x="connsiteX1" y="connsiteY1"/>
                    </a:cxn>
                    <a:cxn ang="0">
                      <a:pos x="connsiteX2" y="connsiteY2"/>
                    </a:cxn>
                    <a:cxn ang="0">
                      <a:pos x="connsiteX3" y="connsiteY3"/>
                    </a:cxn>
                  </a:cxnLst>
                  <a:rect l="l" t="t" r="r" b="b"/>
                  <a:pathLst>
                    <a:path w="5135" h="52065">
                      <a:moveTo>
                        <a:pt x="1585" y="52065"/>
                      </a:moveTo>
                      <a:cubicBezTo>
                        <a:pt x="-532" y="43844"/>
                        <a:pt x="-158" y="37616"/>
                        <a:pt x="589" y="33257"/>
                      </a:cubicBezTo>
                      <a:cubicBezTo>
                        <a:pt x="1710" y="26406"/>
                        <a:pt x="3952" y="23417"/>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7" name="Freeform 8006">
                  <a:extLst>
                    <a:ext uri="{FF2B5EF4-FFF2-40B4-BE49-F238E27FC236}">
                      <a16:creationId xmlns:a16="http://schemas.microsoft.com/office/drawing/2014/main" id="{2D9491F7-D709-BB1F-A211-0FC96BB7EA91}"/>
                    </a:ext>
                  </a:extLst>
                </p:cNvPr>
                <p:cNvSpPr/>
                <p:nvPr/>
              </p:nvSpPr>
              <p:spPr>
                <a:xfrm>
                  <a:off x="5398934" y="1840520"/>
                  <a:ext cx="26317" cy="26566"/>
                </a:xfrm>
                <a:custGeom>
                  <a:avLst/>
                  <a:gdLst>
                    <a:gd name="connsiteX0" fmla="*/ 26300 w 26317"/>
                    <a:gd name="connsiteY0" fmla="*/ 14093 h 26566"/>
                    <a:gd name="connsiteX1" fmla="*/ 12474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2"/>
                        <a:pt x="12474" y="26549"/>
                      </a:cubicBezTo>
                      <a:cubicBezTo>
                        <a:pt x="5125" y="26175"/>
                        <a:pt x="-356" y="19823"/>
                        <a:pt x="18" y="12474"/>
                      </a:cubicBezTo>
                      <a:cubicBezTo>
                        <a:pt x="392" y="5125"/>
                        <a:pt x="6620" y="-356"/>
                        <a:pt x="13844" y="18"/>
                      </a:cubicBezTo>
                      <a:cubicBezTo>
                        <a:pt x="21068"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1" name="Graphic 2987">
                <a:extLst>
                  <a:ext uri="{FF2B5EF4-FFF2-40B4-BE49-F238E27FC236}">
                    <a16:creationId xmlns:a16="http://schemas.microsoft.com/office/drawing/2014/main" id="{36734FCB-3D0F-100A-A119-523247DE807A}"/>
                  </a:ext>
                </a:extLst>
              </p:cNvPr>
              <p:cNvGrpSpPr/>
              <p:nvPr/>
            </p:nvGrpSpPr>
            <p:grpSpPr>
              <a:xfrm>
                <a:off x="5362799" y="1838776"/>
                <a:ext cx="32932" cy="148757"/>
                <a:chOff x="5362799" y="1838776"/>
                <a:chExt cx="32932" cy="148757"/>
              </a:xfrm>
              <a:grpFill/>
            </p:grpSpPr>
            <p:sp>
              <p:nvSpPr>
                <p:cNvPr id="6186" name="Freeform 8008">
                  <a:extLst>
                    <a:ext uri="{FF2B5EF4-FFF2-40B4-BE49-F238E27FC236}">
                      <a16:creationId xmlns:a16="http://schemas.microsoft.com/office/drawing/2014/main" id="{0F928026-AC20-C160-7B23-5D2AD80C7C65}"/>
                    </a:ext>
                  </a:extLst>
                </p:cNvPr>
                <p:cNvSpPr/>
                <p:nvPr/>
              </p:nvSpPr>
              <p:spPr>
                <a:xfrm>
                  <a:off x="5380144" y="1915397"/>
                  <a:ext cx="3487" cy="52065"/>
                </a:xfrm>
                <a:custGeom>
                  <a:avLst/>
                  <a:gdLst>
                    <a:gd name="connsiteX0" fmla="*/ 0 w 3487"/>
                    <a:gd name="connsiteY0" fmla="*/ 52065 h 52065"/>
                    <a:gd name="connsiteX1" fmla="*/ 2989 w 3487"/>
                    <a:gd name="connsiteY1" fmla="*/ 33506 h 52065"/>
                    <a:gd name="connsiteX2" fmla="*/ 498 w 3487"/>
                    <a:gd name="connsiteY2" fmla="*/ 16192 h 52065"/>
                    <a:gd name="connsiteX3" fmla="*/ 3488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0" y="52065"/>
                      </a:moveTo>
                      <a:cubicBezTo>
                        <a:pt x="2865" y="44218"/>
                        <a:pt x="3239" y="37866"/>
                        <a:pt x="2989" y="33506"/>
                      </a:cubicBezTo>
                      <a:cubicBezTo>
                        <a:pt x="2616" y="26531"/>
                        <a:pt x="623" y="23292"/>
                        <a:pt x="498" y="16192"/>
                      </a:cubicBezTo>
                      <a:cubicBezTo>
                        <a:pt x="374" y="9342"/>
                        <a:pt x="2117" y="3612"/>
                        <a:pt x="34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7" name="Freeform 8009">
                  <a:extLst>
                    <a:ext uri="{FF2B5EF4-FFF2-40B4-BE49-F238E27FC236}">
                      <a16:creationId xmlns:a16="http://schemas.microsoft.com/office/drawing/2014/main" id="{FFB314DA-DA6D-8203-AA42-122868C3D5C1}"/>
                    </a:ext>
                  </a:extLst>
                </p:cNvPr>
                <p:cNvSpPr/>
                <p:nvPr/>
              </p:nvSpPr>
              <p:spPr>
                <a:xfrm>
                  <a:off x="5371236" y="1919881"/>
                  <a:ext cx="5222" cy="52065"/>
                </a:xfrm>
                <a:custGeom>
                  <a:avLst/>
                  <a:gdLst>
                    <a:gd name="connsiteX0" fmla="*/ 3676 w 5222"/>
                    <a:gd name="connsiteY0" fmla="*/ 0 h 52065"/>
                    <a:gd name="connsiteX1" fmla="*/ 4673 w 5222"/>
                    <a:gd name="connsiteY1" fmla="*/ 18808 h 52065"/>
                    <a:gd name="connsiteX2" fmla="*/ 313 w 5222"/>
                    <a:gd name="connsiteY2" fmla="*/ 35624 h 52065"/>
                    <a:gd name="connsiteX3" fmla="*/ 1559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0"/>
                      </a:moveTo>
                      <a:cubicBezTo>
                        <a:pt x="5669" y="8221"/>
                        <a:pt x="5420" y="14449"/>
                        <a:pt x="4673" y="18808"/>
                      </a:cubicBezTo>
                      <a:cubicBezTo>
                        <a:pt x="3552" y="25659"/>
                        <a:pt x="1185" y="28648"/>
                        <a:pt x="313" y="35624"/>
                      </a:cubicBezTo>
                      <a:cubicBezTo>
                        <a:pt x="-559" y="42474"/>
                        <a:pt x="562"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8" name="Freeform 8010">
                  <a:extLst>
                    <a:ext uri="{FF2B5EF4-FFF2-40B4-BE49-F238E27FC236}">
                      <a16:creationId xmlns:a16="http://schemas.microsoft.com/office/drawing/2014/main" id="{CB80072D-BABE-B830-6C7B-D29062D7644F}"/>
                    </a:ext>
                  </a:extLst>
                </p:cNvPr>
                <p:cNvSpPr/>
                <p:nvPr/>
              </p:nvSpPr>
              <p:spPr>
                <a:xfrm>
                  <a:off x="5362799" y="1960967"/>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20085" y="26922"/>
                        <a:pt x="12611" y="26549"/>
                      </a:cubicBezTo>
                      <a:cubicBezTo>
                        <a:pt x="5138" y="26175"/>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9" name="Freeform 8011">
                  <a:extLst>
                    <a:ext uri="{FF2B5EF4-FFF2-40B4-BE49-F238E27FC236}">
                      <a16:creationId xmlns:a16="http://schemas.microsoft.com/office/drawing/2014/main" id="{EDA0EBE0-7C20-9BE1-3999-05192E62B235}"/>
                    </a:ext>
                  </a:extLst>
                </p:cNvPr>
                <p:cNvSpPr/>
                <p:nvPr/>
              </p:nvSpPr>
              <p:spPr>
                <a:xfrm>
                  <a:off x="5375162" y="1858848"/>
                  <a:ext cx="3487" cy="52065"/>
                </a:xfrm>
                <a:custGeom>
                  <a:avLst/>
                  <a:gdLst>
                    <a:gd name="connsiteX0" fmla="*/ 3488 w 3487"/>
                    <a:gd name="connsiteY0" fmla="*/ 0 h 52065"/>
                    <a:gd name="connsiteX1" fmla="*/ 498 w 3487"/>
                    <a:gd name="connsiteY1" fmla="*/ 18559 h 52065"/>
                    <a:gd name="connsiteX2" fmla="*/ 2989 w 3487"/>
                    <a:gd name="connsiteY2" fmla="*/ 35873 h 52065"/>
                    <a:gd name="connsiteX3" fmla="*/ 0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0"/>
                      </a:moveTo>
                      <a:cubicBezTo>
                        <a:pt x="623" y="7847"/>
                        <a:pt x="249" y="14200"/>
                        <a:pt x="498" y="18559"/>
                      </a:cubicBezTo>
                      <a:cubicBezTo>
                        <a:pt x="872" y="25534"/>
                        <a:pt x="2865" y="28773"/>
                        <a:pt x="2989" y="35873"/>
                      </a:cubicBezTo>
                      <a:cubicBezTo>
                        <a:pt x="3114" y="42723"/>
                        <a:pt x="1370"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0" name="Freeform 8012">
                  <a:extLst>
                    <a:ext uri="{FF2B5EF4-FFF2-40B4-BE49-F238E27FC236}">
                      <a16:creationId xmlns:a16="http://schemas.microsoft.com/office/drawing/2014/main" id="{4AB7EDDB-12B9-95DF-9C01-5D922B39C20C}"/>
                    </a:ext>
                  </a:extLst>
                </p:cNvPr>
                <p:cNvSpPr/>
                <p:nvPr/>
              </p:nvSpPr>
              <p:spPr>
                <a:xfrm>
                  <a:off x="5382210" y="1854364"/>
                  <a:ext cx="5222" cy="52065"/>
                </a:xfrm>
                <a:custGeom>
                  <a:avLst/>
                  <a:gdLst>
                    <a:gd name="connsiteX0" fmla="*/ 1546 w 5222"/>
                    <a:gd name="connsiteY0" fmla="*/ 52065 h 52065"/>
                    <a:gd name="connsiteX1" fmla="*/ 549 w 5222"/>
                    <a:gd name="connsiteY1" fmla="*/ 33257 h 52065"/>
                    <a:gd name="connsiteX2" fmla="*/ 4909 w 5222"/>
                    <a:gd name="connsiteY2" fmla="*/ 16442 h 52065"/>
                    <a:gd name="connsiteX3" fmla="*/ 3663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52065"/>
                      </a:moveTo>
                      <a:cubicBezTo>
                        <a:pt x="-447" y="43844"/>
                        <a:pt x="-198" y="37616"/>
                        <a:pt x="549" y="33257"/>
                      </a:cubicBezTo>
                      <a:cubicBezTo>
                        <a:pt x="1670" y="26406"/>
                        <a:pt x="4037" y="23417"/>
                        <a:pt x="4909" y="16442"/>
                      </a:cubicBezTo>
                      <a:cubicBezTo>
                        <a:pt x="5781" y="9591"/>
                        <a:pt x="4660"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1" name="Freeform 8013">
                  <a:extLst>
                    <a:ext uri="{FF2B5EF4-FFF2-40B4-BE49-F238E27FC236}">
                      <a16:creationId xmlns:a16="http://schemas.microsoft.com/office/drawing/2014/main" id="{B1E4161C-1482-4D8B-E7CD-7EAC31EB79F4}"/>
                    </a:ext>
                  </a:extLst>
                </p:cNvPr>
                <p:cNvSpPr/>
                <p:nvPr/>
              </p:nvSpPr>
              <p:spPr>
                <a:xfrm>
                  <a:off x="5369414" y="1838776"/>
                  <a:ext cx="26317" cy="26566"/>
                </a:xfrm>
                <a:custGeom>
                  <a:avLst/>
                  <a:gdLst>
                    <a:gd name="connsiteX0" fmla="*/ 26300 w 26317"/>
                    <a:gd name="connsiteY0" fmla="*/ 14093 h 26566"/>
                    <a:gd name="connsiteX1" fmla="*/ 12473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3"/>
                        <a:pt x="12473" y="26549"/>
                      </a:cubicBezTo>
                      <a:cubicBezTo>
                        <a:pt x="5249" y="26175"/>
                        <a:pt x="-356" y="19823"/>
                        <a:pt x="18" y="12474"/>
                      </a:cubicBezTo>
                      <a:cubicBezTo>
                        <a:pt x="391" y="5125"/>
                        <a:pt x="6619" y="-356"/>
                        <a:pt x="13844" y="18"/>
                      </a:cubicBezTo>
                      <a:cubicBezTo>
                        <a:pt x="21193"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2" name="Graphic 2987">
                <a:extLst>
                  <a:ext uri="{FF2B5EF4-FFF2-40B4-BE49-F238E27FC236}">
                    <a16:creationId xmlns:a16="http://schemas.microsoft.com/office/drawing/2014/main" id="{12489B95-0A87-C7F2-28F8-AC0763B9C145}"/>
                  </a:ext>
                </a:extLst>
              </p:cNvPr>
              <p:cNvGrpSpPr/>
              <p:nvPr/>
            </p:nvGrpSpPr>
            <p:grpSpPr>
              <a:xfrm>
                <a:off x="5333031" y="1837033"/>
                <a:ext cx="33304" cy="148757"/>
                <a:chOff x="5333031" y="1837033"/>
                <a:chExt cx="33304" cy="148757"/>
              </a:xfrm>
              <a:grpFill/>
            </p:grpSpPr>
            <p:sp>
              <p:nvSpPr>
                <p:cNvPr id="6180" name="Freeform 8015">
                  <a:extLst>
                    <a:ext uri="{FF2B5EF4-FFF2-40B4-BE49-F238E27FC236}">
                      <a16:creationId xmlns:a16="http://schemas.microsoft.com/office/drawing/2014/main" id="{2EF15DFD-5DE5-5541-0A0A-14105B33505B}"/>
                    </a:ext>
                  </a:extLst>
                </p:cNvPr>
                <p:cNvSpPr/>
                <p:nvPr/>
              </p:nvSpPr>
              <p:spPr>
                <a:xfrm>
                  <a:off x="5350374" y="1913529"/>
                  <a:ext cx="3612" cy="52065"/>
                </a:xfrm>
                <a:custGeom>
                  <a:avLst/>
                  <a:gdLst>
                    <a:gd name="connsiteX0" fmla="*/ 0 w 3612"/>
                    <a:gd name="connsiteY0" fmla="*/ 52065 h 52065"/>
                    <a:gd name="connsiteX1" fmla="*/ 2990 w 3612"/>
                    <a:gd name="connsiteY1" fmla="*/ 33506 h 52065"/>
                    <a:gd name="connsiteX2" fmla="*/ 498 w 3612"/>
                    <a:gd name="connsiteY2" fmla="*/ 16193 h 52065"/>
                    <a:gd name="connsiteX3" fmla="*/ 3612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0" y="52065"/>
                      </a:moveTo>
                      <a:cubicBezTo>
                        <a:pt x="2990" y="44218"/>
                        <a:pt x="3239" y="37866"/>
                        <a:pt x="2990" y="33506"/>
                      </a:cubicBezTo>
                      <a:cubicBezTo>
                        <a:pt x="2616" y="26531"/>
                        <a:pt x="623" y="23292"/>
                        <a:pt x="498" y="16193"/>
                      </a:cubicBezTo>
                      <a:cubicBezTo>
                        <a:pt x="374" y="9342"/>
                        <a:pt x="2118" y="3612"/>
                        <a:pt x="36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1" name="Freeform 8016">
                  <a:extLst>
                    <a:ext uri="{FF2B5EF4-FFF2-40B4-BE49-F238E27FC236}">
                      <a16:creationId xmlns:a16="http://schemas.microsoft.com/office/drawing/2014/main" id="{7B59B68F-C7F8-ACB4-44D7-F0AF9A40C694}"/>
                    </a:ext>
                  </a:extLst>
                </p:cNvPr>
                <p:cNvSpPr/>
                <p:nvPr/>
              </p:nvSpPr>
              <p:spPr>
                <a:xfrm>
                  <a:off x="5341591" y="1918138"/>
                  <a:ext cx="5169" cy="52065"/>
                </a:xfrm>
                <a:custGeom>
                  <a:avLst/>
                  <a:gdLst>
                    <a:gd name="connsiteX0" fmla="*/ 3677 w 5169"/>
                    <a:gd name="connsiteY0" fmla="*/ 0 h 52065"/>
                    <a:gd name="connsiteX1" fmla="*/ 4673 w 5169"/>
                    <a:gd name="connsiteY1" fmla="*/ 18808 h 52065"/>
                    <a:gd name="connsiteX2" fmla="*/ 313 w 5169"/>
                    <a:gd name="connsiteY2" fmla="*/ 35624 h 52065"/>
                    <a:gd name="connsiteX3" fmla="*/ 1559 w 516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69" h="52065">
                      <a:moveTo>
                        <a:pt x="3677" y="0"/>
                      </a:moveTo>
                      <a:cubicBezTo>
                        <a:pt x="5669" y="8221"/>
                        <a:pt x="5296" y="14449"/>
                        <a:pt x="4673" y="18808"/>
                      </a:cubicBezTo>
                      <a:cubicBezTo>
                        <a:pt x="3552" y="25659"/>
                        <a:pt x="1185" y="28648"/>
                        <a:pt x="313" y="35624"/>
                      </a:cubicBezTo>
                      <a:cubicBezTo>
                        <a:pt x="-559" y="42474"/>
                        <a:pt x="563"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2" name="Freeform 8017">
                  <a:extLst>
                    <a:ext uri="{FF2B5EF4-FFF2-40B4-BE49-F238E27FC236}">
                      <a16:creationId xmlns:a16="http://schemas.microsoft.com/office/drawing/2014/main" id="{B2360C61-E7D0-BE71-25E9-4623796DA1CF}"/>
                    </a:ext>
                  </a:extLst>
                </p:cNvPr>
                <p:cNvSpPr/>
                <p:nvPr/>
              </p:nvSpPr>
              <p:spPr>
                <a:xfrm>
                  <a:off x="5333031" y="1959224"/>
                  <a:ext cx="26703" cy="26566"/>
                </a:xfrm>
                <a:custGeom>
                  <a:avLst/>
                  <a:gdLst>
                    <a:gd name="connsiteX0" fmla="*/ 30 w 26703"/>
                    <a:gd name="connsiteY0" fmla="*/ 12474 h 26566"/>
                    <a:gd name="connsiteX1" fmla="*/ 14105 w 26703"/>
                    <a:gd name="connsiteY1" fmla="*/ 18 h 26566"/>
                    <a:gd name="connsiteX2" fmla="*/ 26685 w 26703"/>
                    <a:gd name="connsiteY2" fmla="*/ 14093 h 26566"/>
                    <a:gd name="connsiteX3" fmla="*/ 12611 w 26703"/>
                    <a:gd name="connsiteY3" fmla="*/ 26549 h 26566"/>
                    <a:gd name="connsiteX4" fmla="*/ 30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0" y="12474"/>
                      </a:moveTo>
                      <a:cubicBezTo>
                        <a:pt x="404" y="5125"/>
                        <a:pt x="6756" y="-356"/>
                        <a:pt x="14105" y="18"/>
                      </a:cubicBezTo>
                      <a:cubicBezTo>
                        <a:pt x="21454" y="392"/>
                        <a:pt x="27059" y="6744"/>
                        <a:pt x="26685" y="14093"/>
                      </a:cubicBezTo>
                      <a:cubicBezTo>
                        <a:pt x="26312" y="21442"/>
                        <a:pt x="19960" y="26922"/>
                        <a:pt x="12611" y="26549"/>
                      </a:cubicBezTo>
                      <a:cubicBezTo>
                        <a:pt x="5261" y="26051"/>
                        <a:pt x="-468" y="19823"/>
                        <a:pt x="30"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3" name="Freeform 8018">
                  <a:extLst>
                    <a:ext uri="{FF2B5EF4-FFF2-40B4-BE49-F238E27FC236}">
                      <a16:creationId xmlns:a16="http://schemas.microsoft.com/office/drawing/2014/main" id="{E6717701-0ADF-9FF5-78FB-FF5BA42F9829}"/>
                    </a:ext>
                  </a:extLst>
                </p:cNvPr>
                <p:cNvSpPr/>
                <p:nvPr/>
              </p:nvSpPr>
              <p:spPr>
                <a:xfrm>
                  <a:off x="5345517" y="1857104"/>
                  <a:ext cx="3612" cy="52065"/>
                </a:xfrm>
                <a:custGeom>
                  <a:avLst/>
                  <a:gdLst>
                    <a:gd name="connsiteX0" fmla="*/ 3612 w 3612"/>
                    <a:gd name="connsiteY0" fmla="*/ 0 h 52065"/>
                    <a:gd name="connsiteX1" fmla="*/ 623 w 3612"/>
                    <a:gd name="connsiteY1" fmla="*/ 18559 h 52065"/>
                    <a:gd name="connsiteX2" fmla="*/ 3114 w 3612"/>
                    <a:gd name="connsiteY2" fmla="*/ 35873 h 52065"/>
                    <a:gd name="connsiteX3" fmla="*/ 0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3612" y="0"/>
                      </a:moveTo>
                      <a:cubicBezTo>
                        <a:pt x="747" y="7847"/>
                        <a:pt x="374" y="14200"/>
                        <a:pt x="623" y="18559"/>
                      </a:cubicBezTo>
                      <a:cubicBezTo>
                        <a:pt x="996"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4" name="Freeform 8019">
                  <a:extLst>
                    <a:ext uri="{FF2B5EF4-FFF2-40B4-BE49-F238E27FC236}">
                      <a16:creationId xmlns:a16="http://schemas.microsoft.com/office/drawing/2014/main" id="{304308A5-2212-FB9C-EA52-64789A0F1827}"/>
                    </a:ext>
                  </a:extLst>
                </p:cNvPr>
                <p:cNvSpPr/>
                <p:nvPr/>
              </p:nvSpPr>
              <p:spPr>
                <a:xfrm>
                  <a:off x="5352742" y="1852620"/>
                  <a:ext cx="5169" cy="52065"/>
                </a:xfrm>
                <a:custGeom>
                  <a:avLst/>
                  <a:gdLst>
                    <a:gd name="connsiteX0" fmla="*/ 1493 w 5169"/>
                    <a:gd name="connsiteY0" fmla="*/ 52065 h 52065"/>
                    <a:gd name="connsiteX1" fmla="*/ 497 w 5169"/>
                    <a:gd name="connsiteY1" fmla="*/ 33257 h 52065"/>
                    <a:gd name="connsiteX2" fmla="*/ 4857 w 5169"/>
                    <a:gd name="connsiteY2" fmla="*/ 16442 h 52065"/>
                    <a:gd name="connsiteX3" fmla="*/ 3611 w 5169"/>
                    <a:gd name="connsiteY3" fmla="*/ 0 h 52065"/>
                  </a:gdLst>
                  <a:ahLst/>
                  <a:cxnLst>
                    <a:cxn ang="0">
                      <a:pos x="connsiteX0" y="connsiteY0"/>
                    </a:cxn>
                    <a:cxn ang="0">
                      <a:pos x="connsiteX1" y="connsiteY1"/>
                    </a:cxn>
                    <a:cxn ang="0">
                      <a:pos x="connsiteX2" y="connsiteY2"/>
                    </a:cxn>
                    <a:cxn ang="0">
                      <a:pos x="connsiteX3" y="connsiteY3"/>
                    </a:cxn>
                  </a:cxnLst>
                  <a:rect l="l" t="t" r="r" b="b"/>
                  <a:pathLst>
                    <a:path w="5169" h="52065">
                      <a:moveTo>
                        <a:pt x="1493" y="52065"/>
                      </a:moveTo>
                      <a:cubicBezTo>
                        <a:pt x="-499" y="43844"/>
                        <a:pt x="-126" y="37616"/>
                        <a:pt x="497" y="33257"/>
                      </a:cubicBezTo>
                      <a:cubicBezTo>
                        <a:pt x="1618" y="26406"/>
                        <a:pt x="3985" y="23417"/>
                        <a:pt x="4857" y="16442"/>
                      </a:cubicBezTo>
                      <a:cubicBezTo>
                        <a:pt x="5729" y="9591"/>
                        <a:pt x="4607" y="3737"/>
                        <a:pt x="36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5" name="Freeform 8020">
                  <a:extLst>
                    <a:ext uri="{FF2B5EF4-FFF2-40B4-BE49-F238E27FC236}">
                      <a16:creationId xmlns:a16="http://schemas.microsoft.com/office/drawing/2014/main" id="{5B7009C5-CD1B-0A7C-033E-7BAB0313B729}"/>
                    </a:ext>
                  </a:extLst>
                </p:cNvPr>
                <p:cNvSpPr/>
                <p:nvPr/>
              </p:nvSpPr>
              <p:spPr>
                <a:xfrm>
                  <a:off x="5339894" y="1837033"/>
                  <a:ext cx="26441" cy="26566"/>
                </a:xfrm>
                <a:custGeom>
                  <a:avLst/>
                  <a:gdLst>
                    <a:gd name="connsiteX0" fmla="*/ 26424 w 26441"/>
                    <a:gd name="connsiteY0" fmla="*/ 14093 h 26566"/>
                    <a:gd name="connsiteX1" fmla="*/ 12474 w 26441"/>
                    <a:gd name="connsiteY1" fmla="*/ 26549 h 26566"/>
                    <a:gd name="connsiteX2" fmla="*/ 18 w 26441"/>
                    <a:gd name="connsiteY2" fmla="*/ 12474 h 26566"/>
                    <a:gd name="connsiteX3" fmla="*/ 13968 w 26441"/>
                    <a:gd name="connsiteY3" fmla="*/ 18 h 26566"/>
                    <a:gd name="connsiteX4" fmla="*/ 26424 w 26441"/>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66">
                      <a:moveTo>
                        <a:pt x="26424" y="14093"/>
                      </a:moveTo>
                      <a:cubicBezTo>
                        <a:pt x="26051" y="21442"/>
                        <a:pt x="19823" y="26922"/>
                        <a:pt x="12474" y="26549"/>
                      </a:cubicBezTo>
                      <a:cubicBezTo>
                        <a:pt x="5125" y="26175"/>
                        <a:pt x="-356" y="19823"/>
                        <a:pt x="18" y="12474"/>
                      </a:cubicBezTo>
                      <a:cubicBezTo>
                        <a:pt x="392" y="5125"/>
                        <a:pt x="6620" y="-356"/>
                        <a:pt x="13968" y="18"/>
                      </a:cubicBezTo>
                      <a:cubicBezTo>
                        <a:pt x="21193" y="392"/>
                        <a:pt x="26798"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3" name="Graphic 2987">
                <a:extLst>
                  <a:ext uri="{FF2B5EF4-FFF2-40B4-BE49-F238E27FC236}">
                    <a16:creationId xmlns:a16="http://schemas.microsoft.com/office/drawing/2014/main" id="{4AE59448-9C57-2EB3-1C72-2B1F72E61201}"/>
                  </a:ext>
                </a:extLst>
              </p:cNvPr>
              <p:cNvGrpSpPr/>
              <p:nvPr/>
            </p:nvGrpSpPr>
            <p:grpSpPr>
              <a:xfrm>
                <a:off x="5303261" y="1835289"/>
                <a:ext cx="33567" cy="148757"/>
                <a:chOff x="5303261" y="1835289"/>
                <a:chExt cx="33567" cy="148757"/>
              </a:xfrm>
              <a:grpFill/>
            </p:grpSpPr>
            <p:sp>
              <p:nvSpPr>
                <p:cNvPr id="6174" name="Freeform 8022">
                  <a:extLst>
                    <a:ext uri="{FF2B5EF4-FFF2-40B4-BE49-F238E27FC236}">
                      <a16:creationId xmlns:a16="http://schemas.microsoft.com/office/drawing/2014/main" id="{78F6BE46-B9B0-550C-84D7-DC1936ACABEA}"/>
                    </a:ext>
                  </a:extLst>
                </p:cNvPr>
                <p:cNvSpPr/>
                <p:nvPr/>
              </p:nvSpPr>
              <p:spPr>
                <a:xfrm>
                  <a:off x="5320605" y="1911785"/>
                  <a:ext cx="3736" cy="52065"/>
                </a:xfrm>
                <a:custGeom>
                  <a:avLst/>
                  <a:gdLst>
                    <a:gd name="connsiteX0" fmla="*/ 0 w 3736"/>
                    <a:gd name="connsiteY0" fmla="*/ 52065 h 52065"/>
                    <a:gd name="connsiteX1" fmla="*/ 3114 w 3736"/>
                    <a:gd name="connsiteY1" fmla="*/ 33506 h 52065"/>
                    <a:gd name="connsiteX2" fmla="*/ 623 w 3736"/>
                    <a:gd name="connsiteY2" fmla="*/ 16193 h 52065"/>
                    <a:gd name="connsiteX3" fmla="*/ 3737 w 3736"/>
                    <a:gd name="connsiteY3" fmla="*/ 0 h 52065"/>
                  </a:gdLst>
                  <a:ahLst/>
                  <a:cxnLst>
                    <a:cxn ang="0">
                      <a:pos x="connsiteX0" y="connsiteY0"/>
                    </a:cxn>
                    <a:cxn ang="0">
                      <a:pos x="connsiteX1" y="connsiteY1"/>
                    </a:cxn>
                    <a:cxn ang="0">
                      <a:pos x="connsiteX2" y="connsiteY2"/>
                    </a:cxn>
                    <a:cxn ang="0">
                      <a:pos x="connsiteX3" y="connsiteY3"/>
                    </a:cxn>
                  </a:cxnLst>
                  <a:rect l="l" t="t" r="r" b="b"/>
                  <a:pathLst>
                    <a:path w="3736" h="52065">
                      <a:moveTo>
                        <a:pt x="0" y="52065"/>
                      </a:moveTo>
                      <a:cubicBezTo>
                        <a:pt x="2989" y="44218"/>
                        <a:pt x="3239" y="37866"/>
                        <a:pt x="3114" y="33506"/>
                      </a:cubicBezTo>
                      <a:cubicBezTo>
                        <a:pt x="2740" y="26531"/>
                        <a:pt x="747" y="23292"/>
                        <a:pt x="623" y="16193"/>
                      </a:cubicBezTo>
                      <a:cubicBezTo>
                        <a:pt x="498" y="9342"/>
                        <a:pt x="2242" y="3612"/>
                        <a:pt x="3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5" name="Freeform 8023">
                  <a:extLst>
                    <a:ext uri="{FF2B5EF4-FFF2-40B4-BE49-F238E27FC236}">
                      <a16:creationId xmlns:a16="http://schemas.microsoft.com/office/drawing/2014/main" id="{190936EE-DD8A-D2A0-C07B-098F3BBBCD46}"/>
                    </a:ext>
                  </a:extLst>
                </p:cNvPr>
                <p:cNvSpPr/>
                <p:nvPr/>
              </p:nvSpPr>
              <p:spPr>
                <a:xfrm>
                  <a:off x="5311803" y="1916394"/>
                  <a:ext cx="5291" cy="52065"/>
                </a:xfrm>
                <a:custGeom>
                  <a:avLst/>
                  <a:gdLst>
                    <a:gd name="connsiteX0" fmla="*/ 3820 w 5291"/>
                    <a:gd name="connsiteY0" fmla="*/ 0 h 52065"/>
                    <a:gd name="connsiteX1" fmla="*/ 4691 w 5291"/>
                    <a:gd name="connsiteY1" fmla="*/ 18808 h 52065"/>
                    <a:gd name="connsiteX2" fmla="*/ 332 w 5291"/>
                    <a:gd name="connsiteY2" fmla="*/ 35623 h 52065"/>
                    <a:gd name="connsiteX3" fmla="*/ 1577 w 52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1" h="52065">
                      <a:moveTo>
                        <a:pt x="3820" y="0"/>
                      </a:moveTo>
                      <a:cubicBezTo>
                        <a:pt x="5813" y="8221"/>
                        <a:pt x="5439" y="14449"/>
                        <a:pt x="4691" y="18808"/>
                      </a:cubicBezTo>
                      <a:cubicBezTo>
                        <a:pt x="3446" y="25659"/>
                        <a:pt x="1204" y="28648"/>
                        <a:pt x="332" y="35623"/>
                      </a:cubicBezTo>
                      <a:cubicBezTo>
                        <a:pt x="-540" y="42474"/>
                        <a:pt x="456" y="48328"/>
                        <a:pt x="157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6" name="Freeform 8024">
                  <a:extLst>
                    <a:ext uri="{FF2B5EF4-FFF2-40B4-BE49-F238E27FC236}">
                      <a16:creationId xmlns:a16="http://schemas.microsoft.com/office/drawing/2014/main" id="{C3FC45E2-2AF2-2930-5953-B57DCD58106F}"/>
                    </a:ext>
                  </a:extLst>
                </p:cNvPr>
                <p:cNvSpPr/>
                <p:nvPr/>
              </p:nvSpPr>
              <p:spPr>
                <a:xfrm>
                  <a:off x="5303261" y="1957480"/>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19960" y="26922"/>
                        <a:pt x="12611"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7" name="Freeform 8025">
                  <a:extLst>
                    <a:ext uri="{FF2B5EF4-FFF2-40B4-BE49-F238E27FC236}">
                      <a16:creationId xmlns:a16="http://schemas.microsoft.com/office/drawing/2014/main" id="{EA94EE74-8AA1-BA0B-3547-A64A3F1C4972}"/>
                    </a:ext>
                  </a:extLst>
                </p:cNvPr>
                <p:cNvSpPr/>
                <p:nvPr/>
              </p:nvSpPr>
              <p:spPr>
                <a:xfrm>
                  <a:off x="5315747" y="1855361"/>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623" y="14200"/>
                        <a:pt x="747"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8" name="Freeform 8026">
                  <a:extLst>
                    <a:ext uri="{FF2B5EF4-FFF2-40B4-BE49-F238E27FC236}">
                      <a16:creationId xmlns:a16="http://schemas.microsoft.com/office/drawing/2014/main" id="{352E0A6D-D0B7-7218-43E9-A07F7E5F4D4A}"/>
                    </a:ext>
                  </a:extLst>
                </p:cNvPr>
                <p:cNvSpPr/>
                <p:nvPr/>
              </p:nvSpPr>
              <p:spPr>
                <a:xfrm>
                  <a:off x="5323119" y="1850877"/>
                  <a:ext cx="5291" cy="52065"/>
                </a:xfrm>
                <a:custGeom>
                  <a:avLst/>
                  <a:gdLst>
                    <a:gd name="connsiteX0" fmla="*/ 1472 w 5291"/>
                    <a:gd name="connsiteY0" fmla="*/ 52065 h 52065"/>
                    <a:gd name="connsiteX1" fmla="*/ 600 w 5291"/>
                    <a:gd name="connsiteY1" fmla="*/ 33257 h 52065"/>
                    <a:gd name="connsiteX2" fmla="*/ 4960 w 5291"/>
                    <a:gd name="connsiteY2" fmla="*/ 16442 h 52065"/>
                    <a:gd name="connsiteX3" fmla="*/ 3714 w 5291"/>
                    <a:gd name="connsiteY3" fmla="*/ 0 h 52065"/>
                  </a:gdLst>
                  <a:ahLst/>
                  <a:cxnLst>
                    <a:cxn ang="0">
                      <a:pos x="connsiteX0" y="connsiteY0"/>
                    </a:cxn>
                    <a:cxn ang="0">
                      <a:pos x="connsiteX1" y="connsiteY1"/>
                    </a:cxn>
                    <a:cxn ang="0">
                      <a:pos x="connsiteX2" y="connsiteY2"/>
                    </a:cxn>
                    <a:cxn ang="0">
                      <a:pos x="connsiteX3" y="connsiteY3"/>
                    </a:cxn>
                  </a:cxnLst>
                  <a:rect l="l" t="t" r="r" b="b"/>
                  <a:pathLst>
                    <a:path w="5291" h="52065">
                      <a:moveTo>
                        <a:pt x="1472" y="52065"/>
                      </a:moveTo>
                      <a:cubicBezTo>
                        <a:pt x="-521" y="43844"/>
                        <a:pt x="-147" y="37616"/>
                        <a:pt x="600" y="33257"/>
                      </a:cubicBezTo>
                      <a:cubicBezTo>
                        <a:pt x="1721" y="26406"/>
                        <a:pt x="4088" y="23417"/>
                        <a:pt x="4960" y="16442"/>
                      </a:cubicBezTo>
                      <a:cubicBezTo>
                        <a:pt x="5832" y="9591"/>
                        <a:pt x="4835"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9" name="Freeform 8027">
                  <a:extLst>
                    <a:ext uri="{FF2B5EF4-FFF2-40B4-BE49-F238E27FC236}">
                      <a16:creationId xmlns:a16="http://schemas.microsoft.com/office/drawing/2014/main" id="{4203E7EF-08B6-6D99-92D4-715D5A37FDE4}"/>
                    </a:ext>
                  </a:extLst>
                </p:cNvPr>
                <p:cNvSpPr/>
                <p:nvPr/>
              </p:nvSpPr>
              <p:spPr>
                <a:xfrm>
                  <a:off x="5310373" y="1835289"/>
                  <a:ext cx="26455" cy="26566"/>
                </a:xfrm>
                <a:custGeom>
                  <a:avLst/>
                  <a:gdLst>
                    <a:gd name="connsiteX0" fmla="*/ 26424 w 26455"/>
                    <a:gd name="connsiteY0" fmla="*/ 14093 h 26566"/>
                    <a:gd name="connsiteX1" fmla="*/ 12474 w 26455"/>
                    <a:gd name="connsiteY1" fmla="*/ 26549 h 26566"/>
                    <a:gd name="connsiteX2" fmla="*/ 18 w 26455"/>
                    <a:gd name="connsiteY2" fmla="*/ 12474 h 26566"/>
                    <a:gd name="connsiteX3" fmla="*/ 13968 w 26455"/>
                    <a:gd name="connsiteY3" fmla="*/ 18 h 26566"/>
                    <a:gd name="connsiteX4" fmla="*/ 26424 w 26455"/>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66">
                      <a:moveTo>
                        <a:pt x="26424" y="14093"/>
                      </a:moveTo>
                      <a:cubicBezTo>
                        <a:pt x="26051" y="21442"/>
                        <a:pt x="19823" y="26922"/>
                        <a:pt x="12474" y="26549"/>
                      </a:cubicBezTo>
                      <a:cubicBezTo>
                        <a:pt x="5125" y="26175"/>
                        <a:pt x="-356" y="19823"/>
                        <a:pt x="18" y="12474"/>
                      </a:cubicBezTo>
                      <a:cubicBezTo>
                        <a:pt x="392" y="5125"/>
                        <a:pt x="6744" y="-356"/>
                        <a:pt x="13968" y="18"/>
                      </a:cubicBezTo>
                      <a:cubicBezTo>
                        <a:pt x="21317" y="392"/>
                        <a:pt x="26923"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4" name="Graphic 2987">
                <a:extLst>
                  <a:ext uri="{FF2B5EF4-FFF2-40B4-BE49-F238E27FC236}">
                    <a16:creationId xmlns:a16="http://schemas.microsoft.com/office/drawing/2014/main" id="{23600934-B8EA-0FB0-B5AF-77DBF1543024}"/>
                  </a:ext>
                </a:extLst>
              </p:cNvPr>
              <p:cNvGrpSpPr/>
              <p:nvPr/>
            </p:nvGrpSpPr>
            <p:grpSpPr>
              <a:xfrm>
                <a:off x="5273492" y="1833545"/>
                <a:ext cx="33928" cy="148757"/>
                <a:chOff x="5273492" y="1833545"/>
                <a:chExt cx="33928" cy="148757"/>
              </a:xfrm>
              <a:grpFill/>
            </p:grpSpPr>
            <p:sp>
              <p:nvSpPr>
                <p:cNvPr id="6168" name="Freeform 8029">
                  <a:extLst>
                    <a:ext uri="{FF2B5EF4-FFF2-40B4-BE49-F238E27FC236}">
                      <a16:creationId xmlns:a16="http://schemas.microsoft.com/office/drawing/2014/main" id="{B39E7940-85A9-BF03-4D2F-17180842E277}"/>
                    </a:ext>
                  </a:extLst>
                </p:cNvPr>
                <p:cNvSpPr/>
                <p:nvPr/>
              </p:nvSpPr>
              <p:spPr>
                <a:xfrm>
                  <a:off x="5290836" y="1910041"/>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363" y="37866"/>
                        <a:pt x="3114" y="33506"/>
                      </a:cubicBezTo>
                      <a:cubicBezTo>
                        <a:pt x="2740" y="26531"/>
                        <a:pt x="747"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9" name="Freeform 8030">
                  <a:extLst>
                    <a:ext uri="{FF2B5EF4-FFF2-40B4-BE49-F238E27FC236}">
                      <a16:creationId xmlns:a16="http://schemas.microsoft.com/office/drawing/2014/main" id="{63C90126-5253-B656-DF54-B502849175F3}"/>
                    </a:ext>
                  </a:extLst>
                </p:cNvPr>
                <p:cNvSpPr/>
                <p:nvPr/>
              </p:nvSpPr>
              <p:spPr>
                <a:xfrm>
                  <a:off x="5282032" y="1914650"/>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5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449"/>
                        <a:pt x="4819"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0" name="Freeform 8031">
                  <a:extLst>
                    <a:ext uri="{FF2B5EF4-FFF2-40B4-BE49-F238E27FC236}">
                      <a16:creationId xmlns:a16="http://schemas.microsoft.com/office/drawing/2014/main" id="{1D5A9DB3-035F-9991-E1D6-7169B0F9268A}"/>
                    </a:ext>
                  </a:extLst>
                </p:cNvPr>
                <p:cNvSpPr/>
                <p:nvPr/>
              </p:nvSpPr>
              <p:spPr>
                <a:xfrm>
                  <a:off x="5273492" y="1955736"/>
                  <a:ext cx="26592" cy="26566"/>
                </a:xfrm>
                <a:custGeom>
                  <a:avLst/>
                  <a:gdLst>
                    <a:gd name="connsiteX0" fmla="*/ 31 w 26592"/>
                    <a:gd name="connsiteY0" fmla="*/ 12474 h 26566"/>
                    <a:gd name="connsiteX1" fmla="*/ 14106 w 26592"/>
                    <a:gd name="connsiteY1" fmla="*/ 18 h 26566"/>
                    <a:gd name="connsiteX2" fmla="*/ 26562 w 26592"/>
                    <a:gd name="connsiteY2" fmla="*/ 14093 h 26566"/>
                    <a:gd name="connsiteX3" fmla="*/ 12487 w 26592"/>
                    <a:gd name="connsiteY3" fmla="*/ 26549 h 26566"/>
                    <a:gd name="connsiteX4" fmla="*/ 31 w 26592"/>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66">
                      <a:moveTo>
                        <a:pt x="31" y="12474"/>
                      </a:moveTo>
                      <a:cubicBezTo>
                        <a:pt x="529" y="5125"/>
                        <a:pt x="6757" y="-356"/>
                        <a:pt x="14106" y="18"/>
                      </a:cubicBezTo>
                      <a:cubicBezTo>
                        <a:pt x="21455" y="392"/>
                        <a:pt x="27060" y="6744"/>
                        <a:pt x="26562" y="14093"/>
                      </a:cubicBezTo>
                      <a:cubicBezTo>
                        <a:pt x="26188" y="21442"/>
                        <a:pt x="19835" y="26922"/>
                        <a:pt x="12487" y="26549"/>
                      </a:cubicBezTo>
                      <a:cubicBezTo>
                        <a:pt x="5138" y="26051"/>
                        <a:pt x="-468"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1" name="Freeform 8032">
                  <a:extLst>
                    <a:ext uri="{FF2B5EF4-FFF2-40B4-BE49-F238E27FC236}">
                      <a16:creationId xmlns:a16="http://schemas.microsoft.com/office/drawing/2014/main" id="{14F424B0-A032-ED84-16FB-CF572B49DA7F}"/>
                    </a:ext>
                  </a:extLst>
                </p:cNvPr>
                <p:cNvSpPr/>
                <p:nvPr/>
              </p:nvSpPr>
              <p:spPr>
                <a:xfrm>
                  <a:off x="5286352" y="1853617"/>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8" y="14200"/>
                        <a:pt x="747" y="18559"/>
                      </a:cubicBezTo>
                      <a:cubicBezTo>
                        <a:pt x="1121"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2" name="Freeform 8033">
                  <a:extLst>
                    <a:ext uri="{FF2B5EF4-FFF2-40B4-BE49-F238E27FC236}">
                      <a16:creationId xmlns:a16="http://schemas.microsoft.com/office/drawing/2014/main" id="{3D110CC5-5D35-1469-762E-3EB331885BA9}"/>
                    </a:ext>
                  </a:extLst>
                </p:cNvPr>
                <p:cNvSpPr/>
                <p:nvPr/>
              </p:nvSpPr>
              <p:spPr>
                <a:xfrm>
                  <a:off x="5293599" y="1849008"/>
                  <a:ext cx="5418" cy="52065"/>
                </a:xfrm>
                <a:custGeom>
                  <a:avLst/>
                  <a:gdLst>
                    <a:gd name="connsiteX0" fmla="*/ 1472 w 5418"/>
                    <a:gd name="connsiteY0" fmla="*/ 52065 h 52065"/>
                    <a:gd name="connsiteX1" fmla="*/ 600 w 5418"/>
                    <a:gd name="connsiteY1" fmla="*/ 33257 h 52065"/>
                    <a:gd name="connsiteX2" fmla="*/ 5084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1" y="43844"/>
                        <a:pt x="-147" y="37616"/>
                        <a:pt x="600" y="33257"/>
                      </a:cubicBezTo>
                      <a:cubicBezTo>
                        <a:pt x="1846" y="26406"/>
                        <a:pt x="4088" y="23417"/>
                        <a:pt x="5084"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3" name="Freeform 8034">
                  <a:extLst>
                    <a:ext uri="{FF2B5EF4-FFF2-40B4-BE49-F238E27FC236}">
                      <a16:creationId xmlns:a16="http://schemas.microsoft.com/office/drawing/2014/main" id="{4A1282AB-E770-C9D3-A40F-F2F937458FFE}"/>
                    </a:ext>
                  </a:extLst>
                </p:cNvPr>
                <p:cNvSpPr/>
                <p:nvPr/>
              </p:nvSpPr>
              <p:spPr>
                <a:xfrm>
                  <a:off x="5281090" y="1833545"/>
                  <a:ext cx="26330" cy="26441"/>
                </a:xfrm>
                <a:custGeom>
                  <a:avLst/>
                  <a:gdLst>
                    <a:gd name="connsiteX0" fmla="*/ 26313 w 26330"/>
                    <a:gd name="connsiteY0" fmla="*/ 13968 h 26441"/>
                    <a:gd name="connsiteX1" fmla="*/ 12362 w 26330"/>
                    <a:gd name="connsiteY1" fmla="*/ 26424 h 26441"/>
                    <a:gd name="connsiteX2" fmla="*/ 31 w 26330"/>
                    <a:gd name="connsiteY2" fmla="*/ 12473 h 26441"/>
                    <a:gd name="connsiteX3" fmla="*/ 13981 w 26330"/>
                    <a:gd name="connsiteY3" fmla="*/ 18 h 26441"/>
                    <a:gd name="connsiteX4" fmla="*/ 26313 w 26330"/>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41">
                      <a:moveTo>
                        <a:pt x="26313" y="13968"/>
                      </a:moveTo>
                      <a:cubicBezTo>
                        <a:pt x="25939" y="21317"/>
                        <a:pt x="19586" y="26798"/>
                        <a:pt x="12362" y="26424"/>
                      </a:cubicBezTo>
                      <a:cubicBezTo>
                        <a:pt x="5138" y="26050"/>
                        <a:pt x="-467" y="19698"/>
                        <a:pt x="31" y="12473"/>
                      </a:cubicBezTo>
                      <a:cubicBezTo>
                        <a:pt x="529" y="5249"/>
                        <a:pt x="6757" y="-356"/>
                        <a:pt x="13981" y="18"/>
                      </a:cubicBezTo>
                      <a:cubicBezTo>
                        <a:pt x="21206" y="391"/>
                        <a:pt x="26686" y="6744"/>
                        <a:pt x="26313"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5" name="Graphic 2987">
                <a:extLst>
                  <a:ext uri="{FF2B5EF4-FFF2-40B4-BE49-F238E27FC236}">
                    <a16:creationId xmlns:a16="http://schemas.microsoft.com/office/drawing/2014/main" id="{891BC7BA-6A02-B023-ED83-B7DC60E5EEA1}"/>
                  </a:ext>
                </a:extLst>
              </p:cNvPr>
              <p:cNvGrpSpPr/>
              <p:nvPr/>
            </p:nvGrpSpPr>
            <p:grpSpPr>
              <a:xfrm>
                <a:off x="5243722" y="1831802"/>
                <a:ext cx="34302" cy="148757"/>
                <a:chOff x="5243722" y="1831802"/>
                <a:chExt cx="34302" cy="148757"/>
              </a:xfrm>
              <a:grpFill/>
            </p:grpSpPr>
            <p:sp>
              <p:nvSpPr>
                <p:cNvPr id="6162" name="Freeform 8036">
                  <a:extLst>
                    <a:ext uri="{FF2B5EF4-FFF2-40B4-BE49-F238E27FC236}">
                      <a16:creationId xmlns:a16="http://schemas.microsoft.com/office/drawing/2014/main" id="{1D3F1208-8301-90E9-D7C8-CFF4450D8E68}"/>
                    </a:ext>
                  </a:extLst>
                </p:cNvPr>
                <p:cNvSpPr/>
                <p:nvPr/>
              </p:nvSpPr>
              <p:spPr>
                <a:xfrm>
                  <a:off x="5261191" y="1908298"/>
                  <a:ext cx="3985" cy="52065"/>
                </a:xfrm>
                <a:custGeom>
                  <a:avLst/>
                  <a:gdLst>
                    <a:gd name="connsiteX0" fmla="*/ 0 w 3985"/>
                    <a:gd name="connsiteY0" fmla="*/ 52065 h 52065"/>
                    <a:gd name="connsiteX1" fmla="*/ 3114 w 3985"/>
                    <a:gd name="connsiteY1" fmla="*/ 33506 h 52065"/>
                    <a:gd name="connsiteX2" fmla="*/ 747 w 3985"/>
                    <a:gd name="connsiteY2" fmla="*/ 16192 h 52065"/>
                    <a:gd name="connsiteX3" fmla="*/ 3986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0" y="52065"/>
                      </a:moveTo>
                      <a:cubicBezTo>
                        <a:pt x="2989" y="44218"/>
                        <a:pt x="3363" y="37866"/>
                        <a:pt x="3114" y="33506"/>
                      </a:cubicBezTo>
                      <a:cubicBezTo>
                        <a:pt x="2740" y="26531"/>
                        <a:pt x="872" y="23292"/>
                        <a:pt x="747" y="16192"/>
                      </a:cubicBezTo>
                      <a:cubicBezTo>
                        <a:pt x="747" y="9342"/>
                        <a:pt x="2491" y="3612"/>
                        <a:pt x="39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3" name="Freeform 8037">
                  <a:extLst>
                    <a:ext uri="{FF2B5EF4-FFF2-40B4-BE49-F238E27FC236}">
                      <a16:creationId xmlns:a16="http://schemas.microsoft.com/office/drawing/2014/main" id="{4F69440E-B7DF-1ADF-190F-C45E6C9C1636}"/>
                    </a:ext>
                  </a:extLst>
                </p:cNvPr>
                <p:cNvSpPr/>
                <p:nvPr/>
              </p:nvSpPr>
              <p:spPr>
                <a:xfrm>
                  <a:off x="5252262" y="1912906"/>
                  <a:ext cx="5474" cy="52065"/>
                </a:xfrm>
                <a:custGeom>
                  <a:avLst/>
                  <a:gdLst>
                    <a:gd name="connsiteX0" fmla="*/ 4071 w 5474"/>
                    <a:gd name="connsiteY0" fmla="*/ 0 h 52065"/>
                    <a:gd name="connsiteX1" fmla="*/ 4818 w 5474"/>
                    <a:gd name="connsiteY1" fmla="*/ 18808 h 52065"/>
                    <a:gd name="connsiteX2" fmla="*/ 334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4" name="Freeform 8038">
                  <a:extLst>
                    <a:ext uri="{FF2B5EF4-FFF2-40B4-BE49-F238E27FC236}">
                      <a16:creationId xmlns:a16="http://schemas.microsoft.com/office/drawing/2014/main" id="{7C02891D-A371-3EDD-94D7-484F71445073}"/>
                    </a:ext>
                  </a:extLst>
                </p:cNvPr>
                <p:cNvSpPr/>
                <p:nvPr/>
              </p:nvSpPr>
              <p:spPr>
                <a:xfrm>
                  <a:off x="5243722" y="1953992"/>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392"/>
                        <a:pt x="27185" y="6744"/>
                        <a:pt x="26686" y="14093"/>
                      </a:cubicBezTo>
                      <a:cubicBezTo>
                        <a:pt x="26188" y="21442"/>
                        <a:pt x="19960" y="26923"/>
                        <a:pt x="12487" y="26549"/>
                      </a:cubicBezTo>
                      <a:cubicBezTo>
                        <a:pt x="5138" y="26051"/>
                        <a:pt x="-467"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5" name="Freeform 8039">
                  <a:extLst>
                    <a:ext uri="{FF2B5EF4-FFF2-40B4-BE49-F238E27FC236}">
                      <a16:creationId xmlns:a16="http://schemas.microsoft.com/office/drawing/2014/main" id="{A63D5544-F22A-07A0-873C-C1338C6F2FD7}"/>
                    </a:ext>
                  </a:extLst>
                </p:cNvPr>
                <p:cNvSpPr/>
                <p:nvPr/>
              </p:nvSpPr>
              <p:spPr>
                <a:xfrm>
                  <a:off x="5256707" y="1851873"/>
                  <a:ext cx="3985" cy="51940"/>
                </a:xfrm>
                <a:custGeom>
                  <a:avLst/>
                  <a:gdLst>
                    <a:gd name="connsiteX0" fmla="*/ 3986 w 3985"/>
                    <a:gd name="connsiteY0" fmla="*/ 0 h 51940"/>
                    <a:gd name="connsiteX1" fmla="*/ 872 w 3985"/>
                    <a:gd name="connsiteY1" fmla="*/ 18559 h 51940"/>
                    <a:gd name="connsiteX2" fmla="*/ 3239 w 3985"/>
                    <a:gd name="connsiteY2" fmla="*/ 35748 h 51940"/>
                    <a:gd name="connsiteX3" fmla="*/ 0 w 398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985" h="51940">
                      <a:moveTo>
                        <a:pt x="3986" y="0"/>
                      </a:moveTo>
                      <a:cubicBezTo>
                        <a:pt x="996" y="7847"/>
                        <a:pt x="623" y="14200"/>
                        <a:pt x="872" y="18559"/>
                      </a:cubicBezTo>
                      <a:cubicBezTo>
                        <a:pt x="1246" y="25534"/>
                        <a:pt x="3114" y="28773"/>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6" name="Freeform 8040">
                  <a:extLst>
                    <a:ext uri="{FF2B5EF4-FFF2-40B4-BE49-F238E27FC236}">
                      <a16:creationId xmlns:a16="http://schemas.microsoft.com/office/drawing/2014/main" id="{820EFB1E-62C7-D9ED-C6E8-8D3361679ECB}"/>
                    </a:ext>
                  </a:extLst>
                </p:cNvPr>
                <p:cNvSpPr/>
                <p:nvPr/>
              </p:nvSpPr>
              <p:spPr>
                <a:xfrm>
                  <a:off x="5264023" y="1847264"/>
                  <a:ext cx="5474" cy="52065"/>
                </a:xfrm>
                <a:custGeom>
                  <a:avLst/>
                  <a:gdLst>
                    <a:gd name="connsiteX0" fmla="*/ 1404 w 5474"/>
                    <a:gd name="connsiteY0" fmla="*/ 52065 h 52065"/>
                    <a:gd name="connsiteX1" fmla="*/ 656 w 5474"/>
                    <a:gd name="connsiteY1" fmla="*/ 33257 h 52065"/>
                    <a:gd name="connsiteX2" fmla="*/ 5140 w 5474"/>
                    <a:gd name="connsiteY2" fmla="*/ 16442 h 52065"/>
                    <a:gd name="connsiteX3" fmla="*/ 4019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52065"/>
                      </a:moveTo>
                      <a:cubicBezTo>
                        <a:pt x="-589" y="43844"/>
                        <a:pt x="-91" y="37616"/>
                        <a:pt x="656" y="33257"/>
                      </a:cubicBezTo>
                      <a:cubicBezTo>
                        <a:pt x="1902" y="26406"/>
                        <a:pt x="4144" y="23417"/>
                        <a:pt x="5140" y="16442"/>
                      </a:cubicBezTo>
                      <a:cubicBezTo>
                        <a:pt x="6012" y="9591"/>
                        <a:pt x="5015"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7" name="Freeform 8041">
                  <a:extLst>
                    <a:ext uri="{FF2B5EF4-FFF2-40B4-BE49-F238E27FC236}">
                      <a16:creationId xmlns:a16="http://schemas.microsoft.com/office/drawing/2014/main" id="{4E43409C-A9CF-A196-D014-E80D134B381D}"/>
                    </a:ext>
                  </a:extLst>
                </p:cNvPr>
                <p:cNvSpPr/>
                <p:nvPr/>
              </p:nvSpPr>
              <p:spPr>
                <a:xfrm>
                  <a:off x="5251569" y="1831802"/>
                  <a:ext cx="26456" cy="26441"/>
                </a:xfrm>
                <a:custGeom>
                  <a:avLst/>
                  <a:gdLst>
                    <a:gd name="connsiteX0" fmla="*/ 26438 w 26456"/>
                    <a:gd name="connsiteY0" fmla="*/ 13968 h 26441"/>
                    <a:gd name="connsiteX1" fmla="*/ 12363 w 26456"/>
                    <a:gd name="connsiteY1" fmla="*/ 26424 h 26441"/>
                    <a:gd name="connsiteX2" fmla="*/ 31 w 26456"/>
                    <a:gd name="connsiteY2" fmla="*/ 12473 h 26441"/>
                    <a:gd name="connsiteX3" fmla="*/ 14107 w 26456"/>
                    <a:gd name="connsiteY3" fmla="*/ 18 h 26441"/>
                    <a:gd name="connsiteX4" fmla="*/ 26438 w 26456"/>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41">
                      <a:moveTo>
                        <a:pt x="26438" y="13968"/>
                      </a:moveTo>
                      <a:cubicBezTo>
                        <a:pt x="25940" y="21317"/>
                        <a:pt x="19712" y="26798"/>
                        <a:pt x="12363" y="26424"/>
                      </a:cubicBezTo>
                      <a:cubicBezTo>
                        <a:pt x="5014" y="26050"/>
                        <a:pt x="-467" y="19698"/>
                        <a:pt x="31" y="12473"/>
                      </a:cubicBezTo>
                      <a:cubicBezTo>
                        <a:pt x="530" y="5249"/>
                        <a:pt x="6758" y="-356"/>
                        <a:pt x="14107" y="18"/>
                      </a:cubicBezTo>
                      <a:cubicBezTo>
                        <a:pt x="21455" y="391"/>
                        <a:pt x="26811"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6" name="Graphic 2987">
                <a:extLst>
                  <a:ext uri="{FF2B5EF4-FFF2-40B4-BE49-F238E27FC236}">
                    <a16:creationId xmlns:a16="http://schemas.microsoft.com/office/drawing/2014/main" id="{3D522498-253D-EA48-1736-653BFADAD4E4}"/>
                  </a:ext>
                </a:extLst>
              </p:cNvPr>
              <p:cNvGrpSpPr/>
              <p:nvPr/>
            </p:nvGrpSpPr>
            <p:grpSpPr>
              <a:xfrm>
                <a:off x="5213953" y="1830057"/>
                <a:ext cx="34564" cy="148633"/>
                <a:chOff x="5213953" y="1830057"/>
                <a:chExt cx="34564" cy="148633"/>
              </a:xfrm>
              <a:grpFill/>
            </p:grpSpPr>
            <p:sp>
              <p:nvSpPr>
                <p:cNvPr id="6156" name="Freeform 8043">
                  <a:extLst>
                    <a:ext uri="{FF2B5EF4-FFF2-40B4-BE49-F238E27FC236}">
                      <a16:creationId xmlns:a16="http://schemas.microsoft.com/office/drawing/2014/main" id="{866531BA-8B1F-C751-C9B5-DDF1FBF52B7C}"/>
                    </a:ext>
                  </a:extLst>
                </p:cNvPr>
                <p:cNvSpPr/>
                <p:nvPr/>
              </p:nvSpPr>
              <p:spPr>
                <a:xfrm>
                  <a:off x="5231422" y="1906678"/>
                  <a:ext cx="4110" cy="51940"/>
                </a:xfrm>
                <a:custGeom>
                  <a:avLst/>
                  <a:gdLst>
                    <a:gd name="connsiteX0" fmla="*/ 0 w 4110"/>
                    <a:gd name="connsiteY0" fmla="*/ 51941 h 51940"/>
                    <a:gd name="connsiteX1" fmla="*/ 3239 w 4110"/>
                    <a:gd name="connsiteY1" fmla="*/ 33381 h 51940"/>
                    <a:gd name="connsiteX2" fmla="*/ 872 w 4110"/>
                    <a:gd name="connsiteY2" fmla="*/ 16192 h 51940"/>
                    <a:gd name="connsiteX3" fmla="*/ 4110 w 4110"/>
                    <a:gd name="connsiteY3" fmla="*/ 0 h 51940"/>
                  </a:gdLst>
                  <a:ahLst/>
                  <a:cxnLst>
                    <a:cxn ang="0">
                      <a:pos x="connsiteX0" y="connsiteY0"/>
                    </a:cxn>
                    <a:cxn ang="0">
                      <a:pos x="connsiteX1" y="connsiteY1"/>
                    </a:cxn>
                    <a:cxn ang="0">
                      <a:pos x="connsiteX2" y="connsiteY2"/>
                    </a:cxn>
                    <a:cxn ang="0">
                      <a:pos x="connsiteX3" y="connsiteY3"/>
                    </a:cxn>
                  </a:cxnLst>
                  <a:rect l="l" t="t" r="r" b="b"/>
                  <a:pathLst>
                    <a:path w="4110" h="51940">
                      <a:moveTo>
                        <a:pt x="0" y="51941"/>
                      </a:moveTo>
                      <a:cubicBezTo>
                        <a:pt x="2989" y="44093"/>
                        <a:pt x="3363" y="37741"/>
                        <a:pt x="3239" y="33381"/>
                      </a:cubicBezTo>
                      <a:cubicBezTo>
                        <a:pt x="2865" y="26406"/>
                        <a:pt x="996" y="23168"/>
                        <a:pt x="872" y="16192"/>
                      </a:cubicBezTo>
                      <a:cubicBezTo>
                        <a:pt x="872" y="9342"/>
                        <a:pt x="2616" y="3612"/>
                        <a:pt x="41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7" name="Freeform 8044">
                  <a:extLst>
                    <a:ext uri="{FF2B5EF4-FFF2-40B4-BE49-F238E27FC236}">
                      <a16:creationId xmlns:a16="http://schemas.microsoft.com/office/drawing/2014/main" id="{C0507296-BE3C-93C5-6D40-E82D800B8BB7}"/>
                    </a:ext>
                  </a:extLst>
                </p:cNvPr>
                <p:cNvSpPr/>
                <p:nvPr/>
              </p:nvSpPr>
              <p:spPr>
                <a:xfrm>
                  <a:off x="5222439" y="1911162"/>
                  <a:ext cx="5652" cy="52065"/>
                </a:xfrm>
                <a:custGeom>
                  <a:avLst/>
                  <a:gdLst>
                    <a:gd name="connsiteX0" fmla="*/ 4249 w 5652"/>
                    <a:gd name="connsiteY0" fmla="*/ 0 h 52065"/>
                    <a:gd name="connsiteX1" fmla="*/ 4997 w 5652"/>
                    <a:gd name="connsiteY1" fmla="*/ 18808 h 52065"/>
                    <a:gd name="connsiteX2" fmla="*/ 388 w 5652"/>
                    <a:gd name="connsiteY2" fmla="*/ 35624 h 52065"/>
                    <a:gd name="connsiteX3" fmla="*/ 1509 w 56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2" h="52065">
                      <a:moveTo>
                        <a:pt x="4249" y="0"/>
                      </a:moveTo>
                      <a:cubicBezTo>
                        <a:pt x="6242" y="8221"/>
                        <a:pt x="5744" y="14449"/>
                        <a:pt x="4997" y="18808"/>
                      </a:cubicBezTo>
                      <a:cubicBezTo>
                        <a:pt x="3751" y="25659"/>
                        <a:pt x="1385" y="28648"/>
                        <a:pt x="388" y="35624"/>
                      </a:cubicBezTo>
                      <a:cubicBezTo>
                        <a:pt x="-608" y="42474"/>
                        <a:pt x="513" y="48328"/>
                        <a:pt x="15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8" name="Freeform 8045">
                  <a:extLst>
                    <a:ext uri="{FF2B5EF4-FFF2-40B4-BE49-F238E27FC236}">
                      <a16:creationId xmlns:a16="http://schemas.microsoft.com/office/drawing/2014/main" id="{36044AD4-8F29-62F0-0EDD-4F31B1F978F0}"/>
                    </a:ext>
                  </a:extLst>
                </p:cNvPr>
                <p:cNvSpPr/>
                <p:nvPr/>
              </p:nvSpPr>
              <p:spPr>
                <a:xfrm>
                  <a:off x="5213953" y="1952124"/>
                  <a:ext cx="26716" cy="26566"/>
                </a:xfrm>
                <a:custGeom>
                  <a:avLst/>
                  <a:gdLst>
                    <a:gd name="connsiteX0" fmla="*/ 31 w 26716"/>
                    <a:gd name="connsiteY0" fmla="*/ 12474 h 26566"/>
                    <a:gd name="connsiteX1" fmla="*/ 14230 w 26716"/>
                    <a:gd name="connsiteY1" fmla="*/ 18 h 26566"/>
                    <a:gd name="connsiteX2" fmla="*/ 26686 w 26716"/>
                    <a:gd name="connsiteY2" fmla="*/ 14093 h 26566"/>
                    <a:gd name="connsiteX3" fmla="*/ 12487 w 26716"/>
                    <a:gd name="connsiteY3" fmla="*/ 26549 h 26566"/>
                    <a:gd name="connsiteX4" fmla="*/ 31 w 26716"/>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66">
                      <a:moveTo>
                        <a:pt x="31" y="12474"/>
                      </a:moveTo>
                      <a:cubicBezTo>
                        <a:pt x="529" y="5125"/>
                        <a:pt x="6881" y="-356"/>
                        <a:pt x="14230" y="18"/>
                      </a:cubicBezTo>
                      <a:cubicBezTo>
                        <a:pt x="21579" y="516"/>
                        <a:pt x="27184" y="6744"/>
                        <a:pt x="26686" y="14093"/>
                      </a:cubicBezTo>
                      <a:cubicBezTo>
                        <a:pt x="26188" y="21442"/>
                        <a:pt x="19835" y="26922"/>
                        <a:pt x="12487" y="26549"/>
                      </a:cubicBezTo>
                      <a:cubicBezTo>
                        <a:pt x="5138" y="26051"/>
                        <a:pt x="-468"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9" name="Freeform 8046">
                  <a:extLst>
                    <a:ext uri="{FF2B5EF4-FFF2-40B4-BE49-F238E27FC236}">
                      <a16:creationId xmlns:a16="http://schemas.microsoft.com/office/drawing/2014/main" id="{B0DEDA04-71EB-CF21-18E7-98E3EA693255}"/>
                    </a:ext>
                  </a:extLst>
                </p:cNvPr>
                <p:cNvSpPr/>
                <p:nvPr/>
              </p:nvSpPr>
              <p:spPr>
                <a:xfrm>
                  <a:off x="5227062" y="1850129"/>
                  <a:ext cx="4234" cy="51940"/>
                </a:xfrm>
                <a:custGeom>
                  <a:avLst/>
                  <a:gdLst>
                    <a:gd name="connsiteX0" fmla="*/ 4235 w 4234"/>
                    <a:gd name="connsiteY0" fmla="*/ 0 h 51940"/>
                    <a:gd name="connsiteX1" fmla="*/ 997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872" y="14200"/>
                        <a:pt x="997" y="18559"/>
                      </a:cubicBezTo>
                      <a:cubicBezTo>
                        <a:pt x="1370"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0" name="Freeform 8047">
                  <a:extLst>
                    <a:ext uri="{FF2B5EF4-FFF2-40B4-BE49-F238E27FC236}">
                      <a16:creationId xmlns:a16="http://schemas.microsoft.com/office/drawing/2014/main" id="{2EEC7C16-A343-F144-885B-588C9D76A9EB}"/>
                    </a:ext>
                  </a:extLst>
                </p:cNvPr>
                <p:cNvSpPr/>
                <p:nvPr/>
              </p:nvSpPr>
              <p:spPr>
                <a:xfrm>
                  <a:off x="5234503" y="1845521"/>
                  <a:ext cx="5528" cy="52065"/>
                </a:xfrm>
                <a:custGeom>
                  <a:avLst/>
                  <a:gdLst>
                    <a:gd name="connsiteX0" fmla="*/ 1403 w 5528"/>
                    <a:gd name="connsiteY0" fmla="*/ 52065 h 52065"/>
                    <a:gd name="connsiteX1" fmla="*/ 656 w 5528"/>
                    <a:gd name="connsiteY1" fmla="*/ 33257 h 52065"/>
                    <a:gd name="connsiteX2" fmla="*/ 5140 w 5528"/>
                    <a:gd name="connsiteY2" fmla="*/ 16442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8" y="23417"/>
                        <a:pt x="5140" y="16442"/>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1" name="Freeform 8048">
                  <a:extLst>
                    <a:ext uri="{FF2B5EF4-FFF2-40B4-BE49-F238E27FC236}">
                      <a16:creationId xmlns:a16="http://schemas.microsoft.com/office/drawing/2014/main" id="{21C8531B-8334-93B2-2E25-DA5AEE6BACD7}"/>
                    </a:ext>
                  </a:extLst>
                </p:cNvPr>
                <p:cNvSpPr/>
                <p:nvPr/>
              </p:nvSpPr>
              <p:spPr>
                <a:xfrm>
                  <a:off x="5222049" y="1830057"/>
                  <a:ext cx="26469" cy="26442"/>
                </a:xfrm>
                <a:custGeom>
                  <a:avLst/>
                  <a:gdLst>
                    <a:gd name="connsiteX0" fmla="*/ 26438 w 26469"/>
                    <a:gd name="connsiteY0" fmla="*/ 13968 h 26442"/>
                    <a:gd name="connsiteX1" fmla="*/ 12363 w 26469"/>
                    <a:gd name="connsiteY1" fmla="*/ 26424 h 26442"/>
                    <a:gd name="connsiteX2" fmla="*/ 31 w 26469"/>
                    <a:gd name="connsiteY2" fmla="*/ 12474 h 26442"/>
                    <a:gd name="connsiteX3" fmla="*/ 14107 w 26469"/>
                    <a:gd name="connsiteY3" fmla="*/ 18 h 26442"/>
                    <a:gd name="connsiteX4" fmla="*/ 26438 w 26469"/>
                    <a:gd name="connsiteY4" fmla="*/ 13968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442">
                      <a:moveTo>
                        <a:pt x="26438" y="13968"/>
                      </a:moveTo>
                      <a:cubicBezTo>
                        <a:pt x="25939" y="21317"/>
                        <a:pt x="19711" y="26798"/>
                        <a:pt x="12363" y="26424"/>
                      </a:cubicBezTo>
                      <a:cubicBezTo>
                        <a:pt x="5014" y="26051"/>
                        <a:pt x="-467" y="19698"/>
                        <a:pt x="31" y="12474"/>
                      </a:cubicBezTo>
                      <a:cubicBezTo>
                        <a:pt x="530" y="5125"/>
                        <a:pt x="6758" y="-356"/>
                        <a:pt x="14107" y="18"/>
                      </a:cubicBezTo>
                      <a:cubicBezTo>
                        <a:pt x="21455" y="392"/>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7" name="Graphic 2987">
                <a:extLst>
                  <a:ext uri="{FF2B5EF4-FFF2-40B4-BE49-F238E27FC236}">
                    <a16:creationId xmlns:a16="http://schemas.microsoft.com/office/drawing/2014/main" id="{621D0803-58C4-DCDC-60EB-C93F567B1D7F}"/>
                  </a:ext>
                </a:extLst>
              </p:cNvPr>
              <p:cNvGrpSpPr/>
              <p:nvPr/>
            </p:nvGrpSpPr>
            <p:grpSpPr>
              <a:xfrm>
                <a:off x="5184184" y="1828314"/>
                <a:ext cx="34937" cy="148632"/>
                <a:chOff x="5184184" y="1828314"/>
                <a:chExt cx="34937" cy="148632"/>
              </a:xfrm>
              <a:grpFill/>
            </p:grpSpPr>
            <p:sp>
              <p:nvSpPr>
                <p:cNvPr id="6150" name="Freeform 8050">
                  <a:extLst>
                    <a:ext uri="{FF2B5EF4-FFF2-40B4-BE49-F238E27FC236}">
                      <a16:creationId xmlns:a16="http://schemas.microsoft.com/office/drawing/2014/main" id="{72ADE773-5460-2155-2BAD-9BE9865FC3A9}"/>
                    </a:ext>
                  </a:extLst>
                </p:cNvPr>
                <p:cNvSpPr/>
                <p:nvPr/>
              </p:nvSpPr>
              <p:spPr>
                <a:xfrm>
                  <a:off x="5201652" y="1904935"/>
                  <a:ext cx="4235" cy="51940"/>
                </a:xfrm>
                <a:custGeom>
                  <a:avLst/>
                  <a:gdLst>
                    <a:gd name="connsiteX0" fmla="*/ 0 w 4235"/>
                    <a:gd name="connsiteY0" fmla="*/ 51941 h 51940"/>
                    <a:gd name="connsiteX1" fmla="*/ 3239 w 4235"/>
                    <a:gd name="connsiteY1" fmla="*/ 33381 h 51940"/>
                    <a:gd name="connsiteX2" fmla="*/ 997 w 4235"/>
                    <a:gd name="connsiteY2" fmla="*/ 16192 h 51940"/>
                    <a:gd name="connsiteX3" fmla="*/ 4235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0" y="51941"/>
                      </a:moveTo>
                      <a:cubicBezTo>
                        <a:pt x="2990" y="44093"/>
                        <a:pt x="3488" y="37741"/>
                        <a:pt x="3239" y="33381"/>
                      </a:cubicBezTo>
                      <a:cubicBezTo>
                        <a:pt x="2990" y="26406"/>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1" name="Freeform 8051">
                  <a:extLst>
                    <a:ext uri="{FF2B5EF4-FFF2-40B4-BE49-F238E27FC236}">
                      <a16:creationId xmlns:a16="http://schemas.microsoft.com/office/drawing/2014/main" id="{938BE540-EA15-7BBF-9425-D63B4C6BB98A}"/>
                    </a:ext>
                  </a:extLst>
                </p:cNvPr>
                <p:cNvSpPr/>
                <p:nvPr/>
              </p:nvSpPr>
              <p:spPr>
                <a:xfrm>
                  <a:off x="5192894" y="1909419"/>
                  <a:ext cx="5633" cy="52065"/>
                </a:xfrm>
                <a:custGeom>
                  <a:avLst/>
                  <a:gdLst>
                    <a:gd name="connsiteX0" fmla="*/ 4274 w 5633"/>
                    <a:gd name="connsiteY0" fmla="*/ 0 h 52065"/>
                    <a:gd name="connsiteX1" fmla="*/ 5021 w 5633"/>
                    <a:gd name="connsiteY1" fmla="*/ 18808 h 52065"/>
                    <a:gd name="connsiteX2" fmla="*/ 413 w 5633"/>
                    <a:gd name="connsiteY2" fmla="*/ 35624 h 52065"/>
                    <a:gd name="connsiteX3" fmla="*/ 1409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4274" y="0"/>
                      </a:moveTo>
                      <a:cubicBezTo>
                        <a:pt x="6142" y="8221"/>
                        <a:pt x="5769" y="14449"/>
                        <a:pt x="5021" y="18808"/>
                      </a:cubicBezTo>
                      <a:cubicBezTo>
                        <a:pt x="3776" y="25659"/>
                        <a:pt x="1409" y="28648"/>
                        <a:pt x="413" y="35624"/>
                      </a:cubicBezTo>
                      <a:cubicBezTo>
                        <a:pt x="-584"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2" name="Freeform 8052">
                  <a:extLst>
                    <a:ext uri="{FF2B5EF4-FFF2-40B4-BE49-F238E27FC236}">
                      <a16:creationId xmlns:a16="http://schemas.microsoft.com/office/drawing/2014/main" id="{269A2B60-DF1F-BC47-F93B-87F83C15E5BA}"/>
                    </a:ext>
                  </a:extLst>
                </p:cNvPr>
                <p:cNvSpPr/>
                <p:nvPr/>
              </p:nvSpPr>
              <p:spPr>
                <a:xfrm>
                  <a:off x="5184184" y="1950380"/>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516"/>
                        <a:pt x="27185" y="6744"/>
                        <a:pt x="26686" y="14093"/>
                      </a:cubicBezTo>
                      <a:cubicBezTo>
                        <a:pt x="26188" y="21442"/>
                        <a:pt x="19835" y="26922"/>
                        <a:pt x="12487"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3" name="Freeform 8053">
                  <a:extLst>
                    <a:ext uri="{FF2B5EF4-FFF2-40B4-BE49-F238E27FC236}">
                      <a16:creationId xmlns:a16="http://schemas.microsoft.com/office/drawing/2014/main" id="{3FDBFB2D-3613-7B67-FFD9-4AF2381A6018}"/>
                    </a:ext>
                  </a:extLst>
                </p:cNvPr>
                <p:cNvSpPr/>
                <p:nvPr/>
              </p:nvSpPr>
              <p:spPr>
                <a:xfrm>
                  <a:off x="5197542" y="1848385"/>
                  <a:ext cx="4234" cy="51940"/>
                </a:xfrm>
                <a:custGeom>
                  <a:avLst/>
                  <a:gdLst>
                    <a:gd name="connsiteX0" fmla="*/ 4235 w 4234"/>
                    <a:gd name="connsiteY0" fmla="*/ 0 h 51940"/>
                    <a:gd name="connsiteX1" fmla="*/ 996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747" y="14200"/>
                        <a:pt x="996" y="18559"/>
                      </a:cubicBezTo>
                      <a:cubicBezTo>
                        <a:pt x="1246"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4" name="Freeform 8054">
                  <a:extLst>
                    <a:ext uri="{FF2B5EF4-FFF2-40B4-BE49-F238E27FC236}">
                      <a16:creationId xmlns:a16="http://schemas.microsoft.com/office/drawing/2014/main" id="{F63BDD38-F87B-78F5-E503-75C34A86A55C}"/>
                    </a:ext>
                  </a:extLst>
                </p:cNvPr>
                <p:cNvSpPr/>
                <p:nvPr/>
              </p:nvSpPr>
              <p:spPr>
                <a:xfrm>
                  <a:off x="5204858" y="1843777"/>
                  <a:ext cx="5677" cy="52065"/>
                </a:xfrm>
                <a:custGeom>
                  <a:avLst/>
                  <a:gdLst>
                    <a:gd name="connsiteX0" fmla="*/ 1404 w 5677"/>
                    <a:gd name="connsiteY0" fmla="*/ 52065 h 52065"/>
                    <a:gd name="connsiteX1" fmla="*/ 656 w 5677"/>
                    <a:gd name="connsiteY1" fmla="*/ 33257 h 52065"/>
                    <a:gd name="connsiteX2" fmla="*/ 5265 w 5677"/>
                    <a:gd name="connsiteY2" fmla="*/ 16442 h 52065"/>
                    <a:gd name="connsiteX3" fmla="*/ 4268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1404" y="52065"/>
                      </a:moveTo>
                      <a:cubicBezTo>
                        <a:pt x="-589" y="43844"/>
                        <a:pt x="-91" y="37616"/>
                        <a:pt x="656" y="33257"/>
                      </a:cubicBezTo>
                      <a:cubicBezTo>
                        <a:pt x="1902" y="26406"/>
                        <a:pt x="4268" y="23417"/>
                        <a:pt x="5265" y="16442"/>
                      </a:cubicBezTo>
                      <a:cubicBezTo>
                        <a:pt x="6261" y="9591"/>
                        <a:pt x="5265" y="3737"/>
                        <a:pt x="42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5" name="Freeform 8055">
                  <a:extLst>
                    <a:ext uri="{FF2B5EF4-FFF2-40B4-BE49-F238E27FC236}">
                      <a16:creationId xmlns:a16="http://schemas.microsoft.com/office/drawing/2014/main" id="{7DA36E07-275F-7B19-61FE-93E95BB6AC80}"/>
                    </a:ext>
                  </a:extLst>
                </p:cNvPr>
                <p:cNvSpPr/>
                <p:nvPr/>
              </p:nvSpPr>
              <p:spPr>
                <a:xfrm>
                  <a:off x="5192653" y="1828314"/>
                  <a:ext cx="26468" cy="26441"/>
                </a:xfrm>
                <a:custGeom>
                  <a:avLst/>
                  <a:gdLst>
                    <a:gd name="connsiteX0" fmla="*/ 26438 w 26468"/>
                    <a:gd name="connsiteY0" fmla="*/ 13968 h 26441"/>
                    <a:gd name="connsiteX1" fmla="*/ 12363 w 26468"/>
                    <a:gd name="connsiteY1" fmla="*/ 26424 h 26441"/>
                    <a:gd name="connsiteX2" fmla="*/ 31 w 26468"/>
                    <a:gd name="connsiteY2" fmla="*/ 12473 h 26441"/>
                    <a:gd name="connsiteX3" fmla="*/ 14106 w 26468"/>
                    <a:gd name="connsiteY3" fmla="*/ 18 h 26441"/>
                    <a:gd name="connsiteX4" fmla="*/ 26438 w 26468"/>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441">
                      <a:moveTo>
                        <a:pt x="26438" y="13968"/>
                      </a:moveTo>
                      <a:cubicBezTo>
                        <a:pt x="25939" y="21317"/>
                        <a:pt x="19587" y="26798"/>
                        <a:pt x="12363" y="26424"/>
                      </a:cubicBezTo>
                      <a:cubicBezTo>
                        <a:pt x="5014" y="26050"/>
                        <a:pt x="-467" y="19698"/>
                        <a:pt x="31" y="12473"/>
                      </a:cubicBezTo>
                      <a:cubicBezTo>
                        <a:pt x="529" y="5249"/>
                        <a:pt x="6882" y="-356"/>
                        <a:pt x="14106" y="18"/>
                      </a:cubicBezTo>
                      <a:cubicBezTo>
                        <a:pt x="21331" y="391"/>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8" name="Graphic 2987">
                <a:extLst>
                  <a:ext uri="{FF2B5EF4-FFF2-40B4-BE49-F238E27FC236}">
                    <a16:creationId xmlns:a16="http://schemas.microsoft.com/office/drawing/2014/main" id="{A697092F-0FE2-38A3-3D1A-7960531B95FA}"/>
                  </a:ext>
                </a:extLst>
              </p:cNvPr>
              <p:cNvGrpSpPr/>
              <p:nvPr/>
            </p:nvGrpSpPr>
            <p:grpSpPr>
              <a:xfrm>
                <a:off x="5154414" y="1826569"/>
                <a:ext cx="35188" cy="148509"/>
                <a:chOff x="5154414" y="1826569"/>
                <a:chExt cx="35188" cy="148509"/>
              </a:xfrm>
              <a:grpFill/>
            </p:grpSpPr>
            <p:sp>
              <p:nvSpPr>
                <p:cNvPr id="6144" name="Freeform 8057">
                  <a:extLst>
                    <a:ext uri="{FF2B5EF4-FFF2-40B4-BE49-F238E27FC236}">
                      <a16:creationId xmlns:a16="http://schemas.microsoft.com/office/drawing/2014/main" id="{AB4E1E18-6826-8931-915A-AA7B83E25D78}"/>
                    </a:ext>
                  </a:extLst>
                </p:cNvPr>
                <p:cNvSpPr/>
                <p:nvPr/>
              </p:nvSpPr>
              <p:spPr>
                <a:xfrm>
                  <a:off x="5171883" y="1903066"/>
                  <a:ext cx="4359" cy="51940"/>
                </a:xfrm>
                <a:custGeom>
                  <a:avLst/>
                  <a:gdLst>
                    <a:gd name="connsiteX0" fmla="*/ 0 w 4359"/>
                    <a:gd name="connsiteY0" fmla="*/ 51941 h 51940"/>
                    <a:gd name="connsiteX1" fmla="*/ 3239 w 4359"/>
                    <a:gd name="connsiteY1" fmla="*/ 33381 h 51940"/>
                    <a:gd name="connsiteX2" fmla="*/ 996 w 4359"/>
                    <a:gd name="connsiteY2" fmla="*/ 16192 h 51940"/>
                    <a:gd name="connsiteX3" fmla="*/ 4360 w 4359"/>
                    <a:gd name="connsiteY3" fmla="*/ 0 h 51940"/>
                  </a:gdLst>
                  <a:ahLst/>
                  <a:cxnLst>
                    <a:cxn ang="0">
                      <a:pos x="connsiteX0" y="connsiteY0"/>
                    </a:cxn>
                    <a:cxn ang="0">
                      <a:pos x="connsiteX1" y="connsiteY1"/>
                    </a:cxn>
                    <a:cxn ang="0">
                      <a:pos x="connsiteX2" y="connsiteY2"/>
                    </a:cxn>
                    <a:cxn ang="0">
                      <a:pos x="connsiteX3" y="connsiteY3"/>
                    </a:cxn>
                  </a:cxnLst>
                  <a:rect l="l" t="t" r="r" b="b"/>
                  <a:pathLst>
                    <a:path w="4359" h="51940">
                      <a:moveTo>
                        <a:pt x="0" y="51941"/>
                      </a:moveTo>
                      <a:cubicBezTo>
                        <a:pt x="3114" y="44093"/>
                        <a:pt x="3488" y="37741"/>
                        <a:pt x="3239" y="33381"/>
                      </a:cubicBezTo>
                      <a:cubicBezTo>
                        <a:pt x="2989" y="26406"/>
                        <a:pt x="996" y="23292"/>
                        <a:pt x="996" y="16192"/>
                      </a:cubicBezTo>
                      <a:cubicBezTo>
                        <a:pt x="996" y="9342"/>
                        <a:pt x="2740" y="3612"/>
                        <a:pt x="43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5" name="Freeform 8058">
                  <a:extLst>
                    <a:ext uri="{FF2B5EF4-FFF2-40B4-BE49-F238E27FC236}">
                      <a16:creationId xmlns:a16="http://schemas.microsoft.com/office/drawing/2014/main" id="{94EE390F-E1D6-BF69-BD11-9AB042A2A310}"/>
                    </a:ext>
                  </a:extLst>
                </p:cNvPr>
                <p:cNvSpPr/>
                <p:nvPr/>
              </p:nvSpPr>
              <p:spPr>
                <a:xfrm>
                  <a:off x="5163125" y="1907550"/>
                  <a:ext cx="5739" cy="52065"/>
                </a:xfrm>
                <a:custGeom>
                  <a:avLst/>
                  <a:gdLst>
                    <a:gd name="connsiteX0" fmla="*/ 4399 w 5739"/>
                    <a:gd name="connsiteY0" fmla="*/ 0 h 52065"/>
                    <a:gd name="connsiteX1" fmla="*/ 5022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0"/>
                      </a:moveTo>
                      <a:cubicBezTo>
                        <a:pt x="6267" y="8221"/>
                        <a:pt x="5893" y="14449"/>
                        <a:pt x="5022" y="18808"/>
                      </a:cubicBezTo>
                      <a:cubicBezTo>
                        <a:pt x="3776" y="25659"/>
                        <a:pt x="1409" y="28648"/>
                        <a:pt x="413" y="35624"/>
                      </a:cubicBezTo>
                      <a:cubicBezTo>
                        <a:pt x="-584" y="42474"/>
                        <a:pt x="413" y="48204"/>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6" name="Freeform 8059">
                  <a:extLst>
                    <a:ext uri="{FF2B5EF4-FFF2-40B4-BE49-F238E27FC236}">
                      <a16:creationId xmlns:a16="http://schemas.microsoft.com/office/drawing/2014/main" id="{29C46AB9-507E-91F3-AAAF-9A357F17B8E9}"/>
                    </a:ext>
                  </a:extLst>
                </p:cNvPr>
                <p:cNvSpPr/>
                <p:nvPr/>
              </p:nvSpPr>
              <p:spPr>
                <a:xfrm>
                  <a:off x="5154414" y="1948636"/>
                  <a:ext cx="26593" cy="26442"/>
                </a:xfrm>
                <a:custGeom>
                  <a:avLst/>
                  <a:gdLst>
                    <a:gd name="connsiteX0" fmla="*/ 31 w 26593"/>
                    <a:gd name="connsiteY0" fmla="*/ 12350 h 26442"/>
                    <a:gd name="connsiteX1" fmla="*/ 14231 w 26593"/>
                    <a:gd name="connsiteY1" fmla="*/ 18 h 26442"/>
                    <a:gd name="connsiteX2" fmla="*/ 26562 w 26593"/>
                    <a:gd name="connsiteY2" fmla="*/ 13969 h 26442"/>
                    <a:gd name="connsiteX3" fmla="*/ 12363 w 26593"/>
                    <a:gd name="connsiteY3" fmla="*/ 26425 h 26442"/>
                    <a:gd name="connsiteX4" fmla="*/ 31 w 26593"/>
                    <a:gd name="connsiteY4" fmla="*/ 1235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42">
                      <a:moveTo>
                        <a:pt x="31" y="12350"/>
                      </a:moveTo>
                      <a:cubicBezTo>
                        <a:pt x="529" y="5001"/>
                        <a:pt x="6882" y="-355"/>
                        <a:pt x="14231" y="18"/>
                      </a:cubicBezTo>
                      <a:cubicBezTo>
                        <a:pt x="21580" y="517"/>
                        <a:pt x="27060" y="6744"/>
                        <a:pt x="26562" y="13969"/>
                      </a:cubicBezTo>
                      <a:cubicBezTo>
                        <a:pt x="26064" y="21318"/>
                        <a:pt x="19711" y="26798"/>
                        <a:pt x="12363" y="26425"/>
                      </a:cubicBezTo>
                      <a:cubicBezTo>
                        <a:pt x="5014" y="26176"/>
                        <a:pt x="-467" y="19699"/>
                        <a:pt x="31" y="123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7" name="Freeform 8060">
                  <a:extLst>
                    <a:ext uri="{FF2B5EF4-FFF2-40B4-BE49-F238E27FC236}">
                      <a16:creationId xmlns:a16="http://schemas.microsoft.com/office/drawing/2014/main" id="{2DCC0968-6B59-2FEC-F6D5-64838B5B327C}"/>
                    </a:ext>
                  </a:extLst>
                </p:cNvPr>
                <p:cNvSpPr/>
                <p:nvPr/>
              </p:nvSpPr>
              <p:spPr>
                <a:xfrm>
                  <a:off x="5167897" y="1846642"/>
                  <a:ext cx="4359" cy="51940"/>
                </a:xfrm>
                <a:custGeom>
                  <a:avLst/>
                  <a:gdLst>
                    <a:gd name="connsiteX0" fmla="*/ 4360 w 4359"/>
                    <a:gd name="connsiteY0" fmla="*/ 0 h 51940"/>
                    <a:gd name="connsiteX1" fmla="*/ 1121 w 4359"/>
                    <a:gd name="connsiteY1" fmla="*/ 18559 h 51940"/>
                    <a:gd name="connsiteX2" fmla="*/ 3363 w 4359"/>
                    <a:gd name="connsiteY2" fmla="*/ 35748 h 51940"/>
                    <a:gd name="connsiteX3" fmla="*/ 0 w 435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359" h="51940">
                      <a:moveTo>
                        <a:pt x="4360" y="0"/>
                      </a:moveTo>
                      <a:cubicBezTo>
                        <a:pt x="1370" y="7847"/>
                        <a:pt x="872" y="14200"/>
                        <a:pt x="1121" y="18559"/>
                      </a:cubicBezTo>
                      <a:cubicBezTo>
                        <a:pt x="1370" y="25534"/>
                        <a:pt x="3363" y="28648"/>
                        <a:pt x="3363" y="35748"/>
                      </a:cubicBezTo>
                      <a:cubicBezTo>
                        <a:pt x="3363" y="42599"/>
                        <a:pt x="1619"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8" name="Freeform 8061">
                  <a:extLst>
                    <a:ext uri="{FF2B5EF4-FFF2-40B4-BE49-F238E27FC236}">
                      <a16:creationId xmlns:a16="http://schemas.microsoft.com/office/drawing/2014/main" id="{8967AFE7-6A37-B47B-E1BA-BE8F1864965C}"/>
                    </a:ext>
                  </a:extLst>
                </p:cNvPr>
                <p:cNvSpPr/>
                <p:nvPr/>
              </p:nvSpPr>
              <p:spPr>
                <a:xfrm>
                  <a:off x="5175400" y="1842033"/>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1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1" y="23417"/>
                        <a:pt x="5327" y="16442"/>
                      </a:cubicBezTo>
                      <a:cubicBezTo>
                        <a:pt x="6324" y="9591"/>
                        <a:pt x="5327" y="3861"/>
                        <a:pt x="4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9" name="Freeform 8062">
                  <a:extLst>
                    <a:ext uri="{FF2B5EF4-FFF2-40B4-BE49-F238E27FC236}">
                      <a16:creationId xmlns:a16="http://schemas.microsoft.com/office/drawing/2014/main" id="{6CE0DE3C-A412-4C7F-84C8-E8FD45987AFA}"/>
                    </a:ext>
                  </a:extLst>
                </p:cNvPr>
                <p:cNvSpPr/>
                <p:nvPr/>
              </p:nvSpPr>
              <p:spPr>
                <a:xfrm>
                  <a:off x="5163257" y="1826569"/>
                  <a:ext cx="26345" cy="26442"/>
                </a:xfrm>
                <a:custGeom>
                  <a:avLst/>
                  <a:gdLst>
                    <a:gd name="connsiteX0" fmla="*/ 26314 w 26345"/>
                    <a:gd name="connsiteY0" fmla="*/ 13969 h 26442"/>
                    <a:gd name="connsiteX1" fmla="*/ 12239 w 26345"/>
                    <a:gd name="connsiteY1" fmla="*/ 26425 h 26442"/>
                    <a:gd name="connsiteX2" fmla="*/ 32 w 26345"/>
                    <a:gd name="connsiteY2" fmla="*/ 12350 h 26442"/>
                    <a:gd name="connsiteX3" fmla="*/ 14107 w 26345"/>
                    <a:gd name="connsiteY3" fmla="*/ 18 h 26442"/>
                    <a:gd name="connsiteX4" fmla="*/ 26314 w 26345"/>
                    <a:gd name="connsiteY4" fmla="*/ 13969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2">
                      <a:moveTo>
                        <a:pt x="26314" y="13969"/>
                      </a:moveTo>
                      <a:cubicBezTo>
                        <a:pt x="25816" y="21318"/>
                        <a:pt x="19463" y="26798"/>
                        <a:pt x="12239" y="26425"/>
                      </a:cubicBezTo>
                      <a:cubicBezTo>
                        <a:pt x="4890" y="26051"/>
                        <a:pt x="-466" y="19574"/>
                        <a:pt x="32" y="12350"/>
                      </a:cubicBezTo>
                      <a:cubicBezTo>
                        <a:pt x="530" y="5001"/>
                        <a:pt x="6883" y="-355"/>
                        <a:pt x="14107" y="18"/>
                      </a:cubicBezTo>
                      <a:cubicBezTo>
                        <a:pt x="21331" y="392"/>
                        <a:pt x="26812" y="6745"/>
                        <a:pt x="26314" y="13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9" name="Graphic 2987">
                <a:extLst>
                  <a:ext uri="{FF2B5EF4-FFF2-40B4-BE49-F238E27FC236}">
                    <a16:creationId xmlns:a16="http://schemas.microsoft.com/office/drawing/2014/main" id="{7927014D-C0F7-9624-4990-BE35FADB7A0F}"/>
                  </a:ext>
                </a:extLst>
              </p:cNvPr>
              <p:cNvGrpSpPr/>
              <p:nvPr/>
            </p:nvGrpSpPr>
            <p:grpSpPr>
              <a:xfrm>
                <a:off x="5124753" y="1824296"/>
                <a:ext cx="35453" cy="148571"/>
                <a:chOff x="5124753" y="1824296"/>
                <a:chExt cx="35453" cy="148571"/>
              </a:xfrm>
              <a:grpFill/>
            </p:grpSpPr>
            <p:sp>
              <p:nvSpPr>
                <p:cNvPr id="6138" name="Freeform 8064">
                  <a:extLst>
                    <a:ext uri="{FF2B5EF4-FFF2-40B4-BE49-F238E27FC236}">
                      <a16:creationId xmlns:a16="http://schemas.microsoft.com/office/drawing/2014/main" id="{B9AD7E57-CDB5-93F1-8CDF-EFACA37C9325}"/>
                    </a:ext>
                  </a:extLst>
                </p:cNvPr>
                <p:cNvSpPr/>
                <p:nvPr/>
              </p:nvSpPr>
              <p:spPr>
                <a:xfrm>
                  <a:off x="5142239" y="1900949"/>
                  <a:ext cx="4608" cy="51940"/>
                </a:xfrm>
                <a:custGeom>
                  <a:avLst/>
                  <a:gdLst>
                    <a:gd name="connsiteX0" fmla="*/ 0 w 4608"/>
                    <a:gd name="connsiteY0" fmla="*/ 51941 h 51940"/>
                    <a:gd name="connsiteX1" fmla="*/ 3363 w 4608"/>
                    <a:gd name="connsiteY1" fmla="*/ 33506 h 51940"/>
                    <a:gd name="connsiteX2" fmla="*/ 1246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741"/>
                        <a:pt x="3363" y="33506"/>
                      </a:cubicBezTo>
                      <a:cubicBezTo>
                        <a:pt x="3114" y="26531"/>
                        <a:pt x="1121" y="23292"/>
                        <a:pt x="1246" y="16192"/>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9" name="Freeform 8065">
                  <a:extLst>
                    <a:ext uri="{FF2B5EF4-FFF2-40B4-BE49-F238E27FC236}">
                      <a16:creationId xmlns:a16="http://schemas.microsoft.com/office/drawing/2014/main" id="{13622BE0-4828-67F6-C72D-8DA6201B1517}"/>
                    </a:ext>
                  </a:extLst>
                </p:cNvPr>
                <p:cNvSpPr/>
                <p:nvPr/>
              </p:nvSpPr>
              <p:spPr>
                <a:xfrm>
                  <a:off x="5133356" y="1905184"/>
                  <a:ext cx="5816" cy="51940"/>
                </a:xfrm>
                <a:custGeom>
                  <a:avLst/>
                  <a:gdLst>
                    <a:gd name="connsiteX0" fmla="*/ 4523 w 5816"/>
                    <a:gd name="connsiteY0" fmla="*/ 0 h 51940"/>
                    <a:gd name="connsiteX1" fmla="*/ 5146 w 5816"/>
                    <a:gd name="connsiteY1" fmla="*/ 18808 h 51940"/>
                    <a:gd name="connsiteX2" fmla="*/ 413 w 5816"/>
                    <a:gd name="connsiteY2" fmla="*/ 35499 h 51940"/>
                    <a:gd name="connsiteX3" fmla="*/ 1409 w 581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0"/>
                      </a:moveTo>
                      <a:cubicBezTo>
                        <a:pt x="6392" y="8221"/>
                        <a:pt x="5893" y="14573"/>
                        <a:pt x="5146" y="18808"/>
                      </a:cubicBezTo>
                      <a:cubicBezTo>
                        <a:pt x="3900" y="25659"/>
                        <a:pt x="1534" y="28524"/>
                        <a:pt x="413" y="35499"/>
                      </a:cubicBezTo>
                      <a:cubicBezTo>
                        <a:pt x="-584" y="42350"/>
                        <a:pt x="413" y="48204"/>
                        <a:pt x="14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0" name="Freeform 8066">
                  <a:extLst>
                    <a:ext uri="{FF2B5EF4-FFF2-40B4-BE49-F238E27FC236}">
                      <a16:creationId xmlns:a16="http://schemas.microsoft.com/office/drawing/2014/main" id="{90057F30-E6D3-6B4F-4583-E69E6FEF74B7}"/>
                    </a:ext>
                  </a:extLst>
                </p:cNvPr>
                <p:cNvSpPr/>
                <p:nvPr/>
              </p:nvSpPr>
              <p:spPr>
                <a:xfrm>
                  <a:off x="5124753" y="1946363"/>
                  <a:ext cx="26733" cy="26504"/>
                </a:xfrm>
                <a:custGeom>
                  <a:avLst/>
                  <a:gdLst>
                    <a:gd name="connsiteX0" fmla="*/ 47 w 26733"/>
                    <a:gd name="connsiteY0" fmla="*/ 12131 h 26504"/>
                    <a:gd name="connsiteX1" fmla="*/ 14371 w 26733"/>
                    <a:gd name="connsiteY1" fmla="*/ 49 h 26504"/>
                    <a:gd name="connsiteX2" fmla="*/ 26702 w 26733"/>
                    <a:gd name="connsiteY2" fmla="*/ 14373 h 26504"/>
                    <a:gd name="connsiteX3" fmla="*/ 12378 w 26733"/>
                    <a:gd name="connsiteY3" fmla="*/ 26455 h 26504"/>
                    <a:gd name="connsiteX4" fmla="*/ 47 w 2673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47" y="12131"/>
                      </a:moveTo>
                      <a:cubicBezTo>
                        <a:pt x="546" y="4782"/>
                        <a:pt x="7022" y="-574"/>
                        <a:pt x="14371" y="49"/>
                      </a:cubicBezTo>
                      <a:cubicBezTo>
                        <a:pt x="21720" y="672"/>
                        <a:pt x="27201" y="7024"/>
                        <a:pt x="26702" y="14373"/>
                      </a:cubicBezTo>
                      <a:cubicBezTo>
                        <a:pt x="26204" y="21722"/>
                        <a:pt x="19852" y="27078"/>
                        <a:pt x="12378" y="26455"/>
                      </a:cubicBezTo>
                      <a:cubicBezTo>
                        <a:pt x="5029" y="25833"/>
                        <a:pt x="-575" y="19480"/>
                        <a:pt x="47"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1" name="Freeform 8067">
                  <a:extLst>
                    <a:ext uri="{FF2B5EF4-FFF2-40B4-BE49-F238E27FC236}">
                      <a16:creationId xmlns:a16="http://schemas.microsoft.com/office/drawing/2014/main" id="{1DCCAF8A-74EC-628E-2648-F4072FCA416B}"/>
                    </a:ext>
                  </a:extLst>
                </p:cNvPr>
                <p:cNvSpPr/>
                <p:nvPr/>
              </p:nvSpPr>
              <p:spPr>
                <a:xfrm>
                  <a:off x="5138253" y="1844275"/>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2" name="Freeform 8068">
                  <a:extLst>
                    <a:ext uri="{FF2B5EF4-FFF2-40B4-BE49-F238E27FC236}">
                      <a16:creationId xmlns:a16="http://schemas.microsoft.com/office/drawing/2014/main" id="{C8A8AE2D-080A-3055-EC50-D070E84A5064}"/>
                    </a:ext>
                  </a:extLst>
                </p:cNvPr>
                <p:cNvSpPr/>
                <p:nvPr/>
              </p:nvSpPr>
              <p:spPr>
                <a:xfrm>
                  <a:off x="5145803" y="1839915"/>
                  <a:ext cx="5691" cy="52065"/>
                </a:xfrm>
                <a:custGeom>
                  <a:avLst/>
                  <a:gdLst>
                    <a:gd name="connsiteX0" fmla="*/ 1293 w 5691"/>
                    <a:gd name="connsiteY0" fmla="*/ 52065 h 52065"/>
                    <a:gd name="connsiteX1" fmla="*/ 670 w 5691"/>
                    <a:gd name="connsiteY1" fmla="*/ 33257 h 52065"/>
                    <a:gd name="connsiteX2" fmla="*/ 5279 w 5691"/>
                    <a:gd name="connsiteY2" fmla="*/ 16442 h 52065"/>
                    <a:gd name="connsiteX3" fmla="*/ 4282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52065"/>
                      </a:moveTo>
                      <a:cubicBezTo>
                        <a:pt x="-576" y="43844"/>
                        <a:pt x="-77" y="37492"/>
                        <a:pt x="670" y="33257"/>
                      </a:cubicBezTo>
                      <a:cubicBezTo>
                        <a:pt x="1916" y="26406"/>
                        <a:pt x="4282" y="23541"/>
                        <a:pt x="5279" y="16442"/>
                      </a:cubicBezTo>
                      <a:cubicBezTo>
                        <a:pt x="6275" y="9591"/>
                        <a:pt x="5279" y="3737"/>
                        <a:pt x="42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3" name="Freeform 8069">
                  <a:extLst>
                    <a:ext uri="{FF2B5EF4-FFF2-40B4-BE49-F238E27FC236}">
                      <a16:creationId xmlns:a16="http://schemas.microsoft.com/office/drawing/2014/main" id="{4A9C0C0F-CC64-BF97-6D1D-89A1FF8A3BFE}"/>
                    </a:ext>
                  </a:extLst>
                </p:cNvPr>
                <p:cNvSpPr/>
                <p:nvPr/>
              </p:nvSpPr>
              <p:spPr>
                <a:xfrm>
                  <a:off x="5133862" y="1824296"/>
                  <a:ext cx="26344" cy="26504"/>
                </a:xfrm>
                <a:custGeom>
                  <a:avLst/>
                  <a:gdLst>
                    <a:gd name="connsiteX0" fmla="*/ 26313 w 26344"/>
                    <a:gd name="connsiteY0" fmla="*/ 14373 h 26504"/>
                    <a:gd name="connsiteX1" fmla="*/ 12238 w 26344"/>
                    <a:gd name="connsiteY1" fmla="*/ 26455 h 26504"/>
                    <a:gd name="connsiteX2" fmla="*/ 31 w 26344"/>
                    <a:gd name="connsiteY2" fmla="*/ 12131 h 26504"/>
                    <a:gd name="connsiteX3" fmla="*/ 14106 w 26344"/>
                    <a:gd name="connsiteY3" fmla="*/ 49 h 26504"/>
                    <a:gd name="connsiteX4" fmla="*/ 26313 w 26344"/>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04">
                      <a:moveTo>
                        <a:pt x="26313" y="14373"/>
                      </a:moveTo>
                      <a:cubicBezTo>
                        <a:pt x="25815" y="21722"/>
                        <a:pt x="19462" y="27078"/>
                        <a:pt x="12238" y="26455"/>
                      </a:cubicBezTo>
                      <a:cubicBezTo>
                        <a:pt x="5014" y="25833"/>
                        <a:pt x="-467" y="19480"/>
                        <a:pt x="31" y="12131"/>
                      </a:cubicBezTo>
                      <a:cubicBezTo>
                        <a:pt x="529" y="4782"/>
                        <a:pt x="6882" y="-574"/>
                        <a:pt x="14106" y="49"/>
                      </a:cubicBezTo>
                      <a:cubicBezTo>
                        <a:pt x="21331" y="672"/>
                        <a:pt x="26811" y="7024"/>
                        <a:pt x="26313"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0" name="Graphic 2987">
                <a:extLst>
                  <a:ext uri="{FF2B5EF4-FFF2-40B4-BE49-F238E27FC236}">
                    <a16:creationId xmlns:a16="http://schemas.microsoft.com/office/drawing/2014/main" id="{09A45663-E3C7-9A1C-E59D-16089C6C6EFC}"/>
                  </a:ext>
                </a:extLst>
              </p:cNvPr>
              <p:cNvGrpSpPr/>
              <p:nvPr/>
            </p:nvGrpSpPr>
            <p:grpSpPr>
              <a:xfrm>
                <a:off x="5095000" y="1821805"/>
                <a:ext cx="35811" cy="148571"/>
                <a:chOff x="5095000" y="1821805"/>
                <a:chExt cx="35811" cy="148571"/>
              </a:xfrm>
              <a:grpFill/>
            </p:grpSpPr>
            <p:sp>
              <p:nvSpPr>
                <p:cNvPr id="6132" name="Freeform 8071">
                  <a:extLst>
                    <a:ext uri="{FF2B5EF4-FFF2-40B4-BE49-F238E27FC236}">
                      <a16:creationId xmlns:a16="http://schemas.microsoft.com/office/drawing/2014/main" id="{4E5CC864-B3EB-8098-C858-45711371CE47}"/>
                    </a:ext>
                  </a:extLst>
                </p:cNvPr>
                <p:cNvSpPr/>
                <p:nvPr/>
              </p:nvSpPr>
              <p:spPr>
                <a:xfrm>
                  <a:off x="5112470" y="1898458"/>
                  <a:ext cx="4608" cy="51940"/>
                </a:xfrm>
                <a:custGeom>
                  <a:avLst/>
                  <a:gdLst>
                    <a:gd name="connsiteX0" fmla="*/ 0 w 4608"/>
                    <a:gd name="connsiteY0" fmla="*/ 51941 h 51940"/>
                    <a:gd name="connsiteX1" fmla="*/ 3363 w 4608"/>
                    <a:gd name="connsiteY1" fmla="*/ 33506 h 51940"/>
                    <a:gd name="connsiteX2" fmla="*/ 1245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866"/>
                        <a:pt x="3363" y="33506"/>
                      </a:cubicBezTo>
                      <a:cubicBezTo>
                        <a:pt x="3114" y="26531"/>
                        <a:pt x="1245" y="23292"/>
                        <a:pt x="1245" y="16192"/>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3" name="Freeform 8072">
                  <a:extLst>
                    <a:ext uri="{FF2B5EF4-FFF2-40B4-BE49-F238E27FC236}">
                      <a16:creationId xmlns:a16="http://schemas.microsoft.com/office/drawing/2014/main" id="{7E5D819C-664A-C592-5929-095F1E59AE01}"/>
                    </a:ext>
                  </a:extLst>
                </p:cNvPr>
                <p:cNvSpPr/>
                <p:nvPr/>
              </p:nvSpPr>
              <p:spPr>
                <a:xfrm>
                  <a:off x="5103708" y="1902817"/>
                  <a:ext cx="5927" cy="51940"/>
                </a:xfrm>
                <a:custGeom>
                  <a:avLst/>
                  <a:gdLst>
                    <a:gd name="connsiteX0" fmla="*/ 4651 w 5927"/>
                    <a:gd name="connsiteY0" fmla="*/ 0 h 51940"/>
                    <a:gd name="connsiteX1" fmla="*/ 5149 w 5927"/>
                    <a:gd name="connsiteY1" fmla="*/ 18808 h 51940"/>
                    <a:gd name="connsiteX2" fmla="*/ 416 w 5927"/>
                    <a:gd name="connsiteY2" fmla="*/ 35499 h 51940"/>
                    <a:gd name="connsiteX3" fmla="*/ 1288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0"/>
                      </a:moveTo>
                      <a:cubicBezTo>
                        <a:pt x="6519" y="8221"/>
                        <a:pt x="6021" y="14573"/>
                        <a:pt x="5149" y="18808"/>
                      </a:cubicBezTo>
                      <a:cubicBezTo>
                        <a:pt x="3903" y="25659"/>
                        <a:pt x="1537" y="28524"/>
                        <a:pt x="416" y="35499"/>
                      </a:cubicBezTo>
                      <a:cubicBezTo>
                        <a:pt x="-580" y="42350"/>
                        <a:pt x="416" y="48204"/>
                        <a:pt x="12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4" name="Freeform 8073">
                  <a:extLst>
                    <a:ext uri="{FF2B5EF4-FFF2-40B4-BE49-F238E27FC236}">
                      <a16:creationId xmlns:a16="http://schemas.microsoft.com/office/drawing/2014/main" id="{35DF89AC-BAFD-13F7-BAEE-162325B7AB60}"/>
                    </a:ext>
                  </a:extLst>
                </p:cNvPr>
                <p:cNvSpPr/>
                <p:nvPr/>
              </p:nvSpPr>
              <p:spPr>
                <a:xfrm>
                  <a:off x="5095000" y="1943872"/>
                  <a:ext cx="26718" cy="26504"/>
                </a:xfrm>
                <a:custGeom>
                  <a:avLst/>
                  <a:gdLst>
                    <a:gd name="connsiteX0" fmla="*/ 31 w 26718"/>
                    <a:gd name="connsiteY0" fmla="*/ 12131 h 26504"/>
                    <a:gd name="connsiteX1" fmla="*/ 14356 w 26718"/>
                    <a:gd name="connsiteY1" fmla="*/ 49 h 26504"/>
                    <a:gd name="connsiteX2" fmla="*/ 26687 w 26718"/>
                    <a:gd name="connsiteY2" fmla="*/ 14373 h 26504"/>
                    <a:gd name="connsiteX3" fmla="*/ 12363 w 26718"/>
                    <a:gd name="connsiteY3" fmla="*/ 26455 h 26504"/>
                    <a:gd name="connsiteX4" fmla="*/ 31 w 2671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4">
                      <a:moveTo>
                        <a:pt x="31" y="12131"/>
                      </a:moveTo>
                      <a:cubicBezTo>
                        <a:pt x="654" y="4782"/>
                        <a:pt x="7007" y="-574"/>
                        <a:pt x="14356" y="49"/>
                      </a:cubicBezTo>
                      <a:cubicBezTo>
                        <a:pt x="21705" y="672"/>
                        <a:pt x="27185" y="7024"/>
                        <a:pt x="26687" y="14373"/>
                      </a:cubicBezTo>
                      <a:cubicBezTo>
                        <a:pt x="26189" y="21722"/>
                        <a:pt x="19712" y="27078"/>
                        <a:pt x="12363" y="26455"/>
                      </a:cubicBezTo>
                      <a:cubicBezTo>
                        <a:pt x="5014" y="25833"/>
                        <a:pt x="-467" y="19480"/>
                        <a:pt x="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5" name="Freeform 8074">
                  <a:extLst>
                    <a:ext uri="{FF2B5EF4-FFF2-40B4-BE49-F238E27FC236}">
                      <a16:creationId xmlns:a16="http://schemas.microsoft.com/office/drawing/2014/main" id="{079F91B9-23B6-0463-3A53-AD206163F293}"/>
                    </a:ext>
                  </a:extLst>
                </p:cNvPr>
                <p:cNvSpPr/>
                <p:nvPr/>
              </p:nvSpPr>
              <p:spPr>
                <a:xfrm>
                  <a:off x="5108857" y="1841908"/>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075"/>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6" name="Freeform 8075">
                  <a:extLst>
                    <a:ext uri="{FF2B5EF4-FFF2-40B4-BE49-F238E27FC236}">
                      <a16:creationId xmlns:a16="http://schemas.microsoft.com/office/drawing/2014/main" id="{0E0A8FA0-4F5A-8D95-7239-B40C07D18613}"/>
                    </a:ext>
                  </a:extLst>
                </p:cNvPr>
                <p:cNvSpPr/>
                <p:nvPr/>
              </p:nvSpPr>
              <p:spPr>
                <a:xfrm>
                  <a:off x="5116283" y="1837549"/>
                  <a:ext cx="5819" cy="51940"/>
                </a:xfrm>
                <a:custGeom>
                  <a:avLst/>
                  <a:gdLst>
                    <a:gd name="connsiteX0" fmla="*/ 1293 w 5819"/>
                    <a:gd name="connsiteY0" fmla="*/ 51941 h 51940"/>
                    <a:gd name="connsiteX1" fmla="*/ 670 w 5819"/>
                    <a:gd name="connsiteY1" fmla="*/ 33132 h 51940"/>
                    <a:gd name="connsiteX2" fmla="*/ 5403 w 5819"/>
                    <a:gd name="connsiteY2" fmla="*/ 16442 h 51940"/>
                    <a:gd name="connsiteX3" fmla="*/ 4531 w 5819"/>
                    <a:gd name="connsiteY3" fmla="*/ 0 h 51940"/>
                  </a:gdLst>
                  <a:ahLst/>
                  <a:cxnLst>
                    <a:cxn ang="0">
                      <a:pos x="connsiteX0" y="connsiteY0"/>
                    </a:cxn>
                    <a:cxn ang="0">
                      <a:pos x="connsiteX1" y="connsiteY1"/>
                    </a:cxn>
                    <a:cxn ang="0">
                      <a:pos x="connsiteX2" y="connsiteY2"/>
                    </a:cxn>
                    <a:cxn ang="0">
                      <a:pos x="connsiteX3" y="connsiteY3"/>
                    </a:cxn>
                  </a:cxnLst>
                  <a:rect l="l" t="t" r="r" b="b"/>
                  <a:pathLst>
                    <a:path w="5819" h="51940">
                      <a:moveTo>
                        <a:pt x="1293" y="51941"/>
                      </a:moveTo>
                      <a:cubicBezTo>
                        <a:pt x="-576" y="43720"/>
                        <a:pt x="-77" y="37367"/>
                        <a:pt x="670" y="33132"/>
                      </a:cubicBezTo>
                      <a:cubicBezTo>
                        <a:pt x="1916" y="26282"/>
                        <a:pt x="4282" y="23417"/>
                        <a:pt x="5403" y="16442"/>
                      </a:cubicBezTo>
                      <a:cubicBezTo>
                        <a:pt x="6400" y="9591"/>
                        <a:pt x="5403" y="3737"/>
                        <a:pt x="4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7" name="Freeform 8076">
                  <a:extLst>
                    <a:ext uri="{FF2B5EF4-FFF2-40B4-BE49-F238E27FC236}">
                      <a16:creationId xmlns:a16="http://schemas.microsoft.com/office/drawing/2014/main" id="{D774D9EE-892B-64CC-12B3-EE938263A924}"/>
                    </a:ext>
                  </a:extLst>
                </p:cNvPr>
                <p:cNvSpPr/>
                <p:nvPr/>
              </p:nvSpPr>
              <p:spPr>
                <a:xfrm>
                  <a:off x="5104342" y="1821805"/>
                  <a:ext cx="26469" cy="26504"/>
                </a:xfrm>
                <a:custGeom>
                  <a:avLst/>
                  <a:gdLst>
                    <a:gd name="connsiteX0" fmla="*/ 26438 w 26469"/>
                    <a:gd name="connsiteY0" fmla="*/ 14373 h 26504"/>
                    <a:gd name="connsiteX1" fmla="*/ 12238 w 26469"/>
                    <a:gd name="connsiteY1" fmla="*/ 26455 h 26504"/>
                    <a:gd name="connsiteX2" fmla="*/ 31 w 26469"/>
                    <a:gd name="connsiteY2" fmla="*/ 12131 h 26504"/>
                    <a:gd name="connsiteX3" fmla="*/ 14231 w 26469"/>
                    <a:gd name="connsiteY3" fmla="*/ 49 h 26504"/>
                    <a:gd name="connsiteX4" fmla="*/ 26438 w 2646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04">
                      <a:moveTo>
                        <a:pt x="26438" y="14373"/>
                      </a:moveTo>
                      <a:cubicBezTo>
                        <a:pt x="25940" y="21722"/>
                        <a:pt x="19587" y="27078"/>
                        <a:pt x="12238" y="26455"/>
                      </a:cubicBezTo>
                      <a:cubicBezTo>
                        <a:pt x="5014" y="25833"/>
                        <a:pt x="-467" y="19480"/>
                        <a:pt x="31" y="12131"/>
                      </a:cubicBezTo>
                      <a:cubicBezTo>
                        <a:pt x="654" y="4782"/>
                        <a:pt x="6882" y="-574"/>
                        <a:pt x="14231" y="49"/>
                      </a:cubicBezTo>
                      <a:cubicBezTo>
                        <a:pt x="21455" y="672"/>
                        <a:pt x="26936" y="7149"/>
                        <a:pt x="2643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1" name="Graphic 2987">
                <a:extLst>
                  <a:ext uri="{FF2B5EF4-FFF2-40B4-BE49-F238E27FC236}">
                    <a16:creationId xmlns:a16="http://schemas.microsoft.com/office/drawing/2014/main" id="{D535AD79-11BF-99F1-EC48-427618D1E66E}"/>
                  </a:ext>
                </a:extLst>
              </p:cNvPr>
              <p:cNvGrpSpPr/>
              <p:nvPr/>
            </p:nvGrpSpPr>
            <p:grpSpPr>
              <a:xfrm>
                <a:off x="5065338" y="1819314"/>
                <a:ext cx="36077" cy="148571"/>
                <a:chOff x="5065338" y="1819314"/>
                <a:chExt cx="36077" cy="148571"/>
              </a:xfrm>
              <a:grpFill/>
            </p:grpSpPr>
            <p:sp>
              <p:nvSpPr>
                <p:cNvPr id="6126" name="Freeform 8078">
                  <a:extLst>
                    <a:ext uri="{FF2B5EF4-FFF2-40B4-BE49-F238E27FC236}">
                      <a16:creationId xmlns:a16="http://schemas.microsoft.com/office/drawing/2014/main" id="{FA95BCB4-62E2-F2BF-5D23-ECEAB13BE799}"/>
                    </a:ext>
                  </a:extLst>
                </p:cNvPr>
                <p:cNvSpPr/>
                <p:nvPr/>
              </p:nvSpPr>
              <p:spPr>
                <a:xfrm>
                  <a:off x="5082825" y="1895966"/>
                  <a:ext cx="4857" cy="51940"/>
                </a:xfrm>
                <a:custGeom>
                  <a:avLst/>
                  <a:gdLst>
                    <a:gd name="connsiteX0" fmla="*/ 0 w 4857"/>
                    <a:gd name="connsiteY0" fmla="*/ 51941 h 51940"/>
                    <a:gd name="connsiteX1" fmla="*/ 3488 w 4857"/>
                    <a:gd name="connsiteY1" fmla="*/ 33506 h 51940"/>
                    <a:gd name="connsiteX2" fmla="*/ 1370 w 4857"/>
                    <a:gd name="connsiteY2" fmla="*/ 16193 h 51940"/>
                    <a:gd name="connsiteX3" fmla="*/ 4858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0" y="51941"/>
                      </a:moveTo>
                      <a:cubicBezTo>
                        <a:pt x="3114" y="44093"/>
                        <a:pt x="3612" y="37866"/>
                        <a:pt x="3488" y="33506"/>
                      </a:cubicBezTo>
                      <a:cubicBezTo>
                        <a:pt x="3238" y="26531"/>
                        <a:pt x="1370" y="23292"/>
                        <a:pt x="1370" y="16193"/>
                      </a:cubicBezTo>
                      <a:cubicBezTo>
                        <a:pt x="1370" y="9342"/>
                        <a:pt x="3238" y="3737"/>
                        <a:pt x="48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7" name="Freeform 8079">
                  <a:extLst>
                    <a:ext uri="{FF2B5EF4-FFF2-40B4-BE49-F238E27FC236}">
                      <a16:creationId xmlns:a16="http://schemas.microsoft.com/office/drawing/2014/main" id="{56FF27B1-8CD9-E2A7-1E04-2D47DD330789}"/>
                    </a:ext>
                  </a:extLst>
                </p:cNvPr>
                <p:cNvSpPr/>
                <p:nvPr/>
              </p:nvSpPr>
              <p:spPr>
                <a:xfrm>
                  <a:off x="5074039" y="1900326"/>
                  <a:ext cx="5951" cy="51940"/>
                </a:xfrm>
                <a:custGeom>
                  <a:avLst/>
                  <a:gdLst>
                    <a:gd name="connsiteX0" fmla="*/ 4675 w 5951"/>
                    <a:gd name="connsiteY0" fmla="*/ 0 h 51940"/>
                    <a:gd name="connsiteX1" fmla="*/ 5173 w 5951"/>
                    <a:gd name="connsiteY1" fmla="*/ 18808 h 51940"/>
                    <a:gd name="connsiteX2" fmla="*/ 440 w 5951"/>
                    <a:gd name="connsiteY2" fmla="*/ 35499 h 51940"/>
                    <a:gd name="connsiteX3" fmla="*/ 1312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0"/>
                      </a:moveTo>
                      <a:cubicBezTo>
                        <a:pt x="6543" y="8221"/>
                        <a:pt x="6045" y="14573"/>
                        <a:pt x="5173" y="18808"/>
                      </a:cubicBezTo>
                      <a:cubicBezTo>
                        <a:pt x="3803" y="25659"/>
                        <a:pt x="1437"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8" name="Freeform 8080">
                  <a:extLst>
                    <a:ext uri="{FF2B5EF4-FFF2-40B4-BE49-F238E27FC236}">
                      <a16:creationId xmlns:a16="http://schemas.microsoft.com/office/drawing/2014/main" id="{406ED69F-75B2-8923-211E-3277E15DF7F7}"/>
                    </a:ext>
                  </a:extLst>
                </p:cNvPr>
                <p:cNvSpPr/>
                <p:nvPr/>
              </p:nvSpPr>
              <p:spPr>
                <a:xfrm>
                  <a:off x="5065338" y="1941381"/>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957"/>
                        <a:pt x="-575" y="19480"/>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9" name="Freeform 8081">
                  <a:extLst>
                    <a:ext uri="{FF2B5EF4-FFF2-40B4-BE49-F238E27FC236}">
                      <a16:creationId xmlns:a16="http://schemas.microsoft.com/office/drawing/2014/main" id="{F00F8EEF-5013-1EC2-9608-6B9D309557B0}"/>
                    </a:ext>
                  </a:extLst>
                </p:cNvPr>
                <p:cNvSpPr/>
                <p:nvPr/>
              </p:nvSpPr>
              <p:spPr>
                <a:xfrm>
                  <a:off x="5079212" y="1839417"/>
                  <a:ext cx="4857" cy="51940"/>
                </a:xfrm>
                <a:custGeom>
                  <a:avLst/>
                  <a:gdLst>
                    <a:gd name="connsiteX0" fmla="*/ 4858 w 4857"/>
                    <a:gd name="connsiteY0" fmla="*/ 0 h 51940"/>
                    <a:gd name="connsiteX1" fmla="*/ 1370 w 4857"/>
                    <a:gd name="connsiteY1" fmla="*/ 18435 h 51940"/>
                    <a:gd name="connsiteX2" fmla="*/ 3488 w 4857"/>
                    <a:gd name="connsiteY2" fmla="*/ 35748 h 51940"/>
                    <a:gd name="connsiteX3" fmla="*/ 0 w 48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0"/>
                      </a:moveTo>
                      <a:cubicBezTo>
                        <a:pt x="1744" y="7847"/>
                        <a:pt x="1246" y="14075"/>
                        <a:pt x="1370" y="18435"/>
                      </a:cubicBezTo>
                      <a:cubicBezTo>
                        <a:pt x="1619" y="25410"/>
                        <a:pt x="3488"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0" name="Freeform 8082">
                  <a:extLst>
                    <a:ext uri="{FF2B5EF4-FFF2-40B4-BE49-F238E27FC236}">
                      <a16:creationId xmlns:a16="http://schemas.microsoft.com/office/drawing/2014/main" id="{8E945D28-538C-B975-B604-AA8661FAF6E7}"/>
                    </a:ext>
                  </a:extLst>
                </p:cNvPr>
                <p:cNvSpPr/>
                <p:nvPr/>
              </p:nvSpPr>
              <p:spPr>
                <a:xfrm>
                  <a:off x="5086779" y="1835058"/>
                  <a:ext cx="5951" cy="51940"/>
                </a:xfrm>
                <a:custGeom>
                  <a:avLst/>
                  <a:gdLst>
                    <a:gd name="connsiteX0" fmla="*/ 1277 w 5951"/>
                    <a:gd name="connsiteY0" fmla="*/ 51941 h 51940"/>
                    <a:gd name="connsiteX1" fmla="*/ 779 w 5951"/>
                    <a:gd name="connsiteY1" fmla="*/ 33132 h 51940"/>
                    <a:gd name="connsiteX2" fmla="*/ 5512 w 5951"/>
                    <a:gd name="connsiteY2" fmla="*/ 16442 h 51940"/>
                    <a:gd name="connsiteX3" fmla="*/ 4640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51941"/>
                      </a:moveTo>
                      <a:cubicBezTo>
                        <a:pt x="-592" y="43720"/>
                        <a:pt x="-93" y="37367"/>
                        <a:pt x="779" y="33132"/>
                      </a:cubicBezTo>
                      <a:cubicBezTo>
                        <a:pt x="2149" y="26282"/>
                        <a:pt x="4515" y="23417"/>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1" name="Freeform 8083">
                  <a:extLst>
                    <a:ext uri="{FF2B5EF4-FFF2-40B4-BE49-F238E27FC236}">
                      <a16:creationId xmlns:a16="http://schemas.microsoft.com/office/drawing/2014/main" id="{AA678A1D-3D7A-64CF-7B29-9CC5A5C63348}"/>
                    </a:ext>
                  </a:extLst>
                </p:cNvPr>
                <p:cNvSpPr/>
                <p:nvPr/>
              </p:nvSpPr>
              <p:spPr>
                <a:xfrm>
                  <a:off x="5075054" y="1819314"/>
                  <a:ext cx="26361" cy="26504"/>
                </a:xfrm>
                <a:custGeom>
                  <a:avLst/>
                  <a:gdLst>
                    <a:gd name="connsiteX0" fmla="*/ 26330 w 26361"/>
                    <a:gd name="connsiteY0" fmla="*/ 14373 h 26504"/>
                    <a:gd name="connsiteX1" fmla="*/ 12130 w 26361"/>
                    <a:gd name="connsiteY1" fmla="*/ 26455 h 26504"/>
                    <a:gd name="connsiteX2" fmla="*/ 48 w 26361"/>
                    <a:gd name="connsiteY2" fmla="*/ 12131 h 26504"/>
                    <a:gd name="connsiteX3" fmla="*/ 14248 w 26361"/>
                    <a:gd name="connsiteY3" fmla="*/ 49 h 26504"/>
                    <a:gd name="connsiteX4" fmla="*/ 26330 w 2636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828" y="7149"/>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2" name="Graphic 2987">
                <a:extLst>
                  <a:ext uri="{FF2B5EF4-FFF2-40B4-BE49-F238E27FC236}">
                    <a16:creationId xmlns:a16="http://schemas.microsoft.com/office/drawing/2014/main" id="{CD2B6A2C-13F1-7A89-88CF-65B579E37289}"/>
                  </a:ext>
                </a:extLst>
              </p:cNvPr>
              <p:cNvGrpSpPr/>
              <p:nvPr/>
            </p:nvGrpSpPr>
            <p:grpSpPr>
              <a:xfrm>
                <a:off x="5035569" y="1816948"/>
                <a:ext cx="36451" cy="148571"/>
                <a:chOff x="5035569" y="1816948"/>
                <a:chExt cx="36451" cy="148571"/>
              </a:xfrm>
              <a:grpFill/>
            </p:grpSpPr>
            <p:sp>
              <p:nvSpPr>
                <p:cNvPr id="6120" name="Freeform 8085">
                  <a:extLst>
                    <a:ext uri="{FF2B5EF4-FFF2-40B4-BE49-F238E27FC236}">
                      <a16:creationId xmlns:a16="http://schemas.microsoft.com/office/drawing/2014/main" id="{0E1952B1-1768-00EF-53BC-0CF1EDC6331D}"/>
                    </a:ext>
                  </a:extLst>
                </p:cNvPr>
                <p:cNvSpPr/>
                <p:nvPr/>
              </p:nvSpPr>
              <p:spPr>
                <a:xfrm>
                  <a:off x="5053180" y="1893600"/>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2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363" y="3612"/>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1" name="Freeform 8086">
                  <a:extLst>
                    <a:ext uri="{FF2B5EF4-FFF2-40B4-BE49-F238E27FC236}">
                      <a16:creationId xmlns:a16="http://schemas.microsoft.com/office/drawing/2014/main" id="{8BAECF7D-BA64-681D-CD16-259AE17DCE2B}"/>
                    </a:ext>
                  </a:extLst>
                </p:cNvPr>
                <p:cNvSpPr/>
                <p:nvPr/>
              </p:nvSpPr>
              <p:spPr>
                <a:xfrm>
                  <a:off x="5044395" y="1897835"/>
                  <a:ext cx="6030" cy="51940"/>
                </a:xfrm>
                <a:custGeom>
                  <a:avLst/>
                  <a:gdLst>
                    <a:gd name="connsiteX0" fmla="*/ 4799 w 6030"/>
                    <a:gd name="connsiteY0" fmla="*/ 0 h 51940"/>
                    <a:gd name="connsiteX1" fmla="*/ 5298 w 6030"/>
                    <a:gd name="connsiteY1" fmla="*/ 18808 h 51940"/>
                    <a:gd name="connsiteX2" fmla="*/ 440 w 6030"/>
                    <a:gd name="connsiteY2" fmla="*/ 35499 h 51940"/>
                    <a:gd name="connsiteX3" fmla="*/ 1312 w 603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0"/>
                      </a:moveTo>
                      <a:cubicBezTo>
                        <a:pt x="6668" y="8221"/>
                        <a:pt x="6045" y="14573"/>
                        <a:pt x="5298" y="18808"/>
                      </a:cubicBezTo>
                      <a:cubicBezTo>
                        <a:pt x="3927" y="25659"/>
                        <a:pt x="1561"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2" name="Freeform 8087">
                  <a:extLst>
                    <a:ext uri="{FF2B5EF4-FFF2-40B4-BE49-F238E27FC236}">
                      <a16:creationId xmlns:a16="http://schemas.microsoft.com/office/drawing/2014/main" id="{60FA5684-7603-4B69-49E4-7B8CDD124E0B}"/>
                    </a:ext>
                  </a:extLst>
                </p:cNvPr>
                <p:cNvSpPr/>
                <p:nvPr/>
              </p:nvSpPr>
              <p:spPr>
                <a:xfrm>
                  <a:off x="5035569" y="1939014"/>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833"/>
                        <a:pt x="-574"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3" name="Freeform 8088">
                  <a:extLst>
                    <a:ext uri="{FF2B5EF4-FFF2-40B4-BE49-F238E27FC236}">
                      <a16:creationId xmlns:a16="http://schemas.microsoft.com/office/drawing/2014/main" id="{999882C7-E8D0-D015-5FF7-85438B22F405}"/>
                    </a:ext>
                  </a:extLst>
                </p:cNvPr>
                <p:cNvSpPr/>
                <p:nvPr/>
              </p:nvSpPr>
              <p:spPr>
                <a:xfrm>
                  <a:off x="5049692" y="1836926"/>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4" name="Freeform 8089">
                  <a:extLst>
                    <a:ext uri="{FF2B5EF4-FFF2-40B4-BE49-F238E27FC236}">
                      <a16:creationId xmlns:a16="http://schemas.microsoft.com/office/drawing/2014/main" id="{5628D9A6-E314-98F7-F8B0-22E59C55970E}"/>
                    </a:ext>
                  </a:extLst>
                </p:cNvPr>
                <p:cNvSpPr/>
                <p:nvPr/>
              </p:nvSpPr>
              <p:spPr>
                <a:xfrm>
                  <a:off x="5057305" y="1832567"/>
                  <a:ext cx="5905" cy="51940"/>
                </a:xfrm>
                <a:custGeom>
                  <a:avLst/>
                  <a:gdLst>
                    <a:gd name="connsiteX0" fmla="*/ 1231 w 5905"/>
                    <a:gd name="connsiteY0" fmla="*/ 51941 h 51940"/>
                    <a:gd name="connsiteX1" fmla="*/ 732 w 5905"/>
                    <a:gd name="connsiteY1" fmla="*/ 33132 h 51940"/>
                    <a:gd name="connsiteX2" fmla="*/ 5465 w 5905"/>
                    <a:gd name="connsiteY2" fmla="*/ 16442 h 51940"/>
                    <a:gd name="connsiteX3" fmla="*/ 4594 w 5905"/>
                    <a:gd name="connsiteY3" fmla="*/ 0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51941"/>
                      </a:moveTo>
                      <a:cubicBezTo>
                        <a:pt x="-638" y="43720"/>
                        <a:pt x="-15" y="37367"/>
                        <a:pt x="732" y="33132"/>
                      </a:cubicBezTo>
                      <a:cubicBezTo>
                        <a:pt x="2103" y="26282"/>
                        <a:pt x="4469" y="23417"/>
                        <a:pt x="5465" y="16442"/>
                      </a:cubicBezTo>
                      <a:cubicBezTo>
                        <a:pt x="6462" y="9591"/>
                        <a:pt x="5590" y="3737"/>
                        <a:pt x="45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5" name="Freeform 8090">
                  <a:extLst>
                    <a:ext uri="{FF2B5EF4-FFF2-40B4-BE49-F238E27FC236}">
                      <a16:creationId xmlns:a16="http://schemas.microsoft.com/office/drawing/2014/main" id="{14C6D33C-757A-21B9-BBE6-FFE762E6DE59}"/>
                    </a:ext>
                  </a:extLst>
                </p:cNvPr>
                <p:cNvSpPr/>
                <p:nvPr/>
              </p:nvSpPr>
              <p:spPr>
                <a:xfrm>
                  <a:off x="5045658" y="1816948"/>
                  <a:ext cx="26362" cy="26504"/>
                </a:xfrm>
                <a:custGeom>
                  <a:avLst/>
                  <a:gdLst>
                    <a:gd name="connsiteX0" fmla="*/ 26330 w 26362"/>
                    <a:gd name="connsiteY0" fmla="*/ 14373 h 26504"/>
                    <a:gd name="connsiteX1" fmla="*/ 12130 w 26362"/>
                    <a:gd name="connsiteY1" fmla="*/ 26455 h 26504"/>
                    <a:gd name="connsiteX2" fmla="*/ 48 w 26362"/>
                    <a:gd name="connsiteY2" fmla="*/ 12131 h 26504"/>
                    <a:gd name="connsiteX3" fmla="*/ 14248 w 26362"/>
                    <a:gd name="connsiteY3" fmla="*/ 49 h 26504"/>
                    <a:gd name="connsiteX4" fmla="*/ 26330 w 2636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04">
                      <a:moveTo>
                        <a:pt x="26330" y="14373"/>
                      </a:moveTo>
                      <a:cubicBezTo>
                        <a:pt x="25707" y="21722"/>
                        <a:pt x="19355" y="27078"/>
                        <a:pt x="12130" y="26455"/>
                      </a:cubicBezTo>
                      <a:cubicBezTo>
                        <a:pt x="4906" y="25833"/>
                        <a:pt x="-574" y="19480"/>
                        <a:pt x="48" y="12131"/>
                      </a:cubicBezTo>
                      <a:cubicBezTo>
                        <a:pt x="671" y="4782"/>
                        <a:pt x="7023" y="-574"/>
                        <a:pt x="14248" y="49"/>
                      </a:cubicBezTo>
                      <a:cubicBezTo>
                        <a:pt x="21472" y="672"/>
                        <a:pt x="26828"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3" name="Graphic 2987">
                <a:extLst>
                  <a:ext uri="{FF2B5EF4-FFF2-40B4-BE49-F238E27FC236}">
                    <a16:creationId xmlns:a16="http://schemas.microsoft.com/office/drawing/2014/main" id="{6C6EFA76-4B5A-C624-8FE3-910B9D2CA038}"/>
                  </a:ext>
                </a:extLst>
              </p:cNvPr>
              <p:cNvGrpSpPr/>
              <p:nvPr/>
            </p:nvGrpSpPr>
            <p:grpSpPr>
              <a:xfrm>
                <a:off x="5005923" y="1814456"/>
                <a:ext cx="36717" cy="148571"/>
                <a:chOff x="5005923" y="1814456"/>
                <a:chExt cx="36717" cy="148571"/>
              </a:xfrm>
              <a:grpFill/>
            </p:grpSpPr>
            <p:sp>
              <p:nvSpPr>
                <p:cNvPr id="6114" name="Freeform 8092">
                  <a:extLst>
                    <a:ext uri="{FF2B5EF4-FFF2-40B4-BE49-F238E27FC236}">
                      <a16:creationId xmlns:a16="http://schemas.microsoft.com/office/drawing/2014/main" id="{92236D4A-071C-8483-C18C-4F7D38E788B1}"/>
                    </a:ext>
                  </a:extLst>
                </p:cNvPr>
                <p:cNvSpPr/>
                <p:nvPr/>
              </p:nvSpPr>
              <p:spPr>
                <a:xfrm>
                  <a:off x="5023410" y="1891109"/>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3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488" y="3612"/>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5" name="Freeform 8093">
                  <a:extLst>
                    <a:ext uri="{FF2B5EF4-FFF2-40B4-BE49-F238E27FC236}">
                      <a16:creationId xmlns:a16="http://schemas.microsoft.com/office/drawing/2014/main" id="{95327E07-E433-FEC6-05A9-C9BB97CFB945}"/>
                    </a:ext>
                  </a:extLst>
                </p:cNvPr>
                <p:cNvSpPr/>
                <p:nvPr/>
              </p:nvSpPr>
              <p:spPr>
                <a:xfrm>
                  <a:off x="5014691" y="1895344"/>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7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5" y="48204"/>
                        <a:pt x="1247"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6" name="Freeform 8094">
                  <a:extLst>
                    <a:ext uri="{FF2B5EF4-FFF2-40B4-BE49-F238E27FC236}">
                      <a16:creationId xmlns:a16="http://schemas.microsoft.com/office/drawing/2014/main" id="{5EA63A35-3FA8-E8C3-598C-9CD0363E325B}"/>
                    </a:ext>
                  </a:extLst>
                </p:cNvPr>
                <p:cNvSpPr/>
                <p:nvPr/>
              </p:nvSpPr>
              <p:spPr>
                <a:xfrm>
                  <a:off x="5005923" y="1936523"/>
                  <a:ext cx="26752" cy="26504"/>
                </a:xfrm>
                <a:custGeom>
                  <a:avLst/>
                  <a:gdLst>
                    <a:gd name="connsiteX0" fmla="*/ 49 w 26752"/>
                    <a:gd name="connsiteY0" fmla="*/ 12131 h 26504"/>
                    <a:gd name="connsiteX1" fmla="*/ 14498 w 26752"/>
                    <a:gd name="connsiteY1" fmla="*/ 49 h 26504"/>
                    <a:gd name="connsiteX2" fmla="*/ 26705 w 26752"/>
                    <a:gd name="connsiteY2" fmla="*/ 14373 h 26504"/>
                    <a:gd name="connsiteX3" fmla="*/ 12256 w 26752"/>
                    <a:gd name="connsiteY3" fmla="*/ 26455 h 26504"/>
                    <a:gd name="connsiteX4" fmla="*/ 49 w 26752"/>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2" h="26504">
                      <a:moveTo>
                        <a:pt x="49" y="12131"/>
                      </a:moveTo>
                      <a:cubicBezTo>
                        <a:pt x="672" y="4782"/>
                        <a:pt x="7149" y="-574"/>
                        <a:pt x="14498" y="49"/>
                      </a:cubicBezTo>
                      <a:cubicBezTo>
                        <a:pt x="21847" y="672"/>
                        <a:pt x="27327" y="7024"/>
                        <a:pt x="26705" y="14373"/>
                      </a:cubicBezTo>
                      <a:cubicBezTo>
                        <a:pt x="26082" y="21722"/>
                        <a:pt x="19605" y="27078"/>
                        <a:pt x="12256"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7" name="Freeform 8095">
                  <a:extLst>
                    <a:ext uri="{FF2B5EF4-FFF2-40B4-BE49-F238E27FC236}">
                      <a16:creationId xmlns:a16="http://schemas.microsoft.com/office/drawing/2014/main" id="{3FEF94E6-9144-89D1-1C9C-FD897F771D06}"/>
                    </a:ext>
                  </a:extLst>
                </p:cNvPr>
                <p:cNvSpPr/>
                <p:nvPr/>
              </p:nvSpPr>
              <p:spPr>
                <a:xfrm>
                  <a:off x="5020172" y="1834435"/>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8" name="Freeform 8096">
                  <a:extLst>
                    <a:ext uri="{FF2B5EF4-FFF2-40B4-BE49-F238E27FC236}">
                      <a16:creationId xmlns:a16="http://schemas.microsoft.com/office/drawing/2014/main" id="{C517D2C6-9D10-9D88-1A01-534764F8E9CB}"/>
                    </a:ext>
                  </a:extLst>
                </p:cNvPr>
                <p:cNvSpPr/>
                <p:nvPr/>
              </p:nvSpPr>
              <p:spPr>
                <a:xfrm>
                  <a:off x="5027847" y="1830075"/>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4"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9" name="Freeform 8097">
                  <a:extLst>
                    <a:ext uri="{FF2B5EF4-FFF2-40B4-BE49-F238E27FC236}">
                      <a16:creationId xmlns:a16="http://schemas.microsoft.com/office/drawing/2014/main" id="{76826309-4387-CCBA-D112-DBE066B01104}"/>
                    </a:ext>
                  </a:extLst>
                </p:cNvPr>
                <p:cNvSpPr/>
                <p:nvPr/>
              </p:nvSpPr>
              <p:spPr>
                <a:xfrm>
                  <a:off x="5016263" y="1814456"/>
                  <a:ext cx="26378" cy="26504"/>
                </a:xfrm>
                <a:custGeom>
                  <a:avLst/>
                  <a:gdLst>
                    <a:gd name="connsiteX0" fmla="*/ 26330 w 26378"/>
                    <a:gd name="connsiteY0" fmla="*/ 14373 h 26504"/>
                    <a:gd name="connsiteX1" fmla="*/ 12130 w 26378"/>
                    <a:gd name="connsiteY1" fmla="*/ 26455 h 26504"/>
                    <a:gd name="connsiteX2" fmla="*/ 48 w 26378"/>
                    <a:gd name="connsiteY2" fmla="*/ 12131 h 26504"/>
                    <a:gd name="connsiteX3" fmla="*/ 14248 w 26378"/>
                    <a:gd name="connsiteY3" fmla="*/ 49 h 26504"/>
                    <a:gd name="connsiteX4" fmla="*/ 26330 w 2637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953"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4" name="Graphic 2987">
                <a:extLst>
                  <a:ext uri="{FF2B5EF4-FFF2-40B4-BE49-F238E27FC236}">
                    <a16:creationId xmlns:a16="http://schemas.microsoft.com/office/drawing/2014/main" id="{F11C76EA-1679-9ADA-568F-82F28B355FA8}"/>
                  </a:ext>
                </a:extLst>
              </p:cNvPr>
              <p:cNvGrpSpPr/>
              <p:nvPr/>
            </p:nvGrpSpPr>
            <p:grpSpPr>
              <a:xfrm>
                <a:off x="4976155" y="1811965"/>
                <a:ext cx="37090" cy="148571"/>
                <a:chOff x="4976155" y="1811965"/>
                <a:chExt cx="37090" cy="148571"/>
              </a:xfrm>
              <a:grpFill/>
            </p:grpSpPr>
            <p:sp>
              <p:nvSpPr>
                <p:cNvPr id="6108" name="Freeform 8099">
                  <a:extLst>
                    <a:ext uri="{FF2B5EF4-FFF2-40B4-BE49-F238E27FC236}">
                      <a16:creationId xmlns:a16="http://schemas.microsoft.com/office/drawing/2014/main" id="{1BCA54D0-2C36-B9DF-B9CC-950A4818882B}"/>
                    </a:ext>
                  </a:extLst>
                </p:cNvPr>
                <p:cNvSpPr/>
                <p:nvPr/>
              </p:nvSpPr>
              <p:spPr>
                <a:xfrm>
                  <a:off x="4993766" y="1888617"/>
                  <a:ext cx="5231" cy="51816"/>
                </a:xfrm>
                <a:custGeom>
                  <a:avLst/>
                  <a:gdLst>
                    <a:gd name="connsiteX0" fmla="*/ 0 w 5231"/>
                    <a:gd name="connsiteY0" fmla="*/ 51816 h 51816"/>
                    <a:gd name="connsiteX1" fmla="*/ 3612 w 5231"/>
                    <a:gd name="connsiteY1" fmla="*/ 33381 h 51816"/>
                    <a:gd name="connsiteX2" fmla="*/ 1619 w 5231"/>
                    <a:gd name="connsiteY2" fmla="*/ 16068 h 51816"/>
                    <a:gd name="connsiteX3" fmla="*/ 5231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0" y="51816"/>
                      </a:moveTo>
                      <a:cubicBezTo>
                        <a:pt x="3114" y="43969"/>
                        <a:pt x="3737" y="37741"/>
                        <a:pt x="3612" y="33381"/>
                      </a:cubicBezTo>
                      <a:cubicBezTo>
                        <a:pt x="3488" y="26406"/>
                        <a:pt x="1495" y="23168"/>
                        <a:pt x="1619" y="16068"/>
                      </a:cubicBezTo>
                      <a:cubicBezTo>
                        <a:pt x="1744" y="9217"/>
                        <a:pt x="3612" y="3612"/>
                        <a:pt x="5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9" name="Freeform 8100">
                  <a:extLst>
                    <a:ext uri="{FF2B5EF4-FFF2-40B4-BE49-F238E27FC236}">
                      <a16:creationId xmlns:a16="http://schemas.microsoft.com/office/drawing/2014/main" id="{61914C99-90A6-FB2E-3FFC-5A165674E388}"/>
                    </a:ext>
                  </a:extLst>
                </p:cNvPr>
                <p:cNvSpPr/>
                <p:nvPr/>
              </p:nvSpPr>
              <p:spPr>
                <a:xfrm>
                  <a:off x="4985046" y="1892852"/>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6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4" y="48204"/>
                        <a:pt x="124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0" name="Freeform 8101">
                  <a:extLst>
                    <a:ext uri="{FF2B5EF4-FFF2-40B4-BE49-F238E27FC236}">
                      <a16:creationId xmlns:a16="http://schemas.microsoft.com/office/drawing/2014/main" id="{B27C42EB-600D-0276-A72D-09A6C6527EFE}"/>
                    </a:ext>
                  </a:extLst>
                </p:cNvPr>
                <p:cNvSpPr/>
                <p:nvPr/>
              </p:nvSpPr>
              <p:spPr>
                <a:xfrm>
                  <a:off x="4976155" y="1934032"/>
                  <a:ext cx="26751" cy="26504"/>
                </a:xfrm>
                <a:custGeom>
                  <a:avLst/>
                  <a:gdLst>
                    <a:gd name="connsiteX0" fmla="*/ 48 w 26751"/>
                    <a:gd name="connsiteY0" fmla="*/ 12131 h 26504"/>
                    <a:gd name="connsiteX1" fmla="*/ 14497 w 26751"/>
                    <a:gd name="connsiteY1" fmla="*/ 49 h 26504"/>
                    <a:gd name="connsiteX2" fmla="*/ 26703 w 26751"/>
                    <a:gd name="connsiteY2" fmla="*/ 14373 h 26504"/>
                    <a:gd name="connsiteX3" fmla="*/ 12255 w 26751"/>
                    <a:gd name="connsiteY3" fmla="*/ 26455 h 26504"/>
                    <a:gd name="connsiteX4" fmla="*/ 48 w 26751"/>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4">
                      <a:moveTo>
                        <a:pt x="48" y="12131"/>
                      </a:moveTo>
                      <a:cubicBezTo>
                        <a:pt x="671" y="4782"/>
                        <a:pt x="7148" y="-574"/>
                        <a:pt x="14497" y="49"/>
                      </a:cubicBezTo>
                      <a:cubicBezTo>
                        <a:pt x="21846" y="672"/>
                        <a:pt x="27326" y="7024"/>
                        <a:pt x="26703" y="14373"/>
                      </a:cubicBezTo>
                      <a:cubicBezTo>
                        <a:pt x="26081" y="21722"/>
                        <a:pt x="19604" y="27078"/>
                        <a:pt x="12255" y="26455"/>
                      </a:cubicBezTo>
                      <a:cubicBezTo>
                        <a:pt x="4906" y="25833"/>
                        <a:pt x="-575"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1" name="Freeform 8102">
                  <a:extLst>
                    <a:ext uri="{FF2B5EF4-FFF2-40B4-BE49-F238E27FC236}">
                      <a16:creationId xmlns:a16="http://schemas.microsoft.com/office/drawing/2014/main" id="{FFC01F26-E73F-E146-4BCD-519B6D9C9D0D}"/>
                    </a:ext>
                  </a:extLst>
                </p:cNvPr>
                <p:cNvSpPr/>
                <p:nvPr/>
              </p:nvSpPr>
              <p:spPr>
                <a:xfrm>
                  <a:off x="4990403" y="1832068"/>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242"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2" name="Freeform 8103">
                  <a:extLst>
                    <a:ext uri="{FF2B5EF4-FFF2-40B4-BE49-F238E27FC236}">
                      <a16:creationId xmlns:a16="http://schemas.microsoft.com/office/drawing/2014/main" id="{40587143-D2BC-7A18-8BD4-AE71EC0D7551}"/>
                    </a:ext>
                  </a:extLst>
                </p:cNvPr>
                <p:cNvSpPr/>
                <p:nvPr/>
              </p:nvSpPr>
              <p:spPr>
                <a:xfrm>
                  <a:off x="4998327" y="1827709"/>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3" name="Freeform 8104">
                  <a:extLst>
                    <a:ext uri="{FF2B5EF4-FFF2-40B4-BE49-F238E27FC236}">
                      <a16:creationId xmlns:a16="http://schemas.microsoft.com/office/drawing/2014/main" id="{C775CB05-F262-9D1F-4145-BC46C9407FA1}"/>
                    </a:ext>
                  </a:extLst>
                </p:cNvPr>
                <p:cNvSpPr/>
                <p:nvPr/>
              </p:nvSpPr>
              <p:spPr>
                <a:xfrm>
                  <a:off x="4986847" y="1811965"/>
                  <a:ext cx="26398" cy="26504"/>
                </a:xfrm>
                <a:custGeom>
                  <a:avLst/>
                  <a:gdLst>
                    <a:gd name="connsiteX0" fmla="*/ 26350 w 26398"/>
                    <a:gd name="connsiteY0" fmla="*/ 14373 h 26504"/>
                    <a:gd name="connsiteX1" fmla="*/ 12026 w 26398"/>
                    <a:gd name="connsiteY1" fmla="*/ 26455 h 26504"/>
                    <a:gd name="connsiteX2" fmla="*/ 68 w 26398"/>
                    <a:gd name="connsiteY2" fmla="*/ 12131 h 26504"/>
                    <a:gd name="connsiteX3" fmla="*/ 14392 w 26398"/>
                    <a:gd name="connsiteY3" fmla="*/ 49 h 26504"/>
                    <a:gd name="connsiteX4" fmla="*/ 26350 w 2639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8" h="26504">
                      <a:moveTo>
                        <a:pt x="26350" y="14373"/>
                      </a:moveTo>
                      <a:cubicBezTo>
                        <a:pt x="25727" y="21722"/>
                        <a:pt x="19375" y="27078"/>
                        <a:pt x="12026" y="26455"/>
                      </a:cubicBezTo>
                      <a:cubicBezTo>
                        <a:pt x="4802" y="25833"/>
                        <a:pt x="-679" y="19480"/>
                        <a:pt x="68" y="12131"/>
                      </a:cubicBezTo>
                      <a:cubicBezTo>
                        <a:pt x="816" y="4782"/>
                        <a:pt x="7168" y="-574"/>
                        <a:pt x="14392" y="49"/>
                      </a:cubicBezTo>
                      <a:cubicBezTo>
                        <a:pt x="21492" y="672"/>
                        <a:pt x="26973" y="7149"/>
                        <a:pt x="263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5" name="Graphic 2987">
                <a:extLst>
                  <a:ext uri="{FF2B5EF4-FFF2-40B4-BE49-F238E27FC236}">
                    <a16:creationId xmlns:a16="http://schemas.microsoft.com/office/drawing/2014/main" id="{A6D3BEC3-3D98-F10A-39FD-88A2D85782FF}"/>
                  </a:ext>
                </a:extLst>
              </p:cNvPr>
              <p:cNvGrpSpPr/>
              <p:nvPr/>
            </p:nvGrpSpPr>
            <p:grpSpPr>
              <a:xfrm>
                <a:off x="4946385" y="1809599"/>
                <a:ext cx="37465" cy="148446"/>
                <a:chOff x="4946385" y="1809599"/>
                <a:chExt cx="37465" cy="148446"/>
              </a:xfrm>
              <a:grpFill/>
            </p:grpSpPr>
            <p:sp>
              <p:nvSpPr>
                <p:cNvPr id="6102" name="Freeform 8106">
                  <a:extLst>
                    <a:ext uri="{FF2B5EF4-FFF2-40B4-BE49-F238E27FC236}">
                      <a16:creationId xmlns:a16="http://schemas.microsoft.com/office/drawing/2014/main" id="{E9D62388-4389-5205-4C70-E2E3977523A3}"/>
                    </a:ext>
                  </a:extLst>
                </p:cNvPr>
                <p:cNvSpPr/>
                <p:nvPr/>
              </p:nvSpPr>
              <p:spPr>
                <a:xfrm>
                  <a:off x="4963997" y="1886126"/>
                  <a:ext cx="5355" cy="51815"/>
                </a:xfrm>
                <a:custGeom>
                  <a:avLst/>
                  <a:gdLst>
                    <a:gd name="connsiteX0" fmla="*/ 0 w 5355"/>
                    <a:gd name="connsiteY0" fmla="*/ 51816 h 51815"/>
                    <a:gd name="connsiteX1" fmla="*/ 3612 w 5355"/>
                    <a:gd name="connsiteY1" fmla="*/ 33381 h 51815"/>
                    <a:gd name="connsiteX2" fmla="*/ 1744 w 5355"/>
                    <a:gd name="connsiteY2" fmla="*/ 16068 h 51815"/>
                    <a:gd name="connsiteX3" fmla="*/ 5356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0" y="51816"/>
                      </a:moveTo>
                      <a:cubicBezTo>
                        <a:pt x="3239" y="43969"/>
                        <a:pt x="3737" y="37741"/>
                        <a:pt x="3612" y="33381"/>
                      </a:cubicBezTo>
                      <a:cubicBezTo>
                        <a:pt x="3488" y="26406"/>
                        <a:pt x="1619" y="23168"/>
                        <a:pt x="1744" y="16068"/>
                      </a:cubicBezTo>
                      <a:cubicBezTo>
                        <a:pt x="1868"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3" name="Freeform 8107">
                  <a:extLst>
                    <a:ext uri="{FF2B5EF4-FFF2-40B4-BE49-F238E27FC236}">
                      <a16:creationId xmlns:a16="http://schemas.microsoft.com/office/drawing/2014/main" id="{AFAA2AE5-A4E5-1D76-8948-88F815BE97E8}"/>
                    </a:ext>
                  </a:extLst>
                </p:cNvPr>
                <p:cNvSpPr/>
                <p:nvPr/>
              </p:nvSpPr>
              <p:spPr>
                <a:xfrm>
                  <a:off x="4955374" y="1890486"/>
                  <a:ext cx="6302" cy="51940"/>
                </a:xfrm>
                <a:custGeom>
                  <a:avLst/>
                  <a:gdLst>
                    <a:gd name="connsiteX0" fmla="*/ 5135 w 6302"/>
                    <a:gd name="connsiteY0" fmla="*/ 0 h 51940"/>
                    <a:gd name="connsiteX1" fmla="*/ 5508 w 6302"/>
                    <a:gd name="connsiteY1" fmla="*/ 18808 h 51940"/>
                    <a:gd name="connsiteX2" fmla="*/ 526 w 6302"/>
                    <a:gd name="connsiteY2" fmla="*/ 35499 h 51940"/>
                    <a:gd name="connsiteX3" fmla="*/ 1273 w 630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02" h="51940">
                      <a:moveTo>
                        <a:pt x="5135" y="0"/>
                      </a:moveTo>
                      <a:cubicBezTo>
                        <a:pt x="6879" y="8221"/>
                        <a:pt x="6380" y="14573"/>
                        <a:pt x="5508" y="18808"/>
                      </a:cubicBezTo>
                      <a:cubicBezTo>
                        <a:pt x="4138" y="25659"/>
                        <a:pt x="1772" y="28524"/>
                        <a:pt x="526" y="35499"/>
                      </a:cubicBezTo>
                      <a:cubicBezTo>
                        <a:pt x="-595" y="42350"/>
                        <a:pt x="277" y="48204"/>
                        <a:pt x="127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4" name="Freeform 8108">
                  <a:extLst>
                    <a:ext uri="{FF2B5EF4-FFF2-40B4-BE49-F238E27FC236}">
                      <a16:creationId xmlns:a16="http://schemas.microsoft.com/office/drawing/2014/main" id="{6B7EEEA1-A8D4-FC8F-3FA6-7AEEB9AB4830}"/>
                    </a:ext>
                  </a:extLst>
                </p:cNvPr>
                <p:cNvSpPr/>
                <p:nvPr/>
              </p:nvSpPr>
              <p:spPr>
                <a:xfrm>
                  <a:off x="4946385" y="1931541"/>
                  <a:ext cx="26629" cy="26504"/>
                </a:xfrm>
                <a:custGeom>
                  <a:avLst/>
                  <a:gdLst>
                    <a:gd name="connsiteX0" fmla="*/ 49 w 26629"/>
                    <a:gd name="connsiteY0" fmla="*/ 12131 h 26504"/>
                    <a:gd name="connsiteX1" fmla="*/ 14498 w 26629"/>
                    <a:gd name="connsiteY1" fmla="*/ 49 h 26504"/>
                    <a:gd name="connsiteX2" fmla="*/ 26580 w 26629"/>
                    <a:gd name="connsiteY2" fmla="*/ 14373 h 26504"/>
                    <a:gd name="connsiteX3" fmla="*/ 12131 w 26629"/>
                    <a:gd name="connsiteY3" fmla="*/ 26455 h 26504"/>
                    <a:gd name="connsiteX4" fmla="*/ 49 w 26629"/>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2131"/>
                      </a:moveTo>
                      <a:cubicBezTo>
                        <a:pt x="672" y="4782"/>
                        <a:pt x="7149" y="-574"/>
                        <a:pt x="14498" y="49"/>
                      </a:cubicBezTo>
                      <a:cubicBezTo>
                        <a:pt x="21847" y="672"/>
                        <a:pt x="27203" y="7024"/>
                        <a:pt x="26580" y="14373"/>
                      </a:cubicBezTo>
                      <a:cubicBezTo>
                        <a:pt x="25957" y="21722"/>
                        <a:pt x="19480" y="27078"/>
                        <a:pt x="12131"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5" name="Freeform 8109">
                  <a:extLst>
                    <a:ext uri="{FF2B5EF4-FFF2-40B4-BE49-F238E27FC236}">
                      <a16:creationId xmlns:a16="http://schemas.microsoft.com/office/drawing/2014/main" id="{901CB4CF-6D0D-B405-BB80-7D9F82A897C5}"/>
                    </a:ext>
                  </a:extLst>
                </p:cNvPr>
                <p:cNvSpPr/>
                <p:nvPr/>
              </p:nvSpPr>
              <p:spPr>
                <a:xfrm>
                  <a:off x="4961007" y="1829577"/>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117"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6" name="Freeform 8110">
                  <a:extLst>
                    <a:ext uri="{FF2B5EF4-FFF2-40B4-BE49-F238E27FC236}">
                      <a16:creationId xmlns:a16="http://schemas.microsoft.com/office/drawing/2014/main" id="{D28F3728-3918-D31C-7070-E4CFC57B9DBA}"/>
                    </a:ext>
                  </a:extLst>
                </p:cNvPr>
                <p:cNvSpPr/>
                <p:nvPr/>
              </p:nvSpPr>
              <p:spPr>
                <a:xfrm>
                  <a:off x="4968682" y="1825218"/>
                  <a:ext cx="6178" cy="51940"/>
                </a:xfrm>
                <a:custGeom>
                  <a:avLst/>
                  <a:gdLst>
                    <a:gd name="connsiteX0" fmla="*/ 1168 w 6178"/>
                    <a:gd name="connsiteY0" fmla="*/ 51941 h 51940"/>
                    <a:gd name="connsiteX1" fmla="*/ 795 w 6178"/>
                    <a:gd name="connsiteY1" fmla="*/ 33132 h 51940"/>
                    <a:gd name="connsiteX2" fmla="*/ 5652 w 6178"/>
                    <a:gd name="connsiteY2" fmla="*/ 16442 h 51940"/>
                    <a:gd name="connsiteX3" fmla="*/ 4905 w 6178"/>
                    <a:gd name="connsiteY3" fmla="*/ 0 h 51940"/>
                  </a:gdLst>
                  <a:ahLst/>
                  <a:cxnLst>
                    <a:cxn ang="0">
                      <a:pos x="connsiteX0" y="connsiteY0"/>
                    </a:cxn>
                    <a:cxn ang="0">
                      <a:pos x="connsiteX1" y="connsiteY1"/>
                    </a:cxn>
                    <a:cxn ang="0">
                      <a:pos x="connsiteX2" y="connsiteY2"/>
                    </a:cxn>
                    <a:cxn ang="0">
                      <a:pos x="connsiteX3" y="connsiteY3"/>
                    </a:cxn>
                  </a:cxnLst>
                  <a:rect l="l" t="t" r="r" b="b"/>
                  <a:pathLst>
                    <a:path w="6178" h="51940">
                      <a:moveTo>
                        <a:pt x="1168" y="51941"/>
                      </a:moveTo>
                      <a:cubicBezTo>
                        <a:pt x="-576" y="43720"/>
                        <a:pt x="-77" y="37367"/>
                        <a:pt x="795" y="33132"/>
                      </a:cubicBezTo>
                      <a:cubicBezTo>
                        <a:pt x="2165" y="26282"/>
                        <a:pt x="4531" y="23417"/>
                        <a:pt x="5652" y="16442"/>
                      </a:cubicBezTo>
                      <a:cubicBezTo>
                        <a:pt x="6774" y="9591"/>
                        <a:pt x="5902"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7" name="Freeform 8111">
                  <a:extLst>
                    <a:ext uri="{FF2B5EF4-FFF2-40B4-BE49-F238E27FC236}">
                      <a16:creationId xmlns:a16="http://schemas.microsoft.com/office/drawing/2014/main" id="{07E157A2-7CA9-B535-228F-4226BA4C1E90}"/>
                    </a:ext>
                  </a:extLst>
                </p:cNvPr>
                <p:cNvSpPr/>
                <p:nvPr/>
              </p:nvSpPr>
              <p:spPr>
                <a:xfrm>
                  <a:off x="4957470" y="1809599"/>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3" y="25833"/>
                        <a:pt x="-574"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6" name="Graphic 2987">
                <a:extLst>
                  <a:ext uri="{FF2B5EF4-FFF2-40B4-BE49-F238E27FC236}">
                    <a16:creationId xmlns:a16="http://schemas.microsoft.com/office/drawing/2014/main" id="{FFE0A869-EA3E-9B7A-96E6-319E351EF19F}"/>
                  </a:ext>
                </a:extLst>
              </p:cNvPr>
              <p:cNvGrpSpPr/>
              <p:nvPr/>
            </p:nvGrpSpPr>
            <p:grpSpPr>
              <a:xfrm>
                <a:off x="4916721" y="1807108"/>
                <a:ext cx="37734" cy="148446"/>
                <a:chOff x="4916721" y="1807108"/>
                <a:chExt cx="37734" cy="148446"/>
              </a:xfrm>
              <a:grpFill/>
            </p:grpSpPr>
            <p:sp>
              <p:nvSpPr>
                <p:cNvPr id="6096" name="Freeform 8113">
                  <a:extLst>
                    <a:ext uri="{FF2B5EF4-FFF2-40B4-BE49-F238E27FC236}">
                      <a16:creationId xmlns:a16="http://schemas.microsoft.com/office/drawing/2014/main" id="{7509A6F9-CEA4-9660-6730-9C5BB9D53E0F}"/>
                    </a:ext>
                  </a:extLst>
                </p:cNvPr>
                <p:cNvSpPr/>
                <p:nvPr/>
              </p:nvSpPr>
              <p:spPr>
                <a:xfrm>
                  <a:off x="4934352" y="1883760"/>
                  <a:ext cx="5480" cy="51815"/>
                </a:xfrm>
                <a:custGeom>
                  <a:avLst/>
                  <a:gdLst>
                    <a:gd name="connsiteX0" fmla="*/ 0 w 5480"/>
                    <a:gd name="connsiteY0" fmla="*/ 51816 h 51815"/>
                    <a:gd name="connsiteX1" fmla="*/ 3737 w 5480"/>
                    <a:gd name="connsiteY1" fmla="*/ 33381 h 51815"/>
                    <a:gd name="connsiteX2" fmla="*/ 1868 w 5480"/>
                    <a:gd name="connsiteY2" fmla="*/ 16068 h 51815"/>
                    <a:gd name="connsiteX3" fmla="*/ 5481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0" y="51816"/>
                      </a:moveTo>
                      <a:cubicBezTo>
                        <a:pt x="3239" y="43969"/>
                        <a:pt x="3737" y="37741"/>
                        <a:pt x="3737" y="33381"/>
                      </a:cubicBezTo>
                      <a:cubicBezTo>
                        <a:pt x="3612" y="26406"/>
                        <a:pt x="1744" y="23168"/>
                        <a:pt x="1868" y="16068"/>
                      </a:cubicBezTo>
                      <a:cubicBezTo>
                        <a:pt x="1993" y="9217"/>
                        <a:pt x="3861" y="3612"/>
                        <a:pt x="54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7" name="Freeform 8114">
                  <a:extLst>
                    <a:ext uri="{FF2B5EF4-FFF2-40B4-BE49-F238E27FC236}">
                      <a16:creationId xmlns:a16="http://schemas.microsoft.com/office/drawing/2014/main" id="{7BF2F5D6-E780-D0C5-7B16-478C7AEAF7A4}"/>
                    </a:ext>
                  </a:extLst>
                </p:cNvPr>
                <p:cNvSpPr/>
                <p:nvPr/>
              </p:nvSpPr>
              <p:spPr>
                <a:xfrm>
                  <a:off x="4925600" y="1887995"/>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8" name="Freeform 8115">
                  <a:extLst>
                    <a:ext uri="{FF2B5EF4-FFF2-40B4-BE49-F238E27FC236}">
                      <a16:creationId xmlns:a16="http://schemas.microsoft.com/office/drawing/2014/main" id="{D6F1411A-23D4-A551-D6EF-23071D2A507B}"/>
                    </a:ext>
                  </a:extLst>
                </p:cNvPr>
                <p:cNvSpPr/>
                <p:nvPr/>
              </p:nvSpPr>
              <p:spPr>
                <a:xfrm>
                  <a:off x="4916721" y="1929049"/>
                  <a:ext cx="26648" cy="26504"/>
                </a:xfrm>
                <a:custGeom>
                  <a:avLst/>
                  <a:gdLst>
                    <a:gd name="connsiteX0" fmla="*/ 68 w 26648"/>
                    <a:gd name="connsiteY0" fmla="*/ 12131 h 26504"/>
                    <a:gd name="connsiteX1" fmla="*/ 14517 w 26648"/>
                    <a:gd name="connsiteY1" fmla="*/ 49 h 26504"/>
                    <a:gd name="connsiteX2" fmla="*/ 26599 w 26648"/>
                    <a:gd name="connsiteY2" fmla="*/ 14373 h 26504"/>
                    <a:gd name="connsiteX3" fmla="*/ 12150 w 26648"/>
                    <a:gd name="connsiteY3" fmla="*/ 26455 h 26504"/>
                    <a:gd name="connsiteX4" fmla="*/ 68 w 2664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4">
                      <a:moveTo>
                        <a:pt x="68" y="12131"/>
                      </a:moveTo>
                      <a:cubicBezTo>
                        <a:pt x="691" y="4782"/>
                        <a:pt x="7293" y="-574"/>
                        <a:pt x="14517" y="49"/>
                      </a:cubicBezTo>
                      <a:cubicBezTo>
                        <a:pt x="21866" y="672"/>
                        <a:pt x="27222" y="7024"/>
                        <a:pt x="26599" y="14373"/>
                      </a:cubicBezTo>
                      <a:cubicBezTo>
                        <a:pt x="25976" y="21722"/>
                        <a:pt x="19499" y="27078"/>
                        <a:pt x="12150" y="26455"/>
                      </a:cubicBezTo>
                      <a:cubicBezTo>
                        <a:pt x="4801" y="25833"/>
                        <a:pt x="-679" y="19356"/>
                        <a:pt x="6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9" name="Freeform 8116">
                  <a:extLst>
                    <a:ext uri="{FF2B5EF4-FFF2-40B4-BE49-F238E27FC236}">
                      <a16:creationId xmlns:a16="http://schemas.microsoft.com/office/drawing/2014/main" id="{25BED80B-F567-6698-5B87-A8FFF7656EA6}"/>
                    </a:ext>
                  </a:extLst>
                </p:cNvPr>
                <p:cNvSpPr/>
                <p:nvPr/>
              </p:nvSpPr>
              <p:spPr>
                <a:xfrm>
                  <a:off x="4931487" y="1827086"/>
                  <a:ext cx="5480" cy="51815"/>
                </a:xfrm>
                <a:custGeom>
                  <a:avLst/>
                  <a:gdLst>
                    <a:gd name="connsiteX0" fmla="*/ 5480 w 5480"/>
                    <a:gd name="connsiteY0" fmla="*/ 0 h 51815"/>
                    <a:gd name="connsiteX1" fmla="*/ 1744 w 5480"/>
                    <a:gd name="connsiteY1" fmla="*/ 18435 h 51815"/>
                    <a:gd name="connsiteX2" fmla="*/ 3612 w 5480"/>
                    <a:gd name="connsiteY2" fmla="*/ 35748 h 51815"/>
                    <a:gd name="connsiteX3" fmla="*/ 0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5480" y="0"/>
                      </a:moveTo>
                      <a:cubicBezTo>
                        <a:pt x="2242" y="7847"/>
                        <a:pt x="1744" y="14075"/>
                        <a:pt x="1744" y="18435"/>
                      </a:cubicBezTo>
                      <a:cubicBezTo>
                        <a:pt x="1868" y="25410"/>
                        <a:pt x="3737" y="28648"/>
                        <a:pt x="3612"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0" name="Freeform 8117">
                  <a:extLst>
                    <a:ext uri="{FF2B5EF4-FFF2-40B4-BE49-F238E27FC236}">
                      <a16:creationId xmlns:a16="http://schemas.microsoft.com/office/drawing/2014/main" id="{4E82EE45-2210-466B-7083-4C58E83FCD6E}"/>
                    </a:ext>
                  </a:extLst>
                </p:cNvPr>
                <p:cNvSpPr/>
                <p:nvPr/>
              </p:nvSpPr>
              <p:spPr>
                <a:xfrm>
                  <a:off x="4939220" y="1822726"/>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3" y="23417"/>
                        <a:pt x="5844" y="16442"/>
                      </a:cubicBezTo>
                      <a:cubicBezTo>
                        <a:pt x="6965"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1" name="Freeform 8118">
                  <a:extLst>
                    <a:ext uri="{FF2B5EF4-FFF2-40B4-BE49-F238E27FC236}">
                      <a16:creationId xmlns:a16="http://schemas.microsoft.com/office/drawing/2014/main" id="{4E239C79-290F-9F81-C623-813D9E3DCB53}"/>
                    </a:ext>
                  </a:extLst>
                </p:cNvPr>
                <p:cNvSpPr/>
                <p:nvPr/>
              </p:nvSpPr>
              <p:spPr>
                <a:xfrm>
                  <a:off x="4928075" y="1807108"/>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2" y="25833"/>
                        <a:pt x="-573"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7" name="Graphic 2987">
                <a:extLst>
                  <a:ext uri="{FF2B5EF4-FFF2-40B4-BE49-F238E27FC236}">
                    <a16:creationId xmlns:a16="http://schemas.microsoft.com/office/drawing/2014/main" id="{1EAF8ED1-1474-1140-183A-3833564544D8}"/>
                  </a:ext>
                </a:extLst>
              </p:cNvPr>
              <p:cNvGrpSpPr/>
              <p:nvPr/>
            </p:nvGrpSpPr>
            <p:grpSpPr>
              <a:xfrm>
                <a:off x="4886971" y="1804616"/>
                <a:ext cx="38088" cy="148446"/>
                <a:chOff x="4886971" y="1804616"/>
                <a:chExt cx="38088" cy="148446"/>
              </a:xfrm>
              <a:grpFill/>
            </p:grpSpPr>
            <p:sp>
              <p:nvSpPr>
                <p:cNvPr id="6090" name="Freeform 8120">
                  <a:extLst>
                    <a:ext uri="{FF2B5EF4-FFF2-40B4-BE49-F238E27FC236}">
                      <a16:creationId xmlns:a16="http://schemas.microsoft.com/office/drawing/2014/main" id="{EEB4A041-6112-6390-0B7F-9974D65160DD}"/>
                    </a:ext>
                  </a:extLst>
                </p:cNvPr>
                <p:cNvSpPr/>
                <p:nvPr/>
              </p:nvSpPr>
              <p:spPr>
                <a:xfrm>
                  <a:off x="4904707" y="1881269"/>
                  <a:ext cx="5605" cy="51815"/>
                </a:xfrm>
                <a:custGeom>
                  <a:avLst/>
                  <a:gdLst>
                    <a:gd name="connsiteX0" fmla="*/ 0 w 5605"/>
                    <a:gd name="connsiteY0" fmla="*/ 51816 h 51815"/>
                    <a:gd name="connsiteX1" fmla="*/ 3737 w 5605"/>
                    <a:gd name="connsiteY1" fmla="*/ 33381 h 51815"/>
                    <a:gd name="connsiteX2" fmla="*/ 1869 w 5605"/>
                    <a:gd name="connsiteY2" fmla="*/ 16068 h 51815"/>
                    <a:gd name="connsiteX3" fmla="*/ 5605 w 5605"/>
                    <a:gd name="connsiteY3" fmla="*/ 0 h 51815"/>
                  </a:gdLst>
                  <a:ahLst/>
                  <a:cxnLst>
                    <a:cxn ang="0">
                      <a:pos x="connsiteX0" y="connsiteY0"/>
                    </a:cxn>
                    <a:cxn ang="0">
                      <a:pos x="connsiteX1" y="connsiteY1"/>
                    </a:cxn>
                    <a:cxn ang="0">
                      <a:pos x="connsiteX2" y="connsiteY2"/>
                    </a:cxn>
                    <a:cxn ang="0">
                      <a:pos x="connsiteX3" y="connsiteY3"/>
                    </a:cxn>
                  </a:cxnLst>
                  <a:rect l="l" t="t" r="r" b="b"/>
                  <a:pathLst>
                    <a:path w="5605" h="51815">
                      <a:moveTo>
                        <a:pt x="0" y="51816"/>
                      </a:moveTo>
                      <a:cubicBezTo>
                        <a:pt x="3239" y="43969"/>
                        <a:pt x="3861" y="37741"/>
                        <a:pt x="3737" y="33381"/>
                      </a:cubicBezTo>
                      <a:cubicBezTo>
                        <a:pt x="3612" y="26406"/>
                        <a:pt x="1744" y="23168"/>
                        <a:pt x="1869" y="16068"/>
                      </a:cubicBezTo>
                      <a:cubicBezTo>
                        <a:pt x="1993" y="9217"/>
                        <a:pt x="3986"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1" name="Freeform 8121">
                  <a:extLst>
                    <a:ext uri="{FF2B5EF4-FFF2-40B4-BE49-F238E27FC236}">
                      <a16:creationId xmlns:a16="http://schemas.microsoft.com/office/drawing/2014/main" id="{CABF7269-687C-A5BF-654C-857E93DB2794}"/>
                    </a:ext>
                  </a:extLst>
                </p:cNvPr>
                <p:cNvSpPr/>
                <p:nvPr/>
              </p:nvSpPr>
              <p:spPr>
                <a:xfrm>
                  <a:off x="4896080" y="1885504"/>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2" name="Freeform 8122">
                  <a:extLst>
                    <a:ext uri="{FF2B5EF4-FFF2-40B4-BE49-F238E27FC236}">
                      <a16:creationId xmlns:a16="http://schemas.microsoft.com/office/drawing/2014/main" id="{7169EE15-E068-F4EF-0667-45A49E592DB9}"/>
                    </a:ext>
                  </a:extLst>
                </p:cNvPr>
                <p:cNvSpPr/>
                <p:nvPr/>
              </p:nvSpPr>
              <p:spPr>
                <a:xfrm>
                  <a:off x="4886971" y="1926558"/>
                  <a:ext cx="26753" cy="26504"/>
                </a:xfrm>
                <a:custGeom>
                  <a:avLst/>
                  <a:gdLst>
                    <a:gd name="connsiteX0" fmla="*/ 49 w 26753"/>
                    <a:gd name="connsiteY0" fmla="*/ 12131 h 26504"/>
                    <a:gd name="connsiteX1" fmla="*/ 14622 w 26753"/>
                    <a:gd name="connsiteY1" fmla="*/ 49 h 26504"/>
                    <a:gd name="connsiteX2" fmla="*/ 26704 w 26753"/>
                    <a:gd name="connsiteY2" fmla="*/ 14373 h 26504"/>
                    <a:gd name="connsiteX3" fmla="*/ 12131 w 26753"/>
                    <a:gd name="connsiteY3" fmla="*/ 26455 h 26504"/>
                    <a:gd name="connsiteX4" fmla="*/ 49 w 2675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49" y="12131"/>
                      </a:moveTo>
                      <a:cubicBezTo>
                        <a:pt x="797" y="4782"/>
                        <a:pt x="7273" y="-574"/>
                        <a:pt x="14622" y="49"/>
                      </a:cubicBezTo>
                      <a:cubicBezTo>
                        <a:pt x="21971" y="672"/>
                        <a:pt x="27327" y="7024"/>
                        <a:pt x="26704" y="14373"/>
                      </a:cubicBezTo>
                      <a:cubicBezTo>
                        <a:pt x="26082" y="21722"/>
                        <a:pt x="19480" y="27078"/>
                        <a:pt x="12131" y="26455"/>
                      </a:cubicBezTo>
                      <a:cubicBezTo>
                        <a:pt x="4783" y="25833"/>
                        <a:pt x="-574"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3" name="Freeform 8123">
                  <a:extLst>
                    <a:ext uri="{FF2B5EF4-FFF2-40B4-BE49-F238E27FC236}">
                      <a16:creationId xmlns:a16="http://schemas.microsoft.com/office/drawing/2014/main" id="{3B32DFD7-7303-9266-26F7-BB334FF7B776}"/>
                    </a:ext>
                  </a:extLst>
                </p:cNvPr>
                <p:cNvSpPr/>
                <p:nvPr/>
              </p:nvSpPr>
              <p:spPr>
                <a:xfrm>
                  <a:off x="4901842" y="1824719"/>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847"/>
                        <a:pt x="1993" y="14075"/>
                        <a:pt x="1993" y="18435"/>
                      </a:cubicBezTo>
                      <a:cubicBezTo>
                        <a:pt x="2117" y="25410"/>
                        <a:pt x="3986"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4" name="Freeform 8124">
                  <a:extLst>
                    <a:ext uri="{FF2B5EF4-FFF2-40B4-BE49-F238E27FC236}">
                      <a16:creationId xmlns:a16="http://schemas.microsoft.com/office/drawing/2014/main" id="{F572DDAB-B0EE-DBD4-76AE-6029B5FFDD41}"/>
                    </a:ext>
                  </a:extLst>
                </p:cNvPr>
                <p:cNvSpPr/>
                <p:nvPr/>
              </p:nvSpPr>
              <p:spPr>
                <a:xfrm>
                  <a:off x="4909700" y="1820235"/>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2" y="23417"/>
                        <a:pt x="5844" y="16442"/>
                      </a:cubicBezTo>
                      <a:cubicBezTo>
                        <a:pt x="6965" y="9591"/>
                        <a:pt x="6093" y="3861"/>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5" name="Freeform 8125">
                  <a:extLst>
                    <a:ext uri="{FF2B5EF4-FFF2-40B4-BE49-F238E27FC236}">
                      <a16:creationId xmlns:a16="http://schemas.microsoft.com/office/drawing/2014/main" id="{5A6C5F80-6F34-DA01-35E4-63414F213278}"/>
                    </a:ext>
                  </a:extLst>
                </p:cNvPr>
                <p:cNvSpPr/>
                <p:nvPr/>
              </p:nvSpPr>
              <p:spPr>
                <a:xfrm>
                  <a:off x="4898554" y="1804616"/>
                  <a:ext cx="26505" cy="26504"/>
                </a:xfrm>
                <a:custGeom>
                  <a:avLst/>
                  <a:gdLst>
                    <a:gd name="connsiteX0" fmla="*/ 26456 w 26505"/>
                    <a:gd name="connsiteY0" fmla="*/ 14373 h 26504"/>
                    <a:gd name="connsiteX1" fmla="*/ 12008 w 26505"/>
                    <a:gd name="connsiteY1" fmla="*/ 26455 h 26504"/>
                    <a:gd name="connsiteX2" fmla="*/ 50 w 26505"/>
                    <a:gd name="connsiteY2" fmla="*/ 12131 h 26504"/>
                    <a:gd name="connsiteX3" fmla="*/ 14499 w 26505"/>
                    <a:gd name="connsiteY3" fmla="*/ 49 h 26504"/>
                    <a:gd name="connsiteX4" fmla="*/ 26456 w 2650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5" h="26504">
                      <a:moveTo>
                        <a:pt x="26456" y="14373"/>
                      </a:moveTo>
                      <a:cubicBezTo>
                        <a:pt x="25834" y="21722"/>
                        <a:pt x="19357" y="27078"/>
                        <a:pt x="12008" y="26455"/>
                      </a:cubicBezTo>
                      <a:cubicBezTo>
                        <a:pt x="4659" y="25833"/>
                        <a:pt x="-572" y="19480"/>
                        <a:pt x="50" y="12131"/>
                      </a:cubicBezTo>
                      <a:cubicBezTo>
                        <a:pt x="798" y="4782"/>
                        <a:pt x="7150" y="-574"/>
                        <a:pt x="14499" y="49"/>
                      </a:cubicBezTo>
                      <a:cubicBezTo>
                        <a:pt x="21723" y="672"/>
                        <a:pt x="27079" y="7149"/>
                        <a:pt x="26456"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8" name="Graphic 2987">
                <a:extLst>
                  <a:ext uri="{FF2B5EF4-FFF2-40B4-BE49-F238E27FC236}">
                    <a16:creationId xmlns:a16="http://schemas.microsoft.com/office/drawing/2014/main" id="{E076F6A8-4DCD-D999-D42D-5116280BB669}"/>
                  </a:ext>
                </a:extLst>
              </p:cNvPr>
              <p:cNvGrpSpPr/>
              <p:nvPr/>
            </p:nvGrpSpPr>
            <p:grpSpPr>
              <a:xfrm>
                <a:off x="4857307" y="1801856"/>
                <a:ext cx="38357" cy="148635"/>
                <a:chOff x="4857307" y="1801856"/>
                <a:chExt cx="38357" cy="148635"/>
              </a:xfrm>
              <a:grpFill/>
            </p:grpSpPr>
            <p:sp>
              <p:nvSpPr>
                <p:cNvPr id="6084" name="Freeform 8127">
                  <a:extLst>
                    <a:ext uri="{FF2B5EF4-FFF2-40B4-BE49-F238E27FC236}">
                      <a16:creationId xmlns:a16="http://schemas.microsoft.com/office/drawing/2014/main" id="{F9E9CC7E-3949-F5B5-D28B-EA55DF8F9402}"/>
                    </a:ext>
                  </a:extLst>
                </p:cNvPr>
                <p:cNvSpPr/>
                <p:nvPr/>
              </p:nvSpPr>
              <p:spPr>
                <a:xfrm>
                  <a:off x="4874938" y="1878653"/>
                  <a:ext cx="5729" cy="51815"/>
                </a:xfrm>
                <a:custGeom>
                  <a:avLst/>
                  <a:gdLst>
                    <a:gd name="connsiteX0" fmla="*/ 0 w 5729"/>
                    <a:gd name="connsiteY0" fmla="*/ 51816 h 51815"/>
                    <a:gd name="connsiteX1" fmla="*/ 3737 w 5729"/>
                    <a:gd name="connsiteY1" fmla="*/ 33381 h 51815"/>
                    <a:gd name="connsiteX2" fmla="*/ 1993 w 5729"/>
                    <a:gd name="connsiteY2" fmla="*/ 16068 h 51815"/>
                    <a:gd name="connsiteX3" fmla="*/ 573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0" y="51816"/>
                      </a:moveTo>
                      <a:cubicBezTo>
                        <a:pt x="3239" y="44093"/>
                        <a:pt x="3861" y="37741"/>
                        <a:pt x="3737" y="33381"/>
                      </a:cubicBezTo>
                      <a:cubicBezTo>
                        <a:pt x="3612" y="26406"/>
                        <a:pt x="1744" y="23168"/>
                        <a:pt x="1993" y="16068"/>
                      </a:cubicBezTo>
                      <a:cubicBezTo>
                        <a:pt x="2117" y="9217"/>
                        <a:pt x="4110"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5" name="Freeform 8128">
                  <a:extLst>
                    <a:ext uri="{FF2B5EF4-FFF2-40B4-BE49-F238E27FC236}">
                      <a16:creationId xmlns:a16="http://schemas.microsoft.com/office/drawing/2014/main" id="{FC4A8847-673F-0116-BBA7-C645CE1ACC05}"/>
                    </a:ext>
                  </a:extLst>
                </p:cNvPr>
                <p:cNvSpPr/>
                <p:nvPr/>
              </p:nvSpPr>
              <p:spPr>
                <a:xfrm>
                  <a:off x="4866311" y="1882639"/>
                  <a:ext cx="6611" cy="52065"/>
                </a:xfrm>
                <a:custGeom>
                  <a:avLst/>
                  <a:gdLst>
                    <a:gd name="connsiteX0" fmla="*/ 5513 w 6611"/>
                    <a:gd name="connsiteY0" fmla="*/ 0 h 52065"/>
                    <a:gd name="connsiteX1" fmla="*/ 5638 w 6611"/>
                    <a:gd name="connsiteY1" fmla="*/ 18808 h 52065"/>
                    <a:gd name="connsiteX2" fmla="*/ 531 w 6611"/>
                    <a:gd name="connsiteY2" fmla="*/ 35499 h 52065"/>
                    <a:gd name="connsiteX3" fmla="*/ 1153 w 661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11" h="52065">
                      <a:moveTo>
                        <a:pt x="5513" y="0"/>
                      </a:moveTo>
                      <a:cubicBezTo>
                        <a:pt x="7257" y="8221"/>
                        <a:pt x="6634" y="14573"/>
                        <a:pt x="5638" y="18808"/>
                      </a:cubicBezTo>
                      <a:cubicBezTo>
                        <a:pt x="4143" y="25659"/>
                        <a:pt x="1776" y="28399"/>
                        <a:pt x="531" y="35499"/>
                      </a:cubicBezTo>
                      <a:cubicBezTo>
                        <a:pt x="-590" y="42350"/>
                        <a:pt x="281" y="48204"/>
                        <a:pt x="115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6" name="Freeform 8129">
                  <a:extLst>
                    <a:ext uri="{FF2B5EF4-FFF2-40B4-BE49-F238E27FC236}">
                      <a16:creationId xmlns:a16="http://schemas.microsoft.com/office/drawing/2014/main" id="{972C492A-1F66-9591-A052-ECCA14027A18}"/>
                    </a:ext>
                  </a:extLst>
                </p:cNvPr>
                <p:cNvSpPr/>
                <p:nvPr/>
              </p:nvSpPr>
              <p:spPr>
                <a:xfrm>
                  <a:off x="4857307" y="1923899"/>
                  <a:ext cx="26668" cy="26592"/>
                </a:xfrm>
                <a:custGeom>
                  <a:avLst/>
                  <a:gdLst>
                    <a:gd name="connsiteX0" fmla="*/ 68 w 26668"/>
                    <a:gd name="connsiteY0" fmla="*/ 11802 h 26592"/>
                    <a:gd name="connsiteX1" fmla="*/ 14642 w 26668"/>
                    <a:gd name="connsiteY1" fmla="*/ 93 h 26592"/>
                    <a:gd name="connsiteX2" fmla="*/ 26599 w 26668"/>
                    <a:gd name="connsiteY2" fmla="*/ 14666 h 26592"/>
                    <a:gd name="connsiteX3" fmla="*/ 12026 w 26668"/>
                    <a:gd name="connsiteY3" fmla="*/ 26499 h 26592"/>
                    <a:gd name="connsiteX4" fmla="*/ 68 w 26668"/>
                    <a:gd name="connsiteY4" fmla="*/ 11802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92">
                      <a:moveTo>
                        <a:pt x="68" y="11802"/>
                      </a:moveTo>
                      <a:cubicBezTo>
                        <a:pt x="816" y="4577"/>
                        <a:pt x="7292" y="-779"/>
                        <a:pt x="14642" y="93"/>
                      </a:cubicBezTo>
                      <a:cubicBezTo>
                        <a:pt x="21991" y="965"/>
                        <a:pt x="27346" y="7317"/>
                        <a:pt x="26599" y="14666"/>
                      </a:cubicBezTo>
                      <a:cubicBezTo>
                        <a:pt x="25852" y="22015"/>
                        <a:pt x="19375" y="27371"/>
                        <a:pt x="12026" y="26499"/>
                      </a:cubicBezTo>
                      <a:cubicBezTo>
                        <a:pt x="4802" y="25627"/>
                        <a:pt x="-679" y="19026"/>
                        <a:pt x="68"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7" name="Freeform 8130">
                  <a:extLst>
                    <a:ext uri="{FF2B5EF4-FFF2-40B4-BE49-F238E27FC236}">
                      <a16:creationId xmlns:a16="http://schemas.microsoft.com/office/drawing/2014/main" id="{D5638B14-8F34-37FB-07C1-F5AB108463C7}"/>
                    </a:ext>
                  </a:extLst>
                </p:cNvPr>
                <p:cNvSpPr/>
                <p:nvPr/>
              </p:nvSpPr>
              <p:spPr>
                <a:xfrm>
                  <a:off x="4872447" y="1821855"/>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723"/>
                        <a:pt x="1868" y="14075"/>
                        <a:pt x="1993" y="18435"/>
                      </a:cubicBezTo>
                      <a:cubicBezTo>
                        <a:pt x="2118" y="25410"/>
                        <a:pt x="3861"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8" name="Freeform 8131">
                  <a:extLst>
                    <a:ext uri="{FF2B5EF4-FFF2-40B4-BE49-F238E27FC236}">
                      <a16:creationId xmlns:a16="http://schemas.microsoft.com/office/drawing/2014/main" id="{1BCEF56D-B4A7-BAE1-0014-D6478A20A92F}"/>
                    </a:ext>
                  </a:extLst>
                </p:cNvPr>
                <p:cNvSpPr/>
                <p:nvPr/>
              </p:nvSpPr>
              <p:spPr>
                <a:xfrm>
                  <a:off x="4880192" y="1817495"/>
                  <a:ext cx="6486" cy="52065"/>
                </a:xfrm>
                <a:custGeom>
                  <a:avLst/>
                  <a:gdLst>
                    <a:gd name="connsiteX0" fmla="*/ 1098 w 6486"/>
                    <a:gd name="connsiteY0" fmla="*/ 52065 h 52065"/>
                    <a:gd name="connsiteX1" fmla="*/ 974 w 6486"/>
                    <a:gd name="connsiteY1" fmla="*/ 33257 h 52065"/>
                    <a:gd name="connsiteX2" fmla="*/ 5956 w 6486"/>
                    <a:gd name="connsiteY2" fmla="*/ 16566 h 52065"/>
                    <a:gd name="connsiteX3" fmla="*/ 5333 w 6486"/>
                    <a:gd name="connsiteY3" fmla="*/ 0 h 52065"/>
                  </a:gdLst>
                  <a:ahLst/>
                  <a:cxnLst>
                    <a:cxn ang="0">
                      <a:pos x="connsiteX0" y="connsiteY0"/>
                    </a:cxn>
                    <a:cxn ang="0">
                      <a:pos x="connsiteX1" y="connsiteY1"/>
                    </a:cxn>
                    <a:cxn ang="0">
                      <a:pos x="connsiteX2" y="connsiteY2"/>
                    </a:cxn>
                    <a:cxn ang="0">
                      <a:pos x="connsiteX3" y="connsiteY3"/>
                    </a:cxn>
                  </a:cxnLst>
                  <a:rect l="l" t="t" r="r" b="b"/>
                  <a:pathLst>
                    <a:path w="6486" h="52065">
                      <a:moveTo>
                        <a:pt x="1098" y="52065"/>
                      </a:moveTo>
                      <a:cubicBezTo>
                        <a:pt x="-646" y="43844"/>
                        <a:pt x="-23" y="37492"/>
                        <a:pt x="974" y="33257"/>
                      </a:cubicBezTo>
                      <a:cubicBezTo>
                        <a:pt x="2468" y="26406"/>
                        <a:pt x="4835" y="23666"/>
                        <a:pt x="5956" y="16566"/>
                      </a:cubicBezTo>
                      <a:cubicBezTo>
                        <a:pt x="7077" y="9716"/>
                        <a:pt x="6205" y="3861"/>
                        <a:pt x="53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9" name="Freeform 8132">
                  <a:extLst>
                    <a:ext uri="{FF2B5EF4-FFF2-40B4-BE49-F238E27FC236}">
                      <a16:creationId xmlns:a16="http://schemas.microsoft.com/office/drawing/2014/main" id="{8F28F39D-D754-9C23-093B-32E040DDAEF8}"/>
                    </a:ext>
                  </a:extLst>
                </p:cNvPr>
                <p:cNvSpPr/>
                <p:nvPr/>
              </p:nvSpPr>
              <p:spPr>
                <a:xfrm>
                  <a:off x="4869263" y="1801856"/>
                  <a:ext cx="26401" cy="26568"/>
                </a:xfrm>
                <a:custGeom>
                  <a:avLst/>
                  <a:gdLst>
                    <a:gd name="connsiteX0" fmla="*/ 26352 w 26401"/>
                    <a:gd name="connsiteY0" fmla="*/ 14643 h 26568"/>
                    <a:gd name="connsiteX1" fmla="*/ 11903 w 26401"/>
                    <a:gd name="connsiteY1" fmla="*/ 26476 h 26568"/>
                    <a:gd name="connsiteX2" fmla="*/ 70 w 26401"/>
                    <a:gd name="connsiteY2" fmla="*/ 11903 h 26568"/>
                    <a:gd name="connsiteX3" fmla="*/ 14518 w 26401"/>
                    <a:gd name="connsiteY3" fmla="*/ 70 h 26568"/>
                    <a:gd name="connsiteX4" fmla="*/ 26352 w 26401"/>
                    <a:gd name="connsiteY4" fmla="*/ 14643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67">
                      <a:moveTo>
                        <a:pt x="26352" y="14643"/>
                      </a:moveTo>
                      <a:cubicBezTo>
                        <a:pt x="25604" y="21992"/>
                        <a:pt x="19252" y="27348"/>
                        <a:pt x="11903" y="26476"/>
                      </a:cubicBezTo>
                      <a:cubicBezTo>
                        <a:pt x="4678" y="25729"/>
                        <a:pt x="-678" y="19127"/>
                        <a:pt x="70" y="11903"/>
                      </a:cubicBezTo>
                      <a:cubicBezTo>
                        <a:pt x="817" y="4678"/>
                        <a:pt x="7170" y="-678"/>
                        <a:pt x="14518" y="70"/>
                      </a:cubicBezTo>
                      <a:cubicBezTo>
                        <a:pt x="21743" y="1066"/>
                        <a:pt x="26974" y="7419"/>
                        <a:pt x="26352"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9" name="Graphic 2987">
                <a:extLst>
                  <a:ext uri="{FF2B5EF4-FFF2-40B4-BE49-F238E27FC236}">
                    <a16:creationId xmlns:a16="http://schemas.microsoft.com/office/drawing/2014/main" id="{9CF3256D-C2A2-E8D6-3F0C-A5623563911C}"/>
                  </a:ext>
                </a:extLst>
              </p:cNvPr>
              <p:cNvGrpSpPr/>
              <p:nvPr/>
            </p:nvGrpSpPr>
            <p:grpSpPr>
              <a:xfrm>
                <a:off x="4827661" y="1798742"/>
                <a:ext cx="38627" cy="148386"/>
                <a:chOff x="4827661" y="1798742"/>
                <a:chExt cx="38627" cy="148386"/>
              </a:xfrm>
              <a:grpFill/>
            </p:grpSpPr>
            <p:sp>
              <p:nvSpPr>
                <p:cNvPr id="6078" name="Freeform 8134">
                  <a:extLst>
                    <a:ext uri="{FF2B5EF4-FFF2-40B4-BE49-F238E27FC236}">
                      <a16:creationId xmlns:a16="http://schemas.microsoft.com/office/drawing/2014/main" id="{168F8666-D7F5-C900-2EB9-9BF1C2A6742B}"/>
                    </a:ext>
                  </a:extLst>
                </p:cNvPr>
                <p:cNvSpPr/>
                <p:nvPr/>
              </p:nvSpPr>
              <p:spPr>
                <a:xfrm>
                  <a:off x="4845293" y="1875414"/>
                  <a:ext cx="5854" cy="51815"/>
                </a:xfrm>
                <a:custGeom>
                  <a:avLst/>
                  <a:gdLst>
                    <a:gd name="connsiteX0" fmla="*/ 0 w 5854"/>
                    <a:gd name="connsiteY0" fmla="*/ 51816 h 51815"/>
                    <a:gd name="connsiteX1" fmla="*/ 3861 w 5854"/>
                    <a:gd name="connsiteY1" fmla="*/ 33381 h 51815"/>
                    <a:gd name="connsiteX2" fmla="*/ 2118 w 5854"/>
                    <a:gd name="connsiteY2" fmla="*/ 16068 h 51815"/>
                    <a:gd name="connsiteX3" fmla="*/ 5854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0" y="51816"/>
                      </a:moveTo>
                      <a:cubicBezTo>
                        <a:pt x="3239" y="44093"/>
                        <a:pt x="3861" y="37741"/>
                        <a:pt x="3861" y="33381"/>
                      </a:cubicBezTo>
                      <a:cubicBezTo>
                        <a:pt x="3737" y="26406"/>
                        <a:pt x="1993" y="23168"/>
                        <a:pt x="2118" y="16068"/>
                      </a:cubicBezTo>
                      <a:cubicBezTo>
                        <a:pt x="2367" y="9217"/>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9" name="Freeform 8135">
                  <a:extLst>
                    <a:ext uri="{FF2B5EF4-FFF2-40B4-BE49-F238E27FC236}">
                      <a16:creationId xmlns:a16="http://schemas.microsoft.com/office/drawing/2014/main" id="{3697C6CA-A5A9-6672-A0EF-4FF44E4221DA}"/>
                    </a:ext>
                  </a:extLst>
                </p:cNvPr>
                <p:cNvSpPr/>
                <p:nvPr/>
              </p:nvSpPr>
              <p:spPr>
                <a:xfrm>
                  <a:off x="4836756" y="1879525"/>
                  <a:ext cx="6553" cy="52065"/>
                </a:xfrm>
                <a:custGeom>
                  <a:avLst/>
                  <a:gdLst>
                    <a:gd name="connsiteX0" fmla="*/ 5548 w 6553"/>
                    <a:gd name="connsiteY0" fmla="*/ 0 h 52065"/>
                    <a:gd name="connsiteX1" fmla="*/ 5673 w 6553"/>
                    <a:gd name="connsiteY1" fmla="*/ 18808 h 52065"/>
                    <a:gd name="connsiteX2" fmla="*/ 566 w 6553"/>
                    <a:gd name="connsiteY2" fmla="*/ 35499 h 52065"/>
                    <a:gd name="connsiteX3" fmla="*/ 1064 w 65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0"/>
                      </a:moveTo>
                      <a:cubicBezTo>
                        <a:pt x="7168" y="8221"/>
                        <a:pt x="6545" y="14573"/>
                        <a:pt x="5673" y="18808"/>
                      </a:cubicBezTo>
                      <a:cubicBezTo>
                        <a:pt x="4178" y="25659"/>
                        <a:pt x="1811" y="28399"/>
                        <a:pt x="566" y="35499"/>
                      </a:cubicBezTo>
                      <a:cubicBezTo>
                        <a:pt x="-555" y="42350"/>
                        <a:pt x="192" y="48204"/>
                        <a:pt x="106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0" name="Freeform 8136">
                  <a:extLst>
                    <a:ext uri="{FF2B5EF4-FFF2-40B4-BE49-F238E27FC236}">
                      <a16:creationId xmlns:a16="http://schemas.microsoft.com/office/drawing/2014/main" id="{E49D6316-DC0C-CCCC-9412-F0F2F3DF99BB}"/>
                    </a:ext>
                  </a:extLst>
                </p:cNvPr>
                <p:cNvSpPr/>
                <p:nvPr/>
              </p:nvSpPr>
              <p:spPr>
                <a:xfrm>
                  <a:off x="4827661" y="1920660"/>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294" y="-779"/>
                        <a:pt x="14643" y="93"/>
                      </a:cubicBezTo>
                      <a:cubicBezTo>
                        <a:pt x="21992" y="840"/>
                        <a:pt x="27348" y="7442"/>
                        <a:pt x="26600" y="14666"/>
                      </a:cubicBezTo>
                      <a:cubicBezTo>
                        <a:pt x="25853" y="21891"/>
                        <a:pt x="19376" y="27247"/>
                        <a:pt x="12027" y="26375"/>
                      </a:cubicBezTo>
                      <a:cubicBezTo>
                        <a:pt x="4678" y="25627"/>
                        <a:pt x="-678" y="19026"/>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1" name="Freeform 8137">
                  <a:extLst>
                    <a:ext uri="{FF2B5EF4-FFF2-40B4-BE49-F238E27FC236}">
                      <a16:creationId xmlns:a16="http://schemas.microsoft.com/office/drawing/2014/main" id="{451AF323-B128-9DE1-01F2-6841DBD127BB}"/>
                    </a:ext>
                  </a:extLst>
                </p:cNvPr>
                <p:cNvSpPr/>
                <p:nvPr/>
              </p:nvSpPr>
              <p:spPr>
                <a:xfrm>
                  <a:off x="4842927" y="1818741"/>
                  <a:ext cx="5854" cy="51815"/>
                </a:xfrm>
                <a:custGeom>
                  <a:avLst/>
                  <a:gdLst>
                    <a:gd name="connsiteX0" fmla="*/ 5854 w 5854"/>
                    <a:gd name="connsiteY0" fmla="*/ 0 h 51815"/>
                    <a:gd name="connsiteX1" fmla="*/ 1993 w 5854"/>
                    <a:gd name="connsiteY1" fmla="*/ 18435 h 51815"/>
                    <a:gd name="connsiteX2" fmla="*/ 3737 w 5854"/>
                    <a:gd name="connsiteY2" fmla="*/ 35748 h 51815"/>
                    <a:gd name="connsiteX3" fmla="*/ 0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5854" y="0"/>
                      </a:moveTo>
                      <a:cubicBezTo>
                        <a:pt x="2616" y="7723"/>
                        <a:pt x="1993" y="14075"/>
                        <a:pt x="1993" y="18435"/>
                      </a:cubicBezTo>
                      <a:cubicBezTo>
                        <a:pt x="2118" y="25410"/>
                        <a:pt x="3861" y="28648"/>
                        <a:pt x="3737"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2" name="Freeform 8138">
                  <a:extLst>
                    <a:ext uri="{FF2B5EF4-FFF2-40B4-BE49-F238E27FC236}">
                      <a16:creationId xmlns:a16="http://schemas.microsoft.com/office/drawing/2014/main" id="{392059A2-8C41-2B52-C898-3E27DE489DAD}"/>
                    </a:ext>
                  </a:extLst>
                </p:cNvPr>
                <p:cNvSpPr/>
                <p:nvPr/>
              </p:nvSpPr>
              <p:spPr>
                <a:xfrm>
                  <a:off x="4850889" y="1814381"/>
                  <a:ext cx="6553" cy="52065"/>
                </a:xfrm>
                <a:custGeom>
                  <a:avLst/>
                  <a:gdLst>
                    <a:gd name="connsiteX0" fmla="*/ 1006 w 6553"/>
                    <a:gd name="connsiteY0" fmla="*/ 52065 h 52065"/>
                    <a:gd name="connsiteX1" fmla="*/ 881 w 6553"/>
                    <a:gd name="connsiteY1" fmla="*/ 33257 h 52065"/>
                    <a:gd name="connsiteX2" fmla="*/ 5988 w 6553"/>
                    <a:gd name="connsiteY2" fmla="*/ 16566 h 52065"/>
                    <a:gd name="connsiteX3" fmla="*/ 5490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1006" y="52065"/>
                      </a:moveTo>
                      <a:cubicBezTo>
                        <a:pt x="-614" y="43844"/>
                        <a:pt x="9" y="37492"/>
                        <a:pt x="881" y="33257"/>
                      </a:cubicBezTo>
                      <a:cubicBezTo>
                        <a:pt x="2376" y="26406"/>
                        <a:pt x="4742" y="23666"/>
                        <a:pt x="5988" y="16566"/>
                      </a:cubicBezTo>
                      <a:cubicBezTo>
                        <a:pt x="7109" y="9716"/>
                        <a:pt x="6361"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3" name="Freeform 8139">
                  <a:extLst>
                    <a:ext uri="{FF2B5EF4-FFF2-40B4-BE49-F238E27FC236}">
                      <a16:creationId xmlns:a16="http://schemas.microsoft.com/office/drawing/2014/main" id="{B42DBC7B-F2E5-FCF9-2CB3-4AA0CA2BF3FE}"/>
                    </a:ext>
                  </a:extLst>
                </p:cNvPr>
                <p:cNvSpPr/>
                <p:nvPr/>
              </p:nvSpPr>
              <p:spPr>
                <a:xfrm>
                  <a:off x="4839868" y="1798742"/>
                  <a:ext cx="26420" cy="26568"/>
                </a:xfrm>
                <a:custGeom>
                  <a:avLst/>
                  <a:gdLst>
                    <a:gd name="connsiteX0" fmla="*/ 26351 w 26420"/>
                    <a:gd name="connsiteY0" fmla="*/ 14767 h 26568"/>
                    <a:gd name="connsiteX1" fmla="*/ 11902 w 26420"/>
                    <a:gd name="connsiteY1" fmla="*/ 26476 h 26568"/>
                    <a:gd name="connsiteX2" fmla="*/ 70 w 26420"/>
                    <a:gd name="connsiteY2" fmla="*/ 11903 h 26568"/>
                    <a:gd name="connsiteX3" fmla="*/ 14518 w 26420"/>
                    <a:gd name="connsiteY3" fmla="*/ 70 h 26568"/>
                    <a:gd name="connsiteX4" fmla="*/ 26351 w 26420"/>
                    <a:gd name="connsiteY4" fmla="*/ 14767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67">
                      <a:moveTo>
                        <a:pt x="26351" y="14767"/>
                      </a:moveTo>
                      <a:cubicBezTo>
                        <a:pt x="25604" y="21992"/>
                        <a:pt x="19127" y="27348"/>
                        <a:pt x="11902" y="26476"/>
                      </a:cubicBezTo>
                      <a:cubicBezTo>
                        <a:pt x="4678" y="25729"/>
                        <a:pt x="-678" y="19127"/>
                        <a:pt x="70" y="11903"/>
                      </a:cubicBezTo>
                      <a:cubicBezTo>
                        <a:pt x="817" y="4678"/>
                        <a:pt x="7294" y="-678"/>
                        <a:pt x="14518" y="70"/>
                      </a:cubicBezTo>
                      <a:cubicBezTo>
                        <a:pt x="21743" y="942"/>
                        <a:pt x="27098" y="7419"/>
                        <a:pt x="26351" y="14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0" name="Graphic 2987">
                <a:extLst>
                  <a:ext uri="{FF2B5EF4-FFF2-40B4-BE49-F238E27FC236}">
                    <a16:creationId xmlns:a16="http://schemas.microsoft.com/office/drawing/2014/main" id="{3C0693CA-394F-9E87-3C16-38BA757FED65}"/>
                  </a:ext>
                </a:extLst>
              </p:cNvPr>
              <p:cNvGrpSpPr/>
              <p:nvPr/>
            </p:nvGrpSpPr>
            <p:grpSpPr>
              <a:xfrm>
                <a:off x="4798016" y="1795604"/>
                <a:ext cx="39001" cy="148285"/>
                <a:chOff x="4798016" y="1795604"/>
                <a:chExt cx="39001" cy="148285"/>
              </a:xfrm>
              <a:grpFill/>
            </p:grpSpPr>
            <p:sp>
              <p:nvSpPr>
                <p:cNvPr id="6072" name="Freeform 8141">
                  <a:extLst>
                    <a:ext uri="{FF2B5EF4-FFF2-40B4-BE49-F238E27FC236}">
                      <a16:creationId xmlns:a16="http://schemas.microsoft.com/office/drawing/2014/main" id="{521DC923-37BC-4654-B6B6-328795845C49}"/>
                    </a:ext>
                  </a:extLst>
                </p:cNvPr>
                <p:cNvSpPr/>
                <p:nvPr/>
              </p:nvSpPr>
              <p:spPr>
                <a:xfrm>
                  <a:off x="4815773" y="1872176"/>
                  <a:ext cx="5978" cy="51815"/>
                </a:xfrm>
                <a:custGeom>
                  <a:avLst/>
                  <a:gdLst>
                    <a:gd name="connsiteX0" fmla="*/ 0 w 5978"/>
                    <a:gd name="connsiteY0" fmla="*/ 51816 h 51815"/>
                    <a:gd name="connsiteX1" fmla="*/ 3861 w 5978"/>
                    <a:gd name="connsiteY1" fmla="*/ 33381 h 51815"/>
                    <a:gd name="connsiteX2" fmla="*/ 2117 w 5978"/>
                    <a:gd name="connsiteY2" fmla="*/ 16068 h 51815"/>
                    <a:gd name="connsiteX3" fmla="*/ 5979 w 5978"/>
                    <a:gd name="connsiteY3" fmla="*/ 0 h 51815"/>
                  </a:gdLst>
                  <a:ahLst/>
                  <a:cxnLst>
                    <a:cxn ang="0">
                      <a:pos x="connsiteX0" y="connsiteY0"/>
                    </a:cxn>
                    <a:cxn ang="0">
                      <a:pos x="connsiteX1" y="connsiteY1"/>
                    </a:cxn>
                    <a:cxn ang="0">
                      <a:pos x="connsiteX2" y="connsiteY2"/>
                    </a:cxn>
                    <a:cxn ang="0">
                      <a:pos x="connsiteX3" y="connsiteY3"/>
                    </a:cxn>
                  </a:cxnLst>
                  <a:rect l="l" t="t" r="r" b="b"/>
                  <a:pathLst>
                    <a:path w="5978" h="51815">
                      <a:moveTo>
                        <a:pt x="0" y="51816"/>
                      </a:moveTo>
                      <a:cubicBezTo>
                        <a:pt x="3239" y="44093"/>
                        <a:pt x="3861" y="37741"/>
                        <a:pt x="3861" y="33381"/>
                      </a:cubicBezTo>
                      <a:cubicBezTo>
                        <a:pt x="3737" y="26406"/>
                        <a:pt x="1993" y="23168"/>
                        <a:pt x="2117" y="16068"/>
                      </a:cubicBezTo>
                      <a:cubicBezTo>
                        <a:pt x="2367" y="9217"/>
                        <a:pt x="4360" y="3612"/>
                        <a:pt x="5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3" name="Freeform 8142">
                  <a:extLst>
                    <a:ext uri="{FF2B5EF4-FFF2-40B4-BE49-F238E27FC236}">
                      <a16:creationId xmlns:a16="http://schemas.microsoft.com/office/drawing/2014/main" id="{077832F8-76B5-4CED-F3A3-69F7CED613DA}"/>
                    </a:ext>
                  </a:extLst>
                </p:cNvPr>
                <p:cNvSpPr/>
                <p:nvPr/>
              </p:nvSpPr>
              <p:spPr>
                <a:xfrm>
                  <a:off x="4807181" y="1876286"/>
                  <a:ext cx="6608" cy="51940"/>
                </a:xfrm>
                <a:custGeom>
                  <a:avLst/>
                  <a:gdLst>
                    <a:gd name="connsiteX0" fmla="*/ 5603 w 6608"/>
                    <a:gd name="connsiteY0" fmla="*/ 0 h 51940"/>
                    <a:gd name="connsiteX1" fmla="*/ 5728 w 6608"/>
                    <a:gd name="connsiteY1" fmla="*/ 18808 h 51940"/>
                    <a:gd name="connsiteX2" fmla="*/ 621 w 6608"/>
                    <a:gd name="connsiteY2" fmla="*/ 35374 h 51940"/>
                    <a:gd name="connsiteX3" fmla="*/ 1119 w 6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07" h="51940">
                      <a:moveTo>
                        <a:pt x="5603" y="0"/>
                      </a:moveTo>
                      <a:cubicBezTo>
                        <a:pt x="7222" y="8221"/>
                        <a:pt x="6600" y="14573"/>
                        <a:pt x="5728" y="18808"/>
                      </a:cubicBezTo>
                      <a:cubicBezTo>
                        <a:pt x="4233"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4" name="Freeform 8143">
                  <a:extLst>
                    <a:ext uri="{FF2B5EF4-FFF2-40B4-BE49-F238E27FC236}">
                      <a16:creationId xmlns:a16="http://schemas.microsoft.com/office/drawing/2014/main" id="{C3540AF9-ED88-FEC6-E8BE-888F0D1A58C1}"/>
                    </a:ext>
                  </a:extLst>
                </p:cNvPr>
                <p:cNvSpPr/>
                <p:nvPr/>
              </p:nvSpPr>
              <p:spPr>
                <a:xfrm>
                  <a:off x="4798016" y="1917422"/>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418" y="-779"/>
                        <a:pt x="14643" y="93"/>
                      </a:cubicBezTo>
                      <a:cubicBezTo>
                        <a:pt x="21992" y="840"/>
                        <a:pt x="27348" y="7442"/>
                        <a:pt x="26600" y="14666"/>
                      </a:cubicBezTo>
                      <a:cubicBezTo>
                        <a:pt x="25853" y="21891"/>
                        <a:pt x="19376" y="27247"/>
                        <a:pt x="12027" y="26375"/>
                      </a:cubicBezTo>
                      <a:cubicBezTo>
                        <a:pt x="4678"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5" name="Freeform 8144">
                  <a:extLst>
                    <a:ext uri="{FF2B5EF4-FFF2-40B4-BE49-F238E27FC236}">
                      <a16:creationId xmlns:a16="http://schemas.microsoft.com/office/drawing/2014/main" id="{4096E543-0D89-91C9-471D-8F0129DA513A}"/>
                    </a:ext>
                  </a:extLst>
                </p:cNvPr>
                <p:cNvSpPr/>
                <p:nvPr/>
              </p:nvSpPr>
              <p:spPr>
                <a:xfrm>
                  <a:off x="4813406" y="1815502"/>
                  <a:ext cx="6103" cy="51815"/>
                </a:xfrm>
                <a:custGeom>
                  <a:avLst/>
                  <a:gdLst>
                    <a:gd name="connsiteX0" fmla="*/ 6103 w 6103"/>
                    <a:gd name="connsiteY0" fmla="*/ 0 h 51815"/>
                    <a:gd name="connsiteX1" fmla="*/ 2242 w 6103"/>
                    <a:gd name="connsiteY1" fmla="*/ 18435 h 51815"/>
                    <a:gd name="connsiteX2" fmla="*/ 3861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3" y="0"/>
                      </a:moveTo>
                      <a:cubicBezTo>
                        <a:pt x="2865" y="7723"/>
                        <a:pt x="2242" y="14075"/>
                        <a:pt x="2242" y="18435"/>
                      </a:cubicBezTo>
                      <a:cubicBezTo>
                        <a:pt x="2367"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6" name="Freeform 8145">
                  <a:extLst>
                    <a:ext uri="{FF2B5EF4-FFF2-40B4-BE49-F238E27FC236}">
                      <a16:creationId xmlns:a16="http://schemas.microsoft.com/office/drawing/2014/main" id="{0C5BBA22-6BE9-0A45-4DAE-5ACBD6911DFD}"/>
                    </a:ext>
                  </a:extLst>
                </p:cNvPr>
                <p:cNvSpPr/>
                <p:nvPr/>
              </p:nvSpPr>
              <p:spPr>
                <a:xfrm>
                  <a:off x="4821369" y="1811267"/>
                  <a:ext cx="6608" cy="51940"/>
                </a:xfrm>
                <a:custGeom>
                  <a:avLst/>
                  <a:gdLst>
                    <a:gd name="connsiteX0" fmla="*/ 1006 w 6608"/>
                    <a:gd name="connsiteY0" fmla="*/ 51941 h 51940"/>
                    <a:gd name="connsiteX1" fmla="*/ 881 w 6608"/>
                    <a:gd name="connsiteY1" fmla="*/ 33132 h 51940"/>
                    <a:gd name="connsiteX2" fmla="*/ 5988 w 6608"/>
                    <a:gd name="connsiteY2" fmla="*/ 16566 h 51940"/>
                    <a:gd name="connsiteX3" fmla="*/ 5490 w 6608"/>
                    <a:gd name="connsiteY3" fmla="*/ 0 h 51940"/>
                  </a:gdLst>
                  <a:ahLst/>
                  <a:cxnLst>
                    <a:cxn ang="0">
                      <a:pos x="connsiteX0" y="connsiteY0"/>
                    </a:cxn>
                    <a:cxn ang="0">
                      <a:pos x="connsiteX1" y="connsiteY1"/>
                    </a:cxn>
                    <a:cxn ang="0">
                      <a:pos x="connsiteX2" y="connsiteY2"/>
                    </a:cxn>
                    <a:cxn ang="0">
                      <a:pos x="connsiteX3" y="connsiteY3"/>
                    </a:cxn>
                  </a:cxnLst>
                  <a:rect l="l" t="t" r="r" b="b"/>
                  <a:pathLst>
                    <a:path w="6607" h="51940">
                      <a:moveTo>
                        <a:pt x="1006" y="51941"/>
                      </a:moveTo>
                      <a:cubicBezTo>
                        <a:pt x="-614" y="43720"/>
                        <a:pt x="9" y="37367"/>
                        <a:pt x="881" y="33132"/>
                      </a:cubicBezTo>
                      <a:cubicBezTo>
                        <a:pt x="2376" y="26282"/>
                        <a:pt x="4742" y="23541"/>
                        <a:pt x="5988" y="16566"/>
                      </a:cubicBezTo>
                      <a:cubicBezTo>
                        <a:pt x="7234" y="9716"/>
                        <a:pt x="6362"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7" name="Freeform 8146">
                  <a:extLst>
                    <a:ext uri="{FF2B5EF4-FFF2-40B4-BE49-F238E27FC236}">
                      <a16:creationId xmlns:a16="http://schemas.microsoft.com/office/drawing/2014/main" id="{FC4B22C1-8587-EFDD-FB28-C580F3EC5233}"/>
                    </a:ext>
                  </a:extLst>
                </p:cNvPr>
                <p:cNvSpPr/>
                <p:nvPr/>
              </p:nvSpPr>
              <p:spPr>
                <a:xfrm>
                  <a:off x="4810596" y="1795604"/>
                  <a:ext cx="26420" cy="26467"/>
                </a:xfrm>
                <a:custGeom>
                  <a:avLst/>
                  <a:gdLst>
                    <a:gd name="connsiteX0" fmla="*/ 26351 w 26420"/>
                    <a:gd name="connsiteY0" fmla="*/ 14666 h 26467"/>
                    <a:gd name="connsiteX1" fmla="*/ 11903 w 26420"/>
                    <a:gd name="connsiteY1" fmla="*/ 26375 h 26467"/>
                    <a:gd name="connsiteX2" fmla="*/ 70 w 26420"/>
                    <a:gd name="connsiteY2" fmla="*/ 11802 h 26467"/>
                    <a:gd name="connsiteX3" fmla="*/ 14518 w 26420"/>
                    <a:gd name="connsiteY3" fmla="*/ 93 h 26467"/>
                    <a:gd name="connsiteX4" fmla="*/ 26351 w 26420"/>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67">
                      <a:moveTo>
                        <a:pt x="26351" y="14666"/>
                      </a:moveTo>
                      <a:cubicBezTo>
                        <a:pt x="25604" y="21891"/>
                        <a:pt x="19127" y="27247"/>
                        <a:pt x="11903" y="26375"/>
                      </a:cubicBezTo>
                      <a:cubicBezTo>
                        <a:pt x="4678" y="25627"/>
                        <a:pt x="-678" y="19026"/>
                        <a:pt x="70" y="11802"/>
                      </a:cubicBezTo>
                      <a:cubicBezTo>
                        <a:pt x="817" y="4577"/>
                        <a:pt x="7294" y="-779"/>
                        <a:pt x="14518" y="93"/>
                      </a:cubicBezTo>
                      <a:cubicBezTo>
                        <a:pt x="21743" y="840"/>
                        <a:pt x="27099" y="7442"/>
                        <a:pt x="26351"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1" name="Graphic 2987">
                <a:extLst>
                  <a:ext uri="{FF2B5EF4-FFF2-40B4-BE49-F238E27FC236}">
                    <a16:creationId xmlns:a16="http://schemas.microsoft.com/office/drawing/2014/main" id="{47B914B2-DA18-55B4-949A-01D1A3C5C2C3}"/>
                  </a:ext>
                </a:extLst>
              </p:cNvPr>
              <p:cNvGrpSpPr/>
              <p:nvPr/>
            </p:nvGrpSpPr>
            <p:grpSpPr>
              <a:xfrm>
                <a:off x="4768371" y="1792490"/>
                <a:ext cx="39251" cy="148160"/>
                <a:chOff x="4768371" y="1792490"/>
                <a:chExt cx="39251" cy="148160"/>
              </a:xfrm>
              <a:grpFill/>
            </p:grpSpPr>
            <p:sp>
              <p:nvSpPr>
                <p:cNvPr id="6066" name="Freeform 8148">
                  <a:extLst>
                    <a:ext uri="{FF2B5EF4-FFF2-40B4-BE49-F238E27FC236}">
                      <a16:creationId xmlns:a16="http://schemas.microsoft.com/office/drawing/2014/main" id="{D16FC0AE-B7CC-9E76-AD0A-64752A522E7C}"/>
                    </a:ext>
                  </a:extLst>
                </p:cNvPr>
                <p:cNvSpPr/>
                <p:nvPr/>
              </p:nvSpPr>
              <p:spPr>
                <a:xfrm>
                  <a:off x="4786128" y="1869062"/>
                  <a:ext cx="6103" cy="51815"/>
                </a:xfrm>
                <a:custGeom>
                  <a:avLst/>
                  <a:gdLst>
                    <a:gd name="connsiteX0" fmla="*/ 0 w 6103"/>
                    <a:gd name="connsiteY0" fmla="*/ 51816 h 51815"/>
                    <a:gd name="connsiteX1" fmla="*/ 3861 w 6103"/>
                    <a:gd name="connsiteY1" fmla="*/ 33381 h 51815"/>
                    <a:gd name="connsiteX2" fmla="*/ 2242 w 6103"/>
                    <a:gd name="connsiteY2" fmla="*/ 16068 h 51815"/>
                    <a:gd name="connsiteX3" fmla="*/ 6103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0" y="51816"/>
                      </a:moveTo>
                      <a:cubicBezTo>
                        <a:pt x="3363" y="44093"/>
                        <a:pt x="3986"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7" name="Freeform 8149">
                  <a:extLst>
                    <a:ext uri="{FF2B5EF4-FFF2-40B4-BE49-F238E27FC236}">
                      <a16:creationId xmlns:a16="http://schemas.microsoft.com/office/drawing/2014/main" id="{35C03C29-B52E-B36C-75E3-7A8251077F36}"/>
                    </a:ext>
                  </a:extLst>
                </p:cNvPr>
                <p:cNvSpPr/>
                <p:nvPr/>
              </p:nvSpPr>
              <p:spPr>
                <a:xfrm>
                  <a:off x="4777411" y="1873172"/>
                  <a:ext cx="6846" cy="51940"/>
                </a:xfrm>
                <a:custGeom>
                  <a:avLst/>
                  <a:gdLst>
                    <a:gd name="connsiteX0" fmla="*/ 5852 w 6846"/>
                    <a:gd name="connsiteY0" fmla="*/ 0 h 51940"/>
                    <a:gd name="connsiteX1" fmla="*/ 5852 w 6846"/>
                    <a:gd name="connsiteY1" fmla="*/ 18808 h 51940"/>
                    <a:gd name="connsiteX2" fmla="*/ 621 w 6846"/>
                    <a:gd name="connsiteY2" fmla="*/ 35374 h 51940"/>
                    <a:gd name="connsiteX3" fmla="*/ 1119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5852" y="0"/>
                      </a:moveTo>
                      <a:cubicBezTo>
                        <a:pt x="7471" y="8221"/>
                        <a:pt x="6849" y="14573"/>
                        <a:pt x="5852" y="18808"/>
                      </a:cubicBezTo>
                      <a:cubicBezTo>
                        <a:pt x="4357"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8" name="Freeform 8150">
                  <a:extLst>
                    <a:ext uri="{FF2B5EF4-FFF2-40B4-BE49-F238E27FC236}">
                      <a16:creationId xmlns:a16="http://schemas.microsoft.com/office/drawing/2014/main" id="{D23DCD83-7A8D-CCD1-1FF8-7F9140946555}"/>
                    </a:ext>
                  </a:extLst>
                </p:cNvPr>
                <p:cNvSpPr/>
                <p:nvPr/>
              </p:nvSpPr>
              <p:spPr>
                <a:xfrm>
                  <a:off x="4768371" y="1914183"/>
                  <a:ext cx="26671" cy="26467"/>
                </a:xfrm>
                <a:custGeom>
                  <a:avLst/>
                  <a:gdLst>
                    <a:gd name="connsiteX0" fmla="*/ 70 w 26671"/>
                    <a:gd name="connsiteY0" fmla="*/ 11802 h 26467"/>
                    <a:gd name="connsiteX1" fmla="*/ 14768 w 26671"/>
                    <a:gd name="connsiteY1" fmla="*/ 93 h 26467"/>
                    <a:gd name="connsiteX2" fmla="*/ 26600 w 26671"/>
                    <a:gd name="connsiteY2" fmla="*/ 14666 h 26467"/>
                    <a:gd name="connsiteX3" fmla="*/ 11903 w 26671"/>
                    <a:gd name="connsiteY3" fmla="*/ 26375 h 26467"/>
                    <a:gd name="connsiteX4" fmla="*/ 70 w 26671"/>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67">
                      <a:moveTo>
                        <a:pt x="70" y="11802"/>
                      </a:moveTo>
                      <a:cubicBezTo>
                        <a:pt x="817" y="4577"/>
                        <a:pt x="7419" y="-779"/>
                        <a:pt x="14768" y="93"/>
                      </a:cubicBezTo>
                      <a:cubicBezTo>
                        <a:pt x="22117" y="840"/>
                        <a:pt x="27348" y="7442"/>
                        <a:pt x="26600" y="14666"/>
                      </a:cubicBezTo>
                      <a:cubicBezTo>
                        <a:pt x="25853" y="21891"/>
                        <a:pt x="19252" y="27247"/>
                        <a:pt x="11903" y="26375"/>
                      </a:cubicBezTo>
                      <a:cubicBezTo>
                        <a:pt x="4679"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9" name="Freeform 8151">
                  <a:extLst>
                    <a:ext uri="{FF2B5EF4-FFF2-40B4-BE49-F238E27FC236}">
                      <a16:creationId xmlns:a16="http://schemas.microsoft.com/office/drawing/2014/main" id="{0FDA591E-A02F-3361-1CA4-9634A98B012D}"/>
                    </a:ext>
                  </a:extLst>
                </p:cNvPr>
                <p:cNvSpPr/>
                <p:nvPr/>
              </p:nvSpPr>
              <p:spPr>
                <a:xfrm>
                  <a:off x="4784011" y="1812388"/>
                  <a:ext cx="6103" cy="51815"/>
                </a:xfrm>
                <a:custGeom>
                  <a:avLst/>
                  <a:gdLst>
                    <a:gd name="connsiteX0" fmla="*/ 6104 w 6103"/>
                    <a:gd name="connsiteY0" fmla="*/ 0 h 51815"/>
                    <a:gd name="connsiteX1" fmla="*/ 2242 w 6103"/>
                    <a:gd name="connsiteY1" fmla="*/ 18435 h 51815"/>
                    <a:gd name="connsiteX2" fmla="*/ 3862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0"/>
                      </a:moveTo>
                      <a:cubicBezTo>
                        <a:pt x="2865" y="7723"/>
                        <a:pt x="2118" y="14075"/>
                        <a:pt x="2242" y="18435"/>
                      </a:cubicBezTo>
                      <a:cubicBezTo>
                        <a:pt x="2242" y="25410"/>
                        <a:pt x="4111" y="28648"/>
                        <a:pt x="3862"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0" name="Freeform 8152">
                  <a:extLst>
                    <a:ext uri="{FF2B5EF4-FFF2-40B4-BE49-F238E27FC236}">
                      <a16:creationId xmlns:a16="http://schemas.microsoft.com/office/drawing/2014/main" id="{3046B23B-BE26-501C-8810-467F3DC188F4}"/>
                    </a:ext>
                  </a:extLst>
                </p:cNvPr>
                <p:cNvSpPr/>
                <p:nvPr/>
              </p:nvSpPr>
              <p:spPr>
                <a:xfrm>
                  <a:off x="4791860" y="1808153"/>
                  <a:ext cx="6722" cy="51940"/>
                </a:xfrm>
                <a:custGeom>
                  <a:avLst/>
                  <a:gdLst>
                    <a:gd name="connsiteX0" fmla="*/ 995 w 6722"/>
                    <a:gd name="connsiteY0" fmla="*/ 51941 h 51940"/>
                    <a:gd name="connsiteX1" fmla="*/ 995 w 6722"/>
                    <a:gd name="connsiteY1" fmla="*/ 33132 h 51940"/>
                    <a:gd name="connsiteX2" fmla="*/ 6101 w 6722"/>
                    <a:gd name="connsiteY2" fmla="*/ 16566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5" y="51941"/>
                      </a:moveTo>
                      <a:cubicBezTo>
                        <a:pt x="-625" y="43720"/>
                        <a:pt x="-2" y="37367"/>
                        <a:pt x="995" y="33132"/>
                      </a:cubicBezTo>
                      <a:cubicBezTo>
                        <a:pt x="2489" y="26282"/>
                        <a:pt x="4980" y="23541"/>
                        <a:pt x="6101" y="16566"/>
                      </a:cubicBezTo>
                      <a:cubicBezTo>
                        <a:pt x="7347" y="9716"/>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1" name="Freeform 8153">
                  <a:extLst>
                    <a:ext uri="{FF2B5EF4-FFF2-40B4-BE49-F238E27FC236}">
                      <a16:creationId xmlns:a16="http://schemas.microsoft.com/office/drawing/2014/main" id="{48F6E420-3F33-B8F7-1786-C712616C2736}"/>
                    </a:ext>
                  </a:extLst>
                </p:cNvPr>
                <p:cNvSpPr/>
                <p:nvPr/>
              </p:nvSpPr>
              <p:spPr>
                <a:xfrm>
                  <a:off x="4781324" y="1792490"/>
                  <a:ext cx="26299" cy="26467"/>
                </a:xfrm>
                <a:custGeom>
                  <a:avLst/>
                  <a:gdLst>
                    <a:gd name="connsiteX0" fmla="*/ 26228 w 26299"/>
                    <a:gd name="connsiteY0" fmla="*/ 14666 h 26467"/>
                    <a:gd name="connsiteX1" fmla="*/ 11780 w 26299"/>
                    <a:gd name="connsiteY1" fmla="*/ 26375 h 26467"/>
                    <a:gd name="connsiteX2" fmla="*/ 71 w 26299"/>
                    <a:gd name="connsiteY2" fmla="*/ 11802 h 26467"/>
                    <a:gd name="connsiteX3" fmla="*/ 14520 w 26299"/>
                    <a:gd name="connsiteY3" fmla="*/ 93 h 26467"/>
                    <a:gd name="connsiteX4" fmla="*/ 26228 w 2629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67">
                      <a:moveTo>
                        <a:pt x="26228" y="14666"/>
                      </a:moveTo>
                      <a:cubicBezTo>
                        <a:pt x="25481" y="21891"/>
                        <a:pt x="19004" y="27247"/>
                        <a:pt x="11780" y="26375"/>
                      </a:cubicBezTo>
                      <a:cubicBezTo>
                        <a:pt x="4555" y="25627"/>
                        <a:pt x="-676" y="19026"/>
                        <a:pt x="71" y="11802"/>
                      </a:cubicBezTo>
                      <a:cubicBezTo>
                        <a:pt x="818" y="4577"/>
                        <a:pt x="7296" y="-779"/>
                        <a:pt x="14520" y="93"/>
                      </a:cubicBezTo>
                      <a:cubicBezTo>
                        <a:pt x="21744" y="840"/>
                        <a:pt x="26976" y="7317"/>
                        <a:pt x="26228"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2" name="Graphic 2987">
                <a:extLst>
                  <a:ext uri="{FF2B5EF4-FFF2-40B4-BE49-F238E27FC236}">
                    <a16:creationId xmlns:a16="http://schemas.microsoft.com/office/drawing/2014/main" id="{20D64915-1CC5-8578-11E8-9454FD7AE75E}"/>
                  </a:ext>
                </a:extLst>
              </p:cNvPr>
              <p:cNvGrpSpPr/>
              <p:nvPr/>
            </p:nvGrpSpPr>
            <p:grpSpPr>
              <a:xfrm>
                <a:off x="4738725" y="1789252"/>
                <a:ext cx="39626" cy="148285"/>
                <a:chOff x="4738725" y="1789252"/>
                <a:chExt cx="39626" cy="148285"/>
              </a:xfrm>
              <a:grpFill/>
            </p:grpSpPr>
            <p:sp>
              <p:nvSpPr>
                <p:cNvPr id="6060" name="Freeform 8155">
                  <a:extLst>
                    <a:ext uri="{FF2B5EF4-FFF2-40B4-BE49-F238E27FC236}">
                      <a16:creationId xmlns:a16="http://schemas.microsoft.com/office/drawing/2014/main" id="{D3DE5D45-9F14-74E9-9D0A-67ED4E3B7A5A}"/>
                    </a:ext>
                  </a:extLst>
                </p:cNvPr>
                <p:cNvSpPr/>
                <p:nvPr/>
              </p:nvSpPr>
              <p:spPr>
                <a:xfrm>
                  <a:off x="4756483" y="1865823"/>
                  <a:ext cx="6227" cy="51815"/>
                </a:xfrm>
                <a:custGeom>
                  <a:avLst/>
                  <a:gdLst>
                    <a:gd name="connsiteX0" fmla="*/ 0 w 6227"/>
                    <a:gd name="connsiteY0" fmla="*/ 51816 h 51815"/>
                    <a:gd name="connsiteX1" fmla="*/ 3986 w 6227"/>
                    <a:gd name="connsiteY1" fmla="*/ 33381 h 51815"/>
                    <a:gd name="connsiteX2" fmla="*/ 2367 w 6227"/>
                    <a:gd name="connsiteY2" fmla="*/ 16068 h 51815"/>
                    <a:gd name="connsiteX3" fmla="*/ 6228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0" y="51816"/>
                      </a:moveTo>
                      <a:cubicBezTo>
                        <a:pt x="3363"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1" name="Freeform 8156">
                  <a:extLst>
                    <a:ext uri="{FF2B5EF4-FFF2-40B4-BE49-F238E27FC236}">
                      <a16:creationId xmlns:a16="http://schemas.microsoft.com/office/drawing/2014/main" id="{A0E9038A-0B22-BF74-9307-A4F7360E8004}"/>
                    </a:ext>
                  </a:extLst>
                </p:cNvPr>
                <p:cNvSpPr/>
                <p:nvPr/>
              </p:nvSpPr>
              <p:spPr>
                <a:xfrm>
                  <a:off x="4747853" y="1869934"/>
                  <a:ext cx="6844" cy="51816"/>
                </a:xfrm>
                <a:custGeom>
                  <a:avLst/>
                  <a:gdLst>
                    <a:gd name="connsiteX0" fmla="*/ 5890 w 6844"/>
                    <a:gd name="connsiteY0" fmla="*/ 0 h 51816"/>
                    <a:gd name="connsiteX1" fmla="*/ 5890 w 6844"/>
                    <a:gd name="connsiteY1" fmla="*/ 18808 h 51816"/>
                    <a:gd name="connsiteX2" fmla="*/ 659 w 6844"/>
                    <a:gd name="connsiteY2" fmla="*/ 35374 h 51816"/>
                    <a:gd name="connsiteX3" fmla="*/ 1033 w 6844"/>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843" h="51816">
                      <a:moveTo>
                        <a:pt x="5890" y="0"/>
                      </a:moveTo>
                      <a:cubicBezTo>
                        <a:pt x="7510" y="8221"/>
                        <a:pt x="6762" y="14573"/>
                        <a:pt x="5890" y="18808"/>
                      </a:cubicBezTo>
                      <a:cubicBezTo>
                        <a:pt x="4396" y="25659"/>
                        <a:pt x="1904" y="28399"/>
                        <a:pt x="659" y="35374"/>
                      </a:cubicBezTo>
                      <a:cubicBezTo>
                        <a:pt x="-586" y="42225"/>
                        <a:pt x="161" y="48079"/>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2" name="Freeform 8157">
                  <a:extLst>
                    <a:ext uri="{FF2B5EF4-FFF2-40B4-BE49-F238E27FC236}">
                      <a16:creationId xmlns:a16="http://schemas.microsoft.com/office/drawing/2014/main" id="{F17B17C6-10AD-EB99-7D4D-DCE7DA3D6571}"/>
                    </a:ext>
                  </a:extLst>
                </p:cNvPr>
                <p:cNvSpPr/>
                <p:nvPr/>
              </p:nvSpPr>
              <p:spPr>
                <a:xfrm>
                  <a:off x="4738725" y="1911069"/>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818" y="4577"/>
                        <a:pt x="7420" y="-779"/>
                        <a:pt x="14769" y="93"/>
                      </a:cubicBezTo>
                      <a:cubicBezTo>
                        <a:pt x="22118" y="840"/>
                        <a:pt x="27349" y="7442"/>
                        <a:pt x="26602" y="14666"/>
                      </a:cubicBezTo>
                      <a:cubicBezTo>
                        <a:pt x="25854" y="21891"/>
                        <a:pt x="19253" y="27247"/>
                        <a:pt x="11904" y="26375"/>
                      </a:cubicBezTo>
                      <a:cubicBezTo>
                        <a:pt x="4555" y="25503"/>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3" name="Freeform 8158">
                  <a:extLst>
                    <a:ext uri="{FF2B5EF4-FFF2-40B4-BE49-F238E27FC236}">
                      <a16:creationId xmlns:a16="http://schemas.microsoft.com/office/drawing/2014/main" id="{1A2E8F4F-6129-EB00-233D-1654BA825B13}"/>
                    </a:ext>
                  </a:extLst>
                </p:cNvPr>
                <p:cNvSpPr/>
                <p:nvPr/>
              </p:nvSpPr>
              <p:spPr>
                <a:xfrm>
                  <a:off x="4754615" y="1809150"/>
                  <a:ext cx="6227" cy="51815"/>
                </a:xfrm>
                <a:custGeom>
                  <a:avLst/>
                  <a:gdLst>
                    <a:gd name="connsiteX0" fmla="*/ 6228 w 6227"/>
                    <a:gd name="connsiteY0" fmla="*/ 0 h 51815"/>
                    <a:gd name="connsiteX1" fmla="*/ 2242 w 6227"/>
                    <a:gd name="connsiteY1" fmla="*/ 18435 h 51815"/>
                    <a:gd name="connsiteX2" fmla="*/ 3861 w 6227"/>
                    <a:gd name="connsiteY2" fmla="*/ 35748 h 51815"/>
                    <a:gd name="connsiteX3" fmla="*/ 0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0"/>
                      </a:moveTo>
                      <a:cubicBezTo>
                        <a:pt x="2865" y="7723"/>
                        <a:pt x="2242" y="14075"/>
                        <a:pt x="2242" y="18435"/>
                      </a:cubicBezTo>
                      <a:cubicBezTo>
                        <a:pt x="2242"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4" name="Freeform 8159">
                  <a:extLst>
                    <a:ext uri="{FF2B5EF4-FFF2-40B4-BE49-F238E27FC236}">
                      <a16:creationId xmlns:a16="http://schemas.microsoft.com/office/drawing/2014/main" id="{11F9E4DE-5454-BDDC-981B-A02D44989074}"/>
                    </a:ext>
                  </a:extLst>
                </p:cNvPr>
                <p:cNvSpPr/>
                <p:nvPr/>
              </p:nvSpPr>
              <p:spPr>
                <a:xfrm>
                  <a:off x="4762504" y="1805039"/>
                  <a:ext cx="6845" cy="51815"/>
                </a:xfrm>
                <a:custGeom>
                  <a:avLst/>
                  <a:gdLst>
                    <a:gd name="connsiteX0" fmla="*/ 954 w 6845"/>
                    <a:gd name="connsiteY0" fmla="*/ 51816 h 51815"/>
                    <a:gd name="connsiteX1" fmla="*/ 954 w 6845"/>
                    <a:gd name="connsiteY1" fmla="*/ 33008 h 51815"/>
                    <a:gd name="connsiteX2" fmla="*/ 6186 w 6845"/>
                    <a:gd name="connsiteY2" fmla="*/ 16442 h 51815"/>
                    <a:gd name="connsiteX3" fmla="*/ 5812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954" y="51816"/>
                      </a:moveTo>
                      <a:cubicBezTo>
                        <a:pt x="-665" y="43595"/>
                        <a:pt x="82" y="37243"/>
                        <a:pt x="954" y="33008"/>
                      </a:cubicBezTo>
                      <a:cubicBezTo>
                        <a:pt x="2449" y="26157"/>
                        <a:pt x="4940" y="23417"/>
                        <a:pt x="6186" y="16442"/>
                      </a:cubicBezTo>
                      <a:cubicBezTo>
                        <a:pt x="7432" y="9591"/>
                        <a:pt x="6684" y="3737"/>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5" name="Freeform 8160">
                  <a:extLst>
                    <a:ext uri="{FF2B5EF4-FFF2-40B4-BE49-F238E27FC236}">
                      <a16:creationId xmlns:a16="http://schemas.microsoft.com/office/drawing/2014/main" id="{71561DE1-7212-8637-830D-C6DBD55CF926}"/>
                    </a:ext>
                  </a:extLst>
                </p:cNvPr>
                <p:cNvSpPr/>
                <p:nvPr/>
              </p:nvSpPr>
              <p:spPr>
                <a:xfrm>
                  <a:off x="4751928" y="1789252"/>
                  <a:ext cx="26423" cy="26467"/>
                </a:xfrm>
                <a:custGeom>
                  <a:avLst/>
                  <a:gdLst>
                    <a:gd name="connsiteX0" fmla="*/ 26353 w 26423"/>
                    <a:gd name="connsiteY0" fmla="*/ 14666 h 26467"/>
                    <a:gd name="connsiteX1" fmla="*/ 11780 w 26423"/>
                    <a:gd name="connsiteY1" fmla="*/ 26375 h 26467"/>
                    <a:gd name="connsiteX2" fmla="*/ 71 w 26423"/>
                    <a:gd name="connsiteY2" fmla="*/ 11802 h 26467"/>
                    <a:gd name="connsiteX3" fmla="*/ 14644 w 26423"/>
                    <a:gd name="connsiteY3" fmla="*/ 93 h 26467"/>
                    <a:gd name="connsiteX4" fmla="*/ 26353 w 26423"/>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67">
                      <a:moveTo>
                        <a:pt x="26353" y="14666"/>
                      </a:moveTo>
                      <a:cubicBezTo>
                        <a:pt x="25605" y="21891"/>
                        <a:pt x="19128" y="27247"/>
                        <a:pt x="11780" y="26375"/>
                      </a:cubicBezTo>
                      <a:cubicBezTo>
                        <a:pt x="4555" y="25627"/>
                        <a:pt x="-676" y="19026"/>
                        <a:pt x="71" y="11802"/>
                      </a:cubicBezTo>
                      <a:cubicBezTo>
                        <a:pt x="818" y="4577"/>
                        <a:pt x="7420" y="-779"/>
                        <a:pt x="14644" y="93"/>
                      </a:cubicBezTo>
                      <a:cubicBezTo>
                        <a:pt x="21869" y="965"/>
                        <a:pt x="27100"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3" name="Graphic 2987">
                <a:extLst>
                  <a:ext uri="{FF2B5EF4-FFF2-40B4-BE49-F238E27FC236}">
                    <a16:creationId xmlns:a16="http://schemas.microsoft.com/office/drawing/2014/main" id="{53AD9789-005D-D034-F61A-2FB294B6D140}"/>
                  </a:ext>
                </a:extLst>
              </p:cNvPr>
              <p:cNvGrpSpPr/>
              <p:nvPr/>
            </p:nvGrpSpPr>
            <p:grpSpPr>
              <a:xfrm>
                <a:off x="4709081" y="1786138"/>
                <a:ext cx="39899" cy="148160"/>
                <a:chOff x="4709081" y="1786138"/>
                <a:chExt cx="39899" cy="148160"/>
              </a:xfrm>
              <a:grpFill/>
            </p:grpSpPr>
            <p:sp>
              <p:nvSpPr>
                <p:cNvPr id="6054" name="Freeform 8162">
                  <a:extLst>
                    <a:ext uri="{FF2B5EF4-FFF2-40B4-BE49-F238E27FC236}">
                      <a16:creationId xmlns:a16="http://schemas.microsoft.com/office/drawing/2014/main" id="{B87FFB0F-E7DB-8BBE-9F25-D40A8C316EEA}"/>
                    </a:ext>
                  </a:extLst>
                </p:cNvPr>
                <p:cNvSpPr/>
                <p:nvPr/>
              </p:nvSpPr>
              <p:spPr>
                <a:xfrm>
                  <a:off x="4726839" y="1862585"/>
                  <a:ext cx="6477" cy="51815"/>
                </a:xfrm>
                <a:custGeom>
                  <a:avLst/>
                  <a:gdLst>
                    <a:gd name="connsiteX0" fmla="*/ 0 w 6477"/>
                    <a:gd name="connsiteY0" fmla="*/ 51816 h 51815"/>
                    <a:gd name="connsiteX1" fmla="*/ 3986 w 6477"/>
                    <a:gd name="connsiteY1" fmla="*/ 33381 h 51815"/>
                    <a:gd name="connsiteX2" fmla="*/ 2491 w 6477"/>
                    <a:gd name="connsiteY2" fmla="*/ 16068 h 51815"/>
                    <a:gd name="connsiteX3" fmla="*/ 6477 w 6477"/>
                    <a:gd name="connsiteY3" fmla="*/ 0 h 51815"/>
                  </a:gdLst>
                  <a:ahLst/>
                  <a:cxnLst>
                    <a:cxn ang="0">
                      <a:pos x="connsiteX0" y="connsiteY0"/>
                    </a:cxn>
                    <a:cxn ang="0">
                      <a:pos x="connsiteX1" y="connsiteY1"/>
                    </a:cxn>
                    <a:cxn ang="0">
                      <a:pos x="connsiteX2" y="connsiteY2"/>
                    </a:cxn>
                    <a:cxn ang="0">
                      <a:pos x="connsiteX3" y="connsiteY3"/>
                    </a:cxn>
                  </a:cxnLst>
                  <a:rect l="l" t="t" r="r" b="b"/>
                  <a:pathLst>
                    <a:path w="6477" h="51815">
                      <a:moveTo>
                        <a:pt x="0" y="51816"/>
                      </a:moveTo>
                      <a:cubicBezTo>
                        <a:pt x="3363" y="44093"/>
                        <a:pt x="3986" y="37741"/>
                        <a:pt x="3986" y="33381"/>
                      </a:cubicBezTo>
                      <a:cubicBezTo>
                        <a:pt x="3986" y="26406"/>
                        <a:pt x="2118"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5" name="Freeform 8163">
                  <a:extLst>
                    <a:ext uri="{FF2B5EF4-FFF2-40B4-BE49-F238E27FC236}">
                      <a16:creationId xmlns:a16="http://schemas.microsoft.com/office/drawing/2014/main" id="{D109911E-2E3F-AF35-A54F-2F3AA6CDEE32}"/>
                    </a:ext>
                  </a:extLst>
                </p:cNvPr>
                <p:cNvSpPr/>
                <p:nvPr/>
              </p:nvSpPr>
              <p:spPr>
                <a:xfrm>
                  <a:off x="4718208" y="1866695"/>
                  <a:ext cx="6959" cy="51815"/>
                </a:xfrm>
                <a:custGeom>
                  <a:avLst/>
                  <a:gdLst>
                    <a:gd name="connsiteX0" fmla="*/ 6015 w 6959"/>
                    <a:gd name="connsiteY0" fmla="*/ 0 h 51815"/>
                    <a:gd name="connsiteX1" fmla="*/ 5890 w 6959"/>
                    <a:gd name="connsiteY1" fmla="*/ 18808 h 51815"/>
                    <a:gd name="connsiteX2" fmla="*/ 659 w 6959"/>
                    <a:gd name="connsiteY2" fmla="*/ 35374 h 51815"/>
                    <a:gd name="connsiteX3" fmla="*/ 1033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0"/>
                      </a:moveTo>
                      <a:cubicBezTo>
                        <a:pt x="7634" y="8221"/>
                        <a:pt x="6887" y="14573"/>
                        <a:pt x="5890" y="18808"/>
                      </a:cubicBezTo>
                      <a:cubicBezTo>
                        <a:pt x="4396" y="25659"/>
                        <a:pt x="1905"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6" name="Freeform 8164">
                  <a:extLst>
                    <a:ext uri="{FF2B5EF4-FFF2-40B4-BE49-F238E27FC236}">
                      <a16:creationId xmlns:a16="http://schemas.microsoft.com/office/drawing/2014/main" id="{EF4E5681-E5F2-FB91-C4D6-72D9EE67051B}"/>
                    </a:ext>
                  </a:extLst>
                </p:cNvPr>
                <p:cNvSpPr/>
                <p:nvPr/>
              </p:nvSpPr>
              <p:spPr>
                <a:xfrm>
                  <a:off x="4709081" y="1907831"/>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943" y="4577"/>
                        <a:pt x="7420" y="-779"/>
                        <a:pt x="14769" y="93"/>
                      </a:cubicBezTo>
                      <a:cubicBezTo>
                        <a:pt x="22118" y="965"/>
                        <a:pt x="27349" y="7442"/>
                        <a:pt x="26602" y="14666"/>
                      </a:cubicBezTo>
                      <a:cubicBezTo>
                        <a:pt x="25855" y="21891"/>
                        <a:pt x="19253" y="27247"/>
                        <a:pt x="11904" y="26375"/>
                      </a:cubicBezTo>
                      <a:cubicBezTo>
                        <a:pt x="4555" y="25627"/>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7" name="Freeform 8165">
                  <a:extLst>
                    <a:ext uri="{FF2B5EF4-FFF2-40B4-BE49-F238E27FC236}">
                      <a16:creationId xmlns:a16="http://schemas.microsoft.com/office/drawing/2014/main" id="{AE0D81B5-FF76-E20B-6E66-9DF41E0C8059}"/>
                    </a:ext>
                  </a:extLst>
                </p:cNvPr>
                <p:cNvSpPr/>
                <p:nvPr/>
              </p:nvSpPr>
              <p:spPr>
                <a:xfrm>
                  <a:off x="4724970" y="1806036"/>
                  <a:ext cx="6476" cy="51815"/>
                </a:xfrm>
                <a:custGeom>
                  <a:avLst/>
                  <a:gdLst>
                    <a:gd name="connsiteX0" fmla="*/ 6477 w 6476"/>
                    <a:gd name="connsiteY0" fmla="*/ 0 h 51815"/>
                    <a:gd name="connsiteX1" fmla="*/ 2491 w 6476"/>
                    <a:gd name="connsiteY1" fmla="*/ 18435 h 51815"/>
                    <a:gd name="connsiteX2" fmla="*/ 3986 w 6476"/>
                    <a:gd name="connsiteY2" fmla="*/ 35748 h 51815"/>
                    <a:gd name="connsiteX3" fmla="*/ 0 w 64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476" h="51815">
                      <a:moveTo>
                        <a:pt x="6477" y="0"/>
                      </a:moveTo>
                      <a:cubicBezTo>
                        <a:pt x="3114" y="7723"/>
                        <a:pt x="2491" y="14075"/>
                        <a:pt x="2491" y="18435"/>
                      </a:cubicBezTo>
                      <a:cubicBezTo>
                        <a:pt x="2491" y="25410"/>
                        <a:pt x="4235" y="28648"/>
                        <a:pt x="3986" y="35748"/>
                      </a:cubicBezTo>
                      <a:cubicBezTo>
                        <a:pt x="3737" y="42599"/>
                        <a:pt x="1744"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8" name="Freeform 8166">
                  <a:extLst>
                    <a:ext uri="{FF2B5EF4-FFF2-40B4-BE49-F238E27FC236}">
                      <a16:creationId xmlns:a16="http://schemas.microsoft.com/office/drawing/2014/main" id="{7862A7A5-D6E2-CB89-FF35-764DF750FBCE}"/>
                    </a:ext>
                  </a:extLst>
                </p:cNvPr>
                <p:cNvSpPr/>
                <p:nvPr/>
              </p:nvSpPr>
              <p:spPr>
                <a:xfrm>
                  <a:off x="4732994" y="1801925"/>
                  <a:ext cx="6959" cy="51815"/>
                </a:xfrm>
                <a:custGeom>
                  <a:avLst/>
                  <a:gdLst>
                    <a:gd name="connsiteX0" fmla="*/ 945 w 6959"/>
                    <a:gd name="connsiteY0" fmla="*/ 51816 h 51815"/>
                    <a:gd name="connsiteX1" fmla="*/ 1069 w 6959"/>
                    <a:gd name="connsiteY1" fmla="*/ 33008 h 51815"/>
                    <a:gd name="connsiteX2" fmla="*/ 6301 w 6959"/>
                    <a:gd name="connsiteY2" fmla="*/ 16442 h 51815"/>
                    <a:gd name="connsiteX3" fmla="*/ 5927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945" y="51816"/>
                      </a:moveTo>
                      <a:cubicBezTo>
                        <a:pt x="-675" y="43595"/>
                        <a:pt x="73" y="37243"/>
                        <a:pt x="1069" y="33008"/>
                      </a:cubicBezTo>
                      <a:cubicBezTo>
                        <a:pt x="2564" y="26157"/>
                        <a:pt x="5055" y="23417"/>
                        <a:pt x="6301" y="16442"/>
                      </a:cubicBezTo>
                      <a:cubicBezTo>
                        <a:pt x="7546" y="9591"/>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9" name="Freeform 8167">
                  <a:extLst>
                    <a:ext uri="{FF2B5EF4-FFF2-40B4-BE49-F238E27FC236}">
                      <a16:creationId xmlns:a16="http://schemas.microsoft.com/office/drawing/2014/main" id="{7A236EFB-5E1A-3187-C8DB-F2924C6F8E4D}"/>
                    </a:ext>
                  </a:extLst>
                </p:cNvPr>
                <p:cNvSpPr/>
                <p:nvPr/>
              </p:nvSpPr>
              <p:spPr>
                <a:xfrm>
                  <a:off x="4722533" y="1786138"/>
                  <a:ext cx="26447" cy="26467"/>
                </a:xfrm>
                <a:custGeom>
                  <a:avLst/>
                  <a:gdLst>
                    <a:gd name="connsiteX0" fmla="*/ 26353 w 26447"/>
                    <a:gd name="connsiteY0" fmla="*/ 14666 h 26467"/>
                    <a:gd name="connsiteX1" fmla="*/ 11780 w 26447"/>
                    <a:gd name="connsiteY1" fmla="*/ 26375 h 26467"/>
                    <a:gd name="connsiteX2" fmla="*/ 71 w 26447"/>
                    <a:gd name="connsiteY2" fmla="*/ 11802 h 26467"/>
                    <a:gd name="connsiteX3" fmla="*/ 14644 w 26447"/>
                    <a:gd name="connsiteY3" fmla="*/ 93 h 26467"/>
                    <a:gd name="connsiteX4" fmla="*/ 26353 w 264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67">
                      <a:moveTo>
                        <a:pt x="26353" y="14666"/>
                      </a:moveTo>
                      <a:cubicBezTo>
                        <a:pt x="25606" y="21891"/>
                        <a:pt x="19004" y="27247"/>
                        <a:pt x="11780" y="26375"/>
                      </a:cubicBezTo>
                      <a:cubicBezTo>
                        <a:pt x="4555" y="25627"/>
                        <a:pt x="-676" y="19026"/>
                        <a:pt x="71" y="11802"/>
                      </a:cubicBezTo>
                      <a:cubicBezTo>
                        <a:pt x="943" y="4577"/>
                        <a:pt x="7420" y="-779"/>
                        <a:pt x="14644" y="93"/>
                      </a:cubicBezTo>
                      <a:cubicBezTo>
                        <a:pt x="21993" y="840"/>
                        <a:pt x="27225"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4" name="Graphic 2987">
                <a:extLst>
                  <a:ext uri="{FF2B5EF4-FFF2-40B4-BE49-F238E27FC236}">
                    <a16:creationId xmlns:a16="http://schemas.microsoft.com/office/drawing/2014/main" id="{34B9A8A7-8B97-7219-DF53-67D1260B0867}"/>
                  </a:ext>
                </a:extLst>
              </p:cNvPr>
              <p:cNvGrpSpPr/>
              <p:nvPr/>
            </p:nvGrpSpPr>
            <p:grpSpPr>
              <a:xfrm>
                <a:off x="4679414" y="1783024"/>
                <a:ext cx="40295" cy="148036"/>
                <a:chOff x="4679414" y="1783024"/>
                <a:chExt cx="40295" cy="148036"/>
              </a:xfrm>
              <a:grpFill/>
            </p:grpSpPr>
            <p:sp>
              <p:nvSpPr>
                <p:cNvPr id="6048" name="Freeform 8169">
                  <a:extLst>
                    <a:ext uri="{FF2B5EF4-FFF2-40B4-BE49-F238E27FC236}">
                      <a16:creationId xmlns:a16="http://schemas.microsoft.com/office/drawing/2014/main" id="{71825057-9E5A-9D13-6AD5-45A15BE6568C}"/>
                    </a:ext>
                  </a:extLst>
                </p:cNvPr>
                <p:cNvSpPr/>
                <p:nvPr/>
              </p:nvSpPr>
              <p:spPr>
                <a:xfrm>
                  <a:off x="4697194" y="185947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9" name="Freeform 8170">
                  <a:extLst>
                    <a:ext uri="{FF2B5EF4-FFF2-40B4-BE49-F238E27FC236}">
                      <a16:creationId xmlns:a16="http://schemas.microsoft.com/office/drawing/2014/main" id="{E9580094-ECC3-0808-1750-D6FD71565CCE}"/>
                    </a:ext>
                  </a:extLst>
                </p:cNvPr>
                <p:cNvSpPr/>
                <p:nvPr/>
              </p:nvSpPr>
              <p:spPr>
                <a:xfrm>
                  <a:off x="4688688" y="1863581"/>
                  <a:ext cx="7084" cy="51815"/>
                </a:xfrm>
                <a:custGeom>
                  <a:avLst/>
                  <a:gdLst>
                    <a:gd name="connsiteX0" fmla="*/ 6140 w 7084"/>
                    <a:gd name="connsiteY0" fmla="*/ 0 h 51815"/>
                    <a:gd name="connsiteX1" fmla="*/ 6015 w 7084"/>
                    <a:gd name="connsiteY1" fmla="*/ 18808 h 51815"/>
                    <a:gd name="connsiteX2" fmla="*/ 659 w 7084"/>
                    <a:gd name="connsiteY2" fmla="*/ 35374 h 51815"/>
                    <a:gd name="connsiteX3" fmla="*/ 1033 w 708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84" h="51815">
                      <a:moveTo>
                        <a:pt x="6140" y="0"/>
                      </a:moveTo>
                      <a:cubicBezTo>
                        <a:pt x="7759" y="8221"/>
                        <a:pt x="7011" y="14573"/>
                        <a:pt x="6015" y="18808"/>
                      </a:cubicBezTo>
                      <a:cubicBezTo>
                        <a:pt x="4396" y="25659"/>
                        <a:pt x="2029"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0" name="Freeform 8171">
                  <a:extLst>
                    <a:ext uri="{FF2B5EF4-FFF2-40B4-BE49-F238E27FC236}">
                      <a16:creationId xmlns:a16="http://schemas.microsoft.com/office/drawing/2014/main" id="{9A52772B-1E48-9C8E-E804-C70870A6A864}"/>
                    </a:ext>
                  </a:extLst>
                </p:cNvPr>
                <p:cNvSpPr/>
                <p:nvPr/>
              </p:nvSpPr>
              <p:spPr>
                <a:xfrm>
                  <a:off x="4679414" y="1904592"/>
                  <a:ext cx="26694" cy="26467"/>
                </a:xfrm>
                <a:custGeom>
                  <a:avLst/>
                  <a:gdLst>
                    <a:gd name="connsiteX0" fmla="*/ 93 w 26694"/>
                    <a:gd name="connsiteY0" fmla="*/ 11802 h 26467"/>
                    <a:gd name="connsiteX1" fmla="*/ 14791 w 26694"/>
                    <a:gd name="connsiteY1" fmla="*/ 93 h 26467"/>
                    <a:gd name="connsiteX2" fmla="*/ 26624 w 26694"/>
                    <a:gd name="connsiteY2" fmla="*/ 14666 h 26467"/>
                    <a:gd name="connsiteX3" fmla="*/ 11926 w 26694"/>
                    <a:gd name="connsiteY3" fmla="*/ 26375 h 26467"/>
                    <a:gd name="connsiteX4" fmla="*/ 93 w 26694"/>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67">
                      <a:moveTo>
                        <a:pt x="93" y="11802"/>
                      </a:moveTo>
                      <a:cubicBezTo>
                        <a:pt x="965" y="4577"/>
                        <a:pt x="7567" y="-779"/>
                        <a:pt x="14791" y="93"/>
                      </a:cubicBezTo>
                      <a:cubicBezTo>
                        <a:pt x="22140" y="840"/>
                        <a:pt x="27371" y="7442"/>
                        <a:pt x="26624" y="14666"/>
                      </a:cubicBezTo>
                      <a:cubicBezTo>
                        <a:pt x="25752" y="21891"/>
                        <a:pt x="19150" y="27247"/>
                        <a:pt x="11926" y="26375"/>
                      </a:cubicBezTo>
                      <a:cubicBezTo>
                        <a:pt x="4577" y="25627"/>
                        <a:pt x="-779" y="19150"/>
                        <a:pt x="93"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1" name="Freeform 8172">
                  <a:extLst>
                    <a:ext uri="{FF2B5EF4-FFF2-40B4-BE49-F238E27FC236}">
                      <a16:creationId xmlns:a16="http://schemas.microsoft.com/office/drawing/2014/main" id="{A0B9AA4E-94A7-8A08-4789-32E12578B04F}"/>
                    </a:ext>
                  </a:extLst>
                </p:cNvPr>
                <p:cNvSpPr/>
                <p:nvPr/>
              </p:nvSpPr>
              <p:spPr>
                <a:xfrm>
                  <a:off x="4695450" y="1802922"/>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2" name="Freeform 8173">
                  <a:extLst>
                    <a:ext uri="{FF2B5EF4-FFF2-40B4-BE49-F238E27FC236}">
                      <a16:creationId xmlns:a16="http://schemas.microsoft.com/office/drawing/2014/main" id="{10B23090-1AC9-9FDA-5B08-A9A9E9C252BE}"/>
                    </a:ext>
                  </a:extLst>
                </p:cNvPr>
                <p:cNvSpPr/>
                <p:nvPr/>
              </p:nvSpPr>
              <p:spPr>
                <a:xfrm>
                  <a:off x="4703598" y="1798687"/>
                  <a:ext cx="7091" cy="51815"/>
                </a:xfrm>
                <a:custGeom>
                  <a:avLst/>
                  <a:gdLst>
                    <a:gd name="connsiteX0" fmla="*/ 945 w 7091"/>
                    <a:gd name="connsiteY0" fmla="*/ 51816 h 51815"/>
                    <a:gd name="connsiteX1" fmla="*/ 1069 w 7091"/>
                    <a:gd name="connsiteY1" fmla="*/ 33008 h 51815"/>
                    <a:gd name="connsiteX2" fmla="*/ 6425 w 7091"/>
                    <a:gd name="connsiteY2" fmla="*/ 16442 h 51815"/>
                    <a:gd name="connsiteX3" fmla="*/ 6176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945" y="51816"/>
                      </a:moveTo>
                      <a:cubicBezTo>
                        <a:pt x="-674" y="43595"/>
                        <a:pt x="73" y="37243"/>
                        <a:pt x="1069" y="33008"/>
                      </a:cubicBezTo>
                      <a:cubicBezTo>
                        <a:pt x="2564"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3" name="Freeform 8174">
                  <a:extLst>
                    <a:ext uri="{FF2B5EF4-FFF2-40B4-BE49-F238E27FC236}">
                      <a16:creationId xmlns:a16="http://schemas.microsoft.com/office/drawing/2014/main" id="{597C8F0C-4CE0-98EB-7DA6-9B9955DAC246}"/>
                    </a:ext>
                  </a:extLst>
                </p:cNvPr>
                <p:cNvSpPr/>
                <p:nvPr/>
              </p:nvSpPr>
              <p:spPr>
                <a:xfrm>
                  <a:off x="4693362" y="1783024"/>
                  <a:ext cx="26347" cy="26467"/>
                </a:xfrm>
                <a:custGeom>
                  <a:avLst/>
                  <a:gdLst>
                    <a:gd name="connsiteX0" fmla="*/ 26252 w 26347"/>
                    <a:gd name="connsiteY0" fmla="*/ 14666 h 26467"/>
                    <a:gd name="connsiteX1" fmla="*/ 11679 w 26347"/>
                    <a:gd name="connsiteY1" fmla="*/ 26375 h 26467"/>
                    <a:gd name="connsiteX2" fmla="*/ 95 w 26347"/>
                    <a:gd name="connsiteY2" fmla="*/ 11802 h 26467"/>
                    <a:gd name="connsiteX3" fmla="*/ 14668 w 26347"/>
                    <a:gd name="connsiteY3" fmla="*/ 93 h 26467"/>
                    <a:gd name="connsiteX4" fmla="*/ 26252 w 263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67">
                      <a:moveTo>
                        <a:pt x="26252" y="14666"/>
                      </a:moveTo>
                      <a:cubicBezTo>
                        <a:pt x="25380" y="21891"/>
                        <a:pt x="18903" y="27247"/>
                        <a:pt x="11679" y="26375"/>
                      </a:cubicBezTo>
                      <a:cubicBezTo>
                        <a:pt x="4455" y="25627"/>
                        <a:pt x="-777" y="19026"/>
                        <a:pt x="95" y="11802"/>
                      </a:cubicBezTo>
                      <a:cubicBezTo>
                        <a:pt x="967" y="4577"/>
                        <a:pt x="7444" y="-779"/>
                        <a:pt x="14668" y="93"/>
                      </a:cubicBezTo>
                      <a:cubicBezTo>
                        <a:pt x="21893" y="840"/>
                        <a:pt x="27124" y="7317"/>
                        <a:pt x="26252"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5" name="Graphic 2987">
                <a:extLst>
                  <a:ext uri="{FF2B5EF4-FFF2-40B4-BE49-F238E27FC236}">
                    <a16:creationId xmlns:a16="http://schemas.microsoft.com/office/drawing/2014/main" id="{4B44DCF8-DFBB-28D9-ED22-4FA59273A7F1}"/>
                  </a:ext>
                </a:extLst>
              </p:cNvPr>
              <p:cNvGrpSpPr/>
              <p:nvPr/>
            </p:nvGrpSpPr>
            <p:grpSpPr>
              <a:xfrm>
                <a:off x="4649767" y="1779786"/>
                <a:ext cx="40648" cy="148036"/>
                <a:chOff x="4649767" y="1779786"/>
                <a:chExt cx="40648" cy="148036"/>
              </a:xfrm>
              <a:grpFill/>
            </p:grpSpPr>
            <p:sp>
              <p:nvSpPr>
                <p:cNvPr id="6042" name="Freeform 8176">
                  <a:extLst>
                    <a:ext uri="{FF2B5EF4-FFF2-40B4-BE49-F238E27FC236}">
                      <a16:creationId xmlns:a16="http://schemas.microsoft.com/office/drawing/2014/main" id="{4A92A6AA-6DF4-E7FB-46F3-114940B16CF0}"/>
                    </a:ext>
                  </a:extLst>
                </p:cNvPr>
                <p:cNvSpPr/>
                <p:nvPr/>
              </p:nvSpPr>
              <p:spPr>
                <a:xfrm>
                  <a:off x="4667549" y="1856357"/>
                  <a:ext cx="6601" cy="51691"/>
                </a:xfrm>
                <a:custGeom>
                  <a:avLst/>
                  <a:gdLst>
                    <a:gd name="connsiteX0" fmla="*/ 0 w 6601"/>
                    <a:gd name="connsiteY0" fmla="*/ 51691 h 51691"/>
                    <a:gd name="connsiteX1" fmla="*/ 4110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0" y="37616"/>
                        <a:pt x="4110" y="33381"/>
                      </a:cubicBezTo>
                      <a:cubicBezTo>
                        <a:pt x="4110" y="26406"/>
                        <a:pt x="2367" y="23168"/>
                        <a:pt x="2616" y="16068"/>
                      </a:cubicBezTo>
                      <a:cubicBezTo>
                        <a:pt x="2865" y="9217"/>
                        <a:pt x="4982"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3" name="Freeform 8177">
                  <a:extLst>
                    <a:ext uri="{FF2B5EF4-FFF2-40B4-BE49-F238E27FC236}">
                      <a16:creationId xmlns:a16="http://schemas.microsoft.com/office/drawing/2014/main" id="{8BB68119-C9C9-88F4-9CAA-9764BFAB5CAE}"/>
                    </a:ext>
                  </a:extLst>
                </p:cNvPr>
                <p:cNvSpPr/>
                <p:nvPr/>
              </p:nvSpPr>
              <p:spPr>
                <a:xfrm>
                  <a:off x="4659161" y="1860343"/>
                  <a:ext cx="7000" cy="51815"/>
                </a:xfrm>
                <a:custGeom>
                  <a:avLst/>
                  <a:gdLst>
                    <a:gd name="connsiteX0" fmla="*/ 6147 w 7000"/>
                    <a:gd name="connsiteY0" fmla="*/ 0 h 51815"/>
                    <a:gd name="connsiteX1" fmla="*/ 6022 w 7000"/>
                    <a:gd name="connsiteY1" fmla="*/ 18808 h 51815"/>
                    <a:gd name="connsiteX2" fmla="*/ 666 w 7000"/>
                    <a:gd name="connsiteY2" fmla="*/ 35374 h 51815"/>
                    <a:gd name="connsiteX3" fmla="*/ 915 w 700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00" h="51815">
                      <a:moveTo>
                        <a:pt x="6147" y="0"/>
                      </a:moveTo>
                      <a:cubicBezTo>
                        <a:pt x="7642" y="8221"/>
                        <a:pt x="6894" y="14573"/>
                        <a:pt x="6022" y="18808"/>
                      </a:cubicBezTo>
                      <a:cubicBezTo>
                        <a:pt x="4403" y="25659"/>
                        <a:pt x="1912" y="28399"/>
                        <a:pt x="666" y="35374"/>
                      </a:cubicBezTo>
                      <a:cubicBezTo>
                        <a:pt x="-579" y="42225"/>
                        <a:pt x="168" y="47955"/>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4" name="Freeform 8178">
                  <a:extLst>
                    <a:ext uri="{FF2B5EF4-FFF2-40B4-BE49-F238E27FC236}">
                      <a16:creationId xmlns:a16="http://schemas.microsoft.com/office/drawing/2014/main" id="{C9A658E2-E7FD-89F3-9489-DF3ECE36AEE0}"/>
                    </a:ext>
                  </a:extLst>
                </p:cNvPr>
                <p:cNvSpPr/>
                <p:nvPr/>
              </p:nvSpPr>
              <p:spPr>
                <a:xfrm>
                  <a:off x="4649767" y="1901354"/>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840"/>
                        <a:pt x="27498" y="7442"/>
                        <a:pt x="26626" y="14666"/>
                      </a:cubicBezTo>
                      <a:cubicBezTo>
                        <a:pt x="25754" y="21891"/>
                        <a:pt x="19152" y="27247"/>
                        <a:pt x="11803" y="26375"/>
                      </a:cubicBezTo>
                      <a:cubicBezTo>
                        <a:pt x="4455" y="25503"/>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5" name="Freeform 8179">
                  <a:extLst>
                    <a:ext uri="{FF2B5EF4-FFF2-40B4-BE49-F238E27FC236}">
                      <a16:creationId xmlns:a16="http://schemas.microsoft.com/office/drawing/2014/main" id="{4EDEC4CF-E0FA-C158-350F-95A698AE56CF}"/>
                    </a:ext>
                  </a:extLst>
                </p:cNvPr>
                <p:cNvSpPr/>
                <p:nvPr/>
              </p:nvSpPr>
              <p:spPr>
                <a:xfrm>
                  <a:off x="4666054" y="1799683"/>
                  <a:ext cx="6726" cy="51691"/>
                </a:xfrm>
                <a:custGeom>
                  <a:avLst/>
                  <a:gdLst>
                    <a:gd name="connsiteX0" fmla="*/ 6726 w 6726"/>
                    <a:gd name="connsiteY0" fmla="*/ 0 h 51691"/>
                    <a:gd name="connsiteX1" fmla="*/ 2616 w 6726"/>
                    <a:gd name="connsiteY1" fmla="*/ 18310 h 51691"/>
                    <a:gd name="connsiteX2" fmla="*/ 3986 w 6726"/>
                    <a:gd name="connsiteY2" fmla="*/ 35624 h 51691"/>
                    <a:gd name="connsiteX3" fmla="*/ 0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6726" y="0"/>
                      </a:moveTo>
                      <a:cubicBezTo>
                        <a:pt x="3363" y="7723"/>
                        <a:pt x="2616" y="14075"/>
                        <a:pt x="2616" y="18310"/>
                      </a:cubicBezTo>
                      <a:cubicBezTo>
                        <a:pt x="2616" y="25285"/>
                        <a:pt x="4360"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6" name="Freeform 8180">
                  <a:extLst>
                    <a:ext uri="{FF2B5EF4-FFF2-40B4-BE49-F238E27FC236}">
                      <a16:creationId xmlns:a16="http://schemas.microsoft.com/office/drawing/2014/main" id="{48AEBFBF-03FC-E69D-68FA-C75EF9FC20B9}"/>
                    </a:ext>
                  </a:extLst>
                </p:cNvPr>
                <p:cNvSpPr/>
                <p:nvPr/>
              </p:nvSpPr>
              <p:spPr>
                <a:xfrm>
                  <a:off x="4674169" y="1795448"/>
                  <a:ext cx="7000" cy="51815"/>
                </a:xfrm>
                <a:custGeom>
                  <a:avLst/>
                  <a:gdLst>
                    <a:gd name="connsiteX0" fmla="*/ 854 w 7000"/>
                    <a:gd name="connsiteY0" fmla="*/ 51816 h 51815"/>
                    <a:gd name="connsiteX1" fmla="*/ 978 w 7000"/>
                    <a:gd name="connsiteY1" fmla="*/ 33008 h 51815"/>
                    <a:gd name="connsiteX2" fmla="*/ 6334 w 7000"/>
                    <a:gd name="connsiteY2" fmla="*/ 16442 h 51815"/>
                    <a:gd name="connsiteX3" fmla="*/ 6085 w 7000"/>
                    <a:gd name="connsiteY3" fmla="*/ 0 h 51815"/>
                  </a:gdLst>
                  <a:ahLst/>
                  <a:cxnLst>
                    <a:cxn ang="0">
                      <a:pos x="connsiteX0" y="connsiteY0"/>
                    </a:cxn>
                    <a:cxn ang="0">
                      <a:pos x="connsiteX1" y="connsiteY1"/>
                    </a:cxn>
                    <a:cxn ang="0">
                      <a:pos x="connsiteX2" y="connsiteY2"/>
                    </a:cxn>
                    <a:cxn ang="0">
                      <a:pos x="connsiteX3" y="connsiteY3"/>
                    </a:cxn>
                  </a:cxnLst>
                  <a:rect l="l" t="t" r="r" b="b"/>
                  <a:pathLst>
                    <a:path w="7000" h="51815">
                      <a:moveTo>
                        <a:pt x="854" y="51816"/>
                      </a:moveTo>
                      <a:cubicBezTo>
                        <a:pt x="-641" y="43595"/>
                        <a:pt x="106" y="37243"/>
                        <a:pt x="978" y="33008"/>
                      </a:cubicBezTo>
                      <a:cubicBezTo>
                        <a:pt x="2598" y="26157"/>
                        <a:pt x="4964" y="23417"/>
                        <a:pt x="6334" y="16442"/>
                      </a:cubicBezTo>
                      <a:cubicBezTo>
                        <a:pt x="7580" y="9591"/>
                        <a:pt x="6833" y="3861"/>
                        <a:pt x="60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7" name="Freeform 8181">
                  <a:extLst>
                    <a:ext uri="{FF2B5EF4-FFF2-40B4-BE49-F238E27FC236}">
                      <a16:creationId xmlns:a16="http://schemas.microsoft.com/office/drawing/2014/main" id="{6199A6C7-FD60-7B99-F558-7F58526F1329}"/>
                    </a:ext>
                  </a:extLst>
                </p:cNvPr>
                <p:cNvSpPr/>
                <p:nvPr/>
              </p:nvSpPr>
              <p:spPr>
                <a:xfrm>
                  <a:off x="4663967" y="1779786"/>
                  <a:ext cx="26449" cy="26467"/>
                </a:xfrm>
                <a:custGeom>
                  <a:avLst/>
                  <a:gdLst>
                    <a:gd name="connsiteX0" fmla="*/ 26376 w 26449"/>
                    <a:gd name="connsiteY0" fmla="*/ 14666 h 26467"/>
                    <a:gd name="connsiteX1" fmla="*/ 11679 w 26449"/>
                    <a:gd name="connsiteY1" fmla="*/ 26375 h 26467"/>
                    <a:gd name="connsiteX2" fmla="*/ 95 w 26449"/>
                    <a:gd name="connsiteY2" fmla="*/ 11802 h 26467"/>
                    <a:gd name="connsiteX3" fmla="*/ 14793 w 26449"/>
                    <a:gd name="connsiteY3" fmla="*/ 93 h 26467"/>
                    <a:gd name="connsiteX4" fmla="*/ 26376 w 2644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467">
                      <a:moveTo>
                        <a:pt x="26376" y="14666"/>
                      </a:moveTo>
                      <a:cubicBezTo>
                        <a:pt x="25504" y="21891"/>
                        <a:pt x="19028" y="27247"/>
                        <a:pt x="11679" y="26375"/>
                      </a:cubicBezTo>
                      <a:cubicBezTo>
                        <a:pt x="4454" y="25627"/>
                        <a:pt x="-777" y="19026"/>
                        <a:pt x="95" y="11802"/>
                      </a:cubicBezTo>
                      <a:cubicBezTo>
                        <a:pt x="967" y="4577"/>
                        <a:pt x="7444" y="-779"/>
                        <a:pt x="14793" y="93"/>
                      </a:cubicBezTo>
                      <a:cubicBezTo>
                        <a:pt x="22017" y="840"/>
                        <a:pt x="27124" y="7442"/>
                        <a:pt x="26376"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6" name="Graphic 2987">
                <a:extLst>
                  <a:ext uri="{FF2B5EF4-FFF2-40B4-BE49-F238E27FC236}">
                    <a16:creationId xmlns:a16="http://schemas.microsoft.com/office/drawing/2014/main" id="{56F69201-6818-5FD5-4D02-E9E4632FC12C}"/>
                  </a:ext>
                </a:extLst>
              </p:cNvPr>
              <p:cNvGrpSpPr/>
              <p:nvPr/>
            </p:nvGrpSpPr>
            <p:grpSpPr>
              <a:xfrm>
                <a:off x="4620122" y="1776672"/>
                <a:ext cx="40920" cy="148036"/>
                <a:chOff x="4620122" y="1776672"/>
                <a:chExt cx="40920" cy="148036"/>
              </a:xfrm>
              <a:grpFill/>
            </p:grpSpPr>
            <p:sp>
              <p:nvSpPr>
                <p:cNvPr id="6036" name="Freeform 8183">
                  <a:extLst>
                    <a:ext uri="{FF2B5EF4-FFF2-40B4-BE49-F238E27FC236}">
                      <a16:creationId xmlns:a16="http://schemas.microsoft.com/office/drawing/2014/main" id="{5BF04527-B4FA-9A31-7E67-8E238A4EE30E}"/>
                    </a:ext>
                  </a:extLst>
                </p:cNvPr>
                <p:cNvSpPr/>
                <p:nvPr/>
              </p:nvSpPr>
              <p:spPr>
                <a:xfrm>
                  <a:off x="4637905" y="1853119"/>
                  <a:ext cx="6850" cy="51691"/>
                </a:xfrm>
                <a:custGeom>
                  <a:avLst/>
                  <a:gdLst>
                    <a:gd name="connsiteX0" fmla="*/ 0 w 6850"/>
                    <a:gd name="connsiteY0" fmla="*/ 51691 h 51691"/>
                    <a:gd name="connsiteX1" fmla="*/ 4110 w 6850"/>
                    <a:gd name="connsiteY1" fmla="*/ 33381 h 51691"/>
                    <a:gd name="connsiteX2" fmla="*/ 2740 w 6850"/>
                    <a:gd name="connsiteY2" fmla="*/ 16068 h 51691"/>
                    <a:gd name="connsiteX3" fmla="*/ 6851 w 6850"/>
                    <a:gd name="connsiteY3" fmla="*/ 0 h 51691"/>
                  </a:gdLst>
                  <a:ahLst/>
                  <a:cxnLst>
                    <a:cxn ang="0">
                      <a:pos x="connsiteX0" y="connsiteY0"/>
                    </a:cxn>
                    <a:cxn ang="0">
                      <a:pos x="connsiteX1" y="connsiteY1"/>
                    </a:cxn>
                    <a:cxn ang="0">
                      <a:pos x="connsiteX2" y="connsiteY2"/>
                    </a:cxn>
                    <a:cxn ang="0">
                      <a:pos x="connsiteX3" y="connsiteY3"/>
                    </a:cxn>
                  </a:cxnLst>
                  <a:rect l="l" t="t" r="r" b="b"/>
                  <a:pathLst>
                    <a:path w="6850" h="51690">
                      <a:moveTo>
                        <a:pt x="0" y="51691"/>
                      </a:moveTo>
                      <a:cubicBezTo>
                        <a:pt x="3363" y="43969"/>
                        <a:pt x="4110" y="37616"/>
                        <a:pt x="4110" y="33381"/>
                      </a:cubicBezTo>
                      <a:cubicBezTo>
                        <a:pt x="4110" y="26406"/>
                        <a:pt x="2367" y="23168"/>
                        <a:pt x="2740" y="16068"/>
                      </a:cubicBezTo>
                      <a:cubicBezTo>
                        <a:pt x="3114" y="9217"/>
                        <a:pt x="5107" y="3612"/>
                        <a:pt x="68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7" name="Freeform 8184">
                  <a:extLst>
                    <a:ext uri="{FF2B5EF4-FFF2-40B4-BE49-F238E27FC236}">
                      <a16:creationId xmlns:a16="http://schemas.microsoft.com/office/drawing/2014/main" id="{04888D75-4245-1B10-04D9-F3A38965DD88}"/>
                    </a:ext>
                  </a:extLst>
                </p:cNvPr>
                <p:cNvSpPr/>
                <p:nvPr/>
              </p:nvSpPr>
              <p:spPr>
                <a:xfrm>
                  <a:off x="4629356" y="1857229"/>
                  <a:ext cx="7276" cy="51815"/>
                </a:xfrm>
                <a:custGeom>
                  <a:avLst/>
                  <a:gdLst>
                    <a:gd name="connsiteX0" fmla="*/ 6431 w 7276"/>
                    <a:gd name="connsiteY0" fmla="*/ 0 h 51815"/>
                    <a:gd name="connsiteX1" fmla="*/ 6182 w 7276"/>
                    <a:gd name="connsiteY1" fmla="*/ 18808 h 51815"/>
                    <a:gd name="connsiteX2" fmla="*/ 702 w 7276"/>
                    <a:gd name="connsiteY2" fmla="*/ 35374 h 51815"/>
                    <a:gd name="connsiteX3" fmla="*/ 951 w 72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276" h="51815">
                      <a:moveTo>
                        <a:pt x="6431" y="0"/>
                      </a:moveTo>
                      <a:cubicBezTo>
                        <a:pt x="7926" y="8221"/>
                        <a:pt x="7178" y="14573"/>
                        <a:pt x="6182" y="18808"/>
                      </a:cubicBezTo>
                      <a:cubicBezTo>
                        <a:pt x="4563" y="25659"/>
                        <a:pt x="2072" y="28399"/>
                        <a:pt x="702" y="35374"/>
                      </a:cubicBezTo>
                      <a:cubicBezTo>
                        <a:pt x="-544" y="42100"/>
                        <a:pt x="79" y="47955"/>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8" name="Freeform 8185">
                  <a:extLst>
                    <a:ext uri="{FF2B5EF4-FFF2-40B4-BE49-F238E27FC236}">
                      <a16:creationId xmlns:a16="http://schemas.microsoft.com/office/drawing/2014/main" id="{D9DA135C-F7DC-3B61-EC00-304BBF7AEA28}"/>
                    </a:ext>
                  </a:extLst>
                </p:cNvPr>
                <p:cNvSpPr/>
                <p:nvPr/>
              </p:nvSpPr>
              <p:spPr>
                <a:xfrm>
                  <a:off x="4620122" y="1898240"/>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965"/>
                        <a:pt x="27498" y="7442"/>
                        <a:pt x="26626" y="14666"/>
                      </a:cubicBezTo>
                      <a:cubicBezTo>
                        <a:pt x="25754" y="21891"/>
                        <a:pt x="19152" y="27247"/>
                        <a:pt x="11803" y="26375"/>
                      </a:cubicBezTo>
                      <a:cubicBezTo>
                        <a:pt x="4455"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9" name="Freeform 8186">
                  <a:extLst>
                    <a:ext uri="{FF2B5EF4-FFF2-40B4-BE49-F238E27FC236}">
                      <a16:creationId xmlns:a16="http://schemas.microsoft.com/office/drawing/2014/main" id="{63B8C0A0-6D43-EC88-7C08-840B22470D48}"/>
                    </a:ext>
                  </a:extLst>
                </p:cNvPr>
                <p:cNvSpPr/>
                <p:nvPr/>
              </p:nvSpPr>
              <p:spPr>
                <a:xfrm>
                  <a:off x="4636534" y="1796569"/>
                  <a:ext cx="6850" cy="51691"/>
                </a:xfrm>
                <a:custGeom>
                  <a:avLst/>
                  <a:gdLst>
                    <a:gd name="connsiteX0" fmla="*/ 6851 w 6850"/>
                    <a:gd name="connsiteY0" fmla="*/ 0 h 51691"/>
                    <a:gd name="connsiteX1" fmla="*/ 2740 w 6850"/>
                    <a:gd name="connsiteY1" fmla="*/ 18310 h 51691"/>
                    <a:gd name="connsiteX2" fmla="*/ 4111 w 6850"/>
                    <a:gd name="connsiteY2" fmla="*/ 35624 h 51691"/>
                    <a:gd name="connsiteX3" fmla="*/ 0 w 685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850" h="51690">
                      <a:moveTo>
                        <a:pt x="6851" y="0"/>
                      </a:moveTo>
                      <a:cubicBezTo>
                        <a:pt x="3488" y="7723"/>
                        <a:pt x="2740" y="14075"/>
                        <a:pt x="2740" y="18310"/>
                      </a:cubicBezTo>
                      <a:cubicBezTo>
                        <a:pt x="2740" y="25285"/>
                        <a:pt x="4484" y="28524"/>
                        <a:pt x="4111" y="35624"/>
                      </a:cubicBezTo>
                      <a:cubicBezTo>
                        <a:pt x="3737" y="42474"/>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0" name="Freeform 8187">
                  <a:extLst>
                    <a:ext uri="{FF2B5EF4-FFF2-40B4-BE49-F238E27FC236}">
                      <a16:creationId xmlns:a16="http://schemas.microsoft.com/office/drawing/2014/main" id="{08985496-FEB9-9BC2-CB2E-1CCE8177CBBD}"/>
                    </a:ext>
                  </a:extLst>
                </p:cNvPr>
                <p:cNvSpPr/>
                <p:nvPr/>
              </p:nvSpPr>
              <p:spPr>
                <a:xfrm>
                  <a:off x="4644782" y="1792334"/>
                  <a:ext cx="7151" cy="51815"/>
                </a:xfrm>
                <a:custGeom>
                  <a:avLst/>
                  <a:gdLst>
                    <a:gd name="connsiteX0" fmla="*/ 845 w 7151"/>
                    <a:gd name="connsiteY0" fmla="*/ 51816 h 51815"/>
                    <a:gd name="connsiteX1" fmla="*/ 1094 w 7151"/>
                    <a:gd name="connsiteY1" fmla="*/ 33008 h 51815"/>
                    <a:gd name="connsiteX2" fmla="*/ 6450 w 7151"/>
                    <a:gd name="connsiteY2" fmla="*/ 16442 h 51815"/>
                    <a:gd name="connsiteX3" fmla="*/ 6201 w 7151"/>
                    <a:gd name="connsiteY3" fmla="*/ 0 h 51815"/>
                  </a:gdLst>
                  <a:ahLst/>
                  <a:cxnLst>
                    <a:cxn ang="0">
                      <a:pos x="connsiteX0" y="connsiteY0"/>
                    </a:cxn>
                    <a:cxn ang="0">
                      <a:pos x="connsiteX1" y="connsiteY1"/>
                    </a:cxn>
                    <a:cxn ang="0">
                      <a:pos x="connsiteX2" y="connsiteY2"/>
                    </a:cxn>
                    <a:cxn ang="0">
                      <a:pos x="connsiteX3" y="connsiteY3"/>
                    </a:cxn>
                  </a:cxnLst>
                  <a:rect l="l" t="t" r="r" b="b"/>
                  <a:pathLst>
                    <a:path w="7151" h="51815">
                      <a:moveTo>
                        <a:pt x="845" y="51816"/>
                      </a:moveTo>
                      <a:cubicBezTo>
                        <a:pt x="-649" y="43595"/>
                        <a:pt x="98" y="37243"/>
                        <a:pt x="1094" y="33008"/>
                      </a:cubicBezTo>
                      <a:cubicBezTo>
                        <a:pt x="2713" y="26157"/>
                        <a:pt x="5205" y="23417"/>
                        <a:pt x="6450" y="16442"/>
                      </a:cubicBezTo>
                      <a:cubicBezTo>
                        <a:pt x="7696" y="9716"/>
                        <a:pt x="7073"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1" name="Freeform 8188">
                  <a:extLst>
                    <a:ext uri="{FF2B5EF4-FFF2-40B4-BE49-F238E27FC236}">
                      <a16:creationId xmlns:a16="http://schemas.microsoft.com/office/drawing/2014/main" id="{BB9BC404-FA13-7068-1C81-23B856AC2875}"/>
                    </a:ext>
                  </a:extLst>
                </p:cNvPr>
                <p:cNvSpPr/>
                <p:nvPr/>
              </p:nvSpPr>
              <p:spPr>
                <a:xfrm>
                  <a:off x="4634571" y="1776672"/>
                  <a:ext cx="26471" cy="26467"/>
                </a:xfrm>
                <a:custGeom>
                  <a:avLst/>
                  <a:gdLst>
                    <a:gd name="connsiteX0" fmla="*/ 26377 w 26471"/>
                    <a:gd name="connsiteY0" fmla="*/ 14666 h 26467"/>
                    <a:gd name="connsiteX1" fmla="*/ 11679 w 26471"/>
                    <a:gd name="connsiteY1" fmla="*/ 26375 h 26467"/>
                    <a:gd name="connsiteX2" fmla="*/ 95 w 26471"/>
                    <a:gd name="connsiteY2" fmla="*/ 11802 h 26467"/>
                    <a:gd name="connsiteX3" fmla="*/ 14793 w 26471"/>
                    <a:gd name="connsiteY3" fmla="*/ 93 h 26467"/>
                    <a:gd name="connsiteX4" fmla="*/ 26377 w 26471"/>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67">
                      <a:moveTo>
                        <a:pt x="26377" y="14666"/>
                      </a:moveTo>
                      <a:cubicBezTo>
                        <a:pt x="25505" y="21891"/>
                        <a:pt x="18903" y="27247"/>
                        <a:pt x="11679" y="26375"/>
                      </a:cubicBezTo>
                      <a:cubicBezTo>
                        <a:pt x="4455" y="25627"/>
                        <a:pt x="-777" y="19026"/>
                        <a:pt x="95" y="11802"/>
                      </a:cubicBezTo>
                      <a:cubicBezTo>
                        <a:pt x="967" y="4577"/>
                        <a:pt x="7569" y="-779"/>
                        <a:pt x="14793" y="93"/>
                      </a:cubicBezTo>
                      <a:cubicBezTo>
                        <a:pt x="22017" y="840"/>
                        <a:pt x="27248" y="7317"/>
                        <a:pt x="26377"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7" name="Graphic 2987">
                <a:extLst>
                  <a:ext uri="{FF2B5EF4-FFF2-40B4-BE49-F238E27FC236}">
                    <a16:creationId xmlns:a16="http://schemas.microsoft.com/office/drawing/2014/main" id="{E4D2F30F-C8C7-D248-0AEB-51F4F96765CF}"/>
                  </a:ext>
                </a:extLst>
              </p:cNvPr>
              <p:cNvGrpSpPr/>
              <p:nvPr/>
            </p:nvGrpSpPr>
            <p:grpSpPr>
              <a:xfrm>
                <a:off x="4590478" y="1773305"/>
                <a:ext cx="41294" cy="148289"/>
                <a:chOff x="4590478" y="1773305"/>
                <a:chExt cx="41294" cy="148289"/>
              </a:xfrm>
              <a:grpFill/>
            </p:grpSpPr>
            <p:sp>
              <p:nvSpPr>
                <p:cNvPr id="6030" name="Freeform 8190">
                  <a:extLst>
                    <a:ext uri="{FF2B5EF4-FFF2-40B4-BE49-F238E27FC236}">
                      <a16:creationId xmlns:a16="http://schemas.microsoft.com/office/drawing/2014/main" id="{891610A4-0DA6-4E65-C5C9-85FA162B9DAB}"/>
                    </a:ext>
                  </a:extLst>
                </p:cNvPr>
                <p:cNvSpPr/>
                <p:nvPr/>
              </p:nvSpPr>
              <p:spPr>
                <a:xfrm>
                  <a:off x="4608260" y="1850005"/>
                  <a:ext cx="6975" cy="51566"/>
                </a:xfrm>
                <a:custGeom>
                  <a:avLst/>
                  <a:gdLst>
                    <a:gd name="connsiteX0" fmla="*/ 0 w 6975"/>
                    <a:gd name="connsiteY0" fmla="*/ 51567 h 51566"/>
                    <a:gd name="connsiteX1" fmla="*/ 4235 w 6975"/>
                    <a:gd name="connsiteY1" fmla="*/ 33257 h 51566"/>
                    <a:gd name="connsiteX2" fmla="*/ 2865 w 6975"/>
                    <a:gd name="connsiteY2" fmla="*/ 15943 h 51566"/>
                    <a:gd name="connsiteX3" fmla="*/ 6975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0" y="51567"/>
                      </a:moveTo>
                      <a:cubicBezTo>
                        <a:pt x="3488" y="43844"/>
                        <a:pt x="4235" y="37616"/>
                        <a:pt x="4235" y="33257"/>
                      </a:cubicBezTo>
                      <a:cubicBezTo>
                        <a:pt x="4235" y="26282"/>
                        <a:pt x="2491" y="23043"/>
                        <a:pt x="2865" y="15943"/>
                      </a:cubicBezTo>
                      <a:cubicBezTo>
                        <a:pt x="3239" y="9093"/>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1" name="Freeform 8191">
                  <a:extLst>
                    <a:ext uri="{FF2B5EF4-FFF2-40B4-BE49-F238E27FC236}">
                      <a16:creationId xmlns:a16="http://schemas.microsoft.com/office/drawing/2014/main" id="{F9D31862-00C0-88B9-CE15-6D2BE00961BC}"/>
                    </a:ext>
                  </a:extLst>
                </p:cNvPr>
                <p:cNvSpPr/>
                <p:nvPr/>
              </p:nvSpPr>
              <p:spPr>
                <a:xfrm>
                  <a:off x="4599774" y="1853866"/>
                  <a:ext cx="7338" cy="51940"/>
                </a:xfrm>
                <a:custGeom>
                  <a:avLst/>
                  <a:gdLst>
                    <a:gd name="connsiteX0" fmla="*/ 6493 w 7338"/>
                    <a:gd name="connsiteY0" fmla="*/ 0 h 51940"/>
                    <a:gd name="connsiteX1" fmla="*/ 6244 w 7338"/>
                    <a:gd name="connsiteY1" fmla="*/ 18808 h 51940"/>
                    <a:gd name="connsiteX2" fmla="*/ 764 w 7338"/>
                    <a:gd name="connsiteY2" fmla="*/ 35374 h 51940"/>
                    <a:gd name="connsiteX3" fmla="*/ 888 w 733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338" h="51940">
                      <a:moveTo>
                        <a:pt x="6493" y="0"/>
                      </a:moveTo>
                      <a:cubicBezTo>
                        <a:pt x="7988" y="8345"/>
                        <a:pt x="7240" y="14573"/>
                        <a:pt x="6244" y="18808"/>
                      </a:cubicBezTo>
                      <a:cubicBezTo>
                        <a:pt x="4625" y="25659"/>
                        <a:pt x="2134" y="28399"/>
                        <a:pt x="764" y="35374"/>
                      </a:cubicBezTo>
                      <a:cubicBezTo>
                        <a:pt x="-607" y="42100"/>
                        <a:pt x="141" y="48079"/>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2" name="Freeform 8192">
                  <a:extLst>
                    <a:ext uri="{FF2B5EF4-FFF2-40B4-BE49-F238E27FC236}">
                      <a16:creationId xmlns:a16="http://schemas.microsoft.com/office/drawing/2014/main" id="{61A322D8-9184-61FA-1740-4114559B6596}"/>
                    </a:ext>
                  </a:extLst>
                </p:cNvPr>
                <p:cNvSpPr/>
                <p:nvPr/>
              </p:nvSpPr>
              <p:spPr>
                <a:xfrm>
                  <a:off x="4590478" y="1894970"/>
                  <a:ext cx="26720" cy="26623"/>
                </a:xfrm>
                <a:custGeom>
                  <a:avLst/>
                  <a:gdLst>
                    <a:gd name="connsiteX0" fmla="*/ 95 w 26720"/>
                    <a:gd name="connsiteY0" fmla="*/ 11459 h 26623"/>
                    <a:gd name="connsiteX1" fmla="*/ 14917 w 26720"/>
                    <a:gd name="connsiteY1" fmla="*/ 124 h 26623"/>
                    <a:gd name="connsiteX2" fmla="*/ 26626 w 26720"/>
                    <a:gd name="connsiteY2" fmla="*/ 14822 h 26623"/>
                    <a:gd name="connsiteX3" fmla="*/ 11803 w 26720"/>
                    <a:gd name="connsiteY3" fmla="*/ 26531 h 26623"/>
                    <a:gd name="connsiteX4" fmla="*/ 95 w 26720"/>
                    <a:gd name="connsiteY4" fmla="*/ 11459 h 2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623">
                      <a:moveTo>
                        <a:pt x="95" y="11459"/>
                      </a:moveTo>
                      <a:cubicBezTo>
                        <a:pt x="967" y="4235"/>
                        <a:pt x="7568" y="-872"/>
                        <a:pt x="14917" y="124"/>
                      </a:cubicBezTo>
                      <a:cubicBezTo>
                        <a:pt x="22266" y="996"/>
                        <a:pt x="27498" y="7473"/>
                        <a:pt x="26626" y="14822"/>
                      </a:cubicBezTo>
                      <a:cubicBezTo>
                        <a:pt x="25754" y="22046"/>
                        <a:pt x="19152" y="27402"/>
                        <a:pt x="11803" y="26531"/>
                      </a:cubicBezTo>
                      <a:cubicBezTo>
                        <a:pt x="4454" y="25410"/>
                        <a:pt x="-777" y="18683"/>
                        <a:pt x="95"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3" name="Freeform 8193">
                  <a:extLst>
                    <a:ext uri="{FF2B5EF4-FFF2-40B4-BE49-F238E27FC236}">
                      <a16:creationId xmlns:a16="http://schemas.microsoft.com/office/drawing/2014/main" id="{30B8ADF3-1E5B-4336-19BA-DCB0785C61DE}"/>
                    </a:ext>
                  </a:extLst>
                </p:cNvPr>
                <p:cNvSpPr/>
                <p:nvPr/>
              </p:nvSpPr>
              <p:spPr>
                <a:xfrm>
                  <a:off x="4607139" y="1793206"/>
                  <a:ext cx="6975" cy="51691"/>
                </a:xfrm>
                <a:custGeom>
                  <a:avLst/>
                  <a:gdLst>
                    <a:gd name="connsiteX0" fmla="*/ 6975 w 6975"/>
                    <a:gd name="connsiteY0" fmla="*/ 0 h 51691"/>
                    <a:gd name="connsiteX1" fmla="*/ 2740 w 6975"/>
                    <a:gd name="connsiteY1" fmla="*/ 18310 h 51691"/>
                    <a:gd name="connsiteX2" fmla="*/ 4110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612" y="7598"/>
                        <a:pt x="2865" y="13950"/>
                        <a:pt x="2740" y="18310"/>
                      </a:cubicBezTo>
                      <a:cubicBezTo>
                        <a:pt x="2616" y="25285"/>
                        <a:pt x="4360" y="28648"/>
                        <a:pt x="4110" y="35748"/>
                      </a:cubicBezTo>
                      <a:cubicBezTo>
                        <a:pt x="3737"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4" name="Freeform 8194">
                  <a:extLst>
                    <a:ext uri="{FF2B5EF4-FFF2-40B4-BE49-F238E27FC236}">
                      <a16:creationId xmlns:a16="http://schemas.microsoft.com/office/drawing/2014/main" id="{7C31CC08-A5F7-7CA4-EB74-ECD63A2F9AAB}"/>
                    </a:ext>
                  </a:extLst>
                </p:cNvPr>
                <p:cNvSpPr/>
                <p:nvPr/>
              </p:nvSpPr>
              <p:spPr>
                <a:xfrm>
                  <a:off x="4615262" y="1789096"/>
                  <a:ext cx="7338" cy="51815"/>
                </a:xfrm>
                <a:custGeom>
                  <a:avLst/>
                  <a:gdLst>
                    <a:gd name="connsiteX0" fmla="*/ 845 w 7338"/>
                    <a:gd name="connsiteY0" fmla="*/ 51816 h 51815"/>
                    <a:gd name="connsiteX1" fmla="*/ 1094 w 7338"/>
                    <a:gd name="connsiteY1" fmla="*/ 33008 h 51815"/>
                    <a:gd name="connsiteX2" fmla="*/ 6575 w 7338"/>
                    <a:gd name="connsiteY2" fmla="*/ 16442 h 51815"/>
                    <a:gd name="connsiteX3" fmla="*/ 6450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845" y="51816"/>
                      </a:moveTo>
                      <a:cubicBezTo>
                        <a:pt x="-649" y="43595"/>
                        <a:pt x="98" y="37243"/>
                        <a:pt x="1094" y="33008"/>
                      </a:cubicBezTo>
                      <a:cubicBezTo>
                        <a:pt x="2713" y="26157"/>
                        <a:pt x="5205" y="23417"/>
                        <a:pt x="6575" y="16442"/>
                      </a:cubicBezTo>
                      <a:cubicBezTo>
                        <a:pt x="7945" y="9715"/>
                        <a:pt x="7197" y="3861"/>
                        <a:pt x="64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5" name="Freeform 8195">
                  <a:extLst>
                    <a:ext uri="{FF2B5EF4-FFF2-40B4-BE49-F238E27FC236}">
                      <a16:creationId xmlns:a16="http://schemas.microsoft.com/office/drawing/2014/main" id="{12AC5C78-7ADC-E7B8-4075-FC26FF2D7679}"/>
                    </a:ext>
                  </a:extLst>
                </p:cNvPr>
                <p:cNvSpPr/>
                <p:nvPr/>
              </p:nvSpPr>
              <p:spPr>
                <a:xfrm>
                  <a:off x="4605423" y="1773305"/>
                  <a:ext cx="26349" cy="26596"/>
                </a:xfrm>
                <a:custGeom>
                  <a:avLst/>
                  <a:gdLst>
                    <a:gd name="connsiteX0" fmla="*/ 26254 w 26349"/>
                    <a:gd name="connsiteY0" fmla="*/ 14795 h 26596"/>
                    <a:gd name="connsiteX1" fmla="*/ 11556 w 26349"/>
                    <a:gd name="connsiteY1" fmla="*/ 26503 h 26596"/>
                    <a:gd name="connsiteX2" fmla="*/ 97 w 26349"/>
                    <a:gd name="connsiteY2" fmla="*/ 11556 h 26596"/>
                    <a:gd name="connsiteX3" fmla="*/ 14795 w 26349"/>
                    <a:gd name="connsiteY3" fmla="*/ 97 h 26596"/>
                    <a:gd name="connsiteX4" fmla="*/ 26254 w 26349"/>
                    <a:gd name="connsiteY4" fmla="*/ 14795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9" h="26595">
                      <a:moveTo>
                        <a:pt x="26254" y="14795"/>
                      </a:moveTo>
                      <a:cubicBezTo>
                        <a:pt x="25382" y="22019"/>
                        <a:pt x="18781" y="27375"/>
                        <a:pt x="11556" y="26503"/>
                      </a:cubicBezTo>
                      <a:cubicBezTo>
                        <a:pt x="4332" y="25507"/>
                        <a:pt x="-775" y="18905"/>
                        <a:pt x="97" y="11556"/>
                      </a:cubicBezTo>
                      <a:cubicBezTo>
                        <a:pt x="969" y="4332"/>
                        <a:pt x="7570" y="-775"/>
                        <a:pt x="14795" y="97"/>
                      </a:cubicBezTo>
                      <a:cubicBezTo>
                        <a:pt x="21895" y="1093"/>
                        <a:pt x="27126" y="7570"/>
                        <a:pt x="26254" y="147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8" name="Graphic 2987">
                <a:extLst>
                  <a:ext uri="{FF2B5EF4-FFF2-40B4-BE49-F238E27FC236}">
                    <a16:creationId xmlns:a16="http://schemas.microsoft.com/office/drawing/2014/main" id="{166693B0-BFFE-87B5-5087-C126285BD8EC}"/>
                  </a:ext>
                </a:extLst>
              </p:cNvPr>
              <p:cNvGrpSpPr/>
              <p:nvPr/>
            </p:nvGrpSpPr>
            <p:grpSpPr>
              <a:xfrm>
                <a:off x="4560956" y="1769441"/>
                <a:ext cx="41547" cy="148075"/>
                <a:chOff x="4560956" y="1769441"/>
                <a:chExt cx="41547" cy="148075"/>
              </a:xfrm>
              <a:grpFill/>
            </p:grpSpPr>
            <p:sp>
              <p:nvSpPr>
                <p:cNvPr id="6024" name="Freeform 8197">
                  <a:extLst>
                    <a:ext uri="{FF2B5EF4-FFF2-40B4-BE49-F238E27FC236}">
                      <a16:creationId xmlns:a16="http://schemas.microsoft.com/office/drawing/2014/main" id="{F69395EB-A562-E177-0A01-B6C5FDDA9251}"/>
                    </a:ext>
                  </a:extLst>
                </p:cNvPr>
                <p:cNvSpPr/>
                <p:nvPr/>
              </p:nvSpPr>
              <p:spPr>
                <a:xfrm>
                  <a:off x="4578740" y="18460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8" y="44093"/>
                        <a:pt x="4235" y="37741"/>
                        <a:pt x="4235" y="33381"/>
                      </a:cubicBezTo>
                      <a:cubicBezTo>
                        <a:pt x="4360"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5" name="Freeform 8198">
                  <a:extLst>
                    <a:ext uri="{FF2B5EF4-FFF2-40B4-BE49-F238E27FC236}">
                      <a16:creationId xmlns:a16="http://schemas.microsoft.com/office/drawing/2014/main" id="{C9AAA9B7-484D-0435-744D-AA5C3D0ADCE3}"/>
                    </a:ext>
                  </a:extLst>
                </p:cNvPr>
                <p:cNvSpPr/>
                <p:nvPr/>
              </p:nvSpPr>
              <p:spPr>
                <a:xfrm>
                  <a:off x="4570254" y="1849880"/>
                  <a:ext cx="7419" cy="51815"/>
                </a:xfrm>
                <a:custGeom>
                  <a:avLst/>
                  <a:gdLst>
                    <a:gd name="connsiteX0" fmla="*/ 6618 w 7419"/>
                    <a:gd name="connsiteY0" fmla="*/ 0 h 51815"/>
                    <a:gd name="connsiteX1" fmla="*/ 6244 w 7419"/>
                    <a:gd name="connsiteY1" fmla="*/ 18808 h 51815"/>
                    <a:gd name="connsiteX2" fmla="*/ 764 w 7419"/>
                    <a:gd name="connsiteY2" fmla="*/ 35250 h 51815"/>
                    <a:gd name="connsiteX3" fmla="*/ 888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0"/>
                      </a:moveTo>
                      <a:cubicBezTo>
                        <a:pt x="8112" y="8345"/>
                        <a:pt x="7240" y="14573"/>
                        <a:pt x="6244" y="18808"/>
                      </a:cubicBezTo>
                      <a:cubicBezTo>
                        <a:pt x="4625" y="25659"/>
                        <a:pt x="2134" y="28399"/>
                        <a:pt x="764" y="35250"/>
                      </a:cubicBezTo>
                      <a:cubicBezTo>
                        <a:pt x="-607" y="41976"/>
                        <a:pt x="141" y="47955"/>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6" name="Freeform 8199">
                  <a:extLst>
                    <a:ext uri="{FF2B5EF4-FFF2-40B4-BE49-F238E27FC236}">
                      <a16:creationId xmlns:a16="http://schemas.microsoft.com/office/drawing/2014/main" id="{14D01426-1BAC-252E-58A1-F3C7D30B9A80}"/>
                    </a:ext>
                  </a:extLst>
                </p:cNvPr>
                <p:cNvSpPr/>
                <p:nvPr/>
              </p:nvSpPr>
              <p:spPr>
                <a:xfrm>
                  <a:off x="4560956" y="1890984"/>
                  <a:ext cx="26599" cy="26532"/>
                </a:xfrm>
                <a:custGeom>
                  <a:avLst/>
                  <a:gdLst>
                    <a:gd name="connsiteX0" fmla="*/ 97 w 26599"/>
                    <a:gd name="connsiteY0" fmla="*/ 11459 h 26532"/>
                    <a:gd name="connsiteX1" fmla="*/ 14919 w 26599"/>
                    <a:gd name="connsiteY1" fmla="*/ 124 h 26532"/>
                    <a:gd name="connsiteX2" fmla="*/ 26503 w 26599"/>
                    <a:gd name="connsiteY2" fmla="*/ 15071 h 26532"/>
                    <a:gd name="connsiteX3" fmla="*/ 11681 w 26599"/>
                    <a:gd name="connsiteY3" fmla="*/ 26406 h 26532"/>
                    <a:gd name="connsiteX4" fmla="*/ 97 w 2659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1">
                      <a:moveTo>
                        <a:pt x="97" y="11459"/>
                      </a:moveTo>
                      <a:cubicBezTo>
                        <a:pt x="969" y="4235"/>
                        <a:pt x="7695" y="-872"/>
                        <a:pt x="14919" y="124"/>
                      </a:cubicBezTo>
                      <a:cubicBezTo>
                        <a:pt x="22268" y="1121"/>
                        <a:pt x="27375" y="7722"/>
                        <a:pt x="26503" y="15071"/>
                      </a:cubicBezTo>
                      <a:cubicBezTo>
                        <a:pt x="25631" y="22420"/>
                        <a:pt x="18905" y="27402"/>
                        <a:pt x="11681" y="26406"/>
                      </a:cubicBezTo>
                      <a:cubicBezTo>
                        <a:pt x="4332" y="25410"/>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7" name="Freeform 8200">
                  <a:extLst>
                    <a:ext uri="{FF2B5EF4-FFF2-40B4-BE49-F238E27FC236}">
                      <a16:creationId xmlns:a16="http://schemas.microsoft.com/office/drawing/2014/main" id="{1A3F0F2A-E8CB-7C71-DE92-3B05943069A2}"/>
                    </a:ext>
                  </a:extLst>
                </p:cNvPr>
                <p:cNvSpPr/>
                <p:nvPr/>
              </p:nvSpPr>
              <p:spPr>
                <a:xfrm>
                  <a:off x="4577743" y="1789345"/>
                  <a:ext cx="7099" cy="51691"/>
                </a:xfrm>
                <a:custGeom>
                  <a:avLst/>
                  <a:gdLst>
                    <a:gd name="connsiteX0" fmla="*/ 7100 w 7099"/>
                    <a:gd name="connsiteY0" fmla="*/ 0 h 51691"/>
                    <a:gd name="connsiteX1" fmla="*/ 2865 w 7099"/>
                    <a:gd name="connsiteY1" fmla="*/ 18310 h 51691"/>
                    <a:gd name="connsiteX2" fmla="*/ 4111 w 7099"/>
                    <a:gd name="connsiteY2" fmla="*/ 35748 h 51691"/>
                    <a:gd name="connsiteX3" fmla="*/ 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0"/>
                      </a:moveTo>
                      <a:cubicBezTo>
                        <a:pt x="3612" y="7598"/>
                        <a:pt x="2865" y="13950"/>
                        <a:pt x="2865" y="18310"/>
                      </a:cubicBezTo>
                      <a:cubicBezTo>
                        <a:pt x="2740" y="25285"/>
                        <a:pt x="4484"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8" name="Freeform 8201">
                  <a:extLst>
                    <a:ext uri="{FF2B5EF4-FFF2-40B4-BE49-F238E27FC236}">
                      <a16:creationId xmlns:a16="http://schemas.microsoft.com/office/drawing/2014/main" id="{C4A3307A-A4D4-0DAE-733C-3898B3C78DE3}"/>
                    </a:ext>
                  </a:extLst>
                </p:cNvPr>
                <p:cNvSpPr/>
                <p:nvPr/>
              </p:nvSpPr>
              <p:spPr>
                <a:xfrm>
                  <a:off x="4585909" y="1785235"/>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861"/>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9" name="Freeform 8202">
                  <a:extLst>
                    <a:ext uri="{FF2B5EF4-FFF2-40B4-BE49-F238E27FC236}">
                      <a16:creationId xmlns:a16="http://schemas.microsoft.com/office/drawing/2014/main" id="{7B991E5A-F218-A996-8739-3757484AF9E8}"/>
                    </a:ext>
                  </a:extLst>
                </p:cNvPr>
                <p:cNvSpPr/>
                <p:nvPr/>
              </p:nvSpPr>
              <p:spPr>
                <a:xfrm>
                  <a:off x="4576152" y="1769441"/>
                  <a:ext cx="26351" cy="26602"/>
                </a:xfrm>
                <a:custGeom>
                  <a:avLst/>
                  <a:gdLst>
                    <a:gd name="connsiteX0" fmla="*/ 26254 w 26351"/>
                    <a:gd name="connsiteY0" fmla="*/ 15046 h 26602"/>
                    <a:gd name="connsiteX1" fmla="*/ 11556 w 26351"/>
                    <a:gd name="connsiteY1" fmla="*/ 26505 h 26602"/>
                    <a:gd name="connsiteX2" fmla="*/ 97 w 26351"/>
                    <a:gd name="connsiteY2" fmla="*/ 11558 h 26602"/>
                    <a:gd name="connsiteX3" fmla="*/ 14795 w 26351"/>
                    <a:gd name="connsiteY3" fmla="*/ 99 h 26602"/>
                    <a:gd name="connsiteX4" fmla="*/ 26254 w 26351"/>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821"/>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9" name="Graphic 2987">
                <a:extLst>
                  <a:ext uri="{FF2B5EF4-FFF2-40B4-BE49-F238E27FC236}">
                    <a16:creationId xmlns:a16="http://schemas.microsoft.com/office/drawing/2014/main" id="{85A8E8FC-2699-7DA3-715E-54CB899A621A}"/>
                  </a:ext>
                </a:extLst>
              </p:cNvPr>
              <p:cNvGrpSpPr/>
              <p:nvPr/>
            </p:nvGrpSpPr>
            <p:grpSpPr>
              <a:xfrm>
                <a:off x="4531411" y="1765580"/>
                <a:ext cx="41820" cy="148075"/>
                <a:chOff x="4531411" y="1765580"/>
                <a:chExt cx="41820" cy="148075"/>
              </a:xfrm>
              <a:grpFill/>
            </p:grpSpPr>
            <p:sp>
              <p:nvSpPr>
                <p:cNvPr id="6018" name="Freeform 8204">
                  <a:extLst>
                    <a:ext uri="{FF2B5EF4-FFF2-40B4-BE49-F238E27FC236}">
                      <a16:creationId xmlns:a16="http://schemas.microsoft.com/office/drawing/2014/main" id="{1B688949-B165-5B7E-798E-02DA10C0B8A2}"/>
                    </a:ext>
                  </a:extLst>
                </p:cNvPr>
                <p:cNvSpPr/>
                <p:nvPr/>
              </p:nvSpPr>
              <p:spPr>
                <a:xfrm>
                  <a:off x="4549220" y="1842033"/>
                  <a:ext cx="7348" cy="51691"/>
                </a:xfrm>
                <a:custGeom>
                  <a:avLst/>
                  <a:gdLst>
                    <a:gd name="connsiteX0" fmla="*/ 0 w 7348"/>
                    <a:gd name="connsiteY0" fmla="*/ 51691 h 51691"/>
                    <a:gd name="connsiteX1" fmla="*/ 4359 w 7348"/>
                    <a:gd name="connsiteY1" fmla="*/ 33381 h 51691"/>
                    <a:gd name="connsiteX2" fmla="*/ 3114 w 7348"/>
                    <a:gd name="connsiteY2" fmla="*/ 15943 h 51691"/>
                    <a:gd name="connsiteX3" fmla="*/ 7349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0" y="51691"/>
                      </a:moveTo>
                      <a:cubicBezTo>
                        <a:pt x="3488" y="44093"/>
                        <a:pt x="4235" y="37741"/>
                        <a:pt x="4359"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9" name="Freeform 8205">
                  <a:extLst>
                    <a:ext uri="{FF2B5EF4-FFF2-40B4-BE49-F238E27FC236}">
                      <a16:creationId xmlns:a16="http://schemas.microsoft.com/office/drawing/2014/main" id="{C003D0FF-E804-542B-BBFF-2A6B684654FC}"/>
                    </a:ext>
                  </a:extLst>
                </p:cNvPr>
                <p:cNvSpPr/>
                <p:nvPr/>
              </p:nvSpPr>
              <p:spPr>
                <a:xfrm>
                  <a:off x="4540733" y="1846019"/>
                  <a:ext cx="7544" cy="51815"/>
                </a:xfrm>
                <a:custGeom>
                  <a:avLst/>
                  <a:gdLst>
                    <a:gd name="connsiteX0" fmla="*/ 6742 w 7544"/>
                    <a:gd name="connsiteY0" fmla="*/ 0 h 51815"/>
                    <a:gd name="connsiteX1" fmla="*/ 6369 w 7544"/>
                    <a:gd name="connsiteY1" fmla="*/ 18808 h 51815"/>
                    <a:gd name="connsiteX2" fmla="*/ 763 w 7544"/>
                    <a:gd name="connsiteY2" fmla="*/ 35250 h 51815"/>
                    <a:gd name="connsiteX3" fmla="*/ 888 w 754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544" h="51815">
                      <a:moveTo>
                        <a:pt x="6742" y="0"/>
                      </a:moveTo>
                      <a:cubicBezTo>
                        <a:pt x="8237" y="8345"/>
                        <a:pt x="7365" y="14573"/>
                        <a:pt x="6369" y="18808"/>
                      </a:cubicBezTo>
                      <a:cubicBezTo>
                        <a:pt x="4749" y="25659"/>
                        <a:pt x="2258" y="28399"/>
                        <a:pt x="763" y="35250"/>
                      </a:cubicBezTo>
                      <a:cubicBezTo>
                        <a:pt x="-607" y="41976"/>
                        <a:pt x="141" y="47830"/>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0" name="Freeform 8206">
                  <a:extLst>
                    <a:ext uri="{FF2B5EF4-FFF2-40B4-BE49-F238E27FC236}">
                      <a16:creationId xmlns:a16="http://schemas.microsoft.com/office/drawing/2014/main" id="{76D572C4-79D9-BDF6-26EC-87829663120D}"/>
                    </a:ext>
                  </a:extLst>
                </p:cNvPr>
                <p:cNvSpPr/>
                <p:nvPr/>
              </p:nvSpPr>
              <p:spPr>
                <a:xfrm>
                  <a:off x="4531411" y="1887123"/>
                  <a:ext cx="26749" cy="26532"/>
                </a:xfrm>
                <a:custGeom>
                  <a:avLst/>
                  <a:gdLst>
                    <a:gd name="connsiteX0" fmla="*/ 122 w 26749"/>
                    <a:gd name="connsiteY0" fmla="*/ 11459 h 26532"/>
                    <a:gd name="connsiteX1" fmla="*/ 15069 w 26749"/>
                    <a:gd name="connsiteY1" fmla="*/ 124 h 26532"/>
                    <a:gd name="connsiteX2" fmla="*/ 26653 w 26749"/>
                    <a:gd name="connsiteY2" fmla="*/ 15071 h 26532"/>
                    <a:gd name="connsiteX3" fmla="*/ 11706 w 26749"/>
                    <a:gd name="connsiteY3" fmla="*/ 26406 h 26532"/>
                    <a:gd name="connsiteX4" fmla="*/ 122 w 2674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1">
                      <a:moveTo>
                        <a:pt x="122" y="11459"/>
                      </a:moveTo>
                      <a:cubicBezTo>
                        <a:pt x="994" y="4235"/>
                        <a:pt x="7720" y="-872"/>
                        <a:pt x="15069" y="124"/>
                      </a:cubicBezTo>
                      <a:cubicBezTo>
                        <a:pt x="22418" y="1121"/>
                        <a:pt x="27525" y="7722"/>
                        <a:pt x="26653" y="15071"/>
                      </a:cubicBezTo>
                      <a:cubicBezTo>
                        <a:pt x="25781" y="22420"/>
                        <a:pt x="19054" y="27402"/>
                        <a:pt x="11706" y="26406"/>
                      </a:cubicBezTo>
                      <a:cubicBezTo>
                        <a:pt x="4357" y="25285"/>
                        <a:pt x="-875"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1" name="Freeform 8207">
                  <a:extLst>
                    <a:ext uri="{FF2B5EF4-FFF2-40B4-BE49-F238E27FC236}">
                      <a16:creationId xmlns:a16="http://schemas.microsoft.com/office/drawing/2014/main" id="{0BCAC32F-F98D-C83A-059A-77077F78933D}"/>
                    </a:ext>
                  </a:extLst>
                </p:cNvPr>
                <p:cNvSpPr/>
                <p:nvPr/>
              </p:nvSpPr>
              <p:spPr>
                <a:xfrm>
                  <a:off x="4548223" y="1785359"/>
                  <a:ext cx="7348" cy="51691"/>
                </a:xfrm>
                <a:custGeom>
                  <a:avLst/>
                  <a:gdLst>
                    <a:gd name="connsiteX0" fmla="*/ 7349 w 7348"/>
                    <a:gd name="connsiteY0" fmla="*/ 0 h 51691"/>
                    <a:gd name="connsiteX1" fmla="*/ 2990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2" name="Freeform 8208">
                  <a:extLst>
                    <a:ext uri="{FF2B5EF4-FFF2-40B4-BE49-F238E27FC236}">
                      <a16:creationId xmlns:a16="http://schemas.microsoft.com/office/drawing/2014/main" id="{4BAF5C32-076B-8696-0B8C-FE98D8A2F485}"/>
                    </a:ext>
                  </a:extLst>
                </p:cNvPr>
                <p:cNvSpPr/>
                <p:nvPr/>
              </p:nvSpPr>
              <p:spPr>
                <a:xfrm>
                  <a:off x="4556514" y="1781373"/>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986"/>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3" name="Freeform 8209">
                  <a:extLst>
                    <a:ext uri="{FF2B5EF4-FFF2-40B4-BE49-F238E27FC236}">
                      <a16:creationId xmlns:a16="http://schemas.microsoft.com/office/drawing/2014/main" id="{FA87C62B-C79C-A076-D0F1-F85F4240DCA4}"/>
                    </a:ext>
                  </a:extLst>
                </p:cNvPr>
                <p:cNvSpPr/>
                <p:nvPr/>
              </p:nvSpPr>
              <p:spPr>
                <a:xfrm>
                  <a:off x="4546880" y="1765580"/>
                  <a:ext cx="26350" cy="26602"/>
                </a:xfrm>
                <a:custGeom>
                  <a:avLst/>
                  <a:gdLst>
                    <a:gd name="connsiteX0" fmla="*/ 26254 w 26350"/>
                    <a:gd name="connsiteY0" fmla="*/ 15046 h 26602"/>
                    <a:gd name="connsiteX1" fmla="*/ 11556 w 26350"/>
                    <a:gd name="connsiteY1" fmla="*/ 26505 h 26602"/>
                    <a:gd name="connsiteX2" fmla="*/ 97 w 26350"/>
                    <a:gd name="connsiteY2" fmla="*/ 11558 h 26602"/>
                    <a:gd name="connsiteX3" fmla="*/ 14795 w 26350"/>
                    <a:gd name="connsiteY3" fmla="*/ 99 h 26602"/>
                    <a:gd name="connsiteX4" fmla="*/ 26254 w 26350"/>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697"/>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0" name="Graphic 2987">
                <a:extLst>
                  <a:ext uri="{FF2B5EF4-FFF2-40B4-BE49-F238E27FC236}">
                    <a16:creationId xmlns:a16="http://schemas.microsoft.com/office/drawing/2014/main" id="{2D434850-197E-7B15-44D2-EFBE7271F41D}"/>
                  </a:ext>
                </a:extLst>
              </p:cNvPr>
              <p:cNvGrpSpPr/>
              <p:nvPr/>
            </p:nvGrpSpPr>
            <p:grpSpPr>
              <a:xfrm>
                <a:off x="4501791" y="1761596"/>
                <a:ext cx="42197" cy="148071"/>
                <a:chOff x="4501791" y="1761596"/>
                <a:chExt cx="42197" cy="148071"/>
              </a:xfrm>
              <a:grpFill/>
            </p:grpSpPr>
            <p:sp>
              <p:nvSpPr>
                <p:cNvPr id="6012" name="Freeform 8211">
                  <a:extLst>
                    <a:ext uri="{FF2B5EF4-FFF2-40B4-BE49-F238E27FC236}">
                      <a16:creationId xmlns:a16="http://schemas.microsoft.com/office/drawing/2014/main" id="{A0B41A8A-6451-4005-4EB2-112432AD8932}"/>
                    </a:ext>
                  </a:extLst>
                </p:cNvPr>
                <p:cNvSpPr/>
                <p:nvPr/>
              </p:nvSpPr>
              <p:spPr>
                <a:xfrm>
                  <a:off x="4519699" y="1838172"/>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4093"/>
                        <a:pt x="4235" y="37741"/>
                        <a:pt x="4360"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3" name="Freeform 8212">
                  <a:extLst>
                    <a:ext uri="{FF2B5EF4-FFF2-40B4-BE49-F238E27FC236}">
                      <a16:creationId xmlns:a16="http://schemas.microsoft.com/office/drawing/2014/main" id="{62B02294-3919-FB33-EDDB-6294784BC433}"/>
                    </a:ext>
                  </a:extLst>
                </p:cNvPr>
                <p:cNvSpPr/>
                <p:nvPr/>
              </p:nvSpPr>
              <p:spPr>
                <a:xfrm>
                  <a:off x="4511166" y="1842033"/>
                  <a:ext cx="7654" cy="51815"/>
                </a:xfrm>
                <a:custGeom>
                  <a:avLst/>
                  <a:gdLst>
                    <a:gd name="connsiteX0" fmla="*/ 6914 w 7654"/>
                    <a:gd name="connsiteY0" fmla="*/ 0 h 51815"/>
                    <a:gd name="connsiteX1" fmla="*/ 6416 w 7654"/>
                    <a:gd name="connsiteY1" fmla="*/ 18808 h 51815"/>
                    <a:gd name="connsiteX2" fmla="*/ 810 w 7654"/>
                    <a:gd name="connsiteY2" fmla="*/ 35250 h 51815"/>
                    <a:gd name="connsiteX3" fmla="*/ 810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6914" y="0"/>
                      </a:moveTo>
                      <a:cubicBezTo>
                        <a:pt x="8284" y="8345"/>
                        <a:pt x="7537" y="14573"/>
                        <a:pt x="6416" y="18808"/>
                      </a:cubicBezTo>
                      <a:cubicBezTo>
                        <a:pt x="4796" y="25659"/>
                        <a:pt x="2181" y="28399"/>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4" name="Freeform 8213">
                  <a:extLst>
                    <a:ext uri="{FF2B5EF4-FFF2-40B4-BE49-F238E27FC236}">
                      <a16:creationId xmlns:a16="http://schemas.microsoft.com/office/drawing/2014/main" id="{2985593A-E65D-65D3-716B-70073EA2CB16}"/>
                    </a:ext>
                  </a:extLst>
                </p:cNvPr>
                <p:cNvSpPr/>
                <p:nvPr/>
              </p:nvSpPr>
              <p:spPr>
                <a:xfrm>
                  <a:off x="4501791" y="1883137"/>
                  <a:ext cx="26724" cy="26530"/>
                </a:xfrm>
                <a:custGeom>
                  <a:avLst/>
                  <a:gdLst>
                    <a:gd name="connsiteX0" fmla="*/ 97 w 26724"/>
                    <a:gd name="connsiteY0" fmla="*/ 11459 h 26530"/>
                    <a:gd name="connsiteX1" fmla="*/ 15044 w 26724"/>
                    <a:gd name="connsiteY1" fmla="*/ 124 h 26530"/>
                    <a:gd name="connsiteX2" fmla="*/ 26628 w 26724"/>
                    <a:gd name="connsiteY2" fmla="*/ 15071 h 26530"/>
                    <a:gd name="connsiteX3" fmla="*/ 11681 w 26724"/>
                    <a:gd name="connsiteY3" fmla="*/ 26406 h 26530"/>
                    <a:gd name="connsiteX4" fmla="*/ 97 w 2672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30">
                      <a:moveTo>
                        <a:pt x="97" y="11459"/>
                      </a:moveTo>
                      <a:cubicBezTo>
                        <a:pt x="1094" y="4235"/>
                        <a:pt x="7695" y="-872"/>
                        <a:pt x="15044" y="124"/>
                      </a:cubicBezTo>
                      <a:cubicBezTo>
                        <a:pt x="22393" y="1121"/>
                        <a:pt x="27500" y="7722"/>
                        <a:pt x="26628" y="15071"/>
                      </a:cubicBezTo>
                      <a:cubicBezTo>
                        <a:pt x="25756" y="22296"/>
                        <a:pt x="19030" y="27402"/>
                        <a:pt x="11681" y="26406"/>
                      </a:cubicBezTo>
                      <a:cubicBezTo>
                        <a:pt x="4332" y="25409"/>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5" name="Freeform 8214">
                  <a:extLst>
                    <a:ext uri="{FF2B5EF4-FFF2-40B4-BE49-F238E27FC236}">
                      <a16:creationId xmlns:a16="http://schemas.microsoft.com/office/drawing/2014/main" id="{70B4133F-8548-99C9-E65A-90C81197BA90}"/>
                    </a:ext>
                  </a:extLst>
                </p:cNvPr>
                <p:cNvSpPr/>
                <p:nvPr/>
              </p:nvSpPr>
              <p:spPr>
                <a:xfrm>
                  <a:off x="4518952" y="1781498"/>
                  <a:ext cx="7349" cy="51691"/>
                </a:xfrm>
                <a:custGeom>
                  <a:avLst/>
                  <a:gdLst>
                    <a:gd name="connsiteX0" fmla="*/ 7349 w 7349"/>
                    <a:gd name="connsiteY0" fmla="*/ 0 h 51691"/>
                    <a:gd name="connsiteX1" fmla="*/ 2990 w 7349"/>
                    <a:gd name="connsiteY1" fmla="*/ 18310 h 51691"/>
                    <a:gd name="connsiteX2" fmla="*/ 4235 w 7349"/>
                    <a:gd name="connsiteY2" fmla="*/ 35748 h 51691"/>
                    <a:gd name="connsiteX3" fmla="*/ 0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6" name="Freeform 8215">
                  <a:extLst>
                    <a:ext uri="{FF2B5EF4-FFF2-40B4-BE49-F238E27FC236}">
                      <a16:creationId xmlns:a16="http://schemas.microsoft.com/office/drawing/2014/main" id="{232C070B-68F9-CD86-1EFB-A45C6B6D8C07}"/>
                    </a:ext>
                  </a:extLst>
                </p:cNvPr>
                <p:cNvSpPr/>
                <p:nvPr/>
              </p:nvSpPr>
              <p:spPr>
                <a:xfrm>
                  <a:off x="4527172" y="1777388"/>
                  <a:ext cx="7536" cy="51815"/>
                </a:xfrm>
                <a:custGeom>
                  <a:avLst/>
                  <a:gdLst>
                    <a:gd name="connsiteX0" fmla="*/ 748 w 7536"/>
                    <a:gd name="connsiteY0" fmla="*/ 51816 h 51815"/>
                    <a:gd name="connsiteX1" fmla="*/ 1121 w 7536"/>
                    <a:gd name="connsiteY1" fmla="*/ 33008 h 51815"/>
                    <a:gd name="connsiteX2" fmla="*/ 6726 w 7536"/>
                    <a:gd name="connsiteY2" fmla="*/ 16566 h 51815"/>
                    <a:gd name="connsiteX3" fmla="*/ 6726 w 7536"/>
                    <a:gd name="connsiteY3" fmla="*/ 0 h 51815"/>
                  </a:gdLst>
                  <a:ahLst/>
                  <a:cxnLst>
                    <a:cxn ang="0">
                      <a:pos x="connsiteX0" y="connsiteY0"/>
                    </a:cxn>
                    <a:cxn ang="0">
                      <a:pos x="connsiteX1" y="connsiteY1"/>
                    </a:cxn>
                    <a:cxn ang="0">
                      <a:pos x="connsiteX2" y="connsiteY2"/>
                    </a:cxn>
                    <a:cxn ang="0">
                      <a:pos x="connsiteX3" y="connsiteY3"/>
                    </a:cxn>
                  </a:cxnLst>
                  <a:rect l="l" t="t" r="r" b="b"/>
                  <a:pathLst>
                    <a:path w="7536" h="51815">
                      <a:moveTo>
                        <a:pt x="748" y="51816"/>
                      </a:moveTo>
                      <a:cubicBezTo>
                        <a:pt x="-622" y="43471"/>
                        <a:pt x="125" y="37243"/>
                        <a:pt x="1121" y="33008"/>
                      </a:cubicBezTo>
                      <a:cubicBezTo>
                        <a:pt x="2741" y="26157"/>
                        <a:pt x="5232" y="23417"/>
                        <a:pt x="6726" y="16566"/>
                      </a:cubicBezTo>
                      <a:cubicBezTo>
                        <a:pt x="8096" y="9840"/>
                        <a:pt x="7474" y="3986"/>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7" name="Freeform 8216">
                  <a:extLst>
                    <a:ext uri="{FF2B5EF4-FFF2-40B4-BE49-F238E27FC236}">
                      <a16:creationId xmlns:a16="http://schemas.microsoft.com/office/drawing/2014/main" id="{76A2129D-2EA0-FC24-465C-351DE3B1B401}"/>
                    </a:ext>
                  </a:extLst>
                </p:cNvPr>
                <p:cNvSpPr/>
                <p:nvPr/>
              </p:nvSpPr>
              <p:spPr>
                <a:xfrm>
                  <a:off x="4517582" y="1761596"/>
                  <a:ext cx="26405" cy="26600"/>
                </a:xfrm>
                <a:custGeom>
                  <a:avLst/>
                  <a:gdLst>
                    <a:gd name="connsiteX0" fmla="*/ 26281 w 26405"/>
                    <a:gd name="connsiteY0" fmla="*/ 15044 h 26600"/>
                    <a:gd name="connsiteX1" fmla="*/ 11459 w 26405"/>
                    <a:gd name="connsiteY1" fmla="*/ 26503 h 26600"/>
                    <a:gd name="connsiteX2" fmla="*/ 124 w 26405"/>
                    <a:gd name="connsiteY2" fmla="*/ 11556 h 26600"/>
                    <a:gd name="connsiteX3" fmla="*/ 14947 w 26405"/>
                    <a:gd name="connsiteY3" fmla="*/ 97 h 26600"/>
                    <a:gd name="connsiteX4" fmla="*/ 26281 w 26405"/>
                    <a:gd name="connsiteY4" fmla="*/ 15044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99">
                      <a:moveTo>
                        <a:pt x="26281" y="15044"/>
                      </a:moveTo>
                      <a:cubicBezTo>
                        <a:pt x="25410" y="22268"/>
                        <a:pt x="18683" y="27375"/>
                        <a:pt x="11459" y="26503"/>
                      </a:cubicBezTo>
                      <a:cubicBezTo>
                        <a:pt x="4235" y="25507"/>
                        <a:pt x="-872" y="18905"/>
                        <a:pt x="124" y="11556"/>
                      </a:cubicBezTo>
                      <a:cubicBezTo>
                        <a:pt x="1121" y="4332"/>
                        <a:pt x="7722" y="-775"/>
                        <a:pt x="14947" y="97"/>
                      </a:cubicBezTo>
                      <a:cubicBezTo>
                        <a:pt x="22171" y="1218"/>
                        <a:pt x="27278" y="7819"/>
                        <a:pt x="26281" y="150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1" name="Graphic 2987">
                <a:extLst>
                  <a:ext uri="{FF2B5EF4-FFF2-40B4-BE49-F238E27FC236}">
                    <a16:creationId xmlns:a16="http://schemas.microsoft.com/office/drawing/2014/main" id="{BBBD385A-9ECB-C8D2-3A4B-EADA3FE8AE9E}"/>
                  </a:ext>
                </a:extLst>
              </p:cNvPr>
              <p:cNvGrpSpPr/>
              <p:nvPr/>
            </p:nvGrpSpPr>
            <p:grpSpPr>
              <a:xfrm>
                <a:off x="4472243" y="1757832"/>
                <a:ext cx="42572" cy="147849"/>
                <a:chOff x="4472243" y="1757832"/>
                <a:chExt cx="42572" cy="147849"/>
              </a:xfrm>
              <a:grpFill/>
            </p:grpSpPr>
            <p:sp>
              <p:nvSpPr>
                <p:cNvPr id="6006" name="Freeform 8218">
                  <a:extLst>
                    <a:ext uri="{FF2B5EF4-FFF2-40B4-BE49-F238E27FC236}">
                      <a16:creationId xmlns:a16="http://schemas.microsoft.com/office/drawing/2014/main" id="{132FEB33-0D99-5016-E1CE-E9FE12396BEF}"/>
                    </a:ext>
                  </a:extLst>
                </p:cNvPr>
                <p:cNvSpPr/>
                <p:nvPr/>
              </p:nvSpPr>
              <p:spPr>
                <a:xfrm>
                  <a:off x="4490179" y="1834186"/>
                  <a:ext cx="7473" cy="51691"/>
                </a:xfrm>
                <a:custGeom>
                  <a:avLst/>
                  <a:gdLst>
                    <a:gd name="connsiteX0" fmla="*/ 0 w 7473"/>
                    <a:gd name="connsiteY0" fmla="*/ 51691 h 51691"/>
                    <a:gd name="connsiteX1" fmla="*/ 4360 w 7473"/>
                    <a:gd name="connsiteY1" fmla="*/ 33381 h 51691"/>
                    <a:gd name="connsiteX2" fmla="*/ 3239 w 7473"/>
                    <a:gd name="connsiteY2" fmla="*/ 15943 h 51691"/>
                    <a:gd name="connsiteX3" fmla="*/ 7474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0" y="51691"/>
                      </a:moveTo>
                      <a:cubicBezTo>
                        <a:pt x="3488" y="44093"/>
                        <a:pt x="4360" y="37741"/>
                        <a:pt x="4360" y="33381"/>
                      </a:cubicBezTo>
                      <a:cubicBezTo>
                        <a:pt x="4484" y="26406"/>
                        <a:pt x="2740" y="23043"/>
                        <a:pt x="3239" y="15943"/>
                      </a:cubicBezTo>
                      <a:cubicBezTo>
                        <a:pt x="3612" y="9093"/>
                        <a:pt x="5854" y="3612"/>
                        <a:pt x="74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7" name="Freeform 8219">
                  <a:extLst>
                    <a:ext uri="{FF2B5EF4-FFF2-40B4-BE49-F238E27FC236}">
                      <a16:creationId xmlns:a16="http://schemas.microsoft.com/office/drawing/2014/main" id="{9134A937-4BCC-294B-96EA-5FAECC9EE980}"/>
                    </a:ext>
                  </a:extLst>
                </p:cNvPr>
                <p:cNvSpPr/>
                <p:nvPr/>
              </p:nvSpPr>
              <p:spPr>
                <a:xfrm>
                  <a:off x="4481646" y="1838172"/>
                  <a:ext cx="7621" cy="51815"/>
                </a:xfrm>
                <a:custGeom>
                  <a:avLst/>
                  <a:gdLst>
                    <a:gd name="connsiteX0" fmla="*/ 6914 w 7621"/>
                    <a:gd name="connsiteY0" fmla="*/ 0 h 51815"/>
                    <a:gd name="connsiteX1" fmla="*/ 6416 w 7621"/>
                    <a:gd name="connsiteY1" fmla="*/ 18808 h 51815"/>
                    <a:gd name="connsiteX2" fmla="*/ 810 w 7621"/>
                    <a:gd name="connsiteY2" fmla="*/ 35250 h 51815"/>
                    <a:gd name="connsiteX3" fmla="*/ 810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6914" y="0"/>
                      </a:moveTo>
                      <a:cubicBezTo>
                        <a:pt x="8284" y="8345"/>
                        <a:pt x="7412" y="14573"/>
                        <a:pt x="6416" y="18808"/>
                      </a:cubicBezTo>
                      <a:cubicBezTo>
                        <a:pt x="4672" y="25659"/>
                        <a:pt x="2181" y="28275"/>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8" name="Freeform 8220">
                  <a:extLst>
                    <a:ext uri="{FF2B5EF4-FFF2-40B4-BE49-F238E27FC236}">
                      <a16:creationId xmlns:a16="http://schemas.microsoft.com/office/drawing/2014/main" id="{509B3C27-B1BF-5D26-614C-CCF96A8DF26D}"/>
                    </a:ext>
                  </a:extLst>
                </p:cNvPr>
                <p:cNvSpPr/>
                <p:nvPr/>
              </p:nvSpPr>
              <p:spPr>
                <a:xfrm>
                  <a:off x="4472243" y="1879151"/>
                  <a:ext cx="26654" cy="26530"/>
                </a:xfrm>
                <a:custGeom>
                  <a:avLst/>
                  <a:gdLst>
                    <a:gd name="connsiteX0" fmla="*/ 124 w 26654"/>
                    <a:gd name="connsiteY0" fmla="*/ 11459 h 26530"/>
                    <a:gd name="connsiteX1" fmla="*/ 15071 w 26654"/>
                    <a:gd name="connsiteY1" fmla="*/ 124 h 26530"/>
                    <a:gd name="connsiteX2" fmla="*/ 26530 w 26654"/>
                    <a:gd name="connsiteY2" fmla="*/ 15071 h 26530"/>
                    <a:gd name="connsiteX3" fmla="*/ 11584 w 26654"/>
                    <a:gd name="connsiteY3" fmla="*/ 26406 h 26530"/>
                    <a:gd name="connsiteX4" fmla="*/ 124 w 2665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124" y="11459"/>
                      </a:moveTo>
                      <a:cubicBezTo>
                        <a:pt x="1121" y="4235"/>
                        <a:pt x="7847" y="-872"/>
                        <a:pt x="15071" y="124"/>
                      </a:cubicBezTo>
                      <a:cubicBezTo>
                        <a:pt x="22420" y="1121"/>
                        <a:pt x="27527" y="7722"/>
                        <a:pt x="26530" y="15071"/>
                      </a:cubicBezTo>
                      <a:cubicBezTo>
                        <a:pt x="25534" y="22296"/>
                        <a:pt x="18932" y="27402"/>
                        <a:pt x="11584" y="26406"/>
                      </a:cubicBezTo>
                      <a:cubicBezTo>
                        <a:pt x="4235" y="25410"/>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9" name="Freeform 8221">
                  <a:extLst>
                    <a:ext uri="{FF2B5EF4-FFF2-40B4-BE49-F238E27FC236}">
                      <a16:creationId xmlns:a16="http://schemas.microsoft.com/office/drawing/2014/main" id="{20558F93-6E1D-09A6-68FE-F02768C08FB5}"/>
                    </a:ext>
                  </a:extLst>
                </p:cNvPr>
                <p:cNvSpPr/>
                <p:nvPr/>
              </p:nvSpPr>
              <p:spPr>
                <a:xfrm>
                  <a:off x="4489681" y="1777637"/>
                  <a:ext cx="7473" cy="51691"/>
                </a:xfrm>
                <a:custGeom>
                  <a:avLst/>
                  <a:gdLst>
                    <a:gd name="connsiteX0" fmla="*/ 7473 w 7473"/>
                    <a:gd name="connsiteY0" fmla="*/ 0 h 51691"/>
                    <a:gd name="connsiteX1" fmla="*/ 3114 w 7473"/>
                    <a:gd name="connsiteY1" fmla="*/ 18310 h 51691"/>
                    <a:gd name="connsiteX2" fmla="*/ 4235 w 7473"/>
                    <a:gd name="connsiteY2" fmla="*/ 35748 h 51691"/>
                    <a:gd name="connsiteX3" fmla="*/ 0 w 747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473" h="51690">
                      <a:moveTo>
                        <a:pt x="7473" y="0"/>
                      </a:moveTo>
                      <a:cubicBezTo>
                        <a:pt x="3986" y="7598"/>
                        <a:pt x="3114" y="13950"/>
                        <a:pt x="3114" y="18310"/>
                      </a:cubicBezTo>
                      <a:cubicBezTo>
                        <a:pt x="2989" y="25285"/>
                        <a:pt x="4733" y="28648"/>
                        <a:pt x="4235" y="35748"/>
                      </a:cubicBezTo>
                      <a:cubicBezTo>
                        <a:pt x="3861" y="42599"/>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0" name="Freeform 8222">
                  <a:extLst>
                    <a:ext uri="{FF2B5EF4-FFF2-40B4-BE49-F238E27FC236}">
                      <a16:creationId xmlns:a16="http://schemas.microsoft.com/office/drawing/2014/main" id="{15D87937-BC18-BA34-5547-D976ECD40487}"/>
                    </a:ext>
                  </a:extLst>
                </p:cNvPr>
                <p:cNvSpPr/>
                <p:nvPr/>
              </p:nvSpPr>
              <p:spPr>
                <a:xfrm>
                  <a:off x="4497817" y="1773526"/>
                  <a:ext cx="7621" cy="51815"/>
                </a:xfrm>
                <a:custGeom>
                  <a:avLst/>
                  <a:gdLst>
                    <a:gd name="connsiteX0" fmla="*/ 707 w 7621"/>
                    <a:gd name="connsiteY0" fmla="*/ 51816 h 51815"/>
                    <a:gd name="connsiteX1" fmla="*/ 1206 w 7621"/>
                    <a:gd name="connsiteY1" fmla="*/ 33008 h 51815"/>
                    <a:gd name="connsiteX2" fmla="*/ 6811 w 7621"/>
                    <a:gd name="connsiteY2" fmla="*/ 16566 h 51815"/>
                    <a:gd name="connsiteX3" fmla="*/ 6811 w 7621"/>
                    <a:gd name="connsiteY3" fmla="*/ 0 h 51815"/>
                  </a:gdLst>
                  <a:ahLst/>
                  <a:cxnLst>
                    <a:cxn ang="0">
                      <a:pos x="connsiteX0" y="connsiteY0"/>
                    </a:cxn>
                    <a:cxn ang="0">
                      <a:pos x="connsiteX1" y="connsiteY1"/>
                    </a:cxn>
                    <a:cxn ang="0">
                      <a:pos x="connsiteX2" y="connsiteY2"/>
                    </a:cxn>
                    <a:cxn ang="0">
                      <a:pos x="connsiteX3" y="connsiteY3"/>
                    </a:cxn>
                  </a:cxnLst>
                  <a:rect l="l" t="t" r="r" b="b"/>
                  <a:pathLst>
                    <a:path w="7621" h="51815">
                      <a:moveTo>
                        <a:pt x="707" y="51816"/>
                      </a:moveTo>
                      <a:cubicBezTo>
                        <a:pt x="-663" y="43471"/>
                        <a:pt x="209" y="37243"/>
                        <a:pt x="1206" y="33008"/>
                      </a:cubicBezTo>
                      <a:cubicBezTo>
                        <a:pt x="2825" y="26157"/>
                        <a:pt x="5441" y="23417"/>
                        <a:pt x="6811" y="16566"/>
                      </a:cubicBezTo>
                      <a:cubicBezTo>
                        <a:pt x="8181" y="9840"/>
                        <a:pt x="7558" y="3986"/>
                        <a:pt x="68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1" name="Freeform 8223">
                  <a:extLst>
                    <a:ext uri="{FF2B5EF4-FFF2-40B4-BE49-F238E27FC236}">
                      <a16:creationId xmlns:a16="http://schemas.microsoft.com/office/drawing/2014/main" id="{F34902F6-F66F-F8DC-C6C6-6E79FA23E10C}"/>
                    </a:ext>
                  </a:extLst>
                </p:cNvPr>
                <p:cNvSpPr/>
                <p:nvPr/>
              </p:nvSpPr>
              <p:spPr>
                <a:xfrm>
                  <a:off x="4488436" y="1757832"/>
                  <a:ext cx="26380" cy="26405"/>
                </a:xfrm>
                <a:custGeom>
                  <a:avLst/>
                  <a:gdLst>
                    <a:gd name="connsiteX0" fmla="*/ 26281 w 26380"/>
                    <a:gd name="connsiteY0" fmla="*/ 14947 h 26405"/>
                    <a:gd name="connsiteX1" fmla="*/ 11459 w 26380"/>
                    <a:gd name="connsiteY1" fmla="*/ 26281 h 26405"/>
                    <a:gd name="connsiteX2" fmla="*/ 124 w 26380"/>
                    <a:gd name="connsiteY2" fmla="*/ 11459 h 26405"/>
                    <a:gd name="connsiteX3" fmla="*/ 14947 w 26380"/>
                    <a:gd name="connsiteY3" fmla="*/ 124 h 26405"/>
                    <a:gd name="connsiteX4" fmla="*/ 26281 w 2638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05">
                      <a:moveTo>
                        <a:pt x="26281" y="14947"/>
                      </a:moveTo>
                      <a:cubicBezTo>
                        <a:pt x="25285" y="22171"/>
                        <a:pt x="18684" y="27278"/>
                        <a:pt x="11459" y="26281"/>
                      </a:cubicBezTo>
                      <a:cubicBezTo>
                        <a:pt x="4235" y="25285"/>
                        <a:pt x="-872" y="18683"/>
                        <a:pt x="124" y="11459"/>
                      </a:cubicBezTo>
                      <a:cubicBezTo>
                        <a:pt x="1121" y="4235"/>
                        <a:pt x="7722" y="-872"/>
                        <a:pt x="14947" y="124"/>
                      </a:cubicBezTo>
                      <a:cubicBezTo>
                        <a:pt x="22171" y="996"/>
                        <a:pt x="27153"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2" name="Graphic 2987">
                <a:extLst>
                  <a:ext uri="{FF2B5EF4-FFF2-40B4-BE49-F238E27FC236}">
                    <a16:creationId xmlns:a16="http://schemas.microsoft.com/office/drawing/2014/main" id="{63061586-D8A2-4213-4F1C-5DBFC9F5E1B5}"/>
                  </a:ext>
                </a:extLst>
              </p:cNvPr>
              <p:cNvGrpSpPr/>
              <p:nvPr/>
            </p:nvGrpSpPr>
            <p:grpSpPr>
              <a:xfrm>
                <a:off x="4442601" y="1753971"/>
                <a:ext cx="42969" cy="147849"/>
                <a:chOff x="4442601" y="1753971"/>
                <a:chExt cx="42969" cy="147849"/>
              </a:xfrm>
              <a:grpFill/>
            </p:grpSpPr>
            <p:sp>
              <p:nvSpPr>
                <p:cNvPr id="6000" name="Freeform 8225">
                  <a:extLst>
                    <a:ext uri="{FF2B5EF4-FFF2-40B4-BE49-F238E27FC236}">
                      <a16:creationId xmlns:a16="http://schemas.microsoft.com/office/drawing/2014/main" id="{1BC6BB7F-A295-93FB-34AA-72A19EAA2440}"/>
                    </a:ext>
                  </a:extLst>
                </p:cNvPr>
                <p:cNvSpPr/>
                <p:nvPr/>
              </p:nvSpPr>
              <p:spPr>
                <a:xfrm>
                  <a:off x="4460534" y="1830200"/>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488" y="44093"/>
                        <a:pt x="4360" y="37741"/>
                        <a:pt x="4484" y="33381"/>
                      </a:cubicBezTo>
                      <a:cubicBezTo>
                        <a:pt x="4609" y="26406"/>
                        <a:pt x="2865" y="23043"/>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1" name="Freeform 8226">
                  <a:extLst>
                    <a:ext uri="{FF2B5EF4-FFF2-40B4-BE49-F238E27FC236}">
                      <a16:creationId xmlns:a16="http://schemas.microsoft.com/office/drawing/2014/main" id="{C4A1BD64-070F-0404-A053-2C5BAC4FA6CB}"/>
                    </a:ext>
                  </a:extLst>
                </p:cNvPr>
                <p:cNvSpPr/>
                <p:nvPr/>
              </p:nvSpPr>
              <p:spPr>
                <a:xfrm>
                  <a:off x="4452126" y="1834186"/>
                  <a:ext cx="7745" cy="51691"/>
                </a:xfrm>
                <a:custGeom>
                  <a:avLst/>
                  <a:gdLst>
                    <a:gd name="connsiteX0" fmla="*/ 7038 w 7745"/>
                    <a:gd name="connsiteY0" fmla="*/ 0 h 51691"/>
                    <a:gd name="connsiteX1" fmla="*/ 6540 w 7745"/>
                    <a:gd name="connsiteY1" fmla="*/ 18808 h 51691"/>
                    <a:gd name="connsiteX2" fmla="*/ 810 w 7745"/>
                    <a:gd name="connsiteY2" fmla="*/ 35250 h 51691"/>
                    <a:gd name="connsiteX3" fmla="*/ 810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38" y="0"/>
                      </a:moveTo>
                      <a:cubicBezTo>
                        <a:pt x="8408" y="8345"/>
                        <a:pt x="7537" y="14573"/>
                        <a:pt x="6540" y="18808"/>
                      </a:cubicBezTo>
                      <a:cubicBezTo>
                        <a:pt x="4796" y="25659"/>
                        <a:pt x="2305" y="28275"/>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2" name="Freeform 8227">
                  <a:extLst>
                    <a:ext uri="{FF2B5EF4-FFF2-40B4-BE49-F238E27FC236}">
                      <a16:creationId xmlns:a16="http://schemas.microsoft.com/office/drawing/2014/main" id="{F09582E7-B89A-5C84-E08C-FB30A487FEDD}"/>
                    </a:ext>
                  </a:extLst>
                </p:cNvPr>
                <p:cNvSpPr/>
                <p:nvPr/>
              </p:nvSpPr>
              <p:spPr>
                <a:xfrm>
                  <a:off x="4442601" y="1875290"/>
                  <a:ext cx="26649" cy="26530"/>
                </a:xfrm>
                <a:custGeom>
                  <a:avLst/>
                  <a:gdLst>
                    <a:gd name="connsiteX0" fmla="*/ 122 w 26649"/>
                    <a:gd name="connsiteY0" fmla="*/ 11459 h 26530"/>
                    <a:gd name="connsiteX1" fmla="*/ 15069 w 26649"/>
                    <a:gd name="connsiteY1" fmla="*/ 124 h 26530"/>
                    <a:gd name="connsiteX2" fmla="*/ 26528 w 26649"/>
                    <a:gd name="connsiteY2" fmla="*/ 15071 h 26530"/>
                    <a:gd name="connsiteX3" fmla="*/ 11581 w 26649"/>
                    <a:gd name="connsiteY3" fmla="*/ 26406 h 26530"/>
                    <a:gd name="connsiteX4" fmla="*/ 122 w 2664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0">
                      <a:moveTo>
                        <a:pt x="122" y="11459"/>
                      </a:moveTo>
                      <a:cubicBezTo>
                        <a:pt x="1118" y="4235"/>
                        <a:pt x="7844" y="-872"/>
                        <a:pt x="15069" y="124"/>
                      </a:cubicBezTo>
                      <a:cubicBezTo>
                        <a:pt x="22293" y="1121"/>
                        <a:pt x="27525" y="7722"/>
                        <a:pt x="26528" y="15071"/>
                      </a:cubicBezTo>
                      <a:cubicBezTo>
                        <a:pt x="25532" y="22296"/>
                        <a:pt x="18805" y="27402"/>
                        <a:pt x="11581" y="26406"/>
                      </a:cubicBezTo>
                      <a:cubicBezTo>
                        <a:pt x="4357" y="25285"/>
                        <a:pt x="-874"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3" name="Freeform 8228">
                  <a:extLst>
                    <a:ext uri="{FF2B5EF4-FFF2-40B4-BE49-F238E27FC236}">
                      <a16:creationId xmlns:a16="http://schemas.microsoft.com/office/drawing/2014/main" id="{1A2C4B0F-B87F-E557-8D32-01E8761DEA88}"/>
                    </a:ext>
                  </a:extLst>
                </p:cNvPr>
                <p:cNvSpPr/>
                <p:nvPr/>
              </p:nvSpPr>
              <p:spPr>
                <a:xfrm>
                  <a:off x="4460161" y="1773651"/>
                  <a:ext cx="7722" cy="51691"/>
                </a:xfrm>
                <a:custGeom>
                  <a:avLst/>
                  <a:gdLst>
                    <a:gd name="connsiteX0" fmla="*/ 7723 w 7722"/>
                    <a:gd name="connsiteY0" fmla="*/ 0 h 51691"/>
                    <a:gd name="connsiteX1" fmla="*/ 3239 w 7722"/>
                    <a:gd name="connsiteY1" fmla="*/ 18310 h 51691"/>
                    <a:gd name="connsiteX2" fmla="*/ 4360 w 7722"/>
                    <a:gd name="connsiteY2" fmla="*/ 35748 h 51691"/>
                    <a:gd name="connsiteX3" fmla="*/ 0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0"/>
                      </a:moveTo>
                      <a:cubicBezTo>
                        <a:pt x="4235" y="7598"/>
                        <a:pt x="3363" y="13950"/>
                        <a:pt x="3239" y="18310"/>
                      </a:cubicBezTo>
                      <a:cubicBezTo>
                        <a:pt x="3114" y="25285"/>
                        <a:pt x="4733" y="28648"/>
                        <a:pt x="4360" y="35748"/>
                      </a:cubicBezTo>
                      <a:cubicBezTo>
                        <a:pt x="3986" y="42599"/>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4" name="Freeform 8229">
                  <a:extLst>
                    <a:ext uri="{FF2B5EF4-FFF2-40B4-BE49-F238E27FC236}">
                      <a16:creationId xmlns:a16="http://schemas.microsoft.com/office/drawing/2014/main" id="{0176B2E1-9707-373C-8CFC-21D1F26432F5}"/>
                    </a:ext>
                  </a:extLst>
                </p:cNvPr>
                <p:cNvSpPr/>
                <p:nvPr/>
              </p:nvSpPr>
              <p:spPr>
                <a:xfrm>
                  <a:off x="4468546" y="1769665"/>
                  <a:ext cx="7621" cy="51691"/>
                </a:xfrm>
                <a:custGeom>
                  <a:avLst/>
                  <a:gdLst>
                    <a:gd name="connsiteX0" fmla="*/ 707 w 7621"/>
                    <a:gd name="connsiteY0" fmla="*/ 51691 h 51691"/>
                    <a:gd name="connsiteX1" fmla="*/ 1206 w 7621"/>
                    <a:gd name="connsiteY1" fmla="*/ 32883 h 51691"/>
                    <a:gd name="connsiteX2" fmla="*/ 6810 w 7621"/>
                    <a:gd name="connsiteY2" fmla="*/ 16442 h 51691"/>
                    <a:gd name="connsiteX3" fmla="*/ 6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707" y="51691"/>
                      </a:moveTo>
                      <a:cubicBezTo>
                        <a:pt x="-663" y="43346"/>
                        <a:pt x="209" y="37118"/>
                        <a:pt x="1206" y="32883"/>
                      </a:cubicBezTo>
                      <a:cubicBezTo>
                        <a:pt x="2949" y="26033"/>
                        <a:pt x="5440" y="23417"/>
                        <a:pt x="6810" y="16442"/>
                      </a:cubicBezTo>
                      <a:cubicBezTo>
                        <a:pt x="8181" y="9716"/>
                        <a:pt x="7558" y="3861"/>
                        <a:pt x="6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5" name="Freeform 8230">
                  <a:extLst>
                    <a:ext uri="{FF2B5EF4-FFF2-40B4-BE49-F238E27FC236}">
                      <a16:creationId xmlns:a16="http://schemas.microsoft.com/office/drawing/2014/main" id="{5D1A8F26-E10D-E0CC-9BC9-93CA5930C64C}"/>
                    </a:ext>
                  </a:extLst>
                </p:cNvPr>
                <p:cNvSpPr/>
                <p:nvPr/>
              </p:nvSpPr>
              <p:spPr>
                <a:xfrm>
                  <a:off x="4459165" y="1753971"/>
                  <a:ext cx="26405" cy="26405"/>
                </a:xfrm>
                <a:custGeom>
                  <a:avLst/>
                  <a:gdLst>
                    <a:gd name="connsiteX0" fmla="*/ 26281 w 26405"/>
                    <a:gd name="connsiteY0" fmla="*/ 14947 h 26405"/>
                    <a:gd name="connsiteX1" fmla="*/ 11459 w 26405"/>
                    <a:gd name="connsiteY1" fmla="*/ 26281 h 26405"/>
                    <a:gd name="connsiteX2" fmla="*/ 124 w 26405"/>
                    <a:gd name="connsiteY2" fmla="*/ 11459 h 26405"/>
                    <a:gd name="connsiteX3" fmla="*/ 14947 w 26405"/>
                    <a:gd name="connsiteY3" fmla="*/ 124 h 26405"/>
                    <a:gd name="connsiteX4" fmla="*/ 26281 w 26405"/>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05">
                      <a:moveTo>
                        <a:pt x="26281" y="14947"/>
                      </a:moveTo>
                      <a:cubicBezTo>
                        <a:pt x="25285" y="22171"/>
                        <a:pt x="18683" y="27278"/>
                        <a:pt x="11459" y="26281"/>
                      </a:cubicBezTo>
                      <a:cubicBezTo>
                        <a:pt x="4235" y="25285"/>
                        <a:pt x="-872" y="18683"/>
                        <a:pt x="124" y="11459"/>
                      </a:cubicBezTo>
                      <a:cubicBezTo>
                        <a:pt x="1121" y="4235"/>
                        <a:pt x="7722" y="-872"/>
                        <a:pt x="14947" y="124"/>
                      </a:cubicBezTo>
                      <a:cubicBezTo>
                        <a:pt x="22171" y="996"/>
                        <a:pt x="27278"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3" name="Graphic 2987">
                <a:extLst>
                  <a:ext uri="{FF2B5EF4-FFF2-40B4-BE49-F238E27FC236}">
                    <a16:creationId xmlns:a16="http://schemas.microsoft.com/office/drawing/2014/main" id="{F3DA4AED-B1D9-D156-E0E0-A6DED2FAE5FD}"/>
                  </a:ext>
                </a:extLst>
              </p:cNvPr>
              <p:cNvGrpSpPr/>
              <p:nvPr/>
            </p:nvGrpSpPr>
            <p:grpSpPr>
              <a:xfrm>
                <a:off x="4413078" y="1750110"/>
                <a:ext cx="43320" cy="147724"/>
                <a:chOff x="4413078" y="1750110"/>
                <a:chExt cx="43320" cy="147724"/>
              </a:xfrm>
              <a:grpFill/>
            </p:grpSpPr>
            <p:sp>
              <p:nvSpPr>
                <p:cNvPr id="5994" name="Freeform 8232">
                  <a:extLst>
                    <a:ext uri="{FF2B5EF4-FFF2-40B4-BE49-F238E27FC236}">
                      <a16:creationId xmlns:a16="http://schemas.microsoft.com/office/drawing/2014/main" id="{16DE1FF3-D88D-BEB5-7804-747B542BA2C4}"/>
                    </a:ext>
                  </a:extLst>
                </p:cNvPr>
                <p:cNvSpPr/>
                <p:nvPr/>
              </p:nvSpPr>
              <p:spPr>
                <a:xfrm>
                  <a:off x="4431014" y="1826339"/>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612" y="44093"/>
                        <a:pt x="4360" y="37741"/>
                        <a:pt x="4484" y="33381"/>
                      </a:cubicBezTo>
                      <a:cubicBezTo>
                        <a:pt x="4609" y="26406"/>
                        <a:pt x="2990" y="23043"/>
                        <a:pt x="3363" y="15943"/>
                      </a:cubicBezTo>
                      <a:cubicBezTo>
                        <a:pt x="3861"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5" name="Freeform 8233">
                  <a:extLst>
                    <a:ext uri="{FF2B5EF4-FFF2-40B4-BE49-F238E27FC236}">
                      <a16:creationId xmlns:a16="http://schemas.microsoft.com/office/drawing/2014/main" id="{380EC7F2-F194-8AD8-AC19-7BBF5083A83F}"/>
                    </a:ext>
                  </a:extLst>
                </p:cNvPr>
                <p:cNvSpPr/>
                <p:nvPr/>
              </p:nvSpPr>
              <p:spPr>
                <a:xfrm>
                  <a:off x="4422503" y="1830325"/>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8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659"/>
                        <a:pt x="2408" y="28275"/>
                        <a:pt x="913" y="35250"/>
                      </a:cubicBezTo>
                      <a:cubicBezTo>
                        <a:pt x="-582" y="41976"/>
                        <a:pt x="41" y="47830"/>
                        <a:pt x="78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6" name="Freeform 8234">
                  <a:extLst>
                    <a:ext uri="{FF2B5EF4-FFF2-40B4-BE49-F238E27FC236}">
                      <a16:creationId xmlns:a16="http://schemas.microsoft.com/office/drawing/2014/main" id="{80473DFF-A1E9-A8DB-DECA-27F07DA746ED}"/>
                    </a:ext>
                  </a:extLst>
                </p:cNvPr>
                <p:cNvSpPr/>
                <p:nvPr/>
              </p:nvSpPr>
              <p:spPr>
                <a:xfrm>
                  <a:off x="4413078" y="1871304"/>
                  <a:ext cx="26779" cy="26530"/>
                </a:xfrm>
                <a:custGeom>
                  <a:avLst/>
                  <a:gdLst>
                    <a:gd name="connsiteX0" fmla="*/ 124 w 26779"/>
                    <a:gd name="connsiteY0" fmla="*/ 11459 h 26530"/>
                    <a:gd name="connsiteX1" fmla="*/ 15196 w 26779"/>
                    <a:gd name="connsiteY1" fmla="*/ 124 h 26530"/>
                    <a:gd name="connsiteX2" fmla="*/ 26655 w 26779"/>
                    <a:gd name="connsiteY2" fmla="*/ 15071 h 26530"/>
                    <a:gd name="connsiteX3" fmla="*/ 11584 w 26779"/>
                    <a:gd name="connsiteY3" fmla="*/ 26406 h 26530"/>
                    <a:gd name="connsiteX4" fmla="*/ 124 w 2677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0">
                      <a:moveTo>
                        <a:pt x="124" y="11459"/>
                      </a:moveTo>
                      <a:cubicBezTo>
                        <a:pt x="1121" y="4235"/>
                        <a:pt x="7847" y="-872"/>
                        <a:pt x="15196" y="124"/>
                      </a:cubicBezTo>
                      <a:cubicBezTo>
                        <a:pt x="22544" y="1121"/>
                        <a:pt x="27651" y="7722"/>
                        <a:pt x="26655" y="15071"/>
                      </a:cubicBezTo>
                      <a:cubicBezTo>
                        <a:pt x="25658" y="22296"/>
                        <a:pt x="18932" y="27402"/>
                        <a:pt x="11584" y="26406"/>
                      </a:cubicBezTo>
                      <a:cubicBezTo>
                        <a:pt x="4235" y="25409"/>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7" name="Freeform 8235">
                  <a:extLst>
                    <a:ext uri="{FF2B5EF4-FFF2-40B4-BE49-F238E27FC236}">
                      <a16:creationId xmlns:a16="http://schemas.microsoft.com/office/drawing/2014/main" id="{8B69D3E3-FFF2-A0DB-89FB-C55400D0D286}"/>
                    </a:ext>
                  </a:extLst>
                </p:cNvPr>
                <p:cNvSpPr/>
                <p:nvPr/>
              </p:nvSpPr>
              <p:spPr>
                <a:xfrm>
                  <a:off x="4430765" y="1769789"/>
                  <a:ext cx="7847" cy="51566"/>
                </a:xfrm>
                <a:custGeom>
                  <a:avLst/>
                  <a:gdLst>
                    <a:gd name="connsiteX0" fmla="*/ 7847 w 7847"/>
                    <a:gd name="connsiteY0" fmla="*/ 0 h 51566"/>
                    <a:gd name="connsiteX1" fmla="*/ 3363 w 7847"/>
                    <a:gd name="connsiteY1" fmla="*/ 18310 h 51566"/>
                    <a:gd name="connsiteX2" fmla="*/ 4360 w 7847"/>
                    <a:gd name="connsiteY2" fmla="*/ 35624 h 51566"/>
                    <a:gd name="connsiteX3" fmla="*/ 0 w 7847"/>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0"/>
                      </a:moveTo>
                      <a:cubicBezTo>
                        <a:pt x="4235" y="7598"/>
                        <a:pt x="3488" y="13950"/>
                        <a:pt x="3363" y="18310"/>
                      </a:cubicBezTo>
                      <a:cubicBezTo>
                        <a:pt x="3239" y="25285"/>
                        <a:pt x="4858" y="28648"/>
                        <a:pt x="4360" y="35624"/>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8" name="Freeform 8236">
                  <a:extLst>
                    <a:ext uri="{FF2B5EF4-FFF2-40B4-BE49-F238E27FC236}">
                      <a16:creationId xmlns:a16="http://schemas.microsoft.com/office/drawing/2014/main" id="{5103A22C-640E-3255-DB0D-CC7B39C78309}"/>
                    </a:ext>
                  </a:extLst>
                </p:cNvPr>
                <p:cNvSpPr/>
                <p:nvPr/>
              </p:nvSpPr>
              <p:spPr>
                <a:xfrm>
                  <a:off x="4439157" y="1765804"/>
                  <a:ext cx="7915" cy="51691"/>
                </a:xfrm>
                <a:custGeom>
                  <a:avLst/>
                  <a:gdLst>
                    <a:gd name="connsiteX0" fmla="*/ 701 w 7915"/>
                    <a:gd name="connsiteY0" fmla="*/ 51691 h 51691"/>
                    <a:gd name="connsiteX1" fmla="*/ 1324 w 7915"/>
                    <a:gd name="connsiteY1" fmla="*/ 32883 h 51691"/>
                    <a:gd name="connsiteX2" fmla="*/ 7053 w 7915"/>
                    <a:gd name="connsiteY2" fmla="*/ 16442 h 51691"/>
                    <a:gd name="connsiteX3" fmla="*/ 7178 w 7915"/>
                    <a:gd name="connsiteY3" fmla="*/ 0 h 51691"/>
                  </a:gdLst>
                  <a:ahLst/>
                  <a:cxnLst>
                    <a:cxn ang="0">
                      <a:pos x="connsiteX0" y="connsiteY0"/>
                    </a:cxn>
                    <a:cxn ang="0">
                      <a:pos x="connsiteX1" y="connsiteY1"/>
                    </a:cxn>
                    <a:cxn ang="0">
                      <a:pos x="connsiteX2" y="connsiteY2"/>
                    </a:cxn>
                    <a:cxn ang="0">
                      <a:pos x="connsiteX3" y="connsiteY3"/>
                    </a:cxn>
                  </a:cxnLst>
                  <a:rect l="l" t="t" r="r" b="b"/>
                  <a:pathLst>
                    <a:path w="7915" h="51690">
                      <a:moveTo>
                        <a:pt x="701" y="51691"/>
                      </a:moveTo>
                      <a:cubicBezTo>
                        <a:pt x="-669" y="43346"/>
                        <a:pt x="203" y="37118"/>
                        <a:pt x="1324" y="32883"/>
                      </a:cubicBezTo>
                      <a:cubicBezTo>
                        <a:pt x="3068" y="26033"/>
                        <a:pt x="5559" y="23417"/>
                        <a:pt x="7053" y="16442"/>
                      </a:cubicBezTo>
                      <a:cubicBezTo>
                        <a:pt x="8424" y="9715"/>
                        <a:pt x="7925"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9" name="Freeform 8237">
                  <a:extLst>
                    <a:ext uri="{FF2B5EF4-FFF2-40B4-BE49-F238E27FC236}">
                      <a16:creationId xmlns:a16="http://schemas.microsoft.com/office/drawing/2014/main" id="{F6B34FDF-B52E-1C8C-D474-A05336B2B3E1}"/>
                    </a:ext>
                  </a:extLst>
                </p:cNvPr>
                <p:cNvSpPr/>
                <p:nvPr/>
              </p:nvSpPr>
              <p:spPr>
                <a:xfrm>
                  <a:off x="4429988" y="1750110"/>
                  <a:ext cx="26410" cy="26405"/>
                </a:xfrm>
                <a:custGeom>
                  <a:avLst/>
                  <a:gdLst>
                    <a:gd name="connsiteX0" fmla="*/ 26311 w 26410"/>
                    <a:gd name="connsiteY0" fmla="*/ 14947 h 26405"/>
                    <a:gd name="connsiteX1" fmla="*/ 11365 w 26410"/>
                    <a:gd name="connsiteY1" fmla="*/ 26281 h 26405"/>
                    <a:gd name="connsiteX2" fmla="*/ 155 w 26410"/>
                    <a:gd name="connsiteY2" fmla="*/ 11459 h 26405"/>
                    <a:gd name="connsiteX3" fmla="*/ 15101 w 26410"/>
                    <a:gd name="connsiteY3" fmla="*/ 124 h 26405"/>
                    <a:gd name="connsiteX4" fmla="*/ 26311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311" y="14947"/>
                      </a:moveTo>
                      <a:cubicBezTo>
                        <a:pt x="25315" y="22171"/>
                        <a:pt x="18714" y="27278"/>
                        <a:pt x="11365" y="26281"/>
                      </a:cubicBezTo>
                      <a:cubicBezTo>
                        <a:pt x="4140" y="25285"/>
                        <a:pt x="-967" y="18683"/>
                        <a:pt x="155" y="11459"/>
                      </a:cubicBezTo>
                      <a:cubicBezTo>
                        <a:pt x="1151" y="4235"/>
                        <a:pt x="7877" y="-872"/>
                        <a:pt x="15101" y="124"/>
                      </a:cubicBezTo>
                      <a:cubicBezTo>
                        <a:pt x="22201" y="996"/>
                        <a:pt x="27183" y="7598"/>
                        <a:pt x="2631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4" name="Graphic 2987">
                <a:extLst>
                  <a:ext uri="{FF2B5EF4-FFF2-40B4-BE49-F238E27FC236}">
                    <a16:creationId xmlns:a16="http://schemas.microsoft.com/office/drawing/2014/main" id="{CEA10EF5-9DDA-BDF1-2905-124C2B5BBBC5}"/>
                  </a:ext>
                </a:extLst>
              </p:cNvPr>
              <p:cNvGrpSpPr/>
              <p:nvPr/>
            </p:nvGrpSpPr>
            <p:grpSpPr>
              <a:xfrm>
                <a:off x="4383528" y="1746124"/>
                <a:ext cx="43627" cy="147727"/>
                <a:chOff x="4383528" y="1746124"/>
                <a:chExt cx="43627" cy="147727"/>
              </a:xfrm>
              <a:grpFill/>
            </p:grpSpPr>
            <p:sp>
              <p:nvSpPr>
                <p:cNvPr id="5988" name="Freeform 8239">
                  <a:extLst>
                    <a:ext uri="{FF2B5EF4-FFF2-40B4-BE49-F238E27FC236}">
                      <a16:creationId xmlns:a16="http://schemas.microsoft.com/office/drawing/2014/main" id="{A67A76E2-C00C-4033-38F1-BE77B8D2B663}"/>
                    </a:ext>
                  </a:extLst>
                </p:cNvPr>
                <p:cNvSpPr/>
                <p:nvPr/>
              </p:nvSpPr>
              <p:spPr>
                <a:xfrm>
                  <a:off x="4401494" y="1822477"/>
                  <a:ext cx="7971" cy="51566"/>
                </a:xfrm>
                <a:custGeom>
                  <a:avLst/>
                  <a:gdLst>
                    <a:gd name="connsiteX0" fmla="*/ 0 w 7971"/>
                    <a:gd name="connsiteY0" fmla="*/ 51567 h 51566"/>
                    <a:gd name="connsiteX1" fmla="*/ 4609 w 7971"/>
                    <a:gd name="connsiteY1" fmla="*/ 33257 h 51566"/>
                    <a:gd name="connsiteX2" fmla="*/ 3612 w 7971"/>
                    <a:gd name="connsiteY2" fmla="*/ 15943 h 51566"/>
                    <a:gd name="connsiteX3" fmla="*/ 7972 w 7971"/>
                    <a:gd name="connsiteY3" fmla="*/ 0 h 51566"/>
                  </a:gdLst>
                  <a:ahLst/>
                  <a:cxnLst>
                    <a:cxn ang="0">
                      <a:pos x="connsiteX0" y="connsiteY0"/>
                    </a:cxn>
                    <a:cxn ang="0">
                      <a:pos x="connsiteX1" y="connsiteY1"/>
                    </a:cxn>
                    <a:cxn ang="0">
                      <a:pos x="connsiteX2" y="connsiteY2"/>
                    </a:cxn>
                    <a:cxn ang="0">
                      <a:pos x="connsiteX3" y="connsiteY3"/>
                    </a:cxn>
                  </a:cxnLst>
                  <a:rect l="l" t="t" r="r" b="b"/>
                  <a:pathLst>
                    <a:path w="7971" h="51566">
                      <a:moveTo>
                        <a:pt x="0" y="51567"/>
                      </a:moveTo>
                      <a:cubicBezTo>
                        <a:pt x="3612" y="43969"/>
                        <a:pt x="4484" y="37616"/>
                        <a:pt x="4609" y="33257"/>
                      </a:cubicBezTo>
                      <a:cubicBezTo>
                        <a:pt x="4858" y="26282"/>
                        <a:pt x="3114" y="22919"/>
                        <a:pt x="3612" y="15943"/>
                      </a:cubicBezTo>
                      <a:cubicBezTo>
                        <a:pt x="4111" y="9093"/>
                        <a:pt x="6228" y="3612"/>
                        <a:pt x="79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9" name="Freeform 8240">
                  <a:extLst>
                    <a:ext uri="{FF2B5EF4-FFF2-40B4-BE49-F238E27FC236}">
                      <a16:creationId xmlns:a16="http://schemas.microsoft.com/office/drawing/2014/main" id="{7B265163-912F-EC40-5280-40A78D9EAE39}"/>
                    </a:ext>
                  </a:extLst>
                </p:cNvPr>
                <p:cNvSpPr/>
                <p:nvPr/>
              </p:nvSpPr>
              <p:spPr>
                <a:xfrm>
                  <a:off x="4393108" y="1826339"/>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9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0" name="Freeform 8241">
                  <a:extLst>
                    <a:ext uri="{FF2B5EF4-FFF2-40B4-BE49-F238E27FC236}">
                      <a16:creationId xmlns:a16="http://schemas.microsoft.com/office/drawing/2014/main" id="{4C03DD3C-AD37-4FE0-C11E-682C07471E70}"/>
                    </a:ext>
                  </a:extLst>
                </p:cNvPr>
                <p:cNvSpPr/>
                <p:nvPr/>
              </p:nvSpPr>
              <p:spPr>
                <a:xfrm>
                  <a:off x="4383528" y="1867318"/>
                  <a:ext cx="26687" cy="26532"/>
                </a:xfrm>
                <a:custGeom>
                  <a:avLst/>
                  <a:gdLst>
                    <a:gd name="connsiteX0" fmla="*/ 154 w 26687"/>
                    <a:gd name="connsiteY0" fmla="*/ 11459 h 26532"/>
                    <a:gd name="connsiteX1" fmla="*/ 15226 w 26687"/>
                    <a:gd name="connsiteY1" fmla="*/ 124 h 26532"/>
                    <a:gd name="connsiteX2" fmla="*/ 26561 w 26687"/>
                    <a:gd name="connsiteY2" fmla="*/ 15071 h 26532"/>
                    <a:gd name="connsiteX3" fmla="*/ 11489 w 26687"/>
                    <a:gd name="connsiteY3" fmla="*/ 26406 h 26532"/>
                    <a:gd name="connsiteX4" fmla="*/ 154 w 26687"/>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31">
                      <a:moveTo>
                        <a:pt x="154" y="11459"/>
                      </a:moveTo>
                      <a:cubicBezTo>
                        <a:pt x="1151" y="4235"/>
                        <a:pt x="7877" y="-872"/>
                        <a:pt x="15226" y="124"/>
                      </a:cubicBezTo>
                      <a:cubicBezTo>
                        <a:pt x="22575" y="1121"/>
                        <a:pt x="27557" y="7722"/>
                        <a:pt x="26561" y="15071"/>
                      </a:cubicBezTo>
                      <a:cubicBezTo>
                        <a:pt x="25564" y="22420"/>
                        <a:pt x="18838" y="27402"/>
                        <a:pt x="11489" y="26406"/>
                      </a:cubicBezTo>
                      <a:cubicBezTo>
                        <a:pt x="4140" y="25409"/>
                        <a:pt x="-967" y="18683"/>
                        <a:pt x="1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1" name="Freeform 8242">
                  <a:extLst>
                    <a:ext uri="{FF2B5EF4-FFF2-40B4-BE49-F238E27FC236}">
                      <a16:creationId xmlns:a16="http://schemas.microsoft.com/office/drawing/2014/main" id="{37F8F15C-7B37-3B80-8347-710A32383024}"/>
                    </a:ext>
                  </a:extLst>
                </p:cNvPr>
                <p:cNvSpPr/>
                <p:nvPr/>
              </p:nvSpPr>
              <p:spPr>
                <a:xfrm>
                  <a:off x="4401245" y="1765928"/>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8" y="25285"/>
                        <a:pt x="4982" y="28648"/>
                        <a:pt x="4484" y="35624"/>
                      </a:cubicBezTo>
                      <a:cubicBezTo>
                        <a:pt x="3986" y="42474"/>
                        <a:pt x="1868"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2" name="Freeform 8243">
                  <a:extLst>
                    <a:ext uri="{FF2B5EF4-FFF2-40B4-BE49-F238E27FC236}">
                      <a16:creationId xmlns:a16="http://schemas.microsoft.com/office/drawing/2014/main" id="{273279BC-D410-7379-D6B9-AB8CA30BAB24}"/>
                    </a:ext>
                  </a:extLst>
                </p:cNvPr>
                <p:cNvSpPr/>
                <p:nvPr/>
              </p:nvSpPr>
              <p:spPr>
                <a:xfrm>
                  <a:off x="4409761" y="1761818"/>
                  <a:ext cx="7966" cy="51691"/>
                </a:xfrm>
                <a:custGeom>
                  <a:avLst/>
                  <a:gdLst>
                    <a:gd name="connsiteX0" fmla="*/ 701 w 7966"/>
                    <a:gd name="connsiteY0" fmla="*/ 51691 h 51691"/>
                    <a:gd name="connsiteX1" fmla="*/ 1324 w 7966"/>
                    <a:gd name="connsiteY1" fmla="*/ 32883 h 51691"/>
                    <a:gd name="connsiteX2" fmla="*/ 7054 w 7966"/>
                    <a:gd name="connsiteY2" fmla="*/ 16442 h 51691"/>
                    <a:gd name="connsiteX3" fmla="*/ 7178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01" y="51691"/>
                      </a:moveTo>
                      <a:cubicBezTo>
                        <a:pt x="-669" y="43346"/>
                        <a:pt x="203" y="37118"/>
                        <a:pt x="1324" y="32883"/>
                      </a:cubicBezTo>
                      <a:cubicBezTo>
                        <a:pt x="3068" y="26157"/>
                        <a:pt x="5559" y="23417"/>
                        <a:pt x="7054" y="16442"/>
                      </a:cubicBezTo>
                      <a:cubicBezTo>
                        <a:pt x="8548" y="9715"/>
                        <a:pt x="7926"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3" name="Freeform 8244">
                  <a:extLst>
                    <a:ext uri="{FF2B5EF4-FFF2-40B4-BE49-F238E27FC236}">
                      <a16:creationId xmlns:a16="http://schemas.microsoft.com/office/drawing/2014/main" id="{C1C9BE0D-1026-34B4-E308-B8CF59401787}"/>
                    </a:ext>
                  </a:extLst>
                </p:cNvPr>
                <p:cNvSpPr/>
                <p:nvPr/>
              </p:nvSpPr>
              <p:spPr>
                <a:xfrm>
                  <a:off x="4400745" y="1746124"/>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5" name="Graphic 2987">
                <a:extLst>
                  <a:ext uri="{FF2B5EF4-FFF2-40B4-BE49-F238E27FC236}">
                    <a16:creationId xmlns:a16="http://schemas.microsoft.com/office/drawing/2014/main" id="{728A9A02-B3E0-A078-AF9D-845311A7783C}"/>
                  </a:ext>
                </a:extLst>
              </p:cNvPr>
              <p:cNvGrpSpPr/>
              <p:nvPr/>
            </p:nvGrpSpPr>
            <p:grpSpPr>
              <a:xfrm>
                <a:off x="4353913" y="1742263"/>
                <a:ext cx="43970" cy="147600"/>
                <a:chOff x="4353913" y="1742263"/>
                <a:chExt cx="43970" cy="147600"/>
              </a:xfrm>
              <a:grpFill/>
            </p:grpSpPr>
            <p:sp>
              <p:nvSpPr>
                <p:cNvPr id="5982" name="Freeform 8246">
                  <a:extLst>
                    <a:ext uri="{FF2B5EF4-FFF2-40B4-BE49-F238E27FC236}">
                      <a16:creationId xmlns:a16="http://schemas.microsoft.com/office/drawing/2014/main" id="{AE7E612A-168F-E9BF-4A51-B5FCB92224E3}"/>
                    </a:ext>
                  </a:extLst>
                </p:cNvPr>
                <p:cNvSpPr/>
                <p:nvPr/>
              </p:nvSpPr>
              <p:spPr>
                <a:xfrm>
                  <a:off x="4371974" y="1818492"/>
                  <a:ext cx="8096" cy="51566"/>
                </a:xfrm>
                <a:custGeom>
                  <a:avLst/>
                  <a:gdLst>
                    <a:gd name="connsiteX0" fmla="*/ 0 w 8096"/>
                    <a:gd name="connsiteY0" fmla="*/ 51567 h 51566"/>
                    <a:gd name="connsiteX1" fmla="*/ 4609 w 8096"/>
                    <a:gd name="connsiteY1" fmla="*/ 33257 h 51566"/>
                    <a:gd name="connsiteX2" fmla="*/ 3612 w 8096"/>
                    <a:gd name="connsiteY2" fmla="*/ 15943 h 51566"/>
                    <a:gd name="connsiteX3" fmla="*/ 8096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0" y="51567"/>
                      </a:moveTo>
                      <a:cubicBezTo>
                        <a:pt x="3612" y="43969"/>
                        <a:pt x="4484" y="37616"/>
                        <a:pt x="4609" y="33257"/>
                      </a:cubicBezTo>
                      <a:cubicBezTo>
                        <a:pt x="4858" y="26282"/>
                        <a:pt x="3114" y="22919"/>
                        <a:pt x="3612" y="15943"/>
                      </a:cubicBezTo>
                      <a:cubicBezTo>
                        <a:pt x="4110" y="9093"/>
                        <a:pt x="6353"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3" name="Freeform 8247">
                  <a:extLst>
                    <a:ext uri="{FF2B5EF4-FFF2-40B4-BE49-F238E27FC236}">
                      <a16:creationId xmlns:a16="http://schemas.microsoft.com/office/drawing/2014/main" id="{87BBB184-155D-74F9-56E1-5AC3022D84C6}"/>
                    </a:ext>
                  </a:extLst>
                </p:cNvPr>
                <p:cNvSpPr/>
                <p:nvPr/>
              </p:nvSpPr>
              <p:spPr>
                <a:xfrm>
                  <a:off x="4363463" y="1822477"/>
                  <a:ext cx="8179" cy="51691"/>
                </a:xfrm>
                <a:custGeom>
                  <a:avLst/>
                  <a:gdLst>
                    <a:gd name="connsiteX0" fmla="*/ 7515 w 8179"/>
                    <a:gd name="connsiteY0" fmla="*/ 0 h 51691"/>
                    <a:gd name="connsiteX1" fmla="*/ 6767 w 8179"/>
                    <a:gd name="connsiteY1" fmla="*/ 18808 h 51691"/>
                    <a:gd name="connsiteX2" fmla="*/ 913 w 8179"/>
                    <a:gd name="connsiteY2" fmla="*/ 35250 h 51691"/>
                    <a:gd name="connsiteX3" fmla="*/ 78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15" y="0"/>
                      </a:moveTo>
                      <a:cubicBezTo>
                        <a:pt x="8885" y="8345"/>
                        <a:pt x="7888" y="14573"/>
                        <a:pt x="6767" y="18808"/>
                      </a:cubicBezTo>
                      <a:cubicBezTo>
                        <a:pt x="5024"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4" name="Freeform 8248">
                  <a:extLst>
                    <a:ext uri="{FF2B5EF4-FFF2-40B4-BE49-F238E27FC236}">
                      <a16:creationId xmlns:a16="http://schemas.microsoft.com/office/drawing/2014/main" id="{71637F78-1ABC-740E-14A8-2962CA89FA95}"/>
                    </a:ext>
                  </a:extLst>
                </p:cNvPr>
                <p:cNvSpPr/>
                <p:nvPr/>
              </p:nvSpPr>
              <p:spPr>
                <a:xfrm>
                  <a:off x="4353913" y="1863457"/>
                  <a:ext cx="26657" cy="26405"/>
                </a:xfrm>
                <a:custGeom>
                  <a:avLst/>
                  <a:gdLst>
                    <a:gd name="connsiteX0" fmla="*/ 124 w 26657"/>
                    <a:gd name="connsiteY0" fmla="*/ 11459 h 26405"/>
                    <a:gd name="connsiteX1" fmla="*/ 15196 w 26657"/>
                    <a:gd name="connsiteY1" fmla="*/ 124 h 26405"/>
                    <a:gd name="connsiteX2" fmla="*/ 26530 w 26657"/>
                    <a:gd name="connsiteY2" fmla="*/ 14947 h 26405"/>
                    <a:gd name="connsiteX3" fmla="*/ 11459 w 26657"/>
                    <a:gd name="connsiteY3" fmla="*/ 26281 h 26405"/>
                    <a:gd name="connsiteX4" fmla="*/ 124 w 26657"/>
                    <a:gd name="connsiteY4" fmla="*/ 11459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405">
                      <a:moveTo>
                        <a:pt x="124" y="11459"/>
                      </a:moveTo>
                      <a:cubicBezTo>
                        <a:pt x="1121" y="4235"/>
                        <a:pt x="7971" y="-872"/>
                        <a:pt x="15196" y="124"/>
                      </a:cubicBezTo>
                      <a:cubicBezTo>
                        <a:pt x="22544" y="1121"/>
                        <a:pt x="27527" y="7722"/>
                        <a:pt x="26530" y="14947"/>
                      </a:cubicBezTo>
                      <a:cubicBezTo>
                        <a:pt x="25534" y="22171"/>
                        <a:pt x="18683" y="27278"/>
                        <a:pt x="11459" y="26281"/>
                      </a:cubicBezTo>
                      <a:cubicBezTo>
                        <a:pt x="4235" y="25285"/>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5" name="Freeform 8249">
                  <a:extLst>
                    <a:ext uri="{FF2B5EF4-FFF2-40B4-BE49-F238E27FC236}">
                      <a16:creationId xmlns:a16="http://schemas.microsoft.com/office/drawing/2014/main" id="{CE13CF32-C3C7-5454-A92C-5E2C1FDBD88D}"/>
                    </a:ext>
                  </a:extLst>
                </p:cNvPr>
                <p:cNvSpPr/>
                <p:nvPr/>
              </p:nvSpPr>
              <p:spPr>
                <a:xfrm>
                  <a:off x="4371974" y="1761942"/>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9" y="25285"/>
                        <a:pt x="4982" y="28648"/>
                        <a:pt x="4484" y="35624"/>
                      </a:cubicBezTo>
                      <a:cubicBezTo>
                        <a:pt x="3986"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6" name="Freeform 8250">
                  <a:extLst>
                    <a:ext uri="{FF2B5EF4-FFF2-40B4-BE49-F238E27FC236}">
                      <a16:creationId xmlns:a16="http://schemas.microsoft.com/office/drawing/2014/main" id="{AF7699A9-9693-1F5A-C376-136FBD40ADD3}"/>
                    </a:ext>
                  </a:extLst>
                </p:cNvPr>
                <p:cNvSpPr/>
                <p:nvPr/>
              </p:nvSpPr>
              <p:spPr>
                <a:xfrm>
                  <a:off x="4380402" y="1757956"/>
                  <a:ext cx="8191" cy="51691"/>
                </a:xfrm>
                <a:custGeom>
                  <a:avLst/>
                  <a:gdLst>
                    <a:gd name="connsiteX0" fmla="*/ 665 w 8191"/>
                    <a:gd name="connsiteY0" fmla="*/ 51691 h 51691"/>
                    <a:gd name="connsiteX1" fmla="*/ 1413 w 8191"/>
                    <a:gd name="connsiteY1" fmla="*/ 32883 h 51691"/>
                    <a:gd name="connsiteX2" fmla="*/ 7267 w 8191"/>
                    <a:gd name="connsiteY2" fmla="*/ 16442 h 51691"/>
                    <a:gd name="connsiteX3" fmla="*/ 7516 w 8191"/>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665" y="51691"/>
                      </a:moveTo>
                      <a:cubicBezTo>
                        <a:pt x="-705" y="43346"/>
                        <a:pt x="292" y="37118"/>
                        <a:pt x="1413" y="32883"/>
                      </a:cubicBezTo>
                      <a:cubicBezTo>
                        <a:pt x="3156" y="26157"/>
                        <a:pt x="5772" y="23417"/>
                        <a:pt x="7267" y="16442"/>
                      </a:cubicBezTo>
                      <a:cubicBezTo>
                        <a:pt x="8761" y="9715"/>
                        <a:pt x="8138" y="3861"/>
                        <a:pt x="75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7" name="Freeform 8251">
                  <a:extLst>
                    <a:ext uri="{FF2B5EF4-FFF2-40B4-BE49-F238E27FC236}">
                      <a16:creationId xmlns:a16="http://schemas.microsoft.com/office/drawing/2014/main" id="{D65789E9-EDB7-6F73-56E0-C4A3D6E00A38}"/>
                    </a:ext>
                  </a:extLst>
                </p:cNvPr>
                <p:cNvSpPr/>
                <p:nvPr/>
              </p:nvSpPr>
              <p:spPr>
                <a:xfrm>
                  <a:off x="4371474" y="1742263"/>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6" name="Graphic 2987">
                <a:extLst>
                  <a:ext uri="{FF2B5EF4-FFF2-40B4-BE49-F238E27FC236}">
                    <a16:creationId xmlns:a16="http://schemas.microsoft.com/office/drawing/2014/main" id="{9713FB51-92C6-96FC-4298-6428BDD0D723}"/>
                  </a:ext>
                </a:extLst>
              </p:cNvPr>
              <p:cNvGrpSpPr/>
              <p:nvPr/>
            </p:nvGrpSpPr>
            <p:grpSpPr>
              <a:xfrm>
                <a:off x="4324391" y="1738243"/>
                <a:ext cx="44347" cy="147758"/>
                <a:chOff x="4324391" y="1738243"/>
                <a:chExt cx="44347" cy="147758"/>
              </a:xfrm>
              <a:grpFill/>
            </p:grpSpPr>
            <p:sp>
              <p:nvSpPr>
                <p:cNvPr id="5976" name="Freeform 8253">
                  <a:extLst>
                    <a:ext uri="{FF2B5EF4-FFF2-40B4-BE49-F238E27FC236}">
                      <a16:creationId xmlns:a16="http://schemas.microsoft.com/office/drawing/2014/main" id="{98CE0053-EB81-8E66-3A44-7D2CDA39C19F}"/>
                    </a:ext>
                  </a:extLst>
                </p:cNvPr>
                <p:cNvSpPr/>
                <p:nvPr/>
              </p:nvSpPr>
              <p:spPr>
                <a:xfrm>
                  <a:off x="4342329" y="1814755"/>
                  <a:ext cx="8345" cy="51442"/>
                </a:xfrm>
                <a:custGeom>
                  <a:avLst/>
                  <a:gdLst>
                    <a:gd name="connsiteX0" fmla="*/ 0 w 8345"/>
                    <a:gd name="connsiteY0" fmla="*/ 51442 h 51442"/>
                    <a:gd name="connsiteX1" fmla="*/ 4733 w 8345"/>
                    <a:gd name="connsiteY1" fmla="*/ 33257 h 51442"/>
                    <a:gd name="connsiteX2" fmla="*/ 3861 w 8345"/>
                    <a:gd name="connsiteY2" fmla="*/ 15943 h 51442"/>
                    <a:gd name="connsiteX3" fmla="*/ 8346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0" y="51442"/>
                      </a:moveTo>
                      <a:cubicBezTo>
                        <a:pt x="3612" y="43844"/>
                        <a:pt x="4484" y="37492"/>
                        <a:pt x="4733" y="33257"/>
                      </a:cubicBezTo>
                      <a:cubicBezTo>
                        <a:pt x="4982" y="26282"/>
                        <a:pt x="3239" y="22919"/>
                        <a:pt x="3861" y="15943"/>
                      </a:cubicBezTo>
                      <a:cubicBezTo>
                        <a:pt x="4360" y="9093"/>
                        <a:pt x="6602" y="3612"/>
                        <a:pt x="83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7" name="Freeform 8254">
                  <a:extLst>
                    <a:ext uri="{FF2B5EF4-FFF2-40B4-BE49-F238E27FC236}">
                      <a16:creationId xmlns:a16="http://schemas.microsoft.com/office/drawing/2014/main" id="{E866993C-4916-685F-DE14-9C9071A275C8}"/>
                    </a:ext>
                  </a:extLst>
                </p:cNvPr>
                <p:cNvSpPr/>
                <p:nvPr/>
              </p:nvSpPr>
              <p:spPr>
                <a:xfrm>
                  <a:off x="4334056" y="1818367"/>
                  <a:ext cx="8136" cy="51691"/>
                </a:xfrm>
                <a:custGeom>
                  <a:avLst/>
                  <a:gdLst>
                    <a:gd name="connsiteX0" fmla="*/ 7526 w 8136"/>
                    <a:gd name="connsiteY0" fmla="*/ 0 h 51691"/>
                    <a:gd name="connsiteX1" fmla="*/ 6779 w 8136"/>
                    <a:gd name="connsiteY1" fmla="*/ 18808 h 51691"/>
                    <a:gd name="connsiteX2" fmla="*/ 925 w 8136"/>
                    <a:gd name="connsiteY2" fmla="*/ 35125 h 51691"/>
                    <a:gd name="connsiteX3" fmla="*/ 676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7526" y="0"/>
                      </a:moveTo>
                      <a:cubicBezTo>
                        <a:pt x="8772" y="8345"/>
                        <a:pt x="7900" y="14573"/>
                        <a:pt x="6779" y="18808"/>
                      </a:cubicBezTo>
                      <a:cubicBezTo>
                        <a:pt x="5035" y="25534"/>
                        <a:pt x="2419" y="28275"/>
                        <a:pt x="925" y="35125"/>
                      </a:cubicBezTo>
                      <a:cubicBezTo>
                        <a:pt x="-570" y="41851"/>
                        <a:pt x="53" y="47706"/>
                        <a:pt x="6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8" name="Freeform 8255">
                  <a:extLst>
                    <a:ext uri="{FF2B5EF4-FFF2-40B4-BE49-F238E27FC236}">
                      <a16:creationId xmlns:a16="http://schemas.microsoft.com/office/drawing/2014/main" id="{32D660F7-97C1-7F40-2BCF-BF74B1DF10A7}"/>
                    </a:ext>
                  </a:extLst>
                </p:cNvPr>
                <p:cNvSpPr/>
                <p:nvPr/>
              </p:nvSpPr>
              <p:spPr>
                <a:xfrm>
                  <a:off x="4324391" y="1859405"/>
                  <a:ext cx="26657" cy="26596"/>
                </a:xfrm>
                <a:custGeom>
                  <a:avLst/>
                  <a:gdLst>
                    <a:gd name="connsiteX0" fmla="*/ 127 w 26657"/>
                    <a:gd name="connsiteY0" fmla="*/ 11152 h 26596"/>
                    <a:gd name="connsiteX1" fmla="*/ 15198 w 26657"/>
                    <a:gd name="connsiteY1" fmla="*/ 191 h 26596"/>
                    <a:gd name="connsiteX2" fmla="*/ 26533 w 26657"/>
                    <a:gd name="connsiteY2" fmla="*/ 15138 h 26596"/>
                    <a:gd name="connsiteX3" fmla="*/ 11337 w 26657"/>
                    <a:gd name="connsiteY3" fmla="*/ 26473 h 26596"/>
                    <a:gd name="connsiteX4" fmla="*/ 127 w 26657"/>
                    <a:gd name="connsiteY4" fmla="*/ 11152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5">
                      <a:moveTo>
                        <a:pt x="127" y="11152"/>
                      </a:moveTo>
                      <a:cubicBezTo>
                        <a:pt x="1248" y="3928"/>
                        <a:pt x="7974" y="-1055"/>
                        <a:pt x="15198" y="191"/>
                      </a:cubicBezTo>
                      <a:cubicBezTo>
                        <a:pt x="22423" y="1312"/>
                        <a:pt x="27530" y="7789"/>
                        <a:pt x="26533" y="15138"/>
                      </a:cubicBezTo>
                      <a:cubicBezTo>
                        <a:pt x="25537" y="22362"/>
                        <a:pt x="18686" y="27469"/>
                        <a:pt x="11337" y="26473"/>
                      </a:cubicBezTo>
                      <a:cubicBezTo>
                        <a:pt x="4113" y="25227"/>
                        <a:pt x="-870" y="18376"/>
                        <a:pt x="12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9" name="Freeform 8256">
                  <a:extLst>
                    <a:ext uri="{FF2B5EF4-FFF2-40B4-BE49-F238E27FC236}">
                      <a16:creationId xmlns:a16="http://schemas.microsoft.com/office/drawing/2014/main" id="{0E5AC276-3092-9B35-AAE7-38058243A5BE}"/>
                    </a:ext>
                  </a:extLst>
                </p:cNvPr>
                <p:cNvSpPr/>
                <p:nvPr/>
              </p:nvSpPr>
              <p:spPr>
                <a:xfrm>
                  <a:off x="4342703" y="1757956"/>
                  <a:ext cx="8220" cy="51442"/>
                </a:xfrm>
                <a:custGeom>
                  <a:avLst/>
                  <a:gdLst>
                    <a:gd name="connsiteX0" fmla="*/ 8221 w 8220"/>
                    <a:gd name="connsiteY0" fmla="*/ 0 h 51442"/>
                    <a:gd name="connsiteX1" fmla="*/ 3612 w 8220"/>
                    <a:gd name="connsiteY1" fmla="*/ 18185 h 51442"/>
                    <a:gd name="connsiteX2" fmla="*/ 4484 w 8220"/>
                    <a:gd name="connsiteY2" fmla="*/ 35624 h 51442"/>
                    <a:gd name="connsiteX3" fmla="*/ 0 w 8220"/>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220" h="51442">
                      <a:moveTo>
                        <a:pt x="8221" y="0"/>
                      </a:moveTo>
                      <a:cubicBezTo>
                        <a:pt x="4609" y="7598"/>
                        <a:pt x="3737" y="13826"/>
                        <a:pt x="3612" y="18185"/>
                      </a:cubicBezTo>
                      <a:cubicBezTo>
                        <a:pt x="3363" y="25161"/>
                        <a:pt x="4982" y="28524"/>
                        <a:pt x="4484" y="35624"/>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0" name="Freeform 8257">
                  <a:extLst>
                    <a:ext uri="{FF2B5EF4-FFF2-40B4-BE49-F238E27FC236}">
                      <a16:creationId xmlns:a16="http://schemas.microsoft.com/office/drawing/2014/main" id="{29FF2502-6D9E-C464-EE6E-0282A5116E3E}"/>
                    </a:ext>
                  </a:extLst>
                </p:cNvPr>
                <p:cNvSpPr/>
                <p:nvPr/>
              </p:nvSpPr>
              <p:spPr>
                <a:xfrm>
                  <a:off x="4351061" y="1754095"/>
                  <a:ext cx="8136" cy="51691"/>
                </a:xfrm>
                <a:custGeom>
                  <a:avLst/>
                  <a:gdLst>
                    <a:gd name="connsiteX0" fmla="*/ 610 w 8136"/>
                    <a:gd name="connsiteY0" fmla="*/ 51691 h 51691"/>
                    <a:gd name="connsiteX1" fmla="*/ 1357 w 8136"/>
                    <a:gd name="connsiteY1" fmla="*/ 32883 h 51691"/>
                    <a:gd name="connsiteX2" fmla="*/ 7211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1" y="16442"/>
                      </a:cubicBezTo>
                      <a:cubicBezTo>
                        <a:pt x="8706" y="9716"/>
                        <a:pt x="8083"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1" name="Freeform 8258">
                  <a:extLst>
                    <a:ext uri="{FF2B5EF4-FFF2-40B4-BE49-F238E27FC236}">
                      <a16:creationId xmlns:a16="http://schemas.microsoft.com/office/drawing/2014/main" id="{8428122A-705D-DAA8-4E5C-F6AD9ED61F16}"/>
                    </a:ext>
                  </a:extLst>
                </p:cNvPr>
                <p:cNvSpPr/>
                <p:nvPr/>
              </p:nvSpPr>
              <p:spPr>
                <a:xfrm>
                  <a:off x="4342421" y="1738243"/>
                  <a:ext cx="26316" cy="26563"/>
                </a:xfrm>
                <a:custGeom>
                  <a:avLst/>
                  <a:gdLst>
                    <a:gd name="connsiteX0" fmla="*/ 26190 w 26316"/>
                    <a:gd name="connsiteY0" fmla="*/ 15104 h 26563"/>
                    <a:gd name="connsiteX1" fmla="*/ 11243 w 26316"/>
                    <a:gd name="connsiteY1" fmla="*/ 26439 h 26563"/>
                    <a:gd name="connsiteX2" fmla="*/ 158 w 26316"/>
                    <a:gd name="connsiteY2" fmla="*/ 11243 h 26563"/>
                    <a:gd name="connsiteX3" fmla="*/ 15104 w 26316"/>
                    <a:gd name="connsiteY3" fmla="*/ 158 h 26563"/>
                    <a:gd name="connsiteX4" fmla="*/ 26190 w 26316"/>
                    <a:gd name="connsiteY4" fmla="*/ 15104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3">
                      <a:moveTo>
                        <a:pt x="26190" y="15104"/>
                      </a:moveTo>
                      <a:cubicBezTo>
                        <a:pt x="25193" y="22329"/>
                        <a:pt x="18467" y="27436"/>
                        <a:pt x="11243" y="26439"/>
                      </a:cubicBezTo>
                      <a:cubicBezTo>
                        <a:pt x="4019" y="25318"/>
                        <a:pt x="-964" y="18468"/>
                        <a:pt x="158" y="11243"/>
                      </a:cubicBezTo>
                      <a:cubicBezTo>
                        <a:pt x="1279" y="4019"/>
                        <a:pt x="7880" y="-963"/>
                        <a:pt x="15104" y="158"/>
                      </a:cubicBezTo>
                      <a:cubicBezTo>
                        <a:pt x="22204" y="1154"/>
                        <a:pt x="27186" y="7756"/>
                        <a:pt x="26190" y="151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7" name="Graphic 2987">
                <a:extLst>
                  <a:ext uri="{FF2B5EF4-FFF2-40B4-BE49-F238E27FC236}">
                    <a16:creationId xmlns:a16="http://schemas.microsoft.com/office/drawing/2014/main" id="{56BE8969-2C84-47BB-8FFD-E2F468D56278}"/>
                  </a:ext>
                </a:extLst>
              </p:cNvPr>
              <p:cNvGrpSpPr/>
              <p:nvPr/>
            </p:nvGrpSpPr>
            <p:grpSpPr>
              <a:xfrm>
                <a:off x="4294964" y="1733635"/>
                <a:ext cx="44533" cy="147575"/>
                <a:chOff x="4294964" y="1733635"/>
                <a:chExt cx="44533" cy="147575"/>
              </a:xfrm>
              <a:grpFill/>
            </p:grpSpPr>
            <p:sp>
              <p:nvSpPr>
                <p:cNvPr id="5970" name="Freeform 8260">
                  <a:extLst>
                    <a:ext uri="{FF2B5EF4-FFF2-40B4-BE49-F238E27FC236}">
                      <a16:creationId xmlns:a16="http://schemas.microsoft.com/office/drawing/2014/main" id="{3E025DCD-5F68-91A8-5E61-4C306CC93F27}"/>
                    </a:ext>
                  </a:extLst>
                </p:cNvPr>
                <p:cNvSpPr/>
                <p:nvPr/>
              </p:nvSpPr>
              <p:spPr>
                <a:xfrm>
                  <a:off x="4312934" y="1810022"/>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1" name="Freeform 8261">
                  <a:extLst>
                    <a:ext uri="{FF2B5EF4-FFF2-40B4-BE49-F238E27FC236}">
                      <a16:creationId xmlns:a16="http://schemas.microsoft.com/office/drawing/2014/main" id="{EA55C4DC-D054-DD18-2913-0520DC1F04BB}"/>
                    </a:ext>
                  </a:extLst>
                </p:cNvPr>
                <p:cNvSpPr/>
                <p:nvPr/>
              </p:nvSpPr>
              <p:spPr>
                <a:xfrm>
                  <a:off x="4304368" y="1813758"/>
                  <a:ext cx="8395" cy="51691"/>
                </a:xfrm>
                <a:custGeom>
                  <a:avLst/>
                  <a:gdLst>
                    <a:gd name="connsiteX0" fmla="*/ 7819 w 8395"/>
                    <a:gd name="connsiteY0" fmla="*/ 0 h 51691"/>
                    <a:gd name="connsiteX1" fmla="*/ 6947 w 8395"/>
                    <a:gd name="connsiteY1" fmla="*/ 18808 h 51691"/>
                    <a:gd name="connsiteX2" fmla="*/ 968 w 8395"/>
                    <a:gd name="connsiteY2" fmla="*/ 35125 h 51691"/>
                    <a:gd name="connsiteX3" fmla="*/ 719 w 839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0"/>
                      </a:moveTo>
                      <a:cubicBezTo>
                        <a:pt x="9064" y="8345"/>
                        <a:pt x="8068" y="14573"/>
                        <a:pt x="6947" y="18808"/>
                      </a:cubicBezTo>
                      <a:cubicBezTo>
                        <a:pt x="5203" y="25534"/>
                        <a:pt x="2587" y="28275"/>
                        <a:pt x="968" y="35125"/>
                      </a:cubicBezTo>
                      <a:cubicBezTo>
                        <a:pt x="-527" y="41851"/>
                        <a:pt x="-29" y="47706"/>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2" name="Freeform 8262">
                  <a:extLst>
                    <a:ext uri="{FF2B5EF4-FFF2-40B4-BE49-F238E27FC236}">
                      <a16:creationId xmlns:a16="http://schemas.microsoft.com/office/drawing/2014/main" id="{869B754F-3B34-867D-A2CA-764C492A36A7}"/>
                    </a:ext>
                  </a:extLst>
                </p:cNvPr>
                <p:cNvSpPr/>
                <p:nvPr/>
              </p:nvSpPr>
              <p:spPr>
                <a:xfrm>
                  <a:off x="4294964" y="1854671"/>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9" y="3928"/>
                        <a:pt x="8005" y="-1055"/>
                        <a:pt x="15353" y="191"/>
                      </a:cubicBezTo>
                      <a:cubicBezTo>
                        <a:pt x="22578" y="1312"/>
                        <a:pt x="27685" y="8163"/>
                        <a:pt x="26564" y="15387"/>
                      </a:cubicBezTo>
                      <a:cubicBezTo>
                        <a:pt x="25443" y="22611"/>
                        <a:pt x="18717"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3" name="Freeform 8263">
                  <a:extLst>
                    <a:ext uri="{FF2B5EF4-FFF2-40B4-BE49-F238E27FC236}">
                      <a16:creationId xmlns:a16="http://schemas.microsoft.com/office/drawing/2014/main" id="{E2A97C8A-E34B-22CF-4481-9C0C0006A5D5}"/>
                    </a:ext>
                  </a:extLst>
                </p:cNvPr>
                <p:cNvSpPr/>
                <p:nvPr/>
              </p:nvSpPr>
              <p:spPr>
                <a:xfrm>
                  <a:off x="4313307" y="1753348"/>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858" y="7598"/>
                        <a:pt x="3861" y="13826"/>
                        <a:pt x="3737" y="18185"/>
                      </a:cubicBezTo>
                      <a:cubicBezTo>
                        <a:pt x="3488" y="25161"/>
                        <a:pt x="5107" y="28524"/>
                        <a:pt x="4609" y="35623"/>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4" name="Freeform 8264">
                  <a:extLst>
                    <a:ext uri="{FF2B5EF4-FFF2-40B4-BE49-F238E27FC236}">
                      <a16:creationId xmlns:a16="http://schemas.microsoft.com/office/drawing/2014/main" id="{488F4B39-4EE6-234D-EA74-85728CED9414}"/>
                    </a:ext>
                  </a:extLst>
                </p:cNvPr>
                <p:cNvSpPr/>
                <p:nvPr/>
              </p:nvSpPr>
              <p:spPr>
                <a:xfrm>
                  <a:off x="4321819" y="1749487"/>
                  <a:ext cx="8150" cy="51691"/>
                </a:xfrm>
                <a:custGeom>
                  <a:avLst/>
                  <a:gdLst>
                    <a:gd name="connsiteX0" fmla="*/ 581 w 8150"/>
                    <a:gd name="connsiteY0" fmla="*/ 51691 h 51691"/>
                    <a:gd name="connsiteX1" fmla="*/ 1328 w 8150"/>
                    <a:gd name="connsiteY1" fmla="*/ 32883 h 51691"/>
                    <a:gd name="connsiteX2" fmla="*/ 7183 w 8150"/>
                    <a:gd name="connsiteY2" fmla="*/ 16566 h 51691"/>
                    <a:gd name="connsiteX3" fmla="*/ 7432 w 8150"/>
                    <a:gd name="connsiteY3" fmla="*/ 0 h 51691"/>
                  </a:gdLst>
                  <a:ahLst/>
                  <a:cxnLst>
                    <a:cxn ang="0">
                      <a:pos x="connsiteX0" y="connsiteY0"/>
                    </a:cxn>
                    <a:cxn ang="0">
                      <a:pos x="connsiteX1" y="connsiteY1"/>
                    </a:cxn>
                    <a:cxn ang="0">
                      <a:pos x="connsiteX2" y="connsiteY2"/>
                    </a:cxn>
                    <a:cxn ang="0">
                      <a:pos x="connsiteX3" y="connsiteY3"/>
                    </a:cxn>
                  </a:cxnLst>
                  <a:rect l="l" t="t" r="r" b="b"/>
                  <a:pathLst>
                    <a:path w="8150" h="51690">
                      <a:moveTo>
                        <a:pt x="581" y="51691"/>
                      </a:moveTo>
                      <a:cubicBezTo>
                        <a:pt x="-664" y="43346"/>
                        <a:pt x="332" y="37118"/>
                        <a:pt x="1328" y="32883"/>
                      </a:cubicBezTo>
                      <a:cubicBezTo>
                        <a:pt x="3072" y="26157"/>
                        <a:pt x="5688" y="23417"/>
                        <a:pt x="7183" y="16566"/>
                      </a:cubicBezTo>
                      <a:cubicBezTo>
                        <a:pt x="8678" y="9840"/>
                        <a:pt x="8179" y="3986"/>
                        <a:pt x="74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5" name="Freeform 8265">
                  <a:extLst>
                    <a:ext uri="{FF2B5EF4-FFF2-40B4-BE49-F238E27FC236}">
                      <a16:creationId xmlns:a16="http://schemas.microsoft.com/office/drawing/2014/main" id="{3EEB07AE-1F46-2702-867F-20859843A1CA}"/>
                    </a:ext>
                  </a:extLst>
                </p:cNvPr>
                <p:cNvSpPr/>
                <p:nvPr/>
              </p:nvSpPr>
              <p:spPr>
                <a:xfrm>
                  <a:off x="4313150" y="1733635"/>
                  <a:ext cx="26347" cy="26596"/>
                </a:xfrm>
                <a:custGeom>
                  <a:avLst/>
                  <a:gdLst>
                    <a:gd name="connsiteX0" fmla="*/ 26190 w 26347"/>
                    <a:gd name="connsiteY0" fmla="*/ 15354 h 26596"/>
                    <a:gd name="connsiteX1" fmla="*/ 11243 w 26347"/>
                    <a:gd name="connsiteY1" fmla="*/ 26439 h 26596"/>
                    <a:gd name="connsiteX2" fmla="*/ 158 w 26347"/>
                    <a:gd name="connsiteY2" fmla="*/ 11243 h 26596"/>
                    <a:gd name="connsiteX3" fmla="*/ 15104 w 26347"/>
                    <a:gd name="connsiteY3" fmla="*/ 158 h 26596"/>
                    <a:gd name="connsiteX4" fmla="*/ 26190 w 26347"/>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95">
                      <a:moveTo>
                        <a:pt x="26190" y="15354"/>
                      </a:moveTo>
                      <a:cubicBezTo>
                        <a:pt x="25069" y="22578"/>
                        <a:pt x="18468" y="27560"/>
                        <a:pt x="11243" y="26439"/>
                      </a:cubicBezTo>
                      <a:cubicBezTo>
                        <a:pt x="4019" y="25318"/>
                        <a:pt x="-963" y="18468"/>
                        <a:pt x="158" y="11243"/>
                      </a:cubicBezTo>
                      <a:cubicBezTo>
                        <a:pt x="1279" y="4019"/>
                        <a:pt x="8005" y="-963"/>
                        <a:pt x="15104" y="158"/>
                      </a:cubicBezTo>
                      <a:cubicBezTo>
                        <a:pt x="22329" y="1279"/>
                        <a:pt x="27311" y="8129"/>
                        <a:pt x="26190"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8" name="Graphic 2987">
                <a:extLst>
                  <a:ext uri="{FF2B5EF4-FFF2-40B4-BE49-F238E27FC236}">
                    <a16:creationId xmlns:a16="http://schemas.microsoft.com/office/drawing/2014/main" id="{BED4BAFB-5152-5A3A-F825-B79A8DA8BC6D}"/>
                  </a:ext>
                </a:extLst>
              </p:cNvPr>
              <p:cNvGrpSpPr/>
              <p:nvPr/>
            </p:nvGrpSpPr>
            <p:grpSpPr>
              <a:xfrm>
                <a:off x="4265444" y="1728902"/>
                <a:ext cx="45003" cy="147700"/>
                <a:chOff x="4265444" y="1728902"/>
                <a:chExt cx="45003" cy="147700"/>
              </a:xfrm>
              <a:grpFill/>
            </p:grpSpPr>
            <p:sp>
              <p:nvSpPr>
                <p:cNvPr id="5964" name="Freeform 8267">
                  <a:extLst>
                    <a:ext uri="{FF2B5EF4-FFF2-40B4-BE49-F238E27FC236}">
                      <a16:creationId xmlns:a16="http://schemas.microsoft.com/office/drawing/2014/main" id="{D10FF366-FF20-221F-F202-1F9A8114EBF7}"/>
                    </a:ext>
                  </a:extLst>
                </p:cNvPr>
                <p:cNvSpPr/>
                <p:nvPr/>
              </p:nvSpPr>
              <p:spPr>
                <a:xfrm>
                  <a:off x="4283538" y="1805413"/>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60"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5" name="Freeform 8268">
                  <a:extLst>
                    <a:ext uri="{FF2B5EF4-FFF2-40B4-BE49-F238E27FC236}">
                      <a16:creationId xmlns:a16="http://schemas.microsoft.com/office/drawing/2014/main" id="{8B499AA0-D8FE-183D-143B-27E648AB2158}"/>
                    </a:ext>
                  </a:extLst>
                </p:cNvPr>
                <p:cNvSpPr/>
                <p:nvPr/>
              </p:nvSpPr>
              <p:spPr>
                <a:xfrm>
                  <a:off x="4275083" y="1809025"/>
                  <a:ext cx="8409" cy="51691"/>
                </a:xfrm>
                <a:custGeom>
                  <a:avLst/>
                  <a:gdLst>
                    <a:gd name="connsiteX0" fmla="*/ 7832 w 8409"/>
                    <a:gd name="connsiteY0" fmla="*/ 0 h 51691"/>
                    <a:gd name="connsiteX1" fmla="*/ 6960 w 8409"/>
                    <a:gd name="connsiteY1" fmla="*/ 18808 h 51691"/>
                    <a:gd name="connsiteX2" fmla="*/ 981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601" y="28275"/>
                        <a:pt x="981"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6" name="Freeform 8269">
                  <a:extLst>
                    <a:ext uri="{FF2B5EF4-FFF2-40B4-BE49-F238E27FC236}">
                      <a16:creationId xmlns:a16="http://schemas.microsoft.com/office/drawing/2014/main" id="{30AFBF10-5669-E381-513A-6B119D6884D5}"/>
                    </a:ext>
                  </a:extLst>
                </p:cNvPr>
                <p:cNvSpPr/>
                <p:nvPr/>
              </p:nvSpPr>
              <p:spPr>
                <a:xfrm>
                  <a:off x="4265444" y="1850063"/>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8" y="3928"/>
                        <a:pt x="8129" y="-1055"/>
                        <a:pt x="15353" y="191"/>
                      </a:cubicBezTo>
                      <a:cubicBezTo>
                        <a:pt x="22578" y="1437"/>
                        <a:pt x="27685" y="8163"/>
                        <a:pt x="26564" y="15387"/>
                      </a:cubicBezTo>
                      <a:cubicBezTo>
                        <a:pt x="25443" y="22611"/>
                        <a:pt x="18717" y="27594"/>
                        <a:pt x="11368" y="26348"/>
                      </a:cubicBezTo>
                      <a:cubicBezTo>
                        <a:pt x="4019" y="25103"/>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7" name="Freeform 8270">
                  <a:extLst>
                    <a:ext uri="{FF2B5EF4-FFF2-40B4-BE49-F238E27FC236}">
                      <a16:creationId xmlns:a16="http://schemas.microsoft.com/office/drawing/2014/main" id="{31C8578C-2D37-B5F9-8057-666757F2EE83}"/>
                    </a:ext>
                  </a:extLst>
                </p:cNvPr>
                <p:cNvSpPr/>
                <p:nvPr/>
              </p:nvSpPr>
              <p:spPr>
                <a:xfrm>
                  <a:off x="4284036" y="1748615"/>
                  <a:ext cx="8594" cy="51442"/>
                </a:xfrm>
                <a:custGeom>
                  <a:avLst/>
                  <a:gdLst>
                    <a:gd name="connsiteX0" fmla="*/ 8595 w 8594"/>
                    <a:gd name="connsiteY0" fmla="*/ 0 h 51442"/>
                    <a:gd name="connsiteX1" fmla="*/ 3861 w 8594"/>
                    <a:gd name="connsiteY1" fmla="*/ 18185 h 51442"/>
                    <a:gd name="connsiteX2" fmla="*/ 4609 w 8594"/>
                    <a:gd name="connsiteY2" fmla="*/ 35624 h 51442"/>
                    <a:gd name="connsiteX3" fmla="*/ 0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0"/>
                      </a:moveTo>
                      <a:cubicBezTo>
                        <a:pt x="4982" y="7598"/>
                        <a:pt x="3986" y="13826"/>
                        <a:pt x="3861" y="18185"/>
                      </a:cubicBezTo>
                      <a:cubicBezTo>
                        <a:pt x="3612" y="25161"/>
                        <a:pt x="5231" y="28524"/>
                        <a:pt x="4609"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8" name="Freeform 8271">
                  <a:extLst>
                    <a:ext uri="{FF2B5EF4-FFF2-40B4-BE49-F238E27FC236}">
                      <a16:creationId xmlns:a16="http://schemas.microsoft.com/office/drawing/2014/main" id="{3792B103-1706-86CE-8087-D7793034EEA4}"/>
                    </a:ext>
                  </a:extLst>
                </p:cNvPr>
                <p:cNvSpPr/>
                <p:nvPr/>
              </p:nvSpPr>
              <p:spPr>
                <a:xfrm>
                  <a:off x="4292552" y="1744753"/>
                  <a:ext cx="8408" cy="51691"/>
                </a:xfrm>
                <a:custGeom>
                  <a:avLst/>
                  <a:gdLst>
                    <a:gd name="connsiteX0" fmla="*/ 577 w 8408"/>
                    <a:gd name="connsiteY0" fmla="*/ 51691 h 51691"/>
                    <a:gd name="connsiteX1" fmla="*/ 1448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8"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9" name="Freeform 8272">
                  <a:extLst>
                    <a:ext uri="{FF2B5EF4-FFF2-40B4-BE49-F238E27FC236}">
                      <a16:creationId xmlns:a16="http://schemas.microsoft.com/office/drawing/2014/main" id="{66A228DB-3EC4-A40B-572F-7CAC392DEB1D}"/>
                    </a:ext>
                  </a:extLst>
                </p:cNvPr>
                <p:cNvSpPr/>
                <p:nvPr/>
              </p:nvSpPr>
              <p:spPr>
                <a:xfrm>
                  <a:off x="4284031" y="1728902"/>
                  <a:ext cx="26415" cy="26596"/>
                </a:xfrm>
                <a:custGeom>
                  <a:avLst/>
                  <a:gdLst>
                    <a:gd name="connsiteX0" fmla="*/ 26286 w 26415"/>
                    <a:gd name="connsiteY0" fmla="*/ 15354 h 26596"/>
                    <a:gd name="connsiteX1" fmla="*/ 11215 w 26415"/>
                    <a:gd name="connsiteY1" fmla="*/ 26439 h 26596"/>
                    <a:gd name="connsiteX2" fmla="*/ 129 w 26415"/>
                    <a:gd name="connsiteY2" fmla="*/ 11243 h 26596"/>
                    <a:gd name="connsiteX3" fmla="*/ 15201 w 26415"/>
                    <a:gd name="connsiteY3" fmla="*/ 158 h 26596"/>
                    <a:gd name="connsiteX4" fmla="*/ 26286 w 26415"/>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95">
                      <a:moveTo>
                        <a:pt x="26286" y="15354"/>
                      </a:moveTo>
                      <a:cubicBezTo>
                        <a:pt x="25165" y="22578"/>
                        <a:pt x="18439" y="27560"/>
                        <a:pt x="11215" y="26439"/>
                      </a:cubicBezTo>
                      <a:cubicBezTo>
                        <a:pt x="3991" y="25318"/>
                        <a:pt x="-867" y="18468"/>
                        <a:pt x="129" y="11243"/>
                      </a:cubicBezTo>
                      <a:cubicBezTo>
                        <a:pt x="1250" y="4019"/>
                        <a:pt x="7976" y="-963"/>
                        <a:pt x="15201" y="158"/>
                      </a:cubicBezTo>
                      <a:cubicBezTo>
                        <a:pt x="22425" y="1403"/>
                        <a:pt x="27283" y="8129"/>
                        <a:pt x="26286"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9" name="Graphic 2987">
                <a:extLst>
                  <a:ext uri="{FF2B5EF4-FFF2-40B4-BE49-F238E27FC236}">
                    <a16:creationId xmlns:a16="http://schemas.microsoft.com/office/drawing/2014/main" id="{90567D85-E284-D30E-2C2E-F315A72763F1}"/>
                  </a:ext>
                </a:extLst>
              </p:cNvPr>
              <p:cNvGrpSpPr/>
              <p:nvPr/>
            </p:nvGrpSpPr>
            <p:grpSpPr>
              <a:xfrm>
                <a:off x="4236049" y="1724259"/>
                <a:ext cx="45283" cy="147609"/>
                <a:chOff x="4236049" y="1724259"/>
                <a:chExt cx="45283" cy="147609"/>
              </a:xfrm>
              <a:grpFill/>
            </p:grpSpPr>
            <p:sp>
              <p:nvSpPr>
                <p:cNvPr id="5958" name="Freeform 8274">
                  <a:extLst>
                    <a:ext uri="{FF2B5EF4-FFF2-40B4-BE49-F238E27FC236}">
                      <a16:creationId xmlns:a16="http://schemas.microsoft.com/office/drawing/2014/main" id="{392C2EDC-FCEC-BA58-7F73-A05942906F14}"/>
                    </a:ext>
                  </a:extLst>
                </p:cNvPr>
                <p:cNvSpPr/>
                <p:nvPr/>
              </p:nvSpPr>
              <p:spPr>
                <a:xfrm>
                  <a:off x="4254018" y="1800680"/>
                  <a:ext cx="8719" cy="51442"/>
                </a:xfrm>
                <a:custGeom>
                  <a:avLst/>
                  <a:gdLst>
                    <a:gd name="connsiteX0" fmla="*/ 0 w 8719"/>
                    <a:gd name="connsiteY0" fmla="*/ 51442 h 51442"/>
                    <a:gd name="connsiteX1" fmla="*/ 4858 w 8719"/>
                    <a:gd name="connsiteY1" fmla="*/ 33257 h 51442"/>
                    <a:gd name="connsiteX2" fmla="*/ 4110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4"/>
                        <a:pt x="4609" y="37616"/>
                        <a:pt x="4858" y="33257"/>
                      </a:cubicBezTo>
                      <a:cubicBezTo>
                        <a:pt x="5107" y="26282"/>
                        <a:pt x="3488" y="22919"/>
                        <a:pt x="4110"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9" name="Freeform 8275">
                  <a:extLst>
                    <a:ext uri="{FF2B5EF4-FFF2-40B4-BE49-F238E27FC236}">
                      <a16:creationId xmlns:a16="http://schemas.microsoft.com/office/drawing/2014/main" id="{CD6C1204-D1BF-0A12-5BF4-6227909D0084}"/>
                    </a:ext>
                  </a:extLst>
                </p:cNvPr>
                <p:cNvSpPr/>
                <p:nvPr/>
              </p:nvSpPr>
              <p:spPr>
                <a:xfrm>
                  <a:off x="4245812" y="1804417"/>
                  <a:ext cx="8409" cy="51691"/>
                </a:xfrm>
                <a:custGeom>
                  <a:avLst/>
                  <a:gdLst>
                    <a:gd name="connsiteX0" fmla="*/ 7832 w 8409"/>
                    <a:gd name="connsiteY0" fmla="*/ 0 h 51691"/>
                    <a:gd name="connsiteX1" fmla="*/ 6960 w 8409"/>
                    <a:gd name="connsiteY1" fmla="*/ 18808 h 51691"/>
                    <a:gd name="connsiteX2" fmla="*/ 982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476" y="28275"/>
                        <a:pt x="982"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0" name="Freeform 8276">
                  <a:extLst>
                    <a:ext uri="{FF2B5EF4-FFF2-40B4-BE49-F238E27FC236}">
                      <a16:creationId xmlns:a16="http://schemas.microsoft.com/office/drawing/2014/main" id="{36CBC0FA-DC7D-4EB4-6A94-B144D4CD0B81}"/>
                    </a:ext>
                  </a:extLst>
                </p:cNvPr>
                <p:cNvSpPr/>
                <p:nvPr/>
              </p:nvSpPr>
              <p:spPr>
                <a:xfrm>
                  <a:off x="4236049" y="1845330"/>
                  <a:ext cx="26690" cy="26539"/>
                </a:xfrm>
                <a:custGeom>
                  <a:avLst/>
                  <a:gdLst>
                    <a:gd name="connsiteX0" fmla="*/ 157 w 26690"/>
                    <a:gd name="connsiteY0" fmla="*/ 11152 h 26539"/>
                    <a:gd name="connsiteX1" fmla="*/ 15353 w 26690"/>
                    <a:gd name="connsiteY1" fmla="*/ 191 h 26539"/>
                    <a:gd name="connsiteX2" fmla="*/ 26564 w 26690"/>
                    <a:gd name="connsiteY2" fmla="*/ 15387 h 26539"/>
                    <a:gd name="connsiteX3" fmla="*/ 11368 w 26690"/>
                    <a:gd name="connsiteY3" fmla="*/ 26348 h 26539"/>
                    <a:gd name="connsiteX4" fmla="*/ 157 w 26690"/>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38">
                      <a:moveTo>
                        <a:pt x="157" y="11152"/>
                      </a:moveTo>
                      <a:cubicBezTo>
                        <a:pt x="1278" y="3928"/>
                        <a:pt x="8129" y="-1055"/>
                        <a:pt x="15353" y="191"/>
                      </a:cubicBezTo>
                      <a:cubicBezTo>
                        <a:pt x="22578" y="1437"/>
                        <a:pt x="27560" y="8163"/>
                        <a:pt x="26564" y="15387"/>
                      </a:cubicBezTo>
                      <a:cubicBezTo>
                        <a:pt x="25567" y="22611"/>
                        <a:pt x="18592"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1" name="Freeform 8277">
                  <a:extLst>
                    <a:ext uri="{FF2B5EF4-FFF2-40B4-BE49-F238E27FC236}">
                      <a16:creationId xmlns:a16="http://schemas.microsoft.com/office/drawing/2014/main" id="{DBE41100-092F-6F64-091B-11B400683D11}"/>
                    </a:ext>
                  </a:extLst>
                </p:cNvPr>
                <p:cNvSpPr/>
                <p:nvPr/>
              </p:nvSpPr>
              <p:spPr>
                <a:xfrm>
                  <a:off x="4254765" y="1744006"/>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2" y="7598"/>
                        <a:pt x="4111" y="13826"/>
                        <a:pt x="3861" y="18185"/>
                      </a:cubicBezTo>
                      <a:cubicBezTo>
                        <a:pt x="3612" y="25161"/>
                        <a:pt x="5232" y="28524"/>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2" name="Freeform 8278">
                  <a:extLst>
                    <a:ext uri="{FF2B5EF4-FFF2-40B4-BE49-F238E27FC236}">
                      <a16:creationId xmlns:a16="http://schemas.microsoft.com/office/drawing/2014/main" id="{AEEAD5E0-CAA6-817B-6A94-C83C29A494F5}"/>
                    </a:ext>
                  </a:extLst>
                </p:cNvPr>
                <p:cNvSpPr/>
                <p:nvPr/>
              </p:nvSpPr>
              <p:spPr>
                <a:xfrm>
                  <a:off x="4263281" y="1740145"/>
                  <a:ext cx="8408" cy="51691"/>
                </a:xfrm>
                <a:custGeom>
                  <a:avLst/>
                  <a:gdLst>
                    <a:gd name="connsiteX0" fmla="*/ 577 w 8408"/>
                    <a:gd name="connsiteY0" fmla="*/ 51691 h 51691"/>
                    <a:gd name="connsiteX1" fmla="*/ 1449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3" name="Freeform 8279">
                  <a:extLst>
                    <a:ext uri="{FF2B5EF4-FFF2-40B4-BE49-F238E27FC236}">
                      <a16:creationId xmlns:a16="http://schemas.microsoft.com/office/drawing/2014/main" id="{2D391649-C02F-D384-638F-6B8A758DBBAF}"/>
                    </a:ext>
                  </a:extLst>
                </p:cNvPr>
                <p:cNvSpPr/>
                <p:nvPr/>
              </p:nvSpPr>
              <p:spPr>
                <a:xfrm>
                  <a:off x="4254978" y="1724259"/>
                  <a:ext cx="26353" cy="26539"/>
                </a:xfrm>
                <a:custGeom>
                  <a:avLst/>
                  <a:gdLst>
                    <a:gd name="connsiteX0" fmla="*/ 26193 w 26353"/>
                    <a:gd name="connsiteY0" fmla="*/ 15387 h 26539"/>
                    <a:gd name="connsiteX1" fmla="*/ 11122 w 26353"/>
                    <a:gd name="connsiteY1" fmla="*/ 26348 h 26539"/>
                    <a:gd name="connsiteX2" fmla="*/ 161 w 26353"/>
                    <a:gd name="connsiteY2" fmla="*/ 11152 h 26539"/>
                    <a:gd name="connsiteX3" fmla="*/ 15232 w 26353"/>
                    <a:gd name="connsiteY3" fmla="*/ 191 h 26539"/>
                    <a:gd name="connsiteX4" fmla="*/ 26193 w 26353"/>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38">
                      <a:moveTo>
                        <a:pt x="26193" y="15387"/>
                      </a:moveTo>
                      <a:cubicBezTo>
                        <a:pt x="25072" y="22611"/>
                        <a:pt x="18346" y="27594"/>
                        <a:pt x="11122" y="26348"/>
                      </a:cubicBezTo>
                      <a:cubicBezTo>
                        <a:pt x="3898" y="25227"/>
                        <a:pt x="-960" y="18376"/>
                        <a:pt x="161" y="11152"/>
                      </a:cubicBezTo>
                      <a:cubicBezTo>
                        <a:pt x="1282" y="3928"/>
                        <a:pt x="8008" y="-1055"/>
                        <a:pt x="15232" y="191"/>
                      </a:cubicBezTo>
                      <a:cubicBezTo>
                        <a:pt x="22457" y="1437"/>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0" name="Graphic 2987">
                <a:extLst>
                  <a:ext uri="{FF2B5EF4-FFF2-40B4-BE49-F238E27FC236}">
                    <a16:creationId xmlns:a16="http://schemas.microsoft.com/office/drawing/2014/main" id="{D7799FE7-FD6B-B34F-D231-068B052DDE81}"/>
                  </a:ext>
                </a:extLst>
              </p:cNvPr>
              <p:cNvGrpSpPr/>
              <p:nvPr/>
            </p:nvGrpSpPr>
            <p:grpSpPr>
              <a:xfrm>
                <a:off x="4206529" y="1719651"/>
                <a:ext cx="45657" cy="147484"/>
                <a:chOff x="4206529" y="1719651"/>
                <a:chExt cx="45657" cy="147484"/>
              </a:xfrm>
              <a:grpFill/>
            </p:grpSpPr>
            <p:sp>
              <p:nvSpPr>
                <p:cNvPr id="5952" name="Freeform 8281">
                  <a:extLst>
                    <a:ext uri="{FF2B5EF4-FFF2-40B4-BE49-F238E27FC236}">
                      <a16:creationId xmlns:a16="http://schemas.microsoft.com/office/drawing/2014/main" id="{D1784B76-6F59-F248-3879-12F65AF17348}"/>
                    </a:ext>
                  </a:extLst>
                </p:cNvPr>
                <p:cNvSpPr/>
                <p:nvPr/>
              </p:nvSpPr>
              <p:spPr>
                <a:xfrm>
                  <a:off x="4224622" y="1795947"/>
                  <a:ext cx="8843" cy="51442"/>
                </a:xfrm>
                <a:custGeom>
                  <a:avLst/>
                  <a:gdLst>
                    <a:gd name="connsiteX0" fmla="*/ 0 w 8843"/>
                    <a:gd name="connsiteY0" fmla="*/ 51442 h 51442"/>
                    <a:gd name="connsiteX1" fmla="*/ 4858 w 8843"/>
                    <a:gd name="connsiteY1" fmla="*/ 33257 h 51442"/>
                    <a:gd name="connsiteX2" fmla="*/ 4110 w 8843"/>
                    <a:gd name="connsiteY2" fmla="*/ 15819 h 51442"/>
                    <a:gd name="connsiteX3" fmla="*/ 8843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0" y="51442"/>
                      </a:moveTo>
                      <a:cubicBezTo>
                        <a:pt x="3737" y="43844"/>
                        <a:pt x="4733" y="37616"/>
                        <a:pt x="4858" y="33257"/>
                      </a:cubicBezTo>
                      <a:cubicBezTo>
                        <a:pt x="5231" y="26282"/>
                        <a:pt x="3488" y="22919"/>
                        <a:pt x="4110" y="15819"/>
                      </a:cubicBezTo>
                      <a:cubicBezTo>
                        <a:pt x="4733" y="8968"/>
                        <a:pt x="6975" y="3488"/>
                        <a:pt x="8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3" name="Freeform 8282">
                  <a:extLst>
                    <a:ext uri="{FF2B5EF4-FFF2-40B4-BE49-F238E27FC236}">
                      <a16:creationId xmlns:a16="http://schemas.microsoft.com/office/drawing/2014/main" id="{E4C8FA46-4DF0-7203-4B21-500F9C2C747E}"/>
                    </a:ext>
                  </a:extLst>
                </p:cNvPr>
                <p:cNvSpPr/>
                <p:nvPr/>
              </p:nvSpPr>
              <p:spPr>
                <a:xfrm>
                  <a:off x="4216074" y="1799683"/>
                  <a:ext cx="8721" cy="51566"/>
                </a:xfrm>
                <a:custGeom>
                  <a:avLst/>
                  <a:gdLst>
                    <a:gd name="connsiteX0" fmla="*/ 8175 w 8721"/>
                    <a:gd name="connsiteY0" fmla="*/ 0 h 51566"/>
                    <a:gd name="connsiteX1" fmla="*/ 7178 w 8721"/>
                    <a:gd name="connsiteY1" fmla="*/ 18808 h 51566"/>
                    <a:gd name="connsiteX2" fmla="*/ 1075 w 8721"/>
                    <a:gd name="connsiteY2" fmla="*/ 35125 h 51566"/>
                    <a:gd name="connsiteX3" fmla="*/ 701 w 87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721" h="51566">
                      <a:moveTo>
                        <a:pt x="8175" y="0"/>
                      </a:moveTo>
                      <a:cubicBezTo>
                        <a:pt x="9420" y="8345"/>
                        <a:pt x="8299" y="14573"/>
                        <a:pt x="7178" y="18808"/>
                      </a:cubicBezTo>
                      <a:cubicBezTo>
                        <a:pt x="5310" y="25534"/>
                        <a:pt x="2694" y="28275"/>
                        <a:pt x="1075" y="35125"/>
                      </a:cubicBezTo>
                      <a:cubicBezTo>
                        <a:pt x="-544" y="41851"/>
                        <a:pt x="-46" y="47706"/>
                        <a:pt x="7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4" name="Freeform 8283">
                  <a:extLst>
                    <a:ext uri="{FF2B5EF4-FFF2-40B4-BE49-F238E27FC236}">
                      <a16:creationId xmlns:a16="http://schemas.microsoft.com/office/drawing/2014/main" id="{3BC38142-DC55-7E33-68B1-4B98387FD636}"/>
                    </a:ext>
                  </a:extLst>
                </p:cNvPr>
                <p:cNvSpPr/>
                <p:nvPr/>
              </p:nvSpPr>
              <p:spPr>
                <a:xfrm>
                  <a:off x="4206529" y="1840596"/>
                  <a:ext cx="26596" cy="26539"/>
                </a:xfrm>
                <a:custGeom>
                  <a:avLst/>
                  <a:gdLst>
                    <a:gd name="connsiteX0" fmla="*/ 158 w 26596"/>
                    <a:gd name="connsiteY0" fmla="*/ 11152 h 26539"/>
                    <a:gd name="connsiteX1" fmla="*/ 15354 w 26596"/>
                    <a:gd name="connsiteY1" fmla="*/ 191 h 26539"/>
                    <a:gd name="connsiteX2" fmla="*/ 26439 w 26596"/>
                    <a:gd name="connsiteY2" fmla="*/ 15387 h 26539"/>
                    <a:gd name="connsiteX3" fmla="*/ 11243 w 26596"/>
                    <a:gd name="connsiteY3" fmla="*/ 26348 h 26539"/>
                    <a:gd name="connsiteX4" fmla="*/ 158 w 26596"/>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38">
                      <a:moveTo>
                        <a:pt x="158" y="11152"/>
                      </a:moveTo>
                      <a:cubicBezTo>
                        <a:pt x="1279" y="3928"/>
                        <a:pt x="8129" y="-1055"/>
                        <a:pt x="15354" y="191"/>
                      </a:cubicBezTo>
                      <a:cubicBezTo>
                        <a:pt x="22578" y="1437"/>
                        <a:pt x="27560" y="8163"/>
                        <a:pt x="26439" y="15387"/>
                      </a:cubicBezTo>
                      <a:cubicBezTo>
                        <a:pt x="25318" y="22611"/>
                        <a:pt x="18468" y="27594"/>
                        <a:pt x="11243" y="26348"/>
                      </a:cubicBezTo>
                      <a:cubicBezTo>
                        <a:pt x="4019" y="25103"/>
                        <a:pt x="-963" y="18376"/>
                        <a:pt x="158"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5" name="Freeform 8284">
                  <a:extLst>
                    <a:ext uri="{FF2B5EF4-FFF2-40B4-BE49-F238E27FC236}">
                      <a16:creationId xmlns:a16="http://schemas.microsoft.com/office/drawing/2014/main" id="{6C8F59CB-3C78-9689-9407-AEC736BFDECA}"/>
                    </a:ext>
                  </a:extLst>
                </p:cNvPr>
                <p:cNvSpPr/>
                <p:nvPr/>
              </p:nvSpPr>
              <p:spPr>
                <a:xfrm>
                  <a:off x="4225494" y="1739397"/>
                  <a:ext cx="8843" cy="51442"/>
                </a:xfrm>
                <a:custGeom>
                  <a:avLst/>
                  <a:gdLst>
                    <a:gd name="connsiteX0" fmla="*/ 8844 w 8843"/>
                    <a:gd name="connsiteY0" fmla="*/ 0 h 51442"/>
                    <a:gd name="connsiteX1" fmla="*/ 3986 w 8843"/>
                    <a:gd name="connsiteY1" fmla="*/ 18185 h 51442"/>
                    <a:gd name="connsiteX2" fmla="*/ 4733 w 8843"/>
                    <a:gd name="connsiteY2" fmla="*/ 35624 h 51442"/>
                    <a:gd name="connsiteX3" fmla="*/ 0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0"/>
                      </a:moveTo>
                      <a:cubicBezTo>
                        <a:pt x="5107" y="7598"/>
                        <a:pt x="4111" y="13826"/>
                        <a:pt x="3986" y="18185"/>
                      </a:cubicBezTo>
                      <a:cubicBezTo>
                        <a:pt x="3612" y="25161"/>
                        <a:pt x="5232" y="28524"/>
                        <a:pt x="4733" y="35624"/>
                      </a:cubicBezTo>
                      <a:cubicBezTo>
                        <a:pt x="4111" y="42474"/>
                        <a:pt x="1869"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6" name="Freeform 8285">
                  <a:extLst>
                    <a:ext uri="{FF2B5EF4-FFF2-40B4-BE49-F238E27FC236}">
                      <a16:creationId xmlns:a16="http://schemas.microsoft.com/office/drawing/2014/main" id="{AC2EBFF5-E7A5-5A4B-A77F-ECC8D5553D3D}"/>
                    </a:ext>
                  </a:extLst>
                </p:cNvPr>
                <p:cNvSpPr/>
                <p:nvPr/>
              </p:nvSpPr>
              <p:spPr>
                <a:xfrm>
                  <a:off x="4234040" y="1735536"/>
                  <a:ext cx="8596" cy="51566"/>
                </a:xfrm>
                <a:custGeom>
                  <a:avLst/>
                  <a:gdLst>
                    <a:gd name="connsiteX0" fmla="*/ 547 w 8596"/>
                    <a:gd name="connsiteY0" fmla="*/ 51567 h 51566"/>
                    <a:gd name="connsiteX1" fmla="*/ 1543 w 8596"/>
                    <a:gd name="connsiteY1" fmla="*/ 32759 h 51566"/>
                    <a:gd name="connsiteX2" fmla="*/ 7522 w 8596"/>
                    <a:gd name="connsiteY2" fmla="*/ 16442 h 51566"/>
                    <a:gd name="connsiteX3" fmla="*/ 7896 w 8596"/>
                    <a:gd name="connsiteY3" fmla="*/ 0 h 51566"/>
                  </a:gdLst>
                  <a:ahLst/>
                  <a:cxnLst>
                    <a:cxn ang="0">
                      <a:pos x="connsiteX0" y="connsiteY0"/>
                    </a:cxn>
                    <a:cxn ang="0">
                      <a:pos x="connsiteX1" y="connsiteY1"/>
                    </a:cxn>
                    <a:cxn ang="0">
                      <a:pos x="connsiteX2" y="connsiteY2"/>
                    </a:cxn>
                    <a:cxn ang="0">
                      <a:pos x="connsiteX3" y="connsiteY3"/>
                    </a:cxn>
                  </a:cxnLst>
                  <a:rect l="l" t="t" r="r" b="b"/>
                  <a:pathLst>
                    <a:path w="8596" h="51566">
                      <a:moveTo>
                        <a:pt x="547" y="51567"/>
                      </a:moveTo>
                      <a:cubicBezTo>
                        <a:pt x="-699" y="43221"/>
                        <a:pt x="422" y="36994"/>
                        <a:pt x="1543" y="32759"/>
                      </a:cubicBezTo>
                      <a:cubicBezTo>
                        <a:pt x="3412" y="26033"/>
                        <a:pt x="6027" y="23292"/>
                        <a:pt x="7522" y="16442"/>
                      </a:cubicBezTo>
                      <a:cubicBezTo>
                        <a:pt x="9141" y="9715"/>
                        <a:pt x="8643" y="3861"/>
                        <a:pt x="78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7" name="Freeform 8286">
                  <a:extLst>
                    <a:ext uri="{FF2B5EF4-FFF2-40B4-BE49-F238E27FC236}">
                      <a16:creationId xmlns:a16="http://schemas.microsoft.com/office/drawing/2014/main" id="{EAA06035-C9FF-A36C-ECB3-AF616D48DD98}"/>
                    </a:ext>
                  </a:extLst>
                </p:cNvPr>
                <p:cNvSpPr/>
                <p:nvPr/>
              </p:nvSpPr>
              <p:spPr>
                <a:xfrm>
                  <a:off x="4225832" y="1719651"/>
                  <a:ext cx="26354" cy="26539"/>
                </a:xfrm>
                <a:custGeom>
                  <a:avLst/>
                  <a:gdLst>
                    <a:gd name="connsiteX0" fmla="*/ 26193 w 26354"/>
                    <a:gd name="connsiteY0" fmla="*/ 15387 h 26539"/>
                    <a:gd name="connsiteX1" fmla="*/ 11122 w 26354"/>
                    <a:gd name="connsiteY1" fmla="*/ 26348 h 26539"/>
                    <a:gd name="connsiteX2" fmla="*/ 161 w 26354"/>
                    <a:gd name="connsiteY2" fmla="*/ 11152 h 26539"/>
                    <a:gd name="connsiteX3" fmla="*/ 15232 w 26354"/>
                    <a:gd name="connsiteY3" fmla="*/ 191 h 26539"/>
                    <a:gd name="connsiteX4" fmla="*/ 26193 w 26354"/>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26193" y="15387"/>
                      </a:moveTo>
                      <a:cubicBezTo>
                        <a:pt x="25072" y="22611"/>
                        <a:pt x="18346" y="27594"/>
                        <a:pt x="11122" y="26348"/>
                      </a:cubicBezTo>
                      <a:cubicBezTo>
                        <a:pt x="3897" y="25227"/>
                        <a:pt x="-960" y="18376"/>
                        <a:pt x="161" y="11152"/>
                      </a:cubicBezTo>
                      <a:cubicBezTo>
                        <a:pt x="1282" y="3928"/>
                        <a:pt x="8133" y="-1055"/>
                        <a:pt x="15232" y="191"/>
                      </a:cubicBezTo>
                      <a:cubicBezTo>
                        <a:pt x="22457" y="1312"/>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1" name="Graphic 2987">
                <a:extLst>
                  <a:ext uri="{FF2B5EF4-FFF2-40B4-BE49-F238E27FC236}">
                    <a16:creationId xmlns:a16="http://schemas.microsoft.com/office/drawing/2014/main" id="{3D515917-D489-F14C-B490-05404E7E3220}"/>
                  </a:ext>
                </a:extLst>
              </p:cNvPr>
              <p:cNvGrpSpPr/>
              <p:nvPr/>
            </p:nvGrpSpPr>
            <p:grpSpPr>
              <a:xfrm>
                <a:off x="4177099" y="1715042"/>
                <a:ext cx="46064" cy="147360"/>
                <a:chOff x="4177099" y="1715042"/>
                <a:chExt cx="46064" cy="147360"/>
              </a:xfrm>
              <a:grpFill/>
            </p:grpSpPr>
            <p:sp>
              <p:nvSpPr>
                <p:cNvPr id="5946" name="Freeform 8288">
                  <a:extLst>
                    <a:ext uri="{FF2B5EF4-FFF2-40B4-BE49-F238E27FC236}">
                      <a16:creationId xmlns:a16="http://schemas.microsoft.com/office/drawing/2014/main" id="{09066439-0EF4-732B-F385-ACF17BE90094}"/>
                    </a:ext>
                  </a:extLst>
                </p:cNvPr>
                <p:cNvSpPr/>
                <p:nvPr/>
              </p:nvSpPr>
              <p:spPr>
                <a:xfrm>
                  <a:off x="4195102" y="1791338"/>
                  <a:ext cx="9092" cy="51442"/>
                </a:xfrm>
                <a:custGeom>
                  <a:avLst/>
                  <a:gdLst>
                    <a:gd name="connsiteX0" fmla="*/ 0 w 9092"/>
                    <a:gd name="connsiteY0" fmla="*/ 51442 h 51442"/>
                    <a:gd name="connsiteX1" fmla="*/ 4983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3" y="33257"/>
                      </a:cubicBezTo>
                      <a:cubicBezTo>
                        <a:pt x="5356" y="26282"/>
                        <a:pt x="3737" y="22919"/>
                        <a:pt x="4360" y="15819"/>
                      </a:cubicBezTo>
                      <a:cubicBezTo>
                        <a:pt x="4983" y="8968"/>
                        <a:pt x="7225"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7" name="Freeform 8289">
                  <a:extLst>
                    <a:ext uri="{FF2B5EF4-FFF2-40B4-BE49-F238E27FC236}">
                      <a16:creationId xmlns:a16="http://schemas.microsoft.com/office/drawing/2014/main" id="{540CF8D9-E2FA-914A-0819-6E2A57B0718E}"/>
                    </a:ext>
                  </a:extLst>
                </p:cNvPr>
                <p:cNvSpPr/>
                <p:nvPr/>
              </p:nvSpPr>
              <p:spPr>
                <a:xfrm>
                  <a:off x="4186788" y="1795075"/>
                  <a:ext cx="8681" cy="51566"/>
                </a:xfrm>
                <a:custGeom>
                  <a:avLst/>
                  <a:gdLst>
                    <a:gd name="connsiteX0" fmla="*/ 8190 w 8681"/>
                    <a:gd name="connsiteY0" fmla="*/ 0 h 51566"/>
                    <a:gd name="connsiteX1" fmla="*/ 7193 w 8681"/>
                    <a:gd name="connsiteY1" fmla="*/ 18808 h 51566"/>
                    <a:gd name="connsiteX2" fmla="*/ 1090 w 8681"/>
                    <a:gd name="connsiteY2" fmla="*/ 35125 h 51566"/>
                    <a:gd name="connsiteX3" fmla="*/ 592 w 868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0"/>
                      </a:moveTo>
                      <a:cubicBezTo>
                        <a:pt x="9311" y="8345"/>
                        <a:pt x="8314" y="14573"/>
                        <a:pt x="7193" y="18808"/>
                      </a:cubicBezTo>
                      <a:cubicBezTo>
                        <a:pt x="5325" y="25534"/>
                        <a:pt x="2709"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8" name="Freeform 8290">
                  <a:extLst>
                    <a:ext uri="{FF2B5EF4-FFF2-40B4-BE49-F238E27FC236}">
                      <a16:creationId xmlns:a16="http://schemas.microsoft.com/office/drawing/2014/main" id="{C590BDB7-C59D-2EE9-BCEC-0773C4A0CA3D}"/>
                    </a:ext>
                  </a:extLst>
                </p:cNvPr>
                <p:cNvSpPr/>
                <p:nvPr/>
              </p:nvSpPr>
              <p:spPr>
                <a:xfrm>
                  <a:off x="4177099" y="1835893"/>
                  <a:ext cx="26754" cy="26508"/>
                </a:xfrm>
                <a:custGeom>
                  <a:avLst/>
                  <a:gdLst>
                    <a:gd name="connsiteX0" fmla="*/ 191 w 26754"/>
                    <a:gd name="connsiteY0" fmla="*/ 11122 h 26508"/>
                    <a:gd name="connsiteX1" fmla="*/ 15512 w 26754"/>
                    <a:gd name="connsiteY1" fmla="*/ 161 h 26508"/>
                    <a:gd name="connsiteX2" fmla="*/ 26597 w 26754"/>
                    <a:gd name="connsiteY2" fmla="*/ 15357 h 26508"/>
                    <a:gd name="connsiteX3" fmla="*/ 11277 w 26754"/>
                    <a:gd name="connsiteY3" fmla="*/ 26318 h 26508"/>
                    <a:gd name="connsiteX4" fmla="*/ 191 w 26754"/>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508">
                      <a:moveTo>
                        <a:pt x="191" y="11122"/>
                      </a:moveTo>
                      <a:cubicBezTo>
                        <a:pt x="1312" y="3897"/>
                        <a:pt x="8163" y="-960"/>
                        <a:pt x="15512" y="161"/>
                      </a:cubicBezTo>
                      <a:cubicBezTo>
                        <a:pt x="22736" y="1282"/>
                        <a:pt x="27718" y="8132"/>
                        <a:pt x="26597" y="15357"/>
                      </a:cubicBezTo>
                      <a:cubicBezTo>
                        <a:pt x="25476" y="22581"/>
                        <a:pt x="18626" y="27563"/>
                        <a:pt x="11277" y="26318"/>
                      </a:cubicBezTo>
                      <a:cubicBezTo>
                        <a:pt x="3928" y="25197"/>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9" name="Freeform 8291">
                  <a:extLst>
                    <a:ext uri="{FF2B5EF4-FFF2-40B4-BE49-F238E27FC236}">
                      <a16:creationId xmlns:a16="http://schemas.microsoft.com/office/drawing/2014/main" id="{BF15ACDC-20A3-4592-EB55-9DB57FC1A293}"/>
                    </a:ext>
                  </a:extLst>
                </p:cNvPr>
                <p:cNvSpPr/>
                <p:nvPr/>
              </p:nvSpPr>
              <p:spPr>
                <a:xfrm>
                  <a:off x="4196099" y="1734789"/>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0" name="Freeform 8292">
                  <a:extLst>
                    <a:ext uri="{FF2B5EF4-FFF2-40B4-BE49-F238E27FC236}">
                      <a16:creationId xmlns:a16="http://schemas.microsoft.com/office/drawing/2014/main" id="{E5C7B933-1064-61B5-4687-97F122F70930}"/>
                    </a:ext>
                  </a:extLst>
                </p:cNvPr>
                <p:cNvSpPr/>
                <p:nvPr/>
              </p:nvSpPr>
              <p:spPr>
                <a:xfrm>
                  <a:off x="4204824" y="1730927"/>
                  <a:ext cx="8681" cy="51566"/>
                </a:xfrm>
                <a:custGeom>
                  <a:avLst/>
                  <a:gdLst>
                    <a:gd name="connsiteX0" fmla="*/ 491 w 8681"/>
                    <a:gd name="connsiteY0" fmla="*/ 51567 h 51566"/>
                    <a:gd name="connsiteX1" fmla="*/ 1488 w 8681"/>
                    <a:gd name="connsiteY1" fmla="*/ 32759 h 51566"/>
                    <a:gd name="connsiteX2" fmla="*/ 7591 w 8681"/>
                    <a:gd name="connsiteY2" fmla="*/ 16442 h 51566"/>
                    <a:gd name="connsiteX3" fmla="*/ 8090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1" y="51567"/>
                      </a:moveTo>
                      <a:cubicBezTo>
                        <a:pt x="-630" y="43222"/>
                        <a:pt x="367" y="36994"/>
                        <a:pt x="1488" y="32759"/>
                      </a:cubicBezTo>
                      <a:cubicBezTo>
                        <a:pt x="3356" y="26033"/>
                        <a:pt x="5972" y="23292"/>
                        <a:pt x="7591" y="16442"/>
                      </a:cubicBezTo>
                      <a:cubicBezTo>
                        <a:pt x="9211" y="9716"/>
                        <a:pt x="8712" y="3861"/>
                        <a:pt x="80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1" name="Freeform 8293">
                  <a:extLst>
                    <a:ext uri="{FF2B5EF4-FFF2-40B4-BE49-F238E27FC236}">
                      <a16:creationId xmlns:a16="http://schemas.microsoft.com/office/drawing/2014/main" id="{B7B3D0FF-C4EE-2E9C-5344-D7C93D1D1167}"/>
                    </a:ext>
                  </a:extLst>
                </p:cNvPr>
                <p:cNvSpPr/>
                <p:nvPr/>
              </p:nvSpPr>
              <p:spPr>
                <a:xfrm>
                  <a:off x="4196685" y="1715042"/>
                  <a:ext cx="26478" cy="26539"/>
                </a:xfrm>
                <a:custGeom>
                  <a:avLst/>
                  <a:gdLst>
                    <a:gd name="connsiteX0" fmla="*/ 26318 w 26478"/>
                    <a:gd name="connsiteY0" fmla="*/ 15387 h 26539"/>
                    <a:gd name="connsiteX1" fmla="*/ 11122 w 26478"/>
                    <a:gd name="connsiteY1" fmla="*/ 26348 h 26539"/>
                    <a:gd name="connsiteX2" fmla="*/ 161 w 26478"/>
                    <a:gd name="connsiteY2" fmla="*/ 11152 h 26539"/>
                    <a:gd name="connsiteX3" fmla="*/ 15357 w 26478"/>
                    <a:gd name="connsiteY3" fmla="*/ 191 h 26539"/>
                    <a:gd name="connsiteX4" fmla="*/ 26318 w 26478"/>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538">
                      <a:moveTo>
                        <a:pt x="26318" y="15387"/>
                      </a:moveTo>
                      <a:cubicBezTo>
                        <a:pt x="25197" y="22611"/>
                        <a:pt x="18346" y="27594"/>
                        <a:pt x="11122" y="26348"/>
                      </a:cubicBezTo>
                      <a:cubicBezTo>
                        <a:pt x="3897" y="25227"/>
                        <a:pt x="-960" y="18376"/>
                        <a:pt x="161" y="11152"/>
                      </a:cubicBezTo>
                      <a:cubicBezTo>
                        <a:pt x="1282" y="3928"/>
                        <a:pt x="8132" y="-1055"/>
                        <a:pt x="15357" y="191"/>
                      </a:cubicBezTo>
                      <a:cubicBezTo>
                        <a:pt x="22581" y="1312"/>
                        <a:pt x="27439" y="8163"/>
                        <a:pt x="2631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2" name="Graphic 2987">
                <a:extLst>
                  <a:ext uri="{FF2B5EF4-FFF2-40B4-BE49-F238E27FC236}">
                    <a16:creationId xmlns:a16="http://schemas.microsoft.com/office/drawing/2014/main" id="{5F7B073F-EF7B-8F8C-5AB0-ADAA4C90F627}"/>
                  </a:ext>
                </a:extLst>
              </p:cNvPr>
              <p:cNvGrpSpPr/>
              <p:nvPr/>
            </p:nvGrpSpPr>
            <p:grpSpPr>
              <a:xfrm>
                <a:off x="4147579" y="1710434"/>
                <a:ext cx="46441" cy="147329"/>
                <a:chOff x="4147579" y="1710434"/>
                <a:chExt cx="46441" cy="147329"/>
              </a:xfrm>
              <a:grpFill/>
            </p:grpSpPr>
            <p:sp>
              <p:nvSpPr>
                <p:cNvPr id="5940" name="Freeform 8295">
                  <a:extLst>
                    <a:ext uri="{FF2B5EF4-FFF2-40B4-BE49-F238E27FC236}">
                      <a16:creationId xmlns:a16="http://schemas.microsoft.com/office/drawing/2014/main" id="{C63F9D84-444F-17A0-345A-8DBD4D24E023}"/>
                    </a:ext>
                  </a:extLst>
                </p:cNvPr>
                <p:cNvSpPr/>
                <p:nvPr/>
              </p:nvSpPr>
              <p:spPr>
                <a:xfrm>
                  <a:off x="4165706" y="1786605"/>
                  <a:ext cx="9092" cy="51442"/>
                </a:xfrm>
                <a:custGeom>
                  <a:avLst/>
                  <a:gdLst>
                    <a:gd name="connsiteX0" fmla="*/ 0 w 9092"/>
                    <a:gd name="connsiteY0" fmla="*/ 51442 h 51442"/>
                    <a:gd name="connsiteX1" fmla="*/ 4982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2" y="33257"/>
                      </a:cubicBezTo>
                      <a:cubicBezTo>
                        <a:pt x="5356" y="26282"/>
                        <a:pt x="3737" y="22919"/>
                        <a:pt x="4360" y="15819"/>
                      </a:cubicBezTo>
                      <a:cubicBezTo>
                        <a:pt x="4982" y="8968"/>
                        <a:pt x="7349"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1" name="Freeform 8296">
                  <a:extLst>
                    <a:ext uri="{FF2B5EF4-FFF2-40B4-BE49-F238E27FC236}">
                      <a16:creationId xmlns:a16="http://schemas.microsoft.com/office/drawing/2014/main" id="{B61A05B1-3F92-D739-D518-A01E8A55FDF1}"/>
                    </a:ext>
                  </a:extLst>
                </p:cNvPr>
                <p:cNvSpPr/>
                <p:nvPr/>
              </p:nvSpPr>
              <p:spPr>
                <a:xfrm>
                  <a:off x="4157268" y="1790341"/>
                  <a:ext cx="8926" cy="51566"/>
                </a:xfrm>
                <a:custGeom>
                  <a:avLst/>
                  <a:gdLst>
                    <a:gd name="connsiteX0" fmla="*/ 8439 w 8926"/>
                    <a:gd name="connsiteY0" fmla="*/ 0 h 51566"/>
                    <a:gd name="connsiteX1" fmla="*/ 7318 w 8926"/>
                    <a:gd name="connsiteY1" fmla="*/ 18808 h 51566"/>
                    <a:gd name="connsiteX2" fmla="*/ 1090 w 8926"/>
                    <a:gd name="connsiteY2" fmla="*/ 35125 h 51566"/>
                    <a:gd name="connsiteX3" fmla="*/ 592 w 892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0"/>
                      </a:moveTo>
                      <a:cubicBezTo>
                        <a:pt x="9560" y="8345"/>
                        <a:pt x="8563" y="14573"/>
                        <a:pt x="7318" y="18808"/>
                      </a:cubicBezTo>
                      <a:cubicBezTo>
                        <a:pt x="5449" y="25534"/>
                        <a:pt x="2834"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2" name="Freeform 8297">
                  <a:extLst>
                    <a:ext uri="{FF2B5EF4-FFF2-40B4-BE49-F238E27FC236}">
                      <a16:creationId xmlns:a16="http://schemas.microsoft.com/office/drawing/2014/main" id="{E78A8A84-3B7E-9F49-AB84-43460BD0BC33}"/>
                    </a:ext>
                  </a:extLst>
                </p:cNvPr>
                <p:cNvSpPr/>
                <p:nvPr/>
              </p:nvSpPr>
              <p:spPr>
                <a:xfrm>
                  <a:off x="4147579" y="1831285"/>
                  <a:ext cx="26754" cy="26478"/>
                </a:xfrm>
                <a:custGeom>
                  <a:avLst/>
                  <a:gdLst>
                    <a:gd name="connsiteX0" fmla="*/ 191 w 26754"/>
                    <a:gd name="connsiteY0" fmla="*/ 11122 h 26478"/>
                    <a:gd name="connsiteX1" fmla="*/ 15512 w 26754"/>
                    <a:gd name="connsiteY1" fmla="*/ 161 h 26478"/>
                    <a:gd name="connsiteX2" fmla="*/ 26597 w 26754"/>
                    <a:gd name="connsiteY2" fmla="*/ 15357 h 26478"/>
                    <a:gd name="connsiteX3" fmla="*/ 11277 w 26754"/>
                    <a:gd name="connsiteY3" fmla="*/ 26318 h 26478"/>
                    <a:gd name="connsiteX4" fmla="*/ 191 w 26754"/>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191" y="11122"/>
                      </a:moveTo>
                      <a:cubicBezTo>
                        <a:pt x="1437" y="3897"/>
                        <a:pt x="8287" y="-960"/>
                        <a:pt x="15512" y="161"/>
                      </a:cubicBezTo>
                      <a:cubicBezTo>
                        <a:pt x="22736" y="1282"/>
                        <a:pt x="27718" y="8132"/>
                        <a:pt x="26597" y="15357"/>
                      </a:cubicBezTo>
                      <a:cubicBezTo>
                        <a:pt x="25476" y="22581"/>
                        <a:pt x="18501" y="27439"/>
                        <a:pt x="11277" y="26318"/>
                      </a:cubicBezTo>
                      <a:cubicBezTo>
                        <a:pt x="3927" y="25072"/>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3" name="Freeform 8298">
                  <a:extLst>
                    <a:ext uri="{FF2B5EF4-FFF2-40B4-BE49-F238E27FC236}">
                      <a16:creationId xmlns:a16="http://schemas.microsoft.com/office/drawing/2014/main" id="{83B34598-6405-0B6B-8A9D-0F3A06937943}"/>
                    </a:ext>
                  </a:extLst>
                </p:cNvPr>
                <p:cNvSpPr/>
                <p:nvPr/>
              </p:nvSpPr>
              <p:spPr>
                <a:xfrm>
                  <a:off x="4166952" y="1730056"/>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4" name="Freeform 8299">
                  <a:extLst>
                    <a:ext uri="{FF2B5EF4-FFF2-40B4-BE49-F238E27FC236}">
                      <a16:creationId xmlns:a16="http://schemas.microsoft.com/office/drawing/2014/main" id="{2080107C-A9FC-5BF0-25AE-1441D376BD7E}"/>
                    </a:ext>
                  </a:extLst>
                </p:cNvPr>
                <p:cNvSpPr/>
                <p:nvPr/>
              </p:nvSpPr>
              <p:spPr>
                <a:xfrm>
                  <a:off x="4175557" y="1726194"/>
                  <a:ext cx="8802" cy="51566"/>
                </a:xfrm>
                <a:custGeom>
                  <a:avLst/>
                  <a:gdLst>
                    <a:gd name="connsiteX0" fmla="*/ 488 w 8802"/>
                    <a:gd name="connsiteY0" fmla="*/ 51567 h 51566"/>
                    <a:gd name="connsiteX1" fmla="*/ 1609 w 8802"/>
                    <a:gd name="connsiteY1" fmla="*/ 32759 h 51566"/>
                    <a:gd name="connsiteX2" fmla="*/ 7712 w 8802"/>
                    <a:gd name="connsiteY2" fmla="*/ 16442 h 51566"/>
                    <a:gd name="connsiteX3" fmla="*/ 8211 w 8802"/>
                    <a:gd name="connsiteY3" fmla="*/ 0 h 51566"/>
                  </a:gdLst>
                  <a:ahLst/>
                  <a:cxnLst>
                    <a:cxn ang="0">
                      <a:pos x="connsiteX0" y="connsiteY0"/>
                    </a:cxn>
                    <a:cxn ang="0">
                      <a:pos x="connsiteX1" y="connsiteY1"/>
                    </a:cxn>
                    <a:cxn ang="0">
                      <a:pos x="connsiteX2" y="connsiteY2"/>
                    </a:cxn>
                    <a:cxn ang="0">
                      <a:pos x="connsiteX3" y="connsiteY3"/>
                    </a:cxn>
                  </a:cxnLst>
                  <a:rect l="l" t="t" r="r" b="b"/>
                  <a:pathLst>
                    <a:path w="8802" h="51566">
                      <a:moveTo>
                        <a:pt x="488" y="51567"/>
                      </a:moveTo>
                      <a:cubicBezTo>
                        <a:pt x="-633" y="43221"/>
                        <a:pt x="363" y="36994"/>
                        <a:pt x="1609" y="32759"/>
                      </a:cubicBezTo>
                      <a:cubicBezTo>
                        <a:pt x="3477" y="26033"/>
                        <a:pt x="6093" y="23292"/>
                        <a:pt x="7712" y="16442"/>
                      </a:cubicBezTo>
                      <a:cubicBezTo>
                        <a:pt x="9332" y="9715"/>
                        <a:pt x="8833" y="3861"/>
                        <a:pt x="82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5" name="Freeform 8300">
                  <a:extLst>
                    <a:ext uri="{FF2B5EF4-FFF2-40B4-BE49-F238E27FC236}">
                      <a16:creationId xmlns:a16="http://schemas.microsoft.com/office/drawing/2014/main" id="{318FC00A-4F9C-5D27-ED3B-6A6F2B9CF97E}"/>
                    </a:ext>
                  </a:extLst>
                </p:cNvPr>
                <p:cNvSpPr/>
                <p:nvPr/>
              </p:nvSpPr>
              <p:spPr>
                <a:xfrm>
                  <a:off x="4167629" y="1710434"/>
                  <a:ext cx="26391" cy="26539"/>
                </a:xfrm>
                <a:custGeom>
                  <a:avLst/>
                  <a:gdLst>
                    <a:gd name="connsiteX0" fmla="*/ 26228 w 26391"/>
                    <a:gd name="connsiteY0" fmla="*/ 15387 h 26539"/>
                    <a:gd name="connsiteX1" fmla="*/ 11032 w 26391"/>
                    <a:gd name="connsiteY1" fmla="*/ 26348 h 26539"/>
                    <a:gd name="connsiteX2" fmla="*/ 195 w 26391"/>
                    <a:gd name="connsiteY2" fmla="*/ 11152 h 26539"/>
                    <a:gd name="connsiteX3" fmla="*/ 15391 w 26391"/>
                    <a:gd name="connsiteY3" fmla="*/ 191 h 26539"/>
                    <a:gd name="connsiteX4" fmla="*/ 26228 w 26391"/>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38">
                      <a:moveTo>
                        <a:pt x="26228" y="15387"/>
                      </a:moveTo>
                      <a:cubicBezTo>
                        <a:pt x="25106" y="22611"/>
                        <a:pt x="18256" y="27594"/>
                        <a:pt x="11032" y="26348"/>
                      </a:cubicBezTo>
                      <a:cubicBezTo>
                        <a:pt x="3807" y="25227"/>
                        <a:pt x="-1051" y="18376"/>
                        <a:pt x="195" y="11152"/>
                      </a:cubicBezTo>
                      <a:cubicBezTo>
                        <a:pt x="1440" y="3928"/>
                        <a:pt x="8167" y="-1055"/>
                        <a:pt x="15391" y="191"/>
                      </a:cubicBezTo>
                      <a:cubicBezTo>
                        <a:pt x="22615" y="1437"/>
                        <a:pt x="27349" y="8163"/>
                        <a:pt x="2622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3" name="Graphic 2987">
                <a:extLst>
                  <a:ext uri="{FF2B5EF4-FFF2-40B4-BE49-F238E27FC236}">
                    <a16:creationId xmlns:a16="http://schemas.microsoft.com/office/drawing/2014/main" id="{A0FF1DBA-B0AC-FC64-6FCC-FA4331DA6234}"/>
                  </a:ext>
                </a:extLst>
              </p:cNvPr>
              <p:cNvGrpSpPr/>
              <p:nvPr/>
            </p:nvGrpSpPr>
            <p:grpSpPr>
              <a:xfrm>
                <a:off x="4118089" y="1705731"/>
                <a:ext cx="46815" cy="147299"/>
                <a:chOff x="4118089" y="1705731"/>
                <a:chExt cx="46815" cy="147299"/>
              </a:xfrm>
              <a:grpFill/>
            </p:grpSpPr>
            <p:sp>
              <p:nvSpPr>
                <p:cNvPr id="5934" name="Freeform 8302">
                  <a:extLst>
                    <a:ext uri="{FF2B5EF4-FFF2-40B4-BE49-F238E27FC236}">
                      <a16:creationId xmlns:a16="http://schemas.microsoft.com/office/drawing/2014/main" id="{D3088AD1-D856-F8CA-D486-5C645E088432}"/>
                    </a:ext>
                  </a:extLst>
                </p:cNvPr>
                <p:cNvSpPr/>
                <p:nvPr/>
              </p:nvSpPr>
              <p:spPr>
                <a:xfrm>
                  <a:off x="4136311" y="1781872"/>
                  <a:ext cx="9217" cy="51442"/>
                </a:xfrm>
                <a:custGeom>
                  <a:avLst/>
                  <a:gdLst>
                    <a:gd name="connsiteX0" fmla="*/ 0 w 9217"/>
                    <a:gd name="connsiteY0" fmla="*/ 51442 h 51442"/>
                    <a:gd name="connsiteX1" fmla="*/ 4983 w 9217"/>
                    <a:gd name="connsiteY1" fmla="*/ 33257 h 51442"/>
                    <a:gd name="connsiteX2" fmla="*/ 4360 w 9217"/>
                    <a:gd name="connsiteY2" fmla="*/ 15819 h 51442"/>
                    <a:gd name="connsiteX3" fmla="*/ 9218 w 9217"/>
                    <a:gd name="connsiteY3" fmla="*/ 0 h 51442"/>
                  </a:gdLst>
                  <a:ahLst/>
                  <a:cxnLst>
                    <a:cxn ang="0">
                      <a:pos x="connsiteX0" y="connsiteY0"/>
                    </a:cxn>
                    <a:cxn ang="0">
                      <a:pos x="connsiteX1" y="connsiteY1"/>
                    </a:cxn>
                    <a:cxn ang="0">
                      <a:pos x="connsiteX2" y="connsiteY2"/>
                    </a:cxn>
                    <a:cxn ang="0">
                      <a:pos x="connsiteX3" y="connsiteY3"/>
                    </a:cxn>
                  </a:cxnLst>
                  <a:rect l="l" t="t" r="r" b="b"/>
                  <a:pathLst>
                    <a:path w="9217" h="51442">
                      <a:moveTo>
                        <a:pt x="0" y="51442"/>
                      </a:moveTo>
                      <a:cubicBezTo>
                        <a:pt x="3737" y="43844"/>
                        <a:pt x="4858" y="37616"/>
                        <a:pt x="4983" y="33257"/>
                      </a:cubicBezTo>
                      <a:cubicBezTo>
                        <a:pt x="5356" y="26282"/>
                        <a:pt x="3737" y="22919"/>
                        <a:pt x="4360" y="15819"/>
                      </a:cubicBezTo>
                      <a:cubicBezTo>
                        <a:pt x="4983" y="8968"/>
                        <a:pt x="7349" y="3488"/>
                        <a:pt x="92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5" name="Freeform 8303">
                  <a:extLst>
                    <a:ext uri="{FF2B5EF4-FFF2-40B4-BE49-F238E27FC236}">
                      <a16:creationId xmlns:a16="http://schemas.microsoft.com/office/drawing/2014/main" id="{DBABBA1A-BA26-7957-B4EF-CF87288F6975}"/>
                    </a:ext>
                  </a:extLst>
                </p:cNvPr>
                <p:cNvSpPr/>
                <p:nvPr/>
              </p:nvSpPr>
              <p:spPr>
                <a:xfrm>
                  <a:off x="4127932" y="1785733"/>
                  <a:ext cx="8968" cy="51566"/>
                </a:xfrm>
                <a:custGeom>
                  <a:avLst/>
                  <a:gdLst>
                    <a:gd name="connsiteX0" fmla="*/ 8504 w 8968"/>
                    <a:gd name="connsiteY0" fmla="*/ 0 h 51566"/>
                    <a:gd name="connsiteX1" fmla="*/ 7383 w 8968"/>
                    <a:gd name="connsiteY1" fmla="*/ 18808 h 51566"/>
                    <a:gd name="connsiteX2" fmla="*/ 1155 w 8968"/>
                    <a:gd name="connsiteY2" fmla="*/ 35125 h 51566"/>
                    <a:gd name="connsiteX3" fmla="*/ 532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0"/>
                      </a:moveTo>
                      <a:cubicBezTo>
                        <a:pt x="9625" y="8345"/>
                        <a:pt x="8504" y="14573"/>
                        <a:pt x="7383" y="18808"/>
                      </a:cubicBezTo>
                      <a:cubicBezTo>
                        <a:pt x="5514" y="25534"/>
                        <a:pt x="2899" y="28150"/>
                        <a:pt x="1155" y="35125"/>
                      </a:cubicBezTo>
                      <a:cubicBezTo>
                        <a:pt x="-464" y="41851"/>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6" name="Freeform 8304">
                  <a:extLst>
                    <a:ext uri="{FF2B5EF4-FFF2-40B4-BE49-F238E27FC236}">
                      <a16:creationId xmlns:a16="http://schemas.microsoft.com/office/drawing/2014/main" id="{D8703ECF-6D7A-BEBB-3F4C-6A9ED47962E8}"/>
                    </a:ext>
                  </a:extLst>
                </p:cNvPr>
                <p:cNvSpPr/>
                <p:nvPr/>
              </p:nvSpPr>
              <p:spPr>
                <a:xfrm>
                  <a:off x="4118089" y="1826552"/>
                  <a:ext cx="26633" cy="26478"/>
                </a:xfrm>
                <a:custGeom>
                  <a:avLst/>
                  <a:gdLst>
                    <a:gd name="connsiteX0" fmla="*/ 161 w 26633"/>
                    <a:gd name="connsiteY0" fmla="*/ 11122 h 26478"/>
                    <a:gd name="connsiteX1" fmla="*/ 15481 w 26633"/>
                    <a:gd name="connsiteY1" fmla="*/ 161 h 26478"/>
                    <a:gd name="connsiteX2" fmla="*/ 26442 w 26633"/>
                    <a:gd name="connsiteY2" fmla="*/ 15357 h 26478"/>
                    <a:gd name="connsiteX3" fmla="*/ 11122 w 26633"/>
                    <a:gd name="connsiteY3" fmla="*/ 26318 h 26478"/>
                    <a:gd name="connsiteX4" fmla="*/ 161 w 26633"/>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161" y="11122"/>
                      </a:moveTo>
                      <a:cubicBezTo>
                        <a:pt x="1406" y="3897"/>
                        <a:pt x="8257" y="-960"/>
                        <a:pt x="15481" y="161"/>
                      </a:cubicBezTo>
                      <a:cubicBezTo>
                        <a:pt x="22706" y="1282"/>
                        <a:pt x="27688" y="8132"/>
                        <a:pt x="26442" y="15357"/>
                      </a:cubicBezTo>
                      <a:cubicBezTo>
                        <a:pt x="25197" y="22581"/>
                        <a:pt x="18346" y="27439"/>
                        <a:pt x="11122" y="26318"/>
                      </a:cubicBezTo>
                      <a:cubicBezTo>
                        <a:pt x="3897" y="25197"/>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7" name="Freeform 8305">
                  <a:extLst>
                    <a:ext uri="{FF2B5EF4-FFF2-40B4-BE49-F238E27FC236}">
                      <a16:creationId xmlns:a16="http://schemas.microsoft.com/office/drawing/2014/main" id="{D5F098AD-DB9B-8CBC-8CBF-598AC66D4145}"/>
                    </a:ext>
                  </a:extLst>
                </p:cNvPr>
                <p:cNvSpPr/>
                <p:nvPr/>
              </p:nvSpPr>
              <p:spPr>
                <a:xfrm>
                  <a:off x="4137556" y="1725447"/>
                  <a:ext cx="9341" cy="51442"/>
                </a:xfrm>
                <a:custGeom>
                  <a:avLst/>
                  <a:gdLst>
                    <a:gd name="connsiteX0" fmla="*/ 9342 w 9341"/>
                    <a:gd name="connsiteY0" fmla="*/ 0 h 51442"/>
                    <a:gd name="connsiteX1" fmla="*/ 4360 w 9341"/>
                    <a:gd name="connsiteY1" fmla="*/ 18185 h 51442"/>
                    <a:gd name="connsiteX2" fmla="*/ 4858 w 9341"/>
                    <a:gd name="connsiteY2" fmla="*/ 35624 h 51442"/>
                    <a:gd name="connsiteX3" fmla="*/ 0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9342" y="0"/>
                      </a:moveTo>
                      <a:cubicBezTo>
                        <a:pt x="5605" y="7598"/>
                        <a:pt x="4484" y="13826"/>
                        <a:pt x="4360" y="18185"/>
                      </a:cubicBezTo>
                      <a:cubicBezTo>
                        <a:pt x="3986" y="25161"/>
                        <a:pt x="5605" y="28524"/>
                        <a:pt x="4858" y="35624"/>
                      </a:cubicBezTo>
                      <a:cubicBezTo>
                        <a:pt x="4235"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8" name="Freeform 8306">
                  <a:extLst>
                    <a:ext uri="{FF2B5EF4-FFF2-40B4-BE49-F238E27FC236}">
                      <a16:creationId xmlns:a16="http://schemas.microsoft.com/office/drawing/2014/main" id="{85C5099F-3A29-104D-9934-92B675E828BC}"/>
                    </a:ext>
                  </a:extLst>
                </p:cNvPr>
                <p:cNvSpPr/>
                <p:nvPr/>
              </p:nvSpPr>
              <p:spPr>
                <a:xfrm>
                  <a:off x="4146309" y="1721586"/>
                  <a:ext cx="8919" cy="51566"/>
                </a:xfrm>
                <a:custGeom>
                  <a:avLst/>
                  <a:gdLst>
                    <a:gd name="connsiteX0" fmla="*/ 464 w 8919"/>
                    <a:gd name="connsiteY0" fmla="*/ 51567 h 51566"/>
                    <a:gd name="connsiteX1" fmla="*/ 1585 w 8919"/>
                    <a:gd name="connsiteY1" fmla="*/ 32759 h 51566"/>
                    <a:gd name="connsiteX2" fmla="*/ 7813 w 8919"/>
                    <a:gd name="connsiteY2" fmla="*/ 16442 h 51566"/>
                    <a:gd name="connsiteX3" fmla="*/ 8436 w 8919"/>
                    <a:gd name="connsiteY3" fmla="*/ 0 h 51566"/>
                  </a:gdLst>
                  <a:ahLst/>
                  <a:cxnLst>
                    <a:cxn ang="0">
                      <a:pos x="connsiteX0" y="connsiteY0"/>
                    </a:cxn>
                    <a:cxn ang="0">
                      <a:pos x="connsiteX1" y="connsiteY1"/>
                    </a:cxn>
                    <a:cxn ang="0">
                      <a:pos x="connsiteX2" y="connsiteY2"/>
                    </a:cxn>
                    <a:cxn ang="0">
                      <a:pos x="connsiteX3" y="connsiteY3"/>
                    </a:cxn>
                  </a:cxnLst>
                  <a:rect l="l" t="t" r="r" b="b"/>
                  <a:pathLst>
                    <a:path w="8919" h="51566">
                      <a:moveTo>
                        <a:pt x="464" y="51567"/>
                      </a:moveTo>
                      <a:cubicBezTo>
                        <a:pt x="-657" y="43222"/>
                        <a:pt x="464" y="36994"/>
                        <a:pt x="1585" y="32759"/>
                      </a:cubicBezTo>
                      <a:cubicBezTo>
                        <a:pt x="3454" y="26033"/>
                        <a:pt x="6069" y="23292"/>
                        <a:pt x="7813" y="16442"/>
                      </a:cubicBezTo>
                      <a:cubicBezTo>
                        <a:pt x="9433" y="9716"/>
                        <a:pt x="8934"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9" name="Freeform 8307">
                  <a:extLst>
                    <a:ext uri="{FF2B5EF4-FFF2-40B4-BE49-F238E27FC236}">
                      <a16:creationId xmlns:a16="http://schemas.microsoft.com/office/drawing/2014/main" id="{D32565CC-4C10-28EE-9E73-D2D1699BD66F}"/>
                    </a:ext>
                  </a:extLst>
                </p:cNvPr>
                <p:cNvSpPr/>
                <p:nvPr/>
              </p:nvSpPr>
              <p:spPr>
                <a:xfrm>
                  <a:off x="4138483" y="1705731"/>
                  <a:ext cx="26422" cy="26508"/>
                </a:xfrm>
                <a:custGeom>
                  <a:avLst/>
                  <a:gdLst>
                    <a:gd name="connsiteX0" fmla="*/ 26227 w 26422"/>
                    <a:gd name="connsiteY0" fmla="*/ 15357 h 26508"/>
                    <a:gd name="connsiteX1" fmla="*/ 11032 w 26422"/>
                    <a:gd name="connsiteY1" fmla="*/ 26318 h 26508"/>
                    <a:gd name="connsiteX2" fmla="*/ 195 w 26422"/>
                    <a:gd name="connsiteY2" fmla="*/ 11122 h 26508"/>
                    <a:gd name="connsiteX3" fmla="*/ 15391 w 26422"/>
                    <a:gd name="connsiteY3" fmla="*/ 161 h 26508"/>
                    <a:gd name="connsiteX4" fmla="*/ 26227 w 26422"/>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5357"/>
                      </a:moveTo>
                      <a:cubicBezTo>
                        <a:pt x="24982" y="22581"/>
                        <a:pt x="18256" y="27563"/>
                        <a:pt x="11032" y="26318"/>
                      </a:cubicBezTo>
                      <a:cubicBezTo>
                        <a:pt x="3807" y="25197"/>
                        <a:pt x="-1051" y="18346"/>
                        <a:pt x="195" y="11122"/>
                      </a:cubicBezTo>
                      <a:cubicBezTo>
                        <a:pt x="1440" y="3897"/>
                        <a:pt x="8167"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4" name="Graphic 2987">
                <a:extLst>
                  <a:ext uri="{FF2B5EF4-FFF2-40B4-BE49-F238E27FC236}">
                    <a16:creationId xmlns:a16="http://schemas.microsoft.com/office/drawing/2014/main" id="{76874579-0D7B-3266-68C0-A61D9B6ABD78}"/>
                  </a:ext>
                </a:extLst>
              </p:cNvPr>
              <p:cNvGrpSpPr/>
              <p:nvPr/>
            </p:nvGrpSpPr>
            <p:grpSpPr>
              <a:xfrm>
                <a:off x="4088660" y="1701122"/>
                <a:ext cx="47098" cy="147174"/>
                <a:chOff x="4088660" y="1701122"/>
                <a:chExt cx="47098" cy="147174"/>
              </a:xfrm>
              <a:grpFill/>
            </p:grpSpPr>
            <p:sp>
              <p:nvSpPr>
                <p:cNvPr id="5928" name="Freeform 8309">
                  <a:extLst>
                    <a:ext uri="{FF2B5EF4-FFF2-40B4-BE49-F238E27FC236}">
                      <a16:creationId xmlns:a16="http://schemas.microsoft.com/office/drawing/2014/main" id="{FF8B5B9D-5759-136F-3E31-F75D7094B5B8}"/>
                    </a:ext>
                  </a:extLst>
                </p:cNvPr>
                <p:cNvSpPr/>
                <p:nvPr/>
              </p:nvSpPr>
              <p:spPr>
                <a:xfrm>
                  <a:off x="4106791" y="1777263"/>
                  <a:ext cx="9466" cy="51442"/>
                </a:xfrm>
                <a:custGeom>
                  <a:avLst/>
                  <a:gdLst>
                    <a:gd name="connsiteX0" fmla="*/ 0 w 9466"/>
                    <a:gd name="connsiteY0" fmla="*/ 51442 h 51442"/>
                    <a:gd name="connsiteX1" fmla="*/ 5107 w 9466"/>
                    <a:gd name="connsiteY1" fmla="*/ 33257 h 51442"/>
                    <a:gd name="connsiteX2" fmla="*/ 4609 w 9466"/>
                    <a:gd name="connsiteY2" fmla="*/ 15819 h 51442"/>
                    <a:gd name="connsiteX3" fmla="*/ 9467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0" y="51442"/>
                      </a:moveTo>
                      <a:cubicBezTo>
                        <a:pt x="3861" y="43969"/>
                        <a:pt x="4858" y="37616"/>
                        <a:pt x="5107" y="33257"/>
                      </a:cubicBezTo>
                      <a:cubicBezTo>
                        <a:pt x="5481" y="26282"/>
                        <a:pt x="3861" y="22919"/>
                        <a:pt x="4609" y="15819"/>
                      </a:cubicBezTo>
                      <a:cubicBezTo>
                        <a:pt x="5232" y="8968"/>
                        <a:pt x="7598" y="3488"/>
                        <a:pt x="94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9" name="Freeform 8310">
                  <a:extLst>
                    <a:ext uri="{FF2B5EF4-FFF2-40B4-BE49-F238E27FC236}">
                      <a16:creationId xmlns:a16="http://schemas.microsoft.com/office/drawing/2014/main" id="{0683C85D-9EED-0EA5-5896-6EAD410E5AB2}"/>
                    </a:ext>
                  </a:extLst>
                </p:cNvPr>
                <p:cNvSpPr/>
                <p:nvPr/>
              </p:nvSpPr>
              <p:spPr>
                <a:xfrm>
                  <a:off x="4098412" y="1781000"/>
                  <a:ext cx="9089" cy="51442"/>
                </a:xfrm>
                <a:custGeom>
                  <a:avLst/>
                  <a:gdLst>
                    <a:gd name="connsiteX0" fmla="*/ 8628 w 9089"/>
                    <a:gd name="connsiteY0" fmla="*/ 0 h 51442"/>
                    <a:gd name="connsiteX1" fmla="*/ 7383 w 9089"/>
                    <a:gd name="connsiteY1" fmla="*/ 18684 h 51442"/>
                    <a:gd name="connsiteX2" fmla="*/ 1155 w 9089"/>
                    <a:gd name="connsiteY2" fmla="*/ 35001 h 51442"/>
                    <a:gd name="connsiteX3" fmla="*/ 532 w 908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89" h="51442">
                      <a:moveTo>
                        <a:pt x="8628" y="0"/>
                      </a:moveTo>
                      <a:cubicBezTo>
                        <a:pt x="9749" y="8345"/>
                        <a:pt x="8628" y="14573"/>
                        <a:pt x="7383" y="18684"/>
                      </a:cubicBezTo>
                      <a:cubicBezTo>
                        <a:pt x="5390" y="25410"/>
                        <a:pt x="2774" y="28025"/>
                        <a:pt x="1155" y="35001"/>
                      </a:cubicBezTo>
                      <a:cubicBezTo>
                        <a:pt x="-464" y="41727"/>
                        <a:pt x="-91" y="47581"/>
                        <a:pt x="53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0" name="Freeform 8311">
                  <a:extLst>
                    <a:ext uri="{FF2B5EF4-FFF2-40B4-BE49-F238E27FC236}">
                      <a16:creationId xmlns:a16="http://schemas.microsoft.com/office/drawing/2014/main" id="{F329976C-ED45-4630-45EB-F942380E7694}"/>
                    </a:ext>
                  </a:extLst>
                </p:cNvPr>
                <p:cNvSpPr/>
                <p:nvPr/>
              </p:nvSpPr>
              <p:spPr>
                <a:xfrm>
                  <a:off x="4088660" y="1821818"/>
                  <a:ext cx="26792" cy="26478"/>
                </a:xfrm>
                <a:custGeom>
                  <a:avLst/>
                  <a:gdLst>
                    <a:gd name="connsiteX0" fmla="*/ 195 w 26792"/>
                    <a:gd name="connsiteY0" fmla="*/ 11122 h 26478"/>
                    <a:gd name="connsiteX1" fmla="*/ 15640 w 26792"/>
                    <a:gd name="connsiteY1" fmla="*/ 161 h 26478"/>
                    <a:gd name="connsiteX2" fmla="*/ 26601 w 26792"/>
                    <a:gd name="connsiteY2" fmla="*/ 15357 h 26478"/>
                    <a:gd name="connsiteX3" fmla="*/ 11156 w 26792"/>
                    <a:gd name="connsiteY3" fmla="*/ 26318 h 26478"/>
                    <a:gd name="connsiteX4" fmla="*/ 195 w 2679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77">
                      <a:moveTo>
                        <a:pt x="195" y="11122"/>
                      </a:moveTo>
                      <a:cubicBezTo>
                        <a:pt x="1440" y="3897"/>
                        <a:pt x="8291" y="-960"/>
                        <a:pt x="15640" y="161"/>
                      </a:cubicBezTo>
                      <a:cubicBezTo>
                        <a:pt x="22864" y="1282"/>
                        <a:pt x="27846" y="8132"/>
                        <a:pt x="26601" y="15357"/>
                      </a:cubicBezTo>
                      <a:cubicBezTo>
                        <a:pt x="25355" y="22581"/>
                        <a:pt x="18505" y="27439"/>
                        <a:pt x="11156" y="26318"/>
                      </a:cubicBezTo>
                      <a:cubicBezTo>
                        <a:pt x="3807" y="25197"/>
                        <a:pt x="-1051"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1" name="Freeform 8312">
                  <a:extLst>
                    <a:ext uri="{FF2B5EF4-FFF2-40B4-BE49-F238E27FC236}">
                      <a16:creationId xmlns:a16="http://schemas.microsoft.com/office/drawing/2014/main" id="{2631AEFC-F6A0-E9D6-2C57-563DF30D5F8E}"/>
                    </a:ext>
                  </a:extLst>
                </p:cNvPr>
                <p:cNvSpPr/>
                <p:nvPr/>
              </p:nvSpPr>
              <p:spPr>
                <a:xfrm>
                  <a:off x="4108410" y="1720838"/>
                  <a:ext cx="9466" cy="51317"/>
                </a:xfrm>
                <a:custGeom>
                  <a:avLst/>
                  <a:gdLst>
                    <a:gd name="connsiteX0" fmla="*/ 9467 w 9466"/>
                    <a:gd name="connsiteY0" fmla="*/ 0 h 51317"/>
                    <a:gd name="connsiteX1" fmla="*/ 4360 w 9466"/>
                    <a:gd name="connsiteY1" fmla="*/ 18185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30" y="7598"/>
                        <a:pt x="4609" y="13826"/>
                        <a:pt x="4360" y="18185"/>
                      </a:cubicBezTo>
                      <a:cubicBezTo>
                        <a:pt x="3986" y="25161"/>
                        <a:pt x="5605" y="28524"/>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2" name="Freeform 8313">
                  <a:extLst>
                    <a:ext uri="{FF2B5EF4-FFF2-40B4-BE49-F238E27FC236}">
                      <a16:creationId xmlns:a16="http://schemas.microsoft.com/office/drawing/2014/main" id="{470D8947-5E88-3805-63DB-2835DEBB3A99}"/>
                    </a:ext>
                  </a:extLst>
                </p:cNvPr>
                <p:cNvSpPr/>
                <p:nvPr/>
              </p:nvSpPr>
              <p:spPr>
                <a:xfrm>
                  <a:off x="4117041" y="1716852"/>
                  <a:ext cx="9089" cy="51566"/>
                </a:xfrm>
                <a:custGeom>
                  <a:avLst/>
                  <a:gdLst>
                    <a:gd name="connsiteX0" fmla="*/ 461 w 9089"/>
                    <a:gd name="connsiteY0" fmla="*/ 51567 h 51566"/>
                    <a:gd name="connsiteX1" fmla="*/ 1707 w 9089"/>
                    <a:gd name="connsiteY1" fmla="*/ 32759 h 51566"/>
                    <a:gd name="connsiteX2" fmla="*/ 7935 w 9089"/>
                    <a:gd name="connsiteY2" fmla="*/ 16442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1"/>
                        <a:pt x="461" y="36994"/>
                        <a:pt x="1707" y="32759"/>
                      </a:cubicBezTo>
                      <a:cubicBezTo>
                        <a:pt x="3699" y="26033"/>
                        <a:pt x="6191" y="23417"/>
                        <a:pt x="7935" y="16442"/>
                      </a:cubicBezTo>
                      <a:cubicBezTo>
                        <a:pt x="9554" y="9715"/>
                        <a:pt x="9180" y="3861"/>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3" name="Freeform 8314">
                  <a:extLst>
                    <a:ext uri="{FF2B5EF4-FFF2-40B4-BE49-F238E27FC236}">
                      <a16:creationId xmlns:a16="http://schemas.microsoft.com/office/drawing/2014/main" id="{B79FBD44-A8E3-0FCE-4E21-7B92B03A89F7}"/>
                    </a:ext>
                  </a:extLst>
                </p:cNvPr>
                <p:cNvSpPr/>
                <p:nvPr/>
              </p:nvSpPr>
              <p:spPr>
                <a:xfrm>
                  <a:off x="4109336" y="1701122"/>
                  <a:ext cx="26422" cy="26478"/>
                </a:xfrm>
                <a:custGeom>
                  <a:avLst/>
                  <a:gdLst>
                    <a:gd name="connsiteX0" fmla="*/ 26227 w 26422"/>
                    <a:gd name="connsiteY0" fmla="*/ 15357 h 26478"/>
                    <a:gd name="connsiteX1" fmla="*/ 11031 w 26422"/>
                    <a:gd name="connsiteY1" fmla="*/ 26318 h 26478"/>
                    <a:gd name="connsiteX2" fmla="*/ 195 w 26422"/>
                    <a:gd name="connsiteY2" fmla="*/ 11122 h 26478"/>
                    <a:gd name="connsiteX3" fmla="*/ 15391 w 26422"/>
                    <a:gd name="connsiteY3" fmla="*/ 161 h 26478"/>
                    <a:gd name="connsiteX4" fmla="*/ 26227 w 26422"/>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7" y="15357"/>
                      </a:moveTo>
                      <a:cubicBezTo>
                        <a:pt x="24982" y="22581"/>
                        <a:pt x="18131" y="27439"/>
                        <a:pt x="11031" y="26318"/>
                      </a:cubicBezTo>
                      <a:cubicBezTo>
                        <a:pt x="3807" y="25197"/>
                        <a:pt x="-1051" y="18346"/>
                        <a:pt x="195" y="11122"/>
                      </a:cubicBezTo>
                      <a:cubicBezTo>
                        <a:pt x="1440" y="3897"/>
                        <a:pt x="8291"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5" name="Graphic 2987">
                <a:extLst>
                  <a:ext uri="{FF2B5EF4-FFF2-40B4-BE49-F238E27FC236}">
                    <a16:creationId xmlns:a16="http://schemas.microsoft.com/office/drawing/2014/main" id="{07813E32-773C-B253-5BC1-3A3385CB9DA5}"/>
                  </a:ext>
                </a:extLst>
              </p:cNvPr>
              <p:cNvGrpSpPr/>
              <p:nvPr/>
            </p:nvGrpSpPr>
            <p:grpSpPr>
              <a:xfrm>
                <a:off x="4059264" y="1696438"/>
                <a:ext cx="47472" cy="147067"/>
                <a:chOff x="4059264" y="1696438"/>
                <a:chExt cx="47472" cy="147067"/>
              </a:xfrm>
              <a:grpFill/>
            </p:grpSpPr>
            <p:sp>
              <p:nvSpPr>
                <p:cNvPr id="5922" name="Freeform 8316">
                  <a:extLst>
                    <a:ext uri="{FF2B5EF4-FFF2-40B4-BE49-F238E27FC236}">
                      <a16:creationId xmlns:a16="http://schemas.microsoft.com/office/drawing/2014/main" id="{AC1F579E-E34F-29B8-57E7-FF4E0E144D7B}"/>
                    </a:ext>
                  </a:extLst>
                </p:cNvPr>
                <p:cNvSpPr/>
                <p:nvPr/>
              </p:nvSpPr>
              <p:spPr>
                <a:xfrm>
                  <a:off x="4077395" y="1772654"/>
                  <a:ext cx="9466" cy="51193"/>
                </a:xfrm>
                <a:custGeom>
                  <a:avLst/>
                  <a:gdLst>
                    <a:gd name="connsiteX0" fmla="*/ 0 w 9466"/>
                    <a:gd name="connsiteY0" fmla="*/ 51193 h 51193"/>
                    <a:gd name="connsiteX1" fmla="*/ 5107 w 9466"/>
                    <a:gd name="connsiteY1" fmla="*/ 33132 h 51193"/>
                    <a:gd name="connsiteX2" fmla="*/ 4609 w 9466"/>
                    <a:gd name="connsiteY2" fmla="*/ 15694 h 51193"/>
                    <a:gd name="connsiteX3" fmla="*/ 9466 w 9466"/>
                    <a:gd name="connsiteY3" fmla="*/ 0 h 51193"/>
                  </a:gdLst>
                  <a:ahLst/>
                  <a:cxnLst>
                    <a:cxn ang="0">
                      <a:pos x="connsiteX0" y="connsiteY0"/>
                    </a:cxn>
                    <a:cxn ang="0">
                      <a:pos x="connsiteX1" y="connsiteY1"/>
                    </a:cxn>
                    <a:cxn ang="0">
                      <a:pos x="connsiteX2" y="connsiteY2"/>
                    </a:cxn>
                    <a:cxn ang="0">
                      <a:pos x="connsiteX3" y="connsiteY3"/>
                    </a:cxn>
                  </a:cxnLst>
                  <a:rect l="l" t="t" r="r" b="b"/>
                  <a:pathLst>
                    <a:path w="9466" h="51193">
                      <a:moveTo>
                        <a:pt x="0" y="51193"/>
                      </a:moveTo>
                      <a:cubicBezTo>
                        <a:pt x="3861" y="43720"/>
                        <a:pt x="4858" y="37492"/>
                        <a:pt x="5107" y="33132"/>
                      </a:cubicBezTo>
                      <a:cubicBezTo>
                        <a:pt x="5481" y="26157"/>
                        <a:pt x="3986" y="22794"/>
                        <a:pt x="4609" y="15694"/>
                      </a:cubicBezTo>
                      <a:cubicBezTo>
                        <a:pt x="5356" y="8844"/>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3" name="Freeform 8317">
                  <a:extLst>
                    <a:ext uri="{FF2B5EF4-FFF2-40B4-BE49-F238E27FC236}">
                      <a16:creationId xmlns:a16="http://schemas.microsoft.com/office/drawing/2014/main" id="{F14BF595-63A8-E627-BC61-A444C44C9860}"/>
                    </a:ext>
                  </a:extLst>
                </p:cNvPr>
                <p:cNvSpPr/>
                <p:nvPr/>
              </p:nvSpPr>
              <p:spPr>
                <a:xfrm>
                  <a:off x="4069016" y="1776017"/>
                  <a:ext cx="9213" cy="51566"/>
                </a:xfrm>
                <a:custGeom>
                  <a:avLst/>
                  <a:gdLst>
                    <a:gd name="connsiteX0" fmla="*/ 8753 w 9213"/>
                    <a:gd name="connsiteY0" fmla="*/ 0 h 51566"/>
                    <a:gd name="connsiteX1" fmla="*/ 7507 w 9213"/>
                    <a:gd name="connsiteY1" fmla="*/ 18808 h 51566"/>
                    <a:gd name="connsiteX2" fmla="*/ 1155 w 9213"/>
                    <a:gd name="connsiteY2" fmla="*/ 35001 h 51566"/>
                    <a:gd name="connsiteX3" fmla="*/ 532 w 921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213" h="51566">
                      <a:moveTo>
                        <a:pt x="8753" y="0"/>
                      </a:moveTo>
                      <a:cubicBezTo>
                        <a:pt x="9874" y="8345"/>
                        <a:pt x="8753" y="14573"/>
                        <a:pt x="7507" y="18808"/>
                      </a:cubicBezTo>
                      <a:cubicBezTo>
                        <a:pt x="5514" y="25534"/>
                        <a:pt x="2899" y="28150"/>
                        <a:pt x="1155"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4" name="Freeform 8318">
                  <a:extLst>
                    <a:ext uri="{FF2B5EF4-FFF2-40B4-BE49-F238E27FC236}">
                      <a16:creationId xmlns:a16="http://schemas.microsoft.com/office/drawing/2014/main" id="{604AC053-E954-B6D3-068C-2CF8D6EC1B47}"/>
                    </a:ext>
                  </a:extLst>
                </p:cNvPr>
                <p:cNvSpPr/>
                <p:nvPr/>
              </p:nvSpPr>
              <p:spPr>
                <a:xfrm>
                  <a:off x="4059264" y="1816885"/>
                  <a:ext cx="26671" cy="26620"/>
                </a:xfrm>
                <a:custGeom>
                  <a:avLst/>
                  <a:gdLst>
                    <a:gd name="connsiteX0" fmla="*/ 195 w 26671"/>
                    <a:gd name="connsiteY0" fmla="*/ 10823 h 26620"/>
                    <a:gd name="connsiteX1" fmla="*/ 15640 w 26671"/>
                    <a:gd name="connsiteY1" fmla="*/ 236 h 26620"/>
                    <a:gd name="connsiteX2" fmla="*/ 26476 w 26671"/>
                    <a:gd name="connsiteY2" fmla="*/ 15557 h 26620"/>
                    <a:gd name="connsiteX3" fmla="*/ 11031 w 26671"/>
                    <a:gd name="connsiteY3" fmla="*/ 26393 h 26620"/>
                    <a:gd name="connsiteX4" fmla="*/ 195 w 26671"/>
                    <a:gd name="connsiteY4" fmla="*/ 10823 h 26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620">
                      <a:moveTo>
                        <a:pt x="195" y="10823"/>
                      </a:moveTo>
                      <a:cubicBezTo>
                        <a:pt x="1440" y="3599"/>
                        <a:pt x="8291" y="-1134"/>
                        <a:pt x="15640" y="236"/>
                      </a:cubicBezTo>
                      <a:cubicBezTo>
                        <a:pt x="22864" y="1606"/>
                        <a:pt x="27722" y="8332"/>
                        <a:pt x="26476" y="15557"/>
                      </a:cubicBezTo>
                      <a:cubicBezTo>
                        <a:pt x="25231" y="22781"/>
                        <a:pt x="18255" y="27763"/>
                        <a:pt x="11031" y="26393"/>
                      </a:cubicBezTo>
                      <a:cubicBezTo>
                        <a:pt x="3807" y="25023"/>
                        <a:pt x="-1051" y="18048"/>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5" name="Freeform 8319">
                  <a:extLst>
                    <a:ext uri="{FF2B5EF4-FFF2-40B4-BE49-F238E27FC236}">
                      <a16:creationId xmlns:a16="http://schemas.microsoft.com/office/drawing/2014/main" id="{4990082D-D6BD-2F5B-ED92-48333AE4C9C8}"/>
                    </a:ext>
                  </a:extLst>
                </p:cNvPr>
                <p:cNvSpPr/>
                <p:nvPr/>
              </p:nvSpPr>
              <p:spPr>
                <a:xfrm>
                  <a:off x="4079014" y="1715856"/>
                  <a:ext cx="9715" cy="51193"/>
                </a:xfrm>
                <a:custGeom>
                  <a:avLst/>
                  <a:gdLst>
                    <a:gd name="connsiteX0" fmla="*/ 9715 w 9715"/>
                    <a:gd name="connsiteY0" fmla="*/ 0 h 51193"/>
                    <a:gd name="connsiteX1" fmla="*/ 4609 w 9715"/>
                    <a:gd name="connsiteY1" fmla="*/ 18061 h 51193"/>
                    <a:gd name="connsiteX2" fmla="*/ 4982 w 9715"/>
                    <a:gd name="connsiteY2" fmla="*/ 35499 h 51193"/>
                    <a:gd name="connsiteX3" fmla="*/ 0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9715" y="0"/>
                      </a:moveTo>
                      <a:cubicBezTo>
                        <a:pt x="5854" y="7473"/>
                        <a:pt x="4858" y="13701"/>
                        <a:pt x="4609" y="18061"/>
                      </a:cubicBezTo>
                      <a:cubicBezTo>
                        <a:pt x="4235"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6" name="Freeform 8320">
                  <a:extLst>
                    <a:ext uri="{FF2B5EF4-FFF2-40B4-BE49-F238E27FC236}">
                      <a16:creationId xmlns:a16="http://schemas.microsoft.com/office/drawing/2014/main" id="{693B93EF-EC34-6607-235F-5879D5C687B3}"/>
                    </a:ext>
                  </a:extLst>
                </p:cNvPr>
                <p:cNvSpPr/>
                <p:nvPr/>
              </p:nvSpPr>
              <p:spPr>
                <a:xfrm>
                  <a:off x="4087770" y="1712119"/>
                  <a:ext cx="9089" cy="51566"/>
                </a:xfrm>
                <a:custGeom>
                  <a:avLst/>
                  <a:gdLst>
                    <a:gd name="connsiteX0" fmla="*/ 461 w 9089"/>
                    <a:gd name="connsiteY0" fmla="*/ 51567 h 51566"/>
                    <a:gd name="connsiteX1" fmla="*/ 1707 w 9089"/>
                    <a:gd name="connsiteY1" fmla="*/ 32759 h 51566"/>
                    <a:gd name="connsiteX2" fmla="*/ 7935 w 9089"/>
                    <a:gd name="connsiteY2" fmla="*/ 16566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2"/>
                        <a:pt x="461" y="36994"/>
                        <a:pt x="1707" y="32759"/>
                      </a:cubicBezTo>
                      <a:cubicBezTo>
                        <a:pt x="3700" y="26033"/>
                        <a:pt x="6315" y="23417"/>
                        <a:pt x="7935" y="16566"/>
                      </a:cubicBezTo>
                      <a:cubicBezTo>
                        <a:pt x="9554" y="9840"/>
                        <a:pt x="9180" y="3986"/>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7" name="Freeform 8321">
                  <a:extLst>
                    <a:ext uri="{FF2B5EF4-FFF2-40B4-BE49-F238E27FC236}">
                      <a16:creationId xmlns:a16="http://schemas.microsoft.com/office/drawing/2014/main" id="{A3427AE7-70BF-3CAF-B9AC-132F0A16BE5C}"/>
                    </a:ext>
                  </a:extLst>
                </p:cNvPr>
                <p:cNvSpPr/>
                <p:nvPr/>
              </p:nvSpPr>
              <p:spPr>
                <a:xfrm>
                  <a:off x="4080310" y="1696438"/>
                  <a:ext cx="26426" cy="26495"/>
                </a:xfrm>
                <a:custGeom>
                  <a:avLst/>
                  <a:gdLst>
                    <a:gd name="connsiteX0" fmla="*/ 26231 w 26426"/>
                    <a:gd name="connsiteY0" fmla="*/ 15432 h 26495"/>
                    <a:gd name="connsiteX1" fmla="*/ 10911 w 26426"/>
                    <a:gd name="connsiteY1" fmla="*/ 26269 h 26495"/>
                    <a:gd name="connsiteX2" fmla="*/ 199 w 26426"/>
                    <a:gd name="connsiteY2" fmla="*/ 10823 h 26495"/>
                    <a:gd name="connsiteX3" fmla="*/ 15395 w 26426"/>
                    <a:gd name="connsiteY3" fmla="*/ 236 h 26495"/>
                    <a:gd name="connsiteX4" fmla="*/ 26231 w 26426"/>
                    <a:gd name="connsiteY4" fmla="*/ 15432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95">
                      <a:moveTo>
                        <a:pt x="26231" y="15432"/>
                      </a:moveTo>
                      <a:cubicBezTo>
                        <a:pt x="24986" y="22656"/>
                        <a:pt x="18135" y="27639"/>
                        <a:pt x="10911" y="26269"/>
                      </a:cubicBezTo>
                      <a:cubicBezTo>
                        <a:pt x="3686" y="24899"/>
                        <a:pt x="-1047" y="18048"/>
                        <a:pt x="199" y="10823"/>
                      </a:cubicBezTo>
                      <a:cubicBezTo>
                        <a:pt x="1444" y="3599"/>
                        <a:pt x="8295" y="-1134"/>
                        <a:pt x="15395" y="236"/>
                      </a:cubicBezTo>
                      <a:cubicBezTo>
                        <a:pt x="22619" y="1482"/>
                        <a:pt x="27477" y="8208"/>
                        <a:pt x="26231" y="154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6" name="Graphic 2987">
                <a:extLst>
                  <a:ext uri="{FF2B5EF4-FFF2-40B4-BE49-F238E27FC236}">
                    <a16:creationId xmlns:a16="http://schemas.microsoft.com/office/drawing/2014/main" id="{05B9DFC5-8F6D-B61D-D3FE-B94C969F571F}"/>
                  </a:ext>
                </a:extLst>
              </p:cNvPr>
              <p:cNvGrpSpPr/>
              <p:nvPr/>
            </p:nvGrpSpPr>
            <p:grpSpPr>
              <a:xfrm>
                <a:off x="4029868" y="1690958"/>
                <a:ext cx="47849" cy="147076"/>
                <a:chOff x="4029868" y="1690958"/>
                <a:chExt cx="47849" cy="147076"/>
              </a:xfrm>
              <a:grpFill/>
            </p:grpSpPr>
            <p:sp>
              <p:nvSpPr>
                <p:cNvPr id="5916" name="Freeform 8323">
                  <a:extLst>
                    <a:ext uri="{FF2B5EF4-FFF2-40B4-BE49-F238E27FC236}">
                      <a16:creationId xmlns:a16="http://schemas.microsoft.com/office/drawing/2014/main" id="{508A1455-E66F-DCB2-1E95-E33B7DC91DE3}"/>
                    </a:ext>
                  </a:extLst>
                </p:cNvPr>
                <p:cNvSpPr/>
                <p:nvPr/>
              </p:nvSpPr>
              <p:spPr>
                <a:xfrm>
                  <a:off x="4048124" y="1767298"/>
                  <a:ext cx="9840" cy="51193"/>
                </a:xfrm>
                <a:custGeom>
                  <a:avLst/>
                  <a:gdLst>
                    <a:gd name="connsiteX0" fmla="*/ 0 w 9840"/>
                    <a:gd name="connsiteY0" fmla="*/ 51193 h 51193"/>
                    <a:gd name="connsiteX1" fmla="*/ 5232 w 9840"/>
                    <a:gd name="connsiteY1" fmla="*/ 33132 h 51193"/>
                    <a:gd name="connsiteX2" fmla="*/ 4858 w 9840"/>
                    <a:gd name="connsiteY2" fmla="*/ 15694 h 51193"/>
                    <a:gd name="connsiteX3" fmla="*/ 984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982" y="37492"/>
                        <a:pt x="5232" y="33132"/>
                      </a:cubicBezTo>
                      <a:cubicBezTo>
                        <a:pt x="5730" y="26157"/>
                        <a:pt x="4110" y="22794"/>
                        <a:pt x="4858" y="15694"/>
                      </a:cubicBezTo>
                      <a:cubicBezTo>
                        <a:pt x="5605" y="8844"/>
                        <a:pt x="7972"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7" name="Freeform 8324">
                  <a:extLst>
                    <a:ext uri="{FF2B5EF4-FFF2-40B4-BE49-F238E27FC236}">
                      <a16:creationId xmlns:a16="http://schemas.microsoft.com/office/drawing/2014/main" id="{91B768DD-3E2B-E539-5CC4-12029155ACAF}"/>
                    </a:ext>
                  </a:extLst>
                </p:cNvPr>
                <p:cNvSpPr/>
                <p:nvPr/>
              </p:nvSpPr>
              <p:spPr>
                <a:xfrm>
                  <a:off x="4039683" y="1770661"/>
                  <a:ext cx="9322" cy="51566"/>
                </a:xfrm>
                <a:custGeom>
                  <a:avLst/>
                  <a:gdLst>
                    <a:gd name="connsiteX0" fmla="*/ 8940 w 9322"/>
                    <a:gd name="connsiteY0" fmla="*/ 0 h 51566"/>
                    <a:gd name="connsiteX1" fmla="*/ 7569 w 9322"/>
                    <a:gd name="connsiteY1" fmla="*/ 18808 h 51566"/>
                    <a:gd name="connsiteX2" fmla="*/ 1217 w 9322"/>
                    <a:gd name="connsiteY2" fmla="*/ 35001 h 51566"/>
                    <a:gd name="connsiteX3" fmla="*/ 470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8940" y="0"/>
                      </a:moveTo>
                      <a:cubicBezTo>
                        <a:pt x="9936" y="8345"/>
                        <a:pt x="8815" y="14573"/>
                        <a:pt x="7569" y="18808"/>
                      </a:cubicBezTo>
                      <a:cubicBezTo>
                        <a:pt x="5576" y="25534"/>
                        <a:pt x="2961" y="28150"/>
                        <a:pt x="1217" y="35001"/>
                      </a:cubicBezTo>
                      <a:cubicBezTo>
                        <a:pt x="-527" y="41727"/>
                        <a:pt x="-28" y="47581"/>
                        <a:pt x="47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8" name="Freeform 8325">
                  <a:extLst>
                    <a:ext uri="{FF2B5EF4-FFF2-40B4-BE49-F238E27FC236}">
                      <a16:creationId xmlns:a16="http://schemas.microsoft.com/office/drawing/2014/main" id="{9277AA15-68E5-66A0-3378-3D9E9E596A90}"/>
                    </a:ext>
                  </a:extLst>
                </p:cNvPr>
                <p:cNvSpPr/>
                <p:nvPr/>
              </p:nvSpPr>
              <p:spPr>
                <a:xfrm>
                  <a:off x="4029868" y="1811529"/>
                  <a:ext cx="26671" cy="26504"/>
                </a:xfrm>
                <a:custGeom>
                  <a:avLst/>
                  <a:gdLst>
                    <a:gd name="connsiteX0" fmla="*/ 195 w 26671"/>
                    <a:gd name="connsiteY0" fmla="*/ 10823 h 26504"/>
                    <a:gd name="connsiteX1" fmla="*/ 15640 w 26671"/>
                    <a:gd name="connsiteY1" fmla="*/ 236 h 26504"/>
                    <a:gd name="connsiteX2" fmla="*/ 26477 w 26671"/>
                    <a:gd name="connsiteY2" fmla="*/ 15681 h 26504"/>
                    <a:gd name="connsiteX3" fmla="*/ 11032 w 26671"/>
                    <a:gd name="connsiteY3" fmla="*/ 26269 h 26504"/>
                    <a:gd name="connsiteX4" fmla="*/ 195 w 26671"/>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04">
                      <a:moveTo>
                        <a:pt x="195" y="10823"/>
                      </a:moveTo>
                      <a:cubicBezTo>
                        <a:pt x="1440" y="3599"/>
                        <a:pt x="8416" y="-1134"/>
                        <a:pt x="15640" y="236"/>
                      </a:cubicBezTo>
                      <a:cubicBezTo>
                        <a:pt x="22864" y="1606"/>
                        <a:pt x="27722" y="8581"/>
                        <a:pt x="26477" y="15681"/>
                      </a:cubicBezTo>
                      <a:cubicBezTo>
                        <a:pt x="25231" y="22906"/>
                        <a:pt x="18256" y="27639"/>
                        <a:pt x="11032" y="26269"/>
                      </a:cubicBezTo>
                      <a:cubicBezTo>
                        <a:pt x="3807" y="24898"/>
                        <a:pt x="-1051" y="17923"/>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9" name="Freeform 8326">
                  <a:extLst>
                    <a:ext uri="{FF2B5EF4-FFF2-40B4-BE49-F238E27FC236}">
                      <a16:creationId xmlns:a16="http://schemas.microsoft.com/office/drawing/2014/main" id="{5AC5EE93-C997-ED0A-EEAA-6DE0438AAF9B}"/>
                    </a:ext>
                  </a:extLst>
                </p:cNvPr>
                <p:cNvSpPr/>
                <p:nvPr/>
              </p:nvSpPr>
              <p:spPr>
                <a:xfrm>
                  <a:off x="4049868" y="1710500"/>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982"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0" name="Freeform 8327">
                  <a:extLst>
                    <a:ext uri="{FF2B5EF4-FFF2-40B4-BE49-F238E27FC236}">
                      <a16:creationId xmlns:a16="http://schemas.microsoft.com/office/drawing/2014/main" id="{474873DA-C037-9F01-D4D1-C130AE618A5C}"/>
                    </a:ext>
                  </a:extLst>
                </p:cNvPr>
                <p:cNvSpPr/>
                <p:nvPr/>
              </p:nvSpPr>
              <p:spPr>
                <a:xfrm>
                  <a:off x="4058699" y="1706763"/>
                  <a:ext cx="9157" cy="51566"/>
                </a:xfrm>
                <a:custGeom>
                  <a:avLst/>
                  <a:gdLst>
                    <a:gd name="connsiteX0" fmla="*/ 386 w 9157"/>
                    <a:gd name="connsiteY0" fmla="*/ 51567 h 51566"/>
                    <a:gd name="connsiteX1" fmla="*/ 1631 w 9157"/>
                    <a:gd name="connsiteY1" fmla="*/ 32759 h 51566"/>
                    <a:gd name="connsiteX2" fmla="*/ 7984 w 9157"/>
                    <a:gd name="connsiteY2" fmla="*/ 16566 h 51566"/>
                    <a:gd name="connsiteX3" fmla="*/ 8731 w 9157"/>
                    <a:gd name="connsiteY3" fmla="*/ 0 h 51566"/>
                  </a:gdLst>
                  <a:ahLst/>
                  <a:cxnLst>
                    <a:cxn ang="0">
                      <a:pos x="connsiteX0" y="connsiteY0"/>
                    </a:cxn>
                    <a:cxn ang="0">
                      <a:pos x="connsiteX1" y="connsiteY1"/>
                    </a:cxn>
                    <a:cxn ang="0">
                      <a:pos x="connsiteX2" y="connsiteY2"/>
                    </a:cxn>
                    <a:cxn ang="0">
                      <a:pos x="connsiteX3" y="connsiteY3"/>
                    </a:cxn>
                  </a:cxnLst>
                  <a:rect l="l" t="t" r="r" b="b"/>
                  <a:pathLst>
                    <a:path w="9157" h="51566">
                      <a:moveTo>
                        <a:pt x="386" y="51567"/>
                      </a:moveTo>
                      <a:cubicBezTo>
                        <a:pt x="-611" y="43222"/>
                        <a:pt x="510" y="36994"/>
                        <a:pt x="1631" y="32759"/>
                      </a:cubicBezTo>
                      <a:cubicBezTo>
                        <a:pt x="3624" y="26033"/>
                        <a:pt x="6240" y="23417"/>
                        <a:pt x="7984" y="16566"/>
                      </a:cubicBezTo>
                      <a:cubicBezTo>
                        <a:pt x="9603" y="9840"/>
                        <a:pt x="9229" y="3986"/>
                        <a:pt x="87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1" name="Freeform 8328">
                  <a:extLst>
                    <a:ext uri="{FF2B5EF4-FFF2-40B4-BE49-F238E27FC236}">
                      <a16:creationId xmlns:a16="http://schemas.microsoft.com/office/drawing/2014/main" id="{F8D7271E-DC14-7A3F-C040-1D513AAB4F8B}"/>
                    </a:ext>
                  </a:extLst>
                </p:cNvPr>
                <p:cNvSpPr/>
                <p:nvPr/>
              </p:nvSpPr>
              <p:spPr>
                <a:xfrm>
                  <a:off x="4051288" y="1690958"/>
                  <a:ext cx="26429" cy="26504"/>
                </a:xfrm>
                <a:custGeom>
                  <a:avLst/>
                  <a:gdLst>
                    <a:gd name="connsiteX0" fmla="*/ 26231 w 26429"/>
                    <a:gd name="connsiteY0" fmla="*/ 15681 h 26504"/>
                    <a:gd name="connsiteX1" fmla="*/ 10911 w 26429"/>
                    <a:gd name="connsiteY1" fmla="*/ 26269 h 26504"/>
                    <a:gd name="connsiteX2" fmla="*/ 199 w 26429"/>
                    <a:gd name="connsiteY2" fmla="*/ 10823 h 26504"/>
                    <a:gd name="connsiteX3" fmla="*/ 15519 w 26429"/>
                    <a:gd name="connsiteY3" fmla="*/ 236 h 26504"/>
                    <a:gd name="connsiteX4" fmla="*/ 26231 w 2642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9" h="26504">
                      <a:moveTo>
                        <a:pt x="26231" y="15681"/>
                      </a:moveTo>
                      <a:cubicBezTo>
                        <a:pt x="24986" y="22906"/>
                        <a:pt x="18135" y="27639"/>
                        <a:pt x="10911" y="26269"/>
                      </a:cubicBezTo>
                      <a:cubicBezTo>
                        <a:pt x="3686" y="24898"/>
                        <a:pt x="-1047" y="18048"/>
                        <a:pt x="199" y="10823"/>
                      </a:cubicBezTo>
                      <a:cubicBezTo>
                        <a:pt x="1444" y="3599"/>
                        <a:pt x="8295" y="-1134"/>
                        <a:pt x="15519" y="236"/>
                      </a:cubicBezTo>
                      <a:cubicBezTo>
                        <a:pt x="22744" y="1606"/>
                        <a:pt x="27477" y="8457"/>
                        <a:pt x="26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7" name="Graphic 2987">
                <a:extLst>
                  <a:ext uri="{FF2B5EF4-FFF2-40B4-BE49-F238E27FC236}">
                    <a16:creationId xmlns:a16="http://schemas.microsoft.com/office/drawing/2014/main" id="{7B5DC61A-EC63-F013-E96D-2FADBEBBCB17}"/>
                  </a:ext>
                </a:extLst>
              </p:cNvPr>
              <p:cNvGrpSpPr/>
              <p:nvPr/>
            </p:nvGrpSpPr>
            <p:grpSpPr>
              <a:xfrm>
                <a:off x="4000561" y="1685477"/>
                <a:ext cx="48168" cy="147076"/>
                <a:chOff x="4000561" y="1685477"/>
                <a:chExt cx="48168" cy="147076"/>
              </a:xfrm>
              <a:grpFill/>
            </p:grpSpPr>
            <p:sp>
              <p:nvSpPr>
                <p:cNvPr id="5910" name="Freeform 8330">
                  <a:extLst>
                    <a:ext uri="{FF2B5EF4-FFF2-40B4-BE49-F238E27FC236}">
                      <a16:creationId xmlns:a16="http://schemas.microsoft.com/office/drawing/2014/main" id="{A69063CA-D9C0-B047-C06A-09325944EB73}"/>
                    </a:ext>
                  </a:extLst>
                </p:cNvPr>
                <p:cNvSpPr/>
                <p:nvPr/>
              </p:nvSpPr>
              <p:spPr>
                <a:xfrm>
                  <a:off x="4018729" y="1761818"/>
                  <a:ext cx="9839" cy="51193"/>
                </a:xfrm>
                <a:custGeom>
                  <a:avLst/>
                  <a:gdLst>
                    <a:gd name="connsiteX0" fmla="*/ 0 w 9839"/>
                    <a:gd name="connsiteY0" fmla="*/ 51193 h 51193"/>
                    <a:gd name="connsiteX1" fmla="*/ 5231 w 9839"/>
                    <a:gd name="connsiteY1" fmla="*/ 33132 h 51193"/>
                    <a:gd name="connsiteX2" fmla="*/ 4858 w 9839"/>
                    <a:gd name="connsiteY2" fmla="*/ 15694 h 51193"/>
                    <a:gd name="connsiteX3" fmla="*/ 984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0" y="51193"/>
                      </a:moveTo>
                      <a:cubicBezTo>
                        <a:pt x="3861" y="43720"/>
                        <a:pt x="4982" y="37492"/>
                        <a:pt x="5231" y="33132"/>
                      </a:cubicBezTo>
                      <a:cubicBezTo>
                        <a:pt x="5730" y="26157"/>
                        <a:pt x="4110" y="22794"/>
                        <a:pt x="4858" y="15694"/>
                      </a:cubicBezTo>
                      <a:cubicBezTo>
                        <a:pt x="5605" y="8844"/>
                        <a:pt x="7971"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1" name="Freeform 8331">
                  <a:extLst>
                    <a:ext uri="{FF2B5EF4-FFF2-40B4-BE49-F238E27FC236}">
                      <a16:creationId xmlns:a16="http://schemas.microsoft.com/office/drawing/2014/main" id="{E3118605-1D08-6CF7-C23F-092AD52E5476}"/>
                    </a:ext>
                  </a:extLst>
                </p:cNvPr>
                <p:cNvSpPr/>
                <p:nvPr/>
              </p:nvSpPr>
              <p:spPr>
                <a:xfrm>
                  <a:off x="4010486" y="1765181"/>
                  <a:ext cx="9372" cy="51442"/>
                </a:xfrm>
                <a:custGeom>
                  <a:avLst/>
                  <a:gdLst>
                    <a:gd name="connsiteX0" fmla="*/ 8990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0"/>
                      </a:moveTo>
                      <a:cubicBezTo>
                        <a:pt x="9986" y="8345"/>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2" name="Freeform 8332">
                  <a:extLst>
                    <a:ext uri="{FF2B5EF4-FFF2-40B4-BE49-F238E27FC236}">
                      <a16:creationId xmlns:a16="http://schemas.microsoft.com/office/drawing/2014/main" id="{218AF810-13C3-DC16-A2B3-6B11C270D953}"/>
                    </a:ext>
                  </a:extLst>
                </p:cNvPr>
                <p:cNvSpPr/>
                <p:nvPr/>
              </p:nvSpPr>
              <p:spPr>
                <a:xfrm>
                  <a:off x="4000561" y="1806049"/>
                  <a:ext cx="26707" cy="26504"/>
                </a:xfrm>
                <a:custGeom>
                  <a:avLst/>
                  <a:gdLst>
                    <a:gd name="connsiteX0" fmla="*/ 231 w 26707"/>
                    <a:gd name="connsiteY0" fmla="*/ 10823 h 26504"/>
                    <a:gd name="connsiteX1" fmla="*/ 15676 w 26707"/>
                    <a:gd name="connsiteY1" fmla="*/ 236 h 26504"/>
                    <a:gd name="connsiteX2" fmla="*/ 26513 w 26707"/>
                    <a:gd name="connsiteY2" fmla="*/ 15681 h 26504"/>
                    <a:gd name="connsiteX3" fmla="*/ 11068 w 26707"/>
                    <a:gd name="connsiteY3" fmla="*/ 26269 h 26504"/>
                    <a:gd name="connsiteX4" fmla="*/ 231 w 26707"/>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504">
                      <a:moveTo>
                        <a:pt x="231" y="10823"/>
                      </a:moveTo>
                      <a:cubicBezTo>
                        <a:pt x="1477" y="3599"/>
                        <a:pt x="8452" y="-1134"/>
                        <a:pt x="15676" y="236"/>
                      </a:cubicBezTo>
                      <a:cubicBezTo>
                        <a:pt x="22901" y="1606"/>
                        <a:pt x="27759" y="8581"/>
                        <a:pt x="26513" y="15681"/>
                      </a:cubicBezTo>
                      <a:cubicBezTo>
                        <a:pt x="25267" y="22906"/>
                        <a:pt x="18292" y="27639"/>
                        <a:pt x="11068" y="26269"/>
                      </a:cubicBezTo>
                      <a:cubicBezTo>
                        <a:pt x="3719" y="24898"/>
                        <a:pt x="-1139" y="17923"/>
                        <a:pt x="23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3" name="Freeform 8333">
                  <a:extLst>
                    <a:ext uri="{FF2B5EF4-FFF2-40B4-BE49-F238E27FC236}">
                      <a16:creationId xmlns:a16="http://schemas.microsoft.com/office/drawing/2014/main" id="{8AAF4F48-61DA-7B07-69CA-68050EAA968B}"/>
                    </a:ext>
                  </a:extLst>
                </p:cNvPr>
                <p:cNvSpPr/>
                <p:nvPr/>
              </p:nvSpPr>
              <p:spPr>
                <a:xfrm>
                  <a:off x="4020971" y="1705144"/>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858"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4" name="Freeform 8334">
                  <a:extLst>
                    <a:ext uri="{FF2B5EF4-FFF2-40B4-BE49-F238E27FC236}">
                      <a16:creationId xmlns:a16="http://schemas.microsoft.com/office/drawing/2014/main" id="{339EED3B-8BA3-92DA-4DAF-FF504833EED7}"/>
                    </a:ext>
                  </a:extLst>
                </p:cNvPr>
                <p:cNvSpPr/>
                <p:nvPr/>
              </p:nvSpPr>
              <p:spPr>
                <a:xfrm>
                  <a:off x="4029680" y="1701407"/>
                  <a:ext cx="9372" cy="51442"/>
                </a:xfrm>
                <a:custGeom>
                  <a:avLst/>
                  <a:gdLst>
                    <a:gd name="connsiteX0" fmla="*/ 383 w 9372"/>
                    <a:gd name="connsiteY0" fmla="*/ 51442 h 51442"/>
                    <a:gd name="connsiteX1" fmla="*/ 1754 w 9372"/>
                    <a:gd name="connsiteY1" fmla="*/ 32634 h 51442"/>
                    <a:gd name="connsiteX2" fmla="*/ 8106 w 9372"/>
                    <a:gd name="connsiteY2" fmla="*/ 16442 h 51442"/>
                    <a:gd name="connsiteX3" fmla="*/ 8853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383" y="51442"/>
                      </a:moveTo>
                      <a:cubicBezTo>
                        <a:pt x="-613" y="43097"/>
                        <a:pt x="508" y="36869"/>
                        <a:pt x="1754" y="32634"/>
                      </a:cubicBezTo>
                      <a:cubicBezTo>
                        <a:pt x="3746" y="25908"/>
                        <a:pt x="6362" y="23292"/>
                        <a:pt x="8106" y="16442"/>
                      </a:cubicBezTo>
                      <a:cubicBezTo>
                        <a:pt x="9850" y="9715"/>
                        <a:pt x="9476"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5" name="Freeform 8335">
                  <a:extLst>
                    <a:ext uri="{FF2B5EF4-FFF2-40B4-BE49-F238E27FC236}">
                      <a16:creationId xmlns:a16="http://schemas.microsoft.com/office/drawing/2014/main" id="{3B1ECDE3-9AB1-5594-AD1D-4F0E86EA6BB6}"/>
                    </a:ext>
                  </a:extLst>
                </p:cNvPr>
                <p:cNvSpPr/>
                <p:nvPr/>
              </p:nvSpPr>
              <p:spPr>
                <a:xfrm>
                  <a:off x="4022354" y="1685477"/>
                  <a:ext cx="26375" cy="26504"/>
                </a:xfrm>
                <a:custGeom>
                  <a:avLst/>
                  <a:gdLst>
                    <a:gd name="connsiteX0" fmla="*/ 26144 w 26375"/>
                    <a:gd name="connsiteY0" fmla="*/ 15681 h 26504"/>
                    <a:gd name="connsiteX1" fmla="*/ 10823 w 26375"/>
                    <a:gd name="connsiteY1" fmla="*/ 26269 h 26504"/>
                    <a:gd name="connsiteX2" fmla="*/ 236 w 26375"/>
                    <a:gd name="connsiteY2" fmla="*/ 10823 h 26504"/>
                    <a:gd name="connsiteX3" fmla="*/ 15556 w 26375"/>
                    <a:gd name="connsiteY3" fmla="*/ 236 h 26504"/>
                    <a:gd name="connsiteX4" fmla="*/ 26144 w 2637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504">
                      <a:moveTo>
                        <a:pt x="26144" y="15681"/>
                      </a:moveTo>
                      <a:cubicBezTo>
                        <a:pt x="24898" y="22906"/>
                        <a:pt x="18048" y="27639"/>
                        <a:pt x="10823" y="26269"/>
                      </a:cubicBezTo>
                      <a:cubicBezTo>
                        <a:pt x="3599" y="24898"/>
                        <a:pt x="-1134" y="18048"/>
                        <a:pt x="236" y="10823"/>
                      </a:cubicBezTo>
                      <a:cubicBezTo>
                        <a:pt x="1481" y="3599"/>
                        <a:pt x="8457" y="-1134"/>
                        <a:pt x="15556" y="236"/>
                      </a:cubicBezTo>
                      <a:cubicBezTo>
                        <a:pt x="22656" y="1606"/>
                        <a:pt x="27514" y="8581"/>
                        <a:pt x="26144"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8" name="Graphic 2987">
                <a:extLst>
                  <a:ext uri="{FF2B5EF4-FFF2-40B4-BE49-F238E27FC236}">
                    <a16:creationId xmlns:a16="http://schemas.microsoft.com/office/drawing/2014/main" id="{95D051C0-4479-88BD-A21C-409B1F2C2E85}"/>
                  </a:ext>
                </a:extLst>
              </p:cNvPr>
              <p:cNvGrpSpPr/>
              <p:nvPr/>
            </p:nvGrpSpPr>
            <p:grpSpPr>
              <a:xfrm>
                <a:off x="3971198" y="1680121"/>
                <a:ext cx="48601" cy="146951"/>
                <a:chOff x="3971198" y="1680121"/>
                <a:chExt cx="48601" cy="146951"/>
              </a:xfrm>
              <a:grpFill/>
            </p:grpSpPr>
            <p:sp>
              <p:nvSpPr>
                <p:cNvPr id="5904" name="Freeform 8337">
                  <a:extLst>
                    <a:ext uri="{FF2B5EF4-FFF2-40B4-BE49-F238E27FC236}">
                      <a16:creationId xmlns:a16="http://schemas.microsoft.com/office/drawing/2014/main" id="{D7AFE874-AB8D-634A-982E-A8B67392082D}"/>
                    </a:ext>
                  </a:extLst>
                </p:cNvPr>
                <p:cNvSpPr/>
                <p:nvPr/>
              </p:nvSpPr>
              <p:spPr>
                <a:xfrm>
                  <a:off x="3989457" y="175633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3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20"/>
                        <a:pt x="4982" y="37492"/>
                        <a:pt x="5356" y="33132"/>
                      </a:cubicBezTo>
                      <a:cubicBezTo>
                        <a:pt x="5854" y="26157"/>
                        <a:pt x="4235" y="22794"/>
                        <a:pt x="5107" y="15694"/>
                      </a:cubicBezTo>
                      <a:cubicBezTo>
                        <a:pt x="5854" y="8844"/>
                        <a:pt x="8221" y="3488"/>
                        <a:pt x="102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5" name="Freeform 8338">
                  <a:extLst>
                    <a:ext uri="{FF2B5EF4-FFF2-40B4-BE49-F238E27FC236}">
                      <a16:creationId xmlns:a16="http://schemas.microsoft.com/office/drawing/2014/main" id="{71EC3551-CD87-C6CF-6F78-A725067F39F5}"/>
                    </a:ext>
                  </a:extLst>
                </p:cNvPr>
                <p:cNvSpPr/>
                <p:nvPr/>
              </p:nvSpPr>
              <p:spPr>
                <a:xfrm>
                  <a:off x="3981195" y="1759700"/>
                  <a:ext cx="9517" cy="51442"/>
                </a:xfrm>
                <a:custGeom>
                  <a:avLst/>
                  <a:gdLst>
                    <a:gd name="connsiteX0" fmla="*/ 9134 w 9517"/>
                    <a:gd name="connsiteY0" fmla="*/ 0 h 51442"/>
                    <a:gd name="connsiteX1" fmla="*/ 7764 w 9517"/>
                    <a:gd name="connsiteY1" fmla="*/ 18808 h 51442"/>
                    <a:gd name="connsiteX2" fmla="*/ 1288 w 9517"/>
                    <a:gd name="connsiteY2" fmla="*/ 35001 h 51442"/>
                    <a:gd name="connsiteX3" fmla="*/ 416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9134" y="0"/>
                      </a:moveTo>
                      <a:cubicBezTo>
                        <a:pt x="10131" y="8345"/>
                        <a:pt x="9010" y="14573"/>
                        <a:pt x="7764" y="18808"/>
                      </a:cubicBezTo>
                      <a:cubicBezTo>
                        <a:pt x="5772" y="25534"/>
                        <a:pt x="3031" y="28150"/>
                        <a:pt x="1288" y="35001"/>
                      </a:cubicBezTo>
                      <a:cubicBezTo>
                        <a:pt x="-456" y="41727"/>
                        <a:pt x="-83" y="47581"/>
                        <a:pt x="41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6" name="Freeform 8339">
                  <a:extLst>
                    <a:ext uri="{FF2B5EF4-FFF2-40B4-BE49-F238E27FC236}">
                      <a16:creationId xmlns:a16="http://schemas.microsoft.com/office/drawing/2014/main" id="{99D46DA7-CF7A-1FC7-5EE2-D861F9A3F059}"/>
                    </a:ext>
                  </a:extLst>
                </p:cNvPr>
                <p:cNvSpPr/>
                <p:nvPr/>
              </p:nvSpPr>
              <p:spPr>
                <a:xfrm>
                  <a:off x="3971198" y="1800568"/>
                  <a:ext cx="26712" cy="26504"/>
                </a:xfrm>
                <a:custGeom>
                  <a:avLst/>
                  <a:gdLst>
                    <a:gd name="connsiteX0" fmla="*/ 199 w 26712"/>
                    <a:gd name="connsiteY0" fmla="*/ 10824 h 26504"/>
                    <a:gd name="connsiteX1" fmla="*/ 15768 w 26712"/>
                    <a:gd name="connsiteY1" fmla="*/ 236 h 26504"/>
                    <a:gd name="connsiteX2" fmla="*/ 26481 w 26712"/>
                    <a:gd name="connsiteY2" fmla="*/ 15681 h 26504"/>
                    <a:gd name="connsiteX3" fmla="*/ 10911 w 26712"/>
                    <a:gd name="connsiteY3" fmla="*/ 26269 h 26504"/>
                    <a:gd name="connsiteX4" fmla="*/ 199 w 26712"/>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2" h="26504">
                      <a:moveTo>
                        <a:pt x="199" y="10824"/>
                      </a:moveTo>
                      <a:cubicBezTo>
                        <a:pt x="1569" y="3599"/>
                        <a:pt x="8420" y="-1134"/>
                        <a:pt x="15768" y="236"/>
                      </a:cubicBezTo>
                      <a:cubicBezTo>
                        <a:pt x="22993" y="1606"/>
                        <a:pt x="27851" y="8457"/>
                        <a:pt x="26481" y="15681"/>
                      </a:cubicBezTo>
                      <a:cubicBezTo>
                        <a:pt x="25235" y="22906"/>
                        <a:pt x="18260" y="27639"/>
                        <a:pt x="10911" y="26269"/>
                      </a:cubicBezTo>
                      <a:cubicBezTo>
                        <a:pt x="3686" y="24898"/>
                        <a:pt x="-1047" y="18048"/>
                        <a:pt x="199"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7" name="Freeform 8340">
                  <a:extLst>
                    <a:ext uri="{FF2B5EF4-FFF2-40B4-BE49-F238E27FC236}">
                      <a16:creationId xmlns:a16="http://schemas.microsoft.com/office/drawing/2014/main" id="{3027D2A4-778B-1F4E-F706-8AF886E91D5F}"/>
                    </a:ext>
                  </a:extLst>
                </p:cNvPr>
                <p:cNvSpPr/>
                <p:nvPr/>
              </p:nvSpPr>
              <p:spPr>
                <a:xfrm>
                  <a:off x="3991575" y="1699663"/>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232" y="13701"/>
                        <a:pt x="4858" y="18061"/>
                      </a:cubicBezTo>
                      <a:cubicBezTo>
                        <a:pt x="4360" y="25036"/>
                        <a:pt x="5854" y="28399"/>
                        <a:pt x="5107" y="35499"/>
                      </a:cubicBezTo>
                      <a:cubicBezTo>
                        <a:pt x="4360"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8" name="Freeform 8341">
                  <a:extLst>
                    <a:ext uri="{FF2B5EF4-FFF2-40B4-BE49-F238E27FC236}">
                      <a16:creationId xmlns:a16="http://schemas.microsoft.com/office/drawing/2014/main" id="{ABC42D27-5DAC-2B1B-0AE6-8698C498E99C}"/>
                    </a:ext>
                  </a:extLst>
                </p:cNvPr>
                <p:cNvSpPr/>
                <p:nvPr/>
              </p:nvSpPr>
              <p:spPr>
                <a:xfrm>
                  <a:off x="4000533" y="1696051"/>
                  <a:ext cx="9517" cy="51442"/>
                </a:xfrm>
                <a:custGeom>
                  <a:avLst/>
                  <a:gdLst>
                    <a:gd name="connsiteX0" fmla="*/ 383 w 9517"/>
                    <a:gd name="connsiteY0" fmla="*/ 51442 h 51442"/>
                    <a:gd name="connsiteX1" fmla="*/ 1754 w 9517"/>
                    <a:gd name="connsiteY1" fmla="*/ 32634 h 51442"/>
                    <a:gd name="connsiteX2" fmla="*/ 8230 w 9517"/>
                    <a:gd name="connsiteY2" fmla="*/ 16442 h 51442"/>
                    <a:gd name="connsiteX3" fmla="*/ 9102 w 9517"/>
                    <a:gd name="connsiteY3" fmla="*/ 0 h 51442"/>
                  </a:gdLst>
                  <a:ahLst/>
                  <a:cxnLst>
                    <a:cxn ang="0">
                      <a:pos x="connsiteX0" y="connsiteY0"/>
                    </a:cxn>
                    <a:cxn ang="0">
                      <a:pos x="connsiteX1" y="connsiteY1"/>
                    </a:cxn>
                    <a:cxn ang="0">
                      <a:pos x="connsiteX2" y="connsiteY2"/>
                    </a:cxn>
                    <a:cxn ang="0">
                      <a:pos x="connsiteX3" y="connsiteY3"/>
                    </a:cxn>
                  </a:cxnLst>
                  <a:rect l="l" t="t" r="r" b="b"/>
                  <a:pathLst>
                    <a:path w="9517" h="51442">
                      <a:moveTo>
                        <a:pt x="383" y="51442"/>
                      </a:moveTo>
                      <a:cubicBezTo>
                        <a:pt x="-613" y="43097"/>
                        <a:pt x="508" y="36869"/>
                        <a:pt x="1754" y="32634"/>
                      </a:cubicBezTo>
                      <a:cubicBezTo>
                        <a:pt x="3746" y="25908"/>
                        <a:pt x="6362" y="23292"/>
                        <a:pt x="8230" y="16442"/>
                      </a:cubicBezTo>
                      <a:cubicBezTo>
                        <a:pt x="9974" y="9716"/>
                        <a:pt x="9601" y="3861"/>
                        <a:pt x="91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9" name="Freeform 8342">
                  <a:extLst>
                    <a:ext uri="{FF2B5EF4-FFF2-40B4-BE49-F238E27FC236}">
                      <a16:creationId xmlns:a16="http://schemas.microsoft.com/office/drawing/2014/main" id="{3926B740-52B8-C988-93C7-E53CBFD4D9E9}"/>
                    </a:ext>
                  </a:extLst>
                </p:cNvPr>
                <p:cNvSpPr/>
                <p:nvPr/>
              </p:nvSpPr>
              <p:spPr>
                <a:xfrm>
                  <a:off x="3993461" y="1680121"/>
                  <a:ext cx="26338" cy="26504"/>
                </a:xfrm>
                <a:custGeom>
                  <a:avLst/>
                  <a:gdLst>
                    <a:gd name="connsiteX0" fmla="*/ 26140 w 26338"/>
                    <a:gd name="connsiteY0" fmla="*/ 15681 h 26504"/>
                    <a:gd name="connsiteX1" fmla="*/ 10819 w 26338"/>
                    <a:gd name="connsiteY1" fmla="*/ 26269 h 26504"/>
                    <a:gd name="connsiteX2" fmla="*/ 232 w 26338"/>
                    <a:gd name="connsiteY2" fmla="*/ 10823 h 26504"/>
                    <a:gd name="connsiteX3" fmla="*/ 15552 w 26338"/>
                    <a:gd name="connsiteY3" fmla="*/ 236 h 26504"/>
                    <a:gd name="connsiteX4" fmla="*/ 26140 w 26338"/>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504">
                      <a:moveTo>
                        <a:pt x="26140" y="15681"/>
                      </a:moveTo>
                      <a:cubicBezTo>
                        <a:pt x="24894" y="22906"/>
                        <a:pt x="17919" y="27639"/>
                        <a:pt x="10819" y="26269"/>
                      </a:cubicBezTo>
                      <a:cubicBezTo>
                        <a:pt x="3719" y="24898"/>
                        <a:pt x="-1139" y="18048"/>
                        <a:pt x="232" y="10823"/>
                      </a:cubicBezTo>
                      <a:cubicBezTo>
                        <a:pt x="1602" y="3599"/>
                        <a:pt x="8453" y="-1134"/>
                        <a:pt x="15552" y="236"/>
                      </a:cubicBezTo>
                      <a:cubicBezTo>
                        <a:pt x="22652" y="1606"/>
                        <a:pt x="27385" y="8457"/>
                        <a:pt x="26140"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9" name="Graphic 2987">
                <a:extLst>
                  <a:ext uri="{FF2B5EF4-FFF2-40B4-BE49-F238E27FC236}">
                    <a16:creationId xmlns:a16="http://schemas.microsoft.com/office/drawing/2014/main" id="{2364E565-048F-6EC1-79F4-44FE6CA13AD7}"/>
                  </a:ext>
                </a:extLst>
              </p:cNvPr>
              <p:cNvGrpSpPr/>
              <p:nvPr/>
            </p:nvGrpSpPr>
            <p:grpSpPr>
              <a:xfrm>
                <a:off x="3941889" y="1674765"/>
                <a:ext cx="48924" cy="146827"/>
                <a:chOff x="3941889" y="1674765"/>
                <a:chExt cx="48924" cy="146827"/>
              </a:xfrm>
              <a:grpFill/>
            </p:grpSpPr>
            <p:sp>
              <p:nvSpPr>
                <p:cNvPr id="5898" name="Freeform 8344">
                  <a:extLst>
                    <a:ext uri="{FF2B5EF4-FFF2-40B4-BE49-F238E27FC236}">
                      <a16:creationId xmlns:a16="http://schemas.microsoft.com/office/drawing/2014/main" id="{B4763601-AC37-D52E-9D3C-102031C85917}"/>
                    </a:ext>
                  </a:extLst>
                </p:cNvPr>
                <p:cNvSpPr/>
                <p:nvPr/>
              </p:nvSpPr>
              <p:spPr>
                <a:xfrm>
                  <a:off x="3960062" y="175085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986" y="43720"/>
                        <a:pt x="5107" y="37492"/>
                        <a:pt x="5356" y="33132"/>
                      </a:cubicBezTo>
                      <a:cubicBezTo>
                        <a:pt x="5854" y="26157"/>
                        <a:pt x="4360" y="22794"/>
                        <a:pt x="5107" y="15694"/>
                      </a:cubicBezTo>
                      <a:cubicBezTo>
                        <a:pt x="5854" y="8844"/>
                        <a:pt x="8346"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9" name="Freeform 8345">
                  <a:extLst>
                    <a:ext uri="{FF2B5EF4-FFF2-40B4-BE49-F238E27FC236}">
                      <a16:creationId xmlns:a16="http://schemas.microsoft.com/office/drawing/2014/main" id="{02B5DB0A-804E-6128-98F8-574BFA0E9A9B}"/>
                    </a:ext>
                  </a:extLst>
                </p:cNvPr>
                <p:cNvSpPr/>
                <p:nvPr/>
              </p:nvSpPr>
              <p:spPr>
                <a:xfrm>
                  <a:off x="3951799" y="1754344"/>
                  <a:ext cx="9621" cy="51442"/>
                </a:xfrm>
                <a:custGeom>
                  <a:avLst/>
                  <a:gdLst>
                    <a:gd name="connsiteX0" fmla="*/ 9259 w 9621"/>
                    <a:gd name="connsiteY0" fmla="*/ 0 h 51442"/>
                    <a:gd name="connsiteX1" fmla="*/ 7765 w 9621"/>
                    <a:gd name="connsiteY1" fmla="*/ 18808 h 51442"/>
                    <a:gd name="connsiteX2" fmla="*/ 1287 w 9621"/>
                    <a:gd name="connsiteY2" fmla="*/ 35001 h 51442"/>
                    <a:gd name="connsiteX3" fmla="*/ 415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0"/>
                      </a:moveTo>
                      <a:cubicBezTo>
                        <a:pt x="10256" y="8345"/>
                        <a:pt x="9010" y="14573"/>
                        <a:pt x="7765" y="18808"/>
                      </a:cubicBezTo>
                      <a:cubicBezTo>
                        <a:pt x="5772" y="25534"/>
                        <a:pt x="3031" y="28150"/>
                        <a:pt x="1287" y="35001"/>
                      </a:cubicBezTo>
                      <a:cubicBezTo>
                        <a:pt x="-456" y="41727"/>
                        <a:pt x="-83" y="47581"/>
                        <a:pt x="41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0" name="Freeform 8346">
                  <a:extLst>
                    <a:ext uri="{FF2B5EF4-FFF2-40B4-BE49-F238E27FC236}">
                      <a16:creationId xmlns:a16="http://schemas.microsoft.com/office/drawing/2014/main" id="{BD29150F-8115-1F47-106C-B1A58DFC3010}"/>
                    </a:ext>
                  </a:extLst>
                </p:cNvPr>
                <p:cNvSpPr/>
                <p:nvPr/>
              </p:nvSpPr>
              <p:spPr>
                <a:xfrm>
                  <a:off x="3941889" y="1795088"/>
                  <a:ext cx="26749" cy="26504"/>
                </a:xfrm>
                <a:custGeom>
                  <a:avLst/>
                  <a:gdLst>
                    <a:gd name="connsiteX0" fmla="*/ 236 w 26749"/>
                    <a:gd name="connsiteY0" fmla="*/ 10823 h 26504"/>
                    <a:gd name="connsiteX1" fmla="*/ 15806 w 26749"/>
                    <a:gd name="connsiteY1" fmla="*/ 236 h 26504"/>
                    <a:gd name="connsiteX2" fmla="*/ 26518 w 26749"/>
                    <a:gd name="connsiteY2" fmla="*/ 15681 h 26504"/>
                    <a:gd name="connsiteX3" fmla="*/ 10948 w 26749"/>
                    <a:gd name="connsiteY3" fmla="*/ 26269 h 26504"/>
                    <a:gd name="connsiteX4" fmla="*/ 236 w 2674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04">
                      <a:moveTo>
                        <a:pt x="236" y="10823"/>
                      </a:moveTo>
                      <a:cubicBezTo>
                        <a:pt x="1606" y="3599"/>
                        <a:pt x="8581" y="-1134"/>
                        <a:pt x="15806" y="236"/>
                      </a:cubicBezTo>
                      <a:cubicBezTo>
                        <a:pt x="23030" y="1606"/>
                        <a:pt x="27888" y="8457"/>
                        <a:pt x="26518" y="15681"/>
                      </a:cubicBezTo>
                      <a:cubicBezTo>
                        <a:pt x="25147"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1" name="Freeform 8347">
                  <a:extLst>
                    <a:ext uri="{FF2B5EF4-FFF2-40B4-BE49-F238E27FC236}">
                      <a16:creationId xmlns:a16="http://schemas.microsoft.com/office/drawing/2014/main" id="{21CE6063-65CC-6640-DCC4-5D68CA1563E7}"/>
                    </a:ext>
                  </a:extLst>
                </p:cNvPr>
                <p:cNvSpPr/>
                <p:nvPr/>
              </p:nvSpPr>
              <p:spPr>
                <a:xfrm>
                  <a:off x="3962553" y="1694308"/>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107" y="13701"/>
                        <a:pt x="4858" y="18061"/>
                      </a:cubicBezTo>
                      <a:cubicBezTo>
                        <a:pt x="4360" y="25036"/>
                        <a:pt x="5854" y="28399"/>
                        <a:pt x="5107" y="35499"/>
                      </a:cubicBezTo>
                      <a:cubicBezTo>
                        <a:pt x="4360"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2" name="Freeform 8348">
                  <a:extLst>
                    <a:ext uri="{FF2B5EF4-FFF2-40B4-BE49-F238E27FC236}">
                      <a16:creationId xmlns:a16="http://schemas.microsoft.com/office/drawing/2014/main" id="{9F511FA4-100F-1EC4-8742-5D91D111C72D}"/>
                    </a:ext>
                  </a:extLst>
                </p:cNvPr>
                <p:cNvSpPr/>
                <p:nvPr/>
              </p:nvSpPr>
              <p:spPr>
                <a:xfrm>
                  <a:off x="3971408" y="1690571"/>
                  <a:ext cx="9621" cy="51442"/>
                </a:xfrm>
                <a:custGeom>
                  <a:avLst/>
                  <a:gdLst>
                    <a:gd name="connsiteX0" fmla="*/ 362 w 9621"/>
                    <a:gd name="connsiteY0" fmla="*/ 51442 h 51442"/>
                    <a:gd name="connsiteX1" fmla="*/ 1857 w 9621"/>
                    <a:gd name="connsiteY1" fmla="*/ 32634 h 51442"/>
                    <a:gd name="connsiteX2" fmla="*/ 8334 w 9621"/>
                    <a:gd name="connsiteY2" fmla="*/ 16442 h 51442"/>
                    <a:gd name="connsiteX3" fmla="*/ 9205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362" y="51442"/>
                      </a:moveTo>
                      <a:cubicBezTo>
                        <a:pt x="-634" y="43097"/>
                        <a:pt x="611" y="36869"/>
                        <a:pt x="1857" y="32634"/>
                      </a:cubicBezTo>
                      <a:cubicBezTo>
                        <a:pt x="3850" y="25908"/>
                        <a:pt x="6590" y="23292"/>
                        <a:pt x="8334" y="16442"/>
                      </a:cubicBezTo>
                      <a:cubicBezTo>
                        <a:pt x="10077" y="9715"/>
                        <a:pt x="9704" y="3861"/>
                        <a:pt x="9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3" name="Freeform 8349">
                  <a:extLst>
                    <a:ext uri="{FF2B5EF4-FFF2-40B4-BE49-F238E27FC236}">
                      <a16:creationId xmlns:a16="http://schemas.microsoft.com/office/drawing/2014/main" id="{4264A564-E55D-9D25-B956-0CD2AA565A5C}"/>
                    </a:ext>
                  </a:extLst>
                </p:cNvPr>
                <p:cNvSpPr/>
                <p:nvPr/>
              </p:nvSpPr>
              <p:spPr>
                <a:xfrm>
                  <a:off x="3964343" y="1674765"/>
                  <a:ext cx="26471" cy="26504"/>
                </a:xfrm>
                <a:custGeom>
                  <a:avLst/>
                  <a:gdLst>
                    <a:gd name="connsiteX0" fmla="*/ 26235 w 26471"/>
                    <a:gd name="connsiteY0" fmla="*/ 15681 h 26504"/>
                    <a:gd name="connsiteX1" fmla="*/ 10790 w 26471"/>
                    <a:gd name="connsiteY1" fmla="*/ 26269 h 26504"/>
                    <a:gd name="connsiteX2" fmla="*/ 203 w 26471"/>
                    <a:gd name="connsiteY2" fmla="*/ 10823 h 26504"/>
                    <a:gd name="connsiteX3" fmla="*/ 15648 w 26471"/>
                    <a:gd name="connsiteY3" fmla="*/ 236 h 26504"/>
                    <a:gd name="connsiteX4" fmla="*/ 26235 w 26471"/>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504">
                      <a:moveTo>
                        <a:pt x="26235" y="15681"/>
                      </a:moveTo>
                      <a:cubicBezTo>
                        <a:pt x="24865" y="22906"/>
                        <a:pt x="18015" y="27639"/>
                        <a:pt x="10790" y="26269"/>
                      </a:cubicBezTo>
                      <a:cubicBezTo>
                        <a:pt x="3566" y="24898"/>
                        <a:pt x="-1043" y="18048"/>
                        <a:pt x="203" y="10823"/>
                      </a:cubicBezTo>
                      <a:cubicBezTo>
                        <a:pt x="1573" y="3599"/>
                        <a:pt x="8424" y="-1134"/>
                        <a:pt x="15648" y="236"/>
                      </a:cubicBezTo>
                      <a:cubicBezTo>
                        <a:pt x="22872" y="1482"/>
                        <a:pt x="27605" y="8457"/>
                        <a:pt x="26235"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0" name="Graphic 2987">
                <a:extLst>
                  <a:ext uri="{FF2B5EF4-FFF2-40B4-BE49-F238E27FC236}">
                    <a16:creationId xmlns:a16="http://schemas.microsoft.com/office/drawing/2014/main" id="{5570B1B1-7946-09D9-D066-23FDA74C2E3F}"/>
                  </a:ext>
                </a:extLst>
              </p:cNvPr>
              <p:cNvGrpSpPr/>
              <p:nvPr/>
            </p:nvGrpSpPr>
            <p:grpSpPr>
              <a:xfrm>
                <a:off x="3912494" y="1669284"/>
                <a:ext cx="49394" cy="146827"/>
                <a:chOff x="3912494" y="1669284"/>
                <a:chExt cx="49394" cy="146827"/>
              </a:xfrm>
              <a:grpFill/>
            </p:grpSpPr>
            <p:sp>
              <p:nvSpPr>
                <p:cNvPr id="5892" name="Freeform 8351">
                  <a:extLst>
                    <a:ext uri="{FF2B5EF4-FFF2-40B4-BE49-F238E27FC236}">
                      <a16:creationId xmlns:a16="http://schemas.microsoft.com/office/drawing/2014/main" id="{16984F72-46EB-5B2A-7466-E7037CE5CB20}"/>
                    </a:ext>
                  </a:extLst>
                </p:cNvPr>
                <p:cNvSpPr/>
                <p:nvPr/>
              </p:nvSpPr>
              <p:spPr>
                <a:xfrm>
                  <a:off x="3930791" y="1745376"/>
                  <a:ext cx="10338" cy="51193"/>
                </a:xfrm>
                <a:custGeom>
                  <a:avLst/>
                  <a:gdLst>
                    <a:gd name="connsiteX0" fmla="*/ 0 w 10338"/>
                    <a:gd name="connsiteY0" fmla="*/ 51193 h 51193"/>
                    <a:gd name="connsiteX1" fmla="*/ 5481 w 10338"/>
                    <a:gd name="connsiteY1" fmla="*/ 33132 h 51193"/>
                    <a:gd name="connsiteX2" fmla="*/ 5232 w 10338"/>
                    <a:gd name="connsiteY2" fmla="*/ 15694 h 51193"/>
                    <a:gd name="connsiteX3" fmla="*/ 10339 w 10338"/>
                    <a:gd name="connsiteY3" fmla="*/ 0 h 51193"/>
                  </a:gdLst>
                  <a:ahLst/>
                  <a:cxnLst>
                    <a:cxn ang="0">
                      <a:pos x="connsiteX0" y="connsiteY0"/>
                    </a:cxn>
                    <a:cxn ang="0">
                      <a:pos x="connsiteX1" y="connsiteY1"/>
                    </a:cxn>
                    <a:cxn ang="0">
                      <a:pos x="connsiteX2" y="connsiteY2"/>
                    </a:cxn>
                    <a:cxn ang="0">
                      <a:pos x="connsiteX3" y="connsiteY3"/>
                    </a:cxn>
                  </a:cxnLst>
                  <a:rect l="l" t="t" r="r" b="b"/>
                  <a:pathLst>
                    <a:path w="10338" h="51193">
                      <a:moveTo>
                        <a:pt x="0" y="51193"/>
                      </a:moveTo>
                      <a:cubicBezTo>
                        <a:pt x="3986" y="43720"/>
                        <a:pt x="5107" y="37492"/>
                        <a:pt x="5481" y="33132"/>
                      </a:cubicBezTo>
                      <a:cubicBezTo>
                        <a:pt x="5979" y="26157"/>
                        <a:pt x="4484" y="22794"/>
                        <a:pt x="5232" y="15694"/>
                      </a:cubicBezTo>
                      <a:cubicBezTo>
                        <a:pt x="5979" y="8844"/>
                        <a:pt x="8470" y="3488"/>
                        <a:pt x="103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3" name="Freeform 8352">
                  <a:extLst>
                    <a:ext uri="{FF2B5EF4-FFF2-40B4-BE49-F238E27FC236}">
                      <a16:creationId xmlns:a16="http://schemas.microsoft.com/office/drawing/2014/main" id="{B062E2AA-8D60-1B93-3E93-44780595CE3A}"/>
                    </a:ext>
                  </a:extLst>
                </p:cNvPr>
                <p:cNvSpPr/>
                <p:nvPr/>
              </p:nvSpPr>
              <p:spPr>
                <a:xfrm>
                  <a:off x="3922476" y="1748864"/>
                  <a:ext cx="9797" cy="51317"/>
                </a:xfrm>
                <a:custGeom>
                  <a:avLst/>
                  <a:gdLst>
                    <a:gd name="connsiteX0" fmla="*/ 9436 w 9797"/>
                    <a:gd name="connsiteY0" fmla="*/ 0 h 51317"/>
                    <a:gd name="connsiteX1" fmla="*/ 7941 w 9797"/>
                    <a:gd name="connsiteY1" fmla="*/ 18684 h 51317"/>
                    <a:gd name="connsiteX2" fmla="*/ 1339 w 9797"/>
                    <a:gd name="connsiteY2" fmla="*/ 34876 h 51317"/>
                    <a:gd name="connsiteX3" fmla="*/ 468 w 9797"/>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797" h="51317">
                      <a:moveTo>
                        <a:pt x="9436" y="0"/>
                      </a:moveTo>
                      <a:cubicBezTo>
                        <a:pt x="10432" y="8345"/>
                        <a:pt x="9186" y="14573"/>
                        <a:pt x="7941" y="18684"/>
                      </a:cubicBezTo>
                      <a:cubicBezTo>
                        <a:pt x="5823" y="25410"/>
                        <a:pt x="3208" y="28025"/>
                        <a:pt x="1339" y="34876"/>
                      </a:cubicBezTo>
                      <a:cubicBezTo>
                        <a:pt x="-404" y="41602"/>
                        <a:pt x="-155" y="47456"/>
                        <a:pt x="468"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4" name="Freeform 8353">
                  <a:extLst>
                    <a:ext uri="{FF2B5EF4-FFF2-40B4-BE49-F238E27FC236}">
                      <a16:creationId xmlns:a16="http://schemas.microsoft.com/office/drawing/2014/main" id="{1583433B-1598-5B82-2CB5-9C7A9B806F91}"/>
                    </a:ext>
                  </a:extLst>
                </p:cNvPr>
                <p:cNvSpPr/>
                <p:nvPr/>
              </p:nvSpPr>
              <p:spPr>
                <a:xfrm>
                  <a:off x="3912494" y="1789607"/>
                  <a:ext cx="26716" cy="26504"/>
                </a:xfrm>
                <a:custGeom>
                  <a:avLst/>
                  <a:gdLst>
                    <a:gd name="connsiteX0" fmla="*/ 236 w 26716"/>
                    <a:gd name="connsiteY0" fmla="*/ 10823 h 26504"/>
                    <a:gd name="connsiteX1" fmla="*/ 15806 w 26716"/>
                    <a:gd name="connsiteY1" fmla="*/ 236 h 26504"/>
                    <a:gd name="connsiteX2" fmla="*/ 26517 w 26716"/>
                    <a:gd name="connsiteY2" fmla="*/ 15681 h 26504"/>
                    <a:gd name="connsiteX3" fmla="*/ 10948 w 26716"/>
                    <a:gd name="connsiteY3" fmla="*/ 26269 h 26504"/>
                    <a:gd name="connsiteX4" fmla="*/ 236 w 2671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4">
                      <a:moveTo>
                        <a:pt x="236" y="10823"/>
                      </a:moveTo>
                      <a:cubicBezTo>
                        <a:pt x="1606" y="3599"/>
                        <a:pt x="8581" y="-1134"/>
                        <a:pt x="15806" y="236"/>
                      </a:cubicBezTo>
                      <a:cubicBezTo>
                        <a:pt x="23030" y="1606"/>
                        <a:pt x="27763" y="8457"/>
                        <a:pt x="26517" y="15681"/>
                      </a:cubicBezTo>
                      <a:cubicBezTo>
                        <a:pt x="25272"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5" name="Freeform 8354">
                  <a:extLst>
                    <a:ext uri="{FF2B5EF4-FFF2-40B4-BE49-F238E27FC236}">
                      <a16:creationId xmlns:a16="http://schemas.microsoft.com/office/drawing/2014/main" id="{5C67C618-D81E-FD73-4604-B6B39E31B82A}"/>
                    </a:ext>
                  </a:extLst>
                </p:cNvPr>
                <p:cNvSpPr/>
                <p:nvPr/>
              </p:nvSpPr>
              <p:spPr>
                <a:xfrm>
                  <a:off x="3933157" y="1688952"/>
                  <a:ext cx="10587" cy="51193"/>
                </a:xfrm>
                <a:custGeom>
                  <a:avLst/>
                  <a:gdLst>
                    <a:gd name="connsiteX0" fmla="*/ 10587 w 10587"/>
                    <a:gd name="connsiteY0" fmla="*/ 0 h 51193"/>
                    <a:gd name="connsiteX1" fmla="*/ 5107 w 10587"/>
                    <a:gd name="connsiteY1" fmla="*/ 18061 h 51193"/>
                    <a:gd name="connsiteX2" fmla="*/ 5232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4" y="28399"/>
                        <a:pt x="5232" y="35499"/>
                      </a:cubicBezTo>
                      <a:cubicBezTo>
                        <a:pt x="4484"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6" name="Freeform 8355">
                  <a:extLst>
                    <a:ext uri="{FF2B5EF4-FFF2-40B4-BE49-F238E27FC236}">
                      <a16:creationId xmlns:a16="http://schemas.microsoft.com/office/drawing/2014/main" id="{9BBE24F8-2076-203B-1EB0-C504AC1C196F}"/>
                    </a:ext>
                  </a:extLst>
                </p:cNvPr>
                <p:cNvSpPr/>
                <p:nvPr/>
              </p:nvSpPr>
              <p:spPr>
                <a:xfrm>
                  <a:off x="3942262" y="1685339"/>
                  <a:ext cx="9673" cy="51317"/>
                </a:xfrm>
                <a:custGeom>
                  <a:avLst/>
                  <a:gdLst>
                    <a:gd name="connsiteX0" fmla="*/ 362 w 9673"/>
                    <a:gd name="connsiteY0" fmla="*/ 51318 h 51317"/>
                    <a:gd name="connsiteX1" fmla="*/ 1857 w 9673"/>
                    <a:gd name="connsiteY1" fmla="*/ 32634 h 51317"/>
                    <a:gd name="connsiteX2" fmla="*/ 8334 w 9673"/>
                    <a:gd name="connsiteY2" fmla="*/ 16442 h 51317"/>
                    <a:gd name="connsiteX3" fmla="*/ 9206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362" y="51318"/>
                      </a:moveTo>
                      <a:cubicBezTo>
                        <a:pt x="-634" y="42972"/>
                        <a:pt x="611" y="36745"/>
                        <a:pt x="1857" y="32634"/>
                      </a:cubicBezTo>
                      <a:cubicBezTo>
                        <a:pt x="3974" y="25908"/>
                        <a:pt x="6590" y="23292"/>
                        <a:pt x="8334" y="16442"/>
                      </a:cubicBezTo>
                      <a:cubicBezTo>
                        <a:pt x="10078" y="9716"/>
                        <a:pt x="9829"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7" name="Freeform 8356">
                  <a:extLst>
                    <a:ext uri="{FF2B5EF4-FFF2-40B4-BE49-F238E27FC236}">
                      <a16:creationId xmlns:a16="http://schemas.microsoft.com/office/drawing/2014/main" id="{C1FB69F5-9EFB-B5C9-53C1-F2B6D15EFE32}"/>
                    </a:ext>
                  </a:extLst>
                </p:cNvPr>
                <p:cNvSpPr/>
                <p:nvPr/>
              </p:nvSpPr>
              <p:spPr>
                <a:xfrm>
                  <a:off x="3935532" y="1669284"/>
                  <a:ext cx="26355" cy="26504"/>
                </a:xfrm>
                <a:custGeom>
                  <a:avLst/>
                  <a:gdLst>
                    <a:gd name="connsiteX0" fmla="*/ 26149 w 26355"/>
                    <a:gd name="connsiteY0" fmla="*/ 15681 h 26504"/>
                    <a:gd name="connsiteX1" fmla="*/ 10704 w 26355"/>
                    <a:gd name="connsiteY1" fmla="*/ 26269 h 26504"/>
                    <a:gd name="connsiteX2" fmla="*/ 241 w 26355"/>
                    <a:gd name="connsiteY2" fmla="*/ 10823 h 26504"/>
                    <a:gd name="connsiteX3" fmla="*/ 15686 w 26355"/>
                    <a:gd name="connsiteY3" fmla="*/ 236 h 26504"/>
                    <a:gd name="connsiteX4" fmla="*/ 26149 w 2635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504">
                      <a:moveTo>
                        <a:pt x="26149" y="15681"/>
                      </a:moveTo>
                      <a:cubicBezTo>
                        <a:pt x="24779" y="22906"/>
                        <a:pt x="17928" y="27639"/>
                        <a:pt x="10704" y="26269"/>
                      </a:cubicBezTo>
                      <a:cubicBezTo>
                        <a:pt x="3479" y="24898"/>
                        <a:pt x="-1129" y="18048"/>
                        <a:pt x="241" y="10823"/>
                      </a:cubicBezTo>
                      <a:cubicBezTo>
                        <a:pt x="1611" y="3599"/>
                        <a:pt x="8462" y="-1134"/>
                        <a:pt x="15686" y="236"/>
                      </a:cubicBezTo>
                      <a:cubicBezTo>
                        <a:pt x="22910" y="1606"/>
                        <a:pt x="27394" y="8581"/>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1" name="Graphic 2987">
                <a:extLst>
                  <a:ext uri="{FF2B5EF4-FFF2-40B4-BE49-F238E27FC236}">
                    <a16:creationId xmlns:a16="http://schemas.microsoft.com/office/drawing/2014/main" id="{DA5F9B38-089C-2745-CCA0-D6EC82EA6E9B}"/>
                  </a:ext>
                </a:extLst>
              </p:cNvPr>
              <p:cNvGrpSpPr/>
              <p:nvPr/>
            </p:nvGrpSpPr>
            <p:grpSpPr>
              <a:xfrm>
                <a:off x="3883188" y="1663929"/>
                <a:ext cx="49707" cy="146702"/>
                <a:chOff x="3883188" y="1663929"/>
                <a:chExt cx="49707" cy="146702"/>
              </a:xfrm>
              <a:grpFill/>
            </p:grpSpPr>
            <p:sp>
              <p:nvSpPr>
                <p:cNvPr id="5886" name="Freeform 8358">
                  <a:extLst>
                    <a:ext uri="{FF2B5EF4-FFF2-40B4-BE49-F238E27FC236}">
                      <a16:creationId xmlns:a16="http://schemas.microsoft.com/office/drawing/2014/main" id="{BB5E866A-331D-137C-DC3A-FE1770F82799}"/>
                    </a:ext>
                  </a:extLst>
                </p:cNvPr>
                <p:cNvSpPr/>
                <p:nvPr/>
              </p:nvSpPr>
              <p:spPr>
                <a:xfrm>
                  <a:off x="3901520" y="1739896"/>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986" y="43720"/>
                        <a:pt x="5107" y="37492"/>
                        <a:pt x="5481" y="33132"/>
                      </a:cubicBezTo>
                      <a:cubicBezTo>
                        <a:pt x="5979" y="26157"/>
                        <a:pt x="4484" y="22794"/>
                        <a:pt x="5356" y="15694"/>
                      </a:cubicBezTo>
                      <a:cubicBezTo>
                        <a:pt x="6228" y="8844"/>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7" name="Freeform 8359">
                  <a:extLst>
                    <a:ext uri="{FF2B5EF4-FFF2-40B4-BE49-F238E27FC236}">
                      <a16:creationId xmlns:a16="http://schemas.microsoft.com/office/drawing/2014/main" id="{A8D3F4E9-78B3-8D5E-1909-6AAC1919FC2A}"/>
                    </a:ext>
                  </a:extLst>
                </p:cNvPr>
                <p:cNvSpPr/>
                <p:nvPr/>
              </p:nvSpPr>
              <p:spPr>
                <a:xfrm>
                  <a:off x="3893181" y="1743383"/>
                  <a:ext cx="9891" cy="51317"/>
                </a:xfrm>
                <a:custGeom>
                  <a:avLst/>
                  <a:gdLst>
                    <a:gd name="connsiteX0" fmla="*/ 9584 w 9891"/>
                    <a:gd name="connsiteY0" fmla="*/ 0 h 51317"/>
                    <a:gd name="connsiteX1" fmla="*/ 7965 w 9891"/>
                    <a:gd name="connsiteY1" fmla="*/ 18684 h 51317"/>
                    <a:gd name="connsiteX2" fmla="*/ 1364 w 9891"/>
                    <a:gd name="connsiteY2" fmla="*/ 34876 h 51317"/>
                    <a:gd name="connsiteX3" fmla="*/ 367 w 98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0"/>
                      </a:moveTo>
                      <a:cubicBezTo>
                        <a:pt x="10456" y="8345"/>
                        <a:pt x="9335" y="14573"/>
                        <a:pt x="7965" y="18684"/>
                      </a:cubicBezTo>
                      <a:cubicBezTo>
                        <a:pt x="5848" y="25410"/>
                        <a:pt x="3232" y="28025"/>
                        <a:pt x="1364" y="34876"/>
                      </a:cubicBezTo>
                      <a:cubicBezTo>
                        <a:pt x="-380" y="41602"/>
                        <a:pt x="-131" y="47456"/>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8" name="Freeform 8360">
                  <a:extLst>
                    <a:ext uri="{FF2B5EF4-FFF2-40B4-BE49-F238E27FC236}">
                      <a16:creationId xmlns:a16="http://schemas.microsoft.com/office/drawing/2014/main" id="{087D9E31-72B1-5245-F10D-40B79F488561}"/>
                    </a:ext>
                  </a:extLst>
                </p:cNvPr>
                <p:cNvSpPr/>
                <p:nvPr/>
              </p:nvSpPr>
              <p:spPr>
                <a:xfrm>
                  <a:off x="3883188" y="1784127"/>
                  <a:ext cx="26793" cy="26504"/>
                </a:xfrm>
                <a:custGeom>
                  <a:avLst/>
                  <a:gdLst>
                    <a:gd name="connsiteX0" fmla="*/ 271 w 26793"/>
                    <a:gd name="connsiteY0" fmla="*/ 10824 h 26504"/>
                    <a:gd name="connsiteX1" fmla="*/ 15965 w 26793"/>
                    <a:gd name="connsiteY1" fmla="*/ 236 h 26504"/>
                    <a:gd name="connsiteX2" fmla="*/ 26553 w 26793"/>
                    <a:gd name="connsiteY2" fmla="*/ 15681 h 26504"/>
                    <a:gd name="connsiteX3" fmla="*/ 10858 w 26793"/>
                    <a:gd name="connsiteY3" fmla="*/ 26269 h 26504"/>
                    <a:gd name="connsiteX4" fmla="*/ 271 w 26793"/>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04">
                      <a:moveTo>
                        <a:pt x="271" y="10824"/>
                      </a:moveTo>
                      <a:cubicBezTo>
                        <a:pt x="1641" y="3599"/>
                        <a:pt x="8616" y="-1134"/>
                        <a:pt x="15965" y="236"/>
                      </a:cubicBezTo>
                      <a:cubicBezTo>
                        <a:pt x="23314" y="1606"/>
                        <a:pt x="27922" y="8457"/>
                        <a:pt x="26553" y="15681"/>
                      </a:cubicBezTo>
                      <a:cubicBezTo>
                        <a:pt x="25182" y="22906"/>
                        <a:pt x="18207" y="27639"/>
                        <a:pt x="10858" y="26269"/>
                      </a:cubicBezTo>
                      <a:cubicBezTo>
                        <a:pt x="3634" y="24898"/>
                        <a:pt x="-1224" y="18048"/>
                        <a:pt x="271"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9" name="Freeform 8361">
                  <a:extLst>
                    <a:ext uri="{FF2B5EF4-FFF2-40B4-BE49-F238E27FC236}">
                      <a16:creationId xmlns:a16="http://schemas.microsoft.com/office/drawing/2014/main" id="{6B76FFAE-DDC9-E475-D157-1C0B7CFBB16A}"/>
                    </a:ext>
                  </a:extLst>
                </p:cNvPr>
                <p:cNvSpPr/>
                <p:nvPr/>
              </p:nvSpPr>
              <p:spPr>
                <a:xfrm>
                  <a:off x="3904260" y="1683471"/>
                  <a:ext cx="10587" cy="51193"/>
                </a:xfrm>
                <a:custGeom>
                  <a:avLst/>
                  <a:gdLst>
                    <a:gd name="connsiteX0" fmla="*/ 10587 w 10587"/>
                    <a:gd name="connsiteY0" fmla="*/ 0 h 51193"/>
                    <a:gd name="connsiteX1" fmla="*/ 5107 w 10587"/>
                    <a:gd name="connsiteY1" fmla="*/ 18061 h 51193"/>
                    <a:gd name="connsiteX2" fmla="*/ 5231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3" y="28399"/>
                        <a:pt x="5231" y="35499"/>
                      </a:cubicBezTo>
                      <a:cubicBezTo>
                        <a:pt x="4359"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0" name="Freeform 8362">
                  <a:extLst>
                    <a:ext uri="{FF2B5EF4-FFF2-40B4-BE49-F238E27FC236}">
                      <a16:creationId xmlns:a16="http://schemas.microsoft.com/office/drawing/2014/main" id="{CE35ED80-23DA-B1E5-6BC0-88D7C452D47D}"/>
                    </a:ext>
                  </a:extLst>
                </p:cNvPr>
                <p:cNvSpPr/>
                <p:nvPr/>
              </p:nvSpPr>
              <p:spPr>
                <a:xfrm>
                  <a:off x="3913170" y="1679859"/>
                  <a:ext cx="9891" cy="51317"/>
                </a:xfrm>
                <a:custGeom>
                  <a:avLst/>
                  <a:gdLst>
                    <a:gd name="connsiteX0" fmla="*/ 308 w 9891"/>
                    <a:gd name="connsiteY0" fmla="*/ 51318 h 51317"/>
                    <a:gd name="connsiteX1" fmla="*/ 1927 w 9891"/>
                    <a:gd name="connsiteY1" fmla="*/ 32634 h 51317"/>
                    <a:gd name="connsiteX2" fmla="*/ 8529 w 9891"/>
                    <a:gd name="connsiteY2" fmla="*/ 16442 h 51317"/>
                    <a:gd name="connsiteX3" fmla="*/ 9525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308" y="51318"/>
                      </a:moveTo>
                      <a:cubicBezTo>
                        <a:pt x="-564" y="42972"/>
                        <a:pt x="557" y="36745"/>
                        <a:pt x="1927" y="32634"/>
                      </a:cubicBezTo>
                      <a:cubicBezTo>
                        <a:pt x="4044" y="25908"/>
                        <a:pt x="6660" y="23292"/>
                        <a:pt x="8529" y="16442"/>
                      </a:cubicBezTo>
                      <a:cubicBezTo>
                        <a:pt x="10272" y="9715"/>
                        <a:pt x="10023" y="3861"/>
                        <a:pt x="95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1" name="Freeform 8363">
                  <a:extLst>
                    <a:ext uri="{FF2B5EF4-FFF2-40B4-BE49-F238E27FC236}">
                      <a16:creationId xmlns:a16="http://schemas.microsoft.com/office/drawing/2014/main" id="{C588A179-F7F6-DE33-4BEA-F861106E6AB4}"/>
                    </a:ext>
                  </a:extLst>
                </p:cNvPr>
                <p:cNvSpPr/>
                <p:nvPr/>
              </p:nvSpPr>
              <p:spPr>
                <a:xfrm>
                  <a:off x="3906510" y="1663929"/>
                  <a:ext cx="26385" cy="26504"/>
                </a:xfrm>
                <a:custGeom>
                  <a:avLst/>
                  <a:gdLst>
                    <a:gd name="connsiteX0" fmla="*/ 26149 w 26385"/>
                    <a:gd name="connsiteY0" fmla="*/ 15681 h 26504"/>
                    <a:gd name="connsiteX1" fmla="*/ 10704 w 26385"/>
                    <a:gd name="connsiteY1" fmla="*/ 26269 h 26504"/>
                    <a:gd name="connsiteX2" fmla="*/ 241 w 26385"/>
                    <a:gd name="connsiteY2" fmla="*/ 10823 h 26504"/>
                    <a:gd name="connsiteX3" fmla="*/ 15686 w 26385"/>
                    <a:gd name="connsiteY3" fmla="*/ 236 h 26504"/>
                    <a:gd name="connsiteX4" fmla="*/ 26149 w 2638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4">
                      <a:moveTo>
                        <a:pt x="26149" y="15681"/>
                      </a:moveTo>
                      <a:cubicBezTo>
                        <a:pt x="24779" y="22906"/>
                        <a:pt x="17803" y="27639"/>
                        <a:pt x="10704" y="26269"/>
                      </a:cubicBezTo>
                      <a:cubicBezTo>
                        <a:pt x="3479" y="24898"/>
                        <a:pt x="-1129" y="18048"/>
                        <a:pt x="241" y="10823"/>
                      </a:cubicBezTo>
                      <a:cubicBezTo>
                        <a:pt x="1611" y="3599"/>
                        <a:pt x="8586" y="-1134"/>
                        <a:pt x="15686" y="236"/>
                      </a:cubicBezTo>
                      <a:cubicBezTo>
                        <a:pt x="22786" y="1606"/>
                        <a:pt x="27519" y="8457"/>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2" name="Graphic 2987">
                <a:extLst>
                  <a:ext uri="{FF2B5EF4-FFF2-40B4-BE49-F238E27FC236}">
                    <a16:creationId xmlns:a16="http://schemas.microsoft.com/office/drawing/2014/main" id="{CE0ADBEB-01D9-2ED3-CBEC-FA5B7C562EAA}"/>
                  </a:ext>
                </a:extLst>
              </p:cNvPr>
              <p:cNvGrpSpPr/>
              <p:nvPr/>
            </p:nvGrpSpPr>
            <p:grpSpPr>
              <a:xfrm>
                <a:off x="3853827" y="1658573"/>
                <a:ext cx="50085" cy="146578"/>
                <a:chOff x="3853827" y="1658573"/>
                <a:chExt cx="50085" cy="146578"/>
              </a:xfrm>
              <a:grpFill/>
            </p:grpSpPr>
            <p:sp>
              <p:nvSpPr>
                <p:cNvPr id="5880" name="Freeform 8365">
                  <a:extLst>
                    <a:ext uri="{FF2B5EF4-FFF2-40B4-BE49-F238E27FC236}">
                      <a16:creationId xmlns:a16="http://schemas.microsoft.com/office/drawing/2014/main" id="{9DB4E783-CFBB-7DBE-EB85-D68506E51867}"/>
                    </a:ext>
                  </a:extLst>
                </p:cNvPr>
                <p:cNvSpPr/>
                <p:nvPr/>
              </p:nvSpPr>
              <p:spPr>
                <a:xfrm>
                  <a:off x="3872124" y="1734540"/>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232" y="37367"/>
                        <a:pt x="5481" y="33132"/>
                      </a:cubicBezTo>
                      <a:cubicBezTo>
                        <a:pt x="6103" y="26157"/>
                        <a:pt x="4484" y="22794"/>
                        <a:pt x="5356" y="15694"/>
                      </a:cubicBezTo>
                      <a:cubicBezTo>
                        <a:pt x="6228" y="8844"/>
                        <a:pt x="8719"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1" name="Freeform 8366">
                  <a:extLst>
                    <a:ext uri="{FF2B5EF4-FFF2-40B4-BE49-F238E27FC236}">
                      <a16:creationId xmlns:a16="http://schemas.microsoft.com/office/drawing/2014/main" id="{2319FA4E-6980-47A1-6FB2-07D09905BBB5}"/>
                    </a:ext>
                  </a:extLst>
                </p:cNvPr>
                <p:cNvSpPr/>
                <p:nvPr/>
              </p:nvSpPr>
              <p:spPr>
                <a:xfrm>
                  <a:off x="3863872" y="1738027"/>
                  <a:ext cx="10038" cy="51317"/>
                </a:xfrm>
                <a:custGeom>
                  <a:avLst/>
                  <a:gdLst>
                    <a:gd name="connsiteX0" fmla="*/ 9747 w 10038"/>
                    <a:gd name="connsiteY0" fmla="*/ 0 h 51317"/>
                    <a:gd name="connsiteX1" fmla="*/ 8128 w 10038"/>
                    <a:gd name="connsiteY1" fmla="*/ 18684 h 51317"/>
                    <a:gd name="connsiteX2" fmla="*/ 1402 w 10038"/>
                    <a:gd name="connsiteY2" fmla="*/ 34876 h 51317"/>
                    <a:gd name="connsiteX3" fmla="*/ 405 w 10038"/>
                    <a:gd name="connsiteY3" fmla="*/ 51318 h 51317"/>
                  </a:gdLst>
                  <a:ahLst/>
                  <a:cxnLst>
                    <a:cxn ang="0">
                      <a:pos x="connsiteX0" y="connsiteY0"/>
                    </a:cxn>
                    <a:cxn ang="0">
                      <a:pos x="connsiteX1" y="connsiteY1"/>
                    </a:cxn>
                    <a:cxn ang="0">
                      <a:pos x="connsiteX2" y="connsiteY2"/>
                    </a:cxn>
                    <a:cxn ang="0">
                      <a:pos x="connsiteX3" y="connsiteY3"/>
                    </a:cxn>
                  </a:cxnLst>
                  <a:rect l="l" t="t" r="r" b="b"/>
                  <a:pathLst>
                    <a:path w="10038" h="51317">
                      <a:moveTo>
                        <a:pt x="9747" y="0"/>
                      </a:moveTo>
                      <a:cubicBezTo>
                        <a:pt x="10619" y="8345"/>
                        <a:pt x="9373" y="14573"/>
                        <a:pt x="8128" y="18684"/>
                      </a:cubicBezTo>
                      <a:cubicBezTo>
                        <a:pt x="6010" y="25410"/>
                        <a:pt x="3270" y="27901"/>
                        <a:pt x="1402" y="34876"/>
                      </a:cubicBezTo>
                      <a:cubicBezTo>
                        <a:pt x="-467" y="41602"/>
                        <a:pt x="-93" y="47456"/>
                        <a:pt x="40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2" name="Freeform 8367">
                  <a:extLst>
                    <a:ext uri="{FF2B5EF4-FFF2-40B4-BE49-F238E27FC236}">
                      <a16:creationId xmlns:a16="http://schemas.microsoft.com/office/drawing/2014/main" id="{D85242C6-AF16-618C-7CD6-2983E4FDB767}"/>
                    </a:ext>
                  </a:extLst>
                </p:cNvPr>
                <p:cNvSpPr/>
                <p:nvPr/>
              </p:nvSpPr>
              <p:spPr>
                <a:xfrm>
                  <a:off x="3853827" y="1778646"/>
                  <a:ext cx="26753" cy="26504"/>
                </a:xfrm>
                <a:custGeom>
                  <a:avLst/>
                  <a:gdLst>
                    <a:gd name="connsiteX0" fmla="*/ 236 w 26753"/>
                    <a:gd name="connsiteY0" fmla="*/ 10823 h 26504"/>
                    <a:gd name="connsiteX1" fmla="*/ 15930 w 26753"/>
                    <a:gd name="connsiteY1" fmla="*/ 236 h 26504"/>
                    <a:gd name="connsiteX2" fmla="*/ 26518 w 26753"/>
                    <a:gd name="connsiteY2" fmla="*/ 15681 h 26504"/>
                    <a:gd name="connsiteX3" fmla="*/ 10823 w 26753"/>
                    <a:gd name="connsiteY3" fmla="*/ 26269 h 26504"/>
                    <a:gd name="connsiteX4" fmla="*/ 236 w 26753"/>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823"/>
                      </a:moveTo>
                      <a:cubicBezTo>
                        <a:pt x="1606" y="3599"/>
                        <a:pt x="8706" y="-1134"/>
                        <a:pt x="15930" y="236"/>
                      </a:cubicBezTo>
                      <a:cubicBezTo>
                        <a:pt x="23155" y="1606"/>
                        <a:pt x="27888" y="8457"/>
                        <a:pt x="26518" y="15681"/>
                      </a:cubicBezTo>
                      <a:cubicBezTo>
                        <a:pt x="25148" y="22906"/>
                        <a:pt x="18048" y="27639"/>
                        <a:pt x="10823"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3" name="Freeform 8368">
                  <a:extLst>
                    <a:ext uri="{FF2B5EF4-FFF2-40B4-BE49-F238E27FC236}">
                      <a16:creationId xmlns:a16="http://schemas.microsoft.com/office/drawing/2014/main" id="{110E70B2-A9B5-C920-9620-68477B79159F}"/>
                    </a:ext>
                  </a:extLst>
                </p:cNvPr>
                <p:cNvSpPr/>
                <p:nvPr/>
              </p:nvSpPr>
              <p:spPr>
                <a:xfrm>
                  <a:off x="3875238" y="1678115"/>
                  <a:ext cx="10587" cy="51068"/>
                </a:xfrm>
                <a:custGeom>
                  <a:avLst/>
                  <a:gdLst>
                    <a:gd name="connsiteX0" fmla="*/ 10587 w 10587"/>
                    <a:gd name="connsiteY0" fmla="*/ 0 h 51068"/>
                    <a:gd name="connsiteX1" fmla="*/ 5107 w 10587"/>
                    <a:gd name="connsiteY1" fmla="*/ 17936 h 51068"/>
                    <a:gd name="connsiteX2" fmla="*/ 5232 w 10587"/>
                    <a:gd name="connsiteY2" fmla="*/ 35374 h 51068"/>
                    <a:gd name="connsiteX3" fmla="*/ 0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0"/>
                      </a:moveTo>
                      <a:cubicBezTo>
                        <a:pt x="6602" y="7473"/>
                        <a:pt x="5356" y="13701"/>
                        <a:pt x="5107" y="17936"/>
                      </a:cubicBezTo>
                      <a:cubicBezTo>
                        <a:pt x="4484" y="24912"/>
                        <a:pt x="5979" y="28275"/>
                        <a:pt x="5232" y="35374"/>
                      </a:cubicBezTo>
                      <a:cubicBezTo>
                        <a:pt x="4360" y="42225"/>
                        <a:pt x="1868"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4" name="Freeform 8369">
                  <a:extLst>
                    <a:ext uri="{FF2B5EF4-FFF2-40B4-BE49-F238E27FC236}">
                      <a16:creationId xmlns:a16="http://schemas.microsoft.com/office/drawing/2014/main" id="{A723035D-48C1-D55B-62D4-E602D1AEAB77}"/>
                    </a:ext>
                  </a:extLst>
                </p:cNvPr>
                <p:cNvSpPr/>
                <p:nvPr/>
              </p:nvSpPr>
              <p:spPr>
                <a:xfrm>
                  <a:off x="3884039" y="1674378"/>
                  <a:ext cx="9875" cy="51317"/>
                </a:xfrm>
                <a:custGeom>
                  <a:avLst/>
                  <a:gdLst>
                    <a:gd name="connsiteX0" fmla="*/ 291 w 9875"/>
                    <a:gd name="connsiteY0" fmla="*/ 51318 h 51317"/>
                    <a:gd name="connsiteX1" fmla="*/ 1911 w 9875"/>
                    <a:gd name="connsiteY1" fmla="*/ 32634 h 51317"/>
                    <a:gd name="connsiteX2" fmla="*/ 8512 w 9875"/>
                    <a:gd name="connsiteY2" fmla="*/ 16442 h 51317"/>
                    <a:gd name="connsiteX3" fmla="*/ 9509 w 9875"/>
                    <a:gd name="connsiteY3" fmla="*/ 0 h 51317"/>
                  </a:gdLst>
                  <a:ahLst/>
                  <a:cxnLst>
                    <a:cxn ang="0">
                      <a:pos x="connsiteX0" y="connsiteY0"/>
                    </a:cxn>
                    <a:cxn ang="0">
                      <a:pos x="connsiteX1" y="connsiteY1"/>
                    </a:cxn>
                    <a:cxn ang="0">
                      <a:pos x="connsiteX2" y="connsiteY2"/>
                    </a:cxn>
                    <a:cxn ang="0">
                      <a:pos x="connsiteX3" y="connsiteY3"/>
                    </a:cxn>
                  </a:cxnLst>
                  <a:rect l="l" t="t" r="r" b="b"/>
                  <a:pathLst>
                    <a:path w="9875" h="51317">
                      <a:moveTo>
                        <a:pt x="291" y="51318"/>
                      </a:moveTo>
                      <a:cubicBezTo>
                        <a:pt x="-581" y="42972"/>
                        <a:pt x="665" y="36744"/>
                        <a:pt x="1911" y="32634"/>
                      </a:cubicBezTo>
                      <a:cubicBezTo>
                        <a:pt x="4028" y="25908"/>
                        <a:pt x="6644" y="23292"/>
                        <a:pt x="8512" y="16442"/>
                      </a:cubicBezTo>
                      <a:cubicBezTo>
                        <a:pt x="10256"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5" name="Freeform 8370">
                  <a:extLst>
                    <a:ext uri="{FF2B5EF4-FFF2-40B4-BE49-F238E27FC236}">
                      <a16:creationId xmlns:a16="http://schemas.microsoft.com/office/drawing/2014/main" id="{6AB2D165-A644-0A8C-67FF-D8BC0B541AE6}"/>
                    </a:ext>
                  </a:extLst>
                </p:cNvPr>
                <p:cNvSpPr/>
                <p:nvPr/>
              </p:nvSpPr>
              <p:spPr>
                <a:xfrm>
                  <a:off x="3877364" y="1658573"/>
                  <a:ext cx="26549" cy="26504"/>
                </a:xfrm>
                <a:custGeom>
                  <a:avLst/>
                  <a:gdLst>
                    <a:gd name="connsiteX0" fmla="*/ 26273 w 26549"/>
                    <a:gd name="connsiteY0" fmla="*/ 15681 h 26504"/>
                    <a:gd name="connsiteX1" fmla="*/ 10704 w 26549"/>
                    <a:gd name="connsiteY1" fmla="*/ 26269 h 26504"/>
                    <a:gd name="connsiteX2" fmla="*/ 241 w 26549"/>
                    <a:gd name="connsiteY2" fmla="*/ 10823 h 26504"/>
                    <a:gd name="connsiteX3" fmla="*/ 15810 w 26549"/>
                    <a:gd name="connsiteY3" fmla="*/ 236 h 26504"/>
                    <a:gd name="connsiteX4" fmla="*/ 26273 w 2654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504">
                      <a:moveTo>
                        <a:pt x="26273" y="15681"/>
                      </a:moveTo>
                      <a:cubicBezTo>
                        <a:pt x="24903" y="22906"/>
                        <a:pt x="17928" y="27639"/>
                        <a:pt x="10704" y="26269"/>
                      </a:cubicBezTo>
                      <a:cubicBezTo>
                        <a:pt x="3479" y="24898"/>
                        <a:pt x="-1129" y="18048"/>
                        <a:pt x="241" y="10823"/>
                      </a:cubicBezTo>
                      <a:cubicBezTo>
                        <a:pt x="1611" y="3599"/>
                        <a:pt x="8586" y="-1134"/>
                        <a:pt x="15810" y="236"/>
                      </a:cubicBezTo>
                      <a:cubicBezTo>
                        <a:pt x="23035" y="1606"/>
                        <a:pt x="27768" y="8457"/>
                        <a:pt x="26273"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3" name="Graphic 2987">
                <a:extLst>
                  <a:ext uri="{FF2B5EF4-FFF2-40B4-BE49-F238E27FC236}">
                    <a16:creationId xmlns:a16="http://schemas.microsoft.com/office/drawing/2014/main" id="{021807DD-D59D-B0DE-4263-0C2CBEDF0C04}"/>
                  </a:ext>
                </a:extLst>
              </p:cNvPr>
              <p:cNvGrpSpPr/>
              <p:nvPr/>
            </p:nvGrpSpPr>
            <p:grpSpPr>
              <a:xfrm>
                <a:off x="3824431" y="1653129"/>
                <a:ext cx="50549" cy="146665"/>
                <a:chOff x="3824431" y="1653129"/>
                <a:chExt cx="50549" cy="146665"/>
              </a:xfrm>
              <a:grpFill/>
            </p:grpSpPr>
            <p:sp>
              <p:nvSpPr>
                <p:cNvPr id="5874" name="Freeform 8372">
                  <a:extLst>
                    <a:ext uri="{FF2B5EF4-FFF2-40B4-BE49-F238E27FC236}">
                      <a16:creationId xmlns:a16="http://schemas.microsoft.com/office/drawing/2014/main" id="{08D38087-9F64-1102-11E5-CDB042669709}"/>
                    </a:ext>
                  </a:extLst>
                </p:cNvPr>
                <p:cNvSpPr/>
                <p:nvPr/>
              </p:nvSpPr>
              <p:spPr>
                <a:xfrm>
                  <a:off x="3842853" y="1729059"/>
                  <a:ext cx="10961" cy="51068"/>
                </a:xfrm>
                <a:custGeom>
                  <a:avLst/>
                  <a:gdLst>
                    <a:gd name="connsiteX0" fmla="*/ 0 w 10961"/>
                    <a:gd name="connsiteY0" fmla="*/ 51069 h 51068"/>
                    <a:gd name="connsiteX1" fmla="*/ 5605 w 10961"/>
                    <a:gd name="connsiteY1" fmla="*/ 33132 h 51068"/>
                    <a:gd name="connsiteX2" fmla="*/ 5605 w 10961"/>
                    <a:gd name="connsiteY2" fmla="*/ 15694 h 51068"/>
                    <a:gd name="connsiteX3" fmla="*/ 10961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0" y="51069"/>
                      </a:moveTo>
                      <a:cubicBezTo>
                        <a:pt x="3986" y="43595"/>
                        <a:pt x="5232" y="37367"/>
                        <a:pt x="5605" y="33132"/>
                      </a:cubicBezTo>
                      <a:cubicBezTo>
                        <a:pt x="6228" y="26157"/>
                        <a:pt x="4733" y="22794"/>
                        <a:pt x="5605" y="15694"/>
                      </a:cubicBezTo>
                      <a:cubicBezTo>
                        <a:pt x="6477" y="8844"/>
                        <a:pt x="8968" y="3488"/>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5" name="Freeform 8373">
                  <a:extLst>
                    <a:ext uri="{FF2B5EF4-FFF2-40B4-BE49-F238E27FC236}">
                      <a16:creationId xmlns:a16="http://schemas.microsoft.com/office/drawing/2014/main" id="{CAE33801-DCDF-3ED3-84AE-0875423BF90C}"/>
                    </a:ext>
                  </a:extLst>
                </p:cNvPr>
                <p:cNvSpPr/>
                <p:nvPr/>
              </p:nvSpPr>
              <p:spPr>
                <a:xfrm>
                  <a:off x="3834398" y="1732547"/>
                  <a:ext cx="10239" cy="51193"/>
                </a:xfrm>
                <a:custGeom>
                  <a:avLst/>
                  <a:gdLst>
                    <a:gd name="connsiteX0" fmla="*/ 9950 w 10239"/>
                    <a:gd name="connsiteY0" fmla="*/ 0 h 51193"/>
                    <a:gd name="connsiteX1" fmla="*/ 8206 w 10239"/>
                    <a:gd name="connsiteY1" fmla="*/ 18684 h 51193"/>
                    <a:gd name="connsiteX2" fmla="*/ 1480 w 10239"/>
                    <a:gd name="connsiteY2" fmla="*/ 34752 h 51193"/>
                    <a:gd name="connsiteX3" fmla="*/ 359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0"/>
                      </a:moveTo>
                      <a:cubicBezTo>
                        <a:pt x="10822" y="8345"/>
                        <a:pt x="9576" y="14573"/>
                        <a:pt x="8206" y="18684"/>
                      </a:cubicBezTo>
                      <a:cubicBezTo>
                        <a:pt x="6088" y="25410"/>
                        <a:pt x="3348" y="27901"/>
                        <a:pt x="1480" y="34752"/>
                      </a:cubicBezTo>
                      <a:cubicBezTo>
                        <a:pt x="-389" y="41478"/>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6" name="Freeform 8374">
                  <a:extLst>
                    <a:ext uri="{FF2B5EF4-FFF2-40B4-BE49-F238E27FC236}">
                      <a16:creationId xmlns:a16="http://schemas.microsoft.com/office/drawing/2014/main" id="{4CA8449F-EE08-1CFE-5516-50E21FD55406}"/>
                    </a:ext>
                  </a:extLst>
                </p:cNvPr>
                <p:cNvSpPr/>
                <p:nvPr/>
              </p:nvSpPr>
              <p:spPr>
                <a:xfrm>
                  <a:off x="3824431" y="1773290"/>
                  <a:ext cx="26753" cy="26504"/>
                </a:xfrm>
                <a:custGeom>
                  <a:avLst/>
                  <a:gdLst>
                    <a:gd name="connsiteX0" fmla="*/ 236 w 26753"/>
                    <a:gd name="connsiteY0" fmla="*/ 10699 h 26504"/>
                    <a:gd name="connsiteX1" fmla="*/ 15930 w 26753"/>
                    <a:gd name="connsiteY1" fmla="*/ 236 h 26504"/>
                    <a:gd name="connsiteX2" fmla="*/ 26518 w 26753"/>
                    <a:gd name="connsiteY2" fmla="*/ 15681 h 26504"/>
                    <a:gd name="connsiteX3" fmla="*/ 10824 w 26753"/>
                    <a:gd name="connsiteY3" fmla="*/ 26269 h 26504"/>
                    <a:gd name="connsiteX4" fmla="*/ 236 w 26753"/>
                    <a:gd name="connsiteY4" fmla="*/ 10699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699"/>
                      </a:moveTo>
                      <a:cubicBezTo>
                        <a:pt x="1606" y="3599"/>
                        <a:pt x="8706" y="-1134"/>
                        <a:pt x="15930" y="236"/>
                      </a:cubicBezTo>
                      <a:cubicBezTo>
                        <a:pt x="23155" y="1606"/>
                        <a:pt x="27888" y="8457"/>
                        <a:pt x="26518" y="15681"/>
                      </a:cubicBezTo>
                      <a:cubicBezTo>
                        <a:pt x="25148" y="22906"/>
                        <a:pt x="18048" y="27639"/>
                        <a:pt x="10824" y="26269"/>
                      </a:cubicBezTo>
                      <a:cubicBezTo>
                        <a:pt x="3599" y="24774"/>
                        <a:pt x="-1134" y="17923"/>
                        <a:pt x="236"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7" name="Freeform 8375">
                  <a:extLst>
                    <a:ext uri="{FF2B5EF4-FFF2-40B4-BE49-F238E27FC236}">
                      <a16:creationId xmlns:a16="http://schemas.microsoft.com/office/drawing/2014/main" id="{73208C7A-65EF-260F-9D19-176F58EBC606}"/>
                    </a:ext>
                  </a:extLst>
                </p:cNvPr>
                <p:cNvSpPr/>
                <p:nvPr/>
              </p:nvSpPr>
              <p:spPr>
                <a:xfrm>
                  <a:off x="3845842" y="1672635"/>
                  <a:ext cx="10961" cy="51068"/>
                </a:xfrm>
                <a:custGeom>
                  <a:avLst/>
                  <a:gdLst>
                    <a:gd name="connsiteX0" fmla="*/ 10961 w 10961"/>
                    <a:gd name="connsiteY0" fmla="*/ 0 h 51068"/>
                    <a:gd name="connsiteX1" fmla="*/ 5356 w 10961"/>
                    <a:gd name="connsiteY1" fmla="*/ 17936 h 51068"/>
                    <a:gd name="connsiteX2" fmla="*/ 5356 w 10961"/>
                    <a:gd name="connsiteY2" fmla="*/ 35374 h 51068"/>
                    <a:gd name="connsiteX3" fmla="*/ 0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0"/>
                      </a:moveTo>
                      <a:cubicBezTo>
                        <a:pt x="6975" y="7473"/>
                        <a:pt x="5730" y="13701"/>
                        <a:pt x="5356" y="17936"/>
                      </a:cubicBezTo>
                      <a:cubicBezTo>
                        <a:pt x="4733" y="24912"/>
                        <a:pt x="6228" y="28275"/>
                        <a:pt x="5356" y="35374"/>
                      </a:cubicBezTo>
                      <a:cubicBezTo>
                        <a:pt x="4484" y="42225"/>
                        <a:pt x="1993"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8" name="Freeform 8376">
                  <a:extLst>
                    <a:ext uri="{FF2B5EF4-FFF2-40B4-BE49-F238E27FC236}">
                      <a16:creationId xmlns:a16="http://schemas.microsoft.com/office/drawing/2014/main" id="{E240CD8A-A54E-788A-3421-6427FD1C27D8}"/>
                    </a:ext>
                  </a:extLst>
                </p:cNvPr>
                <p:cNvSpPr/>
                <p:nvPr/>
              </p:nvSpPr>
              <p:spPr>
                <a:xfrm>
                  <a:off x="3854894" y="1669022"/>
                  <a:ext cx="10239" cy="51317"/>
                </a:xfrm>
                <a:custGeom>
                  <a:avLst/>
                  <a:gdLst>
                    <a:gd name="connsiteX0" fmla="*/ 290 w 10239"/>
                    <a:gd name="connsiteY0" fmla="*/ 51318 h 51317"/>
                    <a:gd name="connsiteX1" fmla="*/ 2033 w 10239"/>
                    <a:gd name="connsiteY1" fmla="*/ 32634 h 51317"/>
                    <a:gd name="connsiteX2" fmla="*/ 8760 w 10239"/>
                    <a:gd name="connsiteY2" fmla="*/ 16442 h 51317"/>
                    <a:gd name="connsiteX3" fmla="*/ 9881 w 10239"/>
                    <a:gd name="connsiteY3" fmla="*/ 0 h 51317"/>
                  </a:gdLst>
                  <a:ahLst/>
                  <a:cxnLst>
                    <a:cxn ang="0">
                      <a:pos x="connsiteX0" y="connsiteY0"/>
                    </a:cxn>
                    <a:cxn ang="0">
                      <a:pos x="connsiteX1" y="connsiteY1"/>
                    </a:cxn>
                    <a:cxn ang="0">
                      <a:pos x="connsiteX2" y="connsiteY2"/>
                    </a:cxn>
                    <a:cxn ang="0">
                      <a:pos x="connsiteX3" y="connsiteY3"/>
                    </a:cxn>
                  </a:cxnLst>
                  <a:rect l="l" t="t" r="r" b="b"/>
                  <a:pathLst>
                    <a:path w="10239" h="51317">
                      <a:moveTo>
                        <a:pt x="290" y="51318"/>
                      </a:moveTo>
                      <a:cubicBezTo>
                        <a:pt x="-582" y="42972"/>
                        <a:pt x="664" y="36745"/>
                        <a:pt x="2033" y="32634"/>
                      </a:cubicBezTo>
                      <a:cubicBezTo>
                        <a:pt x="4151" y="25908"/>
                        <a:pt x="6891" y="23417"/>
                        <a:pt x="8760" y="16442"/>
                      </a:cubicBezTo>
                      <a:cubicBezTo>
                        <a:pt x="10628" y="9715"/>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9" name="Freeform 8377">
                  <a:extLst>
                    <a:ext uri="{FF2B5EF4-FFF2-40B4-BE49-F238E27FC236}">
                      <a16:creationId xmlns:a16="http://schemas.microsoft.com/office/drawing/2014/main" id="{3024EE29-AA19-AE88-C836-138D8FDA1CD4}"/>
                    </a:ext>
                  </a:extLst>
                </p:cNvPr>
                <p:cNvSpPr/>
                <p:nvPr/>
              </p:nvSpPr>
              <p:spPr>
                <a:xfrm>
                  <a:off x="3848550" y="1653129"/>
                  <a:ext cx="26430" cy="26467"/>
                </a:xfrm>
                <a:custGeom>
                  <a:avLst/>
                  <a:gdLst>
                    <a:gd name="connsiteX0" fmla="*/ 26189 w 26430"/>
                    <a:gd name="connsiteY0" fmla="*/ 15644 h 26467"/>
                    <a:gd name="connsiteX1" fmla="*/ 10619 w 26430"/>
                    <a:gd name="connsiteY1" fmla="*/ 26231 h 26467"/>
                    <a:gd name="connsiteX2" fmla="*/ 281 w 26430"/>
                    <a:gd name="connsiteY2" fmla="*/ 10786 h 26467"/>
                    <a:gd name="connsiteX3" fmla="*/ 15851 w 26430"/>
                    <a:gd name="connsiteY3" fmla="*/ 199 h 26467"/>
                    <a:gd name="connsiteX4" fmla="*/ 26189 w 26430"/>
                    <a:gd name="connsiteY4" fmla="*/ 15644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67">
                      <a:moveTo>
                        <a:pt x="26189" y="15644"/>
                      </a:moveTo>
                      <a:cubicBezTo>
                        <a:pt x="24819" y="22868"/>
                        <a:pt x="17844" y="27602"/>
                        <a:pt x="10619" y="26231"/>
                      </a:cubicBezTo>
                      <a:cubicBezTo>
                        <a:pt x="3395" y="24861"/>
                        <a:pt x="-1213" y="18011"/>
                        <a:pt x="281" y="10786"/>
                      </a:cubicBezTo>
                      <a:cubicBezTo>
                        <a:pt x="1651" y="3687"/>
                        <a:pt x="8627" y="-1047"/>
                        <a:pt x="15851" y="199"/>
                      </a:cubicBezTo>
                      <a:cubicBezTo>
                        <a:pt x="22951" y="1569"/>
                        <a:pt x="27559" y="8544"/>
                        <a:pt x="2618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4" name="Graphic 2987">
                <a:extLst>
                  <a:ext uri="{FF2B5EF4-FFF2-40B4-BE49-F238E27FC236}">
                    <a16:creationId xmlns:a16="http://schemas.microsoft.com/office/drawing/2014/main" id="{40C70EF4-6AC1-036B-C895-FDF18777FD0A}"/>
                  </a:ext>
                </a:extLst>
              </p:cNvPr>
              <p:cNvGrpSpPr/>
              <p:nvPr/>
            </p:nvGrpSpPr>
            <p:grpSpPr>
              <a:xfrm>
                <a:off x="3795245" y="1647187"/>
                <a:ext cx="50754" cy="146680"/>
                <a:chOff x="3795245" y="1647187"/>
                <a:chExt cx="50754" cy="146680"/>
              </a:xfrm>
              <a:grpFill/>
            </p:grpSpPr>
            <p:sp>
              <p:nvSpPr>
                <p:cNvPr id="5868" name="Freeform 8379">
                  <a:extLst>
                    <a:ext uri="{FF2B5EF4-FFF2-40B4-BE49-F238E27FC236}">
                      <a16:creationId xmlns:a16="http://schemas.microsoft.com/office/drawing/2014/main" id="{18878051-B877-93C1-46D7-29BD58DFA6BC}"/>
                    </a:ext>
                  </a:extLst>
                </p:cNvPr>
                <p:cNvSpPr/>
                <p:nvPr/>
              </p:nvSpPr>
              <p:spPr>
                <a:xfrm>
                  <a:off x="3813582" y="1723329"/>
                  <a:ext cx="10960" cy="50944"/>
                </a:xfrm>
                <a:custGeom>
                  <a:avLst/>
                  <a:gdLst>
                    <a:gd name="connsiteX0" fmla="*/ 0 w 10960"/>
                    <a:gd name="connsiteY0" fmla="*/ 50944 h 50944"/>
                    <a:gd name="connsiteX1" fmla="*/ 5605 w 10960"/>
                    <a:gd name="connsiteY1" fmla="*/ 33008 h 50944"/>
                    <a:gd name="connsiteX2" fmla="*/ 5605 w 10960"/>
                    <a:gd name="connsiteY2" fmla="*/ 15570 h 50944"/>
                    <a:gd name="connsiteX3" fmla="*/ 10961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0" y="50944"/>
                      </a:moveTo>
                      <a:cubicBezTo>
                        <a:pt x="3986" y="43595"/>
                        <a:pt x="5231" y="37367"/>
                        <a:pt x="5605" y="33008"/>
                      </a:cubicBezTo>
                      <a:cubicBezTo>
                        <a:pt x="6228" y="26033"/>
                        <a:pt x="4733" y="22545"/>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9" name="Freeform 8380">
                  <a:extLst>
                    <a:ext uri="{FF2B5EF4-FFF2-40B4-BE49-F238E27FC236}">
                      <a16:creationId xmlns:a16="http://schemas.microsoft.com/office/drawing/2014/main" id="{9CD4E082-43CF-1E7C-0EAF-D8586989505B}"/>
                    </a:ext>
                  </a:extLst>
                </p:cNvPr>
                <p:cNvSpPr/>
                <p:nvPr/>
              </p:nvSpPr>
              <p:spPr>
                <a:xfrm>
                  <a:off x="3805376" y="1726568"/>
                  <a:ext cx="10224" cy="51193"/>
                </a:xfrm>
                <a:custGeom>
                  <a:avLst/>
                  <a:gdLst>
                    <a:gd name="connsiteX0" fmla="*/ 9950 w 10224"/>
                    <a:gd name="connsiteY0" fmla="*/ 0 h 51193"/>
                    <a:gd name="connsiteX1" fmla="*/ 8206 w 10224"/>
                    <a:gd name="connsiteY1" fmla="*/ 18684 h 51193"/>
                    <a:gd name="connsiteX2" fmla="*/ 1480 w 10224"/>
                    <a:gd name="connsiteY2" fmla="*/ 34752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2" y="8345"/>
                        <a:pt x="9451" y="14573"/>
                        <a:pt x="8206" y="18684"/>
                      </a:cubicBezTo>
                      <a:cubicBezTo>
                        <a:pt x="6088" y="25285"/>
                        <a:pt x="3348" y="27901"/>
                        <a:pt x="1480" y="34752"/>
                      </a:cubicBezTo>
                      <a:cubicBezTo>
                        <a:pt x="-389" y="41353"/>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0" name="Freeform 8381">
                  <a:extLst>
                    <a:ext uri="{FF2B5EF4-FFF2-40B4-BE49-F238E27FC236}">
                      <a16:creationId xmlns:a16="http://schemas.microsoft.com/office/drawing/2014/main" id="{2BA732BF-A65B-8228-D4BB-58141867488E}"/>
                    </a:ext>
                  </a:extLst>
                </p:cNvPr>
                <p:cNvSpPr/>
                <p:nvPr/>
              </p:nvSpPr>
              <p:spPr>
                <a:xfrm>
                  <a:off x="3795245" y="1767261"/>
                  <a:ext cx="26673" cy="26606"/>
                </a:xfrm>
                <a:custGeom>
                  <a:avLst/>
                  <a:gdLst>
                    <a:gd name="connsiteX0" fmla="*/ 276 w 26673"/>
                    <a:gd name="connsiteY0" fmla="*/ 10501 h 26606"/>
                    <a:gd name="connsiteX1" fmla="*/ 15970 w 26673"/>
                    <a:gd name="connsiteY1" fmla="*/ 287 h 26606"/>
                    <a:gd name="connsiteX2" fmla="*/ 26433 w 26673"/>
                    <a:gd name="connsiteY2" fmla="*/ 16106 h 26606"/>
                    <a:gd name="connsiteX3" fmla="*/ 10739 w 26673"/>
                    <a:gd name="connsiteY3" fmla="*/ 26319 h 26606"/>
                    <a:gd name="connsiteX4" fmla="*/ 276 w 26673"/>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606">
                      <a:moveTo>
                        <a:pt x="276" y="10501"/>
                      </a:moveTo>
                      <a:cubicBezTo>
                        <a:pt x="1770" y="3276"/>
                        <a:pt x="8746" y="-1208"/>
                        <a:pt x="15970" y="287"/>
                      </a:cubicBezTo>
                      <a:cubicBezTo>
                        <a:pt x="23194" y="1782"/>
                        <a:pt x="27803" y="8881"/>
                        <a:pt x="26433" y="16106"/>
                      </a:cubicBezTo>
                      <a:cubicBezTo>
                        <a:pt x="25063" y="23330"/>
                        <a:pt x="17963" y="27814"/>
                        <a:pt x="10739" y="26319"/>
                      </a:cubicBezTo>
                      <a:cubicBezTo>
                        <a:pt x="3514" y="24700"/>
                        <a:pt x="-1219" y="17600"/>
                        <a:pt x="276"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1" name="Freeform 8382">
                  <a:extLst>
                    <a:ext uri="{FF2B5EF4-FFF2-40B4-BE49-F238E27FC236}">
                      <a16:creationId xmlns:a16="http://schemas.microsoft.com/office/drawing/2014/main" id="{B09CCC97-9A48-5D2F-1079-20FF0CFDE955}"/>
                    </a:ext>
                  </a:extLst>
                </p:cNvPr>
                <p:cNvSpPr/>
                <p:nvPr/>
              </p:nvSpPr>
              <p:spPr>
                <a:xfrm>
                  <a:off x="3816820" y="1666656"/>
                  <a:ext cx="11085" cy="50944"/>
                </a:xfrm>
                <a:custGeom>
                  <a:avLst/>
                  <a:gdLst>
                    <a:gd name="connsiteX0" fmla="*/ 11086 w 11085"/>
                    <a:gd name="connsiteY0" fmla="*/ 0 h 50944"/>
                    <a:gd name="connsiteX1" fmla="*/ 5481 w 11085"/>
                    <a:gd name="connsiteY1" fmla="*/ 17936 h 50944"/>
                    <a:gd name="connsiteX2" fmla="*/ 5356 w 11085"/>
                    <a:gd name="connsiteY2" fmla="*/ 35374 h 50944"/>
                    <a:gd name="connsiteX3" fmla="*/ 0 w 1108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085" h="50944">
                      <a:moveTo>
                        <a:pt x="11086" y="0"/>
                      </a:moveTo>
                      <a:cubicBezTo>
                        <a:pt x="7100" y="7349"/>
                        <a:pt x="5854" y="13577"/>
                        <a:pt x="5481" y="17936"/>
                      </a:cubicBezTo>
                      <a:cubicBezTo>
                        <a:pt x="4858" y="24912"/>
                        <a:pt x="6353" y="28399"/>
                        <a:pt x="5356"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2" name="Freeform 8383">
                  <a:extLst>
                    <a:ext uri="{FF2B5EF4-FFF2-40B4-BE49-F238E27FC236}">
                      <a16:creationId xmlns:a16="http://schemas.microsoft.com/office/drawing/2014/main" id="{0021DE6F-DB66-480B-80A7-AAE49CCBA1B2}"/>
                    </a:ext>
                  </a:extLst>
                </p:cNvPr>
                <p:cNvSpPr/>
                <p:nvPr/>
              </p:nvSpPr>
              <p:spPr>
                <a:xfrm>
                  <a:off x="3825887" y="1663293"/>
                  <a:ext cx="10224" cy="51193"/>
                </a:xfrm>
                <a:custGeom>
                  <a:avLst/>
                  <a:gdLst>
                    <a:gd name="connsiteX0" fmla="*/ 275 w 10224"/>
                    <a:gd name="connsiteY0" fmla="*/ 51193 h 51193"/>
                    <a:gd name="connsiteX1" fmla="*/ 2019 w 10224"/>
                    <a:gd name="connsiteY1" fmla="*/ 32510 h 51193"/>
                    <a:gd name="connsiteX2" fmla="*/ 8745 w 10224"/>
                    <a:gd name="connsiteY2" fmla="*/ 16442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8"/>
                        <a:pt x="773" y="36620"/>
                        <a:pt x="2019" y="32510"/>
                      </a:cubicBezTo>
                      <a:cubicBezTo>
                        <a:pt x="4136" y="25908"/>
                        <a:pt x="6877" y="23292"/>
                        <a:pt x="8745" y="16442"/>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3" name="Freeform 8384">
                  <a:extLst>
                    <a:ext uri="{FF2B5EF4-FFF2-40B4-BE49-F238E27FC236}">
                      <a16:creationId xmlns:a16="http://schemas.microsoft.com/office/drawing/2014/main" id="{5F301158-12D3-AF7A-D17C-AE02D71D9429}"/>
                    </a:ext>
                  </a:extLst>
                </p:cNvPr>
                <p:cNvSpPr/>
                <p:nvPr/>
              </p:nvSpPr>
              <p:spPr>
                <a:xfrm>
                  <a:off x="3819653" y="1647187"/>
                  <a:ext cx="26346" cy="26606"/>
                </a:xfrm>
                <a:custGeom>
                  <a:avLst/>
                  <a:gdLst>
                    <a:gd name="connsiteX0" fmla="*/ 26065 w 26346"/>
                    <a:gd name="connsiteY0" fmla="*/ 16106 h 26606"/>
                    <a:gd name="connsiteX1" fmla="*/ 10495 w 26346"/>
                    <a:gd name="connsiteY1" fmla="*/ 26319 h 26606"/>
                    <a:gd name="connsiteX2" fmla="*/ 282 w 26346"/>
                    <a:gd name="connsiteY2" fmla="*/ 10501 h 26606"/>
                    <a:gd name="connsiteX3" fmla="*/ 15851 w 26346"/>
                    <a:gd name="connsiteY3" fmla="*/ 287 h 26606"/>
                    <a:gd name="connsiteX4" fmla="*/ 26065 w 26346"/>
                    <a:gd name="connsiteY4" fmla="*/ 16106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6106"/>
                      </a:moveTo>
                      <a:cubicBezTo>
                        <a:pt x="24570" y="23330"/>
                        <a:pt x="17720" y="27814"/>
                        <a:pt x="10495" y="26319"/>
                      </a:cubicBezTo>
                      <a:cubicBezTo>
                        <a:pt x="3395" y="24825"/>
                        <a:pt x="-1213" y="17725"/>
                        <a:pt x="282" y="10501"/>
                      </a:cubicBezTo>
                      <a:cubicBezTo>
                        <a:pt x="1776" y="3276"/>
                        <a:pt x="8751" y="-1208"/>
                        <a:pt x="15851" y="287"/>
                      </a:cubicBezTo>
                      <a:cubicBezTo>
                        <a:pt x="22951" y="1782"/>
                        <a:pt x="27560" y="8881"/>
                        <a:pt x="26065" y="16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5" name="Graphic 2987">
                <a:extLst>
                  <a:ext uri="{FF2B5EF4-FFF2-40B4-BE49-F238E27FC236}">
                    <a16:creationId xmlns:a16="http://schemas.microsoft.com/office/drawing/2014/main" id="{531E9DAB-BED8-D497-DC7A-45E5357C59BC}"/>
                  </a:ext>
                </a:extLst>
              </p:cNvPr>
              <p:cNvGrpSpPr/>
              <p:nvPr/>
            </p:nvGrpSpPr>
            <p:grpSpPr>
              <a:xfrm>
                <a:off x="3766093" y="1641084"/>
                <a:ext cx="51133" cy="146430"/>
                <a:chOff x="3766093" y="1641084"/>
                <a:chExt cx="51133" cy="146430"/>
              </a:xfrm>
              <a:grpFill/>
            </p:grpSpPr>
            <p:sp>
              <p:nvSpPr>
                <p:cNvPr id="5862" name="Freeform 8386">
                  <a:extLst>
                    <a:ext uri="{FF2B5EF4-FFF2-40B4-BE49-F238E27FC236}">
                      <a16:creationId xmlns:a16="http://schemas.microsoft.com/office/drawing/2014/main" id="{BEAD0F5E-32E1-2AC3-8BEF-5E5B86B54E03}"/>
                    </a:ext>
                  </a:extLst>
                </p:cNvPr>
                <p:cNvSpPr/>
                <p:nvPr/>
              </p:nvSpPr>
              <p:spPr>
                <a:xfrm>
                  <a:off x="3784435" y="1717102"/>
                  <a:ext cx="11210" cy="50944"/>
                </a:xfrm>
                <a:custGeom>
                  <a:avLst/>
                  <a:gdLst>
                    <a:gd name="connsiteX0" fmla="*/ 0 w 11210"/>
                    <a:gd name="connsiteY0" fmla="*/ 50944 h 50944"/>
                    <a:gd name="connsiteX1" fmla="*/ 5730 w 11210"/>
                    <a:gd name="connsiteY1" fmla="*/ 33008 h 50944"/>
                    <a:gd name="connsiteX2" fmla="*/ 5854 w 11210"/>
                    <a:gd name="connsiteY2" fmla="*/ 15570 h 50944"/>
                    <a:gd name="connsiteX3" fmla="*/ 1121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0" y="50944"/>
                      </a:moveTo>
                      <a:cubicBezTo>
                        <a:pt x="4111" y="43595"/>
                        <a:pt x="5356" y="37367"/>
                        <a:pt x="5730" y="33008"/>
                      </a:cubicBezTo>
                      <a:cubicBezTo>
                        <a:pt x="6353" y="26033"/>
                        <a:pt x="4858" y="22545"/>
                        <a:pt x="5854" y="15570"/>
                      </a:cubicBezTo>
                      <a:cubicBezTo>
                        <a:pt x="6726" y="8719"/>
                        <a:pt x="9342" y="3363"/>
                        <a:pt x="112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3" name="Freeform 8387">
                  <a:extLst>
                    <a:ext uri="{FF2B5EF4-FFF2-40B4-BE49-F238E27FC236}">
                      <a16:creationId xmlns:a16="http://schemas.microsoft.com/office/drawing/2014/main" id="{F05ED8D4-5AD2-9621-1492-F0CA761BF12A}"/>
                    </a:ext>
                  </a:extLst>
                </p:cNvPr>
                <p:cNvSpPr/>
                <p:nvPr/>
              </p:nvSpPr>
              <p:spPr>
                <a:xfrm>
                  <a:off x="3776076" y="1720340"/>
                  <a:ext cx="10451" cy="51193"/>
                </a:xfrm>
                <a:custGeom>
                  <a:avLst/>
                  <a:gdLst>
                    <a:gd name="connsiteX0" fmla="*/ 10228 w 10451"/>
                    <a:gd name="connsiteY0" fmla="*/ 0 h 51193"/>
                    <a:gd name="connsiteX1" fmla="*/ 8359 w 10451"/>
                    <a:gd name="connsiteY1" fmla="*/ 18684 h 51193"/>
                    <a:gd name="connsiteX2" fmla="*/ 1508 w 10451"/>
                    <a:gd name="connsiteY2" fmla="*/ 34752 h 51193"/>
                    <a:gd name="connsiteX3" fmla="*/ 263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10228" y="0"/>
                      </a:moveTo>
                      <a:cubicBezTo>
                        <a:pt x="10975" y="8345"/>
                        <a:pt x="9729" y="14573"/>
                        <a:pt x="8359" y="18684"/>
                      </a:cubicBezTo>
                      <a:cubicBezTo>
                        <a:pt x="6242" y="25285"/>
                        <a:pt x="3501"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4" name="Freeform 8388">
                  <a:extLst>
                    <a:ext uri="{FF2B5EF4-FFF2-40B4-BE49-F238E27FC236}">
                      <a16:creationId xmlns:a16="http://schemas.microsoft.com/office/drawing/2014/main" id="{96EBF637-2332-50DD-481F-7CA2D77ED4A5}"/>
                    </a:ext>
                  </a:extLst>
                </p:cNvPr>
                <p:cNvSpPr/>
                <p:nvPr/>
              </p:nvSpPr>
              <p:spPr>
                <a:xfrm>
                  <a:off x="3766093" y="1760908"/>
                  <a:ext cx="26589" cy="26606"/>
                </a:xfrm>
                <a:custGeom>
                  <a:avLst/>
                  <a:gdLst>
                    <a:gd name="connsiteX0" fmla="*/ 281 w 26589"/>
                    <a:gd name="connsiteY0" fmla="*/ 10501 h 26606"/>
                    <a:gd name="connsiteX1" fmla="*/ 15976 w 26589"/>
                    <a:gd name="connsiteY1" fmla="*/ 287 h 26606"/>
                    <a:gd name="connsiteX2" fmla="*/ 26314 w 26589"/>
                    <a:gd name="connsiteY2" fmla="*/ 16106 h 26606"/>
                    <a:gd name="connsiteX3" fmla="*/ 10619 w 26589"/>
                    <a:gd name="connsiteY3" fmla="*/ 26319 h 26606"/>
                    <a:gd name="connsiteX4" fmla="*/ 281 w 2658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8" h="26606">
                      <a:moveTo>
                        <a:pt x="281" y="10501"/>
                      </a:moveTo>
                      <a:cubicBezTo>
                        <a:pt x="1776" y="3276"/>
                        <a:pt x="8876" y="-1208"/>
                        <a:pt x="15976" y="287"/>
                      </a:cubicBezTo>
                      <a:cubicBezTo>
                        <a:pt x="23075" y="1782"/>
                        <a:pt x="27808" y="8881"/>
                        <a:pt x="26314" y="16106"/>
                      </a:cubicBezTo>
                      <a:cubicBezTo>
                        <a:pt x="24819" y="23330"/>
                        <a:pt x="17844" y="27814"/>
                        <a:pt x="10619" y="26319"/>
                      </a:cubicBezTo>
                      <a:cubicBezTo>
                        <a:pt x="3395" y="24825"/>
                        <a:pt x="-1213" y="17725"/>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5" name="Freeform 8389">
                  <a:extLst>
                    <a:ext uri="{FF2B5EF4-FFF2-40B4-BE49-F238E27FC236}">
                      <a16:creationId xmlns:a16="http://schemas.microsoft.com/office/drawing/2014/main" id="{DFDF8B03-F90A-26FD-396D-766E74DA7760}"/>
                    </a:ext>
                  </a:extLst>
                </p:cNvPr>
                <p:cNvSpPr/>
                <p:nvPr/>
              </p:nvSpPr>
              <p:spPr>
                <a:xfrm>
                  <a:off x="3787923" y="1660552"/>
                  <a:ext cx="11210" cy="50944"/>
                </a:xfrm>
                <a:custGeom>
                  <a:avLst/>
                  <a:gdLst>
                    <a:gd name="connsiteX0" fmla="*/ 11210 w 11210"/>
                    <a:gd name="connsiteY0" fmla="*/ 0 h 50944"/>
                    <a:gd name="connsiteX1" fmla="*/ 5481 w 11210"/>
                    <a:gd name="connsiteY1" fmla="*/ 17936 h 50944"/>
                    <a:gd name="connsiteX2" fmla="*/ 5356 w 11210"/>
                    <a:gd name="connsiteY2" fmla="*/ 35374 h 50944"/>
                    <a:gd name="connsiteX3" fmla="*/ 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0"/>
                      </a:moveTo>
                      <a:cubicBezTo>
                        <a:pt x="7225" y="7349"/>
                        <a:pt x="5854" y="13577"/>
                        <a:pt x="5481" y="17936"/>
                      </a:cubicBezTo>
                      <a:cubicBezTo>
                        <a:pt x="4858" y="24912"/>
                        <a:pt x="6353" y="28399"/>
                        <a:pt x="5356" y="35374"/>
                      </a:cubicBezTo>
                      <a:cubicBezTo>
                        <a:pt x="4484"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6" name="Freeform 8390">
                  <a:extLst>
                    <a:ext uri="{FF2B5EF4-FFF2-40B4-BE49-F238E27FC236}">
                      <a16:creationId xmlns:a16="http://schemas.microsoft.com/office/drawing/2014/main" id="{F7255EB0-7BD9-E0ED-82EA-5A35F234E001}"/>
                    </a:ext>
                  </a:extLst>
                </p:cNvPr>
                <p:cNvSpPr/>
                <p:nvPr/>
              </p:nvSpPr>
              <p:spPr>
                <a:xfrm>
                  <a:off x="3796916" y="1657065"/>
                  <a:ext cx="10327" cy="51193"/>
                </a:xfrm>
                <a:custGeom>
                  <a:avLst/>
                  <a:gdLst>
                    <a:gd name="connsiteX0" fmla="*/ 224 w 10327"/>
                    <a:gd name="connsiteY0" fmla="*/ 51193 h 51193"/>
                    <a:gd name="connsiteX1" fmla="*/ 2093 w 10327"/>
                    <a:gd name="connsiteY1" fmla="*/ 32510 h 51193"/>
                    <a:gd name="connsiteX2" fmla="*/ 8819 w 10327"/>
                    <a:gd name="connsiteY2" fmla="*/ 16442 h 51193"/>
                    <a:gd name="connsiteX3" fmla="*/ 10065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224" y="51193"/>
                      </a:moveTo>
                      <a:cubicBezTo>
                        <a:pt x="-523" y="42848"/>
                        <a:pt x="723" y="36620"/>
                        <a:pt x="2093" y="32510"/>
                      </a:cubicBezTo>
                      <a:cubicBezTo>
                        <a:pt x="4210" y="25908"/>
                        <a:pt x="6951" y="23292"/>
                        <a:pt x="8819" y="16442"/>
                      </a:cubicBezTo>
                      <a:cubicBezTo>
                        <a:pt x="10687" y="9840"/>
                        <a:pt x="10438" y="3861"/>
                        <a:pt x="100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7" name="Freeform 8391">
                  <a:extLst>
                    <a:ext uri="{FF2B5EF4-FFF2-40B4-BE49-F238E27FC236}">
                      <a16:creationId xmlns:a16="http://schemas.microsoft.com/office/drawing/2014/main" id="{4994AFB9-D1BA-1CD2-DE9B-4A42EEE2EC8F}"/>
                    </a:ext>
                  </a:extLst>
                </p:cNvPr>
                <p:cNvSpPr/>
                <p:nvPr/>
              </p:nvSpPr>
              <p:spPr>
                <a:xfrm>
                  <a:off x="3790880" y="1641084"/>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881"/>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6" name="Graphic 2987">
                <a:extLst>
                  <a:ext uri="{FF2B5EF4-FFF2-40B4-BE49-F238E27FC236}">
                    <a16:creationId xmlns:a16="http://schemas.microsoft.com/office/drawing/2014/main" id="{1066299E-CD78-EB91-82F6-3828E33F440A}"/>
                  </a:ext>
                </a:extLst>
              </p:cNvPr>
              <p:cNvGrpSpPr/>
              <p:nvPr/>
            </p:nvGrpSpPr>
            <p:grpSpPr>
              <a:xfrm>
                <a:off x="3736822" y="1634980"/>
                <a:ext cx="51631" cy="146306"/>
                <a:chOff x="3736822" y="1634980"/>
                <a:chExt cx="51631" cy="146306"/>
              </a:xfrm>
              <a:grpFill/>
            </p:grpSpPr>
            <p:sp>
              <p:nvSpPr>
                <p:cNvPr id="5856" name="Freeform 8393">
                  <a:extLst>
                    <a:ext uri="{FF2B5EF4-FFF2-40B4-BE49-F238E27FC236}">
                      <a16:creationId xmlns:a16="http://schemas.microsoft.com/office/drawing/2014/main" id="{F56E81C6-42D5-FEBC-4983-F6B5223BF9DF}"/>
                    </a:ext>
                  </a:extLst>
                </p:cNvPr>
                <p:cNvSpPr/>
                <p:nvPr/>
              </p:nvSpPr>
              <p:spPr>
                <a:xfrm>
                  <a:off x="3755289" y="1710874"/>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5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4111" y="43595"/>
                        <a:pt x="5356" y="37367"/>
                        <a:pt x="5730" y="33008"/>
                      </a:cubicBezTo>
                      <a:cubicBezTo>
                        <a:pt x="6353" y="26033"/>
                        <a:pt x="4858" y="22545"/>
                        <a:pt x="5854" y="15570"/>
                      </a:cubicBezTo>
                      <a:cubicBezTo>
                        <a:pt x="6726" y="8719"/>
                        <a:pt x="9342" y="3363"/>
                        <a:pt x="11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7" name="Freeform 8394">
                  <a:extLst>
                    <a:ext uri="{FF2B5EF4-FFF2-40B4-BE49-F238E27FC236}">
                      <a16:creationId xmlns:a16="http://schemas.microsoft.com/office/drawing/2014/main" id="{B63D4A8D-785C-9C36-55DE-6A580FA07A27}"/>
                    </a:ext>
                  </a:extLst>
                </p:cNvPr>
                <p:cNvSpPr/>
                <p:nvPr/>
              </p:nvSpPr>
              <p:spPr>
                <a:xfrm>
                  <a:off x="3747000" y="1714112"/>
                  <a:ext cx="10506" cy="51068"/>
                </a:xfrm>
                <a:custGeom>
                  <a:avLst/>
                  <a:gdLst>
                    <a:gd name="connsiteX0" fmla="*/ 10282 w 10506"/>
                    <a:gd name="connsiteY0" fmla="*/ 0 h 51068"/>
                    <a:gd name="connsiteX1" fmla="*/ 8414 w 10506"/>
                    <a:gd name="connsiteY1" fmla="*/ 18684 h 51068"/>
                    <a:gd name="connsiteX2" fmla="*/ 1563 w 10506"/>
                    <a:gd name="connsiteY2" fmla="*/ 34627 h 51068"/>
                    <a:gd name="connsiteX3" fmla="*/ 318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0"/>
                      </a:moveTo>
                      <a:cubicBezTo>
                        <a:pt x="11029" y="8345"/>
                        <a:pt x="9784" y="14573"/>
                        <a:pt x="8414" y="18684"/>
                      </a:cubicBezTo>
                      <a:cubicBezTo>
                        <a:pt x="6172"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8" name="Freeform 8395">
                  <a:extLst>
                    <a:ext uri="{FF2B5EF4-FFF2-40B4-BE49-F238E27FC236}">
                      <a16:creationId xmlns:a16="http://schemas.microsoft.com/office/drawing/2014/main" id="{DFC313CA-2E36-373E-9D11-B76F610FDD40}"/>
                    </a:ext>
                  </a:extLst>
                </p:cNvPr>
                <p:cNvSpPr/>
                <p:nvPr/>
              </p:nvSpPr>
              <p:spPr>
                <a:xfrm>
                  <a:off x="3736822" y="1754680"/>
                  <a:ext cx="26719" cy="26606"/>
                </a:xfrm>
                <a:custGeom>
                  <a:avLst/>
                  <a:gdLst>
                    <a:gd name="connsiteX0" fmla="*/ 281 w 26719"/>
                    <a:gd name="connsiteY0" fmla="*/ 10501 h 26606"/>
                    <a:gd name="connsiteX1" fmla="*/ 16100 w 26719"/>
                    <a:gd name="connsiteY1" fmla="*/ 287 h 26606"/>
                    <a:gd name="connsiteX2" fmla="*/ 26438 w 26719"/>
                    <a:gd name="connsiteY2" fmla="*/ 16106 h 26606"/>
                    <a:gd name="connsiteX3" fmla="*/ 10619 w 26719"/>
                    <a:gd name="connsiteY3" fmla="*/ 26319 h 26606"/>
                    <a:gd name="connsiteX4" fmla="*/ 281 w 2671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6">
                      <a:moveTo>
                        <a:pt x="281" y="10501"/>
                      </a:moveTo>
                      <a:cubicBezTo>
                        <a:pt x="1776" y="3276"/>
                        <a:pt x="8876" y="-1208"/>
                        <a:pt x="16100" y="287"/>
                      </a:cubicBezTo>
                      <a:cubicBezTo>
                        <a:pt x="23325" y="1782"/>
                        <a:pt x="27933" y="8881"/>
                        <a:pt x="26438" y="16106"/>
                      </a:cubicBezTo>
                      <a:cubicBezTo>
                        <a:pt x="24944" y="23330"/>
                        <a:pt x="17844" y="27814"/>
                        <a:pt x="10619" y="26319"/>
                      </a:cubicBezTo>
                      <a:cubicBezTo>
                        <a:pt x="3395" y="24825"/>
                        <a:pt x="-1213" y="17600"/>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9" name="Freeform 8396">
                  <a:extLst>
                    <a:ext uri="{FF2B5EF4-FFF2-40B4-BE49-F238E27FC236}">
                      <a16:creationId xmlns:a16="http://schemas.microsoft.com/office/drawing/2014/main" id="{4ED4694A-3924-966A-DD33-60C8550F32F3}"/>
                    </a:ext>
                  </a:extLst>
                </p:cNvPr>
                <p:cNvSpPr/>
                <p:nvPr/>
              </p:nvSpPr>
              <p:spPr>
                <a:xfrm>
                  <a:off x="3759026" y="1654325"/>
                  <a:ext cx="11334" cy="50944"/>
                </a:xfrm>
                <a:custGeom>
                  <a:avLst/>
                  <a:gdLst>
                    <a:gd name="connsiteX0" fmla="*/ 11335 w 11334"/>
                    <a:gd name="connsiteY0" fmla="*/ 0 h 50944"/>
                    <a:gd name="connsiteX1" fmla="*/ 5605 w 11334"/>
                    <a:gd name="connsiteY1" fmla="*/ 17936 h 50944"/>
                    <a:gd name="connsiteX2" fmla="*/ 5481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0"/>
                      </a:moveTo>
                      <a:cubicBezTo>
                        <a:pt x="7224" y="7349"/>
                        <a:pt x="5979" y="13577"/>
                        <a:pt x="5605" y="17936"/>
                      </a:cubicBezTo>
                      <a:cubicBezTo>
                        <a:pt x="4982" y="24912"/>
                        <a:pt x="6352" y="28275"/>
                        <a:pt x="5481"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0" name="Freeform 8397">
                  <a:extLst>
                    <a:ext uri="{FF2B5EF4-FFF2-40B4-BE49-F238E27FC236}">
                      <a16:creationId xmlns:a16="http://schemas.microsoft.com/office/drawing/2014/main" id="{77DD3916-EAC1-9AF4-BA6E-0F61314D02E3}"/>
                    </a:ext>
                  </a:extLst>
                </p:cNvPr>
                <p:cNvSpPr/>
                <p:nvPr/>
              </p:nvSpPr>
              <p:spPr>
                <a:xfrm>
                  <a:off x="3768018" y="1650837"/>
                  <a:ext cx="10506" cy="51193"/>
                </a:xfrm>
                <a:custGeom>
                  <a:avLst/>
                  <a:gdLst>
                    <a:gd name="connsiteX0" fmla="*/ 224 w 10506"/>
                    <a:gd name="connsiteY0" fmla="*/ 51193 h 51193"/>
                    <a:gd name="connsiteX1" fmla="*/ 2093 w 10506"/>
                    <a:gd name="connsiteY1" fmla="*/ 32510 h 51193"/>
                    <a:gd name="connsiteX2" fmla="*/ 8944 w 10506"/>
                    <a:gd name="connsiteY2" fmla="*/ 16442 h 51193"/>
                    <a:gd name="connsiteX3" fmla="*/ 10189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224" y="51193"/>
                      </a:moveTo>
                      <a:cubicBezTo>
                        <a:pt x="-523" y="42848"/>
                        <a:pt x="723" y="36620"/>
                        <a:pt x="2093" y="32510"/>
                      </a:cubicBezTo>
                      <a:cubicBezTo>
                        <a:pt x="4335" y="25908"/>
                        <a:pt x="6951" y="23292"/>
                        <a:pt x="8944" y="16442"/>
                      </a:cubicBezTo>
                      <a:cubicBezTo>
                        <a:pt x="10812" y="9840"/>
                        <a:pt x="10687" y="3861"/>
                        <a:pt x="10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1" name="Freeform 8398">
                  <a:extLst>
                    <a:ext uri="{FF2B5EF4-FFF2-40B4-BE49-F238E27FC236}">
                      <a16:creationId xmlns:a16="http://schemas.microsoft.com/office/drawing/2014/main" id="{E5D66A7B-110B-FB38-71D4-953BEF52FF42}"/>
                    </a:ext>
                  </a:extLst>
                </p:cNvPr>
                <p:cNvSpPr/>
                <p:nvPr/>
              </p:nvSpPr>
              <p:spPr>
                <a:xfrm>
                  <a:off x="3762107" y="1634980"/>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757"/>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7" name="Graphic 2987">
                <a:extLst>
                  <a:ext uri="{FF2B5EF4-FFF2-40B4-BE49-F238E27FC236}">
                    <a16:creationId xmlns:a16="http://schemas.microsoft.com/office/drawing/2014/main" id="{0F1228EA-93E7-EF35-4F69-E95CF9761BFC}"/>
                  </a:ext>
                </a:extLst>
              </p:cNvPr>
              <p:cNvGrpSpPr/>
              <p:nvPr/>
            </p:nvGrpSpPr>
            <p:grpSpPr>
              <a:xfrm>
                <a:off x="3707676" y="1628758"/>
                <a:ext cx="52010" cy="146300"/>
                <a:chOff x="3707676" y="1628758"/>
                <a:chExt cx="52010" cy="146300"/>
              </a:xfrm>
              <a:grpFill/>
            </p:grpSpPr>
            <p:sp>
              <p:nvSpPr>
                <p:cNvPr id="5850" name="Freeform 8400">
                  <a:extLst>
                    <a:ext uri="{FF2B5EF4-FFF2-40B4-BE49-F238E27FC236}">
                      <a16:creationId xmlns:a16="http://schemas.microsoft.com/office/drawing/2014/main" id="{FE1CDB55-2139-C5A6-EF1A-943735739121}"/>
                    </a:ext>
                  </a:extLst>
                </p:cNvPr>
                <p:cNvSpPr/>
                <p:nvPr/>
              </p:nvSpPr>
              <p:spPr>
                <a:xfrm>
                  <a:off x="3726018" y="1704646"/>
                  <a:ext cx="11583" cy="50944"/>
                </a:xfrm>
                <a:custGeom>
                  <a:avLst/>
                  <a:gdLst>
                    <a:gd name="connsiteX0" fmla="*/ 0 w 11583"/>
                    <a:gd name="connsiteY0" fmla="*/ 50944 h 50944"/>
                    <a:gd name="connsiteX1" fmla="*/ 5854 w 11583"/>
                    <a:gd name="connsiteY1" fmla="*/ 33008 h 50944"/>
                    <a:gd name="connsiteX2" fmla="*/ 6103 w 11583"/>
                    <a:gd name="connsiteY2" fmla="*/ 15570 h 50944"/>
                    <a:gd name="connsiteX3" fmla="*/ 11584 w 11583"/>
                    <a:gd name="connsiteY3" fmla="*/ 0 h 50944"/>
                  </a:gdLst>
                  <a:ahLst/>
                  <a:cxnLst>
                    <a:cxn ang="0">
                      <a:pos x="connsiteX0" y="connsiteY0"/>
                    </a:cxn>
                    <a:cxn ang="0">
                      <a:pos x="connsiteX1" y="connsiteY1"/>
                    </a:cxn>
                    <a:cxn ang="0">
                      <a:pos x="connsiteX2" y="connsiteY2"/>
                    </a:cxn>
                    <a:cxn ang="0">
                      <a:pos x="connsiteX3" y="connsiteY3"/>
                    </a:cxn>
                  </a:cxnLst>
                  <a:rect l="l" t="t" r="r" b="b"/>
                  <a:pathLst>
                    <a:path w="11583" h="50944">
                      <a:moveTo>
                        <a:pt x="0" y="50944"/>
                      </a:moveTo>
                      <a:cubicBezTo>
                        <a:pt x="4110" y="43595"/>
                        <a:pt x="5356" y="37367"/>
                        <a:pt x="5854" y="33008"/>
                      </a:cubicBezTo>
                      <a:cubicBezTo>
                        <a:pt x="6477" y="26033"/>
                        <a:pt x="5107" y="22669"/>
                        <a:pt x="6103" y="15570"/>
                      </a:cubicBezTo>
                      <a:cubicBezTo>
                        <a:pt x="7099"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1" name="Freeform 8401">
                  <a:extLst>
                    <a:ext uri="{FF2B5EF4-FFF2-40B4-BE49-F238E27FC236}">
                      <a16:creationId xmlns:a16="http://schemas.microsoft.com/office/drawing/2014/main" id="{3DE0A70B-9E97-77D6-850D-47A7202F3232}"/>
                    </a:ext>
                  </a:extLst>
                </p:cNvPr>
                <p:cNvSpPr/>
                <p:nvPr/>
              </p:nvSpPr>
              <p:spPr>
                <a:xfrm>
                  <a:off x="3717729" y="1707884"/>
                  <a:ext cx="10742" cy="51068"/>
                </a:xfrm>
                <a:custGeom>
                  <a:avLst/>
                  <a:gdLst>
                    <a:gd name="connsiteX0" fmla="*/ 10531 w 10742"/>
                    <a:gd name="connsiteY0" fmla="*/ 0 h 51068"/>
                    <a:gd name="connsiteX1" fmla="*/ 8538 w 10742"/>
                    <a:gd name="connsiteY1" fmla="*/ 18684 h 51068"/>
                    <a:gd name="connsiteX2" fmla="*/ 1563 w 10742"/>
                    <a:gd name="connsiteY2" fmla="*/ 34627 h 51068"/>
                    <a:gd name="connsiteX3" fmla="*/ 318 w 1074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42" h="51068">
                      <a:moveTo>
                        <a:pt x="10531" y="0"/>
                      </a:moveTo>
                      <a:cubicBezTo>
                        <a:pt x="11279" y="8345"/>
                        <a:pt x="9908" y="14573"/>
                        <a:pt x="8538" y="18684"/>
                      </a:cubicBezTo>
                      <a:cubicBezTo>
                        <a:pt x="6296"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2" name="Freeform 8402">
                  <a:extLst>
                    <a:ext uri="{FF2B5EF4-FFF2-40B4-BE49-F238E27FC236}">
                      <a16:creationId xmlns:a16="http://schemas.microsoft.com/office/drawing/2014/main" id="{7B749A08-6A9D-170C-03D5-8384899F8C7B}"/>
                    </a:ext>
                  </a:extLst>
                </p:cNvPr>
                <p:cNvSpPr/>
                <p:nvPr/>
              </p:nvSpPr>
              <p:spPr>
                <a:xfrm>
                  <a:off x="3707676" y="1748458"/>
                  <a:ext cx="26719" cy="26601"/>
                </a:xfrm>
                <a:custGeom>
                  <a:avLst/>
                  <a:gdLst>
                    <a:gd name="connsiteX0" fmla="*/ 281 w 26719"/>
                    <a:gd name="connsiteY0" fmla="*/ 10495 h 26601"/>
                    <a:gd name="connsiteX1" fmla="*/ 16100 w 26719"/>
                    <a:gd name="connsiteY1" fmla="*/ 282 h 26601"/>
                    <a:gd name="connsiteX2" fmla="*/ 26438 w 26719"/>
                    <a:gd name="connsiteY2" fmla="*/ 16100 h 26601"/>
                    <a:gd name="connsiteX3" fmla="*/ 10619 w 26719"/>
                    <a:gd name="connsiteY3" fmla="*/ 26314 h 26601"/>
                    <a:gd name="connsiteX4" fmla="*/ 281 w 26719"/>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1">
                      <a:moveTo>
                        <a:pt x="281" y="10495"/>
                      </a:moveTo>
                      <a:cubicBezTo>
                        <a:pt x="1776" y="3395"/>
                        <a:pt x="8876" y="-1213"/>
                        <a:pt x="16100" y="282"/>
                      </a:cubicBezTo>
                      <a:cubicBezTo>
                        <a:pt x="23325" y="1776"/>
                        <a:pt x="27933" y="8876"/>
                        <a:pt x="26438" y="16100"/>
                      </a:cubicBezTo>
                      <a:cubicBezTo>
                        <a:pt x="24944" y="23325"/>
                        <a:pt x="17844" y="27809"/>
                        <a:pt x="10619" y="26314"/>
                      </a:cubicBezTo>
                      <a:cubicBezTo>
                        <a:pt x="3395" y="24819"/>
                        <a:pt x="-1213" y="17595"/>
                        <a:pt x="28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3" name="Freeform 8403">
                  <a:extLst>
                    <a:ext uri="{FF2B5EF4-FFF2-40B4-BE49-F238E27FC236}">
                      <a16:creationId xmlns:a16="http://schemas.microsoft.com/office/drawing/2014/main" id="{097199E7-D7E6-C82A-7ECF-50DE04DE3388}"/>
                    </a:ext>
                  </a:extLst>
                </p:cNvPr>
                <p:cNvSpPr/>
                <p:nvPr/>
              </p:nvSpPr>
              <p:spPr>
                <a:xfrm>
                  <a:off x="3729879" y="1648097"/>
                  <a:ext cx="11583" cy="50944"/>
                </a:xfrm>
                <a:custGeom>
                  <a:avLst/>
                  <a:gdLst>
                    <a:gd name="connsiteX0" fmla="*/ 11584 w 11583"/>
                    <a:gd name="connsiteY0" fmla="*/ 0 h 50944"/>
                    <a:gd name="connsiteX1" fmla="*/ 5730 w 11583"/>
                    <a:gd name="connsiteY1" fmla="*/ 17936 h 50944"/>
                    <a:gd name="connsiteX2" fmla="*/ 5481 w 11583"/>
                    <a:gd name="connsiteY2" fmla="*/ 35374 h 50944"/>
                    <a:gd name="connsiteX3" fmla="*/ 0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11584" y="0"/>
                      </a:moveTo>
                      <a:cubicBezTo>
                        <a:pt x="7473" y="7349"/>
                        <a:pt x="6228" y="13577"/>
                        <a:pt x="5730" y="17936"/>
                      </a:cubicBezTo>
                      <a:cubicBezTo>
                        <a:pt x="4982" y="24912"/>
                        <a:pt x="6477" y="28275"/>
                        <a:pt x="5481"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4" name="Freeform 8404">
                  <a:extLst>
                    <a:ext uri="{FF2B5EF4-FFF2-40B4-BE49-F238E27FC236}">
                      <a16:creationId xmlns:a16="http://schemas.microsoft.com/office/drawing/2014/main" id="{66D22E7A-250E-E234-CCC1-F08A02DBCBD2}"/>
                    </a:ext>
                  </a:extLst>
                </p:cNvPr>
                <p:cNvSpPr/>
                <p:nvPr/>
              </p:nvSpPr>
              <p:spPr>
                <a:xfrm>
                  <a:off x="3739010" y="1644734"/>
                  <a:ext cx="10617" cy="51068"/>
                </a:xfrm>
                <a:custGeom>
                  <a:avLst/>
                  <a:gdLst>
                    <a:gd name="connsiteX0" fmla="*/ 211 w 10617"/>
                    <a:gd name="connsiteY0" fmla="*/ 51069 h 51068"/>
                    <a:gd name="connsiteX1" fmla="*/ 2204 w 10617"/>
                    <a:gd name="connsiteY1" fmla="*/ 32385 h 51068"/>
                    <a:gd name="connsiteX2" fmla="*/ 9055 w 10617"/>
                    <a:gd name="connsiteY2" fmla="*/ 16442 h 51068"/>
                    <a:gd name="connsiteX3" fmla="*/ 10300 w 10617"/>
                    <a:gd name="connsiteY3" fmla="*/ 0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51069"/>
                      </a:moveTo>
                      <a:cubicBezTo>
                        <a:pt x="-536" y="42723"/>
                        <a:pt x="834" y="36495"/>
                        <a:pt x="2204" y="32385"/>
                      </a:cubicBezTo>
                      <a:cubicBezTo>
                        <a:pt x="4446" y="25783"/>
                        <a:pt x="7062" y="23168"/>
                        <a:pt x="9055" y="16442"/>
                      </a:cubicBezTo>
                      <a:cubicBezTo>
                        <a:pt x="10923" y="9840"/>
                        <a:pt x="10798"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5" name="Freeform 8405">
                  <a:extLst>
                    <a:ext uri="{FF2B5EF4-FFF2-40B4-BE49-F238E27FC236}">
                      <a16:creationId xmlns:a16="http://schemas.microsoft.com/office/drawing/2014/main" id="{5991E33B-14BB-9A8B-B5AB-0445B324450D}"/>
                    </a:ext>
                  </a:extLst>
                </p:cNvPr>
                <p:cNvSpPr/>
                <p:nvPr/>
              </p:nvSpPr>
              <p:spPr>
                <a:xfrm>
                  <a:off x="3733291" y="1628758"/>
                  <a:ext cx="26395" cy="26476"/>
                </a:xfrm>
                <a:custGeom>
                  <a:avLst/>
                  <a:gdLst>
                    <a:gd name="connsiteX0" fmla="*/ 26108 w 26395"/>
                    <a:gd name="connsiteY0" fmla="*/ 15976 h 26476"/>
                    <a:gd name="connsiteX1" fmla="*/ 10414 w 26395"/>
                    <a:gd name="connsiteY1" fmla="*/ 26190 h 26476"/>
                    <a:gd name="connsiteX2" fmla="*/ 325 w 26395"/>
                    <a:gd name="connsiteY2" fmla="*/ 10495 h 26476"/>
                    <a:gd name="connsiteX3" fmla="*/ 16019 w 26395"/>
                    <a:gd name="connsiteY3" fmla="*/ 282 h 26476"/>
                    <a:gd name="connsiteX4" fmla="*/ 26108 w 26395"/>
                    <a:gd name="connsiteY4" fmla="*/ 15976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476">
                      <a:moveTo>
                        <a:pt x="26108" y="15976"/>
                      </a:moveTo>
                      <a:cubicBezTo>
                        <a:pt x="24613" y="23200"/>
                        <a:pt x="17638" y="27684"/>
                        <a:pt x="10414" y="26190"/>
                      </a:cubicBezTo>
                      <a:cubicBezTo>
                        <a:pt x="3314" y="24695"/>
                        <a:pt x="-1295" y="17595"/>
                        <a:pt x="325" y="10495"/>
                      </a:cubicBezTo>
                      <a:cubicBezTo>
                        <a:pt x="1819" y="3396"/>
                        <a:pt x="8919" y="-1213"/>
                        <a:pt x="16019" y="282"/>
                      </a:cubicBezTo>
                      <a:cubicBezTo>
                        <a:pt x="23118" y="1776"/>
                        <a:pt x="27603" y="8876"/>
                        <a:pt x="26108"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8" name="Graphic 2987">
                <a:extLst>
                  <a:ext uri="{FF2B5EF4-FFF2-40B4-BE49-F238E27FC236}">
                    <a16:creationId xmlns:a16="http://schemas.microsoft.com/office/drawing/2014/main" id="{F80A7DBB-97ED-B097-03F0-AD7E49DD0697}"/>
                  </a:ext>
                </a:extLst>
              </p:cNvPr>
              <p:cNvGrpSpPr/>
              <p:nvPr/>
            </p:nvGrpSpPr>
            <p:grpSpPr>
              <a:xfrm>
                <a:off x="3678486" y="1622530"/>
                <a:ext cx="52427" cy="146213"/>
                <a:chOff x="3678486" y="1622530"/>
                <a:chExt cx="52427" cy="146213"/>
              </a:xfrm>
              <a:grpFill/>
            </p:grpSpPr>
            <p:sp>
              <p:nvSpPr>
                <p:cNvPr id="5844" name="Freeform 8407">
                  <a:extLst>
                    <a:ext uri="{FF2B5EF4-FFF2-40B4-BE49-F238E27FC236}">
                      <a16:creationId xmlns:a16="http://schemas.microsoft.com/office/drawing/2014/main" id="{FC52D66E-B510-296E-9E3B-A31BADC6973C}"/>
                    </a:ext>
                  </a:extLst>
                </p:cNvPr>
                <p:cNvSpPr/>
                <p:nvPr/>
              </p:nvSpPr>
              <p:spPr>
                <a:xfrm>
                  <a:off x="3696871" y="1698418"/>
                  <a:ext cx="11708" cy="50819"/>
                </a:xfrm>
                <a:custGeom>
                  <a:avLst/>
                  <a:gdLst>
                    <a:gd name="connsiteX0" fmla="*/ 0 w 11708"/>
                    <a:gd name="connsiteY0" fmla="*/ 50820 h 50819"/>
                    <a:gd name="connsiteX1" fmla="*/ 5854 w 11708"/>
                    <a:gd name="connsiteY1" fmla="*/ 33008 h 50819"/>
                    <a:gd name="connsiteX2" fmla="*/ 6104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4" y="33008"/>
                      </a:cubicBezTo>
                      <a:cubicBezTo>
                        <a:pt x="6602" y="26033"/>
                        <a:pt x="5107" y="22669"/>
                        <a:pt x="6104" y="15570"/>
                      </a:cubicBezTo>
                      <a:cubicBezTo>
                        <a:pt x="7100" y="8719"/>
                        <a:pt x="9715"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5" name="Freeform 8408">
                  <a:extLst>
                    <a:ext uri="{FF2B5EF4-FFF2-40B4-BE49-F238E27FC236}">
                      <a16:creationId xmlns:a16="http://schemas.microsoft.com/office/drawing/2014/main" id="{4DC93527-B719-CAD2-BD70-9D10DE79A385}"/>
                    </a:ext>
                  </a:extLst>
                </p:cNvPr>
                <p:cNvSpPr/>
                <p:nvPr/>
              </p:nvSpPr>
              <p:spPr>
                <a:xfrm>
                  <a:off x="3688643" y="1701656"/>
                  <a:ext cx="10805" cy="51068"/>
                </a:xfrm>
                <a:custGeom>
                  <a:avLst/>
                  <a:gdLst>
                    <a:gd name="connsiteX0" fmla="*/ 10595 w 10805"/>
                    <a:gd name="connsiteY0" fmla="*/ 0 h 51068"/>
                    <a:gd name="connsiteX1" fmla="*/ 8602 w 10805"/>
                    <a:gd name="connsiteY1" fmla="*/ 18684 h 51068"/>
                    <a:gd name="connsiteX2" fmla="*/ 1626 w 10805"/>
                    <a:gd name="connsiteY2" fmla="*/ 34627 h 51068"/>
                    <a:gd name="connsiteX3" fmla="*/ 256 w 1080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5" h="51068">
                      <a:moveTo>
                        <a:pt x="10595" y="0"/>
                      </a:moveTo>
                      <a:cubicBezTo>
                        <a:pt x="11342" y="8345"/>
                        <a:pt x="9972" y="14573"/>
                        <a:pt x="8602" y="18684"/>
                      </a:cubicBezTo>
                      <a:cubicBezTo>
                        <a:pt x="6360" y="25285"/>
                        <a:pt x="3619" y="27901"/>
                        <a:pt x="1626" y="34627"/>
                      </a:cubicBezTo>
                      <a:cubicBezTo>
                        <a:pt x="-367" y="41229"/>
                        <a:pt x="-117" y="47207"/>
                        <a:pt x="25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6" name="Freeform 8409">
                  <a:extLst>
                    <a:ext uri="{FF2B5EF4-FFF2-40B4-BE49-F238E27FC236}">
                      <a16:creationId xmlns:a16="http://schemas.microsoft.com/office/drawing/2014/main" id="{709C53DA-5135-F0FF-19E4-00E2D7013BFA}"/>
                    </a:ext>
                  </a:extLst>
                </p:cNvPr>
                <p:cNvSpPr/>
                <p:nvPr/>
              </p:nvSpPr>
              <p:spPr>
                <a:xfrm>
                  <a:off x="3678486" y="1742187"/>
                  <a:ext cx="26680" cy="26556"/>
                </a:xfrm>
                <a:custGeom>
                  <a:avLst/>
                  <a:gdLst>
                    <a:gd name="connsiteX0" fmla="*/ 324 w 26680"/>
                    <a:gd name="connsiteY0" fmla="*/ 10414 h 26556"/>
                    <a:gd name="connsiteX1" fmla="*/ 16143 w 26680"/>
                    <a:gd name="connsiteY1" fmla="*/ 324 h 26556"/>
                    <a:gd name="connsiteX2" fmla="*/ 26357 w 26680"/>
                    <a:gd name="connsiteY2" fmla="*/ 16143 h 26556"/>
                    <a:gd name="connsiteX3" fmla="*/ 10538 w 26680"/>
                    <a:gd name="connsiteY3" fmla="*/ 26232 h 26556"/>
                    <a:gd name="connsiteX4" fmla="*/ 324 w 26680"/>
                    <a:gd name="connsiteY4" fmla="*/ 10414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56">
                      <a:moveTo>
                        <a:pt x="324" y="10414"/>
                      </a:moveTo>
                      <a:cubicBezTo>
                        <a:pt x="1944" y="3314"/>
                        <a:pt x="9043" y="-1295"/>
                        <a:pt x="16143" y="324"/>
                      </a:cubicBezTo>
                      <a:cubicBezTo>
                        <a:pt x="23367" y="1819"/>
                        <a:pt x="27976" y="8919"/>
                        <a:pt x="26357" y="16143"/>
                      </a:cubicBezTo>
                      <a:cubicBezTo>
                        <a:pt x="24862" y="23243"/>
                        <a:pt x="17762" y="27852"/>
                        <a:pt x="10538" y="26232"/>
                      </a:cubicBezTo>
                      <a:cubicBezTo>
                        <a:pt x="3313" y="24613"/>
                        <a:pt x="-1295" y="17638"/>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7" name="Freeform 8410">
                  <a:extLst>
                    <a:ext uri="{FF2B5EF4-FFF2-40B4-BE49-F238E27FC236}">
                      <a16:creationId xmlns:a16="http://schemas.microsoft.com/office/drawing/2014/main" id="{0EE1ADE2-4DBE-21CB-2FF2-767F7F3A38FC}"/>
                    </a:ext>
                  </a:extLst>
                </p:cNvPr>
                <p:cNvSpPr/>
                <p:nvPr/>
              </p:nvSpPr>
              <p:spPr>
                <a:xfrm>
                  <a:off x="3700982" y="1641993"/>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2"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8" name="Freeform 8411">
                  <a:extLst>
                    <a:ext uri="{FF2B5EF4-FFF2-40B4-BE49-F238E27FC236}">
                      <a16:creationId xmlns:a16="http://schemas.microsoft.com/office/drawing/2014/main" id="{3443DE8F-0350-E42E-00C5-58FE12863FC6}"/>
                    </a:ext>
                  </a:extLst>
                </p:cNvPr>
                <p:cNvSpPr/>
                <p:nvPr/>
              </p:nvSpPr>
              <p:spPr>
                <a:xfrm>
                  <a:off x="3709988" y="163850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6" y="25783"/>
                        <a:pt x="7187" y="23168"/>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9" name="Freeform 8412">
                  <a:extLst>
                    <a:ext uri="{FF2B5EF4-FFF2-40B4-BE49-F238E27FC236}">
                      <a16:creationId xmlns:a16="http://schemas.microsoft.com/office/drawing/2014/main" id="{FBC970AE-9E07-C273-985B-8AFA39D0B34D}"/>
                    </a:ext>
                  </a:extLst>
                </p:cNvPr>
                <p:cNvSpPr/>
                <p:nvPr/>
              </p:nvSpPr>
              <p:spPr>
                <a:xfrm>
                  <a:off x="3704556" y="1622530"/>
                  <a:ext cx="26357" cy="26471"/>
                </a:xfrm>
                <a:custGeom>
                  <a:avLst/>
                  <a:gdLst>
                    <a:gd name="connsiteX0" fmla="*/ 26071 w 26357"/>
                    <a:gd name="connsiteY0" fmla="*/ 15976 h 26471"/>
                    <a:gd name="connsiteX1" fmla="*/ 10376 w 26357"/>
                    <a:gd name="connsiteY1" fmla="*/ 26190 h 26471"/>
                    <a:gd name="connsiteX2" fmla="*/ 287 w 26357"/>
                    <a:gd name="connsiteY2" fmla="*/ 10495 h 26471"/>
                    <a:gd name="connsiteX3" fmla="*/ 15982 w 26357"/>
                    <a:gd name="connsiteY3" fmla="*/ 282 h 26471"/>
                    <a:gd name="connsiteX4" fmla="*/ 26071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6071" y="15976"/>
                      </a:moveTo>
                      <a:cubicBezTo>
                        <a:pt x="24576" y="23076"/>
                        <a:pt x="17476" y="27684"/>
                        <a:pt x="10376" y="26190"/>
                      </a:cubicBezTo>
                      <a:cubicBezTo>
                        <a:pt x="3276" y="24695"/>
                        <a:pt x="-1207" y="17595"/>
                        <a:pt x="287" y="10495"/>
                      </a:cubicBezTo>
                      <a:cubicBezTo>
                        <a:pt x="1906" y="3396"/>
                        <a:pt x="8882" y="-1213"/>
                        <a:pt x="15982" y="282"/>
                      </a:cubicBezTo>
                      <a:cubicBezTo>
                        <a:pt x="23081" y="1776"/>
                        <a:pt x="27565" y="8876"/>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9" name="Graphic 2987">
                <a:extLst>
                  <a:ext uri="{FF2B5EF4-FFF2-40B4-BE49-F238E27FC236}">
                    <a16:creationId xmlns:a16="http://schemas.microsoft.com/office/drawing/2014/main" id="{165D4A41-4B69-F964-2096-42FF08A0E314}"/>
                  </a:ext>
                </a:extLst>
              </p:cNvPr>
              <p:cNvGrpSpPr/>
              <p:nvPr/>
            </p:nvGrpSpPr>
            <p:grpSpPr>
              <a:xfrm>
                <a:off x="3649215" y="1616427"/>
                <a:ext cx="52844" cy="145964"/>
                <a:chOff x="3649215" y="1616427"/>
                <a:chExt cx="52844" cy="145964"/>
              </a:xfrm>
              <a:grpFill/>
            </p:grpSpPr>
            <p:sp>
              <p:nvSpPr>
                <p:cNvPr id="5838" name="Freeform 8414">
                  <a:extLst>
                    <a:ext uri="{FF2B5EF4-FFF2-40B4-BE49-F238E27FC236}">
                      <a16:creationId xmlns:a16="http://schemas.microsoft.com/office/drawing/2014/main" id="{C191EFD0-5B43-0F94-08E5-E44E2C4886EB}"/>
                    </a:ext>
                  </a:extLst>
                </p:cNvPr>
                <p:cNvSpPr/>
                <p:nvPr/>
              </p:nvSpPr>
              <p:spPr>
                <a:xfrm>
                  <a:off x="3667725" y="1692190"/>
                  <a:ext cx="11833" cy="50819"/>
                </a:xfrm>
                <a:custGeom>
                  <a:avLst/>
                  <a:gdLst>
                    <a:gd name="connsiteX0" fmla="*/ 0 w 11833"/>
                    <a:gd name="connsiteY0" fmla="*/ 50820 h 50819"/>
                    <a:gd name="connsiteX1" fmla="*/ 5979 w 11833"/>
                    <a:gd name="connsiteY1" fmla="*/ 33008 h 50819"/>
                    <a:gd name="connsiteX2" fmla="*/ 6228 w 11833"/>
                    <a:gd name="connsiteY2" fmla="*/ 15570 h 50819"/>
                    <a:gd name="connsiteX3" fmla="*/ 11833 w 11833"/>
                    <a:gd name="connsiteY3" fmla="*/ 0 h 50819"/>
                  </a:gdLst>
                  <a:ahLst/>
                  <a:cxnLst>
                    <a:cxn ang="0">
                      <a:pos x="connsiteX0" y="connsiteY0"/>
                    </a:cxn>
                    <a:cxn ang="0">
                      <a:pos x="connsiteX1" y="connsiteY1"/>
                    </a:cxn>
                    <a:cxn ang="0">
                      <a:pos x="connsiteX2" y="connsiteY2"/>
                    </a:cxn>
                    <a:cxn ang="0">
                      <a:pos x="connsiteX3" y="connsiteY3"/>
                    </a:cxn>
                  </a:cxnLst>
                  <a:rect l="l" t="t" r="r" b="b"/>
                  <a:pathLst>
                    <a:path w="11833" h="50818">
                      <a:moveTo>
                        <a:pt x="0" y="50820"/>
                      </a:moveTo>
                      <a:cubicBezTo>
                        <a:pt x="4111" y="43471"/>
                        <a:pt x="5481" y="37243"/>
                        <a:pt x="5979" y="33008"/>
                      </a:cubicBezTo>
                      <a:cubicBezTo>
                        <a:pt x="6726" y="26033"/>
                        <a:pt x="5232" y="22669"/>
                        <a:pt x="6228" y="15570"/>
                      </a:cubicBezTo>
                      <a:cubicBezTo>
                        <a:pt x="7225" y="8719"/>
                        <a:pt x="9840" y="3488"/>
                        <a:pt x="118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9" name="Freeform 8415">
                  <a:extLst>
                    <a:ext uri="{FF2B5EF4-FFF2-40B4-BE49-F238E27FC236}">
                      <a16:creationId xmlns:a16="http://schemas.microsoft.com/office/drawing/2014/main" id="{A675AB4B-328D-8383-C4D4-83257C6D4C56}"/>
                    </a:ext>
                  </a:extLst>
                </p:cNvPr>
                <p:cNvSpPr/>
                <p:nvPr/>
              </p:nvSpPr>
              <p:spPr>
                <a:xfrm>
                  <a:off x="3659442" y="1695429"/>
                  <a:ext cx="10984" cy="51068"/>
                </a:xfrm>
                <a:custGeom>
                  <a:avLst/>
                  <a:gdLst>
                    <a:gd name="connsiteX0" fmla="*/ 10774 w 10984"/>
                    <a:gd name="connsiteY0" fmla="*/ 0 h 51068"/>
                    <a:gd name="connsiteX1" fmla="*/ 8657 w 10984"/>
                    <a:gd name="connsiteY1" fmla="*/ 18684 h 51068"/>
                    <a:gd name="connsiteX2" fmla="*/ 1682 w 10984"/>
                    <a:gd name="connsiteY2" fmla="*/ 34627 h 51068"/>
                    <a:gd name="connsiteX3" fmla="*/ 312 w 10984"/>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84" h="51068">
                      <a:moveTo>
                        <a:pt x="10774" y="0"/>
                      </a:moveTo>
                      <a:cubicBezTo>
                        <a:pt x="11522" y="8345"/>
                        <a:pt x="10151" y="14573"/>
                        <a:pt x="8657" y="18684"/>
                      </a:cubicBezTo>
                      <a:cubicBezTo>
                        <a:pt x="6415" y="25285"/>
                        <a:pt x="3674" y="27776"/>
                        <a:pt x="1682" y="34627"/>
                      </a:cubicBezTo>
                      <a:cubicBezTo>
                        <a:pt x="-311" y="41229"/>
                        <a:pt x="-187" y="47083"/>
                        <a:pt x="3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0" name="Freeform 8416">
                  <a:extLst>
                    <a:ext uri="{FF2B5EF4-FFF2-40B4-BE49-F238E27FC236}">
                      <a16:creationId xmlns:a16="http://schemas.microsoft.com/office/drawing/2014/main" id="{3B935A76-7D1A-DD6C-0A92-2AD399B13136}"/>
                    </a:ext>
                  </a:extLst>
                </p:cNvPr>
                <p:cNvSpPr/>
                <p:nvPr/>
              </p:nvSpPr>
              <p:spPr>
                <a:xfrm>
                  <a:off x="3649215" y="1735959"/>
                  <a:ext cx="26805" cy="26432"/>
                </a:xfrm>
                <a:custGeom>
                  <a:avLst/>
                  <a:gdLst>
                    <a:gd name="connsiteX0" fmla="*/ 324 w 26805"/>
                    <a:gd name="connsiteY0" fmla="*/ 10414 h 26432"/>
                    <a:gd name="connsiteX1" fmla="*/ 16268 w 26805"/>
                    <a:gd name="connsiteY1" fmla="*/ 324 h 26432"/>
                    <a:gd name="connsiteX2" fmla="*/ 26481 w 26805"/>
                    <a:gd name="connsiteY2" fmla="*/ 16019 h 26432"/>
                    <a:gd name="connsiteX3" fmla="*/ 10538 w 26805"/>
                    <a:gd name="connsiteY3" fmla="*/ 26108 h 26432"/>
                    <a:gd name="connsiteX4" fmla="*/ 324 w 26805"/>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431">
                      <a:moveTo>
                        <a:pt x="324" y="10414"/>
                      </a:moveTo>
                      <a:cubicBezTo>
                        <a:pt x="1944" y="3314"/>
                        <a:pt x="9043" y="-1295"/>
                        <a:pt x="16268" y="324"/>
                      </a:cubicBezTo>
                      <a:cubicBezTo>
                        <a:pt x="23492" y="1944"/>
                        <a:pt x="28101" y="8919"/>
                        <a:pt x="26481" y="16019"/>
                      </a:cubicBezTo>
                      <a:cubicBezTo>
                        <a:pt x="24862" y="23119"/>
                        <a:pt x="17762" y="27727"/>
                        <a:pt x="10538" y="26108"/>
                      </a:cubicBezTo>
                      <a:cubicBezTo>
                        <a:pt x="3313" y="24613"/>
                        <a:pt x="-1295" y="17513"/>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1" name="Freeform 8417">
                  <a:extLst>
                    <a:ext uri="{FF2B5EF4-FFF2-40B4-BE49-F238E27FC236}">
                      <a16:creationId xmlns:a16="http://schemas.microsoft.com/office/drawing/2014/main" id="{9594FC04-CF30-EA4F-40A4-13CF66084303}"/>
                    </a:ext>
                  </a:extLst>
                </p:cNvPr>
                <p:cNvSpPr/>
                <p:nvPr/>
              </p:nvSpPr>
              <p:spPr>
                <a:xfrm>
                  <a:off x="3671835" y="1635765"/>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577"/>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2" name="Freeform 8418">
                  <a:extLst>
                    <a:ext uri="{FF2B5EF4-FFF2-40B4-BE49-F238E27FC236}">
                      <a16:creationId xmlns:a16="http://schemas.microsoft.com/office/drawing/2014/main" id="{DD7EAADB-C7B8-3B41-777A-5FBA157BBD38}"/>
                    </a:ext>
                  </a:extLst>
                </p:cNvPr>
                <p:cNvSpPr/>
                <p:nvPr/>
              </p:nvSpPr>
              <p:spPr>
                <a:xfrm>
                  <a:off x="3681091" y="1632402"/>
                  <a:ext cx="10984" cy="51068"/>
                </a:xfrm>
                <a:custGeom>
                  <a:avLst/>
                  <a:gdLst>
                    <a:gd name="connsiteX0" fmla="*/ 210 w 10984"/>
                    <a:gd name="connsiteY0" fmla="*/ 51069 h 51068"/>
                    <a:gd name="connsiteX1" fmla="*/ 2328 w 10984"/>
                    <a:gd name="connsiteY1" fmla="*/ 32385 h 51068"/>
                    <a:gd name="connsiteX2" fmla="*/ 9303 w 10984"/>
                    <a:gd name="connsiteY2" fmla="*/ 16442 h 51068"/>
                    <a:gd name="connsiteX3" fmla="*/ 10674 w 10984"/>
                    <a:gd name="connsiteY3" fmla="*/ 0 h 51068"/>
                  </a:gdLst>
                  <a:ahLst/>
                  <a:cxnLst>
                    <a:cxn ang="0">
                      <a:pos x="connsiteX0" y="connsiteY0"/>
                    </a:cxn>
                    <a:cxn ang="0">
                      <a:pos x="connsiteX1" y="connsiteY1"/>
                    </a:cxn>
                    <a:cxn ang="0">
                      <a:pos x="connsiteX2" y="connsiteY2"/>
                    </a:cxn>
                    <a:cxn ang="0">
                      <a:pos x="connsiteX3" y="connsiteY3"/>
                    </a:cxn>
                  </a:cxnLst>
                  <a:rect l="l" t="t" r="r" b="b"/>
                  <a:pathLst>
                    <a:path w="10984" h="51068">
                      <a:moveTo>
                        <a:pt x="210" y="51069"/>
                      </a:moveTo>
                      <a:cubicBezTo>
                        <a:pt x="-537" y="42723"/>
                        <a:pt x="833" y="36495"/>
                        <a:pt x="2328" y="32385"/>
                      </a:cubicBezTo>
                      <a:cubicBezTo>
                        <a:pt x="4570" y="25783"/>
                        <a:pt x="7310" y="23168"/>
                        <a:pt x="9303" y="16442"/>
                      </a:cubicBezTo>
                      <a:cubicBezTo>
                        <a:pt x="11296" y="9840"/>
                        <a:pt x="11172" y="3986"/>
                        <a:pt x="106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3" name="Freeform 8419">
                  <a:extLst>
                    <a:ext uri="{FF2B5EF4-FFF2-40B4-BE49-F238E27FC236}">
                      <a16:creationId xmlns:a16="http://schemas.microsoft.com/office/drawing/2014/main" id="{506A34D2-FE33-56E7-EA37-138B6D63A078}"/>
                    </a:ext>
                  </a:extLst>
                </p:cNvPr>
                <p:cNvSpPr/>
                <p:nvPr/>
              </p:nvSpPr>
              <p:spPr>
                <a:xfrm>
                  <a:off x="3675658" y="1616427"/>
                  <a:ext cx="26401" cy="26471"/>
                </a:xfrm>
                <a:custGeom>
                  <a:avLst/>
                  <a:gdLst>
                    <a:gd name="connsiteX0" fmla="*/ 26071 w 26401"/>
                    <a:gd name="connsiteY0" fmla="*/ 15976 h 26471"/>
                    <a:gd name="connsiteX1" fmla="*/ 10376 w 26401"/>
                    <a:gd name="connsiteY1" fmla="*/ 26190 h 26471"/>
                    <a:gd name="connsiteX2" fmla="*/ 287 w 26401"/>
                    <a:gd name="connsiteY2" fmla="*/ 10495 h 26471"/>
                    <a:gd name="connsiteX3" fmla="*/ 15982 w 26401"/>
                    <a:gd name="connsiteY3" fmla="*/ 282 h 26471"/>
                    <a:gd name="connsiteX4" fmla="*/ 26071 w 26401"/>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70">
                      <a:moveTo>
                        <a:pt x="26071" y="15976"/>
                      </a:moveTo>
                      <a:cubicBezTo>
                        <a:pt x="24451" y="23076"/>
                        <a:pt x="17476" y="27684"/>
                        <a:pt x="10376" y="26190"/>
                      </a:cubicBezTo>
                      <a:cubicBezTo>
                        <a:pt x="3276" y="24695"/>
                        <a:pt x="-1207" y="17595"/>
                        <a:pt x="287" y="10495"/>
                      </a:cubicBezTo>
                      <a:cubicBezTo>
                        <a:pt x="1906" y="3396"/>
                        <a:pt x="8882" y="-1213"/>
                        <a:pt x="15982" y="282"/>
                      </a:cubicBezTo>
                      <a:cubicBezTo>
                        <a:pt x="23206" y="1776"/>
                        <a:pt x="27690" y="8751"/>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0" name="Graphic 2987">
                <a:extLst>
                  <a:ext uri="{FF2B5EF4-FFF2-40B4-BE49-F238E27FC236}">
                    <a16:creationId xmlns:a16="http://schemas.microsoft.com/office/drawing/2014/main" id="{7279D064-B326-A7E5-3897-4472FBBF0ED7}"/>
                  </a:ext>
                </a:extLst>
              </p:cNvPr>
              <p:cNvGrpSpPr/>
              <p:nvPr/>
            </p:nvGrpSpPr>
            <p:grpSpPr>
              <a:xfrm>
                <a:off x="3620063" y="1610199"/>
                <a:ext cx="53224" cy="145964"/>
                <a:chOff x="3620063" y="1610199"/>
                <a:chExt cx="53224" cy="145964"/>
              </a:xfrm>
              <a:grpFill/>
            </p:grpSpPr>
            <p:sp>
              <p:nvSpPr>
                <p:cNvPr id="5832" name="Freeform 8421">
                  <a:extLst>
                    <a:ext uri="{FF2B5EF4-FFF2-40B4-BE49-F238E27FC236}">
                      <a16:creationId xmlns:a16="http://schemas.microsoft.com/office/drawing/2014/main" id="{B9F66F5B-4DEB-FBF3-A026-F9D37B46CF98}"/>
                    </a:ext>
                  </a:extLst>
                </p:cNvPr>
                <p:cNvSpPr/>
                <p:nvPr/>
              </p:nvSpPr>
              <p:spPr>
                <a:xfrm>
                  <a:off x="3638578" y="1685962"/>
                  <a:ext cx="12082" cy="50819"/>
                </a:xfrm>
                <a:custGeom>
                  <a:avLst/>
                  <a:gdLst>
                    <a:gd name="connsiteX0" fmla="*/ 0 w 12082"/>
                    <a:gd name="connsiteY0" fmla="*/ 50820 h 50819"/>
                    <a:gd name="connsiteX1" fmla="*/ 5979 w 12082"/>
                    <a:gd name="connsiteY1" fmla="*/ 33008 h 50819"/>
                    <a:gd name="connsiteX2" fmla="*/ 6353 w 12082"/>
                    <a:gd name="connsiteY2" fmla="*/ 15570 h 50819"/>
                    <a:gd name="connsiteX3" fmla="*/ 12082 w 12082"/>
                    <a:gd name="connsiteY3" fmla="*/ 0 h 50819"/>
                  </a:gdLst>
                  <a:ahLst/>
                  <a:cxnLst>
                    <a:cxn ang="0">
                      <a:pos x="connsiteX0" y="connsiteY0"/>
                    </a:cxn>
                    <a:cxn ang="0">
                      <a:pos x="connsiteX1" y="connsiteY1"/>
                    </a:cxn>
                    <a:cxn ang="0">
                      <a:pos x="connsiteX2" y="connsiteY2"/>
                    </a:cxn>
                    <a:cxn ang="0">
                      <a:pos x="connsiteX3" y="connsiteY3"/>
                    </a:cxn>
                  </a:cxnLst>
                  <a:rect l="l" t="t" r="r" b="b"/>
                  <a:pathLst>
                    <a:path w="12082" h="50818">
                      <a:moveTo>
                        <a:pt x="0" y="50820"/>
                      </a:moveTo>
                      <a:cubicBezTo>
                        <a:pt x="4235" y="43471"/>
                        <a:pt x="5605" y="37243"/>
                        <a:pt x="5979" y="33008"/>
                      </a:cubicBezTo>
                      <a:cubicBezTo>
                        <a:pt x="6726" y="26033"/>
                        <a:pt x="5356" y="22669"/>
                        <a:pt x="6353" y="15570"/>
                      </a:cubicBezTo>
                      <a:cubicBezTo>
                        <a:pt x="7349" y="8719"/>
                        <a:pt x="9965" y="3488"/>
                        <a:pt x="120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3" name="Freeform 8422">
                  <a:extLst>
                    <a:ext uri="{FF2B5EF4-FFF2-40B4-BE49-F238E27FC236}">
                      <a16:creationId xmlns:a16="http://schemas.microsoft.com/office/drawing/2014/main" id="{368128D3-2DB9-3087-8C68-593B2CE11924}"/>
                    </a:ext>
                  </a:extLst>
                </p:cNvPr>
                <p:cNvSpPr/>
                <p:nvPr/>
              </p:nvSpPr>
              <p:spPr>
                <a:xfrm>
                  <a:off x="3630261" y="1689201"/>
                  <a:ext cx="11087" cy="51068"/>
                </a:xfrm>
                <a:custGeom>
                  <a:avLst/>
                  <a:gdLst>
                    <a:gd name="connsiteX0" fmla="*/ 10933 w 11087"/>
                    <a:gd name="connsiteY0" fmla="*/ 0 h 51068"/>
                    <a:gd name="connsiteX1" fmla="*/ 8816 w 11087"/>
                    <a:gd name="connsiteY1" fmla="*/ 18684 h 51068"/>
                    <a:gd name="connsiteX2" fmla="*/ 1716 w 11087"/>
                    <a:gd name="connsiteY2" fmla="*/ 34627 h 51068"/>
                    <a:gd name="connsiteX3" fmla="*/ 221 w 110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0"/>
                      </a:moveTo>
                      <a:cubicBezTo>
                        <a:pt x="11556" y="8345"/>
                        <a:pt x="10186" y="14573"/>
                        <a:pt x="8816" y="18684"/>
                      </a:cubicBezTo>
                      <a:cubicBezTo>
                        <a:pt x="6574" y="25285"/>
                        <a:pt x="3834"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4" name="Freeform 8423">
                  <a:extLst>
                    <a:ext uri="{FF2B5EF4-FFF2-40B4-BE49-F238E27FC236}">
                      <a16:creationId xmlns:a16="http://schemas.microsoft.com/office/drawing/2014/main" id="{36CCFF40-15B9-0B6A-E80F-F13625478E7A}"/>
                    </a:ext>
                  </a:extLst>
                </p:cNvPr>
                <p:cNvSpPr/>
                <p:nvPr/>
              </p:nvSpPr>
              <p:spPr>
                <a:xfrm>
                  <a:off x="3620063" y="1729731"/>
                  <a:ext cx="26774" cy="26432"/>
                </a:xfrm>
                <a:custGeom>
                  <a:avLst/>
                  <a:gdLst>
                    <a:gd name="connsiteX0" fmla="*/ 330 w 26774"/>
                    <a:gd name="connsiteY0" fmla="*/ 10414 h 26432"/>
                    <a:gd name="connsiteX1" fmla="*/ 16274 w 26774"/>
                    <a:gd name="connsiteY1" fmla="*/ 324 h 26432"/>
                    <a:gd name="connsiteX2" fmla="*/ 26487 w 26774"/>
                    <a:gd name="connsiteY2" fmla="*/ 16019 h 26432"/>
                    <a:gd name="connsiteX3" fmla="*/ 10544 w 26774"/>
                    <a:gd name="connsiteY3" fmla="*/ 26108 h 26432"/>
                    <a:gd name="connsiteX4" fmla="*/ 330 w 2677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4" h="26431">
                      <a:moveTo>
                        <a:pt x="330" y="10414"/>
                      </a:moveTo>
                      <a:cubicBezTo>
                        <a:pt x="1950" y="3314"/>
                        <a:pt x="9049" y="-1295"/>
                        <a:pt x="16274" y="324"/>
                      </a:cubicBezTo>
                      <a:cubicBezTo>
                        <a:pt x="23498" y="1944"/>
                        <a:pt x="27982" y="8919"/>
                        <a:pt x="26487" y="16019"/>
                      </a:cubicBezTo>
                      <a:cubicBezTo>
                        <a:pt x="24868" y="23119"/>
                        <a:pt x="17768" y="27727"/>
                        <a:pt x="10544" y="26108"/>
                      </a:cubicBezTo>
                      <a:cubicBezTo>
                        <a:pt x="3195" y="24613"/>
                        <a:pt x="-1289" y="17513"/>
                        <a:pt x="330"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5" name="Freeform 8424">
                  <a:extLst>
                    <a:ext uri="{FF2B5EF4-FFF2-40B4-BE49-F238E27FC236}">
                      <a16:creationId xmlns:a16="http://schemas.microsoft.com/office/drawing/2014/main" id="{E827D2C7-517B-8E01-321C-7716D1A3EFCF}"/>
                    </a:ext>
                  </a:extLst>
                </p:cNvPr>
                <p:cNvSpPr/>
                <p:nvPr/>
              </p:nvSpPr>
              <p:spPr>
                <a:xfrm>
                  <a:off x="3642938" y="1629538"/>
                  <a:ext cx="12082" cy="50819"/>
                </a:xfrm>
                <a:custGeom>
                  <a:avLst/>
                  <a:gdLst>
                    <a:gd name="connsiteX0" fmla="*/ 12082 w 12082"/>
                    <a:gd name="connsiteY0" fmla="*/ 0 h 50819"/>
                    <a:gd name="connsiteX1" fmla="*/ 6103 w 12082"/>
                    <a:gd name="connsiteY1" fmla="*/ 17812 h 50819"/>
                    <a:gd name="connsiteX2" fmla="*/ 5730 w 12082"/>
                    <a:gd name="connsiteY2" fmla="*/ 35250 h 50819"/>
                    <a:gd name="connsiteX3" fmla="*/ 0 w 12082"/>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082" h="50818">
                      <a:moveTo>
                        <a:pt x="12082" y="0"/>
                      </a:moveTo>
                      <a:cubicBezTo>
                        <a:pt x="7971" y="7349"/>
                        <a:pt x="6602" y="13577"/>
                        <a:pt x="6103" y="17812"/>
                      </a:cubicBezTo>
                      <a:cubicBezTo>
                        <a:pt x="5356" y="24787"/>
                        <a:pt x="6726" y="28150"/>
                        <a:pt x="5730" y="35250"/>
                      </a:cubicBezTo>
                      <a:cubicBezTo>
                        <a:pt x="4733" y="42101"/>
                        <a:pt x="2118"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6" name="Freeform 8425">
                  <a:extLst>
                    <a:ext uri="{FF2B5EF4-FFF2-40B4-BE49-F238E27FC236}">
                      <a16:creationId xmlns:a16="http://schemas.microsoft.com/office/drawing/2014/main" id="{68D9ADDD-7AA6-6D0E-8589-BD542E60E82B}"/>
                    </a:ext>
                  </a:extLst>
                </p:cNvPr>
                <p:cNvSpPr/>
                <p:nvPr/>
              </p:nvSpPr>
              <p:spPr>
                <a:xfrm>
                  <a:off x="3652125" y="1626174"/>
                  <a:ext cx="11087" cy="51068"/>
                </a:xfrm>
                <a:custGeom>
                  <a:avLst/>
                  <a:gdLst>
                    <a:gd name="connsiteX0" fmla="*/ 155 w 11087"/>
                    <a:gd name="connsiteY0" fmla="*/ 51069 h 51068"/>
                    <a:gd name="connsiteX1" fmla="*/ 2272 w 11087"/>
                    <a:gd name="connsiteY1" fmla="*/ 32385 h 51068"/>
                    <a:gd name="connsiteX2" fmla="*/ 9372 w 11087"/>
                    <a:gd name="connsiteY2" fmla="*/ 16442 h 51068"/>
                    <a:gd name="connsiteX3" fmla="*/ 10866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55" y="51069"/>
                      </a:moveTo>
                      <a:cubicBezTo>
                        <a:pt x="-468" y="42723"/>
                        <a:pt x="902" y="36495"/>
                        <a:pt x="2272" y="32385"/>
                      </a:cubicBezTo>
                      <a:cubicBezTo>
                        <a:pt x="4514" y="25783"/>
                        <a:pt x="7254" y="23292"/>
                        <a:pt x="9372" y="16442"/>
                      </a:cubicBezTo>
                      <a:cubicBezTo>
                        <a:pt x="11365" y="9840"/>
                        <a:pt x="11240" y="3986"/>
                        <a:pt x="10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7" name="Freeform 8426">
                  <a:extLst>
                    <a:ext uri="{FF2B5EF4-FFF2-40B4-BE49-F238E27FC236}">
                      <a16:creationId xmlns:a16="http://schemas.microsoft.com/office/drawing/2014/main" id="{9D5384A7-1AC1-E556-3B4A-80E7639C1C33}"/>
                    </a:ext>
                  </a:extLst>
                </p:cNvPr>
                <p:cNvSpPr/>
                <p:nvPr/>
              </p:nvSpPr>
              <p:spPr>
                <a:xfrm>
                  <a:off x="3646842" y="1610199"/>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520" y="27684"/>
                        <a:pt x="10295" y="26190"/>
                      </a:cubicBezTo>
                      <a:cubicBezTo>
                        <a:pt x="3196" y="24695"/>
                        <a:pt x="-1288" y="17595"/>
                        <a:pt x="331" y="10495"/>
                      </a:cubicBezTo>
                      <a:cubicBezTo>
                        <a:pt x="1950" y="3396"/>
                        <a:pt x="9050" y="-1213"/>
                        <a:pt x="16150" y="282"/>
                      </a:cubicBezTo>
                      <a:cubicBezTo>
                        <a:pt x="23249" y="1776"/>
                        <a:pt x="27734" y="8876"/>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1" name="Graphic 2987">
                <a:extLst>
                  <a:ext uri="{FF2B5EF4-FFF2-40B4-BE49-F238E27FC236}">
                    <a16:creationId xmlns:a16="http://schemas.microsoft.com/office/drawing/2014/main" id="{D628A0A1-2564-43D0-75B9-B2D20FB8E76B}"/>
                  </a:ext>
                </a:extLst>
              </p:cNvPr>
              <p:cNvGrpSpPr/>
              <p:nvPr/>
            </p:nvGrpSpPr>
            <p:grpSpPr>
              <a:xfrm>
                <a:off x="3590791" y="1604095"/>
                <a:ext cx="53723" cy="145715"/>
                <a:chOff x="3590791" y="1604095"/>
                <a:chExt cx="53723" cy="145715"/>
              </a:xfrm>
              <a:grpFill/>
            </p:grpSpPr>
            <p:sp>
              <p:nvSpPr>
                <p:cNvPr id="5826" name="Freeform 8428">
                  <a:extLst>
                    <a:ext uri="{FF2B5EF4-FFF2-40B4-BE49-F238E27FC236}">
                      <a16:creationId xmlns:a16="http://schemas.microsoft.com/office/drawing/2014/main" id="{2A7D6734-51C7-9D37-79B8-52E89BFD9230}"/>
                    </a:ext>
                  </a:extLst>
                </p:cNvPr>
                <p:cNvSpPr/>
                <p:nvPr/>
              </p:nvSpPr>
              <p:spPr>
                <a:xfrm>
                  <a:off x="3609432" y="1679859"/>
                  <a:ext cx="12206" cy="50694"/>
                </a:xfrm>
                <a:custGeom>
                  <a:avLst/>
                  <a:gdLst>
                    <a:gd name="connsiteX0" fmla="*/ 0 w 12206"/>
                    <a:gd name="connsiteY0" fmla="*/ 50695 h 50694"/>
                    <a:gd name="connsiteX1" fmla="*/ 6103 w 12206"/>
                    <a:gd name="connsiteY1" fmla="*/ 32883 h 50694"/>
                    <a:gd name="connsiteX2" fmla="*/ 6477 w 12206"/>
                    <a:gd name="connsiteY2" fmla="*/ 15445 h 50694"/>
                    <a:gd name="connsiteX3" fmla="*/ 12207 w 12206"/>
                    <a:gd name="connsiteY3" fmla="*/ 0 h 50694"/>
                  </a:gdLst>
                  <a:ahLst/>
                  <a:cxnLst>
                    <a:cxn ang="0">
                      <a:pos x="connsiteX0" y="connsiteY0"/>
                    </a:cxn>
                    <a:cxn ang="0">
                      <a:pos x="connsiteX1" y="connsiteY1"/>
                    </a:cxn>
                    <a:cxn ang="0">
                      <a:pos x="connsiteX2" y="connsiteY2"/>
                    </a:cxn>
                    <a:cxn ang="0">
                      <a:pos x="connsiteX3" y="connsiteY3"/>
                    </a:cxn>
                  </a:cxnLst>
                  <a:rect l="l" t="t" r="r" b="b"/>
                  <a:pathLst>
                    <a:path w="12206" h="50694">
                      <a:moveTo>
                        <a:pt x="0" y="50695"/>
                      </a:moveTo>
                      <a:cubicBezTo>
                        <a:pt x="4235" y="43346"/>
                        <a:pt x="5605" y="37243"/>
                        <a:pt x="6103" y="32883"/>
                      </a:cubicBezTo>
                      <a:cubicBezTo>
                        <a:pt x="6851" y="25908"/>
                        <a:pt x="5481" y="22545"/>
                        <a:pt x="6477" y="15445"/>
                      </a:cubicBezTo>
                      <a:cubicBezTo>
                        <a:pt x="7474" y="8594"/>
                        <a:pt x="10214" y="3363"/>
                        <a:pt x="122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7" name="Freeform 8429">
                  <a:extLst>
                    <a:ext uri="{FF2B5EF4-FFF2-40B4-BE49-F238E27FC236}">
                      <a16:creationId xmlns:a16="http://schemas.microsoft.com/office/drawing/2014/main" id="{0B0369D2-D5E2-51CA-0096-7C1B04287B5D}"/>
                    </a:ext>
                  </a:extLst>
                </p:cNvPr>
                <p:cNvSpPr/>
                <p:nvPr/>
              </p:nvSpPr>
              <p:spPr>
                <a:xfrm>
                  <a:off x="3601114" y="1682973"/>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1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709"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8" name="Freeform 8430">
                  <a:extLst>
                    <a:ext uri="{FF2B5EF4-FFF2-40B4-BE49-F238E27FC236}">
                      <a16:creationId xmlns:a16="http://schemas.microsoft.com/office/drawing/2014/main" id="{092E88E3-4AF9-96B3-A6C4-D9260C34A2D0}"/>
                    </a:ext>
                  </a:extLst>
                </p:cNvPr>
                <p:cNvSpPr/>
                <p:nvPr/>
              </p:nvSpPr>
              <p:spPr>
                <a:xfrm>
                  <a:off x="3590791" y="1723379"/>
                  <a:ext cx="26693" cy="26432"/>
                </a:xfrm>
                <a:custGeom>
                  <a:avLst/>
                  <a:gdLst>
                    <a:gd name="connsiteX0" fmla="*/ 331 w 26693"/>
                    <a:gd name="connsiteY0" fmla="*/ 10414 h 26432"/>
                    <a:gd name="connsiteX1" fmla="*/ 16274 w 26693"/>
                    <a:gd name="connsiteY1" fmla="*/ 324 h 26432"/>
                    <a:gd name="connsiteX2" fmla="*/ 26363 w 26693"/>
                    <a:gd name="connsiteY2" fmla="*/ 16019 h 26432"/>
                    <a:gd name="connsiteX3" fmla="*/ 10420 w 26693"/>
                    <a:gd name="connsiteY3" fmla="*/ 26108 h 26432"/>
                    <a:gd name="connsiteX4" fmla="*/ 331 w 26693"/>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31">
                      <a:moveTo>
                        <a:pt x="331" y="10414"/>
                      </a:moveTo>
                      <a:cubicBezTo>
                        <a:pt x="1950" y="3314"/>
                        <a:pt x="9174" y="-1295"/>
                        <a:pt x="16274" y="324"/>
                      </a:cubicBezTo>
                      <a:cubicBezTo>
                        <a:pt x="23498" y="1819"/>
                        <a:pt x="27982" y="8919"/>
                        <a:pt x="26363" y="16019"/>
                      </a:cubicBezTo>
                      <a:cubicBezTo>
                        <a:pt x="24744" y="23119"/>
                        <a:pt x="17644" y="27727"/>
                        <a:pt x="10420" y="26108"/>
                      </a:cubicBezTo>
                      <a:cubicBezTo>
                        <a:pt x="3195" y="24489"/>
                        <a:pt x="-1289"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9" name="Freeform 8431">
                  <a:extLst>
                    <a:ext uri="{FF2B5EF4-FFF2-40B4-BE49-F238E27FC236}">
                      <a16:creationId xmlns:a16="http://schemas.microsoft.com/office/drawing/2014/main" id="{AB4E25DB-DB3D-C48A-65A5-199D43395C7B}"/>
                    </a:ext>
                  </a:extLst>
                </p:cNvPr>
                <p:cNvSpPr/>
                <p:nvPr/>
              </p:nvSpPr>
              <p:spPr>
                <a:xfrm>
                  <a:off x="3613916" y="1623434"/>
                  <a:ext cx="12331" cy="50570"/>
                </a:xfrm>
                <a:custGeom>
                  <a:avLst/>
                  <a:gdLst>
                    <a:gd name="connsiteX0" fmla="*/ 12331 w 12331"/>
                    <a:gd name="connsiteY0" fmla="*/ 0 h 50570"/>
                    <a:gd name="connsiteX1" fmla="*/ 6228 w 12331"/>
                    <a:gd name="connsiteY1" fmla="*/ 17812 h 50570"/>
                    <a:gd name="connsiteX2" fmla="*/ 5730 w 12331"/>
                    <a:gd name="connsiteY2" fmla="*/ 35125 h 50570"/>
                    <a:gd name="connsiteX3" fmla="*/ 0 w 12331"/>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0"/>
                      </a:moveTo>
                      <a:cubicBezTo>
                        <a:pt x="8096" y="7349"/>
                        <a:pt x="6726" y="13452"/>
                        <a:pt x="6228" y="17812"/>
                      </a:cubicBezTo>
                      <a:cubicBezTo>
                        <a:pt x="5480" y="24787"/>
                        <a:pt x="6851" y="28150"/>
                        <a:pt x="5730"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0" name="Freeform 8432">
                  <a:extLst>
                    <a:ext uri="{FF2B5EF4-FFF2-40B4-BE49-F238E27FC236}">
                      <a16:creationId xmlns:a16="http://schemas.microsoft.com/office/drawing/2014/main" id="{CED3CB6F-F1D0-AA70-FE38-7C7850D8EEC4}"/>
                    </a:ext>
                  </a:extLst>
                </p:cNvPr>
                <p:cNvSpPr/>
                <p:nvPr/>
              </p:nvSpPr>
              <p:spPr>
                <a:xfrm>
                  <a:off x="3623104" y="1619947"/>
                  <a:ext cx="11211" cy="51068"/>
                </a:xfrm>
                <a:custGeom>
                  <a:avLst/>
                  <a:gdLst>
                    <a:gd name="connsiteX0" fmla="*/ 154 w 11211"/>
                    <a:gd name="connsiteY0" fmla="*/ 51069 h 51068"/>
                    <a:gd name="connsiteX1" fmla="*/ 2396 w 11211"/>
                    <a:gd name="connsiteY1" fmla="*/ 32385 h 51068"/>
                    <a:gd name="connsiteX2" fmla="*/ 9496 w 11211"/>
                    <a:gd name="connsiteY2" fmla="*/ 16442 h 51068"/>
                    <a:gd name="connsiteX3" fmla="*/ 1099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9"/>
                      </a:moveTo>
                      <a:cubicBezTo>
                        <a:pt x="-469" y="42723"/>
                        <a:pt x="901" y="36495"/>
                        <a:pt x="2396" y="32385"/>
                      </a:cubicBezTo>
                      <a:cubicBezTo>
                        <a:pt x="4638" y="25783"/>
                        <a:pt x="7503" y="23292"/>
                        <a:pt x="9496" y="16442"/>
                      </a:cubicBezTo>
                      <a:cubicBezTo>
                        <a:pt x="11489" y="9840"/>
                        <a:pt x="11364" y="3986"/>
                        <a:pt x="109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1" name="Freeform 8433">
                  <a:extLst>
                    <a:ext uri="{FF2B5EF4-FFF2-40B4-BE49-F238E27FC236}">
                      <a16:creationId xmlns:a16="http://schemas.microsoft.com/office/drawing/2014/main" id="{A060F644-8F02-B269-11CE-BF2ADD339967}"/>
                    </a:ext>
                  </a:extLst>
                </p:cNvPr>
                <p:cNvSpPr/>
                <p:nvPr/>
              </p:nvSpPr>
              <p:spPr>
                <a:xfrm>
                  <a:off x="3618069" y="1604095"/>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395" y="27684"/>
                        <a:pt x="10295" y="26190"/>
                      </a:cubicBezTo>
                      <a:cubicBezTo>
                        <a:pt x="3196" y="24695"/>
                        <a:pt x="-1288" y="17595"/>
                        <a:pt x="331" y="10495"/>
                      </a:cubicBezTo>
                      <a:cubicBezTo>
                        <a:pt x="1950" y="3396"/>
                        <a:pt x="9050" y="-1213"/>
                        <a:pt x="16150" y="282"/>
                      </a:cubicBezTo>
                      <a:cubicBezTo>
                        <a:pt x="23249" y="1776"/>
                        <a:pt x="27734" y="8751"/>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2" name="Graphic 2987">
                <a:extLst>
                  <a:ext uri="{FF2B5EF4-FFF2-40B4-BE49-F238E27FC236}">
                    <a16:creationId xmlns:a16="http://schemas.microsoft.com/office/drawing/2014/main" id="{7F172B4B-E0F6-0462-6237-705233AA65FE}"/>
                  </a:ext>
                </a:extLst>
              </p:cNvPr>
              <p:cNvGrpSpPr/>
              <p:nvPr/>
            </p:nvGrpSpPr>
            <p:grpSpPr>
              <a:xfrm>
                <a:off x="3561770" y="1597562"/>
                <a:ext cx="53972" cy="146065"/>
                <a:chOff x="3561770" y="1597562"/>
                <a:chExt cx="53972" cy="146065"/>
              </a:xfrm>
              <a:grpFill/>
            </p:grpSpPr>
            <p:sp>
              <p:nvSpPr>
                <p:cNvPr id="5820" name="Freeform 8435">
                  <a:extLst>
                    <a:ext uri="{FF2B5EF4-FFF2-40B4-BE49-F238E27FC236}">
                      <a16:creationId xmlns:a16="http://schemas.microsoft.com/office/drawing/2014/main" id="{C7D31122-AE2F-ED95-044E-73C4FB470514}"/>
                    </a:ext>
                  </a:extLst>
                </p:cNvPr>
                <p:cNvSpPr/>
                <p:nvPr/>
              </p:nvSpPr>
              <p:spPr>
                <a:xfrm>
                  <a:off x="3580161" y="1673506"/>
                  <a:ext cx="12331" cy="50694"/>
                </a:xfrm>
                <a:custGeom>
                  <a:avLst/>
                  <a:gdLst>
                    <a:gd name="connsiteX0" fmla="*/ 0 w 12331"/>
                    <a:gd name="connsiteY0" fmla="*/ 50695 h 50694"/>
                    <a:gd name="connsiteX1" fmla="*/ 6104 w 12331"/>
                    <a:gd name="connsiteY1" fmla="*/ 32883 h 50694"/>
                    <a:gd name="connsiteX2" fmla="*/ 6602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471"/>
                        <a:pt x="5605" y="37243"/>
                        <a:pt x="6104" y="32883"/>
                      </a:cubicBezTo>
                      <a:cubicBezTo>
                        <a:pt x="6851" y="25908"/>
                        <a:pt x="5481" y="22420"/>
                        <a:pt x="6602" y="15445"/>
                      </a:cubicBezTo>
                      <a:cubicBezTo>
                        <a:pt x="7723" y="8594"/>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1" name="Freeform 8436">
                  <a:extLst>
                    <a:ext uri="{FF2B5EF4-FFF2-40B4-BE49-F238E27FC236}">
                      <a16:creationId xmlns:a16="http://schemas.microsoft.com/office/drawing/2014/main" id="{E2497420-11EA-525C-00DE-E70504C81E1F}"/>
                    </a:ext>
                  </a:extLst>
                </p:cNvPr>
                <p:cNvSpPr/>
                <p:nvPr/>
              </p:nvSpPr>
              <p:spPr>
                <a:xfrm>
                  <a:off x="3571998" y="1676371"/>
                  <a:ext cx="11422" cy="50944"/>
                </a:xfrm>
                <a:custGeom>
                  <a:avLst/>
                  <a:gdLst>
                    <a:gd name="connsiteX0" fmla="*/ 11277 w 11422"/>
                    <a:gd name="connsiteY0" fmla="*/ 0 h 50944"/>
                    <a:gd name="connsiteX1" fmla="*/ 9035 w 11422"/>
                    <a:gd name="connsiteY1" fmla="*/ 18684 h 50944"/>
                    <a:gd name="connsiteX2" fmla="*/ 1811 w 11422"/>
                    <a:gd name="connsiteY2" fmla="*/ 34502 h 50944"/>
                    <a:gd name="connsiteX3" fmla="*/ 192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1277" y="0"/>
                      </a:moveTo>
                      <a:cubicBezTo>
                        <a:pt x="11900" y="8470"/>
                        <a:pt x="10405" y="14573"/>
                        <a:pt x="9035" y="18684"/>
                      </a:cubicBezTo>
                      <a:cubicBezTo>
                        <a:pt x="6669" y="25285"/>
                        <a:pt x="3928" y="27776"/>
                        <a:pt x="1811" y="34502"/>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2" name="Freeform 8437">
                  <a:extLst>
                    <a:ext uri="{FF2B5EF4-FFF2-40B4-BE49-F238E27FC236}">
                      <a16:creationId xmlns:a16="http://schemas.microsoft.com/office/drawing/2014/main" id="{52115498-2010-4EBD-BCE6-B456CC54DB37}"/>
                    </a:ext>
                  </a:extLst>
                </p:cNvPr>
                <p:cNvSpPr/>
                <p:nvPr/>
              </p:nvSpPr>
              <p:spPr>
                <a:xfrm>
                  <a:off x="3561770" y="1716967"/>
                  <a:ext cx="26687" cy="26661"/>
                </a:xfrm>
                <a:custGeom>
                  <a:avLst/>
                  <a:gdLst>
                    <a:gd name="connsiteX0" fmla="*/ 331 w 26687"/>
                    <a:gd name="connsiteY0" fmla="*/ 10100 h 26661"/>
                    <a:gd name="connsiteX1" fmla="*/ 16274 w 26687"/>
                    <a:gd name="connsiteY1" fmla="*/ 384 h 26661"/>
                    <a:gd name="connsiteX2" fmla="*/ 26363 w 26687"/>
                    <a:gd name="connsiteY2" fmla="*/ 16328 h 26661"/>
                    <a:gd name="connsiteX3" fmla="*/ 10420 w 26687"/>
                    <a:gd name="connsiteY3" fmla="*/ 26292 h 26661"/>
                    <a:gd name="connsiteX4" fmla="*/ 331 w 26687"/>
                    <a:gd name="connsiteY4" fmla="*/ 10100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661">
                      <a:moveTo>
                        <a:pt x="331" y="10100"/>
                      </a:moveTo>
                      <a:cubicBezTo>
                        <a:pt x="1949" y="3000"/>
                        <a:pt x="9174" y="-1360"/>
                        <a:pt x="16274" y="384"/>
                      </a:cubicBezTo>
                      <a:cubicBezTo>
                        <a:pt x="23373" y="2252"/>
                        <a:pt x="27982" y="9103"/>
                        <a:pt x="26363" y="16328"/>
                      </a:cubicBezTo>
                      <a:cubicBezTo>
                        <a:pt x="24744" y="23427"/>
                        <a:pt x="17519" y="28036"/>
                        <a:pt x="10420" y="26292"/>
                      </a:cubicBezTo>
                      <a:cubicBezTo>
                        <a:pt x="3195" y="24424"/>
                        <a:pt x="-1289" y="17199"/>
                        <a:pt x="331"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3" name="Freeform 8438">
                  <a:extLst>
                    <a:ext uri="{FF2B5EF4-FFF2-40B4-BE49-F238E27FC236}">
                      <a16:creationId xmlns:a16="http://schemas.microsoft.com/office/drawing/2014/main" id="{FAA2D780-6326-5DF4-85D1-CD1C39CD636B}"/>
                    </a:ext>
                  </a:extLst>
                </p:cNvPr>
                <p:cNvSpPr/>
                <p:nvPr/>
              </p:nvSpPr>
              <p:spPr>
                <a:xfrm>
                  <a:off x="3585143" y="1616957"/>
                  <a:ext cx="12331" cy="50694"/>
                </a:xfrm>
                <a:custGeom>
                  <a:avLst/>
                  <a:gdLst>
                    <a:gd name="connsiteX0" fmla="*/ 12331 w 12331"/>
                    <a:gd name="connsiteY0" fmla="*/ 0 h 50694"/>
                    <a:gd name="connsiteX1" fmla="*/ 6228 w 12331"/>
                    <a:gd name="connsiteY1" fmla="*/ 17812 h 50694"/>
                    <a:gd name="connsiteX2" fmla="*/ 5730 w 12331"/>
                    <a:gd name="connsiteY2" fmla="*/ 35250 h 50694"/>
                    <a:gd name="connsiteX3" fmla="*/ 0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0"/>
                      </a:moveTo>
                      <a:cubicBezTo>
                        <a:pt x="8097" y="7224"/>
                        <a:pt x="6726" y="13452"/>
                        <a:pt x="6228" y="17812"/>
                      </a:cubicBezTo>
                      <a:cubicBezTo>
                        <a:pt x="5356"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4" name="Freeform 8439">
                  <a:extLst>
                    <a:ext uri="{FF2B5EF4-FFF2-40B4-BE49-F238E27FC236}">
                      <a16:creationId xmlns:a16="http://schemas.microsoft.com/office/drawing/2014/main" id="{0A7E80BF-007B-998D-7C4F-89D79D8C777B}"/>
                    </a:ext>
                  </a:extLst>
                </p:cNvPr>
                <p:cNvSpPr/>
                <p:nvPr/>
              </p:nvSpPr>
              <p:spPr>
                <a:xfrm>
                  <a:off x="3594215" y="1613719"/>
                  <a:ext cx="11298" cy="50944"/>
                </a:xfrm>
                <a:custGeom>
                  <a:avLst/>
                  <a:gdLst>
                    <a:gd name="connsiteX0" fmla="*/ 146 w 11298"/>
                    <a:gd name="connsiteY0" fmla="*/ 50944 h 50944"/>
                    <a:gd name="connsiteX1" fmla="*/ 2388 w 11298"/>
                    <a:gd name="connsiteY1" fmla="*/ 32260 h 50944"/>
                    <a:gd name="connsiteX2" fmla="*/ 9487 w 11298"/>
                    <a:gd name="connsiteY2" fmla="*/ 16442 h 50944"/>
                    <a:gd name="connsiteX3" fmla="*/ 11107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46" y="50944"/>
                      </a:moveTo>
                      <a:cubicBezTo>
                        <a:pt x="-477" y="42474"/>
                        <a:pt x="1018" y="36371"/>
                        <a:pt x="2388" y="32260"/>
                      </a:cubicBezTo>
                      <a:cubicBezTo>
                        <a:pt x="4754" y="25659"/>
                        <a:pt x="7494" y="23168"/>
                        <a:pt x="9487" y="16442"/>
                      </a:cubicBezTo>
                      <a:cubicBezTo>
                        <a:pt x="11480" y="9840"/>
                        <a:pt x="11480" y="3986"/>
                        <a:pt x="111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5" name="Freeform 8440">
                  <a:extLst>
                    <a:ext uri="{FF2B5EF4-FFF2-40B4-BE49-F238E27FC236}">
                      <a16:creationId xmlns:a16="http://schemas.microsoft.com/office/drawing/2014/main" id="{8DEB464A-C8DE-ADE4-7862-47E84775C681}"/>
                    </a:ext>
                  </a:extLst>
                </p:cNvPr>
                <p:cNvSpPr/>
                <p:nvPr/>
              </p:nvSpPr>
              <p:spPr>
                <a:xfrm>
                  <a:off x="3589414" y="1597562"/>
                  <a:ext cx="26327" cy="26654"/>
                </a:xfrm>
                <a:custGeom>
                  <a:avLst/>
                  <a:gdLst>
                    <a:gd name="connsiteX0" fmla="*/ 25996 w 26327"/>
                    <a:gd name="connsiteY0" fmla="*/ 16281 h 26654"/>
                    <a:gd name="connsiteX1" fmla="*/ 10177 w 26327"/>
                    <a:gd name="connsiteY1" fmla="*/ 26245 h 26654"/>
                    <a:gd name="connsiteX2" fmla="*/ 337 w 26327"/>
                    <a:gd name="connsiteY2" fmla="*/ 10177 h 26654"/>
                    <a:gd name="connsiteX3" fmla="*/ 16156 w 26327"/>
                    <a:gd name="connsiteY3" fmla="*/ 337 h 26654"/>
                    <a:gd name="connsiteX4" fmla="*/ 25996 w 26327"/>
                    <a:gd name="connsiteY4" fmla="*/ 16281 h 2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654">
                      <a:moveTo>
                        <a:pt x="25996" y="16281"/>
                      </a:moveTo>
                      <a:cubicBezTo>
                        <a:pt x="24377" y="23381"/>
                        <a:pt x="17277" y="28114"/>
                        <a:pt x="10177" y="26245"/>
                      </a:cubicBezTo>
                      <a:cubicBezTo>
                        <a:pt x="3078" y="24502"/>
                        <a:pt x="-1282" y="17277"/>
                        <a:pt x="337" y="10177"/>
                      </a:cubicBezTo>
                      <a:cubicBezTo>
                        <a:pt x="1956" y="3078"/>
                        <a:pt x="9056" y="-1282"/>
                        <a:pt x="16156" y="337"/>
                      </a:cubicBezTo>
                      <a:cubicBezTo>
                        <a:pt x="23131" y="2206"/>
                        <a:pt x="27616" y="9056"/>
                        <a:pt x="25996"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3" name="Graphic 2987">
                <a:extLst>
                  <a:ext uri="{FF2B5EF4-FFF2-40B4-BE49-F238E27FC236}">
                    <a16:creationId xmlns:a16="http://schemas.microsoft.com/office/drawing/2014/main" id="{DC4CE01D-1F28-9B68-1310-AF97D4D25BC9}"/>
                  </a:ext>
                </a:extLst>
              </p:cNvPr>
              <p:cNvGrpSpPr/>
              <p:nvPr/>
            </p:nvGrpSpPr>
            <p:grpSpPr>
              <a:xfrm>
                <a:off x="3532708" y="1590541"/>
                <a:ext cx="54391" cy="145877"/>
                <a:chOff x="3532708" y="1590541"/>
                <a:chExt cx="54391" cy="145877"/>
              </a:xfrm>
              <a:grpFill/>
            </p:grpSpPr>
            <p:sp>
              <p:nvSpPr>
                <p:cNvPr id="5814" name="Freeform 8442">
                  <a:extLst>
                    <a:ext uri="{FF2B5EF4-FFF2-40B4-BE49-F238E27FC236}">
                      <a16:creationId xmlns:a16="http://schemas.microsoft.com/office/drawing/2014/main" id="{3B76C3A6-A250-733F-9F69-3FF4DE2EF225}"/>
                    </a:ext>
                  </a:extLst>
                </p:cNvPr>
                <p:cNvSpPr/>
                <p:nvPr/>
              </p:nvSpPr>
              <p:spPr>
                <a:xfrm>
                  <a:off x="3551263" y="1666531"/>
                  <a:ext cx="12580" cy="50570"/>
                </a:xfrm>
                <a:custGeom>
                  <a:avLst/>
                  <a:gdLst>
                    <a:gd name="connsiteX0" fmla="*/ 0 w 12580"/>
                    <a:gd name="connsiteY0" fmla="*/ 50570 h 50570"/>
                    <a:gd name="connsiteX1" fmla="*/ 6228 w 12580"/>
                    <a:gd name="connsiteY1" fmla="*/ 32883 h 50570"/>
                    <a:gd name="connsiteX2" fmla="*/ 6726 w 12580"/>
                    <a:gd name="connsiteY2" fmla="*/ 15445 h 50570"/>
                    <a:gd name="connsiteX3" fmla="*/ 12580 w 12580"/>
                    <a:gd name="connsiteY3" fmla="*/ 0 h 50570"/>
                  </a:gdLst>
                  <a:ahLst/>
                  <a:cxnLst>
                    <a:cxn ang="0">
                      <a:pos x="connsiteX0" y="connsiteY0"/>
                    </a:cxn>
                    <a:cxn ang="0">
                      <a:pos x="connsiteX1" y="connsiteY1"/>
                    </a:cxn>
                    <a:cxn ang="0">
                      <a:pos x="connsiteX2" y="connsiteY2"/>
                    </a:cxn>
                    <a:cxn ang="0">
                      <a:pos x="connsiteX3" y="connsiteY3"/>
                    </a:cxn>
                  </a:cxnLst>
                  <a:rect l="l" t="t" r="r" b="b"/>
                  <a:pathLst>
                    <a:path w="12580" h="50570">
                      <a:moveTo>
                        <a:pt x="0" y="50570"/>
                      </a:moveTo>
                      <a:cubicBezTo>
                        <a:pt x="4235" y="43346"/>
                        <a:pt x="5730" y="37118"/>
                        <a:pt x="6228" y="32883"/>
                      </a:cubicBezTo>
                      <a:cubicBezTo>
                        <a:pt x="7100" y="25908"/>
                        <a:pt x="5605" y="22420"/>
                        <a:pt x="6726" y="15445"/>
                      </a:cubicBezTo>
                      <a:cubicBezTo>
                        <a:pt x="7847" y="8594"/>
                        <a:pt x="10463" y="3363"/>
                        <a:pt x="125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5" name="Freeform 8443">
                  <a:extLst>
                    <a:ext uri="{FF2B5EF4-FFF2-40B4-BE49-F238E27FC236}">
                      <a16:creationId xmlns:a16="http://schemas.microsoft.com/office/drawing/2014/main" id="{F73F1E5E-B147-C0CA-2C78-9508D36A72AA}"/>
                    </a:ext>
                  </a:extLst>
                </p:cNvPr>
                <p:cNvSpPr/>
                <p:nvPr/>
              </p:nvSpPr>
              <p:spPr>
                <a:xfrm>
                  <a:off x="3542950" y="1669396"/>
                  <a:ext cx="11572" cy="50944"/>
                </a:xfrm>
                <a:custGeom>
                  <a:avLst/>
                  <a:gdLst>
                    <a:gd name="connsiteX0" fmla="*/ 11427 w 11572"/>
                    <a:gd name="connsiteY0" fmla="*/ 0 h 50944"/>
                    <a:gd name="connsiteX1" fmla="*/ 9061 w 11572"/>
                    <a:gd name="connsiteY1" fmla="*/ 18684 h 50944"/>
                    <a:gd name="connsiteX2" fmla="*/ 1836 w 11572"/>
                    <a:gd name="connsiteY2" fmla="*/ 34502 h 50944"/>
                    <a:gd name="connsiteX3" fmla="*/ 217 w 1157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72" h="50944">
                      <a:moveTo>
                        <a:pt x="11427" y="0"/>
                      </a:moveTo>
                      <a:cubicBezTo>
                        <a:pt x="12050" y="8470"/>
                        <a:pt x="10555" y="14573"/>
                        <a:pt x="9061" y="18684"/>
                      </a:cubicBezTo>
                      <a:cubicBezTo>
                        <a:pt x="6694" y="25285"/>
                        <a:pt x="3954"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6" name="Freeform 8444">
                  <a:extLst>
                    <a:ext uri="{FF2B5EF4-FFF2-40B4-BE49-F238E27FC236}">
                      <a16:creationId xmlns:a16="http://schemas.microsoft.com/office/drawing/2014/main" id="{46474693-CB0D-24D5-747B-AC962974FFEE}"/>
                    </a:ext>
                  </a:extLst>
                </p:cNvPr>
                <p:cNvSpPr/>
                <p:nvPr/>
              </p:nvSpPr>
              <p:spPr>
                <a:xfrm>
                  <a:off x="3532708" y="1709867"/>
                  <a:ext cx="26608" cy="26551"/>
                </a:xfrm>
                <a:custGeom>
                  <a:avLst/>
                  <a:gdLst>
                    <a:gd name="connsiteX0" fmla="*/ 370 w 26608"/>
                    <a:gd name="connsiteY0" fmla="*/ 10100 h 26551"/>
                    <a:gd name="connsiteX1" fmla="*/ 16313 w 26608"/>
                    <a:gd name="connsiteY1" fmla="*/ 384 h 26551"/>
                    <a:gd name="connsiteX2" fmla="*/ 26278 w 26608"/>
                    <a:gd name="connsiteY2" fmla="*/ 16452 h 26551"/>
                    <a:gd name="connsiteX3" fmla="*/ 10334 w 26608"/>
                    <a:gd name="connsiteY3" fmla="*/ 26168 h 26551"/>
                    <a:gd name="connsiteX4" fmla="*/ 370 w 26608"/>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551">
                      <a:moveTo>
                        <a:pt x="370" y="10100"/>
                      </a:moveTo>
                      <a:cubicBezTo>
                        <a:pt x="1989" y="3000"/>
                        <a:pt x="9213" y="-1360"/>
                        <a:pt x="16313" y="384"/>
                      </a:cubicBezTo>
                      <a:cubicBezTo>
                        <a:pt x="23413" y="2128"/>
                        <a:pt x="27897" y="9352"/>
                        <a:pt x="26278" y="16452"/>
                      </a:cubicBezTo>
                      <a:cubicBezTo>
                        <a:pt x="24659" y="23552"/>
                        <a:pt x="17434" y="27911"/>
                        <a:pt x="10334" y="26168"/>
                      </a:cubicBezTo>
                      <a:cubicBezTo>
                        <a:pt x="3235" y="24424"/>
                        <a:pt x="-1374" y="17199"/>
                        <a:pt x="37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7" name="Freeform 8445">
                  <a:extLst>
                    <a:ext uri="{FF2B5EF4-FFF2-40B4-BE49-F238E27FC236}">
                      <a16:creationId xmlns:a16="http://schemas.microsoft.com/office/drawing/2014/main" id="{A2D60D77-B9E6-CA33-5553-9025B589BF69}"/>
                    </a:ext>
                  </a:extLst>
                </p:cNvPr>
                <p:cNvSpPr/>
                <p:nvPr/>
              </p:nvSpPr>
              <p:spPr>
                <a:xfrm>
                  <a:off x="3556121" y="1609982"/>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7100" y="13452"/>
                        <a:pt x="6477" y="17687"/>
                      </a:cubicBezTo>
                      <a:cubicBezTo>
                        <a:pt x="5605" y="24662"/>
                        <a:pt x="6975" y="28150"/>
                        <a:pt x="5854" y="35125"/>
                      </a:cubicBezTo>
                      <a:cubicBezTo>
                        <a:pt x="4733"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8" name="Freeform 8446">
                  <a:extLst>
                    <a:ext uri="{FF2B5EF4-FFF2-40B4-BE49-F238E27FC236}">
                      <a16:creationId xmlns:a16="http://schemas.microsoft.com/office/drawing/2014/main" id="{6E2EAB77-C613-2D1D-E075-8F8B9CAC8520}"/>
                    </a:ext>
                  </a:extLst>
                </p:cNvPr>
                <p:cNvSpPr/>
                <p:nvPr/>
              </p:nvSpPr>
              <p:spPr>
                <a:xfrm>
                  <a:off x="3565443" y="1606743"/>
                  <a:ext cx="11546" cy="50944"/>
                </a:xfrm>
                <a:custGeom>
                  <a:avLst/>
                  <a:gdLst>
                    <a:gd name="connsiteX0" fmla="*/ 145 w 11546"/>
                    <a:gd name="connsiteY0" fmla="*/ 50944 h 50944"/>
                    <a:gd name="connsiteX1" fmla="*/ 2512 w 11546"/>
                    <a:gd name="connsiteY1" fmla="*/ 32260 h 50944"/>
                    <a:gd name="connsiteX2" fmla="*/ 9736 w 11546"/>
                    <a:gd name="connsiteY2" fmla="*/ 16442 h 50944"/>
                    <a:gd name="connsiteX3" fmla="*/ 11355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50944"/>
                      </a:moveTo>
                      <a:cubicBezTo>
                        <a:pt x="-478" y="42474"/>
                        <a:pt x="1017" y="36371"/>
                        <a:pt x="2512" y="32260"/>
                      </a:cubicBezTo>
                      <a:cubicBezTo>
                        <a:pt x="4878" y="25659"/>
                        <a:pt x="7618" y="23168"/>
                        <a:pt x="9736" y="16442"/>
                      </a:cubicBezTo>
                      <a:cubicBezTo>
                        <a:pt x="11729"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9" name="Freeform 8447">
                  <a:extLst>
                    <a:ext uri="{FF2B5EF4-FFF2-40B4-BE49-F238E27FC236}">
                      <a16:creationId xmlns:a16="http://schemas.microsoft.com/office/drawing/2014/main" id="{4CA34755-3FCB-8C56-581E-6E13117C5281}"/>
                    </a:ext>
                  </a:extLst>
                </p:cNvPr>
                <p:cNvSpPr/>
                <p:nvPr/>
              </p:nvSpPr>
              <p:spPr>
                <a:xfrm>
                  <a:off x="3560844" y="1590541"/>
                  <a:ext cx="26256" cy="26551"/>
                </a:xfrm>
                <a:custGeom>
                  <a:avLst/>
                  <a:gdLst>
                    <a:gd name="connsiteX0" fmla="*/ 25918 w 26256"/>
                    <a:gd name="connsiteY0" fmla="*/ 16452 h 26551"/>
                    <a:gd name="connsiteX1" fmla="*/ 10100 w 26256"/>
                    <a:gd name="connsiteY1" fmla="*/ 26168 h 26551"/>
                    <a:gd name="connsiteX2" fmla="*/ 384 w 26256"/>
                    <a:gd name="connsiteY2" fmla="*/ 10100 h 26551"/>
                    <a:gd name="connsiteX3" fmla="*/ 16203 w 26256"/>
                    <a:gd name="connsiteY3" fmla="*/ 384 h 26551"/>
                    <a:gd name="connsiteX4" fmla="*/ 25918 w 26256"/>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51">
                      <a:moveTo>
                        <a:pt x="25918" y="16452"/>
                      </a:moveTo>
                      <a:cubicBezTo>
                        <a:pt x="24299" y="23552"/>
                        <a:pt x="17200" y="27911"/>
                        <a:pt x="10100" y="26168"/>
                      </a:cubicBezTo>
                      <a:cubicBezTo>
                        <a:pt x="3000" y="24424"/>
                        <a:pt x="-1360" y="17199"/>
                        <a:pt x="384" y="10100"/>
                      </a:cubicBezTo>
                      <a:cubicBezTo>
                        <a:pt x="2003" y="3000"/>
                        <a:pt x="9103" y="-1360"/>
                        <a:pt x="16203" y="384"/>
                      </a:cubicBezTo>
                      <a:cubicBezTo>
                        <a:pt x="23178" y="2128"/>
                        <a:pt x="27538" y="9352"/>
                        <a:pt x="25918"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4" name="Graphic 2987">
                <a:extLst>
                  <a:ext uri="{FF2B5EF4-FFF2-40B4-BE49-F238E27FC236}">
                    <a16:creationId xmlns:a16="http://schemas.microsoft.com/office/drawing/2014/main" id="{22CE6B95-13F9-DE0D-F46E-BA0DBCC3D8B8}"/>
                  </a:ext>
                </a:extLst>
              </p:cNvPr>
              <p:cNvGrpSpPr/>
              <p:nvPr/>
            </p:nvGrpSpPr>
            <p:grpSpPr>
              <a:xfrm>
                <a:off x="3503680" y="1583565"/>
                <a:ext cx="54811" cy="145753"/>
                <a:chOff x="3503680" y="1583565"/>
                <a:chExt cx="54811" cy="145753"/>
              </a:xfrm>
              <a:grpFill/>
            </p:grpSpPr>
            <p:sp>
              <p:nvSpPr>
                <p:cNvPr id="5808" name="Freeform 8449">
                  <a:extLst>
                    <a:ext uri="{FF2B5EF4-FFF2-40B4-BE49-F238E27FC236}">
                      <a16:creationId xmlns:a16="http://schemas.microsoft.com/office/drawing/2014/main" id="{CF1264DF-1844-E163-8938-A51D16BEAB66}"/>
                    </a:ext>
                  </a:extLst>
                </p:cNvPr>
                <p:cNvSpPr/>
                <p:nvPr/>
              </p:nvSpPr>
              <p:spPr>
                <a:xfrm>
                  <a:off x="3522241" y="1659431"/>
                  <a:ext cx="12704" cy="50570"/>
                </a:xfrm>
                <a:custGeom>
                  <a:avLst/>
                  <a:gdLst>
                    <a:gd name="connsiteX0" fmla="*/ 0 w 12704"/>
                    <a:gd name="connsiteY0" fmla="*/ 50570 h 50570"/>
                    <a:gd name="connsiteX1" fmla="*/ 6228 w 12704"/>
                    <a:gd name="connsiteY1" fmla="*/ 32883 h 50570"/>
                    <a:gd name="connsiteX2" fmla="*/ 6851 w 12704"/>
                    <a:gd name="connsiteY2" fmla="*/ 15445 h 50570"/>
                    <a:gd name="connsiteX3" fmla="*/ 12705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0" y="50570"/>
                      </a:moveTo>
                      <a:cubicBezTo>
                        <a:pt x="4235" y="43346"/>
                        <a:pt x="5730" y="37118"/>
                        <a:pt x="6228" y="32883"/>
                      </a:cubicBezTo>
                      <a:cubicBezTo>
                        <a:pt x="7100" y="25908"/>
                        <a:pt x="5730" y="22420"/>
                        <a:pt x="6851" y="15445"/>
                      </a:cubicBezTo>
                      <a:cubicBezTo>
                        <a:pt x="7972" y="8594"/>
                        <a:pt x="10712"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9" name="Freeform 8450">
                  <a:extLst>
                    <a:ext uri="{FF2B5EF4-FFF2-40B4-BE49-F238E27FC236}">
                      <a16:creationId xmlns:a16="http://schemas.microsoft.com/office/drawing/2014/main" id="{3DF49DC6-6A8D-3768-D272-4E0934F76232}"/>
                    </a:ext>
                  </a:extLst>
                </p:cNvPr>
                <p:cNvSpPr/>
                <p:nvPr/>
              </p:nvSpPr>
              <p:spPr>
                <a:xfrm>
                  <a:off x="3514053" y="1662296"/>
                  <a:ext cx="11655" cy="50944"/>
                </a:xfrm>
                <a:custGeom>
                  <a:avLst/>
                  <a:gdLst>
                    <a:gd name="connsiteX0" fmla="*/ 11552 w 11655"/>
                    <a:gd name="connsiteY0" fmla="*/ 0 h 50944"/>
                    <a:gd name="connsiteX1" fmla="*/ 9185 w 11655"/>
                    <a:gd name="connsiteY1" fmla="*/ 18684 h 50944"/>
                    <a:gd name="connsiteX2" fmla="*/ 1836 w 11655"/>
                    <a:gd name="connsiteY2" fmla="*/ 34502 h 50944"/>
                    <a:gd name="connsiteX3" fmla="*/ 217 w 1165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55" h="50944">
                      <a:moveTo>
                        <a:pt x="11552" y="0"/>
                      </a:moveTo>
                      <a:cubicBezTo>
                        <a:pt x="12050" y="8470"/>
                        <a:pt x="10680" y="14573"/>
                        <a:pt x="9185" y="18684"/>
                      </a:cubicBezTo>
                      <a:cubicBezTo>
                        <a:pt x="6819" y="25285"/>
                        <a:pt x="4078"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0" name="Freeform 8451">
                  <a:extLst>
                    <a:ext uri="{FF2B5EF4-FFF2-40B4-BE49-F238E27FC236}">
                      <a16:creationId xmlns:a16="http://schemas.microsoft.com/office/drawing/2014/main" id="{9B4F55B6-E0EE-5DD2-E144-83687F4F440E}"/>
                    </a:ext>
                  </a:extLst>
                </p:cNvPr>
                <p:cNvSpPr/>
                <p:nvPr/>
              </p:nvSpPr>
              <p:spPr>
                <a:xfrm>
                  <a:off x="3503680" y="1702767"/>
                  <a:ext cx="26739" cy="26551"/>
                </a:xfrm>
                <a:custGeom>
                  <a:avLst/>
                  <a:gdLst>
                    <a:gd name="connsiteX0" fmla="*/ 376 w 26739"/>
                    <a:gd name="connsiteY0" fmla="*/ 10100 h 26551"/>
                    <a:gd name="connsiteX1" fmla="*/ 16444 w 26739"/>
                    <a:gd name="connsiteY1" fmla="*/ 384 h 26551"/>
                    <a:gd name="connsiteX2" fmla="*/ 26409 w 26739"/>
                    <a:gd name="connsiteY2" fmla="*/ 16452 h 26551"/>
                    <a:gd name="connsiteX3" fmla="*/ 10341 w 26739"/>
                    <a:gd name="connsiteY3" fmla="*/ 26168 h 26551"/>
                    <a:gd name="connsiteX4" fmla="*/ 376 w 2673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 h="26551">
                      <a:moveTo>
                        <a:pt x="376" y="10100"/>
                      </a:moveTo>
                      <a:cubicBezTo>
                        <a:pt x="2120" y="3000"/>
                        <a:pt x="9220" y="-1360"/>
                        <a:pt x="16444" y="384"/>
                      </a:cubicBezTo>
                      <a:cubicBezTo>
                        <a:pt x="23544" y="2128"/>
                        <a:pt x="28028" y="9352"/>
                        <a:pt x="26409" y="16452"/>
                      </a:cubicBezTo>
                      <a:cubicBezTo>
                        <a:pt x="24790" y="23552"/>
                        <a:pt x="17565" y="27911"/>
                        <a:pt x="10341" y="26168"/>
                      </a:cubicBezTo>
                      <a:cubicBezTo>
                        <a:pt x="3117" y="24424"/>
                        <a:pt x="-1368" y="17199"/>
                        <a:pt x="376"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1" name="Freeform 8452">
                  <a:extLst>
                    <a:ext uri="{FF2B5EF4-FFF2-40B4-BE49-F238E27FC236}">
                      <a16:creationId xmlns:a16="http://schemas.microsoft.com/office/drawing/2014/main" id="{206D15B4-2569-EB82-1AFD-7939C469D68E}"/>
                    </a:ext>
                  </a:extLst>
                </p:cNvPr>
                <p:cNvSpPr/>
                <p:nvPr/>
              </p:nvSpPr>
              <p:spPr>
                <a:xfrm>
                  <a:off x="3527473" y="1603007"/>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6975" y="13452"/>
                        <a:pt x="6477" y="17687"/>
                      </a:cubicBezTo>
                      <a:cubicBezTo>
                        <a:pt x="5605" y="24662"/>
                        <a:pt x="6975" y="28150"/>
                        <a:pt x="5854"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2" name="Freeform 8453">
                  <a:extLst>
                    <a:ext uri="{FF2B5EF4-FFF2-40B4-BE49-F238E27FC236}">
                      <a16:creationId xmlns:a16="http://schemas.microsoft.com/office/drawing/2014/main" id="{AC3818E6-A38A-5429-BC4F-062E59CB2384}"/>
                    </a:ext>
                  </a:extLst>
                </p:cNvPr>
                <p:cNvSpPr/>
                <p:nvPr/>
              </p:nvSpPr>
              <p:spPr>
                <a:xfrm>
                  <a:off x="3536711" y="1599644"/>
                  <a:ext cx="11572" cy="50944"/>
                </a:xfrm>
                <a:custGeom>
                  <a:avLst/>
                  <a:gdLst>
                    <a:gd name="connsiteX0" fmla="*/ 104 w 11572"/>
                    <a:gd name="connsiteY0" fmla="*/ 50944 h 50944"/>
                    <a:gd name="connsiteX1" fmla="*/ 2471 w 11572"/>
                    <a:gd name="connsiteY1" fmla="*/ 32260 h 50944"/>
                    <a:gd name="connsiteX2" fmla="*/ 9695 w 11572"/>
                    <a:gd name="connsiteY2" fmla="*/ 16442 h 50944"/>
                    <a:gd name="connsiteX3" fmla="*/ 11439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04" y="50944"/>
                      </a:moveTo>
                      <a:cubicBezTo>
                        <a:pt x="-394" y="42474"/>
                        <a:pt x="976" y="36371"/>
                        <a:pt x="2471" y="32260"/>
                      </a:cubicBezTo>
                      <a:cubicBezTo>
                        <a:pt x="4837" y="25659"/>
                        <a:pt x="7577" y="23168"/>
                        <a:pt x="9695" y="16442"/>
                      </a:cubicBezTo>
                      <a:cubicBezTo>
                        <a:pt x="11813" y="9840"/>
                        <a:pt x="11688" y="3986"/>
                        <a:pt x="114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3" name="Freeform 8454">
                  <a:extLst>
                    <a:ext uri="{FF2B5EF4-FFF2-40B4-BE49-F238E27FC236}">
                      <a16:creationId xmlns:a16="http://schemas.microsoft.com/office/drawing/2014/main" id="{2D99A427-2B5C-52B7-2201-5ED45CEEC2DB}"/>
                    </a:ext>
                  </a:extLst>
                </p:cNvPr>
                <p:cNvSpPr/>
                <p:nvPr/>
              </p:nvSpPr>
              <p:spPr>
                <a:xfrm>
                  <a:off x="3532196" y="1583565"/>
                  <a:ext cx="26295" cy="26551"/>
                </a:xfrm>
                <a:custGeom>
                  <a:avLst/>
                  <a:gdLst>
                    <a:gd name="connsiteX0" fmla="*/ 25919 w 26295"/>
                    <a:gd name="connsiteY0" fmla="*/ 16452 h 26551"/>
                    <a:gd name="connsiteX1" fmla="*/ 10100 w 26295"/>
                    <a:gd name="connsiteY1" fmla="*/ 26168 h 26551"/>
                    <a:gd name="connsiteX2" fmla="*/ 384 w 26295"/>
                    <a:gd name="connsiteY2" fmla="*/ 10100 h 26551"/>
                    <a:gd name="connsiteX3" fmla="*/ 16203 w 26295"/>
                    <a:gd name="connsiteY3" fmla="*/ 384 h 26551"/>
                    <a:gd name="connsiteX4" fmla="*/ 25919 w 26295"/>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51">
                      <a:moveTo>
                        <a:pt x="25919" y="16452"/>
                      </a:moveTo>
                      <a:cubicBezTo>
                        <a:pt x="24299" y="23552"/>
                        <a:pt x="17199" y="27911"/>
                        <a:pt x="10100" y="26168"/>
                      </a:cubicBezTo>
                      <a:cubicBezTo>
                        <a:pt x="3000" y="24424"/>
                        <a:pt x="-1360" y="17324"/>
                        <a:pt x="384" y="10100"/>
                      </a:cubicBezTo>
                      <a:cubicBezTo>
                        <a:pt x="2128" y="3000"/>
                        <a:pt x="9228" y="-1360"/>
                        <a:pt x="16203" y="384"/>
                      </a:cubicBezTo>
                      <a:cubicBezTo>
                        <a:pt x="23178" y="2128"/>
                        <a:pt x="27662" y="9352"/>
                        <a:pt x="25919"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5" name="Graphic 2987">
                <a:extLst>
                  <a:ext uri="{FF2B5EF4-FFF2-40B4-BE49-F238E27FC236}">
                    <a16:creationId xmlns:a16="http://schemas.microsoft.com/office/drawing/2014/main" id="{834FB417-993C-4E26-83D9-FD794B3FCE38}"/>
                  </a:ext>
                </a:extLst>
              </p:cNvPr>
              <p:cNvGrpSpPr/>
              <p:nvPr/>
            </p:nvGrpSpPr>
            <p:grpSpPr>
              <a:xfrm>
                <a:off x="3474657" y="1576590"/>
                <a:ext cx="55277" cy="145628"/>
                <a:chOff x="3474657" y="1576590"/>
                <a:chExt cx="55277" cy="145628"/>
              </a:xfrm>
              <a:grpFill/>
            </p:grpSpPr>
            <p:sp>
              <p:nvSpPr>
                <p:cNvPr id="5802" name="Freeform 8456">
                  <a:extLst>
                    <a:ext uri="{FF2B5EF4-FFF2-40B4-BE49-F238E27FC236}">
                      <a16:creationId xmlns:a16="http://schemas.microsoft.com/office/drawing/2014/main" id="{60C3265B-64EF-7EB4-D186-CB8800E351B5}"/>
                    </a:ext>
                  </a:extLst>
                </p:cNvPr>
                <p:cNvSpPr/>
                <p:nvPr/>
              </p:nvSpPr>
              <p:spPr>
                <a:xfrm>
                  <a:off x="3493220" y="1652332"/>
                  <a:ext cx="12953" cy="50570"/>
                </a:xfrm>
                <a:custGeom>
                  <a:avLst/>
                  <a:gdLst>
                    <a:gd name="connsiteX0" fmla="*/ 0 w 12953"/>
                    <a:gd name="connsiteY0" fmla="*/ 50570 h 50570"/>
                    <a:gd name="connsiteX1" fmla="*/ 6352 w 12953"/>
                    <a:gd name="connsiteY1" fmla="*/ 32883 h 50570"/>
                    <a:gd name="connsiteX2" fmla="*/ 6975 w 12953"/>
                    <a:gd name="connsiteY2" fmla="*/ 15445 h 50570"/>
                    <a:gd name="connsiteX3" fmla="*/ 12954 w 12953"/>
                    <a:gd name="connsiteY3" fmla="*/ 0 h 50570"/>
                  </a:gdLst>
                  <a:ahLst/>
                  <a:cxnLst>
                    <a:cxn ang="0">
                      <a:pos x="connsiteX0" y="connsiteY0"/>
                    </a:cxn>
                    <a:cxn ang="0">
                      <a:pos x="connsiteX1" y="connsiteY1"/>
                    </a:cxn>
                    <a:cxn ang="0">
                      <a:pos x="connsiteX2" y="connsiteY2"/>
                    </a:cxn>
                    <a:cxn ang="0">
                      <a:pos x="connsiteX3" y="connsiteY3"/>
                    </a:cxn>
                  </a:cxnLst>
                  <a:rect l="l" t="t" r="r" b="b"/>
                  <a:pathLst>
                    <a:path w="12952" h="50570">
                      <a:moveTo>
                        <a:pt x="0" y="50570"/>
                      </a:moveTo>
                      <a:cubicBezTo>
                        <a:pt x="4359" y="43346"/>
                        <a:pt x="5730" y="37118"/>
                        <a:pt x="6352" y="32883"/>
                      </a:cubicBezTo>
                      <a:cubicBezTo>
                        <a:pt x="7224" y="25908"/>
                        <a:pt x="5854" y="22420"/>
                        <a:pt x="6975" y="15445"/>
                      </a:cubicBezTo>
                      <a:cubicBezTo>
                        <a:pt x="8096" y="8594"/>
                        <a:pt x="10836" y="3363"/>
                        <a:pt x="129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3" name="Freeform 8457">
                  <a:extLst>
                    <a:ext uri="{FF2B5EF4-FFF2-40B4-BE49-F238E27FC236}">
                      <a16:creationId xmlns:a16="http://schemas.microsoft.com/office/drawing/2014/main" id="{42D04FD1-B4D1-F2B6-1F3C-66F7F9C00C64}"/>
                    </a:ext>
                  </a:extLst>
                </p:cNvPr>
                <p:cNvSpPr/>
                <p:nvPr/>
              </p:nvSpPr>
              <p:spPr>
                <a:xfrm>
                  <a:off x="3484935" y="1655321"/>
                  <a:ext cx="11870" cy="50944"/>
                </a:xfrm>
                <a:custGeom>
                  <a:avLst/>
                  <a:gdLst>
                    <a:gd name="connsiteX0" fmla="*/ 11773 w 11870"/>
                    <a:gd name="connsiteY0" fmla="*/ 0 h 50944"/>
                    <a:gd name="connsiteX1" fmla="*/ 9281 w 11870"/>
                    <a:gd name="connsiteY1" fmla="*/ 18684 h 50944"/>
                    <a:gd name="connsiteX2" fmla="*/ 1932 w 11870"/>
                    <a:gd name="connsiteY2" fmla="*/ 34502 h 50944"/>
                    <a:gd name="connsiteX3" fmla="*/ 188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3" y="0"/>
                      </a:moveTo>
                      <a:cubicBezTo>
                        <a:pt x="12270" y="8345"/>
                        <a:pt x="10776" y="14573"/>
                        <a:pt x="9281" y="18684"/>
                      </a:cubicBezTo>
                      <a:cubicBezTo>
                        <a:pt x="6915" y="25285"/>
                        <a:pt x="4050"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4" name="Freeform 8458">
                  <a:extLst>
                    <a:ext uri="{FF2B5EF4-FFF2-40B4-BE49-F238E27FC236}">
                      <a16:creationId xmlns:a16="http://schemas.microsoft.com/office/drawing/2014/main" id="{8EB43007-5B28-45C3-FF66-4BB00546379E}"/>
                    </a:ext>
                  </a:extLst>
                </p:cNvPr>
                <p:cNvSpPr/>
                <p:nvPr/>
              </p:nvSpPr>
              <p:spPr>
                <a:xfrm>
                  <a:off x="3474657" y="1695667"/>
                  <a:ext cx="26661" cy="26551"/>
                </a:xfrm>
                <a:custGeom>
                  <a:avLst/>
                  <a:gdLst>
                    <a:gd name="connsiteX0" fmla="*/ 377 w 26661"/>
                    <a:gd name="connsiteY0" fmla="*/ 10100 h 26551"/>
                    <a:gd name="connsiteX1" fmla="*/ 16445 w 26661"/>
                    <a:gd name="connsiteY1" fmla="*/ 384 h 26551"/>
                    <a:gd name="connsiteX2" fmla="*/ 26285 w 26661"/>
                    <a:gd name="connsiteY2" fmla="*/ 16452 h 26551"/>
                    <a:gd name="connsiteX3" fmla="*/ 10217 w 26661"/>
                    <a:gd name="connsiteY3" fmla="*/ 26168 h 26551"/>
                    <a:gd name="connsiteX4" fmla="*/ 377 w 2666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1">
                      <a:moveTo>
                        <a:pt x="377" y="10100"/>
                      </a:moveTo>
                      <a:cubicBezTo>
                        <a:pt x="2121" y="3000"/>
                        <a:pt x="9345" y="-1360"/>
                        <a:pt x="16445" y="384"/>
                      </a:cubicBezTo>
                      <a:cubicBezTo>
                        <a:pt x="23545" y="2128"/>
                        <a:pt x="28029" y="9352"/>
                        <a:pt x="26285" y="16452"/>
                      </a:cubicBezTo>
                      <a:cubicBezTo>
                        <a:pt x="24541" y="23552"/>
                        <a:pt x="17317" y="27911"/>
                        <a:pt x="10217" y="26168"/>
                      </a:cubicBezTo>
                      <a:cubicBezTo>
                        <a:pt x="3117" y="24424"/>
                        <a:pt x="-1367" y="17199"/>
                        <a:pt x="377"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5" name="Freeform 8459">
                  <a:extLst>
                    <a:ext uri="{FF2B5EF4-FFF2-40B4-BE49-F238E27FC236}">
                      <a16:creationId xmlns:a16="http://schemas.microsoft.com/office/drawing/2014/main" id="{12CF683A-27F6-C786-BBD4-FF360C9006C5}"/>
                    </a:ext>
                  </a:extLst>
                </p:cNvPr>
                <p:cNvSpPr/>
                <p:nvPr/>
              </p:nvSpPr>
              <p:spPr>
                <a:xfrm>
                  <a:off x="3498451" y="1595907"/>
                  <a:ext cx="13078" cy="50570"/>
                </a:xfrm>
                <a:custGeom>
                  <a:avLst/>
                  <a:gdLst>
                    <a:gd name="connsiteX0" fmla="*/ 13079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9" y="0"/>
                      </a:moveTo>
                      <a:cubicBezTo>
                        <a:pt x="8843" y="7224"/>
                        <a:pt x="7349" y="13452"/>
                        <a:pt x="6726" y="17687"/>
                      </a:cubicBezTo>
                      <a:cubicBezTo>
                        <a:pt x="5854" y="24662"/>
                        <a:pt x="7225" y="28150"/>
                        <a:pt x="5979" y="35125"/>
                      </a:cubicBezTo>
                      <a:cubicBezTo>
                        <a:pt x="4858"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6" name="Freeform 8460">
                  <a:extLst>
                    <a:ext uri="{FF2B5EF4-FFF2-40B4-BE49-F238E27FC236}">
                      <a16:creationId xmlns:a16="http://schemas.microsoft.com/office/drawing/2014/main" id="{2B67D7D5-D49E-909F-F2C5-93CDC02C3D4C}"/>
                    </a:ext>
                  </a:extLst>
                </p:cNvPr>
                <p:cNvSpPr/>
                <p:nvPr/>
              </p:nvSpPr>
              <p:spPr>
                <a:xfrm>
                  <a:off x="3507944" y="1592668"/>
                  <a:ext cx="11869" cy="50944"/>
                </a:xfrm>
                <a:custGeom>
                  <a:avLst/>
                  <a:gdLst>
                    <a:gd name="connsiteX0" fmla="*/ 98 w 11869"/>
                    <a:gd name="connsiteY0" fmla="*/ 50944 h 50944"/>
                    <a:gd name="connsiteX1" fmla="*/ 2589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9" y="32260"/>
                      </a:cubicBezTo>
                      <a:cubicBezTo>
                        <a:pt x="4955" y="25659"/>
                        <a:pt x="7696"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7" name="Freeform 8461">
                  <a:extLst>
                    <a:ext uri="{FF2B5EF4-FFF2-40B4-BE49-F238E27FC236}">
                      <a16:creationId xmlns:a16="http://schemas.microsoft.com/office/drawing/2014/main" id="{FB37E267-8FF3-75CC-152F-BB5A0119D0B5}"/>
                    </a:ext>
                  </a:extLst>
                </p:cNvPr>
                <p:cNvSpPr/>
                <p:nvPr/>
              </p:nvSpPr>
              <p:spPr>
                <a:xfrm>
                  <a:off x="3503547" y="1576590"/>
                  <a:ext cx="26387" cy="26551"/>
                </a:xfrm>
                <a:custGeom>
                  <a:avLst/>
                  <a:gdLst>
                    <a:gd name="connsiteX0" fmla="*/ 26043 w 26387"/>
                    <a:gd name="connsiteY0" fmla="*/ 16452 h 26551"/>
                    <a:gd name="connsiteX1" fmla="*/ 10100 w 26387"/>
                    <a:gd name="connsiteY1" fmla="*/ 26168 h 26551"/>
                    <a:gd name="connsiteX2" fmla="*/ 384 w 26387"/>
                    <a:gd name="connsiteY2" fmla="*/ 10100 h 26551"/>
                    <a:gd name="connsiteX3" fmla="*/ 16327 w 26387"/>
                    <a:gd name="connsiteY3" fmla="*/ 384 h 26551"/>
                    <a:gd name="connsiteX4" fmla="*/ 26043 w 26387"/>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7" h="26551">
                      <a:moveTo>
                        <a:pt x="26043" y="16452"/>
                      </a:moveTo>
                      <a:cubicBezTo>
                        <a:pt x="24299" y="23552"/>
                        <a:pt x="17199" y="27911"/>
                        <a:pt x="10100" y="26168"/>
                      </a:cubicBezTo>
                      <a:cubicBezTo>
                        <a:pt x="3000" y="24424"/>
                        <a:pt x="-1360" y="17324"/>
                        <a:pt x="384" y="10100"/>
                      </a:cubicBezTo>
                      <a:cubicBezTo>
                        <a:pt x="2128" y="3000"/>
                        <a:pt x="9228" y="-1360"/>
                        <a:pt x="16327" y="384"/>
                      </a:cubicBezTo>
                      <a:cubicBezTo>
                        <a:pt x="23427" y="2128"/>
                        <a:pt x="27662" y="9352"/>
                        <a:pt x="26043"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6" name="Graphic 2987">
                <a:extLst>
                  <a:ext uri="{FF2B5EF4-FFF2-40B4-BE49-F238E27FC236}">
                    <a16:creationId xmlns:a16="http://schemas.microsoft.com/office/drawing/2014/main" id="{CEB06CF9-33F4-CD31-8AEB-F80DC8264EBD}"/>
                  </a:ext>
                </a:extLst>
              </p:cNvPr>
              <p:cNvGrpSpPr/>
              <p:nvPr/>
            </p:nvGrpSpPr>
            <p:grpSpPr>
              <a:xfrm>
                <a:off x="3445628" y="1569739"/>
                <a:ext cx="55705" cy="145379"/>
                <a:chOff x="3445628" y="1569739"/>
                <a:chExt cx="55705" cy="145379"/>
              </a:xfrm>
              <a:grpFill/>
            </p:grpSpPr>
            <p:sp>
              <p:nvSpPr>
                <p:cNvPr id="5796" name="Freeform 8463">
                  <a:extLst>
                    <a:ext uri="{FF2B5EF4-FFF2-40B4-BE49-F238E27FC236}">
                      <a16:creationId xmlns:a16="http://schemas.microsoft.com/office/drawing/2014/main" id="{2FBBEE7C-190C-D561-0F2F-7F719B986621}"/>
                    </a:ext>
                  </a:extLst>
                </p:cNvPr>
                <p:cNvSpPr/>
                <p:nvPr/>
              </p:nvSpPr>
              <p:spPr>
                <a:xfrm>
                  <a:off x="3464198" y="1645356"/>
                  <a:ext cx="13078" cy="50445"/>
                </a:xfrm>
                <a:custGeom>
                  <a:avLst/>
                  <a:gdLst>
                    <a:gd name="connsiteX0" fmla="*/ 0 w 13078"/>
                    <a:gd name="connsiteY0" fmla="*/ 50446 h 50445"/>
                    <a:gd name="connsiteX1" fmla="*/ 6353 w 13078"/>
                    <a:gd name="connsiteY1" fmla="*/ 32759 h 50445"/>
                    <a:gd name="connsiteX2" fmla="*/ 7100 w 13078"/>
                    <a:gd name="connsiteY2" fmla="*/ 15321 h 50445"/>
                    <a:gd name="connsiteX3" fmla="*/ 13079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0" y="50446"/>
                      </a:moveTo>
                      <a:cubicBezTo>
                        <a:pt x="4360" y="43222"/>
                        <a:pt x="5854" y="37118"/>
                        <a:pt x="6353" y="32759"/>
                      </a:cubicBezTo>
                      <a:cubicBezTo>
                        <a:pt x="7225" y="25783"/>
                        <a:pt x="5854" y="22296"/>
                        <a:pt x="7100" y="15321"/>
                      </a:cubicBezTo>
                      <a:cubicBezTo>
                        <a:pt x="8221" y="8470"/>
                        <a:pt x="10961" y="3239"/>
                        <a:pt x="130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7" name="Freeform 8464">
                  <a:extLst>
                    <a:ext uri="{FF2B5EF4-FFF2-40B4-BE49-F238E27FC236}">
                      <a16:creationId xmlns:a16="http://schemas.microsoft.com/office/drawing/2014/main" id="{66736CF5-969B-CEFB-1634-CCCAD798FDAB}"/>
                    </a:ext>
                  </a:extLst>
                </p:cNvPr>
                <p:cNvSpPr/>
                <p:nvPr/>
              </p:nvSpPr>
              <p:spPr>
                <a:xfrm>
                  <a:off x="3456038" y="1648221"/>
                  <a:ext cx="11994" cy="50944"/>
                </a:xfrm>
                <a:custGeom>
                  <a:avLst/>
                  <a:gdLst>
                    <a:gd name="connsiteX0" fmla="*/ 11897 w 11994"/>
                    <a:gd name="connsiteY0" fmla="*/ 0 h 50944"/>
                    <a:gd name="connsiteX1" fmla="*/ 9406 w 11994"/>
                    <a:gd name="connsiteY1" fmla="*/ 18684 h 50944"/>
                    <a:gd name="connsiteX2" fmla="*/ 1932 w 11994"/>
                    <a:gd name="connsiteY2" fmla="*/ 34502 h 50944"/>
                    <a:gd name="connsiteX3" fmla="*/ 188 w 1199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94" h="50944">
                      <a:moveTo>
                        <a:pt x="11897" y="0"/>
                      </a:moveTo>
                      <a:cubicBezTo>
                        <a:pt x="12395" y="8345"/>
                        <a:pt x="10900" y="14573"/>
                        <a:pt x="9406" y="18684"/>
                      </a:cubicBezTo>
                      <a:cubicBezTo>
                        <a:pt x="7039" y="25285"/>
                        <a:pt x="4174"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8" name="Freeform 8465">
                  <a:extLst>
                    <a:ext uri="{FF2B5EF4-FFF2-40B4-BE49-F238E27FC236}">
                      <a16:creationId xmlns:a16="http://schemas.microsoft.com/office/drawing/2014/main" id="{FA0E795E-C496-2CBA-776C-603ED9443BF2}"/>
                    </a:ext>
                  </a:extLst>
                </p:cNvPr>
                <p:cNvSpPr/>
                <p:nvPr/>
              </p:nvSpPr>
              <p:spPr>
                <a:xfrm>
                  <a:off x="3445628" y="1688567"/>
                  <a:ext cx="26793" cy="26551"/>
                </a:xfrm>
                <a:custGeom>
                  <a:avLst/>
                  <a:gdLst>
                    <a:gd name="connsiteX0" fmla="*/ 384 w 26793"/>
                    <a:gd name="connsiteY0" fmla="*/ 10100 h 26551"/>
                    <a:gd name="connsiteX1" fmla="*/ 16576 w 26793"/>
                    <a:gd name="connsiteY1" fmla="*/ 384 h 26551"/>
                    <a:gd name="connsiteX2" fmla="*/ 26416 w 26793"/>
                    <a:gd name="connsiteY2" fmla="*/ 16452 h 26551"/>
                    <a:gd name="connsiteX3" fmla="*/ 10224 w 26793"/>
                    <a:gd name="connsiteY3" fmla="*/ 26168 h 26551"/>
                    <a:gd name="connsiteX4" fmla="*/ 384 w 2679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51">
                      <a:moveTo>
                        <a:pt x="384" y="10100"/>
                      </a:moveTo>
                      <a:cubicBezTo>
                        <a:pt x="2127" y="3000"/>
                        <a:pt x="9352" y="-1360"/>
                        <a:pt x="16576" y="384"/>
                      </a:cubicBezTo>
                      <a:cubicBezTo>
                        <a:pt x="23676" y="2128"/>
                        <a:pt x="28160" y="9352"/>
                        <a:pt x="26416" y="16452"/>
                      </a:cubicBezTo>
                      <a:cubicBezTo>
                        <a:pt x="24672" y="23552"/>
                        <a:pt x="17448" y="27911"/>
                        <a:pt x="10224" y="26168"/>
                      </a:cubicBezTo>
                      <a:cubicBezTo>
                        <a:pt x="2999"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9" name="Freeform 8466">
                  <a:extLst>
                    <a:ext uri="{FF2B5EF4-FFF2-40B4-BE49-F238E27FC236}">
                      <a16:creationId xmlns:a16="http://schemas.microsoft.com/office/drawing/2014/main" id="{9A8C24E8-EC1D-E60F-FD1D-B928CE0BEA63}"/>
                    </a:ext>
                  </a:extLst>
                </p:cNvPr>
                <p:cNvSpPr/>
                <p:nvPr/>
              </p:nvSpPr>
              <p:spPr>
                <a:xfrm>
                  <a:off x="3469803" y="1588932"/>
                  <a:ext cx="13078" cy="50445"/>
                </a:xfrm>
                <a:custGeom>
                  <a:avLst/>
                  <a:gdLst>
                    <a:gd name="connsiteX0" fmla="*/ 13078 w 13078"/>
                    <a:gd name="connsiteY0" fmla="*/ 0 h 50445"/>
                    <a:gd name="connsiteX1" fmla="*/ 6726 w 13078"/>
                    <a:gd name="connsiteY1" fmla="*/ 17687 h 50445"/>
                    <a:gd name="connsiteX2" fmla="*/ 5979 w 13078"/>
                    <a:gd name="connsiteY2" fmla="*/ 35125 h 50445"/>
                    <a:gd name="connsiteX3" fmla="*/ 0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0"/>
                      </a:moveTo>
                      <a:cubicBezTo>
                        <a:pt x="8719" y="7224"/>
                        <a:pt x="7224" y="13328"/>
                        <a:pt x="6726" y="17687"/>
                      </a:cubicBezTo>
                      <a:cubicBezTo>
                        <a:pt x="5854" y="24662"/>
                        <a:pt x="7100" y="28150"/>
                        <a:pt x="5979" y="35125"/>
                      </a:cubicBezTo>
                      <a:cubicBezTo>
                        <a:pt x="4858" y="41976"/>
                        <a:pt x="2117"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0" name="Freeform 8467">
                  <a:extLst>
                    <a:ext uri="{FF2B5EF4-FFF2-40B4-BE49-F238E27FC236}">
                      <a16:creationId xmlns:a16="http://schemas.microsoft.com/office/drawing/2014/main" id="{AE46A9BE-F692-296D-FEDF-0A1686F1B592}"/>
                    </a:ext>
                  </a:extLst>
                </p:cNvPr>
                <p:cNvSpPr/>
                <p:nvPr/>
              </p:nvSpPr>
              <p:spPr>
                <a:xfrm>
                  <a:off x="3479171" y="1585569"/>
                  <a:ext cx="11870" cy="50944"/>
                </a:xfrm>
                <a:custGeom>
                  <a:avLst/>
                  <a:gdLst>
                    <a:gd name="connsiteX0" fmla="*/ 98 w 11870"/>
                    <a:gd name="connsiteY0" fmla="*/ 50944 h 50944"/>
                    <a:gd name="connsiteX1" fmla="*/ 2589 w 11870"/>
                    <a:gd name="connsiteY1" fmla="*/ 32260 h 50944"/>
                    <a:gd name="connsiteX2" fmla="*/ 9938 w 11870"/>
                    <a:gd name="connsiteY2" fmla="*/ 16442 h 50944"/>
                    <a:gd name="connsiteX3" fmla="*/ 11682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98" y="50944"/>
                      </a:moveTo>
                      <a:cubicBezTo>
                        <a:pt x="-400" y="42599"/>
                        <a:pt x="1094" y="36371"/>
                        <a:pt x="2589" y="32260"/>
                      </a:cubicBezTo>
                      <a:cubicBezTo>
                        <a:pt x="4956" y="25659"/>
                        <a:pt x="7821" y="23292"/>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1" name="Freeform 8468">
                  <a:extLst>
                    <a:ext uri="{FF2B5EF4-FFF2-40B4-BE49-F238E27FC236}">
                      <a16:creationId xmlns:a16="http://schemas.microsoft.com/office/drawing/2014/main" id="{F8502645-949D-09D0-BA88-D03B003B2F2E}"/>
                    </a:ext>
                  </a:extLst>
                </p:cNvPr>
                <p:cNvSpPr/>
                <p:nvPr/>
              </p:nvSpPr>
              <p:spPr>
                <a:xfrm>
                  <a:off x="3475016" y="1569739"/>
                  <a:ext cx="26317" cy="26427"/>
                </a:xfrm>
                <a:custGeom>
                  <a:avLst/>
                  <a:gdLst>
                    <a:gd name="connsiteX0" fmla="*/ 25926 w 26317"/>
                    <a:gd name="connsiteY0" fmla="*/ 16327 h 26427"/>
                    <a:gd name="connsiteX1" fmla="*/ 9983 w 26317"/>
                    <a:gd name="connsiteY1" fmla="*/ 26043 h 26427"/>
                    <a:gd name="connsiteX2" fmla="*/ 392 w 26317"/>
                    <a:gd name="connsiteY2" fmla="*/ 10100 h 26427"/>
                    <a:gd name="connsiteX3" fmla="*/ 16335 w 26317"/>
                    <a:gd name="connsiteY3" fmla="*/ 384 h 26427"/>
                    <a:gd name="connsiteX4" fmla="*/ 25926 w 26317"/>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27">
                      <a:moveTo>
                        <a:pt x="25926" y="16327"/>
                      </a:moveTo>
                      <a:cubicBezTo>
                        <a:pt x="24182" y="23427"/>
                        <a:pt x="17082" y="27787"/>
                        <a:pt x="9983" y="26043"/>
                      </a:cubicBezTo>
                      <a:cubicBezTo>
                        <a:pt x="2883" y="24299"/>
                        <a:pt x="-1352" y="17199"/>
                        <a:pt x="392" y="10100"/>
                      </a:cubicBezTo>
                      <a:cubicBezTo>
                        <a:pt x="2136" y="3000"/>
                        <a:pt x="9236" y="-1360"/>
                        <a:pt x="16335" y="384"/>
                      </a:cubicBezTo>
                      <a:cubicBezTo>
                        <a:pt x="23435" y="2128"/>
                        <a:pt x="27670" y="9228"/>
                        <a:pt x="25926"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7" name="Graphic 2987">
                <a:extLst>
                  <a:ext uri="{FF2B5EF4-FFF2-40B4-BE49-F238E27FC236}">
                    <a16:creationId xmlns:a16="http://schemas.microsoft.com/office/drawing/2014/main" id="{CA9D3BC3-90A5-F6B1-2525-69D1307B942E}"/>
                  </a:ext>
                </a:extLst>
              </p:cNvPr>
              <p:cNvGrpSpPr/>
              <p:nvPr/>
            </p:nvGrpSpPr>
            <p:grpSpPr>
              <a:xfrm>
                <a:off x="3416606" y="1562764"/>
                <a:ext cx="56079" cy="145255"/>
                <a:chOff x="3416606" y="1562764"/>
                <a:chExt cx="56079" cy="145255"/>
              </a:xfrm>
              <a:grpFill/>
            </p:grpSpPr>
            <p:sp>
              <p:nvSpPr>
                <p:cNvPr id="5790" name="Freeform 8470">
                  <a:extLst>
                    <a:ext uri="{FF2B5EF4-FFF2-40B4-BE49-F238E27FC236}">
                      <a16:creationId xmlns:a16="http://schemas.microsoft.com/office/drawing/2014/main" id="{62A1F6E2-D904-BC11-89A3-BCFAE5366A13}"/>
                    </a:ext>
                  </a:extLst>
                </p:cNvPr>
                <p:cNvSpPr/>
                <p:nvPr/>
              </p:nvSpPr>
              <p:spPr>
                <a:xfrm>
                  <a:off x="3435176" y="1638257"/>
                  <a:ext cx="13327" cy="50445"/>
                </a:xfrm>
                <a:custGeom>
                  <a:avLst/>
                  <a:gdLst>
                    <a:gd name="connsiteX0" fmla="*/ 0 w 13327"/>
                    <a:gd name="connsiteY0" fmla="*/ 50446 h 50445"/>
                    <a:gd name="connsiteX1" fmla="*/ 6477 w 13327"/>
                    <a:gd name="connsiteY1" fmla="*/ 32759 h 50445"/>
                    <a:gd name="connsiteX2" fmla="*/ 7224 w 13327"/>
                    <a:gd name="connsiteY2" fmla="*/ 15321 h 50445"/>
                    <a:gd name="connsiteX3" fmla="*/ 13327 w 13327"/>
                    <a:gd name="connsiteY3" fmla="*/ 0 h 50445"/>
                  </a:gdLst>
                  <a:ahLst/>
                  <a:cxnLst>
                    <a:cxn ang="0">
                      <a:pos x="connsiteX0" y="connsiteY0"/>
                    </a:cxn>
                    <a:cxn ang="0">
                      <a:pos x="connsiteX1" y="connsiteY1"/>
                    </a:cxn>
                    <a:cxn ang="0">
                      <a:pos x="connsiteX2" y="connsiteY2"/>
                    </a:cxn>
                    <a:cxn ang="0">
                      <a:pos x="connsiteX3" y="connsiteY3"/>
                    </a:cxn>
                  </a:cxnLst>
                  <a:rect l="l" t="t" r="r" b="b"/>
                  <a:pathLst>
                    <a:path w="13327" h="50445">
                      <a:moveTo>
                        <a:pt x="0" y="50446"/>
                      </a:moveTo>
                      <a:cubicBezTo>
                        <a:pt x="4360" y="43222"/>
                        <a:pt x="5854" y="37118"/>
                        <a:pt x="6477" y="32759"/>
                      </a:cubicBezTo>
                      <a:cubicBezTo>
                        <a:pt x="7349" y="25783"/>
                        <a:pt x="6103" y="22420"/>
                        <a:pt x="7224" y="15321"/>
                      </a:cubicBezTo>
                      <a:cubicBezTo>
                        <a:pt x="8345" y="8470"/>
                        <a:pt x="11210" y="3239"/>
                        <a:pt x="133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1" name="Freeform 8471">
                  <a:extLst>
                    <a:ext uri="{FF2B5EF4-FFF2-40B4-BE49-F238E27FC236}">
                      <a16:creationId xmlns:a16="http://schemas.microsoft.com/office/drawing/2014/main" id="{819BE5DB-EA97-F974-A9E0-84E8780F8C3E}"/>
                    </a:ext>
                  </a:extLst>
                </p:cNvPr>
                <p:cNvSpPr/>
                <p:nvPr/>
              </p:nvSpPr>
              <p:spPr>
                <a:xfrm>
                  <a:off x="3426968" y="1641121"/>
                  <a:ext cx="12160" cy="50819"/>
                </a:xfrm>
                <a:custGeom>
                  <a:avLst/>
                  <a:gdLst>
                    <a:gd name="connsiteX0" fmla="*/ 12069 w 12160"/>
                    <a:gd name="connsiteY0" fmla="*/ 0 h 50819"/>
                    <a:gd name="connsiteX1" fmla="*/ 9453 w 12160"/>
                    <a:gd name="connsiteY1" fmla="*/ 18559 h 50819"/>
                    <a:gd name="connsiteX2" fmla="*/ 1979 w 12160"/>
                    <a:gd name="connsiteY2" fmla="*/ 34378 h 50819"/>
                    <a:gd name="connsiteX3" fmla="*/ 111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0"/>
                      </a:moveTo>
                      <a:cubicBezTo>
                        <a:pt x="12567" y="8345"/>
                        <a:pt x="10948" y="14573"/>
                        <a:pt x="9453" y="18559"/>
                      </a:cubicBezTo>
                      <a:cubicBezTo>
                        <a:pt x="6962" y="25161"/>
                        <a:pt x="4221" y="27527"/>
                        <a:pt x="1979" y="34378"/>
                      </a:cubicBezTo>
                      <a:cubicBezTo>
                        <a:pt x="-138" y="40979"/>
                        <a:pt x="-138" y="46834"/>
                        <a:pt x="111"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2" name="Freeform 8472">
                  <a:extLst>
                    <a:ext uri="{FF2B5EF4-FFF2-40B4-BE49-F238E27FC236}">
                      <a16:creationId xmlns:a16="http://schemas.microsoft.com/office/drawing/2014/main" id="{43B02D88-05AE-2D19-FDAD-81271DCADDF8}"/>
                    </a:ext>
                  </a:extLst>
                </p:cNvPr>
                <p:cNvSpPr/>
                <p:nvPr/>
              </p:nvSpPr>
              <p:spPr>
                <a:xfrm>
                  <a:off x="3416606" y="1681468"/>
                  <a:ext cx="26800" cy="26551"/>
                </a:xfrm>
                <a:custGeom>
                  <a:avLst/>
                  <a:gdLst>
                    <a:gd name="connsiteX0" fmla="*/ 384 w 26800"/>
                    <a:gd name="connsiteY0" fmla="*/ 10100 h 26551"/>
                    <a:gd name="connsiteX1" fmla="*/ 16576 w 26800"/>
                    <a:gd name="connsiteY1" fmla="*/ 384 h 26551"/>
                    <a:gd name="connsiteX2" fmla="*/ 26417 w 26800"/>
                    <a:gd name="connsiteY2" fmla="*/ 16452 h 26551"/>
                    <a:gd name="connsiteX3" fmla="*/ 10224 w 26800"/>
                    <a:gd name="connsiteY3" fmla="*/ 26168 h 26551"/>
                    <a:gd name="connsiteX4" fmla="*/ 384 w 2680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551">
                      <a:moveTo>
                        <a:pt x="384" y="10100"/>
                      </a:moveTo>
                      <a:cubicBezTo>
                        <a:pt x="2128" y="3000"/>
                        <a:pt x="9352" y="-1360"/>
                        <a:pt x="16576" y="384"/>
                      </a:cubicBezTo>
                      <a:cubicBezTo>
                        <a:pt x="23801" y="2128"/>
                        <a:pt x="28160" y="9352"/>
                        <a:pt x="26417" y="16452"/>
                      </a:cubicBezTo>
                      <a:cubicBezTo>
                        <a:pt x="24673" y="23552"/>
                        <a:pt x="17448" y="27911"/>
                        <a:pt x="10224" y="26168"/>
                      </a:cubicBezTo>
                      <a:cubicBezTo>
                        <a:pt x="3000"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3" name="Freeform 8473">
                  <a:extLst>
                    <a:ext uri="{FF2B5EF4-FFF2-40B4-BE49-F238E27FC236}">
                      <a16:creationId xmlns:a16="http://schemas.microsoft.com/office/drawing/2014/main" id="{934ECD2D-F9FA-488C-08F7-B5D6B654F51D}"/>
                    </a:ext>
                  </a:extLst>
                </p:cNvPr>
                <p:cNvSpPr/>
                <p:nvPr/>
              </p:nvSpPr>
              <p:spPr>
                <a:xfrm>
                  <a:off x="3440905" y="1581956"/>
                  <a:ext cx="13452" cy="50445"/>
                </a:xfrm>
                <a:custGeom>
                  <a:avLst/>
                  <a:gdLst>
                    <a:gd name="connsiteX0" fmla="*/ 13452 w 13452"/>
                    <a:gd name="connsiteY0" fmla="*/ 0 h 50445"/>
                    <a:gd name="connsiteX1" fmla="*/ 6975 w 13452"/>
                    <a:gd name="connsiteY1" fmla="*/ 17687 h 50445"/>
                    <a:gd name="connsiteX2" fmla="*/ 6103 w 13452"/>
                    <a:gd name="connsiteY2" fmla="*/ 35125 h 50445"/>
                    <a:gd name="connsiteX3" fmla="*/ 0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0"/>
                      </a:moveTo>
                      <a:cubicBezTo>
                        <a:pt x="9093" y="7224"/>
                        <a:pt x="7598" y="13328"/>
                        <a:pt x="6975" y="17687"/>
                      </a:cubicBezTo>
                      <a:cubicBezTo>
                        <a:pt x="6103" y="24662"/>
                        <a:pt x="7349" y="28025"/>
                        <a:pt x="6103" y="35125"/>
                      </a:cubicBezTo>
                      <a:cubicBezTo>
                        <a:pt x="4858" y="41976"/>
                        <a:pt x="2118"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4" name="Freeform 8474">
                  <a:extLst>
                    <a:ext uri="{FF2B5EF4-FFF2-40B4-BE49-F238E27FC236}">
                      <a16:creationId xmlns:a16="http://schemas.microsoft.com/office/drawing/2014/main" id="{C695E2E9-8C07-47AD-5342-A8CA6B614C96}"/>
                    </a:ext>
                  </a:extLst>
                </p:cNvPr>
                <p:cNvSpPr/>
                <p:nvPr/>
              </p:nvSpPr>
              <p:spPr>
                <a:xfrm>
                  <a:off x="3450280" y="1578718"/>
                  <a:ext cx="12160" cy="50819"/>
                </a:xfrm>
                <a:custGeom>
                  <a:avLst/>
                  <a:gdLst>
                    <a:gd name="connsiteX0" fmla="*/ 92 w 12160"/>
                    <a:gd name="connsiteY0" fmla="*/ 50820 h 50819"/>
                    <a:gd name="connsiteX1" fmla="*/ 2708 w 12160"/>
                    <a:gd name="connsiteY1" fmla="*/ 32260 h 50819"/>
                    <a:gd name="connsiteX2" fmla="*/ 10181 w 12160"/>
                    <a:gd name="connsiteY2" fmla="*/ 16442 h 50819"/>
                    <a:gd name="connsiteX3" fmla="*/ 12049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50820"/>
                      </a:moveTo>
                      <a:cubicBezTo>
                        <a:pt x="-406" y="42474"/>
                        <a:pt x="1213" y="36246"/>
                        <a:pt x="2708" y="32260"/>
                      </a:cubicBezTo>
                      <a:cubicBezTo>
                        <a:pt x="5199" y="25659"/>
                        <a:pt x="7939" y="23292"/>
                        <a:pt x="10181" y="16442"/>
                      </a:cubicBezTo>
                      <a:cubicBezTo>
                        <a:pt x="12298" y="9840"/>
                        <a:pt x="12298"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5" name="Freeform 8475">
                  <a:extLst>
                    <a:ext uri="{FF2B5EF4-FFF2-40B4-BE49-F238E27FC236}">
                      <a16:creationId xmlns:a16="http://schemas.microsoft.com/office/drawing/2014/main" id="{B6868FCC-D7DF-4731-103B-445A0DDAF207}"/>
                    </a:ext>
                  </a:extLst>
                </p:cNvPr>
                <p:cNvSpPr/>
                <p:nvPr/>
              </p:nvSpPr>
              <p:spPr>
                <a:xfrm>
                  <a:off x="3446375" y="1562764"/>
                  <a:ext cx="26310" cy="26427"/>
                </a:xfrm>
                <a:custGeom>
                  <a:avLst/>
                  <a:gdLst>
                    <a:gd name="connsiteX0" fmla="*/ 25919 w 26310"/>
                    <a:gd name="connsiteY0" fmla="*/ 16327 h 26427"/>
                    <a:gd name="connsiteX1" fmla="*/ 9975 w 26310"/>
                    <a:gd name="connsiteY1" fmla="*/ 26043 h 26427"/>
                    <a:gd name="connsiteX2" fmla="*/ 385 w 26310"/>
                    <a:gd name="connsiteY2" fmla="*/ 10100 h 26427"/>
                    <a:gd name="connsiteX3" fmla="*/ 16328 w 26310"/>
                    <a:gd name="connsiteY3" fmla="*/ 384 h 26427"/>
                    <a:gd name="connsiteX4" fmla="*/ 25919 w 26310"/>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27">
                      <a:moveTo>
                        <a:pt x="25919" y="16327"/>
                      </a:moveTo>
                      <a:cubicBezTo>
                        <a:pt x="24175" y="23427"/>
                        <a:pt x="16951" y="27787"/>
                        <a:pt x="9975" y="26043"/>
                      </a:cubicBezTo>
                      <a:cubicBezTo>
                        <a:pt x="3000" y="24299"/>
                        <a:pt x="-1359" y="17199"/>
                        <a:pt x="385" y="10100"/>
                      </a:cubicBezTo>
                      <a:cubicBezTo>
                        <a:pt x="2128" y="3000"/>
                        <a:pt x="9353" y="-1360"/>
                        <a:pt x="16328" y="384"/>
                      </a:cubicBezTo>
                      <a:cubicBezTo>
                        <a:pt x="23428" y="2003"/>
                        <a:pt x="27663" y="9228"/>
                        <a:pt x="25919"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8" name="Graphic 2987">
                <a:extLst>
                  <a:ext uri="{FF2B5EF4-FFF2-40B4-BE49-F238E27FC236}">
                    <a16:creationId xmlns:a16="http://schemas.microsoft.com/office/drawing/2014/main" id="{5AED342E-0BE8-91E6-2222-E273438592C0}"/>
                  </a:ext>
                </a:extLst>
              </p:cNvPr>
              <p:cNvGrpSpPr/>
              <p:nvPr/>
            </p:nvGrpSpPr>
            <p:grpSpPr>
              <a:xfrm>
                <a:off x="3387536" y="1555789"/>
                <a:ext cx="56626" cy="145130"/>
                <a:chOff x="3387536" y="1555789"/>
                <a:chExt cx="56626" cy="145130"/>
              </a:xfrm>
              <a:grpFill/>
            </p:grpSpPr>
            <p:sp>
              <p:nvSpPr>
                <p:cNvPr id="5784" name="Freeform 8477">
                  <a:extLst>
                    <a:ext uri="{FF2B5EF4-FFF2-40B4-BE49-F238E27FC236}">
                      <a16:creationId xmlns:a16="http://schemas.microsoft.com/office/drawing/2014/main" id="{B437FD63-CC3E-14E1-90BB-5CA457903D6C}"/>
                    </a:ext>
                  </a:extLst>
                </p:cNvPr>
                <p:cNvSpPr/>
                <p:nvPr/>
              </p:nvSpPr>
              <p:spPr>
                <a:xfrm>
                  <a:off x="3406278" y="1631157"/>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979" y="37118"/>
                        <a:pt x="6477" y="32759"/>
                      </a:cubicBezTo>
                      <a:cubicBezTo>
                        <a:pt x="7474" y="25783"/>
                        <a:pt x="6103" y="22420"/>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5" name="Freeform 8478">
                  <a:extLst>
                    <a:ext uri="{FF2B5EF4-FFF2-40B4-BE49-F238E27FC236}">
                      <a16:creationId xmlns:a16="http://schemas.microsoft.com/office/drawing/2014/main" id="{743F9E37-02D0-8CA9-7D58-2C16C7BA00CB}"/>
                    </a:ext>
                  </a:extLst>
                </p:cNvPr>
                <p:cNvSpPr/>
                <p:nvPr/>
              </p:nvSpPr>
              <p:spPr>
                <a:xfrm>
                  <a:off x="3398142" y="1634146"/>
                  <a:ext cx="12213" cy="50570"/>
                </a:xfrm>
                <a:custGeom>
                  <a:avLst/>
                  <a:gdLst>
                    <a:gd name="connsiteX0" fmla="*/ 12122 w 12213"/>
                    <a:gd name="connsiteY0" fmla="*/ 0 h 50570"/>
                    <a:gd name="connsiteX1" fmla="*/ 9506 w 12213"/>
                    <a:gd name="connsiteY1" fmla="*/ 18559 h 50570"/>
                    <a:gd name="connsiteX2" fmla="*/ 2033 w 12213"/>
                    <a:gd name="connsiteY2" fmla="*/ 34253 h 50570"/>
                    <a:gd name="connsiteX3" fmla="*/ 164 w 1221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213" h="50570">
                      <a:moveTo>
                        <a:pt x="12122" y="0"/>
                      </a:moveTo>
                      <a:cubicBezTo>
                        <a:pt x="12620" y="8345"/>
                        <a:pt x="11001" y="14573"/>
                        <a:pt x="9506" y="18559"/>
                      </a:cubicBezTo>
                      <a:cubicBezTo>
                        <a:pt x="7015" y="25161"/>
                        <a:pt x="4150" y="27527"/>
                        <a:pt x="2033" y="34253"/>
                      </a:cubicBezTo>
                      <a:cubicBezTo>
                        <a:pt x="-85" y="40855"/>
                        <a:pt x="-209" y="46709"/>
                        <a:pt x="16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6" name="Freeform 8479">
                  <a:extLst>
                    <a:ext uri="{FF2B5EF4-FFF2-40B4-BE49-F238E27FC236}">
                      <a16:creationId xmlns:a16="http://schemas.microsoft.com/office/drawing/2014/main" id="{F3927D17-4E9C-B613-5F69-CB9554BA384B}"/>
                    </a:ext>
                  </a:extLst>
                </p:cNvPr>
                <p:cNvSpPr/>
                <p:nvPr/>
              </p:nvSpPr>
              <p:spPr>
                <a:xfrm>
                  <a:off x="3387536" y="1674368"/>
                  <a:ext cx="26724" cy="26551"/>
                </a:xfrm>
                <a:custGeom>
                  <a:avLst/>
                  <a:gdLst>
                    <a:gd name="connsiteX0" fmla="*/ 432 w 26724"/>
                    <a:gd name="connsiteY0" fmla="*/ 10100 h 26551"/>
                    <a:gd name="connsiteX1" fmla="*/ 16625 w 26724"/>
                    <a:gd name="connsiteY1" fmla="*/ 384 h 26551"/>
                    <a:gd name="connsiteX2" fmla="*/ 26340 w 26724"/>
                    <a:gd name="connsiteY2" fmla="*/ 16452 h 26551"/>
                    <a:gd name="connsiteX3" fmla="*/ 10148 w 26724"/>
                    <a:gd name="connsiteY3" fmla="*/ 26168 h 26551"/>
                    <a:gd name="connsiteX4" fmla="*/ 432 w 26724"/>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51">
                      <a:moveTo>
                        <a:pt x="432" y="10100"/>
                      </a:moveTo>
                      <a:cubicBezTo>
                        <a:pt x="2301" y="3000"/>
                        <a:pt x="9525" y="-1360"/>
                        <a:pt x="16625" y="384"/>
                      </a:cubicBezTo>
                      <a:cubicBezTo>
                        <a:pt x="23725" y="2128"/>
                        <a:pt x="28084" y="9352"/>
                        <a:pt x="26340" y="16452"/>
                      </a:cubicBezTo>
                      <a:cubicBezTo>
                        <a:pt x="24597" y="23552"/>
                        <a:pt x="17248" y="27911"/>
                        <a:pt x="10148" y="26168"/>
                      </a:cubicBezTo>
                      <a:cubicBezTo>
                        <a:pt x="2924" y="24299"/>
                        <a:pt x="-1436" y="17199"/>
                        <a:pt x="43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7" name="Freeform 8480">
                  <a:extLst>
                    <a:ext uri="{FF2B5EF4-FFF2-40B4-BE49-F238E27FC236}">
                      <a16:creationId xmlns:a16="http://schemas.microsoft.com/office/drawing/2014/main" id="{FE7D7C35-057C-6168-2EEE-1A905FFCEA31}"/>
                    </a:ext>
                  </a:extLst>
                </p:cNvPr>
                <p:cNvSpPr/>
                <p:nvPr/>
              </p:nvSpPr>
              <p:spPr>
                <a:xfrm>
                  <a:off x="3412257" y="1574981"/>
                  <a:ext cx="13452" cy="50321"/>
                </a:xfrm>
                <a:custGeom>
                  <a:avLst/>
                  <a:gdLst>
                    <a:gd name="connsiteX0" fmla="*/ 13452 w 13452"/>
                    <a:gd name="connsiteY0" fmla="*/ 0 h 50321"/>
                    <a:gd name="connsiteX1" fmla="*/ 6975 w 13452"/>
                    <a:gd name="connsiteY1" fmla="*/ 17687 h 50321"/>
                    <a:gd name="connsiteX2" fmla="*/ 6103 w 13452"/>
                    <a:gd name="connsiteY2" fmla="*/ 35001 h 50321"/>
                    <a:gd name="connsiteX3" fmla="*/ 0 w 1345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8"/>
                        <a:pt x="6975" y="17687"/>
                      </a:cubicBezTo>
                      <a:cubicBezTo>
                        <a:pt x="5979" y="24662"/>
                        <a:pt x="7349" y="28025"/>
                        <a:pt x="6103" y="35001"/>
                      </a:cubicBezTo>
                      <a:cubicBezTo>
                        <a:pt x="4858"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8" name="Freeform 8481">
                  <a:extLst>
                    <a:ext uri="{FF2B5EF4-FFF2-40B4-BE49-F238E27FC236}">
                      <a16:creationId xmlns:a16="http://schemas.microsoft.com/office/drawing/2014/main" id="{A2865DCA-9C8F-3450-290A-CAB09935630B}"/>
                    </a:ext>
                  </a:extLst>
                </p:cNvPr>
                <p:cNvSpPr/>
                <p:nvPr/>
              </p:nvSpPr>
              <p:spPr>
                <a:xfrm>
                  <a:off x="3421507" y="1571867"/>
                  <a:ext cx="12213" cy="50570"/>
                </a:xfrm>
                <a:custGeom>
                  <a:avLst/>
                  <a:gdLst>
                    <a:gd name="connsiteX0" fmla="*/ 92 w 12213"/>
                    <a:gd name="connsiteY0" fmla="*/ 50570 h 50570"/>
                    <a:gd name="connsiteX1" fmla="*/ 2708 w 12213"/>
                    <a:gd name="connsiteY1" fmla="*/ 32011 h 50570"/>
                    <a:gd name="connsiteX2" fmla="*/ 10181 w 12213"/>
                    <a:gd name="connsiteY2" fmla="*/ 16317 h 50570"/>
                    <a:gd name="connsiteX3" fmla="*/ 12049 w 12213"/>
                    <a:gd name="connsiteY3" fmla="*/ 0 h 50570"/>
                  </a:gdLst>
                  <a:ahLst/>
                  <a:cxnLst>
                    <a:cxn ang="0">
                      <a:pos x="connsiteX0" y="connsiteY0"/>
                    </a:cxn>
                    <a:cxn ang="0">
                      <a:pos x="connsiteX1" y="connsiteY1"/>
                    </a:cxn>
                    <a:cxn ang="0">
                      <a:pos x="connsiteX2" y="connsiteY2"/>
                    </a:cxn>
                    <a:cxn ang="0">
                      <a:pos x="connsiteX3" y="connsiteY3"/>
                    </a:cxn>
                  </a:cxnLst>
                  <a:rect l="l" t="t" r="r" b="b"/>
                  <a:pathLst>
                    <a:path w="12213" h="50570">
                      <a:moveTo>
                        <a:pt x="92" y="50570"/>
                      </a:moveTo>
                      <a:cubicBezTo>
                        <a:pt x="-406" y="42225"/>
                        <a:pt x="1213" y="35997"/>
                        <a:pt x="2708" y="32011"/>
                      </a:cubicBezTo>
                      <a:cubicBezTo>
                        <a:pt x="5199" y="25410"/>
                        <a:pt x="7939" y="23043"/>
                        <a:pt x="10181" y="16317"/>
                      </a:cubicBezTo>
                      <a:cubicBezTo>
                        <a:pt x="12298" y="9716"/>
                        <a:pt x="12423" y="3861"/>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9" name="Freeform 8482">
                  <a:extLst>
                    <a:ext uri="{FF2B5EF4-FFF2-40B4-BE49-F238E27FC236}">
                      <a16:creationId xmlns:a16="http://schemas.microsoft.com/office/drawing/2014/main" id="{C4E5C20F-0485-14B9-6180-F2DFA2264796}"/>
                    </a:ext>
                  </a:extLst>
                </p:cNvPr>
                <p:cNvSpPr/>
                <p:nvPr/>
              </p:nvSpPr>
              <p:spPr>
                <a:xfrm>
                  <a:off x="3417720" y="1555789"/>
                  <a:ext cx="26442" cy="26427"/>
                </a:xfrm>
                <a:custGeom>
                  <a:avLst/>
                  <a:gdLst>
                    <a:gd name="connsiteX0" fmla="*/ 26051 w 26442"/>
                    <a:gd name="connsiteY0" fmla="*/ 16327 h 26427"/>
                    <a:gd name="connsiteX1" fmla="*/ 9983 w 26442"/>
                    <a:gd name="connsiteY1" fmla="*/ 26043 h 26427"/>
                    <a:gd name="connsiteX2" fmla="*/ 392 w 26442"/>
                    <a:gd name="connsiteY2" fmla="*/ 10100 h 26427"/>
                    <a:gd name="connsiteX3" fmla="*/ 16459 w 26442"/>
                    <a:gd name="connsiteY3" fmla="*/ 384 h 26427"/>
                    <a:gd name="connsiteX4" fmla="*/ 26051 w 26442"/>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427">
                      <a:moveTo>
                        <a:pt x="26051" y="16327"/>
                      </a:moveTo>
                      <a:cubicBezTo>
                        <a:pt x="24307" y="23427"/>
                        <a:pt x="17082" y="27787"/>
                        <a:pt x="9983" y="26043"/>
                      </a:cubicBezTo>
                      <a:cubicBezTo>
                        <a:pt x="2883" y="24299"/>
                        <a:pt x="-1352" y="17199"/>
                        <a:pt x="392" y="10100"/>
                      </a:cubicBezTo>
                      <a:cubicBezTo>
                        <a:pt x="2135" y="3000"/>
                        <a:pt x="9360" y="-1360"/>
                        <a:pt x="16459" y="384"/>
                      </a:cubicBezTo>
                      <a:cubicBezTo>
                        <a:pt x="23559" y="2003"/>
                        <a:pt x="27794" y="9228"/>
                        <a:pt x="26051"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9" name="Graphic 2987">
                <a:extLst>
                  <a:ext uri="{FF2B5EF4-FFF2-40B4-BE49-F238E27FC236}">
                    <a16:creationId xmlns:a16="http://schemas.microsoft.com/office/drawing/2014/main" id="{4D39D7D2-DF55-31AB-9DCD-B27828FDD2CC}"/>
                  </a:ext>
                </a:extLst>
              </p:cNvPr>
              <p:cNvGrpSpPr/>
              <p:nvPr/>
            </p:nvGrpSpPr>
            <p:grpSpPr>
              <a:xfrm>
                <a:off x="3358514" y="1548814"/>
                <a:ext cx="57041" cy="145005"/>
                <a:chOff x="3358514" y="1548814"/>
                <a:chExt cx="57041" cy="145005"/>
              </a:xfrm>
              <a:grpFill/>
            </p:grpSpPr>
            <p:sp>
              <p:nvSpPr>
                <p:cNvPr id="5778" name="Freeform 8484">
                  <a:extLst>
                    <a:ext uri="{FF2B5EF4-FFF2-40B4-BE49-F238E27FC236}">
                      <a16:creationId xmlns:a16="http://schemas.microsoft.com/office/drawing/2014/main" id="{97EC6E39-716C-D6B2-A4C7-E2B714066FC1}"/>
                    </a:ext>
                  </a:extLst>
                </p:cNvPr>
                <p:cNvSpPr/>
                <p:nvPr/>
              </p:nvSpPr>
              <p:spPr>
                <a:xfrm>
                  <a:off x="3377257" y="1624182"/>
                  <a:ext cx="13576" cy="50321"/>
                </a:xfrm>
                <a:custGeom>
                  <a:avLst/>
                  <a:gdLst>
                    <a:gd name="connsiteX0" fmla="*/ 0 w 13576"/>
                    <a:gd name="connsiteY0" fmla="*/ 50321 h 50321"/>
                    <a:gd name="connsiteX1" fmla="*/ 6602 w 13576"/>
                    <a:gd name="connsiteY1" fmla="*/ 32634 h 50321"/>
                    <a:gd name="connsiteX2" fmla="*/ 7473 w 13576"/>
                    <a:gd name="connsiteY2" fmla="*/ 15321 h 50321"/>
                    <a:gd name="connsiteX3" fmla="*/ 13577 w 13576"/>
                    <a:gd name="connsiteY3" fmla="*/ 0 h 50321"/>
                  </a:gdLst>
                  <a:ahLst/>
                  <a:cxnLst>
                    <a:cxn ang="0">
                      <a:pos x="connsiteX0" y="connsiteY0"/>
                    </a:cxn>
                    <a:cxn ang="0">
                      <a:pos x="connsiteX1" y="connsiteY1"/>
                    </a:cxn>
                    <a:cxn ang="0">
                      <a:pos x="connsiteX2" y="connsiteY2"/>
                    </a:cxn>
                    <a:cxn ang="0">
                      <a:pos x="connsiteX3" y="connsiteY3"/>
                    </a:cxn>
                  </a:cxnLst>
                  <a:rect l="l" t="t" r="r" b="b"/>
                  <a:pathLst>
                    <a:path w="13576" h="50321">
                      <a:moveTo>
                        <a:pt x="0" y="50321"/>
                      </a:moveTo>
                      <a:cubicBezTo>
                        <a:pt x="4359" y="43097"/>
                        <a:pt x="5979" y="36994"/>
                        <a:pt x="6602" y="32634"/>
                      </a:cubicBezTo>
                      <a:cubicBezTo>
                        <a:pt x="7598" y="25659"/>
                        <a:pt x="6228" y="22296"/>
                        <a:pt x="7473" y="15321"/>
                      </a:cubicBezTo>
                      <a:cubicBezTo>
                        <a:pt x="8719" y="8470"/>
                        <a:pt x="11459" y="3363"/>
                        <a:pt x="13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9" name="Freeform 8485">
                  <a:extLst>
                    <a:ext uri="{FF2B5EF4-FFF2-40B4-BE49-F238E27FC236}">
                      <a16:creationId xmlns:a16="http://schemas.microsoft.com/office/drawing/2014/main" id="{4EF3B82A-D165-E76A-06F0-4EBED9B9D0D9}"/>
                    </a:ext>
                  </a:extLst>
                </p:cNvPr>
                <p:cNvSpPr/>
                <p:nvPr/>
              </p:nvSpPr>
              <p:spPr>
                <a:xfrm>
                  <a:off x="3368927" y="1627046"/>
                  <a:ext cx="12498" cy="50570"/>
                </a:xfrm>
                <a:custGeom>
                  <a:avLst/>
                  <a:gdLst>
                    <a:gd name="connsiteX0" fmla="*/ 12440 w 12498"/>
                    <a:gd name="connsiteY0" fmla="*/ 0 h 50570"/>
                    <a:gd name="connsiteX1" fmla="*/ 9700 w 12498"/>
                    <a:gd name="connsiteY1" fmla="*/ 18559 h 50570"/>
                    <a:gd name="connsiteX2" fmla="*/ 2102 w 12498"/>
                    <a:gd name="connsiteY2" fmla="*/ 34253 h 50570"/>
                    <a:gd name="connsiteX3" fmla="*/ 109 w 1249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8" h="50570">
                      <a:moveTo>
                        <a:pt x="12440" y="0"/>
                      </a:moveTo>
                      <a:cubicBezTo>
                        <a:pt x="12814" y="8345"/>
                        <a:pt x="11319" y="14573"/>
                        <a:pt x="9700" y="18559"/>
                      </a:cubicBezTo>
                      <a:cubicBezTo>
                        <a:pt x="7209" y="25161"/>
                        <a:pt x="4344" y="27527"/>
                        <a:pt x="2102" y="34253"/>
                      </a:cubicBezTo>
                      <a:cubicBezTo>
                        <a:pt x="-140" y="40855"/>
                        <a:pt x="-140" y="46709"/>
                        <a:pt x="10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0" name="Freeform 8486">
                  <a:extLst>
                    <a:ext uri="{FF2B5EF4-FFF2-40B4-BE49-F238E27FC236}">
                      <a16:creationId xmlns:a16="http://schemas.microsoft.com/office/drawing/2014/main" id="{AA3AC1D7-306A-651A-EB62-E826ED4B6E78}"/>
                    </a:ext>
                  </a:extLst>
                </p:cNvPr>
                <p:cNvSpPr/>
                <p:nvPr/>
              </p:nvSpPr>
              <p:spPr>
                <a:xfrm>
                  <a:off x="3358514" y="1667268"/>
                  <a:ext cx="26849" cy="26551"/>
                </a:xfrm>
                <a:custGeom>
                  <a:avLst/>
                  <a:gdLst>
                    <a:gd name="connsiteX0" fmla="*/ 433 w 26849"/>
                    <a:gd name="connsiteY0" fmla="*/ 10100 h 26551"/>
                    <a:gd name="connsiteX1" fmla="*/ 16750 w 26849"/>
                    <a:gd name="connsiteY1" fmla="*/ 384 h 26551"/>
                    <a:gd name="connsiteX2" fmla="*/ 26465 w 26849"/>
                    <a:gd name="connsiteY2" fmla="*/ 16452 h 26551"/>
                    <a:gd name="connsiteX3" fmla="*/ 10148 w 26849"/>
                    <a:gd name="connsiteY3" fmla="*/ 26168 h 26551"/>
                    <a:gd name="connsiteX4" fmla="*/ 433 w 268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9" h="26551">
                      <a:moveTo>
                        <a:pt x="433" y="10100"/>
                      </a:moveTo>
                      <a:cubicBezTo>
                        <a:pt x="2301" y="3000"/>
                        <a:pt x="9525" y="-1360"/>
                        <a:pt x="16750" y="384"/>
                      </a:cubicBezTo>
                      <a:cubicBezTo>
                        <a:pt x="23849" y="2128"/>
                        <a:pt x="28209" y="9352"/>
                        <a:pt x="26465" y="16452"/>
                      </a:cubicBezTo>
                      <a:cubicBezTo>
                        <a:pt x="24721" y="23552"/>
                        <a:pt x="17372" y="27911"/>
                        <a:pt x="10148" y="26168"/>
                      </a:cubicBezTo>
                      <a:cubicBezTo>
                        <a:pt x="2924" y="24424"/>
                        <a:pt x="-1436" y="17199"/>
                        <a:pt x="43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1" name="Freeform 8487">
                  <a:extLst>
                    <a:ext uri="{FF2B5EF4-FFF2-40B4-BE49-F238E27FC236}">
                      <a16:creationId xmlns:a16="http://schemas.microsoft.com/office/drawing/2014/main" id="{B62064FF-5526-21EB-EA02-F821688EE546}"/>
                    </a:ext>
                  </a:extLst>
                </p:cNvPr>
                <p:cNvSpPr/>
                <p:nvPr/>
              </p:nvSpPr>
              <p:spPr>
                <a:xfrm>
                  <a:off x="3383235" y="1568006"/>
                  <a:ext cx="13826" cy="50321"/>
                </a:xfrm>
                <a:custGeom>
                  <a:avLst/>
                  <a:gdLst>
                    <a:gd name="connsiteX0" fmla="*/ 13826 w 13826"/>
                    <a:gd name="connsiteY0" fmla="*/ 0 h 50321"/>
                    <a:gd name="connsiteX1" fmla="*/ 7225 w 13826"/>
                    <a:gd name="connsiteY1" fmla="*/ 17687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224"/>
                        <a:pt x="7847" y="13328"/>
                        <a:pt x="7225" y="17687"/>
                      </a:cubicBezTo>
                      <a:cubicBezTo>
                        <a:pt x="6228" y="24662"/>
                        <a:pt x="7598" y="28025"/>
                        <a:pt x="6228" y="35001"/>
                      </a:cubicBezTo>
                      <a:cubicBezTo>
                        <a:pt x="4982" y="41851"/>
                        <a:pt x="2242"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2" name="Freeform 8488">
                  <a:extLst>
                    <a:ext uri="{FF2B5EF4-FFF2-40B4-BE49-F238E27FC236}">
                      <a16:creationId xmlns:a16="http://schemas.microsoft.com/office/drawing/2014/main" id="{6D7A9A4D-C26A-4DB1-E4D7-0AA95BD9D0E3}"/>
                    </a:ext>
                  </a:extLst>
                </p:cNvPr>
                <p:cNvSpPr/>
                <p:nvPr/>
              </p:nvSpPr>
              <p:spPr>
                <a:xfrm>
                  <a:off x="3392768" y="1564892"/>
                  <a:ext cx="12498" cy="50570"/>
                </a:xfrm>
                <a:custGeom>
                  <a:avLst/>
                  <a:gdLst>
                    <a:gd name="connsiteX0" fmla="*/ 58 w 12498"/>
                    <a:gd name="connsiteY0" fmla="*/ 50570 h 50570"/>
                    <a:gd name="connsiteX1" fmla="*/ 2798 w 12498"/>
                    <a:gd name="connsiteY1" fmla="*/ 32011 h 50570"/>
                    <a:gd name="connsiteX2" fmla="*/ 10396 w 12498"/>
                    <a:gd name="connsiteY2" fmla="*/ 16317 h 50570"/>
                    <a:gd name="connsiteX3" fmla="*/ 12389 w 12498"/>
                    <a:gd name="connsiteY3" fmla="*/ 0 h 50570"/>
                  </a:gdLst>
                  <a:ahLst/>
                  <a:cxnLst>
                    <a:cxn ang="0">
                      <a:pos x="connsiteX0" y="connsiteY0"/>
                    </a:cxn>
                    <a:cxn ang="0">
                      <a:pos x="connsiteX1" y="connsiteY1"/>
                    </a:cxn>
                    <a:cxn ang="0">
                      <a:pos x="connsiteX2" y="connsiteY2"/>
                    </a:cxn>
                    <a:cxn ang="0">
                      <a:pos x="connsiteX3" y="connsiteY3"/>
                    </a:cxn>
                  </a:cxnLst>
                  <a:rect l="l" t="t" r="r" b="b"/>
                  <a:pathLst>
                    <a:path w="12498" h="50570">
                      <a:moveTo>
                        <a:pt x="58" y="50570"/>
                      </a:moveTo>
                      <a:cubicBezTo>
                        <a:pt x="-316" y="42225"/>
                        <a:pt x="1179" y="35997"/>
                        <a:pt x="2798" y="32011"/>
                      </a:cubicBezTo>
                      <a:cubicBezTo>
                        <a:pt x="5289" y="25410"/>
                        <a:pt x="8154" y="23043"/>
                        <a:pt x="10396" y="16317"/>
                      </a:cubicBezTo>
                      <a:cubicBezTo>
                        <a:pt x="12638" y="9715"/>
                        <a:pt x="12638" y="3861"/>
                        <a:pt x="123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3" name="Freeform 8489">
                  <a:extLst>
                    <a:ext uri="{FF2B5EF4-FFF2-40B4-BE49-F238E27FC236}">
                      <a16:creationId xmlns:a16="http://schemas.microsoft.com/office/drawing/2014/main" id="{C29EFB9D-CD7D-9E6F-8E65-DC302CF27E3F}"/>
                    </a:ext>
                  </a:extLst>
                </p:cNvPr>
                <p:cNvSpPr/>
                <p:nvPr/>
              </p:nvSpPr>
              <p:spPr>
                <a:xfrm>
                  <a:off x="3389146" y="1548814"/>
                  <a:ext cx="26408" cy="26427"/>
                </a:xfrm>
                <a:custGeom>
                  <a:avLst/>
                  <a:gdLst>
                    <a:gd name="connsiteX0" fmla="*/ 25975 w 26408"/>
                    <a:gd name="connsiteY0" fmla="*/ 16327 h 26427"/>
                    <a:gd name="connsiteX1" fmla="*/ 9908 w 26408"/>
                    <a:gd name="connsiteY1" fmla="*/ 26043 h 26427"/>
                    <a:gd name="connsiteX2" fmla="*/ 441 w 26408"/>
                    <a:gd name="connsiteY2" fmla="*/ 10100 h 26427"/>
                    <a:gd name="connsiteX3" fmla="*/ 16509 w 26408"/>
                    <a:gd name="connsiteY3" fmla="*/ 384 h 26427"/>
                    <a:gd name="connsiteX4" fmla="*/ 25975 w 26408"/>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427">
                      <a:moveTo>
                        <a:pt x="25975" y="16327"/>
                      </a:moveTo>
                      <a:cubicBezTo>
                        <a:pt x="24232" y="23427"/>
                        <a:pt x="17007" y="27787"/>
                        <a:pt x="9908" y="26043"/>
                      </a:cubicBezTo>
                      <a:cubicBezTo>
                        <a:pt x="2808" y="24299"/>
                        <a:pt x="-1427" y="17199"/>
                        <a:pt x="441" y="10100"/>
                      </a:cubicBezTo>
                      <a:cubicBezTo>
                        <a:pt x="2310" y="3000"/>
                        <a:pt x="9534" y="-1360"/>
                        <a:pt x="16509" y="384"/>
                      </a:cubicBezTo>
                      <a:cubicBezTo>
                        <a:pt x="23485" y="2128"/>
                        <a:pt x="27844" y="9228"/>
                        <a:pt x="25975"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0" name="Graphic 2987">
                <a:extLst>
                  <a:ext uri="{FF2B5EF4-FFF2-40B4-BE49-F238E27FC236}">
                    <a16:creationId xmlns:a16="http://schemas.microsoft.com/office/drawing/2014/main" id="{1283C87E-54BE-8619-5CA5-43742F533FAC}"/>
                  </a:ext>
                </a:extLst>
              </p:cNvPr>
              <p:cNvGrpSpPr/>
              <p:nvPr/>
            </p:nvGrpSpPr>
            <p:grpSpPr>
              <a:xfrm>
                <a:off x="3329608" y="1541648"/>
                <a:ext cx="57383" cy="144996"/>
                <a:chOff x="3329608" y="1541648"/>
                <a:chExt cx="57383" cy="144996"/>
              </a:xfrm>
              <a:grpFill/>
            </p:grpSpPr>
            <p:sp>
              <p:nvSpPr>
                <p:cNvPr id="5772" name="Freeform 8491">
                  <a:extLst>
                    <a:ext uri="{FF2B5EF4-FFF2-40B4-BE49-F238E27FC236}">
                      <a16:creationId xmlns:a16="http://schemas.microsoft.com/office/drawing/2014/main" id="{0BC7BCF3-8727-4AF9-CC2B-8E5605308DC1}"/>
                    </a:ext>
                  </a:extLst>
                </p:cNvPr>
                <p:cNvSpPr/>
                <p:nvPr/>
              </p:nvSpPr>
              <p:spPr>
                <a:xfrm>
                  <a:off x="3348234" y="1617082"/>
                  <a:ext cx="13826" cy="50321"/>
                </a:xfrm>
                <a:custGeom>
                  <a:avLst/>
                  <a:gdLst>
                    <a:gd name="connsiteX0" fmla="*/ 0 w 13826"/>
                    <a:gd name="connsiteY0" fmla="*/ 50321 h 50321"/>
                    <a:gd name="connsiteX1" fmla="*/ 6602 w 13826"/>
                    <a:gd name="connsiteY1" fmla="*/ 32634 h 50321"/>
                    <a:gd name="connsiteX2" fmla="*/ 7598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484" y="43097"/>
                        <a:pt x="5979" y="36994"/>
                        <a:pt x="6602" y="32634"/>
                      </a:cubicBezTo>
                      <a:cubicBezTo>
                        <a:pt x="7598" y="25659"/>
                        <a:pt x="6228" y="22296"/>
                        <a:pt x="7598" y="15321"/>
                      </a:cubicBezTo>
                      <a:cubicBezTo>
                        <a:pt x="8843"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3" name="Freeform 8492">
                  <a:extLst>
                    <a:ext uri="{FF2B5EF4-FFF2-40B4-BE49-F238E27FC236}">
                      <a16:creationId xmlns:a16="http://schemas.microsoft.com/office/drawing/2014/main" id="{A42DC1AB-1BCB-82AC-A07F-A67BB116FF37}"/>
                    </a:ext>
                  </a:extLst>
                </p:cNvPr>
                <p:cNvSpPr/>
                <p:nvPr/>
              </p:nvSpPr>
              <p:spPr>
                <a:xfrm>
                  <a:off x="3339976" y="1619822"/>
                  <a:ext cx="12672" cy="50694"/>
                </a:xfrm>
                <a:custGeom>
                  <a:avLst/>
                  <a:gdLst>
                    <a:gd name="connsiteX0" fmla="*/ 12618 w 12672"/>
                    <a:gd name="connsiteY0" fmla="*/ 0 h 50694"/>
                    <a:gd name="connsiteX1" fmla="*/ 9753 w 12672"/>
                    <a:gd name="connsiteY1" fmla="*/ 18684 h 50694"/>
                    <a:gd name="connsiteX2" fmla="*/ 2155 w 12672"/>
                    <a:gd name="connsiteY2" fmla="*/ 34253 h 50694"/>
                    <a:gd name="connsiteX3" fmla="*/ 162 w 1267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672" h="50694">
                      <a:moveTo>
                        <a:pt x="12618" y="0"/>
                      </a:moveTo>
                      <a:cubicBezTo>
                        <a:pt x="12991" y="8470"/>
                        <a:pt x="11372" y="14573"/>
                        <a:pt x="9753" y="18684"/>
                      </a:cubicBezTo>
                      <a:cubicBezTo>
                        <a:pt x="7262" y="25161"/>
                        <a:pt x="4397" y="27527"/>
                        <a:pt x="2155" y="34253"/>
                      </a:cubicBezTo>
                      <a:cubicBezTo>
                        <a:pt x="-87" y="40730"/>
                        <a:pt x="-212" y="46709"/>
                        <a:pt x="16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4" name="Freeform 8493">
                  <a:extLst>
                    <a:ext uri="{FF2B5EF4-FFF2-40B4-BE49-F238E27FC236}">
                      <a16:creationId xmlns:a16="http://schemas.microsoft.com/office/drawing/2014/main" id="{8AAB71E8-528F-8A62-2F3B-E7D49245DFB9}"/>
                    </a:ext>
                  </a:extLst>
                </p:cNvPr>
                <p:cNvSpPr/>
                <p:nvPr/>
              </p:nvSpPr>
              <p:spPr>
                <a:xfrm>
                  <a:off x="3329608" y="1660050"/>
                  <a:ext cx="26657" cy="26594"/>
                </a:xfrm>
                <a:custGeom>
                  <a:avLst/>
                  <a:gdLst>
                    <a:gd name="connsiteX0" fmla="*/ 441 w 26657"/>
                    <a:gd name="connsiteY0" fmla="*/ 9720 h 26594"/>
                    <a:gd name="connsiteX1" fmla="*/ 16634 w 26657"/>
                    <a:gd name="connsiteY1" fmla="*/ 503 h 26594"/>
                    <a:gd name="connsiteX2" fmla="*/ 26225 w 26657"/>
                    <a:gd name="connsiteY2" fmla="*/ 16570 h 26594"/>
                    <a:gd name="connsiteX3" fmla="*/ 9907 w 26657"/>
                    <a:gd name="connsiteY3" fmla="*/ 26161 h 26594"/>
                    <a:gd name="connsiteX4" fmla="*/ 441 w 26657"/>
                    <a:gd name="connsiteY4" fmla="*/ 9720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4">
                      <a:moveTo>
                        <a:pt x="441" y="9720"/>
                      </a:moveTo>
                      <a:cubicBezTo>
                        <a:pt x="2310" y="2620"/>
                        <a:pt x="9534" y="-1490"/>
                        <a:pt x="16634" y="503"/>
                      </a:cubicBezTo>
                      <a:cubicBezTo>
                        <a:pt x="23734" y="2371"/>
                        <a:pt x="28093" y="9471"/>
                        <a:pt x="26225" y="16570"/>
                      </a:cubicBezTo>
                      <a:cubicBezTo>
                        <a:pt x="24356" y="23670"/>
                        <a:pt x="17132" y="28030"/>
                        <a:pt x="9907" y="26161"/>
                      </a:cubicBezTo>
                      <a:cubicBezTo>
                        <a:pt x="2808" y="24168"/>
                        <a:pt x="-1427" y="16820"/>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5" name="Freeform 8494">
                  <a:extLst>
                    <a:ext uri="{FF2B5EF4-FFF2-40B4-BE49-F238E27FC236}">
                      <a16:creationId xmlns:a16="http://schemas.microsoft.com/office/drawing/2014/main" id="{589AD1AC-2BD8-3AFC-F4D5-3CF72ED44D28}"/>
                    </a:ext>
                  </a:extLst>
                </p:cNvPr>
                <p:cNvSpPr/>
                <p:nvPr/>
              </p:nvSpPr>
              <p:spPr>
                <a:xfrm>
                  <a:off x="3354711" y="1560782"/>
                  <a:ext cx="13826" cy="50321"/>
                </a:xfrm>
                <a:custGeom>
                  <a:avLst/>
                  <a:gdLst>
                    <a:gd name="connsiteX0" fmla="*/ 13826 w 13826"/>
                    <a:gd name="connsiteY0" fmla="*/ 0 h 50321"/>
                    <a:gd name="connsiteX1" fmla="*/ 7225 w 13826"/>
                    <a:gd name="connsiteY1" fmla="*/ 17563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100"/>
                        <a:pt x="7847" y="13203"/>
                        <a:pt x="7225" y="17563"/>
                      </a:cubicBezTo>
                      <a:cubicBezTo>
                        <a:pt x="6228" y="24538"/>
                        <a:pt x="7474" y="28025"/>
                        <a:pt x="6228" y="35001"/>
                      </a:cubicBezTo>
                      <a:cubicBezTo>
                        <a:pt x="4983" y="41851"/>
                        <a:pt x="2118"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6" name="Freeform 8495">
                  <a:extLst>
                    <a:ext uri="{FF2B5EF4-FFF2-40B4-BE49-F238E27FC236}">
                      <a16:creationId xmlns:a16="http://schemas.microsoft.com/office/drawing/2014/main" id="{BF041135-F53A-47E8-CACB-61BC9616E582}"/>
                    </a:ext>
                  </a:extLst>
                </p:cNvPr>
                <p:cNvSpPr/>
                <p:nvPr/>
              </p:nvSpPr>
              <p:spPr>
                <a:xfrm>
                  <a:off x="3363999" y="1557792"/>
                  <a:ext cx="12494" cy="50570"/>
                </a:xfrm>
                <a:custGeom>
                  <a:avLst/>
                  <a:gdLst>
                    <a:gd name="connsiteX0" fmla="*/ 54 w 12494"/>
                    <a:gd name="connsiteY0" fmla="*/ 50570 h 50570"/>
                    <a:gd name="connsiteX1" fmla="*/ 2795 w 12494"/>
                    <a:gd name="connsiteY1" fmla="*/ 32011 h 50570"/>
                    <a:gd name="connsiteX2" fmla="*/ 10393 w 12494"/>
                    <a:gd name="connsiteY2" fmla="*/ 16317 h 50570"/>
                    <a:gd name="connsiteX3" fmla="*/ 12386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54" y="50570"/>
                      </a:moveTo>
                      <a:cubicBezTo>
                        <a:pt x="-319" y="42225"/>
                        <a:pt x="1300" y="36122"/>
                        <a:pt x="2795" y="32011"/>
                      </a:cubicBezTo>
                      <a:cubicBezTo>
                        <a:pt x="5286" y="25410"/>
                        <a:pt x="8151" y="23043"/>
                        <a:pt x="10393" y="16317"/>
                      </a:cubicBezTo>
                      <a:cubicBezTo>
                        <a:pt x="12635" y="9715"/>
                        <a:pt x="12635" y="3861"/>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7" name="Freeform 8496">
                  <a:extLst>
                    <a:ext uri="{FF2B5EF4-FFF2-40B4-BE49-F238E27FC236}">
                      <a16:creationId xmlns:a16="http://schemas.microsoft.com/office/drawing/2014/main" id="{DEDBB044-A003-F694-A67B-691144464099}"/>
                    </a:ext>
                  </a:extLst>
                </p:cNvPr>
                <p:cNvSpPr/>
                <p:nvPr/>
              </p:nvSpPr>
              <p:spPr>
                <a:xfrm>
                  <a:off x="3360747" y="1541648"/>
                  <a:ext cx="26244" cy="26493"/>
                </a:xfrm>
                <a:custGeom>
                  <a:avLst/>
                  <a:gdLst>
                    <a:gd name="connsiteX0" fmla="*/ 25852 w 26244"/>
                    <a:gd name="connsiteY0" fmla="*/ 16393 h 26493"/>
                    <a:gd name="connsiteX1" fmla="*/ 9784 w 26244"/>
                    <a:gd name="connsiteY1" fmla="*/ 26109 h 26493"/>
                    <a:gd name="connsiteX2" fmla="*/ 442 w 26244"/>
                    <a:gd name="connsiteY2" fmla="*/ 9792 h 26493"/>
                    <a:gd name="connsiteX3" fmla="*/ 16510 w 26244"/>
                    <a:gd name="connsiteY3" fmla="*/ 450 h 26493"/>
                    <a:gd name="connsiteX4" fmla="*/ 25852 w 26244"/>
                    <a:gd name="connsiteY4" fmla="*/ 16393 h 2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4" h="26493">
                      <a:moveTo>
                        <a:pt x="25852" y="16393"/>
                      </a:moveTo>
                      <a:cubicBezTo>
                        <a:pt x="23983" y="23493"/>
                        <a:pt x="16759" y="27853"/>
                        <a:pt x="9784" y="26109"/>
                      </a:cubicBezTo>
                      <a:cubicBezTo>
                        <a:pt x="2808" y="24116"/>
                        <a:pt x="-1426" y="16892"/>
                        <a:pt x="442" y="9792"/>
                      </a:cubicBezTo>
                      <a:cubicBezTo>
                        <a:pt x="2310" y="2692"/>
                        <a:pt x="9534" y="-1418"/>
                        <a:pt x="16510" y="450"/>
                      </a:cubicBezTo>
                      <a:cubicBezTo>
                        <a:pt x="23360" y="2318"/>
                        <a:pt x="27595" y="9294"/>
                        <a:pt x="25852" y="163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1" name="Graphic 2987">
                <a:extLst>
                  <a:ext uri="{FF2B5EF4-FFF2-40B4-BE49-F238E27FC236}">
                    <a16:creationId xmlns:a16="http://schemas.microsoft.com/office/drawing/2014/main" id="{F3C2FBC9-0E21-70D9-4B6A-01F06AF96049}"/>
                  </a:ext>
                </a:extLst>
              </p:cNvPr>
              <p:cNvGrpSpPr/>
              <p:nvPr/>
            </p:nvGrpSpPr>
            <p:grpSpPr>
              <a:xfrm>
                <a:off x="3300702" y="1533801"/>
                <a:ext cx="57814" cy="144941"/>
                <a:chOff x="3300702" y="1533801"/>
                <a:chExt cx="57814" cy="144941"/>
              </a:xfrm>
              <a:grpFill/>
            </p:grpSpPr>
            <p:sp>
              <p:nvSpPr>
                <p:cNvPr id="5766" name="Freeform 8498">
                  <a:extLst>
                    <a:ext uri="{FF2B5EF4-FFF2-40B4-BE49-F238E27FC236}">
                      <a16:creationId xmlns:a16="http://schemas.microsoft.com/office/drawing/2014/main" id="{686E32D2-5745-1740-86EF-BFAC13EEA547}"/>
                    </a:ext>
                  </a:extLst>
                </p:cNvPr>
                <p:cNvSpPr/>
                <p:nvPr/>
              </p:nvSpPr>
              <p:spPr>
                <a:xfrm>
                  <a:off x="3319462" y="1609359"/>
                  <a:ext cx="13950" cy="50196"/>
                </a:xfrm>
                <a:custGeom>
                  <a:avLst/>
                  <a:gdLst>
                    <a:gd name="connsiteX0" fmla="*/ 0 w 13950"/>
                    <a:gd name="connsiteY0" fmla="*/ 50197 h 50196"/>
                    <a:gd name="connsiteX1" fmla="*/ 6726 w 13950"/>
                    <a:gd name="connsiteY1" fmla="*/ 32634 h 50196"/>
                    <a:gd name="connsiteX2" fmla="*/ 7723 w 13950"/>
                    <a:gd name="connsiteY2" fmla="*/ 15196 h 50196"/>
                    <a:gd name="connsiteX3" fmla="*/ 13950 w 13950"/>
                    <a:gd name="connsiteY3" fmla="*/ 0 h 50196"/>
                  </a:gdLst>
                  <a:ahLst/>
                  <a:cxnLst>
                    <a:cxn ang="0">
                      <a:pos x="connsiteX0" y="connsiteY0"/>
                    </a:cxn>
                    <a:cxn ang="0">
                      <a:pos x="connsiteX1" y="connsiteY1"/>
                    </a:cxn>
                    <a:cxn ang="0">
                      <a:pos x="connsiteX2" y="connsiteY2"/>
                    </a:cxn>
                    <a:cxn ang="0">
                      <a:pos x="connsiteX3" y="connsiteY3"/>
                    </a:cxn>
                  </a:cxnLst>
                  <a:rect l="l" t="t" r="r" b="b"/>
                  <a:pathLst>
                    <a:path w="13950" h="50196">
                      <a:moveTo>
                        <a:pt x="0" y="50197"/>
                      </a:moveTo>
                      <a:cubicBezTo>
                        <a:pt x="4484" y="43097"/>
                        <a:pt x="6103" y="36994"/>
                        <a:pt x="6726" y="32634"/>
                      </a:cubicBezTo>
                      <a:cubicBezTo>
                        <a:pt x="7723" y="25659"/>
                        <a:pt x="6477" y="22171"/>
                        <a:pt x="7723" y="15196"/>
                      </a:cubicBezTo>
                      <a:cubicBezTo>
                        <a:pt x="8968" y="8345"/>
                        <a:pt x="11833" y="3239"/>
                        <a:pt x="139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7" name="Freeform 8499">
                  <a:extLst>
                    <a:ext uri="{FF2B5EF4-FFF2-40B4-BE49-F238E27FC236}">
                      <a16:creationId xmlns:a16="http://schemas.microsoft.com/office/drawing/2014/main" id="{68DE7A61-714F-62B4-9002-14EDCE334BAB}"/>
                    </a:ext>
                  </a:extLst>
                </p:cNvPr>
                <p:cNvSpPr/>
                <p:nvPr/>
              </p:nvSpPr>
              <p:spPr>
                <a:xfrm>
                  <a:off x="3311149" y="1611975"/>
                  <a:ext cx="12850" cy="50570"/>
                </a:xfrm>
                <a:custGeom>
                  <a:avLst/>
                  <a:gdLst>
                    <a:gd name="connsiteX0" fmla="*/ 12796 w 12850"/>
                    <a:gd name="connsiteY0" fmla="*/ 0 h 50570"/>
                    <a:gd name="connsiteX1" fmla="*/ 9932 w 12850"/>
                    <a:gd name="connsiteY1" fmla="*/ 18559 h 50570"/>
                    <a:gd name="connsiteX2" fmla="*/ 2209 w 12850"/>
                    <a:gd name="connsiteY2" fmla="*/ 34129 h 50570"/>
                    <a:gd name="connsiteX3" fmla="*/ 92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12796" y="0"/>
                      </a:moveTo>
                      <a:cubicBezTo>
                        <a:pt x="13170" y="8470"/>
                        <a:pt x="11551" y="14573"/>
                        <a:pt x="9932" y="18559"/>
                      </a:cubicBezTo>
                      <a:cubicBezTo>
                        <a:pt x="7440" y="25036"/>
                        <a:pt x="4576" y="27403"/>
                        <a:pt x="2209" y="34129"/>
                      </a:cubicBezTo>
                      <a:cubicBezTo>
                        <a:pt x="-33" y="40606"/>
                        <a:pt x="-157"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8" name="Freeform 8500">
                  <a:extLst>
                    <a:ext uri="{FF2B5EF4-FFF2-40B4-BE49-F238E27FC236}">
                      <a16:creationId xmlns:a16="http://schemas.microsoft.com/office/drawing/2014/main" id="{69E0268D-8C24-DCD5-7F6D-D187821B74EB}"/>
                    </a:ext>
                  </a:extLst>
                </p:cNvPr>
                <p:cNvSpPr/>
                <p:nvPr/>
              </p:nvSpPr>
              <p:spPr>
                <a:xfrm>
                  <a:off x="3300702" y="1652203"/>
                  <a:ext cx="26674" cy="26539"/>
                </a:xfrm>
                <a:custGeom>
                  <a:avLst/>
                  <a:gdLst>
                    <a:gd name="connsiteX0" fmla="*/ 449 w 26674"/>
                    <a:gd name="connsiteY0" fmla="*/ 9720 h 26539"/>
                    <a:gd name="connsiteX1" fmla="*/ 16766 w 26674"/>
                    <a:gd name="connsiteY1" fmla="*/ 503 h 26539"/>
                    <a:gd name="connsiteX2" fmla="*/ 26233 w 26674"/>
                    <a:gd name="connsiteY2" fmla="*/ 16820 h 26539"/>
                    <a:gd name="connsiteX3" fmla="*/ 9916 w 26674"/>
                    <a:gd name="connsiteY3" fmla="*/ 26037 h 26539"/>
                    <a:gd name="connsiteX4" fmla="*/ 449 w 26674"/>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38">
                      <a:moveTo>
                        <a:pt x="449" y="9720"/>
                      </a:moveTo>
                      <a:cubicBezTo>
                        <a:pt x="2318" y="2620"/>
                        <a:pt x="9667" y="-1490"/>
                        <a:pt x="16766" y="503"/>
                      </a:cubicBezTo>
                      <a:cubicBezTo>
                        <a:pt x="23866" y="2495"/>
                        <a:pt x="28101" y="9844"/>
                        <a:pt x="26233" y="16820"/>
                      </a:cubicBezTo>
                      <a:cubicBezTo>
                        <a:pt x="24365" y="23919"/>
                        <a:pt x="17140" y="28030"/>
                        <a:pt x="9916" y="26037"/>
                      </a:cubicBezTo>
                      <a:cubicBezTo>
                        <a:pt x="2691" y="24044"/>
                        <a:pt x="-1419" y="16695"/>
                        <a:pt x="44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9" name="Freeform 8501">
                  <a:extLst>
                    <a:ext uri="{FF2B5EF4-FFF2-40B4-BE49-F238E27FC236}">
                      <a16:creationId xmlns:a16="http://schemas.microsoft.com/office/drawing/2014/main" id="{12B4CF13-05CC-AE84-2D64-36A60550D403}"/>
                    </a:ext>
                  </a:extLst>
                </p:cNvPr>
                <p:cNvSpPr/>
                <p:nvPr/>
              </p:nvSpPr>
              <p:spPr>
                <a:xfrm>
                  <a:off x="3326063" y="1552935"/>
                  <a:ext cx="14075" cy="50196"/>
                </a:xfrm>
                <a:custGeom>
                  <a:avLst/>
                  <a:gdLst>
                    <a:gd name="connsiteX0" fmla="*/ 14075 w 14075"/>
                    <a:gd name="connsiteY0" fmla="*/ 0 h 50196"/>
                    <a:gd name="connsiteX1" fmla="*/ 7349 w 14075"/>
                    <a:gd name="connsiteY1" fmla="*/ 17563 h 50196"/>
                    <a:gd name="connsiteX2" fmla="*/ 6228 w 14075"/>
                    <a:gd name="connsiteY2" fmla="*/ 35001 h 50196"/>
                    <a:gd name="connsiteX3" fmla="*/ 0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0"/>
                      </a:moveTo>
                      <a:cubicBezTo>
                        <a:pt x="9591" y="7100"/>
                        <a:pt x="7972" y="13203"/>
                        <a:pt x="7349" y="17563"/>
                      </a:cubicBezTo>
                      <a:cubicBezTo>
                        <a:pt x="6353" y="24538"/>
                        <a:pt x="7598" y="28025"/>
                        <a:pt x="6228" y="35001"/>
                      </a:cubicBezTo>
                      <a:cubicBezTo>
                        <a:pt x="4982" y="41851"/>
                        <a:pt x="2118"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0" name="Freeform 8502">
                  <a:extLst>
                    <a:ext uri="{FF2B5EF4-FFF2-40B4-BE49-F238E27FC236}">
                      <a16:creationId xmlns:a16="http://schemas.microsoft.com/office/drawing/2014/main" id="{65F048DD-2B80-5834-47CA-5B437777E1B4}"/>
                    </a:ext>
                  </a:extLst>
                </p:cNvPr>
                <p:cNvSpPr/>
                <p:nvPr/>
              </p:nvSpPr>
              <p:spPr>
                <a:xfrm>
                  <a:off x="3335475" y="1549945"/>
                  <a:ext cx="12726" cy="50570"/>
                </a:xfrm>
                <a:custGeom>
                  <a:avLst/>
                  <a:gdLst>
                    <a:gd name="connsiteX0" fmla="*/ 54 w 12726"/>
                    <a:gd name="connsiteY0" fmla="*/ 50570 h 50570"/>
                    <a:gd name="connsiteX1" fmla="*/ 2919 w 12726"/>
                    <a:gd name="connsiteY1" fmla="*/ 32011 h 50570"/>
                    <a:gd name="connsiteX2" fmla="*/ 10517 w 12726"/>
                    <a:gd name="connsiteY2" fmla="*/ 16442 h 50570"/>
                    <a:gd name="connsiteX3" fmla="*/ 12634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54" y="50570"/>
                      </a:moveTo>
                      <a:cubicBezTo>
                        <a:pt x="-319" y="42101"/>
                        <a:pt x="1300" y="35997"/>
                        <a:pt x="2919" y="32011"/>
                      </a:cubicBezTo>
                      <a:cubicBezTo>
                        <a:pt x="5410" y="25534"/>
                        <a:pt x="8275" y="23168"/>
                        <a:pt x="10517" y="16442"/>
                      </a:cubicBezTo>
                      <a:cubicBezTo>
                        <a:pt x="12759" y="9965"/>
                        <a:pt x="12884" y="3986"/>
                        <a:pt x="126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1" name="Freeform 8503">
                  <a:extLst>
                    <a:ext uri="{FF2B5EF4-FFF2-40B4-BE49-F238E27FC236}">
                      <a16:creationId xmlns:a16="http://schemas.microsoft.com/office/drawing/2014/main" id="{CBB763DD-4128-C767-8E36-6ABA4C8A846D}"/>
                    </a:ext>
                  </a:extLst>
                </p:cNvPr>
                <p:cNvSpPr/>
                <p:nvPr/>
              </p:nvSpPr>
              <p:spPr>
                <a:xfrm>
                  <a:off x="3332223" y="1533801"/>
                  <a:ext cx="26293" cy="26558"/>
                </a:xfrm>
                <a:custGeom>
                  <a:avLst/>
                  <a:gdLst>
                    <a:gd name="connsiteX0" fmla="*/ 25852 w 26293"/>
                    <a:gd name="connsiteY0" fmla="*/ 16767 h 26558"/>
                    <a:gd name="connsiteX1" fmla="*/ 9784 w 26293"/>
                    <a:gd name="connsiteY1" fmla="*/ 26109 h 26558"/>
                    <a:gd name="connsiteX2" fmla="*/ 442 w 26293"/>
                    <a:gd name="connsiteY2" fmla="*/ 9792 h 26558"/>
                    <a:gd name="connsiteX3" fmla="*/ 16510 w 26293"/>
                    <a:gd name="connsiteY3" fmla="*/ 450 h 26558"/>
                    <a:gd name="connsiteX4" fmla="*/ 25852 w 26293"/>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58">
                      <a:moveTo>
                        <a:pt x="25852" y="16767"/>
                      </a:moveTo>
                      <a:cubicBezTo>
                        <a:pt x="23983" y="23867"/>
                        <a:pt x="16759" y="27977"/>
                        <a:pt x="9784" y="26109"/>
                      </a:cubicBezTo>
                      <a:cubicBezTo>
                        <a:pt x="2808" y="24241"/>
                        <a:pt x="-1426" y="16892"/>
                        <a:pt x="442" y="9792"/>
                      </a:cubicBezTo>
                      <a:cubicBezTo>
                        <a:pt x="2310" y="2692"/>
                        <a:pt x="9535" y="-1418"/>
                        <a:pt x="16510" y="450"/>
                      </a:cubicBezTo>
                      <a:cubicBezTo>
                        <a:pt x="23485" y="2318"/>
                        <a:pt x="27720" y="9667"/>
                        <a:pt x="25852"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2" name="Graphic 2987">
                <a:extLst>
                  <a:ext uri="{FF2B5EF4-FFF2-40B4-BE49-F238E27FC236}">
                    <a16:creationId xmlns:a16="http://schemas.microsoft.com/office/drawing/2014/main" id="{5DBA8088-820A-BEEE-38CA-83012888AE97}"/>
                  </a:ext>
                </a:extLst>
              </p:cNvPr>
              <p:cNvGrpSpPr/>
              <p:nvPr/>
            </p:nvGrpSpPr>
            <p:grpSpPr>
              <a:xfrm>
                <a:off x="3271937" y="1525954"/>
                <a:ext cx="58231" cy="144816"/>
                <a:chOff x="3271937" y="1525954"/>
                <a:chExt cx="58231" cy="144816"/>
              </a:xfrm>
              <a:grpFill/>
            </p:grpSpPr>
            <p:sp>
              <p:nvSpPr>
                <p:cNvPr id="5760" name="Freeform 8505">
                  <a:extLst>
                    <a:ext uri="{FF2B5EF4-FFF2-40B4-BE49-F238E27FC236}">
                      <a16:creationId xmlns:a16="http://schemas.microsoft.com/office/drawing/2014/main" id="{0D5D945D-063E-9EDF-FCC4-3B6E78D6FCB8}"/>
                    </a:ext>
                  </a:extLst>
                </p:cNvPr>
                <p:cNvSpPr/>
                <p:nvPr/>
              </p:nvSpPr>
              <p:spPr>
                <a:xfrm>
                  <a:off x="3290689" y="1601387"/>
                  <a:ext cx="14199" cy="50196"/>
                </a:xfrm>
                <a:custGeom>
                  <a:avLst/>
                  <a:gdLst>
                    <a:gd name="connsiteX0" fmla="*/ 0 w 14199"/>
                    <a:gd name="connsiteY0" fmla="*/ 50197 h 50196"/>
                    <a:gd name="connsiteX1" fmla="*/ 6726 w 14199"/>
                    <a:gd name="connsiteY1" fmla="*/ 32634 h 50196"/>
                    <a:gd name="connsiteX2" fmla="*/ 7847 w 14199"/>
                    <a:gd name="connsiteY2" fmla="*/ 15196 h 50196"/>
                    <a:gd name="connsiteX3" fmla="*/ 14199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994"/>
                        <a:pt x="6726" y="32634"/>
                      </a:cubicBezTo>
                      <a:cubicBezTo>
                        <a:pt x="7723" y="25659"/>
                        <a:pt x="6477" y="22171"/>
                        <a:pt x="7847" y="15196"/>
                      </a:cubicBezTo>
                      <a:cubicBezTo>
                        <a:pt x="9217" y="8470"/>
                        <a:pt x="11957" y="3239"/>
                        <a:pt x="14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1" name="Freeform 8506">
                  <a:extLst>
                    <a:ext uri="{FF2B5EF4-FFF2-40B4-BE49-F238E27FC236}">
                      <a16:creationId xmlns:a16="http://schemas.microsoft.com/office/drawing/2014/main" id="{FD343C51-12AD-B861-2072-9E2DCB730A23}"/>
                    </a:ext>
                  </a:extLst>
                </p:cNvPr>
                <p:cNvSpPr/>
                <p:nvPr/>
              </p:nvSpPr>
              <p:spPr>
                <a:xfrm>
                  <a:off x="3282501" y="1604003"/>
                  <a:ext cx="12946" cy="50570"/>
                </a:xfrm>
                <a:custGeom>
                  <a:avLst/>
                  <a:gdLst>
                    <a:gd name="connsiteX0" fmla="*/ 12921 w 12946"/>
                    <a:gd name="connsiteY0" fmla="*/ 0 h 50570"/>
                    <a:gd name="connsiteX1" fmla="*/ 9931 w 12946"/>
                    <a:gd name="connsiteY1" fmla="*/ 18559 h 50570"/>
                    <a:gd name="connsiteX2" fmla="*/ 2209 w 12946"/>
                    <a:gd name="connsiteY2" fmla="*/ 34129 h 50570"/>
                    <a:gd name="connsiteX3" fmla="*/ 92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12921" y="0"/>
                      </a:moveTo>
                      <a:cubicBezTo>
                        <a:pt x="13170" y="8470"/>
                        <a:pt x="11551" y="14573"/>
                        <a:pt x="9931" y="18559"/>
                      </a:cubicBezTo>
                      <a:cubicBezTo>
                        <a:pt x="7316" y="25036"/>
                        <a:pt x="4576" y="27403"/>
                        <a:pt x="2209" y="34129"/>
                      </a:cubicBezTo>
                      <a:cubicBezTo>
                        <a:pt x="-33" y="40606"/>
                        <a:pt x="-158"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2" name="Freeform 8507">
                  <a:extLst>
                    <a:ext uri="{FF2B5EF4-FFF2-40B4-BE49-F238E27FC236}">
                      <a16:creationId xmlns:a16="http://schemas.microsoft.com/office/drawing/2014/main" id="{77A7AEB2-2409-87A6-1B9C-AF8EB04C3299}"/>
                    </a:ext>
                  </a:extLst>
                </p:cNvPr>
                <p:cNvSpPr/>
                <p:nvPr/>
              </p:nvSpPr>
              <p:spPr>
                <a:xfrm>
                  <a:off x="3271937" y="1644231"/>
                  <a:ext cx="26666" cy="26539"/>
                </a:xfrm>
                <a:custGeom>
                  <a:avLst/>
                  <a:gdLst>
                    <a:gd name="connsiteX0" fmla="*/ 441 w 26666"/>
                    <a:gd name="connsiteY0" fmla="*/ 9720 h 26539"/>
                    <a:gd name="connsiteX1" fmla="*/ 16758 w 26666"/>
                    <a:gd name="connsiteY1" fmla="*/ 503 h 26539"/>
                    <a:gd name="connsiteX2" fmla="*/ 26225 w 26666"/>
                    <a:gd name="connsiteY2" fmla="*/ 16820 h 26539"/>
                    <a:gd name="connsiteX3" fmla="*/ 9908 w 26666"/>
                    <a:gd name="connsiteY3" fmla="*/ 26037 h 26539"/>
                    <a:gd name="connsiteX4" fmla="*/ 441 w 2666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38">
                      <a:moveTo>
                        <a:pt x="441" y="9720"/>
                      </a:moveTo>
                      <a:cubicBezTo>
                        <a:pt x="2310" y="2620"/>
                        <a:pt x="9658" y="-1490"/>
                        <a:pt x="16758" y="503"/>
                      </a:cubicBezTo>
                      <a:cubicBezTo>
                        <a:pt x="23858" y="2495"/>
                        <a:pt x="28093" y="9844"/>
                        <a:pt x="26225" y="16820"/>
                      </a:cubicBezTo>
                      <a:cubicBezTo>
                        <a:pt x="24357" y="23919"/>
                        <a:pt x="17007" y="28030"/>
                        <a:pt x="9908" y="26037"/>
                      </a:cubicBezTo>
                      <a:cubicBezTo>
                        <a:pt x="2808" y="24044"/>
                        <a:pt x="-1427" y="16695"/>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3" name="Freeform 8508">
                  <a:extLst>
                    <a:ext uri="{FF2B5EF4-FFF2-40B4-BE49-F238E27FC236}">
                      <a16:creationId xmlns:a16="http://schemas.microsoft.com/office/drawing/2014/main" id="{C8021AF8-A29B-A030-D49F-B7B485E54EED}"/>
                    </a:ext>
                  </a:extLst>
                </p:cNvPr>
                <p:cNvSpPr/>
                <p:nvPr/>
              </p:nvSpPr>
              <p:spPr>
                <a:xfrm>
                  <a:off x="3297539" y="1545087"/>
                  <a:ext cx="14199" cy="50196"/>
                </a:xfrm>
                <a:custGeom>
                  <a:avLst/>
                  <a:gdLst>
                    <a:gd name="connsiteX0" fmla="*/ 14200 w 14199"/>
                    <a:gd name="connsiteY0" fmla="*/ 0 h 50196"/>
                    <a:gd name="connsiteX1" fmla="*/ 7474 w 14199"/>
                    <a:gd name="connsiteY1" fmla="*/ 17563 h 50196"/>
                    <a:gd name="connsiteX2" fmla="*/ 6353 w 14199"/>
                    <a:gd name="connsiteY2" fmla="*/ 35001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5" y="7100"/>
                        <a:pt x="8097" y="13203"/>
                        <a:pt x="7474" y="17563"/>
                      </a:cubicBezTo>
                      <a:cubicBezTo>
                        <a:pt x="6353" y="24538"/>
                        <a:pt x="7723" y="28025"/>
                        <a:pt x="6353" y="35001"/>
                      </a:cubicBezTo>
                      <a:cubicBezTo>
                        <a:pt x="4983" y="41727"/>
                        <a:pt x="2242"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4" name="Freeform 8509">
                  <a:extLst>
                    <a:ext uri="{FF2B5EF4-FFF2-40B4-BE49-F238E27FC236}">
                      <a16:creationId xmlns:a16="http://schemas.microsoft.com/office/drawing/2014/main" id="{294BFFAB-1AD8-F4CF-CE37-B509921F36D1}"/>
                    </a:ext>
                  </a:extLst>
                </p:cNvPr>
                <p:cNvSpPr/>
                <p:nvPr/>
              </p:nvSpPr>
              <p:spPr>
                <a:xfrm>
                  <a:off x="3306856" y="1542223"/>
                  <a:ext cx="12946" cy="50445"/>
                </a:xfrm>
                <a:custGeom>
                  <a:avLst/>
                  <a:gdLst>
                    <a:gd name="connsiteX0" fmla="*/ 25 w 12946"/>
                    <a:gd name="connsiteY0" fmla="*/ 50446 h 50445"/>
                    <a:gd name="connsiteX1" fmla="*/ 3015 w 12946"/>
                    <a:gd name="connsiteY1" fmla="*/ 31887 h 50445"/>
                    <a:gd name="connsiteX2" fmla="*/ 10738 w 12946"/>
                    <a:gd name="connsiteY2" fmla="*/ 16317 h 50445"/>
                    <a:gd name="connsiteX3" fmla="*/ 12855 w 12946"/>
                    <a:gd name="connsiteY3" fmla="*/ 0 h 50445"/>
                  </a:gdLst>
                  <a:ahLst/>
                  <a:cxnLst>
                    <a:cxn ang="0">
                      <a:pos x="connsiteX0" y="connsiteY0"/>
                    </a:cxn>
                    <a:cxn ang="0">
                      <a:pos x="connsiteX1" y="connsiteY1"/>
                    </a:cxn>
                    <a:cxn ang="0">
                      <a:pos x="connsiteX2" y="connsiteY2"/>
                    </a:cxn>
                    <a:cxn ang="0">
                      <a:pos x="connsiteX3" y="connsiteY3"/>
                    </a:cxn>
                  </a:cxnLst>
                  <a:rect l="l" t="t" r="r" b="b"/>
                  <a:pathLst>
                    <a:path w="12945" h="50445">
                      <a:moveTo>
                        <a:pt x="25" y="50446"/>
                      </a:moveTo>
                      <a:cubicBezTo>
                        <a:pt x="-224" y="41976"/>
                        <a:pt x="1396" y="35873"/>
                        <a:pt x="3015" y="31887"/>
                      </a:cubicBezTo>
                      <a:cubicBezTo>
                        <a:pt x="5506" y="25410"/>
                        <a:pt x="8371" y="23043"/>
                        <a:pt x="10738" y="16317"/>
                      </a:cubicBezTo>
                      <a:cubicBezTo>
                        <a:pt x="12980" y="9840"/>
                        <a:pt x="13104" y="3861"/>
                        <a:pt x="128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5" name="Freeform 8510">
                  <a:extLst>
                    <a:ext uri="{FF2B5EF4-FFF2-40B4-BE49-F238E27FC236}">
                      <a16:creationId xmlns:a16="http://schemas.microsoft.com/office/drawing/2014/main" id="{F6621C1C-2A13-6147-8C91-69DE1EF92983}"/>
                    </a:ext>
                  </a:extLst>
                </p:cNvPr>
                <p:cNvSpPr/>
                <p:nvPr/>
              </p:nvSpPr>
              <p:spPr>
                <a:xfrm>
                  <a:off x="3303897" y="1525954"/>
                  <a:ext cx="26272" cy="26558"/>
                </a:xfrm>
                <a:custGeom>
                  <a:avLst/>
                  <a:gdLst>
                    <a:gd name="connsiteX0" fmla="*/ 25779 w 26272"/>
                    <a:gd name="connsiteY0" fmla="*/ 16767 h 26558"/>
                    <a:gd name="connsiteX1" fmla="*/ 9711 w 26272"/>
                    <a:gd name="connsiteY1" fmla="*/ 26109 h 26558"/>
                    <a:gd name="connsiteX2" fmla="*/ 494 w 26272"/>
                    <a:gd name="connsiteY2" fmla="*/ 9792 h 26558"/>
                    <a:gd name="connsiteX3" fmla="*/ 16561 w 26272"/>
                    <a:gd name="connsiteY3" fmla="*/ 450 h 26558"/>
                    <a:gd name="connsiteX4" fmla="*/ 25779 w 26272"/>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558">
                      <a:moveTo>
                        <a:pt x="25779" y="16767"/>
                      </a:moveTo>
                      <a:cubicBezTo>
                        <a:pt x="23911" y="23867"/>
                        <a:pt x="16686" y="27977"/>
                        <a:pt x="9711" y="26109"/>
                      </a:cubicBezTo>
                      <a:cubicBezTo>
                        <a:pt x="2736" y="24116"/>
                        <a:pt x="-1499" y="16892"/>
                        <a:pt x="494" y="9792"/>
                      </a:cubicBezTo>
                      <a:cubicBezTo>
                        <a:pt x="2362" y="2692"/>
                        <a:pt x="9586" y="-1418"/>
                        <a:pt x="16561" y="450"/>
                      </a:cubicBezTo>
                      <a:cubicBezTo>
                        <a:pt x="23537" y="2318"/>
                        <a:pt x="27772" y="9792"/>
                        <a:pt x="25779"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3" name="Graphic 2987">
                <a:extLst>
                  <a:ext uri="{FF2B5EF4-FFF2-40B4-BE49-F238E27FC236}">
                    <a16:creationId xmlns:a16="http://schemas.microsoft.com/office/drawing/2014/main" id="{A9592EF3-D41E-4CFD-647D-F6D06C047A90}"/>
                  </a:ext>
                </a:extLst>
              </p:cNvPr>
              <p:cNvGrpSpPr/>
              <p:nvPr/>
            </p:nvGrpSpPr>
            <p:grpSpPr>
              <a:xfrm>
                <a:off x="3243114" y="1518107"/>
                <a:ext cx="58737" cy="144692"/>
                <a:chOff x="3243114" y="1518107"/>
                <a:chExt cx="58737" cy="144692"/>
              </a:xfrm>
              <a:grpFill/>
            </p:grpSpPr>
            <p:sp>
              <p:nvSpPr>
                <p:cNvPr id="5754" name="Freeform 8512">
                  <a:extLst>
                    <a:ext uri="{FF2B5EF4-FFF2-40B4-BE49-F238E27FC236}">
                      <a16:creationId xmlns:a16="http://schemas.microsoft.com/office/drawing/2014/main" id="{C14FA404-269E-DC6E-DF36-A278E4C25FC1}"/>
                    </a:ext>
                  </a:extLst>
                </p:cNvPr>
                <p:cNvSpPr/>
                <p:nvPr/>
              </p:nvSpPr>
              <p:spPr>
                <a:xfrm>
                  <a:off x="3261916" y="1593416"/>
                  <a:ext cx="14324" cy="50196"/>
                </a:xfrm>
                <a:custGeom>
                  <a:avLst/>
                  <a:gdLst>
                    <a:gd name="connsiteX0" fmla="*/ 0 w 14324"/>
                    <a:gd name="connsiteY0" fmla="*/ 50197 h 50196"/>
                    <a:gd name="connsiteX1" fmla="*/ 6851 w 14324"/>
                    <a:gd name="connsiteY1" fmla="*/ 32634 h 50196"/>
                    <a:gd name="connsiteX2" fmla="*/ 7971 w 14324"/>
                    <a:gd name="connsiteY2" fmla="*/ 15196 h 50196"/>
                    <a:gd name="connsiteX3" fmla="*/ 14324 w 14324"/>
                    <a:gd name="connsiteY3" fmla="*/ 0 h 50196"/>
                  </a:gdLst>
                  <a:ahLst/>
                  <a:cxnLst>
                    <a:cxn ang="0">
                      <a:pos x="connsiteX0" y="connsiteY0"/>
                    </a:cxn>
                    <a:cxn ang="0">
                      <a:pos x="connsiteX1" y="connsiteY1"/>
                    </a:cxn>
                    <a:cxn ang="0">
                      <a:pos x="connsiteX2" y="connsiteY2"/>
                    </a:cxn>
                    <a:cxn ang="0">
                      <a:pos x="connsiteX3" y="connsiteY3"/>
                    </a:cxn>
                  </a:cxnLst>
                  <a:rect l="l" t="t" r="r" b="b"/>
                  <a:pathLst>
                    <a:path w="14324" h="50196">
                      <a:moveTo>
                        <a:pt x="0" y="50197"/>
                      </a:moveTo>
                      <a:cubicBezTo>
                        <a:pt x="4484" y="43097"/>
                        <a:pt x="6103" y="36994"/>
                        <a:pt x="6851" y="32634"/>
                      </a:cubicBezTo>
                      <a:cubicBezTo>
                        <a:pt x="7971" y="25659"/>
                        <a:pt x="6602" y="22171"/>
                        <a:pt x="7971" y="15196"/>
                      </a:cubicBezTo>
                      <a:cubicBezTo>
                        <a:pt x="9342" y="8470"/>
                        <a:pt x="12206" y="3239"/>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5" name="Freeform 8513">
                  <a:extLst>
                    <a:ext uri="{FF2B5EF4-FFF2-40B4-BE49-F238E27FC236}">
                      <a16:creationId xmlns:a16="http://schemas.microsoft.com/office/drawing/2014/main" id="{8D5F387C-0D93-7506-DBE1-579BD18855DC}"/>
                    </a:ext>
                  </a:extLst>
                </p:cNvPr>
                <p:cNvSpPr/>
                <p:nvPr/>
              </p:nvSpPr>
              <p:spPr>
                <a:xfrm>
                  <a:off x="3253617" y="1596156"/>
                  <a:ext cx="13181" cy="50445"/>
                </a:xfrm>
                <a:custGeom>
                  <a:avLst/>
                  <a:gdLst>
                    <a:gd name="connsiteX0" fmla="*/ 13156 w 13181"/>
                    <a:gd name="connsiteY0" fmla="*/ 0 h 50445"/>
                    <a:gd name="connsiteX1" fmla="*/ 10167 w 13181"/>
                    <a:gd name="connsiteY1" fmla="*/ 18559 h 50445"/>
                    <a:gd name="connsiteX2" fmla="*/ 2320 w 13181"/>
                    <a:gd name="connsiteY2" fmla="*/ 34129 h 50445"/>
                    <a:gd name="connsiteX3" fmla="*/ 78 w 1318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0"/>
                      </a:moveTo>
                      <a:cubicBezTo>
                        <a:pt x="13406" y="8470"/>
                        <a:pt x="11786" y="14573"/>
                        <a:pt x="10167" y="18559"/>
                      </a:cubicBezTo>
                      <a:cubicBezTo>
                        <a:pt x="7551" y="25036"/>
                        <a:pt x="4686" y="27403"/>
                        <a:pt x="2320" y="34129"/>
                      </a:cubicBezTo>
                      <a:cubicBezTo>
                        <a:pt x="78" y="40606"/>
                        <a:pt x="-171" y="46585"/>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6" name="Freeform 8514">
                  <a:extLst>
                    <a:ext uri="{FF2B5EF4-FFF2-40B4-BE49-F238E27FC236}">
                      <a16:creationId xmlns:a16="http://schemas.microsoft.com/office/drawing/2014/main" id="{5FD8F3E7-7CA8-F55C-1CFD-2AB88284B7A6}"/>
                    </a:ext>
                  </a:extLst>
                </p:cNvPr>
                <p:cNvSpPr/>
                <p:nvPr/>
              </p:nvSpPr>
              <p:spPr>
                <a:xfrm>
                  <a:off x="3243114" y="1636259"/>
                  <a:ext cx="26841" cy="26539"/>
                </a:xfrm>
                <a:custGeom>
                  <a:avLst/>
                  <a:gdLst>
                    <a:gd name="connsiteX0" fmla="*/ 492 w 26841"/>
                    <a:gd name="connsiteY0" fmla="*/ 9720 h 26539"/>
                    <a:gd name="connsiteX1" fmla="*/ 16934 w 26841"/>
                    <a:gd name="connsiteY1" fmla="*/ 503 h 26539"/>
                    <a:gd name="connsiteX2" fmla="*/ 26400 w 26841"/>
                    <a:gd name="connsiteY2" fmla="*/ 16820 h 26539"/>
                    <a:gd name="connsiteX3" fmla="*/ 9959 w 26841"/>
                    <a:gd name="connsiteY3" fmla="*/ 26037 h 26539"/>
                    <a:gd name="connsiteX4" fmla="*/ 492 w 2684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38">
                      <a:moveTo>
                        <a:pt x="492" y="9720"/>
                      </a:moveTo>
                      <a:cubicBezTo>
                        <a:pt x="2485" y="2620"/>
                        <a:pt x="9710" y="-1490"/>
                        <a:pt x="16934" y="503"/>
                      </a:cubicBezTo>
                      <a:cubicBezTo>
                        <a:pt x="24034" y="2495"/>
                        <a:pt x="28269" y="9844"/>
                        <a:pt x="26400" y="16820"/>
                      </a:cubicBezTo>
                      <a:cubicBezTo>
                        <a:pt x="24532" y="23919"/>
                        <a:pt x="17183" y="28030"/>
                        <a:pt x="9959" y="26037"/>
                      </a:cubicBezTo>
                      <a:cubicBezTo>
                        <a:pt x="2734" y="24044"/>
                        <a:pt x="-1500" y="16695"/>
                        <a:pt x="492"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7" name="Freeform 8515">
                  <a:extLst>
                    <a:ext uri="{FF2B5EF4-FFF2-40B4-BE49-F238E27FC236}">
                      <a16:creationId xmlns:a16="http://schemas.microsoft.com/office/drawing/2014/main" id="{75A6D9CF-D83A-8FAD-C1D5-4E9798B590B2}"/>
                    </a:ext>
                  </a:extLst>
                </p:cNvPr>
                <p:cNvSpPr/>
                <p:nvPr/>
              </p:nvSpPr>
              <p:spPr>
                <a:xfrm>
                  <a:off x="3268891" y="1537240"/>
                  <a:ext cx="14448" cy="50196"/>
                </a:xfrm>
                <a:custGeom>
                  <a:avLst/>
                  <a:gdLst>
                    <a:gd name="connsiteX0" fmla="*/ 14449 w 14448"/>
                    <a:gd name="connsiteY0" fmla="*/ 0 h 50196"/>
                    <a:gd name="connsiteX1" fmla="*/ 7598 w 14448"/>
                    <a:gd name="connsiteY1" fmla="*/ 17563 h 50196"/>
                    <a:gd name="connsiteX2" fmla="*/ 6353 w 14448"/>
                    <a:gd name="connsiteY2" fmla="*/ 35001 h 50196"/>
                    <a:gd name="connsiteX3" fmla="*/ 0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14449" y="0"/>
                      </a:moveTo>
                      <a:cubicBezTo>
                        <a:pt x="9964" y="7100"/>
                        <a:pt x="8345" y="13203"/>
                        <a:pt x="7598" y="17563"/>
                      </a:cubicBezTo>
                      <a:cubicBezTo>
                        <a:pt x="6477" y="24538"/>
                        <a:pt x="7723" y="28025"/>
                        <a:pt x="6353" y="35001"/>
                      </a:cubicBezTo>
                      <a:cubicBezTo>
                        <a:pt x="4982" y="41727"/>
                        <a:pt x="2117"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8" name="Freeform 8516">
                  <a:extLst>
                    <a:ext uri="{FF2B5EF4-FFF2-40B4-BE49-F238E27FC236}">
                      <a16:creationId xmlns:a16="http://schemas.microsoft.com/office/drawing/2014/main" id="{40F9BF8B-3948-B7B4-14E7-5F53B768421B}"/>
                    </a:ext>
                  </a:extLst>
                </p:cNvPr>
                <p:cNvSpPr/>
                <p:nvPr/>
              </p:nvSpPr>
              <p:spPr>
                <a:xfrm>
                  <a:off x="3278332" y="1534375"/>
                  <a:ext cx="13057" cy="50445"/>
                </a:xfrm>
                <a:custGeom>
                  <a:avLst/>
                  <a:gdLst>
                    <a:gd name="connsiteX0" fmla="*/ 26 w 13057"/>
                    <a:gd name="connsiteY0" fmla="*/ 50446 h 50445"/>
                    <a:gd name="connsiteX1" fmla="*/ 3015 w 13057"/>
                    <a:gd name="connsiteY1" fmla="*/ 31887 h 50445"/>
                    <a:gd name="connsiteX2" fmla="*/ 10737 w 13057"/>
                    <a:gd name="connsiteY2" fmla="*/ 16317 h 50445"/>
                    <a:gd name="connsiteX3" fmla="*/ 12979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26" y="50446"/>
                      </a:moveTo>
                      <a:cubicBezTo>
                        <a:pt x="-224" y="41976"/>
                        <a:pt x="1395" y="35873"/>
                        <a:pt x="3015" y="31887"/>
                      </a:cubicBezTo>
                      <a:cubicBezTo>
                        <a:pt x="5630" y="25410"/>
                        <a:pt x="8495" y="23043"/>
                        <a:pt x="10737" y="16317"/>
                      </a:cubicBezTo>
                      <a:cubicBezTo>
                        <a:pt x="12979" y="9840"/>
                        <a:pt x="13229" y="3861"/>
                        <a:pt x="12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9" name="Freeform 8517">
                  <a:extLst>
                    <a:ext uri="{FF2B5EF4-FFF2-40B4-BE49-F238E27FC236}">
                      <a16:creationId xmlns:a16="http://schemas.microsoft.com/office/drawing/2014/main" id="{9F2F5A19-274A-EC4C-4C31-A1ED1A6EC111}"/>
                    </a:ext>
                  </a:extLst>
                </p:cNvPr>
                <p:cNvSpPr/>
                <p:nvPr/>
              </p:nvSpPr>
              <p:spPr>
                <a:xfrm>
                  <a:off x="3275540" y="1518107"/>
                  <a:ext cx="26310" cy="26558"/>
                </a:xfrm>
                <a:custGeom>
                  <a:avLst/>
                  <a:gdLst>
                    <a:gd name="connsiteX0" fmla="*/ 25860 w 26310"/>
                    <a:gd name="connsiteY0" fmla="*/ 16767 h 26558"/>
                    <a:gd name="connsiteX1" fmla="*/ 9668 w 26310"/>
                    <a:gd name="connsiteY1" fmla="*/ 26109 h 26558"/>
                    <a:gd name="connsiteX2" fmla="*/ 451 w 26310"/>
                    <a:gd name="connsiteY2" fmla="*/ 9792 h 26558"/>
                    <a:gd name="connsiteX3" fmla="*/ 16643 w 26310"/>
                    <a:gd name="connsiteY3" fmla="*/ 450 h 26558"/>
                    <a:gd name="connsiteX4" fmla="*/ 25860 w 26310"/>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8">
                      <a:moveTo>
                        <a:pt x="25860" y="16767"/>
                      </a:moveTo>
                      <a:cubicBezTo>
                        <a:pt x="23992" y="23867"/>
                        <a:pt x="16768" y="27977"/>
                        <a:pt x="9668" y="26109"/>
                      </a:cubicBezTo>
                      <a:cubicBezTo>
                        <a:pt x="2693" y="24116"/>
                        <a:pt x="-1418" y="16892"/>
                        <a:pt x="451" y="9792"/>
                      </a:cubicBezTo>
                      <a:cubicBezTo>
                        <a:pt x="2444" y="2692"/>
                        <a:pt x="9668" y="-1418"/>
                        <a:pt x="16643" y="450"/>
                      </a:cubicBezTo>
                      <a:cubicBezTo>
                        <a:pt x="23618" y="2443"/>
                        <a:pt x="27729" y="9792"/>
                        <a:pt x="25860"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4" name="Graphic 2987">
                <a:extLst>
                  <a:ext uri="{FF2B5EF4-FFF2-40B4-BE49-F238E27FC236}">
                    <a16:creationId xmlns:a16="http://schemas.microsoft.com/office/drawing/2014/main" id="{E81A55C0-1D16-27A2-4D08-D3C3F83BC4FA}"/>
                  </a:ext>
                </a:extLst>
              </p:cNvPr>
              <p:cNvGrpSpPr/>
              <p:nvPr/>
            </p:nvGrpSpPr>
            <p:grpSpPr>
              <a:xfrm>
                <a:off x="3214259" y="1510332"/>
                <a:ext cx="59246" cy="144495"/>
                <a:chOff x="3214259" y="1510332"/>
                <a:chExt cx="59246" cy="144495"/>
              </a:xfrm>
              <a:grpFill/>
            </p:grpSpPr>
            <p:sp>
              <p:nvSpPr>
                <p:cNvPr id="5748" name="Freeform 8519">
                  <a:extLst>
                    <a:ext uri="{FF2B5EF4-FFF2-40B4-BE49-F238E27FC236}">
                      <a16:creationId xmlns:a16="http://schemas.microsoft.com/office/drawing/2014/main" id="{543A4198-2602-18BB-6F52-298A9A615247}"/>
                    </a:ext>
                  </a:extLst>
                </p:cNvPr>
                <p:cNvSpPr/>
                <p:nvPr/>
              </p:nvSpPr>
              <p:spPr>
                <a:xfrm>
                  <a:off x="3233019" y="1585693"/>
                  <a:ext cx="14573" cy="50072"/>
                </a:xfrm>
                <a:custGeom>
                  <a:avLst/>
                  <a:gdLst>
                    <a:gd name="connsiteX0" fmla="*/ 0 w 14573"/>
                    <a:gd name="connsiteY0" fmla="*/ 50072 h 50072"/>
                    <a:gd name="connsiteX1" fmla="*/ 6851 w 14573"/>
                    <a:gd name="connsiteY1" fmla="*/ 32634 h 50072"/>
                    <a:gd name="connsiteX2" fmla="*/ 8096 w 14573"/>
                    <a:gd name="connsiteY2" fmla="*/ 15196 h 50072"/>
                    <a:gd name="connsiteX3" fmla="*/ 14573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0" y="50072"/>
                      </a:moveTo>
                      <a:cubicBezTo>
                        <a:pt x="4609" y="42972"/>
                        <a:pt x="6228" y="36869"/>
                        <a:pt x="6851" y="32634"/>
                      </a:cubicBezTo>
                      <a:cubicBezTo>
                        <a:pt x="7972" y="25659"/>
                        <a:pt x="6726" y="22171"/>
                        <a:pt x="8096" y="15196"/>
                      </a:cubicBezTo>
                      <a:cubicBezTo>
                        <a:pt x="9467" y="8470"/>
                        <a:pt x="12331" y="3239"/>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9" name="Freeform 8520">
                  <a:extLst>
                    <a:ext uri="{FF2B5EF4-FFF2-40B4-BE49-F238E27FC236}">
                      <a16:creationId xmlns:a16="http://schemas.microsoft.com/office/drawing/2014/main" id="{4954B214-256F-0CA4-A92A-AF1BC42DB3D2}"/>
                    </a:ext>
                  </a:extLst>
                </p:cNvPr>
                <p:cNvSpPr/>
                <p:nvPr/>
              </p:nvSpPr>
              <p:spPr>
                <a:xfrm>
                  <a:off x="3224832" y="1588184"/>
                  <a:ext cx="13317" cy="50445"/>
                </a:xfrm>
                <a:custGeom>
                  <a:avLst/>
                  <a:gdLst>
                    <a:gd name="connsiteX0" fmla="*/ 13293 w 13317"/>
                    <a:gd name="connsiteY0" fmla="*/ 0 h 50445"/>
                    <a:gd name="connsiteX1" fmla="*/ 10179 w 13317"/>
                    <a:gd name="connsiteY1" fmla="*/ 18559 h 50445"/>
                    <a:gd name="connsiteX2" fmla="*/ 2332 w 13317"/>
                    <a:gd name="connsiteY2" fmla="*/ 34129 h 50445"/>
                    <a:gd name="connsiteX3" fmla="*/ 90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0"/>
                      </a:moveTo>
                      <a:cubicBezTo>
                        <a:pt x="13542" y="8470"/>
                        <a:pt x="11799" y="14573"/>
                        <a:pt x="10179" y="18559"/>
                      </a:cubicBezTo>
                      <a:cubicBezTo>
                        <a:pt x="7564" y="25036"/>
                        <a:pt x="4699" y="27403"/>
                        <a:pt x="2332" y="34129"/>
                      </a:cubicBezTo>
                      <a:cubicBezTo>
                        <a:pt x="-34" y="40606"/>
                        <a:pt x="-159" y="46585"/>
                        <a:pt x="9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0" name="Freeform 8521">
                  <a:extLst>
                    <a:ext uri="{FF2B5EF4-FFF2-40B4-BE49-F238E27FC236}">
                      <a16:creationId xmlns:a16="http://schemas.microsoft.com/office/drawing/2014/main" id="{EDE5E968-55C2-AB1B-F4BF-E18CD676F35D}"/>
                    </a:ext>
                  </a:extLst>
                </p:cNvPr>
                <p:cNvSpPr/>
                <p:nvPr/>
              </p:nvSpPr>
              <p:spPr>
                <a:xfrm>
                  <a:off x="3214259" y="1628288"/>
                  <a:ext cx="26726" cy="26539"/>
                </a:xfrm>
                <a:custGeom>
                  <a:avLst/>
                  <a:gdLst>
                    <a:gd name="connsiteX0" fmla="*/ 450 w 26726"/>
                    <a:gd name="connsiteY0" fmla="*/ 9720 h 26539"/>
                    <a:gd name="connsiteX1" fmla="*/ 16892 w 26726"/>
                    <a:gd name="connsiteY1" fmla="*/ 503 h 26539"/>
                    <a:gd name="connsiteX2" fmla="*/ 26234 w 26726"/>
                    <a:gd name="connsiteY2" fmla="*/ 16820 h 26539"/>
                    <a:gd name="connsiteX3" fmla="*/ 9792 w 26726"/>
                    <a:gd name="connsiteY3" fmla="*/ 26037 h 26539"/>
                    <a:gd name="connsiteX4" fmla="*/ 450 w 2672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38">
                      <a:moveTo>
                        <a:pt x="450" y="9720"/>
                      </a:moveTo>
                      <a:cubicBezTo>
                        <a:pt x="2443" y="2620"/>
                        <a:pt x="9792" y="-1490"/>
                        <a:pt x="16892" y="503"/>
                      </a:cubicBezTo>
                      <a:cubicBezTo>
                        <a:pt x="23992" y="2495"/>
                        <a:pt x="28227" y="9720"/>
                        <a:pt x="26234" y="16820"/>
                      </a:cubicBezTo>
                      <a:cubicBezTo>
                        <a:pt x="24241" y="23919"/>
                        <a:pt x="16892" y="28030"/>
                        <a:pt x="9792" y="26037"/>
                      </a:cubicBezTo>
                      <a:cubicBezTo>
                        <a:pt x="2692" y="24044"/>
                        <a:pt x="-1418" y="16820"/>
                        <a:pt x="450"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1" name="Freeform 8522">
                  <a:extLst>
                    <a:ext uri="{FF2B5EF4-FFF2-40B4-BE49-F238E27FC236}">
                      <a16:creationId xmlns:a16="http://schemas.microsoft.com/office/drawing/2014/main" id="{06760354-3140-AA11-87D4-6D5690F3C423}"/>
                    </a:ext>
                  </a:extLst>
                </p:cNvPr>
                <p:cNvSpPr/>
                <p:nvPr/>
              </p:nvSpPr>
              <p:spPr>
                <a:xfrm>
                  <a:off x="3240367" y="1529393"/>
                  <a:ext cx="14573" cy="49947"/>
                </a:xfrm>
                <a:custGeom>
                  <a:avLst/>
                  <a:gdLst>
                    <a:gd name="connsiteX0" fmla="*/ 14573 w 14573"/>
                    <a:gd name="connsiteY0" fmla="*/ 0 h 49947"/>
                    <a:gd name="connsiteX1" fmla="*/ 7723 w 14573"/>
                    <a:gd name="connsiteY1" fmla="*/ 17438 h 49947"/>
                    <a:gd name="connsiteX2" fmla="*/ 6477 w 14573"/>
                    <a:gd name="connsiteY2" fmla="*/ 34752 h 49947"/>
                    <a:gd name="connsiteX3" fmla="*/ 0 w 14573"/>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573" h="49947">
                      <a:moveTo>
                        <a:pt x="14573" y="0"/>
                      </a:moveTo>
                      <a:cubicBezTo>
                        <a:pt x="10089" y="7100"/>
                        <a:pt x="8346" y="13203"/>
                        <a:pt x="7723" y="17438"/>
                      </a:cubicBezTo>
                      <a:cubicBezTo>
                        <a:pt x="6602" y="24289"/>
                        <a:pt x="7847" y="27901"/>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2" name="Freeform 8523">
                  <a:extLst>
                    <a:ext uri="{FF2B5EF4-FFF2-40B4-BE49-F238E27FC236}">
                      <a16:creationId xmlns:a16="http://schemas.microsoft.com/office/drawing/2014/main" id="{0441DCAB-5D51-6A0F-6083-DE94318DF5E0}"/>
                    </a:ext>
                  </a:extLst>
                </p:cNvPr>
                <p:cNvSpPr/>
                <p:nvPr/>
              </p:nvSpPr>
              <p:spPr>
                <a:xfrm>
                  <a:off x="3249810" y="1526404"/>
                  <a:ext cx="13317" cy="50445"/>
                </a:xfrm>
                <a:custGeom>
                  <a:avLst/>
                  <a:gdLst>
                    <a:gd name="connsiteX0" fmla="*/ 24 w 13317"/>
                    <a:gd name="connsiteY0" fmla="*/ 50446 h 50445"/>
                    <a:gd name="connsiteX1" fmla="*/ 3138 w 13317"/>
                    <a:gd name="connsiteY1" fmla="*/ 31887 h 50445"/>
                    <a:gd name="connsiteX2" fmla="*/ 10985 w 13317"/>
                    <a:gd name="connsiteY2" fmla="*/ 16317 h 50445"/>
                    <a:gd name="connsiteX3" fmla="*/ 13227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24" y="50446"/>
                      </a:moveTo>
                      <a:cubicBezTo>
                        <a:pt x="-225" y="41976"/>
                        <a:pt x="1519" y="35873"/>
                        <a:pt x="3138" y="31887"/>
                      </a:cubicBezTo>
                      <a:cubicBezTo>
                        <a:pt x="5753" y="25410"/>
                        <a:pt x="8618" y="23043"/>
                        <a:pt x="10985" y="16317"/>
                      </a:cubicBezTo>
                      <a:cubicBezTo>
                        <a:pt x="13352" y="9840"/>
                        <a:pt x="13476" y="3861"/>
                        <a:pt x="132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3" name="Freeform 8524">
                  <a:extLst>
                    <a:ext uri="{FF2B5EF4-FFF2-40B4-BE49-F238E27FC236}">
                      <a16:creationId xmlns:a16="http://schemas.microsoft.com/office/drawing/2014/main" id="{A9AA43F4-5FB5-6DFD-4FA3-99941CD4355A}"/>
                    </a:ext>
                  </a:extLst>
                </p:cNvPr>
                <p:cNvSpPr/>
                <p:nvPr/>
              </p:nvSpPr>
              <p:spPr>
                <a:xfrm>
                  <a:off x="3247213" y="1510332"/>
                  <a:ext cx="26291" cy="26539"/>
                </a:xfrm>
                <a:custGeom>
                  <a:avLst/>
                  <a:gdLst>
                    <a:gd name="connsiteX0" fmla="*/ 25788 w 26291"/>
                    <a:gd name="connsiteY0" fmla="*/ 16820 h 26539"/>
                    <a:gd name="connsiteX1" fmla="*/ 9596 w 26291"/>
                    <a:gd name="connsiteY1" fmla="*/ 26037 h 26539"/>
                    <a:gd name="connsiteX2" fmla="*/ 503 w 26291"/>
                    <a:gd name="connsiteY2" fmla="*/ 9720 h 26539"/>
                    <a:gd name="connsiteX3" fmla="*/ 16696 w 26291"/>
                    <a:gd name="connsiteY3" fmla="*/ 503 h 26539"/>
                    <a:gd name="connsiteX4" fmla="*/ 25788 w 2629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8">
                      <a:moveTo>
                        <a:pt x="25788" y="16820"/>
                      </a:moveTo>
                      <a:cubicBezTo>
                        <a:pt x="23795" y="23919"/>
                        <a:pt x="16571" y="28030"/>
                        <a:pt x="9596" y="26037"/>
                      </a:cubicBezTo>
                      <a:cubicBezTo>
                        <a:pt x="2621" y="24044"/>
                        <a:pt x="-1490" y="16820"/>
                        <a:pt x="503" y="9720"/>
                      </a:cubicBezTo>
                      <a:cubicBezTo>
                        <a:pt x="2496" y="2620"/>
                        <a:pt x="9721" y="-1490"/>
                        <a:pt x="16696" y="503"/>
                      </a:cubicBezTo>
                      <a:cubicBezTo>
                        <a:pt x="23671" y="2371"/>
                        <a:pt x="27781" y="9720"/>
                        <a:pt x="25788"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5" name="Graphic 2987">
                <a:extLst>
                  <a:ext uri="{FF2B5EF4-FFF2-40B4-BE49-F238E27FC236}">
                    <a16:creationId xmlns:a16="http://schemas.microsoft.com/office/drawing/2014/main" id="{A31784D1-C29E-3462-431C-71AA8C62079E}"/>
                  </a:ext>
                </a:extLst>
              </p:cNvPr>
              <p:cNvGrpSpPr/>
              <p:nvPr/>
            </p:nvGrpSpPr>
            <p:grpSpPr>
              <a:xfrm>
                <a:off x="3185443" y="1502484"/>
                <a:ext cx="59662" cy="144370"/>
                <a:chOff x="3185443" y="1502484"/>
                <a:chExt cx="59662" cy="144370"/>
              </a:xfrm>
              <a:grpFill/>
            </p:grpSpPr>
            <p:sp>
              <p:nvSpPr>
                <p:cNvPr id="5742" name="Freeform 8526">
                  <a:extLst>
                    <a:ext uri="{FF2B5EF4-FFF2-40B4-BE49-F238E27FC236}">
                      <a16:creationId xmlns:a16="http://schemas.microsoft.com/office/drawing/2014/main" id="{2F11E11B-DDB5-7DD2-C6BE-9BA59049D074}"/>
                    </a:ext>
                  </a:extLst>
                </p:cNvPr>
                <p:cNvSpPr/>
                <p:nvPr/>
              </p:nvSpPr>
              <p:spPr>
                <a:xfrm>
                  <a:off x="3204246" y="1577846"/>
                  <a:ext cx="14697" cy="49947"/>
                </a:xfrm>
                <a:custGeom>
                  <a:avLst/>
                  <a:gdLst>
                    <a:gd name="connsiteX0" fmla="*/ 0 w 14697"/>
                    <a:gd name="connsiteY0" fmla="*/ 49948 h 49947"/>
                    <a:gd name="connsiteX1" fmla="*/ 6975 w 14697"/>
                    <a:gd name="connsiteY1" fmla="*/ 32510 h 49947"/>
                    <a:gd name="connsiteX2" fmla="*/ 8221 w 14697"/>
                    <a:gd name="connsiteY2" fmla="*/ 15196 h 49947"/>
                    <a:gd name="connsiteX3" fmla="*/ 14698 w 14697"/>
                    <a:gd name="connsiteY3" fmla="*/ 0 h 49947"/>
                  </a:gdLst>
                  <a:ahLst/>
                  <a:cxnLst>
                    <a:cxn ang="0">
                      <a:pos x="connsiteX0" y="connsiteY0"/>
                    </a:cxn>
                    <a:cxn ang="0">
                      <a:pos x="connsiteX1" y="connsiteY1"/>
                    </a:cxn>
                    <a:cxn ang="0">
                      <a:pos x="connsiteX2" y="connsiteY2"/>
                    </a:cxn>
                    <a:cxn ang="0">
                      <a:pos x="connsiteX3" y="connsiteY3"/>
                    </a:cxn>
                  </a:cxnLst>
                  <a:rect l="l" t="t" r="r" b="b"/>
                  <a:pathLst>
                    <a:path w="14697" h="49947">
                      <a:moveTo>
                        <a:pt x="0" y="49948"/>
                      </a:moveTo>
                      <a:cubicBezTo>
                        <a:pt x="4609" y="42848"/>
                        <a:pt x="6228" y="36745"/>
                        <a:pt x="6975" y="32510"/>
                      </a:cubicBezTo>
                      <a:cubicBezTo>
                        <a:pt x="8096" y="25659"/>
                        <a:pt x="6851" y="22047"/>
                        <a:pt x="8221" y="15196"/>
                      </a:cubicBezTo>
                      <a:cubicBezTo>
                        <a:pt x="9591" y="8470"/>
                        <a:pt x="12456" y="3239"/>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3" name="Freeform 8527">
                  <a:extLst>
                    <a:ext uri="{FF2B5EF4-FFF2-40B4-BE49-F238E27FC236}">
                      <a16:creationId xmlns:a16="http://schemas.microsoft.com/office/drawing/2014/main" id="{A0455DA3-61FB-9CC3-0372-6861D6A49D26}"/>
                    </a:ext>
                  </a:extLst>
                </p:cNvPr>
                <p:cNvSpPr/>
                <p:nvPr/>
              </p:nvSpPr>
              <p:spPr>
                <a:xfrm>
                  <a:off x="3196117" y="1580337"/>
                  <a:ext cx="13508" cy="50445"/>
                </a:xfrm>
                <a:custGeom>
                  <a:avLst/>
                  <a:gdLst>
                    <a:gd name="connsiteX0" fmla="*/ 13485 w 13508"/>
                    <a:gd name="connsiteY0" fmla="*/ 0 h 50445"/>
                    <a:gd name="connsiteX1" fmla="*/ 10371 w 13508"/>
                    <a:gd name="connsiteY1" fmla="*/ 18559 h 50445"/>
                    <a:gd name="connsiteX2" fmla="*/ 2399 w 13508"/>
                    <a:gd name="connsiteY2" fmla="*/ 34129 h 50445"/>
                    <a:gd name="connsiteX3" fmla="*/ 33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0"/>
                      </a:moveTo>
                      <a:cubicBezTo>
                        <a:pt x="13734" y="8345"/>
                        <a:pt x="11990" y="14449"/>
                        <a:pt x="10371" y="18559"/>
                      </a:cubicBezTo>
                      <a:cubicBezTo>
                        <a:pt x="7755" y="25036"/>
                        <a:pt x="4890" y="27403"/>
                        <a:pt x="2399" y="34129"/>
                      </a:cubicBezTo>
                      <a:cubicBezTo>
                        <a:pt x="33" y="40606"/>
                        <a:pt x="-92" y="46460"/>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4" name="Freeform 8528">
                  <a:extLst>
                    <a:ext uri="{FF2B5EF4-FFF2-40B4-BE49-F238E27FC236}">
                      <a16:creationId xmlns:a16="http://schemas.microsoft.com/office/drawing/2014/main" id="{823FFCD8-9FFE-1E1C-C82E-8A9A17078C56}"/>
                    </a:ext>
                  </a:extLst>
                </p:cNvPr>
                <p:cNvSpPr/>
                <p:nvPr/>
              </p:nvSpPr>
              <p:spPr>
                <a:xfrm>
                  <a:off x="3185443" y="1620316"/>
                  <a:ext cx="26769" cy="26539"/>
                </a:xfrm>
                <a:custGeom>
                  <a:avLst/>
                  <a:gdLst>
                    <a:gd name="connsiteX0" fmla="*/ 493 w 26769"/>
                    <a:gd name="connsiteY0" fmla="*/ 9720 h 26539"/>
                    <a:gd name="connsiteX1" fmla="*/ 16935 w 26769"/>
                    <a:gd name="connsiteY1" fmla="*/ 503 h 26539"/>
                    <a:gd name="connsiteX2" fmla="*/ 26277 w 26769"/>
                    <a:gd name="connsiteY2" fmla="*/ 16820 h 26539"/>
                    <a:gd name="connsiteX3" fmla="*/ 9835 w 26769"/>
                    <a:gd name="connsiteY3" fmla="*/ 26037 h 26539"/>
                    <a:gd name="connsiteX4" fmla="*/ 493 w 26769"/>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538">
                      <a:moveTo>
                        <a:pt x="493" y="9720"/>
                      </a:moveTo>
                      <a:cubicBezTo>
                        <a:pt x="2486" y="2620"/>
                        <a:pt x="9835" y="-1490"/>
                        <a:pt x="16935" y="503"/>
                      </a:cubicBezTo>
                      <a:cubicBezTo>
                        <a:pt x="24035" y="2496"/>
                        <a:pt x="28270" y="9720"/>
                        <a:pt x="26277" y="16820"/>
                      </a:cubicBezTo>
                      <a:cubicBezTo>
                        <a:pt x="24284" y="23919"/>
                        <a:pt x="16935" y="28030"/>
                        <a:pt x="9835" y="26037"/>
                      </a:cubicBezTo>
                      <a:cubicBezTo>
                        <a:pt x="2735" y="24044"/>
                        <a:pt x="-1500" y="16820"/>
                        <a:pt x="49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5" name="Freeform 8529">
                  <a:extLst>
                    <a:ext uri="{FF2B5EF4-FFF2-40B4-BE49-F238E27FC236}">
                      <a16:creationId xmlns:a16="http://schemas.microsoft.com/office/drawing/2014/main" id="{78E83E4E-8775-6453-E014-B8F70CC801B7}"/>
                    </a:ext>
                  </a:extLst>
                </p:cNvPr>
                <p:cNvSpPr/>
                <p:nvPr/>
              </p:nvSpPr>
              <p:spPr>
                <a:xfrm>
                  <a:off x="3211719" y="1521546"/>
                  <a:ext cx="14822" cy="49947"/>
                </a:xfrm>
                <a:custGeom>
                  <a:avLst/>
                  <a:gdLst>
                    <a:gd name="connsiteX0" fmla="*/ 14822 w 14822"/>
                    <a:gd name="connsiteY0" fmla="*/ 0 h 49947"/>
                    <a:gd name="connsiteX1" fmla="*/ 7847 w 14822"/>
                    <a:gd name="connsiteY1" fmla="*/ 17438 h 49947"/>
                    <a:gd name="connsiteX2" fmla="*/ 6477 w 14822"/>
                    <a:gd name="connsiteY2" fmla="*/ 34752 h 49947"/>
                    <a:gd name="connsiteX3" fmla="*/ 0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0"/>
                      </a:moveTo>
                      <a:cubicBezTo>
                        <a:pt x="10214" y="7100"/>
                        <a:pt x="8595" y="13203"/>
                        <a:pt x="7847" y="17438"/>
                      </a:cubicBezTo>
                      <a:cubicBezTo>
                        <a:pt x="6726" y="24289"/>
                        <a:pt x="7971" y="27776"/>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6" name="Freeform 8530">
                  <a:extLst>
                    <a:ext uri="{FF2B5EF4-FFF2-40B4-BE49-F238E27FC236}">
                      <a16:creationId xmlns:a16="http://schemas.microsoft.com/office/drawing/2014/main" id="{7371F145-BA2C-E782-34F7-AA61EE270C41}"/>
                    </a:ext>
                  </a:extLst>
                </p:cNvPr>
                <p:cNvSpPr/>
                <p:nvPr/>
              </p:nvSpPr>
              <p:spPr>
                <a:xfrm>
                  <a:off x="3221286" y="151855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2101"/>
                        <a:pt x="1519" y="35997"/>
                        <a:pt x="3138" y="31887"/>
                      </a:cubicBezTo>
                      <a:cubicBezTo>
                        <a:pt x="5753" y="25410"/>
                        <a:pt x="8618" y="23043"/>
                        <a:pt x="10985" y="16317"/>
                      </a:cubicBezTo>
                      <a:cubicBezTo>
                        <a:pt x="13352" y="9840"/>
                        <a:pt x="13476" y="3986"/>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7" name="Freeform 8531">
                  <a:extLst>
                    <a:ext uri="{FF2B5EF4-FFF2-40B4-BE49-F238E27FC236}">
                      <a16:creationId xmlns:a16="http://schemas.microsoft.com/office/drawing/2014/main" id="{B8869538-456D-D9D0-2909-488B56774312}"/>
                    </a:ext>
                  </a:extLst>
                </p:cNvPr>
                <p:cNvSpPr/>
                <p:nvPr/>
              </p:nvSpPr>
              <p:spPr>
                <a:xfrm>
                  <a:off x="3218690" y="1502484"/>
                  <a:ext cx="26415" cy="26539"/>
                </a:xfrm>
                <a:custGeom>
                  <a:avLst/>
                  <a:gdLst>
                    <a:gd name="connsiteX0" fmla="*/ 25913 w 26415"/>
                    <a:gd name="connsiteY0" fmla="*/ 16820 h 26539"/>
                    <a:gd name="connsiteX1" fmla="*/ 9596 w 26415"/>
                    <a:gd name="connsiteY1" fmla="*/ 26037 h 26539"/>
                    <a:gd name="connsiteX2" fmla="*/ 503 w 26415"/>
                    <a:gd name="connsiteY2" fmla="*/ 9720 h 26539"/>
                    <a:gd name="connsiteX3" fmla="*/ 16820 w 26415"/>
                    <a:gd name="connsiteY3" fmla="*/ 503 h 26539"/>
                    <a:gd name="connsiteX4" fmla="*/ 25913 w 2641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16820"/>
                      </a:moveTo>
                      <a:cubicBezTo>
                        <a:pt x="23920" y="23919"/>
                        <a:pt x="16696" y="28030"/>
                        <a:pt x="9596" y="26037"/>
                      </a:cubicBezTo>
                      <a:cubicBezTo>
                        <a:pt x="2620" y="24044"/>
                        <a:pt x="-1490" y="16820"/>
                        <a:pt x="503" y="9720"/>
                      </a:cubicBezTo>
                      <a:cubicBezTo>
                        <a:pt x="2496" y="2620"/>
                        <a:pt x="9845" y="-1490"/>
                        <a:pt x="16820" y="503"/>
                      </a:cubicBezTo>
                      <a:cubicBezTo>
                        <a:pt x="23795" y="2495"/>
                        <a:pt x="27906" y="9720"/>
                        <a:pt x="259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6" name="Graphic 2987">
                <a:extLst>
                  <a:ext uri="{FF2B5EF4-FFF2-40B4-BE49-F238E27FC236}">
                    <a16:creationId xmlns:a16="http://schemas.microsoft.com/office/drawing/2014/main" id="{99C33B60-5A06-13D7-812D-103E77210E0B}"/>
                  </a:ext>
                </a:extLst>
              </p:cNvPr>
              <p:cNvGrpSpPr/>
              <p:nvPr/>
            </p:nvGrpSpPr>
            <p:grpSpPr>
              <a:xfrm>
                <a:off x="3156660" y="1494771"/>
                <a:ext cx="60170" cy="144112"/>
                <a:chOff x="3156660" y="1494771"/>
                <a:chExt cx="60170" cy="144112"/>
              </a:xfrm>
              <a:grpFill/>
            </p:grpSpPr>
            <p:sp>
              <p:nvSpPr>
                <p:cNvPr id="5736" name="Freeform 8533">
                  <a:extLst>
                    <a:ext uri="{FF2B5EF4-FFF2-40B4-BE49-F238E27FC236}">
                      <a16:creationId xmlns:a16="http://schemas.microsoft.com/office/drawing/2014/main" id="{A787164D-1757-C98B-490A-69A78DCC1404}"/>
                    </a:ext>
                  </a:extLst>
                </p:cNvPr>
                <p:cNvSpPr/>
                <p:nvPr/>
              </p:nvSpPr>
              <p:spPr>
                <a:xfrm>
                  <a:off x="3175473" y="1569874"/>
                  <a:ext cx="14947" cy="49947"/>
                </a:xfrm>
                <a:custGeom>
                  <a:avLst/>
                  <a:gdLst>
                    <a:gd name="connsiteX0" fmla="*/ 0 w 14947"/>
                    <a:gd name="connsiteY0" fmla="*/ 49948 h 49947"/>
                    <a:gd name="connsiteX1" fmla="*/ 6975 w 14947"/>
                    <a:gd name="connsiteY1" fmla="*/ 32510 h 49947"/>
                    <a:gd name="connsiteX2" fmla="*/ 8345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2" y="36745"/>
                        <a:pt x="6975" y="32510"/>
                      </a:cubicBezTo>
                      <a:cubicBezTo>
                        <a:pt x="8096" y="25659"/>
                        <a:pt x="6851" y="22171"/>
                        <a:pt x="8345" y="15196"/>
                      </a:cubicBezTo>
                      <a:cubicBezTo>
                        <a:pt x="9715"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7" name="Freeform 8534">
                  <a:extLst>
                    <a:ext uri="{FF2B5EF4-FFF2-40B4-BE49-F238E27FC236}">
                      <a16:creationId xmlns:a16="http://schemas.microsoft.com/office/drawing/2014/main" id="{2D09E1FF-3944-4332-4638-5E1E2FAD7AEF}"/>
                    </a:ext>
                  </a:extLst>
                </p:cNvPr>
                <p:cNvSpPr/>
                <p:nvPr/>
              </p:nvSpPr>
              <p:spPr>
                <a:xfrm>
                  <a:off x="3167300" y="1572366"/>
                  <a:ext cx="13660" cy="50445"/>
                </a:xfrm>
                <a:custGeom>
                  <a:avLst/>
                  <a:gdLst>
                    <a:gd name="connsiteX0" fmla="*/ 13654 w 13660"/>
                    <a:gd name="connsiteY0" fmla="*/ 0 h 50445"/>
                    <a:gd name="connsiteX1" fmla="*/ 10415 w 13660"/>
                    <a:gd name="connsiteY1" fmla="*/ 18559 h 50445"/>
                    <a:gd name="connsiteX2" fmla="*/ 2444 w 13660"/>
                    <a:gd name="connsiteY2" fmla="*/ 34129 h 50445"/>
                    <a:gd name="connsiteX3" fmla="*/ 77 w 13660"/>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660" h="50445">
                      <a:moveTo>
                        <a:pt x="13654" y="0"/>
                      </a:moveTo>
                      <a:cubicBezTo>
                        <a:pt x="13778" y="8345"/>
                        <a:pt x="12035" y="14449"/>
                        <a:pt x="10415" y="18559"/>
                      </a:cubicBezTo>
                      <a:cubicBezTo>
                        <a:pt x="7800" y="25036"/>
                        <a:pt x="4810" y="27403"/>
                        <a:pt x="2444" y="34129"/>
                      </a:cubicBezTo>
                      <a:cubicBezTo>
                        <a:pt x="77" y="40606"/>
                        <a:pt x="-172" y="46460"/>
                        <a:pt x="7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8" name="Freeform 8535">
                  <a:extLst>
                    <a:ext uri="{FF2B5EF4-FFF2-40B4-BE49-F238E27FC236}">
                      <a16:creationId xmlns:a16="http://schemas.microsoft.com/office/drawing/2014/main" id="{62284613-0AA9-5F46-85BF-0120EEB0C9B6}"/>
                    </a:ext>
                  </a:extLst>
                </p:cNvPr>
                <p:cNvSpPr/>
                <p:nvPr/>
              </p:nvSpPr>
              <p:spPr>
                <a:xfrm>
                  <a:off x="3156660" y="1612396"/>
                  <a:ext cx="26788" cy="26487"/>
                </a:xfrm>
                <a:custGeom>
                  <a:avLst/>
                  <a:gdLst>
                    <a:gd name="connsiteX0" fmla="*/ 503 w 26788"/>
                    <a:gd name="connsiteY0" fmla="*/ 9668 h 26487"/>
                    <a:gd name="connsiteX1" fmla="*/ 17069 w 26788"/>
                    <a:gd name="connsiteY1" fmla="*/ 451 h 26487"/>
                    <a:gd name="connsiteX2" fmla="*/ 26286 w 26788"/>
                    <a:gd name="connsiteY2" fmla="*/ 16768 h 26487"/>
                    <a:gd name="connsiteX3" fmla="*/ 9720 w 26788"/>
                    <a:gd name="connsiteY3" fmla="*/ 25985 h 26487"/>
                    <a:gd name="connsiteX4" fmla="*/ 503 w 26788"/>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87">
                      <a:moveTo>
                        <a:pt x="503" y="9668"/>
                      </a:moveTo>
                      <a:cubicBezTo>
                        <a:pt x="2496" y="2693"/>
                        <a:pt x="9969" y="-1418"/>
                        <a:pt x="17069" y="451"/>
                      </a:cubicBezTo>
                      <a:cubicBezTo>
                        <a:pt x="24168" y="2443"/>
                        <a:pt x="28279" y="9668"/>
                        <a:pt x="26286" y="16768"/>
                      </a:cubicBezTo>
                      <a:cubicBezTo>
                        <a:pt x="24293" y="23867"/>
                        <a:pt x="16944" y="27978"/>
                        <a:pt x="9720" y="25985"/>
                      </a:cubicBezTo>
                      <a:cubicBezTo>
                        <a:pt x="2620" y="23992"/>
                        <a:pt x="-1490" y="16768"/>
                        <a:pt x="503"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9" name="Freeform 8536">
                  <a:extLst>
                    <a:ext uri="{FF2B5EF4-FFF2-40B4-BE49-F238E27FC236}">
                      <a16:creationId xmlns:a16="http://schemas.microsoft.com/office/drawing/2014/main" id="{F0351746-A0A7-E9D1-D539-64BD1DBDE1FC}"/>
                    </a:ext>
                  </a:extLst>
                </p:cNvPr>
                <p:cNvSpPr/>
                <p:nvPr/>
              </p:nvSpPr>
              <p:spPr>
                <a:xfrm>
                  <a:off x="3183195" y="1513823"/>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7972" y="27776"/>
                        <a:pt x="6602" y="34752"/>
                      </a:cubicBezTo>
                      <a:cubicBezTo>
                        <a:pt x="5231"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0" name="Freeform 8537">
                  <a:extLst>
                    <a:ext uri="{FF2B5EF4-FFF2-40B4-BE49-F238E27FC236}">
                      <a16:creationId xmlns:a16="http://schemas.microsoft.com/office/drawing/2014/main" id="{9286D337-9EC0-EFF4-F0AC-D731B33DE6D4}"/>
                    </a:ext>
                  </a:extLst>
                </p:cNvPr>
                <p:cNvSpPr/>
                <p:nvPr/>
              </p:nvSpPr>
              <p:spPr>
                <a:xfrm>
                  <a:off x="3192639" y="1510710"/>
                  <a:ext cx="13676" cy="50445"/>
                </a:xfrm>
                <a:custGeom>
                  <a:avLst/>
                  <a:gdLst>
                    <a:gd name="connsiteX0" fmla="*/ 23 w 13676"/>
                    <a:gd name="connsiteY0" fmla="*/ 50446 h 50445"/>
                    <a:gd name="connsiteX1" fmla="*/ 3261 w 13676"/>
                    <a:gd name="connsiteY1" fmla="*/ 31887 h 50445"/>
                    <a:gd name="connsiteX2" fmla="*/ 11233 w 13676"/>
                    <a:gd name="connsiteY2" fmla="*/ 16317 h 50445"/>
                    <a:gd name="connsiteX3" fmla="*/ 13599 w 13676"/>
                    <a:gd name="connsiteY3" fmla="*/ 0 h 50445"/>
                  </a:gdLst>
                  <a:ahLst/>
                  <a:cxnLst>
                    <a:cxn ang="0">
                      <a:pos x="connsiteX0" y="connsiteY0"/>
                    </a:cxn>
                    <a:cxn ang="0">
                      <a:pos x="connsiteX1" y="connsiteY1"/>
                    </a:cxn>
                    <a:cxn ang="0">
                      <a:pos x="connsiteX2" y="connsiteY2"/>
                    </a:cxn>
                    <a:cxn ang="0">
                      <a:pos x="connsiteX3" y="connsiteY3"/>
                    </a:cxn>
                  </a:cxnLst>
                  <a:rect l="l" t="t" r="r" b="b"/>
                  <a:pathLst>
                    <a:path w="13676" h="50445">
                      <a:moveTo>
                        <a:pt x="23" y="50446"/>
                      </a:moveTo>
                      <a:cubicBezTo>
                        <a:pt x="-227" y="42100"/>
                        <a:pt x="1642" y="35997"/>
                        <a:pt x="3261" y="31887"/>
                      </a:cubicBezTo>
                      <a:cubicBezTo>
                        <a:pt x="5877" y="25410"/>
                        <a:pt x="8741" y="23043"/>
                        <a:pt x="11233" y="16317"/>
                      </a:cubicBezTo>
                      <a:cubicBezTo>
                        <a:pt x="13599" y="9840"/>
                        <a:pt x="13848" y="3986"/>
                        <a:pt x="135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1" name="Freeform 8538">
                  <a:extLst>
                    <a:ext uri="{FF2B5EF4-FFF2-40B4-BE49-F238E27FC236}">
                      <a16:creationId xmlns:a16="http://schemas.microsoft.com/office/drawing/2014/main" id="{B8399014-A637-F8C6-1C78-F67EEAB488D4}"/>
                    </a:ext>
                  </a:extLst>
                </p:cNvPr>
                <p:cNvSpPr/>
                <p:nvPr/>
              </p:nvSpPr>
              <p:spPr>
                <a:xfrm>
                  <a:off x="3190415" y="1494771"/>
                  <a:ext cx="26416" cy="26405"/>
                </a:xfrm>
                <a:custGeom>
                  <a:avLst/>
                  <a:gdLst>
                    <a:gd name="connsiteX0" fmla="*/ 25913 w 26416"/>
                    <a:gd name="connsiteY0" fmla="*/ 16686 h 26405"/>
                    <a:gd name="connsiteX1" fmla="*/ 9596 w 26416"/>
                    <a:gd name="connsiteY1" fmla="*/ 25903 h 26405"/>
                    <a:gd name="connsiteX2" fmla="*/ 503 w 26416"/>
                    <a:gd name="connsiteY2" fmla="*/ 9711 h 26405"/>
                    <a:gd name="connsiteX3" fmla="*/ 16820 w 26416"/>
                    <a:gd name="connsiteY3" fmla="*/ 494 h 26405"/>
                    <a:gd name="connsiteX4" fmla="*/ 25913 w 26416"/>
                    <a:gd name="connsiteY4" fmla="*/ 1668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05">
                      <a:moveTo>
                        <a:pt x="25913" y="16686"/>
                      </a:moveTo>
                      <a:cubicBezTo>
                        <a:pt x="23920" y="23786"/>
                        <a:pt x="16571" y="27896"/>
                        <a:pt x="9596" y="25903"/>
                      </a:cubicBezTo>
                      <a:cubicBezTo>
                        <a:pt x="2621" y="23910"/>
                        <a:pt x="-1490" y="16686"/>
                        <a:pt x="503" y="9711"/>
                      </a:cubicBezTo>
                      <a:cubicBezTo>
                        <a:pt x="2496" y="2736"/>
                        <a:pt x="9845" y="-1499"/>
                        <a:pt x="16820" y="494"/>
                      </a:cubicBezTo>
                      <a:cubicBezTo>
                        <a:pt x="23795" y="2362"/>
                        <a:pt x="27906" y="9586"/>
                        <a:pt x="2591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7" name="Graphic 2987">
                <a:extLst>
                  <a:ext uri="{FF2B5EF4-FFF2-40B4-BE49-F238E27FC236}">
                    <a16:creationId xmlns:a16="http://schemas.microsoft.com/office/drawing/2014/main" id="{327F55EA-E2C7-0D33-2145-30E63A076F22}"/>
                  </a:ext>
                </a:extLst>
              </p:cNvPr>
              <p:cNvGrpSpPr/>
              <p:nvPr/>
            </p:nvGrpSpPr>
            <p:grpSpPr>
              <a:xfrm>
                <a:off x="3127763" y="1486924"/>
                <a:ext cx="60678" cy="143936"/>
                <a:chOff x="3127763" y="1486924"/>
                <a:chExt cx="60678" cy="143936"/>
              </a:xfrm>
              <a:grpFill/>
            </p:grpSpPr>
            <p:sp>
              <p:nvSpPr>
                <p:cNvPr id="5730" name="Freeform 8540">
                  <a:extLst>
                    <a:ext uri="{FF2B5EF4-FFF2-40B4-BE49-F238E27FC236}">
                      <a16:creationId xmlns:a16="http://schemas.microsoft.com/office/drawing/2014/main" id="{46E4F751-27A4-80E8-52CB-0318F0E20213}"/>
                    </a:ext>
                  </a:extLst>
                </p:cNvPr>
                <p:cNvSpPr/>
                <p:nvPr/>
              </p:nvSpPr>
              <p:spPr>
                <a:xfrm>
                  <a:off x="3146700" y="1561903"/>
                  <a:ext cx="15071" cy="49947"/>
                </a:xfrm>
                <a:custGeom>
                  <a:avLst/>
                  <a:gdLst>
                    <a:gd name="connsiteX0" fmla="*/ 0 w 15071"/>
                    <a:gd name="connsiteY0" fmla="*/ 49948 h 49947"/>
                    <a:gd name="connsiteX1" fmla="*/ 7100 w 15071"/>
                    <a:gd name="connsiteY1" fmla="*/ 32510 h 49947"/>
                    <a:gd name="connsiteX2" fmla="*/ 8470 w 15071"/>
                    <a:gd name="connsiteY2" fmla="*/ 15196 h 49947"/>
                    <a:gd name="connsiteX3" fmla="*/ 15071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0" y="49948"/>
                      </a:moveTo>
                      <a:cubicBezTo>
                        <a:pt x="4609" y="42848"/>
                        <a:pt x="6352" y="36745"/>
                        <a:pt x="7100" y="32510"/>
                      </a:cubicBezTo>
                      <a:cubicBezTo>
                        <a:pt x="8221" y="25659"/>
                        <a:pt x="7100" y="22171"/>
                        <a:pt x="8470" y="15196"/>
                      </a:cubicBezTo>
                      <a:cubicBezTo>
                        <a:pt x="9964" y="8470"/>
                        <a:pt x="12829" y="3363"/>
                        <a:pt x="150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1" name="Freeform 8541">
                  <a:extLst>
                    <a:ext uri="{FF2B5EF4-FFF2-40B4-BE49-F238E27FC236}">
                      <a16:creationId xmlns:a16="http://schemas.microsoft.com/office/drawing/2014/main" id="{AC32612F-1B68-B426-BA25-A0224636E2B9}"/>
                    </a:ext>
                  </a:extLst>
                </p:cNvPr>
                <p:cNvSpPr/>
                <p:nvPr/>
              </p:nvSpPr>
              <p:spPr>
                <a:xfrm>
                  <a:off x="3138454" y="1564518"/>
                  <a:ext cx="13857" cy="50196"/>
                </a:xfrm>
                <a:custGeom>
                  <a:avLst/>
                  <a:gdLst>
                    <a:gd name="connsiteX0" fmla="*/ 13852 w 13857"/>
                    <a:gd name="connsiteY0" fmla="*/ 0 h 50196"/>
                    <a:gd name="connsiteX1" fmla="*/ 10613 w 13857"/>
                    <a:gd name="connsiteY1" fmla="*/ 18435 h 50196"/>
                    <a:gd name="connsiteX2" fmla="*/ 2517 w 13857"/>
                    <a:gd name="connsiteY2" fmla="*/ 33880 h 50196"/>
                    <a:gd name="connsiteX3" fmla="*/ 26 w 13857"/>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57" h="50196">
                      <a:moveTo>
                        <a:pt x="13852" y="0"/>
                      </a:moveTo>
                      <a:cubicBezTo>
                        <a:pt x="13976" y="8345"/>
                        <a:pt x="12232" y="14449"/>
                        <a:pt x="10613" y="18435"/>
                      </a:cubicBezTo>
                      <a:cubicBezTo>
                        <a:pt x="7873" y="24912"/>
                        <a:pt x="5008" y="27278"/>
                        <a:pt x="2517"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2" name="Freeform 8542">
                  <a:extLst>
                    <a:ext uri="{FF2B5EF4-FFF2-40B4-BE49-F238E27FC236}">
                      <a16:creationId xmlns:a16="http://schemas.microsoft.com/office/drawing/2014/main" id="{0660BE72-36E8-8F59-E7AC-6967E1456C85}"/>
                    </a:ext>
                  </a:extLst>
                </p:cNvPr>
                <p:cNvSpPr/>
                <p:nvPr/>
              </p:nvSpPr>
              <p:spPr>
                <a:xfrm>
                  <a:off x="3127763" y="1604425"/>
                  <a:ext cx="26788" cy="26435"/>
                </a:xfrm>
                <a:custGeom>
                  <a:avLst/>
                  <a:gdLst>
                    <a:gd name="connsiteX0" fmla="*/ 502 w 26788"/>
                    <a:gd name="connsiteY0" fmla="*/ 9668 h 26435"/>
                    <a:gd name="connsiteX1" fmla="*/ 17069 w 26788"/>
                    <a:gd name="connsiteY1" fmla="*/ 451 h 26435"/>
                    <a:gd name="connsiteX2" fmla="*/ 26286 w 26788"/>
                    <a:gd name="connsiteY2" fmla="*/ 16768 h 26435"/>
                    <a:gd name="connsiteX3" fmla="*/ 9720 w 26788"/>
                    <a:gd name="connsiteY3" fmla="*/ 25985 h 26435"/>
                    <a:gd name="connsiteX4" fmla="*/ 502 w 26788"/>
                    <a:gd name="connsiteY4" fmla="*/ 9668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35">
                      <a:moveTo>
                        <a:pt x="502" y="9668"/>
                      </a:moveTo>
                      <a:cubicBezTo>
                        <a:pt x="2495" y="2693"/>
                        <a:pt x="9969" y="-1418"/>
                        <a:pt x="17069" y="451"/>
                      </a:cubicBezTo>
                      <a:cubicBezTo>
                        <a:pt x="24169" y="2443"/>
                        <a:pt x="28279" y="9668"/>
                        <a:pt x="26286" y="16768"/>
                      </a:cubicBezTo>
                      <a:cubicBezTo>
                        <a:pt x="24293" y="23743"/>
                        <a:pt x="16820" y="27853"/>
                        <a:pt x="9720" y="25985"/>
                      </a:cubicBezTo>
                      <a:cubicBezTo>
                        <a:pt x="2620" y="23992"/>
                        <a:pt x="-1490" y="16768"/>
                        <a:pt x="502"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3" name="Freeform 8543">
                  <a:extLst>
                    <a:ext uri="{FF2B5EF4-FFF2-40B4-BE49-F238E27FC236}">
                      <a16:creationId xmlns:a16="http://schemas.microsoft.com/office/drawing/2014/main" id="{F25BE73C-548D-89A2-3077-3E706FF3FB0E}"/>
                    </a:ext>
                  </a:extLst>
                </p:cNvPr>
                <p:cNvSpPr/>
                <p:nvPr/>
              </p:nvSpPr>
              <p:spPr>
                <a:xfrm>
                  <a:off x="3154547" y="1505976"/>
                  <a:ext cx="15196" cy="49947"/>
                </a:xfrm>
                <a:custGeom>
                  <a:avLst/>
                  <a:gdLst>
                    <a:gd name="connsiteX0" fmla="*/ 15196 w 15196"/>
                    <a:gd name="connsiteY0" fmla="*/ 0 h 49947"/>
                    <a:gd name="connsiteX1" fmla="*/ 8096 w 15196"/>
                    <a:gd name="connsiteY1" fmla="*/ 17438 h 49947"/>
                    <a:gd name="connsiteX2" fmla="*/ 6602 w 15196"/>
                    <a:gd name="connsiteY2" fmla="*/ 34752 h 49947"/>
                    <a:gd name="connsiteX3" fmla="*/ 0 w 15196"/>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0"/>
                      </a:moveTo>
                      <a:cubicBezTo>
                        <a:pt x="10587" y="7100"/>
                        <a:pt x="8844" y="13203"/>
                        <a:pt x="8096" y="17438"/>
                      </a:cubicBezTo>
                      <a:cubicBezTo>
                        <a:pt x="6851" y="24289"/>
                        <a:pt x="8096" y="27776"/>
                        <a:pt x="6602" y="34752"/>
                      </a:cubicBezTo>
                      <a:cubicBezTo>
                        <a:pt x="5107"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4" name="Freeform 8544">
                  <a:extLst>
                    <a:ext uri="{FF2B5EF4-FFF2-40B4-BE49-F238E27FC236}">
                      <a16:creationId xmlns:a16="http://schemas.microsoft.com/office/drawing/2014/main" id="{E71B6914-0A73-9863-83A5-12633087D929}"/>
                    </a:ext>
                  </a:extLst>
                </p:cNvPr>
                <p:cNvSpPr/>
                <p:nvPr/>
              </p:nvSpPr>
              <p:spPr>
                <a:xfrm>
                  <a:off x="3164132" y="1502987"/>
                  <a:ext cx="13733" cy="50196"/>
                </a:xfrm>
                <a:custGeom>
                  <a:avLst/>
                  <a:gdLst>
                    <a:gd name="connsiteX0" fmla="*/ 6 w 13733"/>
                    <a:gd name="connsiteY0" fmla="*/ 50197 h 50196"/>
                    <a:gd name="connsiteX1" fmla="*/ 3245 w 13733"/>
                    <a:gd name="connsiteY1" fmla="*/ 31762 h 50196"/>
                    <a:gd name="connsiteX2" fmla="*/ 11216 w 13733"/>
                    <a:gd name="connsiteY2" fmla="*/ 16317 h 50196"/>
                    <a:gd name="connsiteX3" fmla="*/ 13708 w 13733"/>
                    <a:gd name="connsiteY3" fmla="*/ 0 h 50196"/>
                  </a:gdLst>
                  <a:ahLst/>
                  <a:cxnLst>
                    <a:cxn ang="0">
                      <a:pos x="connsiteX0" y="connsiteY0"/>
                    </a:cxn>
                    <a:cxn ang="0">
                      <a:pos x="connsiteX1" y="connsiteY1"/>
                    </a:cxn>
                    <a:cxn ang="0">
                      <a:pos x="connsiteX2" y="connsiteY2"/>
                    </a:cxn>
                    <a:cxn ang="0">
                      <a:pos x="connsiteX3" y="connsiteY3"/>
                    </a:cxn>
                  </a:cxnLst>
                  <a:rect l="l" t="t" r="r" b="b"/>
                  <a:pathLst>
                    <a:path w="13733" h="50196">
                      <a:moveTo>
                        <a:pt x="6" y="50197"/>
                      </a:moveTo>
                      <a:cubicBezTo>
                        <a:pt x="-118" y="41851"/>
                        <a:pt x="1626" y="35748"/>
                        <a:pt x="3245" y="31762"/>
                      </a:cubicBezTo>
                      <a:cubicBezTo>
                        <a:pt x="5985" y="25285"/>
                        <a:pt x="8850" y="22919"/>
                        <a:pt x="11216" y="16317"/>
                      </a:cubicBezTo>
                      <a:cubicBezTo>
                        <a:pt x="13583" y="9840"/>
                        <a:pt x="13832" y="3986"/>
                        <a:pt x="13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5" name="Freeform 8545">
                  <a:extLst>
                    <a:ext uri="{FF2B5EF4-FFF2-40B4-BE49-F238E27FC236}">
                      <a16:creationId xmlns:a16="http://schemas.microsoft.com/office/drawing/2014/main" id="{257F092F-83FE-20C5-374A-3025E238E2A4}"/>
                    </a:ext>
                  </a:extLst>
                </p:cNvPr>
                <p:cNvSpPr/>
                <p:nvPr/>
              </p:nvSpPr>
              <p:spPr>
                <a:xfrm>
                  <a:off x="3162086" y="1486924"/>
                  <a:ext cx="26355" cy="26397"/>
                </a:xfrm>
                <a:custGeom>
                  <a:avLst/>
                  <a:gdLst>
                    <a:gd name="connsiteX0" fmla="*/ 25843 w 26355"/>
                    <a:gd name="connsiteY0" fmla="*/ 16686 h 26397"/>
                    <a:gd name="connsiteX1" fmla="*/ 9526 w 26355"/>
                    <a:gd name="connsiteY1" fmla="*/ 25903 h 26397"/>
                    <a:gd name="connsiteX2" fmla="*/ 558 w 26355"/>
                    <a:gd name="connsiteY2" fmla="*/ 9711 h 26397"/>
                    <a:gd name="connsiteX3" fmla="*/ 16875 w 26355"/>
                    <a:gd name="connsiteY3" fmla="*/ 494 h 26397"/>
                    <a:gd name="connsiteX4" fmla="*/ 25843 w 26355"/>
                    <a:gd name="connsiteY4" fmla="*/ 16686 h 26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397">
                      <a:moveTo>
                        <a:pt x="25843" y="16686"/>
                      </a:moveTo>
                      <a:cubicBezTo>
                        <a:pt x="23850" y="23661"/>
                        <a:pt x="16501" y="27896"/>
                        <a:pt x="9526" y="25903"/>
                      </a:cubicBezTo>
                      <a:cubicBezTo>
                        <a:pt x="2551" y="23910"/>
                        <a:pt x="-1560" y="16686"/>
                        <a:pt x="558" y="9711"/>
                      </a:cubicBezTo>
                      <a:cubicBezTo>
                        <a:pt x="2551" y="2736"/>
                        <a:pt x="9900" y="-1499"/>
                        <a:pt x="16875" y="494"/>
                      </a:cubicBezTo>
                      <a:cubicBezTo>
                        <a:pt x="23850" y="2362"/>
                        <a:pt x="27836" y="9586"/>
                        <a:pt x="2584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8" name="Graphic 2987">
                <a:extLst>
                  <a:ext uri="{FF2B5EF4-FFF2-40B4-BE49-F238E27FC236}">
                    <a16:creationId xmlns:a16="http://schemas.microsoft.com/office/drawing/2014/main" id="{3B82D6CB-0354-9FFB-02E2-0A1FD930D2AF}"/>
                  </a:ext>
                </a:extLst>
              </p:cNvPr>
              <p:cNvGrpSpPr/>
              <p:nvPr/>
            </p:nvGrpSpPr>
            <p:grpSpPr>
              <a:xfrm>
                <a:off x="3099105" y="1478877"/>
                <a:ext cx="60982" cy="144108"/>
                <a:chOff x="3099105" y="1478877"/>
                <a:chExt cx="60982" cy="144108"/>
              </a:xfrm>
              <a:grpFill/>
            </p:grpSpPr>
            <p:sp>
              <p:nvSpPr>
                <p:cNvPr id="5724" name="Freeform 8547">
                  <a:extLst>
                    <a:ext uri="{FF2B5EF4-FFF2-40B4-BE49-F238E27FC236}">
                      <a16:creationId xmlns:a16="http://schemas.microsoft.com/office/drawing/2014/main" id="{4427571B-E4EC-05CD-C486-7F2560E3C03C}"/>
                    </a:ext>
                  </a:extLst>
                </p:cNvPr>
                <p:cNvSpPr/>
                <p:nvPr/>
              </p:nvSpPr>
              <p:spPr>
                <a:xfrm>
                  <a:off x="3117927" y="1554056"/>
                  <a:ext cx="15445" cy="49823"/>
                </a:xfrm>
                <a:custGeom>
                  <a:avLst/>
                  <a:gdLst>
                    <a:gd name="connsiteX0" fmla="*/ 0 w 15445"/>
                    <a:gd name="connsiteY0" fmla="*/ 49823 h 49823"/>
                    <a:gd name="connsiteX1" fmla="*/ 7224 w 15445"/>
                    <a:gd name="connsiteY1" fmla="*/ 32385 h 49823"/>
                    <a:gd name="connsiteX2" fmla="*/ 8719 w 15445"/>
                    <a:gd name="connsiteY2" fmla="*/ 15071 h 49823"/>
                    <a:gd name="connsiteX3" fmla="*/ 15445 w 15445"/>
                    <a:gd name="connsiteY3" fmla="*/ 0 h 49823"/>
                  </a:gdLst>
                  <a:ahLst/>
                  <a:cxnLst>
                    <a:cxn ang="0">
                      <a:pos x="connsiteX0" y="connsiteY0"/>
                    </a:cxn>
                    <a:cxn ang="0">
                      <a:pos x="connsiteX1" y="connsiteY1"/>
                    </a:cxn>
                    <a:cxn ang="0">
                      <a:pos x="connsiteX2" y="connsiteY2"/>
                    </a:cxn>
                    <a:cxn ang="0">
                      <a:pos x="connsiteX3" y="connsiteY3"/>
                    </a:cxn>
                  </a:cxnLst>
                  <a:rect l="l" t="t" r="r" b="b"/>
                  <a:pathLst>
                    <a:path w="15445" h="49823">
                      <a:moveTo>
                        <a:pt x="0" y="49823"/>
                      </a:moveTo>
                      <a:cubicBezTo>
                        <a:pt x="4609" y="42723"/>
                        <a:pt x="6477" y="36745"/>
                        <a:pt x="7224" y="32385"/>
                      </a:cubicBezTo>
                      <a:cubicBezTo>
                        <a:pt x="8470" y="25534"/>
                        <a:pt x="7224" y="22047"/>
                        <a:pt x="8719" y="15071"/>
                      </a:cubicBezTo>
                      <a:cubicBezTo>
                        <a:pt x="10214" y="8345"/>
                        <a:pt x="13078" y="3239"/>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5" name="Freeform 8548">
                  <a:extLst>
                    <a:ext uri="{FF2B5EF4-FFF2-40B4-BE49-F238E27FC236}">
                      <a16:creationId xmlns:a16="http://schemas.microsoft.com/office/drawing/2014/main" id="{9AA17411-F89A-C39A-93CB-D62287DF7783}"/>
                    </a:ext>
                  </a:extLst>
                </p:cNvPr>
                <p:cNvSpPr/>
                <p:nvPr/>
              </p:nvSpPr>
              <p:spPr>
                <a:xfrm>
                  <a:off x="3109765" y="1556422"/>
                  <a:ext cx="14022" cy="50196"/>
                </a:xfrm>
                <a:custGeom>
                  <a:avLst/>
                  <a:gdLst>
                    <a:gd name="connsiteX0" fmla="*/ 14017 w 14022"/>
                    <a:gd name="connsiteY0" fmla="*/ 0 h 50196"/>
                    <a:gd name="connsiteX1" fmla="*/ 10654 w 14022"/>
                    <a:gd name="connsiteY1" fmla="*/ 18559 h 50196"/>
                    <a:gd name="connsiteX2" fmla="*/ 2557 w 14022"/>
                    <a:gd name="connsiteY2" fmla="*/ 33880 h 50196"/>
                    <a:gd name="connsiteX3" fmla="*/ 6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0"/>
                      </a:moveTo>
                      <a:cubicBezTo>
                        <a:pt x="14141" y="8470"/>
                        <a:pt x="12273" y="14573"/>
                        <a:pt x="10654" y="18559"/>
                      </a:cubicBezTo>
                      <a:cubicBezTo>
                        <a:pt x="7914" y="25036"/>
                        <a:pt x="5049" y="27278"/>
                        <a:pt x="2557" y="33880"/>
                      </a:cubicBezTo>
                      <a:cubicBezTo>
                        <a:pt x="191" y="40357"/>
                        <a:pt x="-183" y="46211"/>
                        <a:pt x="6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6" name="Freeform 8549">
                  <a:extLst>
                    <a:ext uri="{FF2B5EF4-FFF2-40B4-BE49-F238E27FC236}">
                      <a16:creationId xmlns:a16="http://schemas.microsoft.com/office/drawing/2014/main" id="{645CF9D7-6302-8A2A-F96F-6BE009553448}"/>
                    </a:ext>
                  </a:extLst>
                </p:cNvPr>
                <p:cNvSpPr/>
                <p:nvPr/>
              </p:nvSpPr>
              <p:spPr>
                <a:xfrm>
                  <a:off x="3099105" y="1596278"/>
                  <a:ext cx="26728" cy="26707"/>
                </a:xfrm>
                <a:custGeom>
                  <a:avLst/>
                  <a:gdLst>
                    <a:gd name="connsiteX0" fmla="*/ 512 w 26728"/>
                    <a:gd name="connsiteY0" fmla="*/ 9345 h 26707"/>
                    <a:gd name="connsiteX1" fmla="*/ 17078 w 26728"/>
                    <a:gd name="connsiteY1" fmla="*/ 626 h 26707"/>
                    <a:gd name="connsiteX2" fmla="*/ 26171 w 26728"/>
                    <a:gd name="connsiteY2" fmla="*/ 17067 h 26707"/>
                    <a:gd name="connsiteX3" fmla="*/ 9605 w 26728"/>
                    <a:gd name="connsiteY3" fmla="*/ 26160 h 26707"/>
                    <a:gd name="connsiteX4" fmla="*/ 512 w 26728"/>
                    <a:gd name="connsiteY4" fmla="*/ 9345 h 26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706">
                      <a:moveTo>
                        <a:pt x="512" y="9345"/>
                      </a:moveTo>
                      <a:cubicBezTo>
                        <a:pt x="2630" y="2370"/>
                        <a:pt x="9979" y="-1616"/>
                        <a:pt x="17078" y="626"/>
                      </a:cubicBezTo>
                      <a:cubicBezTo>
                        <a:pt x="24178" y="2868"/>
                        <a:pt x="28289" y="9968"/>
                        <a:pt x="26171" y="17067"/>
                      </a:cubicBezTo>
                      <a:cubicBezTo>
                        <a:pt x="24178" y="24043"/>
                        <a:pt x="16705" y="28278"/>
                        <a:pt x="9605" y="26160"/>
                      </a:cubicBezTo>
                      <a:cubicBezTo>
                        <a:pt x="2505" y="23793"/>
                        <a:pt x="-1481" y="16320"/>
                        <a:pt x="51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7" name="Freeform 8550">
                  <a:extLst>
                    <a:ext uri="{FF2B5EF4-FFF2-40B4-BE49-F238E27FC236}">
                      <a16:creationId xmlns:a16="http://schemas.microsoft.com/office/drawing/2014/main" id="{72078CB1-026B-578A-E2A9-C33EDA2DEFAE}"/>
                    </a:ext>
                  </a:extLst>
                </p:cNvPr>
                <p:cNvSpPr/>
                <p:nvPr/>
              </p:nvSpPr>
              <p:spPr>
                <a:xfrm>
                  <a:off x="3126024" y="1497880"/>
                  <a:ext cx="15445" cy="49823"/>
                </a:xfrm>
                <a:custGeom>
                  <a:avLst/>
                  <a:gdLst>
                    <a:gd name="connsiteX0" fmla="*/ 15445 w 15445"/>
                    <a:gd name="connsiteY0" fmla="*/ 0 h 49823"/>
                    <a:gd name="connsiteX1" fmla="*/ 8345 w 15445"/>
                    <a:gd name="connsiteY1" fmla="*/ 17314 h 49823"/>
                    <a:gd name="connsiteX2" fmla="*/ 6726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836" y="6975"/>
                        <a:pt x="9093" y="13079"/>
                        <a:pt x="8345" y="17314"/>
                      </a:cubicBezTo>
                      <a:cubicBezTo>
                        <a:pt x="7100" y="24164"/>
                        <a:pt x="8345"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8" name="Freeform 8551">
                  <a:extLst>
                    <a:ext uri="{FF2B5EF4-FFF2-40B4-BE49-F238E27FC236}">
                      <a16:creationId xmlns:a16="http://schemas.microsoft.com/office/drawing/2014/main" id="{C6ECAFDF-2F03-F438-9898-CB1E48C9F4D9}"/>
                    </a:ext>
                  </a:extLst>
                </p:cNvPr>
                <p:cNvSpPr/>
                <p:nvPr/>
              </p:nvSpPr>
              <p:spPr>
                <a:xfrm>
                  <a:off x="3135609" y="1495015"/>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9" y="41851"/>
                        <a:pt x="1750" y="35748"/>
                        <a:pt x="3369" y="31762"/>
                      </a:cubicBezTo>
                      <a:cubicBezTo>
                        <a:pt x="6109" y="25285"/>
                        <a:pt x="8974" y="23043"/>
                        <a:pt x="11465" y="16317"/>
                      </a:cubicBezTo>
                      <a:cubicBezTo>
                        <a:pt x="13832" y="9840"/>
                        <a:pt x="14081" y="3986"/>
                        <a:pt x="139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9" name="Freeform 8552">
                  <a:extLst>
                    <a:ext uri="{FF2B5EF4-FFF2-40B4-BE49-F238E27FC236}">
                      <a16:creationId xmlns:a16="http://schemas.microsoft.com/office/drawing/2014/main" id="{6EB701EC-72A3-186E-ECA5-252B5A92B234}"/>
                    </a:ext>
                  </a:extLst>
                </p:cNvPr>
                <p:cNvSpPr/>
                <p:nvPr/>
              </p:nvSpPr>
              <p:spPr>
                <a:xfrm>
                  <a:off x="3133676" y="1478877"/>
                  <a:ext cx="26411" cy="26525"/>
                </a:xfrm>
                <a:custGeom>
                  <a:avLst/>
                  <a:gdLst>
                    <a:gd name="connsiteX0" fmla="*/ 25854 w 26411"/>
                    <a:gd name="connsiteY0" fmla="*/ 16885 h 26525"/>
                    <a:gd name="connsiteX1" fmla="*/ 9412 w 26411"/>
                    <a:gd name="connsiteY1" fmla="*/ 25978 h 26525"/>
                    <a:gd name="connsiteX2" fmla="*/ 568 w 26411"/>
                    <a:gd name="connsiteY2" fmla="*/ 9412 h 26525"/>
                    <a:gd name="connsiteX3" fmla="*/ 16885 w 26411"/>
                    <a:gd name="connsiteY3" fmla="*/ 568 h 26525"/>
                    <a:gd name="connsiteX4" fmla="*/ 25854 w 26411"/>
                    <a:gd name="connsiteY4" fmla="*/ 16885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1" h="26524">
                      <a:moveTo>
                        <a:pt x="25854" y="16885"/>
                      </a:moveTo>
                      <a:cubicBezTo>
                        <a:pt x="23861" y="23861"/>
                        <a:pt x="16387" y="28096"/>
                        <a:pt x="9412" y="25978"/>
                      </a:cubicBezTo>
                      <a:cubicBezTo>
                        <a:pt x="2437" y="23861"/>
                        <a:pt x="-1549" y="16387"/>
                        <a:pt x="568" y="9412"/>
                      </a:cubicBezTo>
                      <a:cubicBezTo>
                        <a:pt x="2686" y="2437"/>
                        <a:pt x="9910" y="-1549"/>
                        <a:pt x="16885" y="568"/>
                      </a:cubicBezTo>
                      <a:cubicBezTo>
                        <a:pt x="23861" y="2686"/>
                        <a:pt x="27971" y="9786"/>
                        <a:pt x="25854" y="16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9" name="Graphic 2987">
                <a:extLst>
                  <a:ext uri="{FF2B5EF4-FFF2-40B4-BE49-F238E27FC236}">
                    <a16:creationId xmlns:a16="http://schemas.microsoft.com/office/drawing/2014/main" id="{2613E2C1-01A3-D780-3C99-E1FC669EBBEE}"/>
                  </a:ext>
                </a:extLst>
              </p:cNvPr>
              <p:cNvGrpSpPr/>
              <p:nvPr/>
            </p:nvGrpSpPr>
            <p:grpSpPr>
              <a:xfrm>
                <a:off x="3070526" y="1470158"/>
                <a:ext cx="61422" cy="143937"/>
                <a:chOff x="3070526" y="1470158"/>
                <a:chExt cx="61422" cy="143937"/>
              </a:xfrm>
              <a:grpFill/>
            </p:grpSpPr>
            <p:sp>
              <p:nvSpPr>
                <p:cNvPr id="5718" name="Freeform 8554">
                  <a:extLst>
                    <a:ext uri="{FF2B5EF4-FFF2-40B4-BE49-F238E27FC236}">
                      <a16:creationId xmlns:a16="http://schemas.microsoft.com/office/drawing/2014/main" id="{4D83204B-89AE-C017-30B6-78DDB3C503F9}"/>
                    </a:ext>
                  </a:extLst>
                </p:cNvPr>
                <p:cNvSpPr/>
                <p:nvPr/>
              </p:nvSpPr>
              <p:spPr>
                <a:xfrm>
                  <a:off x="3089404" y="1545212"/>
                  <a:ext cx="15569" cy="49823"/>
                </a:xfrm>
                <a:custGeom>
                  <a:avLst/>
                  <a:gdLst>
                    <a:gd name="connsiteX0" fmla="*/ 0 w 15569"/>
                    <a:gd name="connsiteY0" fmla="*/ 49823 h 49823"/>
                    <a:gd name="connsiteX1" fmla="*/ 7224 w 15569"/>
                    <a:gd name="connsiteY1" fmla="*/ 32510 h 49823"/>
                    <a:gd name="connsiteX2" fmla="*/ 8844 w 15569"/>
                    <a:gd name="connsiteY2" fmla="*/ 15071 h 49823"/>
                    <a:gd name="connsiteX3" fmla="*/ 1557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0" y="49823"/>
                      </a:moveTo>
                      <a:cubicBezTo>
                        <a:pt x="4733" y="42848"/>
                        <a:pt x="6477" y="36745"/>
                        <a:pt x="7224" y="32510"/>
                      </a:cubicBezTo>
                      <a:cubicBezTo>
                        <a:pt x="8470" y="25659"/>
                        <a:pt x="7224" y="22047"/>
                        <a:pt x="8844" y="15071"/>
                      </a:cubicBezTo>
                      <a:cubicBezTo>
                        <a:pt x="10338" y="8345"/>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9" name="Freeform 8555">
                  <a:extLst>
                    <a:ext uri="{FF2B5EF4-FFF2-40B4-BE49-F238E27FC236}">
                      <a16:creationId xmlns:a16="http://schemas.microsoft.com/office/drawing/2014/main" id="{7137F681-B155-B883-943D-07414538DE0F}"/>
                    </a:ext>
                  </a:extLst>
                </p:cNvPr>
                <p:cNvSpPr/>
                <p:nvPr/>
              </p:nvSpPr>
              <p:spPr>
                <a:xfrm>
                  <a:off x="3081033" y="1547579"/>
                  <a:ext cx="14355" cy="50196"/>
                </a:xfrm>
                <a:custGeom>
                  <a:avLst/>
                  <a:gdLst>
                    <a:gd name="connsiteX0" fmla="*/ 14350 w 14355"/>
                    <a:gd name="connsiteY0" fmla="*/ 0 h 50196"/>
                    <a:gd name="connsiteX1" fmla="*/ 10862 w 14355"/>
                    <a:gd name="connsiteY1" fmla="*/ 18559 h 50196"/>
                    <a:gd name="connsiteX2" fmla="*/ 2641 w 14355"/>
                    <a:gd name="connsiteY2" fmla="*/ 33880 h 50196"/>
                    <a:gd name="connsiteX3" fmla="*/ 26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14350" y="0"/>
                      </a:moveTo>
                      <a:cubicBezTo>
                        <a:pt x="14474" y="8470"/>
                        <a:pt x="12606" y="14573"/>
                        <a:pt x="10862" y="18559"/>
                      </a:cubicBezTo>
                      <a:cubicBezTo>
                        <a:pt x="8122" y="25036"/>
                        <a:pt x="5257" y="27278"/>
                        <a:pt x="2641"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0" name="Freeform 8556">
                  <a:extLst>
                    <a:ext uri="{FF2B5EF4-FFF2-40B4-BE49-F238E27FC236}">
                      <a16:creationId xmlns:a16="http://schemas.microsoft.com/office/drawing/2014/main" id="{CF5F0107-19F7-AA62-AE14-49E99F7F132B}"/>
                    </a:ext>
                  </a:extLst>
                </p:cNvPr>
                <p:cNvSpPr/>
                <p:nvPr/>
              </p:nvSpPr>
              <p:spPr>
                <a:xfrm>
                  <a:off x="3070526" y="1587434"/>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034" y="-1616"/>
                        <a:pt x="17134" y="626"/>
                      </a:cubicBezTo>
                      <a:cubicBezTo>
                        <a:pt x="24234" y="2868"/>
                        <a:pt x="28219" y="10217"/>
                        <a:pt x="26102" y="17316"/>
                      </a:cubicBezTo>
                      <a:cubicBezTo>
                        <a:pt x="23985" y="24292"/>
                        <a:pt x="16636" y="28277"/>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1" name="Freeform 8557">
                  <a:extLst>
                    <a:ext uri="{FF2B5EF4-FFF2-40B4-BE49-F238E27FC236}">
                      <a16:creationId xmlns:a16="http://schemas.microsoft.com/office/drawing/2014/main" id="{C87C8137-8B4F-41E7-C3D9-2C9D2AB08966}"/>
                    </a:ext>
                  </a:extLst>
                </p:cNvPr>
                <p:cNvSpPr/>
                <p:nvPr/>
              </p:nvSpPr>
              <p:spPr>
                <a:xfrm>
                  <a:off x="3097749" y="1489161"/>
                  <a:ext cx="15569" cy="49823"/>
                </a:xfrm>
                <a:custGeom>
                  <a:avLst/>
                  <a:gdLst>
                    <a:gd name="connsiteX0" fmla="*/ 15570 w 15569"/>
                    <a:gd name="connsiteY0" fmla="*/ 0 h 49823"/>
                    <a:gd name="connsiteX1" fmla="*/ 8345 w 15569"/>
                    <a:gd name="connsiteY1" fmla="*/ 17314 h 49823"/>
                    <a:gd name="connsiteX2" fmla="*/ 6726 w 15569"/>
                    <a:gd name="connsiteY2" fmla="*/ 34752 h 49823"/>
                    <a:gd name="connsiteX3" fmla="*/ 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0"/>
                      </a:moveTo>
                      <a:cubicBezTo>
                        <a:pt x="10961" y="6975"/>
                        <a:pt x="9093" y="13079"/>
                        <a:pt x="8345" y="17314"/>
                      </a:cubicBezTo>
                      <a:cubicBezTo>
                        <a:pt x="7100" y="24164"/>
                        <a:pt x="8221"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2" name="Freeform 8558">
                  <a:extLst>
                    <a:ext uri="{FF2B5EF4-FFF2-40B4-BE49-F238E27FC236}">
                      <a16:creationId xmlns:a16="http://schemas.microsoft.com/office/drawing/2014/main" id="{8FAE5370-36AA-55B7-3796-E684FC878D2C}"/>
                    </a:ext>
                  </a:extLst>
                </p:cNvPr>
                <p:cNvSpPr/>
                <p:nvPr/>
              </p:nvSpPr>
              <p:spPr>
                <a:xfrm>
                  <a:off x="3107209" y="1486421"/>
                  <a:ext cx="14231" cy="50196"/>
                </a:xfrm>
                <a:custGeom>
                  <a:avLst/>
                  <a:gdLst>
                    <a:gd name="connsiteX0" fmla="*/ 6 w 14231"/>
                    <a:gd name="connsiteY0" fmla="*/ 50197 h 50196"/>
                    <a:gd name="connsiteX1" fmla="*/ 3494 w 14231"/>
                    <a:gd name="connsiteY1" fmla="*/ 31638 h 50196"/>
                    <a:gd name="connsiteX2" fmla="*/ 11590 w 14231"/>
                    <a:gd name="connsiteY2" fmla="*/ 16317 h 50196"/>
                    <a:gd name="connsiteX3" fmla="*/ 14205 w 14231"/>
                    <a:gd name="connsiteY3" fmla="*/ 0 h 50196"/>
                  </a:gdLst>
                  <a:ahLst/>
                  <a:cxnLst>
                    <a:cxn ang="0">
                      <a:pos x="connsiteX0" y="connsiteY0"/>
                    </a:cxn>
                    <a:cxn ang="0">
                      <a:pos x="connsiteX1" y="connsiteY1"/>
                    </a:cxn>
                    <a:cxn ang="0">
                      <a:pos x="connsiteX2" y="connsiteY2"/>
                    </a:cxn>
                    <a:cxn ang="0">
                      <a:pos x="connsiteX3" y="connsiteY3"/>
                    </a:cxn>
                  </a:cxnLst>
                  <a:rect l="l" t="t" r="r" b="b"/>
                  <a:pathLst>
                    <a:path w="14231" h="50196">
                      <a:moveTo>
                        <a:pt x="6" y="50197"/>
                      </a:moveTo>
                      <a:cubicBezTo>
                        <a:pt x="-119" y="41727"/>
                        <a:pt x="1750" y="35624"/>
                        <a:pt x="3494" y="31638"/>
                      </a:cubicBezTo>
                      <a:cubicBezTo>
                        <a:pt x="6234" y="25161"/>
                        <a:pt x="9099" y="22919"/>
                        <a:pt x="11590" y="16317"/>
                      </a:cubicBezTo>
                      <a:cubicBezTo>
                        <a:pt x="14081" y="9840"/>
                        <a:pt x="14330" y="3986"/>
                        <a:pt x="14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3" name="Freeform 8559">
                  <a:extLst>
                    <a:ext uri="{FF2B5EF4-FFF2-40B4-BE49-F238E27FC236}">
                      <a16:creationId xmlns:a16="http://schemas.microsoft.com/office/drawing/2014/main" id="{59F2182F-ECE0-06E5-1807-496C710049E0}"/>
                    </a:ext>
                  </a:extLst>
                </p:cNvPr>
                <p:cNvSpPr/>
                <p:nvPr/>
              </p:nvSpPr>
              <p:spPr>
                <a:xfrm>
                  <a:off x="3105764" y="1470158"/>
                  <a:ext cx="26184" cy="26546"/>
                </a:xfrm>
                <a:custGeom>
                  <a:avLst/>
                  <a:gdLst>
                    <a:gd name="connsiteX0" fmla="*/ 25615 w 26184"/>
                    <a:gd name="connsiteY0" fmla="*/ 17135 h 26546"/>
                    <a:gd name="connsiteX1" fmla="*/ 9298 w 26184"/>
                    <a:gd name="connsiteY1" fmla="*/ 25978 h 26546"/>
                    <a:gd name="connsiteX2" fmla="*/ 579 w 26184"/>
                    <a:gd name="connsiteY2" fmla="*/ 9412 h 26546"/>
                    <a:gd name="connsiteX3" fmla="*/ 16896 w 26184"/>
                    <a:gd name="connsiteY3" fmla="*/ 568 h 26546"/>
                    <a:gd name="connsiteX4" fmla="*/ 25615 w 26184"/>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545">
                      <a:moveTo>
                        <a:pt x="25615" y="17135"/>
                      </a:moveTo>
                      <a:cubicBezTo>
                        <a:pt x="23498" y="24110"/>
                        <a:pt x="16274" y="28096"/>
                        <a:pt x="9298" y="25978"/>
                      </a:cubicBezTo>
                      <a:cubicBezTo>
                        <a:pt x="2323" y="23861"/>
                        <a:pt x="-1538" y="16387"/>
                        <a:pt x="579" y="9412"/>
                      </a:cubicBezTo>
                      <a:cubicBezTo>
                        <a:pt x="2697" y="2437"/>
                        <a:pt x="10046" y="-1549"/>
                        <a:pt x="16896" y="568"/>
                      </a:cubicBezTo>
                      <a:cubicBezTo>
                        <a:pt x="23747" y="2686"/>
                        <a:pt x="27733" y="10159"/>
                        <a:pt x="25615"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0" name="Graphic 2987">
                <a:extLst>
                  <a:ext uri="{FF2B5EF4-FFF2-40B4-BE49-F238E27FC236}">
                    <a16:creationId xmlns:a16="http://schemas.microsoft.com/office/drawing/2014/main" id="{19C68C07-1C06-58D7-1F36-80CB2D6F8D4E}"/>
                  </a:ext>
                </a:extLst>
              </p:cNvPr>
              <p:cNvGrpSpPr/>
              <p:nvPr/>
            </p:nvGrpSpPr>
            <p:grpSpPr>
              <a:xfrm>
                <a:off x="3041878" y="1461439"/>
                <a:ext cx="62045" cy="143812"/>
                <a:chOff x="3041878" y="1461439"/>
                <a:chExt cx="62045" cy="143812"/>
              </a:xfrm>
              <a:grpFill/>
            </p:grpSpPr>
            <p:sp>
              <p:nvSpPr>
                <p:cNvPr id="5712" name="Freeform 8561">
                  <a:extLst>
                    <a:ext uri="{FF2B5EF4-FFF2-40B4-BE49-F238E27FC236}">
                      <a16:creationId xmlns:a16="http://schemas.microsoft.com/office/drawing/2014/main" id="{BBFB7E70-A80E-8F04-6F0E-157E58A36E1D}"/>
                    </a:ext>
                  </a:extLst>
                </p:cNvPr>
                <p:cNvSpPr/>
                <p:nvPr/>
              </p:nvSpPr>
              <p:spPr>
                <a:xfrm>
                  <a:off x="3060880" y="1536493"/>
                  <a:ext cx="15818" cy="49698"/>
                </a:xfrm>
                <a:custGeom>
                  <a:avLst/>
                  <a:gdLst>
                    <a:gd name="connsiteX0" fmla="*/ 0 w 15818"/>
                    <a:gd name="connsiteY0" fmla="*/ 49699 h 49698"/>
                    <a:gd name="connsiteX1" fmla="*/ 7349 w 15818"/>
                    <a:gd name="connsiteY1" fmla="*/ 32385 h 49698"/>
                    <a:gd name="connsiteX2" fmla="*/ 8968 w 15818"/>
                    <a:gd name="connsiteY2" fmla="*/ 15071 h 49698"/>
                    <a:gd name="connsiteX3" fmla="*/ 15819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0" y="49699"/>
                      </a:moveTo>
                      <a:cubicBezTo>
                        <a:pt x="4733" y="42723"/>
                        <a:pt x="6477" y="36620"/>
                        <a:pt x="7349" y="32385"/>
                      </a:cubicBezTo>
                      <a:cubicBezTo>
                        <a:pt x="8594" y="25534"/>
                        <a:pt x="7473" y="21922"/>
                        <a:pt x="8968" y="15071"/>
                      </a:cubicBezTo>
                      <a:cubicBezTo>
                        <a:pt x="10463" y="8345"/>
                        <a:pt x="13452" y="3239"/>
                        <a:pt x="158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3" name="Freeform 8562">
                  <a:extLst>
                    <a:ext uri="{FF2B5EF4-FFF2-40B4-BE49-F238E27FC236}">
                      <a16:creationId xmlns:a16="http://schemas.microsoft.com/office/drawing/2014/main" id="{AC76E36E-DC8E-FFA7-FC4B-8AF753FF0991}"/>
                    </a:ext>
                  </a:extLst>
                </p:cNvPr>
                <p:cNvSpPr/>
                <p:nvPr/>
              </p:nvSpPr>
              <p:spPr>
                <a:xfrm>
                  <a:off x="3052758" y="1538735"/>
                  <a:ext cx="14349" cy="50072"/>
                </a:xfrm>
                <a:custGeom>
                  <a:avLst/>
                  <a:gdLst>
                    <a:gd name="connsiteX0" fmla="*/ 14350 w 14349"/>
                    <a:gd name="connsiteY0" fmla="*/ 0 h 50072"/>
                    <a:gd name="connsiteX1" fmla="*/ 10862 w 14349"/>
                    <a:gd name="connsiteY1" fmla="*/ 18435 h 50072"/>
                    <a:gd name="connsiteX2" fmla="*/ 2641 w 14349"/>
                    <a:gd name="connsiteY2" fmla="*/ 33755 h 50072"/>
                    <a:gd name="connsiteX3" fmla="*/ 26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14350" y="0"/>
                      </a:moveTo>
                      <a:cubicBezTo>
                        <a:pt x="14350" y="8470"/>
                        <a:pt x="12481" y="14449"/>
                        <a:pt x="10862" y="18435"/>
                      </a:cubicBezTo>
                      <a:cubicBezTo>
                        <a:pt x="8122" y="24912"/>
                        <a:pt x="5132" y="27154"/>
                        <a:pt x="2641" y="33755"/>
                      </a:cubicBezTo>
                      <a:cubicBezTo>
                        <a:pt x="150" y="40232"/>
                        <a:pt x="-99" y="46086"/>
                        <a:pt x="26"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4" name="Freeform 8563">
                  <a:extLst>
                    <a:ext uri="{FF2B5EF4-FFF2-40B4-BE49-F238E27FC236}">
                      <a16:creationId xmlns:a16="http://schemas.microsoft.com/office/drawing/2014/main" id="{B727034B-C513-36E5-EC37-45E025C7C60B}"/>
                    </a:ext>
                  </a:extLst>
                </p:cNvPr>
                <p:cNvSpPr/>
                <p:nvPr/>
              </p:nvSpPr>
              <p:spPr>
                <a:xfrm>
                  <a:off x="3041878" y="1578591"/>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159" y="-1616"/>
                        <a:pt x="17134" y="626"/>
                      </a:cubicBezTo>
                      <a:cubicBezTo>
                        <a:pt x="24234" y="2868"/>
                        <a:pt x="28219" y="10217"/>
                        <a:pt x="26102" y="17316"/>
                      </a:cubicBezTo>
                      <a:cubicBezTo>
                        <a:pt x="23985" y="24292"/>
                        <a:pt x="16511" y="28278"/>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5" name="Freeform 8564">
                  <a:extLst>
                    <a:ext uri="{FF2B5EF4-FFF2-40B4-BE49-F238E27FC236}">
                      <a16:creationId xmlns:a16="http://schemas.microsoft.com/office/drawing/2014/main" id="{C59AC49F-BCCD-DA6A-3DE6-194BE79A4455}"/>
                    </a:ext>
                  </a:extLst>
                </p:cNvPr>
                <p:cNvSpPr/>
                <p:nvPr/>
              </p:nvSpPr>
              <p:spPr>
                <a:xfrm>
                  <a:off x="3069350" y="1480442"/>
                  <a:ext cx="15943" cy="49698"/>
                </a:xfrm>
                <a:custGeom>
                  <a:avLst/>
                  <a:gdLst>
                    <a:gd name="connsiteX0" fmla="*/ 15943 w 15943"/>
                    <a:gd name="connsiteY0" fmla="*/ 0 h 49698"/>
                    <a:gd name="connsiteX1" fmla="*/ 8595 w 15943"/>
                    <a:gd name="connsiteY1" fmla="*/ 17314 h 49698"/>
                    <a:gd name="connsiteX2" fmla="*/ 6851 w 15943"/>
                    <a:gd name="connsiteY2" fmla="*/ 34627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1210" y="6975"/>
                        <a:pt x="9466" y="13079"/>
                        <a:pt x="8595" y="17314"/>
                      </a:cubicBezTo>
                      <a:cubicBezTo>
                        <a:pt x="7349" y="24164"/>
                        <a:pt x="8470" y="27776"/>
                        <a:pt x="6851" y="34627"/>
                      </a:cubicBezTo>
                      <a:cubicBezTo>
                        <a:pt x="5356" y="41353"/>
                        <a:pt x="2367" y="46460"/>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6" name="Freeform 8565">
                  <a:extLst>
                    <a:ext uri="{FF2B5EF4-FFF2-40B4-BE49-F238E27FC236}">
                      <a16:creationId xmlns:a16="http://schemas.microsoft.com/office/drawing/2014/main" id="{04693F95-8A78-B64E-392F-E999ECA8206E}"/>
                    </a:ext>
                  </a:extLst>
                </p:cNvPr>
                <p:cNvSpPr/>
                <p:nvPr/>
              </p:nvSpPr>
              <p:spPr>
                <a:xfrm>
                  <a:off x="3078941" y="1477702"/>
                  <a:ext cx="14448" cy="50072"/>
                </a:xfrm>
                <a:custGeom>
                  <a:avLst/>
                  <a:gdLst>
                    <a:gd name="connsiteX0" fmla="*/ 0 w 14448"/>
                    <a:gd name="connsiteY0" fmla="*/ 50072 h 50072"/>
                    <a:gd name="connsiteX1" fmla="*/ 3488 w 14448"/>
                    <a:gd name="connsiteY1" fmla="*/ 31638 h 50072"/>
                    <a:gd name="connsiteX2" fmla="*/ 11708 w 14448"/>
                    <a:gd name="connsiteY2" fmla="*/ 16317 h 50072"/>
                    <a:gd name="connsiteX3" fmla="*/ 14449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0" y="41602"/>
                        <a:pt x="1868" y="35624"/>
                        <a:pt x="3488" y="31638"/>
                      </a:cubicBezTo>
                      <a:cubicBezTo>
                        <a:pt x="6228" y="25161"/>
                        <a:pt x="9093" y="22919"/>
                        <a:pt x="11708" y="16317"/>
                      </a:cubicBezTo>
                      <a:cubicBezTo>
                        <a:pt x="14200" y="9840"/>
                        <a:pt x="14449" y="3986"/>
                        <a:pt x="144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7" name="Freeform 8566">
                  <a:extLst>
                    <a:ext uri="{FF2B5EF4-FFF2-40B4-BE49-F238E27FC236}">
                      <a16:creationId xmlns:a16="http://schemas.microsoft.com/office/drawing/2014/main" id="{68B685E7-8983-320E-75E9-B05CB9E00497}"/>
                    </a:ext>
                  </a:extLst>
                </p:cNvPr>
                <p:cNvSpPr/>
                <p:nvPr/>
              </p:nvSpPr>
              <p:spPr>
                <a:xfrm>
                  <a:off x="3077614" y="1461439"/>
                  <a:ext cx="26309" cy="26546"/>
                </a:xfrm>
                <a:custGeom>
                  <a:avLst/>
                  <a:gdLst>
                    <a:gd name="connsiteX0" fmla="*/ 25740 w 26309"/>
                    <a:gd name="connsiteY0" fmla="*/ 17135 h 26546"/>
                    <a:gd name="connsiteX1" fmla="*/ 9298 w 26309"/>
                    <a:gd name="connsiteY1" fmla="*/ 25978 h 26546"/>
                    <a:gd name="connsiteX2" fmla="*/ 579 w 26309"/>
                    <a:gd name="connsiteY2" fmla="*/ 9412 h 26546"/>
                    <a:gd name="connsiteX3" fmla="*/ 17021 w 26309"/>
                    <a:gd name="connsiteY3" fmla="*/ 568 h 26546"/>
                    <a:gd name="connsiteX4" fmla="*/ 25740 w 26309"/>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45">
                      <a:moveTo>
                        <a:pt x="25740" y="17135"/>
                      </a:moveTo>
                      <a:cubicBezTo>
                        <a:pt x="23623" y="24110"/>
                        <a:pt x="16274" y="28096"/>
                        <a:pt x="9298" y="25978"/>
                      </a:cubicBezTo>
                      <a:cubicBezTo>
                        <a:pt x="2323" y="23861"/>
                        <a:pt x="-1538" y="16387"/>
                        <a:pt x="579" y="9412"/>
                      </a:cubicBezTo>
                      <a:cubicBezTo>
                        <a:pt x="2697" y="2437"/>
                        <a:pt x="10046" y="-1549"/>
                        <a:pt x="17021" y="568"/>
                      </a:cubicBezTo>
                      <a:cubicBezTo>
                        <a:pt x="23872" y="2686"/>
                        <a:pt x="27858" y="10159"/>
                        <a:pt x="25740"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1" name="Graphic 2987">
                <a:extLst>
                  <a:ext uri="{FF2B5EF4-FFF2-40B4-BE49-F238E27FC236}">
                    <a16:creationId xmlns:a16="http://schemas.microsoft.com/office/drawing/2014/main" id="{8174940F-14CE-C873-BEC3-32BB16D1ABC8}"/>
                  </a:ext>
                </a:extLst>
              </p:cNvPr>
              <p:cNvGrpSpPr/>
              <p:nvPr/>
            </p:nvGrpSpPr>
            <p:grpSpPr>
              <a:xfrm>
                <a:off x="3013353" y="1452663"/>
                <a:ext cx="62419" cy="143699"/>
                <a:chOff x="3013353" y="1452663"/>
                <a:chExt cx="62419" cy="143699"/>
              </a:xfrm>
              <a:grpFill/>
            </p:grpSpPr>
            <p:sp>
              <p:nvSpPr>
                <p:cNvPr id="5706" name="Freeform 8568">
                  <a:extLst>
                    <a:ext uri="{FF2B5EF4-FFF2-40B4-BE49-F238E27FC236}">
                      <a16:creationId xmlns:a16="http://schemas.microsoft.com/office/drawing/2014/main" id="{CE65F021-3AE2-D7E5-FB93-97414EC09F78}"/>
                    </a:ext>
                  </a:extLst>
                </p:cNvPr>
                <p:cNvSpPr/>
                <p:nvPr/>
              </p:nvSpPr>
              <p:spPr>
                <a:xfrm>
                  <a:off x="3032356" y="1527774"/>
                  <a:ext cx="15943" cy="49573"/>
                </a:xfrm>
                <a:custGeom>
                  <a:avLst/>
                  <a:gdLst>
                    <a:gd name="connsiteX0" fmla="*/ 0 w 15943"/>
                    <a:gd name="connsiteY0" fmla="*/ 49574 h 49573"/>
                    <a:gd name="connsiteX1" fmla="*/ 7349 w 15943"/>
                    <a:gd name="connsiteY1" fmla="*/ 32260 h 49573"/>
                    <a:gd name="connsiteX2" fmla="*/ 9093 w 15943"/>
                    <a:gd name="connsiteY2" fmla="*/ 14947 h 49573"/>
                    <a:gd name="connsiteX3" fmla="*/ 15943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0" y="49574"/>
                      </a:moveTo>
                      <a:cubicBezTo>
                        <a:pt x="4733" y="42599"/>
                        <a:pt x="6602" y="36620"/>
                        <a:pt x="7349" y="32260"/>
                      </a:cubicBezTo>
                      <a:cubicBezTo>
                        <a:pt x="8595" y="25410"/>
                        <a:pt x="7474" y="21798"/>
                        <a:pt x="9093" y="14947"/>
                      </a:cubicBezTo>
                      <a:cubicBezTo>
                        <a:pt x="10587" y="8221"/>
                        <a:pt x="13701" y="3114"/>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7" name="Freeform 8569">
                  <a:extLst>
                    <a:ext uri="{FF2B5EF4-FFF2-40B4-BE49-F238E27FC236}">
                      <a16:creationId xmlns:a16="http://schemas.microsoft.com/office/drawing/2014/main" id="{07D62BA6-DCEE-EC12-7AE6-E16C3D0629B7}"/>
                    </a:ext>
                  </a:extLst>
                </p:cNvPr>
                <p:cNvSpPr/>
                <p:nvPr/>
              </p:nvSpPr>
              <p:spPr>
                <a:xfrm>
                  <a:off x="3023990" y="1530016"/>
                  <a:ext cx="14718" cy="50072"/>
                </a:xfrm>
                <a:custGeom>
                  <a:avLst/>
                  <a:gdLst>
                    <a:gd name="connsiteX0" fmla="*/ 14719 w 14718"/>
                    <a:gd name="connsiteY0" fmla="*/ 0 h 50072"/>
                    <a:gd name="connsiteX1" fmla="*/ 11106 w 14718"/>
                    <a:gd name="connsiteY1" fmla="*/ 18435 h 50072"/>
                    <a:gd name="connsiteX2" fmla="*/ 2761 w 14718"/>
                    <a:gd name="connsiteY2" fmla="*/ 33755 h 50072"/>
                    <a:gd name="connsiteX3" fmla="*/ 21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0"/>
                      </a:moveTo>
                      <a:cubicBezTo>
                        <a:pt x="14719" y="8470"/>
                        <a:pt x="12850" y="14449"/>
                        <a:pt x="11106" y="18435"/>
                      </a:cubicBezTo>
                      <a:cubicBezTo>
                        <a:pt x="8366" y="24912"/>
                        <a:pt x="5377" y="27154"/>
                        <a:pt x="2761" y="33755"/>
                      </a:cubicBezTo>
                      <a:cubicBezTo>
                        <a:pt x="270" y="40232"/>
                        <a:pt x="-104"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8" name="Freeform 8570">
                  <a:extLst>
                    <a:ext uri="{FF2B5EF4-FFF2-40B4-BE49-F238E27FC236}">
                      <a16:creationId xmlns:a16="http://schemas.microsoft.com/office/drawing/2014/main" id="{61CC0317-7B5E-126A-D1A1-2CA30CA54DFA}"/>
                    </a:ext>
                  </a:extLst>
                </p:cNvPr>
                <p:cNvSpPr/>
                <p:nvPr/>
              </p:nvSpPr>
              <p:spPr>
                <a:xfrm>
                  <a:off x="3013353" y="1569793"/>
                  <a:ext cx="26727" cy="26568"/>
                </a:xfrm>
                <a:custGeom>
                  <a:avLst/>
                  <a:gdLst>
                    <a:gd name="connsiteX0" fmla="*/ 568 w 26727"/>
                    <a:gd name="connsiteY0" fmla="*/ 9298 h 26568"/>
                    <a:gd name="connsiteX1" fmla="*/ 17259 w 26727"/>
                    <a:gd name="connsiteY1" fmla="*/ 579 h 26568"/>
                    <a:gd name="connsiteX2" fmla="*/ 26103 w 26727"/>
                    <a:gd name="connsiteY2" fmla="*/ 17270 h 26568"/>
                    <a:gd name="connsiteX3" fmla="*/ 9412 w 26727"/>
                    <a:gd name="connsiteY3" fmla="*/ 25989 h 26568"/>
                    <a:gd name="connsiteX4" fmla="*/ 568 w 26727"/>
                    <a:gd name="connsiteY4" fmla="*/ 9298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 h="26567">
                      <a:moveTo>
                        <a:pt x="568" y="9298"/>
                      </a:moveTo>
                      <a:cubicBezTo>
                        <a:pt x="2686" y="2323"/>
                        <a:pt x="10159" y="-1538"/>
                        <a:pt x="17259" y="579"/>
                      </a:cubicBezTo>
                      <a:cubicBezTo>
                        <a:pt x="24359" y="2697"/>
                        <a:pt x="28345" y="10170"/>
                        <a:pt x="26103" y="17270"/>
                      </a:cubicBezTo>
                      <a:cubicBezTo>
                        <a:pt x="23985" y="24245"/>
                        <a:pt x="16512" y="28107"/>
                        <a:pt x="9412" y="25989"/>
                      </a:cubicBezTo>
                      <a:cubicBezTo>
                        <a:pt x="2437" y="23623"/>
                        <a:pt x="-1549" y="16274"/>
                        <a:pt x="568"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9" name="Freeform 8571">
                  <a:extLst>
                    <a:ext uri="{FF2B5EF4-FFF2-40B4-BE49-F238E27FC236}">
                      <a16:creationId xmlns:a16="http://schemas.microsoft.com/office/drawing/2014/main" id="{C56644E2-0BB5-ADA1-539E-F719859817CD}"/>
                    </a:ext>
                  </a:extLst>
                </p:cNvPr>
                <p:cNvSpPr/>
                <p:nvPr/>
              </p:nvSpPr>
              <p:spPr>
                <a:xfrm>
                  <a:off x="3041200" y="1471723"/>
                  <a:ext cx="15943" cy="49573"/>
                </a:xfrm>
                <a:custGeom>
                  <a:avLst/>
                  <a:gdLst>
                    <a:gd name="connsiteX0" fmla="*/ 15943 w 15943"/>
                    <a:gd name="connsiteY0" fmla="*/ 0 h 49573"/>
                    <a:gd name="connsiteX1" fmla="*/ 8595 w 15943"/>
                    <a:gd name="connsiteY1" fmla="*/ 17314 h 49573"/>
                    <a:gd name="connsiteX2" fmla="*/ 6851 w 15943"/>
                    <a:gd name="connsiteY2" fmla="*/ 34627 h 49573"/>
                    <a:gd name="connsiteX3" fmla="*/ 0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0"/>
                      </a:moveTo>
                      <a:cubicBezTo>
                        <a:pt x="11210" y="6975"/>
                        <a:pt x="9342" y="13079"/>
                        <a:pt x="8595" y="17314"/>
                      </a:cubicBezTo>
                      <a:cubicBezTo>
                        <a:pt x="7224" y="24164"/>
                        <a:pt x="8470" y="27776"/>
                        <a:pt x="6851" y="34627"/>
                      </a:cubicBezTo>
                      <a:cubicBezTo>
                        <a:pt x="5356"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0" name="Freeform 8572">
                  <a:extLst>
                    <a:ext uri="{FF2B5EF4-FFF2-40B4-BE49-F238E27FC236}">
                      <a16:creationId xmlns:a16="http://schemas.microsoft.com/office/drawing/2014/main" id="{495EA5B2-C6D1-3408-7FCB-D94E1714BF84}"/>
                    </a:ext>
                  </a:extLst>
                </p:cNvPr>
                <p:cNvSpPr/>
                <p:nvPr/>
              </p:nvSpPr>
              <p:spPr>
                <a:xfrm>
                  <a:off x="3050666" y="1468983"/>
                  <a:ext cx="14594" cy="50072"/>
                </a:xfrm>
                <a:custGeom>
                  <a:avLst/>
                  <a:gdLst>
                    <a:gd name="connsiteX0" fmla="*/ 0 w 14594"/>
                    <a:gd name="connsiteY0" fmla="*/ 50072 h 50072"/>
                    <a:gd name="connsiteX1" fmla="*/ 3612 w 14594"/>
                    <a:gd name="connsiteY1" fmla="*/ 31638 h 50072"/>
                    <a:gd name="connsiteX2" fmla="*/ 11833 w 14594"/>
                    <a:gd name="connsiteY2" fmla="*/ 16317 h 50072"/>
                    <a:gd name="connsiteX3" fmla="*/ 14573 w 14594"/>
                    <a:gd name="connsiteY3" fmla="*/ 0 h 50072"/>
                  </a:gdLst>
                  <a:ahLst/>
                  <a:cxnLst>
                    <a:cxn ang="0">
                      <a:pos x="connsiteX0" y="connsiteY0"/>
                    </a:cxn>
                    <a:cxn ang="0">
                      <a:pos x="connsiteX1" y="connsiteY1"/>
                    </a:cxn>
                    <a:cxn ang="0">
                      <a:pos x="connsiteX2" y="connsiteY2"/>
                    </a:cxn>
                    <a:cxn ang="0">
                      <a:pos x="connsiteX3" y="connsiteY3"/>
                    </a:cxn>
                  </a:cxnLst>
                  <a:rect l="l" t="t" r="r" b="b"/>
                  <a:pathLst>
                    <a:path w="14594" h="50072">
                      <a:moveTo>
                        <a:pt x="0" y="50072"/>
                      </a:moveTo>
                      <a:cubicBezTo>
                        <a:pt x="0" y="41602"/>
                        <a:pt x="1868" y="35624"/>
                        <a:pt x="3612" y="31638"/>
                      </a:cubicBezTo>
                      <a:cubicBezTo>
                        <a:pt x="6352" y="25161"/>
                        <a:pt x="9342" y="22919"/>
                        <a:pt x="11833" y="16317"/>
                      </a:cubicBezTo>
                      <a:cubicBezTo>
                        <a:pt x="14324" y="9840"/>
                        <a:pt x="14698" y="3986"/>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1" name="Freeform 8573">
                  <a:extLst>
                    <a:ext uri="{FF2B5EF4-FFF2-40B4-BE49-F238E27FC236}">
                      <a16:creationId xmlns:a16="http://schemas.microsoft.com/office/drawing/2014/main" id="{6A70AB1C-DC4E-9634-6D3A-59C77E23DC17}"/>
                    </a:ext>
                  </a:extLst>
                </p:cNvPr>
                <p:cNvSpPr/>
                <p:nvPr/>
              </p:nvSpPr>
              <p:spPr>
                <a:xfrm>
                  <a:off x="3049464" y="1452663"/>
                  <a:ext cx="26309" cy="26536"/>
                </a:xfrm>
                <a:custGeom>
                  <a:avLst/>
                  <a:gdLst>
                    <a:gd name="connsiteX0" fmla="*/ 25740 w 26309"/>
                    <a:gd name="connsiteY0" fmla="*/ 17192 h 26536"/>
                    <a:gd name="connsiteX1" fmla="*/ 9299 w 26309"/>
                    <a:gd name="connsiteY1" fmla="*/ 25911 h 26536"/>
                    <a:gd name="connsiteX2" fmla="*/ 579 w 26309"/>
                    <a:gd name="connsiteY2" fmla="*/ 9345 h 26536"/>
                    <a:gd name="connsiteX3" fmla="*/ 17021 w 26309"/>
                    <a:gd name="connsiteY3" fmla="*/ 626 h 26536"/>
                    <a:gd name="connsiteX4" fmla="*/ 25740 w 26309"/>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36">
                      <a:moveTo>
                        <a:pt x="25740" y="17192"/>
                      </a:moveTo>
                      <a:cubicBezTo>
                        <a:pt x="23623" y="24167"/>
                        <a:pt x="16274" y="28153"/>
                        <a:pt x="9299" y="25911"/>
                      </a:cubicBezTo>
                      <a:cubicBezTo>
                        <a:pt x="2323" y="23669"/>
                        <a:pt x="-1538" y="16320"/>
                        <a:pt x="579" y="9345"/>
                      </a:cubicBezTo>
                      <a:cubicBezTo>
                        <a:pt x="2697" y="2370"/>
                        <a:pt x="10170" y="-1616"/>
                        <a:pt x="17021" y="626"/>
                      </a:cubicBezTo>
                      <a:cubicBezTo>
                        <a:pt x="23872" y="2868"/>
                        <a:pt x="27858" y="10217"/>
                        <a:pt x="25740"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2" name="Graphic 2987">
                <a:extLst>
                  <a:ext uri="{FF2B5EF4-FFF2-40B4-BE49-F238E27FC236}">
                    <a16:creationId xmlns:a16="http://schemas.microsoft.com/office/drawing/2014/main" id="{BE0E73A9-228E-238B-6550-E6A84F5D2FD7}"/>
                  </a:ext>
                </a:extLst>
              </p:cNvPr>
              <p:cNvGrpSpPr/>
              <p:nvPr/>
            </p:nvGrpSpPr>
            <p:grpSpPr>
              <a:xfrm>
                <a:off x="2984773" y="1443944"/>
                <a:ext cx="62985" cy="143325"/>
                <a:chOff x="2984773" y="1443944"/>
                <a:chExt cx="62985" cy="143325"/>
              </a:xfrm>
              <a:grpFill/>
            </p:grpSpPr>
            <p:sp>
              <p:nvSpPr>
                <p:cNvPr id="5700" name="Freeform 8575">
                  <a:extLst>
                    <a:ext uri="{FF2B5EF4-FFF2-40B4-BE49-F238E27FC236}">
                      <a16:creationId xmlns:a16="http://schemas.microsoft.com/office/drawing/2014/main" id="{285598C0-248F-DC0F-336D-1FBAA7C95E71}"/>
                    </a:ext>
                  </a:extLst>
                </p:cNvPr>
                <p:cNvSpPr/>
                <p:nvPr/>
              </p:nvSpPr>
              <p:spPr>
                <a:xfrm>
                  <a:off x="3003708" y="1518930"/>
                  <a:ext cx="16192" cy="49573"/>
                </a:xfrm>
                <a:custGeom>
                  <a:avLst/>
                  <a:gdLst>
                    <a:gd name="connsiteX0" fmla="*/ 0 w 16192"/>
                    <a:gd name="connsiteY0" fmla="*/ 49574 h 49573"/>
                    <a:gd name="connsiteX1" fmla="*/ 7474 w 16192"/>
                    <a:gd name="connsiteY1" fmla="*/ 32260 h 49573"/>
                    <a:gd name="connsiteX2" fmla="*/ 9217 w 16192"/>
                    <a:gd name="connsiteY2" fmla="*/ 14947 h 49573"/>
                    <a:gd name="connsiteX3" fmla="*/ 16193 w 16192"/>
                    <a:gd name="connsiteY3" fmla="*/ 0 h 49573"/>
                  </a:gdLst>
                  <a:ahLst/>
                  <a:cxnLst>
                    <a:cxn ang="0">
                      <a:pos x="connsiteX0" y="connsiteY0"/>
                    </a:cxn>
                    <a:cxn ang="0">
                      <a:pos x="connsiteX1" y="connsiteY1"/>
                    </a:cxn>
                    <a:cxn ang="0">
                      <a:pos x="connsiteX2" y="connsiteY2"/>
                    </a:cxn>
                    <a:cxn ang="0">
                      <a:pos x="connsiteX3" y="connsiteY3"/>
                    </a:cxn>
                  </a:cxnLst>
                  <a:rect l="l" t="t" r="r" b="b"/>
                  <a:pathLst>
                    <a:path w="16192" h="49573">
                      <a:moveTo>
                        <a:pt x="0" y="49574"/>
                      </a:moveTo>
                      <a:cubicBezTo>
                        <a:pt x="4733" y="42599"/>
                        <a:pt x="6602" y="36620"/>
                        <a:pt x="7474" y="32260"/>
                      </a:cubicBezTo>
                      <a:cubicBezTo>
                        <a:pt x="8844" y="25410"/>
                        <a:pt x="7598" y="21798"/>
                        <a:pt x="9217" y="14947"/>
                      </a:cubicBezTo>
                      <a:cubicBezTo>
                        <a:pt x="10837" y="8221"/>
                        <a:pt x="13826" y="3114"/>
                        <a:pt x="161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1" name="Freeform 8576">
                  <a:extLst>
                    <a:ext uri="{FF2B5EF4-FFF2-40B4-BE49-F238E27FC236}">
                      <a16:creationId xmlns:a16="http://schemas.microsoft.com/office/drawing/2014/main" id="{FC9E84F6-8667-5F9B-2F92-D01CA10E10FF}"/>
                    </a:ext>
                  </a:extLst>
                </p:cNvPr>
                <p:cNvSpPr/>
                <p:nvPr/>
              </p:nvSpPr>
              <p:spPr>
                <a:xfrm>
                  <a:off x="2995362" y="1521172"/>
                  <a:ext cx="14946" cy="50072"/>
                </a:xfrm>
                <a:custGeom>
                  <a:avLst/>
                  <a:gdLst>
                    <a:gd name="connsiteX0" fmla="*/ 14947 w 14946"/>
                    <a:gd name="connsiteY0" fmla="*/ 0 h 50072"/>
                    <a:gd name="connsiteX1" fmla="*/ 11210 w 14946"/>
                    <a:gd name="connsiteY1" fmla="*/ 18435 h 50072"/>
                    <a:gd name="connsiteX2" fmla="*/ 2865 w 14946"/>
                    <a:gd name="connsiteY2" fmla="*/ 33755 h 50072"/>
                    <a:gd name="connsiteX3" fmla="*/ 0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14947" y="0"/>
                      </a:moveTo>
                      <a:cubicBezTo>
                        <a:pt x="14947" y="8470"/>
                        <a:pt x="13079" y="14449"/>
                        <a:pt x="11210" y="18435"/>
                      </a:cubicBezTo>
                      <a:cubicBezTo>
                        <a:pt x="8345" y="24787"/>
                        <a:pt x="5481" y="27154"/>
                        <a:pt x="2865" y="33755"/>
                      </a:cubicBezTo>
                      <a:cubicBezTo>
                        <a:pt x="374"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2" name="Freeform 8577">
                  <a:extLst>
                    <a:ext uri="{FF2B5EF4-FFF2-40B4-BE49-F238E27FC236}">
                      <a16:creationId xmlns:a16="http://schemas.microsoft.com/office/drawing/2014/main" id="{FB924570-B7EC-12C2-5313-970000613525}"/>
                    </a:ext>
                  </a:extLst>
                </p:cNvPr>
                <p:cNvSpPr/>
                <p:nvPr/>
              </p:nvSpPr>
              <p:spPr>
                <a:xfrm>
                  <a:off x="2984773" y="1560825"/>
                  <a:ext cx="26737" cy="26444"/>
                </a:xfrm>
                <a:custGeom>
                  <a:avLst/>
                  <a:gdLst>
                    <a:gd name="connsiteX0" fmla="*/ 625 w 26737"/>
                    <a:gd name="connsiteY0" fmla="*/ 9299 h 26444"/>
                    <a:gd name="connsiteX1" fmla="*/ 17316 w 26737"/>
                    <a:gd name="connsiteY1" fmla="*/ 579 h 26444"/>
                    <a:gd name="connsiteX2" fmla="*/ 26159 w 26737"/>
                    <a:gd name="connsiteY2" fmla="*/ 17146 h 26444"/>
                    <a:gd name="connsiteX3" fmla="*/ 9468 w 26737"/>
                    <a:gd name="connsiteY3" fmla="*/ 25865 h 26444"/>
                    <a:gd name="connsiteX4" fmla="*/ 625 w 26737"/>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7" h="26444">
                      <a:moveTo>
                        <a:pt x="625" y="9299"/>
                      </a:moveTo>
                      <a:cubicBezTo>
                        <a:pt x="2867" y="2323"/>
                        <a:pt x="10340" y="-1538"/>
                        <a:pt x="17316" y="579"/>
                      </a:cubicBezTo>
                      <a:cubicBezTo>
                        <a:pt x="24415" y="2822"/>
                        <a:pt x="28277" y="10170"/>
                        <a:pt x="26159" y="17146"/>
                      </a:cubicBezTo>
                      <a:cubicBezTo>
                        <a:pt x="24042" y="24121"/>
                        <a:pt x="16444" y="27982"/>
                        <a:pt x="9468" y="25865"/>
                      </a:cubicBezTo>
                      <a:cubicBezTo>
                        <a:pt x="2369" y="23747"/>
                        <a:pt x="-1617" y="16274"/>
                        <a:pt x="62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3" name="Freeform 8578">
                  <a:extLst>
                    <a:ext uri="{FF2B5EF4-FFF2-40B4-BE49-F238E27FC236}">
                      <a16:creationId xmlns:a16="http://schemas.microsoft.com/office/drawing/2014/main" id="{2F43A7D1-CF5A-7B13-9B71-C2445CC7D335}"/>
                    </a:ext>
                  </a:extLst>
                </p:cNvPr>
                <p:cNvSpPr/>
                <p:nvPr/>
              </p:nvSpPr>
              <p:spPr>
                <a:xfrm>
                  <a:off x="3012676" y="1463004"/>
                  <a:ext cx="16317" cy="49573"/>
                </a:xfrm>
                <a:custGeom>
                  <a:avLst/>
                  <a:gdLst>
                    <a:gd name="connsiteX0" fmla="*/ 16317 w 16317"/>
                    <a:gd name="connsiteY0" fmla="*/ 0 h 49573"/>
                    <a:gd name="connsiteX1" fmla="*/ 8844 w 16317"/>
                    <a:gd name="connsiteY1" fmla="*/ 17314 h 49573"/>
                    <a:gd name="connsiteX2" fmla="*/ 6975 w 16317"/>
                    <a:gd name="connsiteY2" fmla="*/ 34627 h 49573"/>
                    <a:gd name="connsiteX3" fmla="*/ 0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0"/>
                      </a:moveTo>
                      <a:cubicBezTo>
                        <a:pt x="11584" y="6975"/>
                        <a:pt x="9715" y="12954"/>
                        <a:pt x="8844" y="17314"/>
                      </a:cubicBezTo>
                      <a:cubicBezTo>
                        <a:pt x="7474" y="24164"/>
                        <a:pt x="8595" y="27776"/>
                        <a:pt x="6975" y="34627"/>
                      </a:cubicBezTo>
                      <a:cubicBezTo>
                        <a:pt x="5356" y="41353"/>
                        <a:pt x="2367"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4" name="Freeform 8579">
                  <a:extLst>
                    <a:ext uri="{FF2B5EF4-FFF2-40B4-BE49-F238E27FC236}">
                      <a16:creationId xmlns:a16="http://schemas.microsoft.com/office/drawing/2014/main" id="{4270232F-A437-093F-2413-A2B0BF7EAC77}"/>
                    </a:ext>
                  </a:extLst>
                </p:cNvPr>
                <p:cNvSpPr/>
                <p:nvPr/>
              </p:nvSpPr>
              <p:spPr>
                <a:xfrm>
                  <a:off x="3022391" y="1460139"/>
                  <a:ext cx="14947" cy="50072"/>
                </a:xfrm>
                <a:custGeom>
                  <a:avLst/>
                  <a:gdLst>
                    <a:gd name="connsiteX0" fmla="*/ 0 w 14947"/>
                    <a:gd name="connsiteY0" fmla="*/ 50072 h 50072"/>
                    <a:gd name="connsiteX1" fmla="*/ 3737 w 14947"/>
                    <a:gd name="connsiteY1" fmla="*/ 31638 h 50072"/>
                    <a:gd name="connsiteX2" fmla="*/ 12082 w 14947"/>
                    <a:gd name="connsiteY2" fmla="*/ 16317 h 50072"/>
                    <a:gd name="connsiteX3" fmla="*/ 14947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0" y="50072"/>
                      </a:moveTo>
                      <a:cubicBezTo>
                        <a:pt x="0" y="41602"/>
                        <a:pt x="1868" y="35623"/>
                        <a:pt x="3737" y="31638"/>
                      </a:cubicBezTo>
                      <a:cubicBezTo>
                        <a:pt x="6602" y="25285"/>
                        <a:pt x="9467" y="22919"/>
                        <a:pt x="12082" y="16317"/>
                      </a:cubicBezTo>
                      <a:cubicBezTo>
                        <a:pt x="14573" y="9840"/>
                        <a:pt x="14947" y="3986"/>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5" name="Freeform 8580">
                  <a:extLst>
                    <a:ext uri="{FF2B5EF4-FFF2-40B4-BE49-F238E27FC236}">
                      <a16:creationId xmlns:a16="http://schemas.microsoft.com/office/drawing/2014/main" id="{060CEA07-C2B7-BEF8-AF82-3F31E67CEAD8}"/>
                    </a:ext>
                  </a:extLst>
                </p:cNvPr>
                <p:cNvSpPr/>
                <p:nvPr/>
              </p:nvSpPr>
              <p:spPr>
                <a:xfrm>
                  <a:off x="3021380" y="1443944"/>
                  <a:ext cx="26378" cy="26536"/>
                </a:xfrm>
                <a:custGeom>
                  <a:avLst/>
                  <a:gdLst>
                    <a:gd name="connsiteX0" fmla="*/ 25798 w 26378"/>
                    <a:gd name="connsiteY0" fmla="*/ 17192 h 26536"/>
                    <a:gd name="connsiteX1" fmla="*/ 9232 w 26378"/>
                    <a:gd name="connsiteY1" fmla="*/ 25911 h 26536"/>
                    <a:gd name="connsiteX2" fmla="*/ 638 w 26378"/>
                    <a:gd name="connsiteY2" fmla="*/ 9345 h 26536"/>
                    <a:gd name="connsiteX3" fmla="*/ 17204 w 26378"/>
                    <a:gd name="connsiteY3" fmla="*/ 626 h 26536"/>
                    <a:gd name="connsiteX4" fmla="*/ 25798 w 26378"/>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6">
                      <a:moveTo>
                        <a:pt x="25798" y="17192"/>
                      </a:moveTo>
                      <a:cubicBezTo>
                        <a:pt x="23681" y="24167"/>
                        <a:pt x="16207" y="28153"/>
                        <a:pt x="9232" y="25911"/>
                      </a:cubicBezTo>
                      <a:cubicBezTo>
                        <a:pt x="2257" y="23793"/>
                        <a:pt x="-1604" y="16320"/>
                        <a:pt x="638" y="9345"/>
                      </a:cubicBezTo>
                      <a:cubicBezTo>
                        <a:pt x="2880" y="2370"/>
                        <a:pt x="10229" y="-1616"/>
                        <a:pt x="17204" y="626"/>
                      </a:cubicBezTo>
                      <a:cubicBezTo>
                        <a:pt x="24054" y="2868"/>
                        <a:pt x="27916" y="10217"/>
                        <a:pt x="25798"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3" name="Graphic 2987">
                <a:extLst>
                  <a:ext uri="{FF2B5EF4-FFF2-40B4-BE49-F238E27FC236}">
                    <a16:creationId xmlns:a16="http://schemas.microsoft.com/office/drawing/2014/main" id="{A4BAA6A9-2FD8-089D-EC57-6FB67280653A}"/>
                  </a:ext>
                </a:extLst>
              </p:cNvPr>
              <p:cNvGrpSpPr/>
              <p:nvPr/>
            </p:nvGrpSpPr>
            <p:grpSpPr>
              <a:xfrm>
                <a:off x="2956125" y="1435271"/>
                <a:ext cx="63541" cy="143154"/>
                <a:chOff x="2956125" y="1435271"/>
                <a:chExt cx="63541" cy="143154"/>
              </a:xfrm>
              <a:grpFill/>
            </p:grpSpPr>
            <p:sp>
              <p:nvSpPr>
                <p:cNvPr id="5694" name="Freeform 8582">
                  <a:extLst>
                    <a:ext uri="{FF2B5EF4-FFF2-40B4-BE49-F238E27FC236}">
                      <a16:creationId xmlns:a16="http://schemas.microsoft.com/office/drawing/2014/main" id="{7CE6C04A-AE20-7774-34FF-CC77A43BD93C}"/>
                    </a:ext>
                  </a:extLst>
                </p:cNvPr>
                <p:cNvSpPr/>
                <p:nvPr/>
              </p:nvSpPr>
              <p:spPr>
                <a:xfrm>
                  <a:off x="2975184" y="1510087"/>
                  <a:ext cx="16441" cy="49449"/>
                </a:xfrm>
                <a:custGeom>
                  <a:avLst/>
                  <a:gdLst>
                    <a:gd name="connsiteX0" fmla="*/ 0 w 16441"/>
                    <a:gd name="connsiteY0" fmla="*/ 49449 h 49449"/>
                    <a:gd name="connsiteX1" fmla="*/ 7598 w 16441"/>
                    <a:gd name="connsiteY1" fmla="*/ 32260 h 49449"/>
                    <a:gd name="connsiteX2" fmla="*/ 9466 w 16441"/>
                    <a:gd name="connsiteY2" fmla="*/ 14947 h 49449"/>
                    <a:gd name="connsiteX3" fmla="*/ 16442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0" y="49449"/>
                      </a:moveTo>
                      <a:cubicBezTo>
                        <a:pt x="4858" y="42474"/>
                        <a:pt x="6726" y="36495"/>
                        <a:pt x="7598" y="32260"/>
                      </a:cubicBezTo>
                      <a:cubicBezTo>
                        <a:pt x="8968" y="25410"/>
                        <a:pt x="7847" y="21798"/>
                        <a:pt x="9466" y="14947"/>
                      </a:cubicBezTo>
                      <a:cubicBezTo>
                        <a:pt x="11086" y="8221"/>
                        <a:pt x="14200" y="3239"/>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5" name="Freeform 8583">
                  <a:extLst>
                    <a:ext uri="{FF2B5EF4-FFF2-40B4-BE49-F238E27FC236}">
                      <a16:creationId xmlns:a16="http://schemas.microsoft.com/office/drawing/2014/main" id="{844B14D7-A12D-AD31-812F-F2AD423CB80B}"/>
                    </a:ext>
                  </a:extLst>
                </p:cNvPr>
                <p:cNvSpPr/>
                <p:nvPr/>
              </p:nvSpPr>
              <p:spPr>
                <a:xfrm>
                  <a:off x="2966943" y="1512329"/>
                  <a:ext cx="15092" cy="49947"/>
                </a:xfrm>
                <a:custGeom>
                  <a:avLst/>
                  <a:gdLst>
                    <a:gd name="connsiteX0" fmla="*/ 15092 w 15092"/>
                    <a:gd name="connsiteY0" fmla="*/ 0 h 49947"/>
                    <a:gd name="connsiteX1" fmla="*/ 11356 w 15092"/>
                    <a:gd name="connsiteY1" fmla="*/ 18435 h 49947"/>
                    <a:gd name="connsiteX2" fmla="*/ 2885 w 15092"/>
                    <a:gd name="connsiteY2" fmla="*/ 33755 h 49947"/>
                    <a:gd name="connsiteX3" fmla="*/ 21 w 1509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92" h="49947">
                      <a:moveTo>
                        <a:pt x="15092" y="0"/>
                      </a:moveTo>
                      <a:cubicBezTo>
                        <a:pt x="15092" y="8345"/>
                        <a:pt x="13099" y="14449"/>
                        <a:pt x="11356" y="18435"/>
                      </a:cubicBezTo>
                      <a:cubicBezTo>
                        <a:pt x="8491" y="24787"/>
                        <a:pt x="5501" y="27154"/>
                        <a:pt x="2885" y="33755"/>
                      </a:cubicBezTo>
                      <a:cubicBezTo>
                        <a:pt x="270" y="40232"/>
                        <a:pt x="-104" y="46086"/>
                        <a:pt x="2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6" name="Freeform 8584">
                  <a:extLst>
                    <a:ext uri="{FF2B5EF4-FFF2-40B4-BE49-F238E27FC236}">
                      <a16:creationId xmlns:a16="http://schemas.microsoft.com/office/drawing/2014/main" id="{6B73A8C6-E52B-A63D-1EF9-97F03BC7D1C8}"/>
                    </a:ext>
                  </a:extLst>
                </p:cNvPr>
                <p:cNvSpPr/>
                <p:nvPr/>
              </p:nvSpPr>
              <p:spPr>
                <a:xfrm>
                  <a:off x="2956125" y="1551981"/>
                  <a:ext cx="26862" cy="26444"/>
                </a:xfrm>
                <a:custGeom>
                  <a:avLst/>
                  <a:gdLst>
                    <a:gd name="connsiteX0" fmla="*/ 625 w 26862"/>
                    <a:gd name="connsiteY0" fmla="*/ 9298 h 26444"/>
                    <a:gd name="connsiteX1" fmla="*/ 17440 w 26862"/>
                    <a:gd name="connsiteY1" fmla="*/ 579 h 26444"/>
                    <a:gd name="connsiteX2" fmla="*/ 26284 w 26862"/>
                    <a:gd name="connsiteY2" fmla="*/ 17146 h 26444"/>
                    <a:gd name="connsiteX3" fmla="*/ 9468 w 26862"/>
                    <a:gd name="connsiteY3" fmla="*/ 25865 h 26444"/>
                    <a:gd name="connsiteX4" fmla="*/ 625 w 26862"/>
                    <a:gd name="connsiteY4" fmla="*/ 9298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625" y="9298"/>
                      </a:moveTo>
                      <a:cubicBezTo>
                        <a:pt x="2867" y="2323"/>
                        <a:pt x="10340" y="-1538"/>
                        <a:pt x="17440" y="579"/>
                      </a:cubicBezTo>
                      <a:cubicBezTo>
                        <a:pt x="24540" y="2822"/>
                        <a:pt x="28401" y="10170"/>
                        <a:pt x="26284" y="17146"/>
                      </a:cubicBezTo>
                      <a:cubicBezTo>
                        <a:pt x="24042" y="24121"/>
                        <a:pt x="16568" y="27982"/>
                        <a:pt x="9468" y="25865"/>
                      </a:cubicBezTo>
                      <a:cubicBezTo>
                        <a:pt x="2369" y="23747"/>
                        <a:pt x="-1617" y="16274"/>
                        <a:pt x="62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7" name="Freeform 8585">
                  <a:extLst>
                    <a:ext uri="{FF2B5EF4-FFF2-40B4-BE49-F238E27FC236}">
                      <a16:creationId xmlns:a16="http://schemas.microsoft.com/office/drawing/2014/main" id="{0C7628F3-56DB-150E-0FE9-6D9C0795F2EB}"/>
                    </a:ext>
                  </a:extLst>
                </p:cNvPr>
                <p:cNvSpPr/>
                <p:nvPr/>
              </p:nvSpPr>
              <p:spPr>
                <a:xfrm>
                  <a:off x="2984526" y="1454285"/>
                  <a:ext cx="16441" cy="49449"/>
                </a:xfrm>
                <a:custGeom>
                  <a:avLst/>
                  <a:gdLst>
                    <a:gd name="connsiteX0" fmla="*/ 16442 w 16441"/>
                    <a:gd name="connsiteY0" fmla="*/ 0 h 49449"/>
                    <a:gd name="connsiteX1" fmla="*/ 8844 w 16441"/>
                    <a:gd name="connsiteY1" fmla="*/ 17189 h 49449"/>
                    <a:gd name="connsiteX2" fmla="*/ 6975 w 16441"/>
                    <a:gd name="connsiteY2" fmla="*/ 34502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1708" y="6975"/>
                        <a:pt x="9715" y="12954"/>
                        <a:pt x="8844" y="17189"/>
                      </a:cubicBezTo>
                      <a:cubicBezTo>
                        <a:pt x="7474" y="24040"/>
                        <a:pt x="8595" y="27527"/>
                        <a:pt x="6975" y="34502"/>
                      </a:cubicBezTo>
                      <a:cubicBezTo>
                        <a:pt x="5356" y="41229"/>
                        <a:pt x="2242"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8" name="Freeform 8586">
                  <a:extLst>
                    <a:ext uri="{FF2B5EF4-FFF2-40B4-BE49-F238E27FC236}">
                      <a16:creationId xmlns:a16="http://schemas.microsoft.com/office/drawing/2014/main" id="{7C21335F-3AB3-112C-55F0-927EA6DD9274}"/>
                    </a:ext>
                  </a:extLst>
                </p:cNvPr>
                <p:cNvSpPr/>
                <p:nvPr/>
              </p:nvSpPr>
              <p:spPr>
                <a:xfrm>
                  <a:off x="2994117" y="1451545"/>
                  <a:ext cx="14964" cy="49947"/>
                </a:xfrm>
                <a:custGeom>
                  <a:avLst/>
                  <a:gdLst>
                    <a:gd name="connsiteX0" fmla="*/ 0 w 14964"/>
                    <a:gd name="connsiteY0" fmla="*/ 49948 h 49947"/>
                    <a:gd name="connsiteX1" fmla="*/ 3737 w 14964"/>
                    <a:gd name="connsiteY1" fmla="*/ 31513 h 49947"/>
                    <a:gd name="connsiteX2" fmla="*/ 12082 w 14964"/>
                    <a:gd name="connsiteY2" fmla="*/ 16192 h 49947"/>
                    <a:gd name="connsiteX3" fmla="*/ 14947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0" y="49948"/>
                      </a:moveTo>
                      <a:cubicBezTo>
                        <a:pt x="0" y="41602"/>
                        <a:pt x="1993" y="35499"/>
                        <a:pt x="3737" y="31513"/>
                      </a:cubicBezTo>
                      <a:cubicBezTo>
                        <a:pt x="6602" y="25161"/>
                        <a:pt x="9466" y="22794"/>
                        <a:pt x="12082" y="16192"/>
                      </a:cubicBezTo>
                      <a:cubicBezTo>
                        <a:pt x="14573" y="9716"/>
                        <a:pt x="15071" y="3861"/>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9" name="Freeform 8587">
                  <a:extLst>
                    <a:ext uri="{FF2B5EF4-FFF2-40B4-BE49-F238E27FC236}">
                      <a16:creationId xmlns:a16="http://schemas.microsoft.com/office/drawing/2014/main" id="{147A8AB9-3252-8242-1C9B-141584D01BBF}"/>
                    </a:ext>
                  </a:extLst>
                </p:cNvPr>
                <p:cNvSpPr/>
                <p:nvPr/>
              </p:nvSpPr>
              <p:spPr>
                <a:xfrm>
                  <a:off x="2993230" y="1435271"/>
                  <a:ext cx="26435" cy="26444"/>
                </a:xfrm>
                <a:custGeom>
                  <a:avLst/>
                  <a:gdLst>
                    <a:gd name="connsiteX0" fmla="*/ 25798 w 26435"/>
                    <a:gd name="connsiteY0" fmla="*/ 17146 h 26444"/>
                    <a:gd name="connsiteX1" fmla="*/ 9232 w 26435"/>
                    <a:gd name="connsiteY1" fmla="*/ 25865 h 26444"/>
                    <a:gd name="connsiteX2" fmla="*/ 638 w 26435"/>
                    <a:gd name="connsiteY2" fmla="*/ 9299 h 26444"/>
                    <a:gd name="connsiteX3" fmla="*/ 17204 w 26435"/>
                    <a:gd name="connsiteY3" fmla="*/ 579 h 26444"/>
                    <a:gd name="connsiteX4" fmla="*/ 25798 w 26435"/>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44">
                      <a:moveTo>
                        <a:pt x="25798" y="17146"/>
                      </a:moveTo>
                      <a:cubicBezTo>
                        <a:pt x="23556" y="24121"/>
                        <a:pt x="16207" y="27982"/>
                        <a:pt x="9232" y="25865"/>
                      </a:cubicBezTo>
                      <a:cubicBezTo>
                        <a:pt x="2257" y="23747"/>
                        <a:pt x="-1605" y="16274"/>
                        <a:pt x="638" y="9299"/>
                      </a:cubicBezTo>
                      <a:cubicBezTo>
                        <a:pt x="2880" y="2323"/>
                        <a:pt x="10229" y="-1538"/>
                        <a:pt x="17204" y="579"/>
                      </a:cubicBezTo>
                      <a:cubicBezTo>
                        <a:pt x="24179" y="2822"/>
                        <a:pt x="28040" y="10170"/>
                        <a:pt x="2579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4" name="Graphic 2987">
                <a:extLst>
                  <a:ext uri="{FF2B5EF4-FFF2-40B4-BE49-F238E27FC236}">
                    <a16:creationId xmlns:a16="http://schemas.microsoft.com/office/drawing/2014/main" id="{E7210C93-5A2E-93BD-0BA9-E9E902FAF377}"/>
                  </a:ext>
                </a:extLst>
              </p:cNvPr>
              <p:cNvGrpSpPr/>
              <p:nvPr/>
            </p:nvGrpSpPr>
            <p:grpSpPr>
              <a:xfrm>
                <a:off x="2927589" y="1426552"/>
                <a:ext cx="64052" cy="143088"/>
                <a:chOff x="2927589" y="1426552"/>
                <a:chExt cx="64052" cy="143088"/>
              </a:xfrm>
              <a:grpFill/>
            </p:grpSpPr>
            <p:sp>
              <p:nvSpPr>
                <p:cNvPr id="5688" name="Freeform 8589">
                  <a:extLst>
                    <a:ext uri="{FF2B5EF4-FFF2-40B4-BE49-F238E27FC236}">
                      <a16:creationId xmlns:a16="http://schemas.microsoft.com/office/drawing/2014/main" id="{C57D523F-FF9A-183A-4232-A0B40EE96454}"/>
                    </a:ext>
                  </a:extLst>
                </p:cNvPr>
                <p:cNvSpPr/>
                <p:nvPr/>
              </p:nvSpPr>
              <p:spPr>
                <a:xfrm>
                  <a:off x="2946661" y="1501243"/>
                  <a:ext cx="16690" cy="49449"/>
                </a:xfrm>
                <a:custGeom>
                  <a:avLst/>
                  <a:gdLst>
                    <a:gd name="connsiteX0" fmla="*/ 0 w 16690"/>
                    <a:gd name="connsiteY0" fmla="*/ 49449 h 49449"/>
                    <a:gd name="connsiteX1" fmla="*/ 7598 w 16690"/>
                    <a:gd name="connsiteY1" fmla="*/ 32260 h 49449"/>
                    <a:gd name="connsiteX2" fmla="*/ 9591 w 16690"/>
                    <a:gd name="connsiteY2" fmla="*/ 14947 h 49449"/>
                    <a:gd name="connsiteX3" fmla="*/ 16691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0" y="49449"/>
                      </a:moveTo>
                      <a:cubicBezTo>
                        <a:pt x="4858" y="42474"/>
                        <a:pt x="6726" y="36495"/>
                        <a:pt x="7598" y="32260"/>
                      </a:cubicBezTo>
                      <a:cubicBezTo>
                        <a:pt x="8968" y="25410"/>
                        <a:pt x="7847" y="21922"/>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9" name="Freeform 8590">
                  <a:extLst>
                    <a:ext uri="{FF2B5EF4-FFF2-40B4-BE49-F238E27FC236}">
                      <a16:creationId xmlns:a16="http://schemas.microsoft.com/office/drawing/2014/main" id="{6B9FBC46-EB33-B787-1892-ED4151E0B999}"/>
                    </a:ext>
                  </a:extLst>
                </p:cNvPr>
                <p:cNvSpPr/>
                <p:nvPr/>
              </p:nvSpPr>
              <p:spPr>
                <a:xfrm>
                  <a:off x="2938315" y="1503610"/>
                  <a:ext cx="15320" cy="49823"/>
                </a:xfrm>
                <a:custGeom>
                  <a:avLst/>
                  <a:gdLst>
                    <a:gd name="connsiteX0" fmla="*/ 15321 w 15320"/>
                    <a:gd name="connsiteY0" fmla="*/ 0 h 49823"/>
                    <a:gd name="connsiteX1" fmla="*/ 11459 w 15320"/>
                    <a:gd name="connsiteY1" fmla="*/ 18435 h 49823"/>
                    <a:gd name="connsiteX2" fmla="*/ 2989 w 15320"/>
                    <a:gd name="connsiteY2" fmla="*/ 33631 h 49823"/>
                    <a:gd name="connsiteX3" fmla="*/ 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0"/>
                      </a:moveTo>
                      <a:cubicBezTo>
                        <a:pt x="15196" y="8345"/>
                        <a:pt x="13328" y="14449"/>
                        <a:pt x="11459" y="18435"/>
                      </a:cubicBezTo>
                      <a:cubicBezTo>
                        <a:pt x="8595" y="24787"/>
                        <a:pt x="5605" y="27029"/>
                        <a:pt x="2989" y="33631"/>
                      </a:cubicBezTo>
                      <a:cubicBezTo>
                        <a:pt x="374"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0" name="Freeform 8591">
                  <a:extLst>
                    <a:ext uri="{FF2B5EF4-FFF2-40B4-BE49-F238E27FC236}">
                      <a16:creationId xmlns:a16="http://schemas.microsoft.com/office/drawing/2014/main" id="{99638A8C-CAC9-9900-8B08-6927D261667C}"/>
                    </a:ext>
                  </a:extLst>
                </p:cNvPr>
                <p:cNvSpPr/>
                <p:nvPr/>
              </p:nvSpPr>
              <p:spPr>
                <a:xfrm>
                  <a:off x="2927589" y="1543204"/>
                  <a:ext cx="26796" cy="26435"/>
                </a:xfrm>
                <a:custGeom>
                  <a:avLst/>
                  <a:gdLst>
                    <a:gd name="connsiteX0" fmla="*/ 637 w 26796"/>
                    <a:gd name="connsiteY0" fmla="*/ 9232 h 26435"/>
                    <a:gd name="connsiteX1" fmla="*/ 17452 w 26796"/>
                    <a:gd name="connsiteY1" fmla="*/ 638 h 26435"/>
                    <a:gd name="connsiteX2" fmla="*/ 26171 w 26796"/>
                    <a:gd name="connsiteY2" fmla="*/ 17204 h 26435"/>
                    <a:gd name="connsiteX3" fmla="*/ 9356 w 26796"/>
                    <a:gd name="connsiteY3" fmla="*/ 25798 h 26435"/>
                    <a:gd name="connsiteX4" fmla="*/ 637 w 26796"/>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6" h="26435">
                      <a:moveTo>
                        <a:pt x="637" y="9232"/>
                      </a:moveTo>
                      <a:cubicBezTo>
                        <a:pt x="2879" y="2257"/>
                        <a:pt x="10477" y="-1604"/>
                        <a:pt x="17452" y="638"/>
                      </a:cubicBezTo>
                      <a:cubicBezTo>
                        <a:pt x="24427" y="2880"/>
                        <a:pt x="28413" y="10229"/>
                        <a:pt x="26171" y="17204"/>
                      </a:cubicBezTo>
                      <a:cubicBezTo>
                        <a:pt x="23929" y="24179"/>
                        <a:pt x="16456" y="28040"/>
                        <a:pt x="9356" y="25798"/>
                      </a:cubicBezTo>
                      <a:cubicBezTo>
                        <a:pt x="2256" y="23556"/>
                        <a:pt x="-1605" y="16207"/>
                        <a:pt x="637"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1" name="Freeform 8592">
                  <a:extLst>
                    <a:ext uri="{FF2B5EF4-FFF2-40B4-BE49-F238E27FC236}">
                      <a16:creationId xmlns:a16="http://schemas.microsoft.com/office/drawing/2014/main" id="{EB2FF9CF-8530-D6D7-13C4-F646DE8C1649}"/>
                    </a:ext>
                  </a:extLst>
                </p:cNvPr>
                <p:cNvSpPr/>
                <p:nvPr/>
              </p:nvSpPr>
              <p:spPr>
                <a:xfrm>
                  <a:off x="2956127" y="1445566"/>
                  <a:ext cx="16690" cy="49449"/>
                </a:xfrm>
                <a:custGeom>
                  <a:avLst/>
                  <a:gdLst>
                    <a:gd name="connsiteX0" fmla="*/ 16691 w 16690"/>
                    <a:gd name="connsiteY0" fmla="*/ 0 h 49449"/>
                    <a:gd name="connsiteX1" fmla="*/ 9093 w 16690"/>
                    <a:gd name="connsiteY1" fmla="*/ 17189 h 49449"/>
                    <a:gd name="connsiteX2" fmla="*/ 7100 w 16690"/>
                    <a:gd name="connsiteY2" fmla="*/ 34502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1833" y="6975"/>
                        <a:pt x="9965" y="12954"/>
                        <a:pt x="9093" y="17189"/>
                      </a:cubicBezTo>
                      <a:cubicBezTo>
                        <a:pt x="7723" y="24040"/>
                        <a:pt x="8843" y="27527"/>
                        <a:pt x="7100" y="34502"/>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2" name="Freeform 8593">
                  <a:extLst>
                    <a:ext uri="{FF2B5EF4-FFF2-40B4-BE49-F238E27FC236}">
                      <a16:creationId xmlns:a16="http://schemas.microsoft.com/office/drawing/2014/main" id="{FEB591F4-E8A6-CE5F-4123-E16E06EA0906}"/>
                    </a:ext>
                  </a:extLst>
                </p:cNvPr>
                <p:cNvSpPr/>
                <p:nvPr/>
              </p:nvSpPr>
              <p:spPr>
                <a:xfrm>
                  <a:off x="2965842" y="1442826"/>
                  <a:ext cx="15320" cy="49823"/>
                </a:xfrm>
                <a:custGeom>
                  <a:avLst/>
                  <a:gdLst>
                    <a:gd name="connsiteX0" fmla="*/ 0 w 15320"/>
                    <a:gd name="connsiteY0" fmla="*/ 49823 h 49823"/>
                    <a:gd name="connsiteX1" fmla="*/ 3861 w 15320"/>
                    <a:gd name="connsiteY1" fmla="*/ 31389 h 49823"/>
                    <a:gd name="connsiteX2" fmla="*/ 12331 w 15320"/>
                    <a:gd name="connsiteY2" fmla="*/ 16193 h 49823"/>
                    <a:gd name="connsiteX3" fmla="*/ 15321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0" y="49823"/>
                      </a:moveTo>
                      <a:cubicBezTo>
                        <a:pt x="124" y="41478"/>
                        <a:pt x="1993" y="35374"/>
                        <a:pt x="3861" y="31389"/>
                      </a:cubicBezTo>
                      <a:cubicBezTo>
                        <a:pt x="6726" y="25036"/>
                        <a:pt x="9715" y="22670"/>
                        <a:pt x="12331" y="16193"/>
                      </a:cubicBezTo>
                      <a:cubicBezTo>
                        <a:pt x="14947" y="9840"/>
                        <a:pt x="15321" y="3861"/>
                        <a:pt x="153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3" name="Freeform 8594">
                  <a:extLst>
                    <a:ext uri="{FF2B5EF4-FFF2-40B4-BE49-F238E27FC236}">
                      <a16:creationId xmlns:a16="http://schemas.microsoft.com/office/drawing/2014/main" id="{FEA8BA81-3287-D543-B2FC-08BFE3F7C066}"/>
                    </a:ext>
                  </a:extLst>
                </p:cNvPr>
                <p:cNvSpPr/>
                <p:nvPr/>
              </p:nvSpPr>
              <p:spPr>
                <a:xfrm>
                  <a:off x="2965317" y="1426552"/>
                  <a:ext cx="26324" cy="26444"/>
                </a:xfrm>
                <a:custGeom>
                  <a:avLst/>
                  <a:gdLst>
                    <a:gd name="connsiteX0" fmla="*/ 25686 w 26324"/>
                    <a:gd name="connsiteY0" fmla="*/ 17146 h 26444"/>
                    <a:gd name="connsiteX1" fmla="*/ 9120 w 26324"/>
                    <a:gd name="connsiteY1" fmla="*/ 25865 h 26444"/>
                    <a:gd name="connsiteX2" fmla="*/ 650 w 26324"/>
                    <a:gd name="connsiteY2" fmla="*/ 9298 h 26444"/>
                    <a:gd name="connsiteX3" fmla="*/ 17216 w 26324"/>
                    <a:gd name="connsiteY3" fmla="*/ 579 h 26444"/>
                    <a:gd name="connsiteX4" fmla="*/ 25686 w 26324"/>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44">
                      <a:moveTo>
                        <a:pt x="25686" y="17146"/>
                      </a:moveTo>
                      <a:cubicBezTo>
                        <a:pt x="23444" y="24121"/>
                        <a:pt x="15971" y="27982"/>
                        <a:pt x="9120" y="25865"/>
                      </a:cubicBezTo>
                      <a:cubicBezTo>
                        <a:pt x="2145" y="23747"/>
                        <a:pt x="-1592" y="16274"/>
                        <a:pt x="650" y="9298"/>
                      </a:cubicBezTo>
                      <a:cubicBezTo>
                        <a:pt x="2892" y="2323"/>
                        <a:pt x="10365" y="-1538"/>
                        <a:pt x="17216" y="579"/>
                      </a:cubicBezTo>
                      <a:cubicBezTo>
                        <a:pt x="24067" y="2697"/>
                        <a:pt x="27928" y="10170"/>
                        <a:pt x="25686"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5" name="Graphic 2987">
                <a:extLst>
                  <a:ext uri="{FF2B5EF4-FFF2-40B4-BE49-F238E27FC236}">
                    <a16:creationId xmlns:a16="http://schemas.microsoft.com/office/drawing/2014/main" id="{04677987-7F2B-CC60-C8FD-8E9F3C5B48C9}"/>
                  </a:ext>
                </a:extLst>
              </p:cNvPr>
              <p:cNvGrpSpPr/>
              <p:nvPr/>
            </p:nvGrpSpPr>
            <p:grpSpPr>
              <a:xfrm>
                <a:off x="2899018" y="1417957"/>
                <a:ext cx="64597" cy="142839"/>
                <a:chOff x="2899018" y="1417957"/>
                <a:chExt cx="64597" cy="142839"/>
              </a:xfrm>
              <a:grpFill/>
            </p:grpSpPr>
            <p:sp>
              <p:nvSpPr>
                <p:cNvPr id="5682" name="Freeform 8596">
                  <a:extLst>
                    <a:ext uri="{FF2B5EF4-FFF2-40B4-BE49-F238E27FC236}">
                      <a16:creationId xmlns:a16="http://schemas.microsoft.com/office/drawing/2014/main" id="{9DCF6EF9-6466-EFE4-1BFE-0C6FE8123727}"/>
                    </a:ext>
                  </a:extLst>
                </p:cNvPr>
                <p:cNvSpPr/>
                <p:nvPr/>
              </p:nvSpPr>
              <p:spPr>
                <a:xfrm>
                  <a:off x="2918137" y="1492400"/>
                  <a:ext cx="16815" cy="49449"/>
                </a:xfrm>
                <a:custGeom>
                  <a:avLst/>
                  <a:gdLst>
                    <a:gd name="connsiteX0" fmla="*/ 0 w 16815"/>
                    <a:gd name="connsiteY0" fmla="*/ 49449 h 49449"/>
                    <a:gd name="connsiteX1" fmla="*/ 7723 w 16815"/>
                    <a:gd name="connsiteY1" fmla="*/ 32260 h 49449"/>
                    <a:gd name="connsiteX2" fmla="*/ 9715 w 16815"/>
                    <a:gd name="connsiteY2" fmla="*/ 14947 h 49449"/>
                    <a:gd name="connsiteX3" fmla="*/ 16815 w 16815"/>
                    <a:gd name="connsiteY3" fmla="*/ 0 h 49449"/>
                  </a:gdLst>
                  <a:ahLst/>
                  <a:cxnLst>
                    <a:cxn ang="0">
                      <a:pos x="connsiteX0" y="connsiteY0"/>
                    </a:cxn>
                    <a:cxn ang="0">
                      <a:pos x="connsiteX1" y="connsiteY1"/>
                    </a:cxn>
                    <a:cxn ang="0">
                      <a:pos x="connsiteX2" y="connsiteY2"/>
                    </a:cxn>
                    <a:cxn ang="0">
                      <a:pos x="connsiteX3" y="connsiteY3"/>
                    </a:cxn>
                  </a:cxnLst>
                  <a:rect l="l" t="t" r="r" b="b"/>
                  <a:pathLst>
                    <a:path w="16815" h="49449">
                      <a:moveTo>
                        <a:pt x="0" y="49449"/>
                      </a:moveTo>
                      <a:cubicBezTo>
                        <a:pt x="4858" y="42599"/>
                        <a:pt x="6851" y="36495"/>
                        <a:pt x="7723" y="32260"/>
                      </a:cubicBezTo>
                      <a:cubicBezTo>
                        <a:pt x="9093" y="25410"/>
                        <a:pt x="7972" y="21922"/>
                        <a:pt x="9715" y="14947"/>
                      </a:cubicBezTo>
                      <a:cubicBezTo>
                        <a:pt x="11335" y="8221"/>
                        <a:pt x="14449" y="3239"/>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3" name="Freeform 8597">
                  <a:extLst>
                    <a:ext uri="{FF2B5EF4-FFF2-40B4-BE49-F238E27FC236}">
                      <a16:creationId xmlns:a16="http://schemas.microsoft.com/office/drawing/2014/main" id="{96C1514B-D515-BE89-4A9F-D9523F217407}"/>
                    </a:ext>
                  </a:extLst>
                </p:cNvPr>
                <p:cNvSpPr/>
                <p:nvPr/>
              </p:nvSpPr>
              <p:spPr>
                <a:xfrm>
                  <a:off x="2909791" y="1494766"/>
                  <a:ext cx="15445" cy="49698"/>
                </a:xfrm>
                <a:custGeom>
                  <a:avLst/>
                  <a:gdLst>
                    <a:gd name="connsiteX0" fmla="*/ 15445 w 15445"/>
                    <a:gd name="connsiteY0" fmla="*/ 0 h 49698"/>
                    <a:gd name="connsiteX1" fmla="*/ 11584 w 15445"/>
                    <a:gd name="connsiteY1" fmla="*/ 18310 h 49698"/>
                    <a:gd name="connsiteX2" fmla="*/ 2989 w 15445"/>
                    <a:gd name="connsiteY2" fmla="*/ 33506 h 49698"/>
                    <a:gd name="connsiteX3" fmla="*/ 0 w 15445"/>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0"/>
                      </a:moveTo>
                      <a:cubicBezTo>
                        <a:pt x="15321" y="8345"/>
                        <a:pt x="13328" y="14449"/>
                        <a:pt x="11584" y="18310"/>
                      </a:cubicBezTo>
                      <a:cubicBezTo>
                        <a:pt x="8719" y="24662"/>
                        <a:pt x="5730" y="26904"/>
                        <a:pt x="2989" y="33506"/>
                      </a:cubicBezTo>
                      <a:cubicBezTo>
                        <a:pt x="374"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4" name="Freeform 8598">
                  <a:extLst>
                    <a:ext uri="{FF2B5EF4-FFF2-40B4-BE49-F238E27FC236}">
                      <a16:creationId xmlns:a16="http://schemas.microsoft.com/office/drawing/2014/main" id="{8F8C4690-FDF0-BDB2-B9E5-57D120DE876A}"/>
                    </a:ext>
                  </a:extLst>
                </p:cNvPr>
                <p:cNvSpPr/>
                <p:nvPr/>
              </p:nvSpPr>
              <p:spPr>
                <a:xfrm>
                  <a:off x="2899018" y="1534361"/>
                  <a:ext cx="26979" cy="26435"/>
                </a:xfrm>
                <a:custGeom>
                  <a:avLst/>
                  <a:gdLst>
                    <a:gd name="connsiteX0" fmla="*/ 684 w 26979"/>
                    <a:gd name="connsiteY0" fmla="*/ 9232 h 26435"/>
                    <a:gd name="connsiteX1" fmla="*/ 17624 w 26979"/>
                    <a:gd name="connsiteY1" fmla="*/ 638 h 26435"/>
                    <a:gd name="connsiteX2" fmla="*/ 26343 w 26979"/>
                    <a:gd name="connsiteY2" fmla="*/ 17204 h 26435"/>
                    <a:gd name="connsiteX3" fmla="*/ 9403 w 26979"/>
                    <a:gd name="connsiteY3" fmla="*/ 25798 h 26435"/>
                    <a:gd name="connsiteX4" fmla="*/ 684 w 26979"/>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8" h="26435">
                      <a:moveTo>
                        <a:pt x="684" y="9232"/>
                      </a:moveTo>
                      <a:cubicBezTo>
                        <a:pt x="2926" y="2257"/>
                        <a:pt x="10524" y="-1604"/>
                        <a:pt x="17624" y="638"/>
                      </a:cubicBezTo>
                      <a:cubicBezTo>
                        <a:pt x="24723" y="2880"/>
                        <a:pt x="28585" y="10229"/>
                        <a:pt x="26343" y="17204"/>
                      </a:cubicBezTo>
                      <a:cubicBezTo>
                        <a:pt x="24101" y="24179"/>
                        <a:pt x="16503" y="28040"/>
                        <a:pt x="9403" y="25798"/>
                      </a:cubicBezTo>
                      <a:cubicBezTo>
                        <a:pt x="2303" y="23556"/>
                        <a:pt x="-1683" y="16207"/>
                        <a:pt x="684"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5" name="Freeform 8599">
                  <a:extLst>
                    <a:ext uri="{FF2B5EF4-FFF2-40B4-BE49-F238E27FC236}">
                      <a16:creationId xmlns:a16="http://schemas.microsoft.com/office/drawing/2014/main" id="{46B43068-D0C6-5D54-096C-AC8EAD4EF988}"/>
                    </a:ext>
                  </a:extLst>
                </p:cNvPr>
                <p:cNvSpPr/>
                <p:nvPr/>
              </p:nvSpPr>
              <p:spPr>
                <a:xfrm>
                  <a:off x="2927852" y="1436847"/>
                  <a:ext cx="16815" cy="49324"/>
                </a:xfrm>
                <a:custGeom>
                  <a:avLst/>
                  <a:gdLst>
                    <a:gd name="connsiteX0" fmla="*/ 16815 w 16815"/>
                    <a:gd name="connsiteY0" fmla="*/ 0 h 49324"/>
                    <a:gd name="connsiteX1" fmla="*/ 9093 w 16815"/>
                    <a:gd name="connsiteY1" fmla="*/ 17189 h 49324"/>
                    <a:gd name="connsiteX2" fmla="*/ 7100 w 16815"/>
                    <a:gd name="connsiteY2" fmla="*/ 34378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1958" y="6975"/>
                        <a:pt x="9965" y="12954"/>
                        <a:pt x="9093" y="17189"/>
                      </a:cubicBezTo>
                      <a:cubicBezTo>
                        <a:pt x="7723" y="24040"/>
                        <a:pt x="8719" y="27527"/>
                        <a:pt x="7100" y="34378"/>
                      </a:cubicBezTo>
                      <a:cubicBezTo>
                        <a:pt x="5481" y="41104"/>
                        <a:pt x="2367" y="46086"/>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6" name="Freeform 8600">
                  <a:extLst>
                    <a:ext uri="{FF2B5EF4-FFF2-40B4-BE49-F238E27FC236}">
                      <a16:creationId xmlns:a16="http://schemas.microsoft.com/office/drawing/2014/main" id="{CDCB8BFB-28E1-E2B3-90DD-AD273AD5768B}"/>
                    </a:ext>
                  </a:extLst>
                </p:cNvPr>
                <p:cNvSpPr/>
                <p:nvPr/>
              </p:nvSpPr>
              <p:spPr>
                <a:xfrm>
                  <a:off x="2937443" y="1434231"/>
                  <a:ext cx="15445" cy="49698"/>
                </a:xfrm>
                <a:custGeom>
                  <a:avLst/>
                  <a:gdLst>
                    <a:gd name="connsiteX0" fmla="*/ 0 w 15445"/>
                    <a:gd name="connsiteY0" fmla="*/ 49699 h 49698"/>
                    <a:gd name="connsiteX1" fmla="*/ 3861 w 15445"/>
                    <a:gd name="connsiteY1" fmla="*/ 31389 h 49698"/>
                    <a:gd name="connsiteX2" fmla="*/ 12456 w 15445"/>
                    <a:gd name="connsiteY2" fmla="*/ 16192 h 49698"/>
                    <a:gd name="connsiteX3" fmla="*/ 15445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0" y="49699"/>
                      </a:moveTo>
                      <a:cubicBezTo>
                        <a:pt x="124" y="41353"/>
                        <a:pt x="2117" y="35250"/>
                        <a:pt x="3861" y="31389"/>
                      </a:cubicBezTo>
                      <a:cubicBezTo>
                        <a:pt x="6726" y="25036"/>
                        <a:pt x="9715" y="22794"/>
                        <a:pt x="12456" y="16192"/>
                      </a:cubicBezTo>
                      <a:cubicBezTo>
                        <a:pt x="15071" y="9840"/>
                        <a:pt x="15445" y="3986"/>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7" name="Freeform 8601">
                  <a:extLst>
                    <a:ext uri="{FF2B5EF4-FFF2-40B4-BE49-F238E27FC236}">
                      <a16:creationId xmlns:a16="http://schemas.microsoft.com/office/drawing/2014/main" id="{164DFE81-8F6D-EE10-EAF2-D3A945995EC7}"/>
                    </a:ext>
                  </a:extLst>
                </p:cNvPr>
                <p:cNvSpPr/>
                <p:nvPr/>
              </p:nvSpPr>
              <p:spPr>
                <a:xfrm>
                  <a:off x="2937167" y="1417957"/>
                  <a:ext cx="26449" cy="26319"/>
                </a:xfrm>
                <a:custGeom>
                  <a:avLst/>
                  <a:gdLst>
                    <a:gd name="connsiteX0" fmla="*/ 25811 w 26449"/>
                    <a:gd name="connsiteY0" fmla="*/ 17021 h 26319"/>
                    <a:gd name="connsiteX1" fmla="*/ 9120 w 26449"/>
                    <a:gd name="connsiteY1" fmla="*/ 25740 h 26319"/>
                    <a:gd name="connsiteX2" fmla="*/ 650 w 26449"/>
                    <a:gd name="connsiteY2" fmla="*/ 9298 h 26319"/>
                    <a:gd name="connsiteX3" fmla="*/ 17341 w 26449"/>
                    <a:gd name="connsiteY3" fmla="*/ 579 h 26319"/>
                    <a:gd name="connsiteX4" fmla="*/ 25811 w 26449"/>
                    <a:gd name="connsiteY4" fmla="*/ 17021 h 2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319">
                      <a:moveTo>
                        <a:pt x="25811" y="17021"/>
                      </a:moveTo>
                      <a:cubicBezTo>
                        <a:pt x="23569" y="23996"/>
                        <a:pt x="16095" y="27858"/>
                        <a:pt x="9120" y="25740"/>
                      </a:cubicBezTo>
                      <a:cubicBezTo>
                        <a:pt x="2145" y="23623"/>
                        <a:pt x="-1592" y="16149"/>
                        <a:pt x="650" y="9298"/>
                      </a:cubicBezTo>
                      <a:cubicBezTo>
                        <a:pt x="2892" y="2323"/>
                        <a:pt x="10365" y="-1538"/>
                        <a:pt x="17341" y="579"/>
                      </a:cubicBezTo>
                      <a:cubicBezTo>
                        <a:pt x="24191" y="2697"/>
                        <a:pt x="28053" y="10170"/>
                        <a:pt x="25811" y="170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6" name="Graphic 2987">
                <a:extLst>
                  <a:ext uri="{FF2B5EF4-FFF2-40B4-BE49-F238E27FC236}">
                    <a16:creationId xmlns:a16="http://schemas.microsoft.com/office/drawing/2014/main" id="{1BE55F5B-DDAE-47B5-7665-1D37B5CD03DC}"/>
                  </a:ext>
                </a:extLst>
              </p:cNvPr>
              <p:cNvGrpSpPr/>
              <p:nvPr/>
            </p:nvGrpSpPr>
            <p:grpSpPr>
              <a:xfrm>
                <a:off x="2870653" y="1408595"/>
                <a:ext cx="64886" cy="142946"/>
                <a:chOff x="2870653" y="1408595"/>
                <a:chExt cx="64886" cy="142946"/>
              </a:xfrm>
              <a:grpFill/>
            </p:grpSpPr>
            <p:sp>
              <p:nvSpPr>
                <p:cNvPr id="5676" name="Freeform 8603">
                  <a:extLst>
                    <a:ext uri="{FF2B5EF4-FFF2-40B4-BE49-F238E27FC236}">
                      <a16:creationId xmlns:a16="http://schemas.microsoft.com/office/drawing/2014/main" id="{9D52238E-CCA2-356B-9890-42BCCEEB66AB}"/>
                    </a:ext>
                  </a:extLst>
                </p:cNvPr>
                <p:cNvSpPr/>
                <p:nvPr/>
              </p:nvSpPr>
              <p:spPr>
                <a:xfrm>
                  <a:off x="2889738" y="1483431"/>
                  <a:ext cx="17064" cy="49200"/>
                </a:xfrm>
                <a:custGeom>
                  <a:avLst/>
                  <a:gdLst>
                    <a:gd name="connsiteX0" fmla="*/ 0 w 17064"/>
                    <a:gd name="connsiteY0" fmla="*/ 49200 h 49200"/>
                    <a:gd name="connsiteX1" fmla="*/ 7723 w 17064"/>
                    <a:gd name="connsiteY1" fmla="*/ 32136 h 49200"/>
                    <a:gd name="connsiteX2" fmla="*/ 9840 w 17064"/>
                    <a:gd name="connsiteY2" fmla="*/ 14822 h 49200"/>
                    <a:gd name="connsiteX3" fmla="*/ 17064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0" y="49200"/>
                      </a:moveTo>
                      <a:cubicBezTo>
                        <a:pt x="4858" y="42350"/>
                        <a:pt x="6851" y="36371"/>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7" name="Freeform 8604">
                  <a:extLst>
                    <a:ext uri="{FF2B5EF4-FFF2-40B4-BE49-F238E27FC236}">
                      <a16:creationId xmlns:a16="http://schemas.microsoft.com/office/drawing/2014/main" id="{59F01E98-7EAC-6980-870D-9AD3FCF960B7}"/>
                    </a:ext>
                  </a:extLst>
                </p:cNvPr>
                <p:cNvSpPr/>
                <p:nvPr/>
              </p:nvSpPr>
              <p:spPr>
                <a:xfrm>
                  <a:off x="2881392" y="1485424"/>
                  <a:ext cx="15694" cy="49698"/>
                </a:xfrm>
                <a:custGeom>
                  <a:avLst/>
                  <a:gdLst>
                    <a:gd name="connsiteX0" fmla="*/ 15694 w 15694"/>
                    <a:gd name="connsiteY0" fmla="*/ 0 h 49698"/>
                    <a:gd name="connsiteX1" fmla="*/ 11708 w 15694"/>
                    <a:gd name="connsiteY1" fmla="*/ 18435 h 49698"/>
                    <a:gd name="connsiteX2" fmla="*/ 3114 w 15694"/>
                    <a:gd name="connsiteY2" fmla="*/ 33506 h 49698"/>
                    <a:gd name="connsiteX3" fmla="*/ 0 w 15694"/>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0"/>
                      </a:moveTo>
                      <a:cubicBezTo>
                        <a:pt x="15570" y="8470"/>
                        <a:pt x="13452" y="14449"/>
                        <a:pt x="11708" y="18435"/>
                      </a:cubicBezTo>
                      <a:cubicBezTo>
                        <a:pt x="8843" y="24787"/>
                        <a:pt x="5854" y="27029"/>
                        <a:pt x="3114" y="33506"/>
                      </a:cubicBezTo>
                      <a:cubicBezTo>
                        <a:pt x="498" y="39858"/>
                        <a:pt x="0" y="45837"/>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8" name="Freeform 8605">
                  <a:extLst>
                    <a:ext uri="{FF2B5EF4-FFF2-40B4-BE49-F238E27FC236}">
                      <a16:creationId xmlns:a16="http://schemas.microsoft.com/office/drawing/2014/main" id="{932A714B-728E-05C5-8093-848F32AEB83A}"/>
                    </a:ext>
                  </a:extLst>
                </p:cNvPr>
                <p:cNvSpPr/>
                <p:nvPr/>
              </p:nvSpPr>
              <p:spPr>
                <a:xfrm>
                  <a:off x="2870653" y="1524932"/>
                  <a:ext cx="26632" cy="26609"/>
                </a:xfrm>
                <a:custGeom>
                  <a:avLst/>
                  <a:gdLst>
                    <a:gd name="connsiteX0" fmla="*/ 650 w 26632"/>
                    <a:gd name="connsiteY0" fmla="*/ 8945 h 26609"/>
                    <a:gd name="connsiteX1" fmla="*/ 17465 w 26632"/>
                    <a:gd name="connsiteY1" fmla="*/ 724 h 26609"/>
                    <a:gd name="connsiteX2" fmla="*/ 25935 w 26632"/>
                    <a:gd name="connsiteY2" fmla="*/ 17664 h 26609"/>
                    <a:gd name="connsiteX3" fmla="*/ 9120 w 26632"/>
                    <a:gd name="connsiteY3" fmla="*/ 25885 h 26609"/>
                    <a:gd name="connsiteX4" fmla="*/ 650 w 26632"/>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609">
                      <a:moveTo>
                        <a:pt x="650" y="8945"/>
                      </a:moveTo>
                      <a:cubicBezTo>
                        <a:pt x="3017" y="1970"/>
                        <a:pt x="10490" y="-1642"/>
                        <a:pt x="17465" y="724"/>
                      </a:cubicBezTo>
                      <a:cubicBezTo>
                        <a:pt x="24440" y="3091"/>
                        <a:pt x="28302" y="10689"/>
                        <a:pt x="25935" y="17664"/>
                      </a:cubicBezTo>
                      <a:cubicBezTo>
                        <a:pt x="23693" y="24639"/>
                        <a:pt x="16095" y="28252"/>
                        <a:pt x="9120" y="25885"/>
                      </a:cubicBezTo>
                      <a:cubicBezTo>
                        <a:pt x="2145" y="23394"/>
                        <a:pt x="-1592" y="15796"/>
                        <a:pt x="65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9" name="Freeform 8606">
                  <a:extLst>
                    <a:ext uri="{FF2B5EF4-FFF2-40B4-BE49-F238E27FC236}">
                      <a16:creationId xmlns:a16="http://schemas.microsoft.com/office/drawing/2014/main" id="{2A8AE00C-3215-B347-0692-8137BA108C83}"/>
                    </a:ext>
                  </a:extLst>
                </p:cNvPr>
                <p:cNvSpPr/>
                <p:nvPr/>
              </p:nvSpPr>
              <p:spPr>
                <a:xfrm>
                  <a:off x="2899702" y="1427505"/>
                  <a:ext cx="17064" cy="49200"/>
                </a:xfrm>
                <a:custGeom>
                  <a:avLst/>
                  <a:gdLst>
                    <a:gd name="connsiteX0" fmla="*/ 17064 w 17064"/>
                    <a:gd name="connsiteY0" fmla="*/ 0 h 49200"/>
                    <a:gd name="connsiteX1" fmla="*/ 9342 w 17064"/>
                    <a:gd name="connsiteY1" fmla="*/ 17064 h 49200"/>
                    <a:gd name="connsiteX2" fmla="*/ 7224 w 17064"/>
                    <a:gd name="connsiteY2" fmla="*/ 34378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2207"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0" name="Freeform 8607">
                  <a:extLst>
                    <a:ext uri="{FF2B5EF4-FFF2-40B4-BE49-F238E27FC236}">
                      <a16:creationId xmlns:a16="http://schemas.microsoft.com/office/drawing/2014/main" id="{7AF7463A-D159-5415-7D02-565E7F37065C}"/>
                    </a:ext>
                  </a:extLst>
                </p:cNvPr>
                <p:cNvSpPr/>
                <p:nvPr/>
              </p:nvSpPr>
              <p:spPr>
                <a:xfrm>
                  <a:off x="2909293" y="1425138"/>
                  <a:ext cx="15694" cy="49698"/>
                </a:xfrm>
                <a:custGeom>
                  <a:avLst/>
                  <a:gdLst>
                    <a:gd name="connsiteX0" fmla="*/ 0 w 15694"/>
                    <a:gd name="connsiteY0" fmla="*/ 49699 h 49698"/>
                    <a:gd name="connsiteX1" fmla="*/ 3986 w 15694"/>
                    <a:gd name="connsiteY1" fmla="*/ 31264 h 49698"/>
                    <a:gd name="connsiteX2" fmla="*/ 12580 w 15694"/>
                    <a:gd name="connsiteY2" fmla="*/ 16193 h 49698"/>
                    <a:gd name="connsiteX3" fmla="*/ 15694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0" y="49699"/>
                      </a:moveTo>
                      <a:cubicBezTo>
                        <a:pt x="124" y="41229"/>
                        <a:pt x="2242" y="35250"/>
                        <a:pt x="3986" y="31264"/>
                      </a:cubicBezTo>
                      <a:cubicBezTo>
                        <a:pt x="6851" y="24912"/>
                        <a:pt x="9840" y="22670"/>
                        <a:pt x="12580" y="16193"/>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1" name="Freeform 8608">
                  <a:extLst>
                    <a:ext uri="{FF2B5EF4-FFF2-40B4-BE49-F238E27FC236}">
                      <a16:creationId xmlns:a16="http://schemas.microsoft.com/office/drawing/2014/main" id="{C2DE7C58-AA68-3017-28BE-7C95EAB7C410}"/>
                    </a:ext>
                  </a:extLst>
                </p:cNvPr>
                <p:cNvSpPr/>
                <p:nvPr/>
              </p:nvSpPr>
              <p:spPr>
                <a:xfrm>
                  <a:off x="2909329" y="1408595"/>
                  <a:ext cx="26210" cy="26658"/>
                </a:xfrm>
                <a:custGeom>
                  <a:avLst/>
                  <a:gdLst>
                    <a:gd name="connsiteX0" fmla="*/ 25499 w 26210"/>
                    <a:gd name="connsiteY0" fmla="*/ 17664 h 26658"/>
                    <a:gd name="connsiteX1" fmla="*/ 8932 w 26210"/>
                    <a:gd name="connsiteY1" fmla="*/ 25885 h 26658"/>
                    <a:gd name="connsiteX2" fmla="*/ 712 w 26210"/>
                    <a:gd name="connsiteY2" fmla="*/ 8945 h 26658"/>
                    <a:gd name="connsiteX3" fmla="*/ 17278 w 26210"/>
                    <a:gd name="connsiteY3" fmla="*/ 724 h 26658"/>
                    <a:gd name="connsiteX4" fmla="*/ 25499 w 26210"/>
                    <a:gd name="connsiteY4" fmla="*/ 17664 h 26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658">
                      <a:moveTo>
                        <a:pt x="25499" y="17664"/>
                      </a:moveTo>
                      <a:cubicBezTo>
                        <a:pt x="23257" y="24639"/>
                        <a:pt x="15783" y="28376"/>
                        <a:pt x="8932" y="25885"/>
                      </a:cubicBezTo>
                      <a:cubicBezTo>
                        <a:pt x="2082" y="23518"/>
                        <a:pt x="-1655" y="15920"/>
                        <a:pt x="712" y="8945"/>
                      </a:cubicBezTo>
                      <a:cubicBezTo>
                        <a:pt x="3078" y="1970"/>
                        <a:pt x="10427" y="-1642"/>
                        <a:pt x="17278" y="724"/>
                      </a:cubicBezTo>
                      <a:cubicBezTo>
                        <a:pt x="24128" y="3215"/>
                        <a:pt x="27865" y="10813"/>
                        <a:pt x="25499"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7" name="Graphic 2987">
                <a:extLst>
                  <a:ext uri="{FF2B5EF4-FFF2-40B4-BE49-F238E27FC236}">
                    <a16:creationId xmlns:a16="http://schemas.microsoft.com/office/drawing/2014/main" id="{384449BB-5E86-86D7-6F37-A64E53247246}"/>
                  </a:ext>
                </a:extLst>
              </p:cNvPr>
              <p:cNvGrpSpPr/>
              <p:nvPr/>
            </p:nvGrpSpPr>
            <p:grpSpPr>
              <a:xfrm>
                <a:off x="2842319" y="1399004"/>
                <a:ext cx="65444" cy="142697"/>
                <a:chOff x="2842319" y="1399004"/>
                <a:chExt cx="65444" cy="142697"/>
              </a:xfrm>
              <a:grpFill/>
            </p:grpSpPr>
            <p:sp>
              <p:nvSpPr>
                <p:cNvPr id="5670" name="Freeform 8610">
                  <a:extLst>
                    <a:ext uri="{FF2B5EF4-FFF2-40B4-BE49-F238E27FC236}">
                      <a16:creationId xmlns:a16="http://schemas.microsoft.com/office/drawing/2014/main" id="{4028D628-A9D7-D85D-8367-5798EBAE117C}"/>
                    </a:ext>
                  </a:extLst>
                </p:cNvPr>
                <p:cNvSpPr/>
                <p:nvPr/>
              </p:nvSpPr>
              <p:spPr>
                <a:xfrm>
                  <a:off x="2861463" y="1473716"/>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982" y="42350"/>
                        <a:pt x="6975" y="36371"/>
                        <a:pt x="7847" y="32136"/>
                      </a:cubicBezTo>
                      <a:cubicBezTo>
                        <a:pt x="9342" y="25285"/>
                        <a:pt x="8221" y="21673"/>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1" name="Freeform 8611">
                  <a:extLst>
                    <a:ext uri="{FF2B5EF4-FFF2-40B4-BE49-F238E27FC236}">
                      <a16:creationId xmlns:a16="http://schemas.microsoft.com/office/drawing/2014/main" id="{B38BE1D4-080E-F4E7-A31A-051DC926A701}"/>
                    </a:ext>
                  </a:extLst>
                </p:cNvPr>
                <p:cNvSpPr/>
                <p:nvPr/>
              </p:nvSpPr>
              <p:spPr>
                <a:xfrm>
                  <a:off x="2853118" y="1475709"/>
                  <a:ext cx="15943" cy="49698"/>
                </a:xfrm>
                <a:custGeom>
                  <a:avLst/>
                  <a:gdLst>
                    <a:gd name="connsiteX0" fmla="*/ 15943 w 15943"/>
                    <a:gd name="connsiteY0" fmla="*/ 0 h 49698"/>
                    <a:gd name="connsiteX1" fmla="*/ 11833 w 15943"/>
                    <a:gd name="connsiteY1" fmla="*/ 18435 h 49698"/>
                    <a:gd name="connsiteX2" fmla="*/ 3114 w 15943"/>
                    <a:gd name="connsiteY2" fmla="*/ 33506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5694" y="8470"/>
                        <a:pt x="13701" y="14449"/>
                        <a:pt x="11833" y="18435"/>
                      </a:cubicBezTo>
                      <a:cubicBezTo>
                        <a:pt x="8844" y="24787"/>
                        <a:pt x="5854" y="26904"/>
                        <a:pt x="3114" y="33506"/>
                      </a:cubicBezTo>
                      <a:cubicBezTo>
                        <a:pt x="498"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2" name="Freeform 8612">
                  <a:extLst>
                    <a:ext uri="{FF2B5EF4-FFF2-40B4-BE49-F238E27FC236}">
                      <a16:creationId xmlns:a16="http://schemas.microsoft.com/office/drawing/2014/main" id="{42B30BD2-E3E1-DD66-8BB7-6AF5B467BFB0}"/>
                    </a:ext>
                  </a:extLst>
                </p:cNvPr>
                <p:cNvSpPr/>
                <p:nvPr/>
              </p:nvSpPr>
              <p:spPr>
                <a:xfrm>
                  <a:off x="2842319" y="1515092"/>
                  <a:ext cx="26769" cy="26609"/>
                </a:xfrm>
                <a:custGeom>
                  <a:avLst/>
                  <a:gdLst>
                    <a:gd name="connsiteX0" fmla="*/ 710 w 26769"/>
                    <a:gd name="connsiteY0" fmla="*/ 8945 h 26609"/>
                    <a:gd name="connsiteX1" fmla="*/ 17650 w 26769"/>
                    <a:gd name="connsiteY1" fmla="*/ 724 h 26609"/>
                    <a:gd name="connsiteX2" fmla="*/ 26119 w 26769"/>
                    <a:gd name="connsiteY2" fmla="*/ 17664 h 26609"/>
                    <a:gd name="connsiteX3" fmla="*/ 9179 w 26769"/>
                    <a:gd name="connsiteY3" fmla="*/ 25885 h 26609"/>
                    <a:gd name="connsiteX4" fmla="*/ 710 w 26769"/>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09">
                      <a:moveTo>
                        <a:pt x="710" y="8945"/>
                      </a:moveTo>
                      <a:cubicBezTo>
                        <a:pt x="3076" y="1970"/>
                        <a:pt x="10674" y="-1642"/>
                        <a:pt x="17650" y="724"/>
                      </a:cubicBezTo>
                      <a:cubicBezTo>
                        <a:pt x="24625" y="3091"/>
                        <a:pt x="28361" y="10689"/>
                        <a:pt x="26119" y="17664"/>
                      </a:cubicBezTo>
                      <a:cubicBezTo>
                        <a:pt x="23877" y="24639"/>
                        <a:pt x="16279" y="28252"/>
                        <a:pt x="9179" y="25885"/>
                      </a:cubicBezTo>
                      <a:cubicBezTo>
                        <a:pt x="2080" y="23518"/>
                        <a:pt x="-1657" y="15796"/>
                        <a:pt x="71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3" name="Freeform 8613">
                  <a:extLst>
                    <a:ext uri="{FF2B5EF4-FFF2-40B4-BE49-F238E27FC236}">
                      <a16:creationId xmlns:a16="http://schemas.microsoft.com/office/drawing/2014/main" id="{EED597EB-366D-BC5C-6763-FB39C8E145BA}"/>
                    </a:ext>
                  </a:extLst>
                </p:cNvPr>
                <p:cNvSpPr/>
                <p:nvPr/>
              </p:nvSpPr>
              <p:spPr>
                <a:xfrm>
                  <a:off x="2871677" y="1417914"/>
                  <a:ext cx="17313" cy="49200"/>
                </a:xfrm>
                <a:custGeom>
                  <a:avLst/>
                  <a:gdLst>
                    <a:gd name="connsiteX0" fmla="*/ 17314 w 17313"/>
                    <a:gd name="connsiteY0" fmla="*/ 0 h 49200"/>
                    <a:gd name="connsiteX1" fmla="*/ 9466 w 17313"/>
                    <a:gd name="connsiteY1" fmla="*/ 17064 h 49200"/>
                    <a:gd name="connsiteX2" fmla="*/ 7224 w 17313"/>
                    <a:gd name="connsiteY2" fmla="*/ 34378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2456" y="6851"/>
                        <a:pt x="10463" y="12829"/>
                        <a:pt x="9466" y="17064"/>
                      </a:cubicBezTo>
                      <a:cubicBezTo>
                        <a:pt x="7972"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4" name="Freeform 8614">
                  <a:extLst>
                    <a:ext uri="{FF2B5EF4-FFF2-40B4-BE49-F238E27FC236}">
                      <a16:creationId xmlns:a16="http://schemas.microsoft.com/office/drawing/2014/main" id="{8606027A-FB02-7ACC-D183-9A1F0E70D945}"/>
                    </a:ext>
                  </a:extLst>
                </p:cNvPr>
                <p:cNvSpPr/>
                <p:nvPr/>
              </p:nvSpPr>
              <p:spPr>
                <a:xfrm>
                  <a:off x="2881268" y="1415423"/>
                  <a:ext cx="15943" cy="49698"/>
                </a:xfrm>
                <a:custGeom>
                  <a:avLst/>
                  <a:gdLst>
                    <a:gd name="connsiteX0" fmla="*/ 0 w 15943"/>
                    <a:gd name="connsiteY0" fmla="*/ 49699 h 49698"/>
                    <a:gd name="connsiteX1" fmla="*/ 4110 w 15943"/>
                    <a:gd name="connsiteY1" fmla="*/ 31264 h 49698"/>
                    <a:gd name="connsiteX2" fmla="*/ 12705 w 15943"/>
                    <a:gd name="connsiteY2" fmla="*/ 16192 h 49698"/>
                    <a:gd name="connsiteX3" fmla="*/ 15943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9"/>
                      </a:moveTo>
                      <a:cubicBezTo>
                        <a:pt x="249" y="41229"/>
                        <a:pt x="2242" y="35250"/>
                        <a:pt x="4110" y="31264"/>
                      </a:cubicBezTo>
                      <a:cubicBezTo>
                        <a:pt x="7100" y="24912"/>
                        <a:pt x="10089" y="22794"/>
                        <a:pt x="12705" y="16192"/>
                      </a:cubicBezTo>
                      <a:cubicBezTo>
                        <a:pt x="15321" y="9840"/>
                        <a:pt x="15819" y="3986"/>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5" name="Freeform 8615">
                  <a:extLst>
                    <a:ext uri="{FF2B5EF4-FFF2-40B4-BE49-F238E27FC236}">
                      <a16:creationId xmlns:a16="http://schemas.microsoft.com/office/drawing/2014/main" id="{DA93C296-B6D9-8CD6-60BA-07CE59BA60CF}"/>
                    </a:ext>
                  </a:extLst>
                </p:cNvPr>
                <p:cNvSpPr/>
                <p:nvPr/>
              </p:nvSpPr>
              <p:spPr>
                <a:xfrm>
                  <a:off x="2881428" y="1399004"/>
                  <a:ext cx="26335" cy="26609"/>
                </a:xfrm>
                <a:custGeom>
                  <a:avLst/>
                  <a:gdLst>
                    <a:gd name="connsiteX0" fmla="*/ 25623 w 26335"/>
                    <a:gd name="connsiteY0" fmla="*/ 17664 h 26609"/>
                    <a:gd name="connsiteX1" fmla="*/ 8933 w 26335"/>
                    <a:gd name="connsiteY1" fmla="*/ 25885 h 26609"/>
                    <a:gd name="connsiteX2" fmla="*/ 712 w 26335"/>
                    <a:gd name="connsiteY2" fmla="*/ 8945 h 26609"/>
                    <a:gd name="connsiteX3" fmla="*/ 17402 w 26335"/>
                    <a:gd name="connsiteY3" fmla="*/ 724 h 26609"/>
                    <a:gd name="connsiteX4" fmla="*/ 25623 w 26335"/>
                    <a:gd name="connsiteY4" fmla="*/ 17664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609">
                      <a:moveTo>
                        <a:pt x="25623" y="17664"/>
                      </a:moveTo>
                      <a:cubicBezTo>
                        <a:pt x="23257" y="24639"/>
                        <a:pt x="15908" y="28252"/>
                        <a:pt x="8933" y="25885"/>
                      </a:cubicBezTo>
                      <a:cubicBezTo>
                        <a:pt x="2082" y="23518"/>
                        <a:pt x="-1655" y="15920"/>
                        <a:pt x="712" y="8945"/>
                      </a:cubicBezTo>
                      <a:cubicBezTo>
                        <a:pt x="3078" y="1970"/>
                        <a:pt x="10552" y="-1642"/>
                        <a:pt x="17402" y="724"/>
                      </a:cubicBezTo>
                      <a:cubicBezTo>
                        <a:pt x="24253" y="3091"/>
                        <a:pt x="27990" y="10689"/>
                        <a:pt x="25623"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8" name="Graphic 2987">
                <a:extLst>
                  <a:ext uri="{FF2B5EF4-FFF2-40B4-BE49-F238E27FC236}">
                    <a16:creationId xmlns:a16="http://schemas.microsoft.com/office/drawing/2014/main" id="{75859072-BCB8-2986-6CC7-9E0239A21EEC}"/>
                  </a:ext>
                </a:extLst>
              </p:cNvPr>
              <p:cNvGrpSpPr/>
              <p:nvPr/>
            </p:nvGrpSpPr>
            <p:grpSpPr>
              <a:xfrm>
                <a:off x="2814043" y="1389538"/>
                <a:ext cx="66081" cy="142386"/>
                <a:chOff x="2814043" y="1389538"/>
                <a:chExt cx="66081" cy="142386"/>
              </a:xfrm>
              <a:grpFill/>
            </p:grpSpPr>
            <p:sp>
              <p:nvSpPr>
                <p:cNvPr id="5664" name="Freeform 8617">
                  <a:extLst>
                    <a:ext uri="{FF2B5EF4-FFF2-40B4-BE49-F238E27FC236}">
                      <a16:creationId xmlns:a16="http://schemas.microsoft.com/office/drawing/2014/main" id="{A18817F9-7AB3-0E5C-8CC6-CFAC28F01588}"/>
                    </a:ext>
                  </a:extLst>
                </p:cNvPr>
                <p:cNvSpPr/>
                <p:nvPr/>
              </p:nvSpPr>
              <p:spPr>
                <a:xfrm>
                  <a:off x="2833189" y="1463876"/>
                  <a:ext cx="17562" cy="49200"/>
                </a:xfrm>
                <a:custGeom>
                  <a:avLst/>
                  <a:gdLst>
                    <a:gd name="connsiteX0" fmla="*/ 0 w 17562"/>
                    <a:gd name="connsiteY0" fmla="*/ 49200 h 49200"/>
                    <a:gd name="connsiteX1" fmla="*/ 7972 w 17562"/>
                    <a:gd name="connsiteY1" fmla="*/ 32136 h 49200"/>
                    <a:gd name="connsiteX2" fmla="*/ 10214 w 17562"/>
                    <a:gd name="connsiteY2" fmla="*/ 14822 h 49200"/>
                    <a:gd name="connsiteX3" fmla="*/ 17562 w 17562"/>
                    <a:gd name="connsiteY3" fmla="*/ 0 h 49200"/>
                  </a:gdLst>
                  <a:ahLst/>
                  <a:cxnLst>
                    <a:cxn ang="0">
                      <a:pos x="connsiteX0" y="connsiteY0"/>
                    </a:cxn>
                    <a:cxn ang="0">
                      <a:pos x="connsiteX1" y="connsiteY1"/>
                    </a:cxn>
                    <a:cxn ang="0">
                      <a:pos x="connsiteX2" y="connsiteY2"/>
                    </a:cxn>
                    <a:cxn ang="0">
                      <a:pos x="connsiteX3" y="connsiteY3"/>
                    </a:cxn>
                  </a:cxnLst>
                  <a:rect l="l" t="t" r="r" b="b"/>
                  <a:pathLst>
                    <a:path w="17562" h="49200">
                      <a:moveTo>
                        <a:pt x="0" y="49200"/>
                      </a:moveTo>
                      <a:cubicBezTo>
                        <a:pt x="4982" y="42350"/>
                        <a:pt x="6975" y="36371"/>
                        <a:pt x="7972" y="32136"/>
                      </a:cubicBezTo>
                      <a:cubicBezTo>
                        <a:pt x="9466" y="25285"/>
                        <a:pt x="8470" y="21673"/>
                        <a:pt x="10214" y="14822"/>
                      </a:cubicBezTo>
                      <a:cubicBezTo>
                        <a:pt x="11957" y="8096"/>
                        <a:pt x="15196" y="3239"/>
                        <a:pt x="175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5" name="Freeform 8618">
                  <a:extLst>
                    <a:ext uri="{FF2B5EF4-FFF2-40B4-BE49-F238E27FC236}">
                      <a16:creationId xmlns:a16="http://schemas.microsoft.com/office/drawing/2014/main" id="{DBEB9EA7-11FA-4764-668C-A9342B5851B4}"/>
                    </a:ext>
                  </a:extLst>
                </p:cNvPr>
                <p:cNvSpPr/>
                <p:nvPr/>
              </p:nvSpPr>
              <p:spPr>
                <a:xfrm>
                  <a:off x="2824843" y="1465869"/>
                  <a:ext cx="16192" cy="49573"/>
                </a:xfrm>
                <a:custGeom>
                  <a:avLst/>
                  <a:gdLst>
                    <a:gd name="connsiteX0" fmla="*/ 16193 w 16192"/>
                    <a:gd name="connsiteY0" fmla="*/ 0 h 49573"/>
                    <a:gd name="connsiteX1" fmla="*/ 11958 w 16192"/>
                    <a:gd name="connsiteY1" fmla="*/ 18310 h 49573"/>
                    <a:gd name="connsiteX2" fmla="*/ 3239 w 16192"/>
                    <a:gd name="connsiteY2" fmla="*/ 33381 h 49573"/>
                    <a:gd name="connsiteX3" fmla="*/ 0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16193" y="0"/>
                      </a:moveTo>
                      <a:cubicBezTo>
                        <a:pt x="15944" y="8470"/>
                        <a:pt x="13826" y="14449"/>
                        <a:pt x="11958" y="18310"/>
                      </a:cubicBezTo>
                      <a:cubicBezTo>
                        <a:pt x="8968" y="24662"/>
                        <a:pt x="5979" y="26780"/>
                        <a:pt x="3239" y="33381"/>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6" name="Freeform 8619">
                  <a:extLst>
                    <a:ext uri="{FF2B5EF4-FFF2-40B4-BE49-F238E27FC236}">
                      <a16:creationId xmlns:a16="http://schemas.microsoft.com/office/drawing/2014/main" id="{79FE34F1-88E6-DBE8-8617-07F7FAA6C474}"/>
                    </a:ext>
                  </a:extLst>
                </p:cNvPr>
                <p:cNvSpPr/>
                <p:nvPr/>
              </p:nvSpPr>
              <p:spPr>
                <a:xfrm>
                  <a:off x="2814043" y="1505313"/>
                  <a:ext cx="26706" cy="26611"/>
                </a:xfrm>
                <a:custGeom>
                  <a:avLst/>
                  <a:gdLst>
                    <a:gd name="connsiteX0" fmla="*/ 711 w 26706"/>
                    <a:gd name="connsiteY0" fmla="*/ 8884 h 26611"/>
                    <a:gd name="connsiteX1" fmla="*/ 17651 w 26706"/>
                    <a:gd name="connsiteY1" fmla="*/ 788 h 26611"/>
                    <a:gd name="connsiteX2" fmla="*/ 25996 w 26706"/>
                    <a:gd name="connsiteY2" fmla="*/ 17728 h 26611"/>
                    <a:gd name="connsiteX3" fmla="*/ 9056 w 26706"/>
                    <a:gd name="connsiteY3" fmla="*/ 25824 h 26611"/>
                    <a:gd name="connsiteX4" fmla="*/ 711 w 26706"/>
                    <a:gd name="connsiteY4" fmla="*/ 888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8884"/>
                      </a:moveTo>
                      <a:cubicBezTo>
                        <a:pt x="3077" y="1909"/>
                        <a:pt x="10675" y="-1703"/>
                        <a:pt x="17651" y="788"/>
                      </a:cubicBezTo>
                      <a:cubicBezTo>
                        <a:pt x="24626" y="3154"/>
                        <a:pt x="28363" y="10752"/>
                        <a:pt x="25996" y="17728"/>
                      </a:cubicBezTo>
                      <a:cubicBezTo>
                        <a:pt x="23629" y="24703"/>
                        <a:pt x="16031" y="28315"/>
                        <a:pt x="9056" y="25824"/>
                      </a:cubicBezTo>
                      <a:cubicBezTo>
                        <a:pt x="2081" y="23333"/>
                        <a:pt x="-1656" y="15735"/>
                        <a:pt x="71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7" name="Freeform 8620">
                  <a:extLst>
                    <a:ext uri="{FF2B5EF4-FFF2-40B4-BE49-F238E27FC236}">
                      <a16:creationId xmlns:a16="http://schemas.microsoft.com/office/drawing/2014/main" id="{442079C6-2F2A-129A-C602-4622A61274F9}"/>
                    </a:ext>
                  </a:extLst>
                </p:cNvPr>
                <p:cNvSpPr/>
                <p:nvPr/>
              </p:nvSpPr>
              <p:spPr>
                <a:xfrm>
                  <a:off x="2843527" y="1408199"/>
                  <a:ext cx="17687" cy="49200"/>
                </a:xfrm>
                <a:custGeom>
                  <a:avLst/>
                  <a:gdLst>
                    <a:gd name="connsiteX0" fmla="*/ 17687 w 17687"/>
                    <a:gd name="connsiteY0" fmla="*/ 0 h 49200"/>
                    <a:gd name="connsiteX1" fmla="*/ 9716 w 17687"/>
                    <a:gd name="connsiteY1" fmla="*/ 17064 h 49200"/>
                    <a:gd name="connsiteX2" fmla="*/ 7349 w 17687"/>
                    <a:gd name="connsiteY2" fmla="*/ 34378 h 49200"/>
                    <a:gd name="connsiteX3" fmla="*/ 0 w 17687"/>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687" h="49200">
                      <a:moveTo>
                        <a:pt x="17687" y="0"/>
                      </a:moveTo>
                      <a:cubicBezTo>
                        <a:pt x="12705" y="6851"/>
                        <a:pt x="10712" y="12829"/>
                        <a:pt x="9716" y="17064"/>
                      </a:cubicBezTo>
                      <a:cubicBezTo>
                        <a:pt x="8221" y="23915"/>
                        <a:pt x="9217" y="27527"/>
                        <a:pt x="7349" y="34378"/>
                      </a:cubicBezTo>
                      <a:cubicBezTo>
                        <a:pt x="5605" y="41104"/>
                        <a:pt x="2367" y="45962"/>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8" name="Freeform 8621">
                  <a:extLst>
                    <a:ext uri="{FF2B5EF4-FFF2-40B4-BE49-F238E27FC236}">
                      <a16:creationId xmlns:a16="http://schemas.microsoft.com/office/drawing/2014/main" id="{B7565A62-1885-F7F3-B208-1AEE43C342CF}"/>
                    </a:ext>
                  </a:extLst>
                </p:cNvPr>
                <p:cNvSpPr/>
                <p:nvPr/>
              </p:nvSpPr>
              <p:spPr>
                <a:xfrm>
                  <a:off x="2853367" y="1405832"/>
                  <a:ext cx="16067" cy="49573"/>
                </a:xfrm>
                <a:custGeom>
                  <a:avLst/>
                  <a:gdLst>
                    <a:gd name="connsiteX0" fmla="*/ 0 w 16067"/>
                    <a:gd name="connsiteY0" fmla="*/ 49574 h 49573"/>
                    <a:gd name="connsiteX1" fmla="*/ 4110 w 16067"/>
                    <a:gd name="connsiteY1" fmla="*/ 31264 h 49573"/>
                    <a:gd name="connsiteX2" fmla="*/ 12829 w 16067"/>
                    <a:gd name="connsiteY2" fmla="*/ 16192 h 49573"/>
                    <a:gd name="connsiteX3" fmla="*/ 16068 w 16067"/>
                    <a:gd name="connsiteY3" fmla="*/ 0 h 49573"/>
                  </a:gdLst>
                  <a:ahLst/>
                  <a:cxnLst>
                    <a:cxn ang="0">
                      <a:pos x="connsiteX0" y="connsiteY0"/>
                    </a:cxn>
                    <a:cxn ang="0">
                      <a:pos x="connsiteX1" y="connsiteY1"/>
                    </a:cxn>
                    <a:cxn ang="0">
                      <a:pos x="connsiteX2" y="connsiteY2"/>
                    </a:cxn>
                    <a:cxn ang="0">
                      <a:pos x="connsiteX3" y="connsiteY3"/>
                    </a:cxn>
                  </a:cxnLst>
                  <a:rect l="l" t="t" r="r" b="b"/>
                  <a:pathLst>
                    <a:path w="16067" h="49573">
                      <a:moveTo>
                        <a:pt x="0" y="49574"/>
                      </a:moveTo>
                      <a:cubicBezTo>
                        <a:pt x="249" y="41104"/>
                        <a:pt x="2367" y="35125"/>
                        <a:pt x="4110" y="31264"/>
                      </a:cubicBezTo>
                      <a:cubicBezTo>
                        <a:pt x="7100" y="24912"/>
                        <a:pt x="10089" y="22794"/>
                        <a:pt x="12829" y="16192"/>
                      </a:cubicBezTo>
                      <a:cubicBezTo>
                        <a:pt x="15570" y="9840"/>
                        <a:pt x="16068" y="3986"/>
                        <a:pt x="160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9" name="Freeform 8622">
                  <a:extLst>
                    <a:ext uri="{FF2B5EF4-FFF2-40B4-BE49-F238E27FC236}">
                      <a16:creationId xmlns:a16="http://schemas.microsoft.com/office/drawing/2014/main" id="{737244AC-1B07-51BE-B99D-D3A62CB82A1B}"/>
                    </a:ext>
                  </a:extLst>
                </p:cNvPr>
                <p:cNvSpPr/>
                <p:nvPr/>
              </p:nvSpPr>
              <p:spPr>
                <a:xfrm>
                  <a:off x="2853887" y="1389538"/>
                  <a:ext cx="26237" cy="26484"/>
                </a:xfrm>
                <a:custGeom>
                  <a:avLst/>
                  <a:gdLst>
                    <a:gd name="connsiteX0" fmla="*/ 25512 w 26237"/>
                    <a:gd name="connsiteY0" fmla="*/ 17540 h 26484"/>
                    <a:gd name="connsiteX1" fmla="*/ 8822 w 26237"/>
                    <a:gd name="connsiteY1" fmla="*/ 25760 h 26484"/>
                    <a:gd name="connsiteX2" fmla="*/ 725 w 26237"/>
                    <a:gd name="connsiteY2" fmla="*/ 8945 h 26484"/>
                    <a:gd name="connsiteX3" fmla="*/ 17416 w 26237"/>
                    <a:gd name="connsiteY3" fmla="*/ 724 h 26484"/>
                    <a:gd name="connsiteX4" fmla="*/ 25512 w 26237"/>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84">
                      <a:moveTo>
                        <a:pt x="25512" y="17540"/>
                      </a:moveTo>
                      <a:cubicBezTo>
                        <a:pt x="23146" y="24515"/>
                        <a:pt x="15672" y="28127"/>
                        <a:pt x="8822" y="25760"/>
                      </a:cubicBezTo>
                      <a:cubicBezTo>
                        <a:pt x="1971" y="23394"/>
                        <a:pt x="-1641" y="15796"/>
                        <a:pt x="725" y="8945"/>
                      </a:cubicBezTo>
                      <a:cubicBezTo>
                        <a:pt x="3092" y="1970"/>
                        <a:pt x="10566" y="-1642"/>
                        <a:pt x="17416" y="724"/>
                      </a:cubicBezTo>
                      <a:cubicBezTo>
                        <a:pt x="24267" y="3091"/>
                        <a:pt x="27879" y="10564"/>
                        <a:pt x="25512"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9" name="Graphic 2987">
                <a:extLst>
                  <a:ext uri="{FF2B5EF4-FFF2-40B4-BE49-F238E27FC236}">
                    <a16:creationId xmlns:a16="http://schemas.microsoft.com/office/drawing/2014/main" id="{AEBBE580-6D0E-5728-CCD8-680D02AD15F3}"/>
                  </a:ext>
                </a:extLst>
              </p:cNvPr>
              <p:cNvGrpSpPr/>
              <p:nvPr/>
            </p:nvGrpSpPr>
            <p:grpSpPr>
              <a:xfrm>
                <a:off x="2785756" y="1379835"/>
                <a:ext cx="66592" cy="142249"/>
                <a:chOff x="2785756" y="1379835"/>
                <a:chExt cx="66592" cy="142249"/>
              </a:xfrm>
              <a:grpFill/>
            </p:grpSpPr>
            <p:sp>
              <p:nvSpPr>
                <p:cNvPr id="5658" name="Freeform 8624">
                  <a:extLst>
                    <a:ext uri="{FF2B5EF4-FFF2-40B4-BE49-F238E27FC236}">
                      <a16:creationId xmlns:a16="http://schemas.microsoft.com/office/drawing/2014/main" id="{A9610C36-6E7F-217E-C344-4A8A744F4E0C}"/>
                    </a:ext>
                  </a:extLst>
                </p:cNvPr>
                <p:cNvSpPr/>
                <p:nvPr/>
              </p:nvSpPr>
              <p:spPr>
                <a:xfrm>
                  <a:off x="2804914" y="1454160"/>
                  <a:ext cx="17687" cy="49075"/>
                </a:xfrm>
                <a:custGeom>
                  <a:avLst/>
                  <a:gdLst>
                    <a:gd name="connsiteX0" fmla="*/ 0 w 17687"/>
                    <a:gd name="connsiteY0" fmla="*/ 49076 h 49075"/>
                    <a:gd name="connsiteX1" fmla="*/ 7972 w 17687"/>
                    <a:gd name="connsiteY1" fmla="*/ 32011 h 49075"/>
                    <a:gd name="connsiteX2" fmla="*/ 10338 w 17687"/>
                    <a:gd name="connsiteY2" fmla="*/ 14698 h 49075"/>
                    <a:gd name="connsiteX3" fmla="*/ 17687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2" y="42350"/>
                        <a:pt x="7100" y="36246"/>
                        <a:pt x="7972" y="32011"/>
                      </a:cubicBezTo>
                      <a:cubicBezTo>
                        <a:pt x="9466" y="25161"/>
                        <a:pt x="8470" y="21548"/>
                        <a:pt x="10338" y="14698"/>
                      </a:cubicBezTo>
                      <a:cubicBezTo>
                        <a:pt x="12082" y="7972"/>
                        <a:pt x="15321" y="3114"/>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9" name="Freeform 8625">
                  <a:extLst>
                    <a:ext uri="{FF2B5EF4-FFF2-40B4-BE49-F238E27FC236}">
                      <a16:creationId xmlns:a16="http://schemas.microsoft.com/office/drawing/2014/main" id="{8FEF4EDD-1F65-733D-3F79-41F51C276816}"/>
                    </a:ext>
                  </a:extLst>
                </p:cNvPr>
                <p:cNvSpPr/>
                <p:nvPr/>
              </p:nvSpPr>
              <p:spPr>
                <a:xfrm>
                  <a:off x="2796569" y="1456153"/>
                  <a:ext cx="16441" cy="49449"/>
                </a:xfrm>
                <a:custGeom>
                  <a:avLst/>
                  <a:gdLst>
                    <a:gd name="connsiteX0" fmla="*/ 16442 w 16441"/>
                    <a:gd name="connsiteY0" fmla="*/ 0 h 49449"/>
                    <a:gd name="connsiteX1" fmla="*/ 12207 w 16441"/>
                    <a:gd name="connsiteY1" fmla="*/ 18310 h 49449"/>
                    <a:gd name="connsiteX2" fmla="*/ 3363 w 16441"/>
                    <a:gd name="connsiteY2" fmla="*/ 33257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6193" y="8470"/>
                        <a:pt x="14075" y="14449"/>
                        <a:pt x="12207" y="18310"/>
                      </a:cubicBezTo>
                      <a:cubicBezTo>
                        <a:pt x="9217" y="24662"/>
                        <a:pt x="6103" y="26780"/>
                        <a:pt x="3363" y="33257"/>
                      </a:cubicBezTo>
                      <a:cubicBezTo>
                        <a:pt x="623" y="39609"/>
                        <a:pt x="124"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0" name="Freeform 8626">
                  <a:extLst>
                    <a:ext uri="{FF2B5EF4-FFF2-40B4-BE49-F238E27FC236}">
                      <a16:creationId xmlns:a16="http://schemas.microsoft.com/office/drawing/2014/main" id="{6018963B-D99B-C3CB-C1BF-CB467207736A}"/>
                    </a:ext>
                  </a:extLst>
                </p:cNvPr>
                <p:cNvSpPr/>
                <p:nvPr/>
              </p:nvSpPr>
              <p:spPr>
                <a:xfrm>
                  <a:off x="2785756" y="1495486"/>
                  <a:ext cx="26719" cy="26598"/>
                </a:xfrm>
                <a:custGeom>
                  <a:avLst/>
                  <a:gdLst>
                    <a:gd name="connsiteX0" fmla="*/ 723 w 26719"/>
                    <a:gd name="connsiteY0" fmla="*/ 8871 h 26598"/>
                    <a:gd name="connsiteX1" fmla="*/ 17663 w 26719"/>
                    <a:gd name="connsiteY1" fmla="*/ 774 h 26598"/>
                    <a:gd name="connsiteX2" fmla="*/ 26008 w 26719"/>
                    <a:gd name="connsiteY2" fmla="*/ 17714 h 26598"/>
                    <a:gd name="connsiteX3" fmla="*/ 9069 w 26719"/>
                    <a:gd name="connsiteY3" fmla="*/ 25810 h 26598"/>
                    <a:gd name="connsiteX4" fmla="*/ 723 w 26719"/>
                    <a:gd name="connsiteY4" fmla="*/ 8871 h 2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98">
                      <a:moveTo>
                        <a:pt x="723" y="8871"/>
                      </a:moveTo>
                      <a:cubicBezTo>
                        <a:pt x="3090" y="2020"/>
                        <a:pt x="10688" y="-1717"/>
                        <a:pt x="17663" y="774"/>
                      </a:cubicBezTo>
                      <a:cubicBezTo>
                        <a:pt x="24638" y="3266"/>
                        <a:pt x="28375" y="10739"/>
                        <a:pt x="26008" y="17714"/>
                      </a:cubicBezTo>
                      <a:cubicBezTo>
                        <a:pt x="23642" y="24689"/>
                        <a:pt x="16044" y="28302"/>
                        <a:pt x="9069" y="25810"/>
                      </a:cubicBezTo>
                      <a:cubicBezTo>
                        <a:pt x="1969" y="23319"/>
                        <a:pt x="-1643" y="15721"/>
                        <a:pt x="72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1" name="Freeform 8627">
                  <a:extLst>
                    <a:ext uri="{FF2B5EF4-FFF2-40B4-BE49-F238E27FC236}">
                      <a16:creationId xmlns:a16="http://schemas.microsoft.com/office/drawing/2014/main" id="{6FE105BF-4100-AAEE-F4F5-69CF32D9C498}"/>
                    </a:ext>
                  </a:extLst>
                </p:cNvPr>
                <p:cNvSpPr/>
                <p:nvPr/>
              </p:nvSpPr>
              <p:spPr>
                <a:xfrm>
                  <a:off x="2815750" y="1398608"/>
                  <a:ext cx="17687" cy="49075"/>
                </a:xfrm>
                <a:custGeom>
                  <a:avLst/>
                  <a:gdLst>
                    <a:gd name="connsiteX0" fmla="*/ 17687 w 17687"/>
                    <a:gd name="connsiteY0" fmla="*/ 0 h 49075"/>
                    <a:gd name="connsiteX1" fmla="*/ 9715 w 17687"/>
                    <a:gd name="connsiteY1" fmla="*/ 17064 h 49075"/>
                    <a:gd name="connsiteX2" fmla="*/ 7349 w 17687"/>
                    <a:gd name="connsiteY2" fmla="*/ 34378 h 49075"/>
                    <a:gd name="connsiteX3" fmla="*/ 0 w 17687"/>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7" h="49075">
                      <a:moveTo>
                        <a:pt x="17687" y="0"/>
                      </a:moveTo>
                      <a:cubicBezTo>
                        <a:pt x="12705" y="6851"/>
                        <a:pt x="10712" y="12829"/>
                        <a:pt x="9715" y="17064"/>
                      </a:cubicBezTo>
                      <a:cubicBezTo>
                        <a:pt x="8221" y="23915"/>
                        <a:pt x="9217" y="27403"/>
                        <a:pt x="7349" y="34378"/>
                      </a:cubicBezTo>
                      <a:cubicBezTo>
                        <a:pt x="5605" y="41104"/>
                        <a:pt x="2367" y="45962"/>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2" name="Freeform 8628">
                  <a:extLst>
                    <a:ext uri="{FF2B5EF4-FFF2-40B4-BE49-F238E27FC236}">
                      <a16:creationId xmlns:a16="http://schemas.microsoft.com/office/drawing/2014/main" id="{D115CC17-B574-221C-784D-9A9DE1D0558E}"/>
                    </a:ext>
                  </a:extLst>
                </p:cNvPr>
                <p:cNvSpPr/>
                <p:nvPr/>
              </p:nvSpPr>
              <p:spPr>
                <a:xfrm>
                  <a:off x="2825341" y="1396116"/>
                  <a:ext cx="16441" cy="49573"/>
                </a:xfrm>
                <a:custGeom>
                  <a:avLst/>
                  <a:gdLst>
                    <a:gd name="connsiteX0" fmla="*/ 0 w 16441"/>
                    <a:gd name="connsiteY0" fmla="*/ 49574 h 49573"/>
                    <a:gd name="connsiteX1" fmla="*/ 4235 w 16441"/>
                    <a:gd name="connsiteY1" fmla="*/ 31264 h 49573"/>
                    <a:gd name="connsiteX2" fmla="*/ 13079 w 16441"/>
                    <a:gd name="connsiteY2" fmla="*/ 16193 h 49573"/>
                    <a:gd name="connsiteX3" fmla="*/ 16442 w 16441"/>
                    <a:gd name="connsiteY3" fmla="*/ 0 h 49573"/>
                  </a:gdLst>
                  <a:ahLst/>
                  <a:cxnLst>
                    <a:cxn ang="0">
                      <a:pos x="connsiteX0" y="connsiteY0"/>
                    </a:cxn>
                    <a:cxn ang="0">
                      <a:pos x="connsiteX1" y="connsiteY1"/>
                    </a:cxn>
                    <a:cxn ang="0">
                      <a:pos x="connsiteX2" y="connsiteY2"/>
                    </a:cxn>
                    <a:cxn ang="0">
                      <a:pos x="connsiteX3" y="connsiteY3"/>
                    </a:cxn>
                  </a:cxnLst>
                  <a:rect l="l" t="t" r="r" b="b"/>
                  <a:pathLst>
                    <a:path w="16441" h="49573">
                      <a:moveTo>
                        <a:pt x="0" y="49574"/>
                      </a:moveTo>
                      <a:cubicBezTo>
                        <a:pt x="249" y="41104"/>
                        <a:pt x="2367" y="35125"/>
                        <a:pt x="4235" y="31264"/>
                      </a:cubicBezTo>
                      <a:cubicBezTo>
                        <a:pt x="7224" y="24912"/>
                        <a:pt x="10214" y="22794"/>
                        <a:pt x="13079" y="16193"/>
                      </a:cubicBezTo>
                      <a:cubicBezTo>
                        <a:pt x="15819" y="9840"/>
                        <a:pt x="16317" y="3986"/>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3" name="Freeform 8629">
                  <a:extLst>
                    <a:ext uri="{FF2B5EF4-FFF2-40B4-BE49-F238E27FC236}">
                      <a16:creationId xmlns:a16="http://schemas.microsoft.com/office/drawing/2014/main" id="{56216FA9-1F2B-69FC-C085-C4A6FB80E35E}"/>
                    </a:ext>
                  </a:extLst>
                </p:cNvPr>
                <p:cNvSpPr/>
                <p:nvPr/>
              </p:nvSpPr>
              <p:spPr>
                <a:xfrm>
                  <a:off x="2825973" y="1379835"/>
                  <a:ext cx="26375" cy="26472"/>
                </a:xfrm>
                <a:custGeom>
                  <a:avLst/>
                  <a:gdLst>
                    <a:gd name="connsiteX0" fmla="*/ 25650 w 26375"/>
                    <a:gd name="connsiteY0" fmla="*/ 17527 h 26472"/>
                    <a:gd name="connsiteX1" fmla="*/ 8835 w 26375"/>
                    <a:gd name="connsiteY1" fmla="*/ 25748 h 26472"/>
                    <a:gd name="connsiteX2" fmla="*/ 738 w 26375"/>
                    <a:gd name="connsiteY2" fmla="*/ 8933 h 26472"/>
                    <a:gd name="connsiteX3" fmla="*/ 17554 w 26375"/>
                    <a:gd name="connsiteY3" fmla="*/ 712 h 26472"/>
                    <a:gd name="connsiteX4" fmla="*/ 25650 w 26375"/>
                    <a:gd name="connsiteY4" fmla="*/ 17527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472">
                      <a:moveTo>
                        <a:pt x="25650" y="17527"/>
                      </a:moveTo>
                      <a:cubicBezTo>
                        <a:pt x="23283" y="24502"/>
                        <a:pt x="15810" y="28114"/>
                        <a:pt x="8835" y="25748"/>
                      </a:cubicBezTo>
                      <a:cubicBezTo>
                        <a:pt x="1859" y="23381"/>
                        <a:pt x="-1628" y="15783"/>
                        <a:pt x="738" y="8933"/>
                      </a:cubicBezTo>
                      <a:cubicBezTo>
                        <a:pt x="3105" y="2082"/>
                        <a:pt x="10703" y="-1655"/>
                        <a:pt x="17554" y="712"/>
                      </a:cubicBezTo>
                      <a:cubicBezTo>
                        <a:pt x="24404" y="3078"/>
                        <a:pt x="28017" y="10676"/>
                        <a:pt x="25650"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0" name="Graphic 2987">
                <a:extLst>
                  <a:ext uri="{FF2B5EF4-FFF2-40B4-BE49-F238E27FC236}">
                    <a16:creationId xmlns:a16="http://schemas.microsoft.com/office/drawing/2014/main" id="{EE976CED-19AD-3C10-4B62-C53D9ECA9D88}"/>
                  </a:ext>
                </a:extLst>
              </p:cNvPr>
              <p:cNvGrpSpPr/>
              <p:nvPr/>
            </p:nvGrpSpPr>
            <p:grpSpPr>
              <a:xfrm>
                <a:off x="2757432" y="1370244"/>
                <a:ext cx="67203" cy="141987"/>
                <a:chOff x="2757432" y="1370244"/>
                <a:chExt cx="67203" cy="141987"/>
              </a:xfrm>
              <a:grpFill/>
            </p:grpSpPr>
            <p:sp>
              <p:nvSpPr>
                <p:cNvPr id="5652" name="Freeform 8631">
                  <a:extLst>
                    <a:ext uri="{FF2B5EF4-FFF2-40B4-BE49-F238E27FC236}">
                      <a16:creationId xmlns:a16="http://schemas.microsoft.com/office/drawing/2014/main" id="{827BFA42-B14F-E390-8E7E-477D31ECC22B}"/>
                    </a:ext>
                  </a:extLst>
                </p:cNvPr>
                <p:cNvSpPr/>
                <p:nvPr/>
              </p:nvSpPr>
              <p:spPr>
                <a:xfrm>
                  <a:off x="2776639" y="1444569"/>
                  <a:ext cx="17936" cy="48826"/>
                </a:xfrm>
                <a:custGeom>
                  <a:avLst/>
                  <a:gdLst>
                    <a:gd name="connsiteX0" fmla="*/ 0 w 17936"/>
                    <a:gd name="connsiteY0" fmla="*/ 48827 h 48826"/>
                    <a:gd name="connsiteX1" fmla="*/ 8096 w 17936"/>
                    <a:gd name="connsiteY1" fmla="*/ 31887 h 48826"/>
                    <a:gd name="connsiteX2" fmla="*/ 10463 w 17936"/>
                    <a:gd name="connsiteY2" fmla="*/ 14698 h 48826"/>
                    <a:gd name="connsiteX3" fmla="*/ 17936 w 17936"/>
                    <a:gd name="connsiteY3" fmla="*/ 0 h 48826"/>
                  </a:gdLst>
                  <a:ahLst/>
                  <a:cxnLst>
                    <a:cxn ang="0">
                      <a:pos x="connsiteX0" y="connsiteY0"/>
                    </a:cxn>
                    <a:cxn ang="0">
                      <a:pos x="connsiteX1" y="connsiteY1"/>
                    </a:cxn>
                    <a:cxn ang="0">
                      <a:pos x="connsiteX2" y="connsiteY2"/>
                    </a:cxn>
                    <a:cxn ang="0">
                      <a:pos x="connsiteX3" y="connsiteY3"/>
                    </a:cxn>
                  </a:cxnLst>
                  <a:rect l="l" t="t" r="r" b="b"/>
                  <a:pathLst>
                    <a:path w="17936" h="48826">
                      <a:moveTo>
                        <a:pt x="0" y="48827"/>
                      </a:moveTo>
                      <a:cubicBezTo>
                        <a:pt x="4982" y="42100"/>
                        <a:pt x="7100" y="36122"/>
                        <a:pt x="8096" y="31887"/>
                      </a:cubicBezTo>
                      <a:cubicBezTo>
                        <a:pt x="9715" y="25036"/>
                        <a:pt x="8595" y="21548"/>
                        <a:pt x="10463" y="14698"/>
                      </a:cubicBezTo>
                      <a:cubicBezTo>
                        <a:pt x="12331" y="8096"/>
                        <a:pt x="15445" y="3114"/>
                        <a:pt x="179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3" name="Freeform 8632">
                  <a:extLst>
                    <a:ext uri="{FF2B5EF4-FFF2-40B4-BE49-F238E27FC236}">
                      <a16:creationId xmlns:a16="http://schemas.microsoft.com/office/drawing/2014/main" id="{9EDEA5D4-9138-BDCB-62A5-5646C8B1175D}"/>
                    </a:ext>
                  </a:extLst>
                </p:cNvPr>
                <p:cNvSpPr/>
                <p:nvPr/>
              </p:nvSpPr>
              <p:spPr>
                <a:xfrm>
                  <a:off x="2768294" y="1446438"/>
                  <a:ext cx="16690" cy="49449"/>
                </a:xfrm>
                <a:custGeom>
                  <a:avLst/>
                  <a:gdLst>
                    <a:gd name="connsiteX0" fmla="*/ 16691 w 16690"/>
                    <a:gd name="connsiteY0" fmla="*/ 0 h 49449"/>
                    <a:gd name="connsiteX1" fmla="*/ 12331 w 16690"/>
                    <a:gd name="connsiteY1" fmla="*/ 18310 h 49449"/>
                    <a:gd name="connsiteX2" fmla="*/ 3363 w 16690"/>
                    <a:gd name="connsiteY2" fmla="*/ 33257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6317" y="8345"/>
                        <a:pt x="14200" y="14324"/>
                        <a:pt x="12331" y="18310"/>
                      </a:cubicBezTo>
                      <a:cubicBezTo>
                        <a:pt x="9342" y="24662"/>
                        <a:pt x="6228" y="26780"/>
                        <a:pt x="3363" y="33257"/>
                      </a:cubicBezTo>
                      <a:cubicBezTo>
                        <a:pt x="623" y="39609"/>
                        <a:pt x="0"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4" name="Freeform 8633">
                  <a:extLst>
                    <a:ext uri="{FF2B5EF4-FFF2-40B4-BE49-F238E27FC236}">
                      <a16:creationId xmlns:a16="http://schemas.microsoft.com/office/drawing/2014/main" id="{2093485A-3CC5-0FFE-533B-DF6AC19A858F}"/>
                    </a:ext>
                  </a:extLst>
                </p:cNvPr>
                <p:cNvSpPr/>
                <p:nvPr/>
              </p:nvSpPr>
              <p:spPr>
                <a:xfrm>
                  <a:off x="2757432" y="1485646"/>
                  <a:ext cx="26831" cy="26584"/>
                </a:xfrm>
                <a:custGeom>
                  <a:avLst/>
                  <a:gdLst>
                    <a:gd name="connsiteX0" fmla="*/ 773 w 26831"/>
                    <a:gd name="connsiteY0" fmla="*/ 8871 h 26584"/>
                    <a:gd name="connsiteX1" fmla="*/ 17838 w 26831"/>
                    <a:gd name="connsiteY1" fmla="*/ 774 h 26584"/>
                    <a:gd name="connsiteX2" fmla="*/ 26058 w 26831"/>
                    <a:gd name="connsiteY2" fmla="*/ 17714 h 26584"/>
                    <a:gd name="connsiteX3" fmla="*/ 8994 w 26831"/>
                    <a:gd name="connsiteY3" fmla="*/ 25810 h 26584"/>
                    <a:gd name="connsiteX4" fmla="*/ 773 w 26831"/>
                    <a:gd name="connsiteY4" fmla="*/ 8871 h 2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584">
                      <a:moveTo>
                        <a:pt x="773" y="8871"/>
                      </a:moveTo>
                      <a:cubicBezTo>
                        <a:pt x="3264" y="2020"/>
                        <a:pt x="10862" y="-1717"/>
                        <a:pt x="17838" y="774"/>
                      </a:cubicBezTo>
                      <a:cubicBezTo>
                        <a:pt x="24813" y="3141"/>
                        <a:pt x="28549" y="10739"/>
                        <a:pt x="26058" y="17714"/>
                      </a:cubicBezTo>
                      <a:cubicBezTo>
                        <a:pt x="23692" y="24565"/>
                        <a:pt x="15969" y="28302"/>
                        <a:pt x="8994" y="25810"/>
                      </a:cubicBezTo>
                      <a:cubicBezTo>
                        <a:pt x="2019" y="23319"/>
                        <a:pt x="-1718" y="15721"/>
                        <a:pt x="77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5" name="Freeform 8634">
                  <a:extLst>
                    <a:ext uri="{FF2B5EF4-FFF2-40B4-BE49-F238E27FC236}">
                      <a16:creationId xmlns:a16="http://schemas.microsoft.com/office/drawing/2014/main" id="{34F4A11C-49F0-955F-A542-46612F3E48B9}"/>
                    </a:ext>
                  </a:extLst>
                </p:cNvPr>
                <p:cNvSpPr/>
                <p:nvPr/>
              </p:nvSpPr>
              <p:spPr>
                <a:xfrm>
                  <a:off x="2787600" y="1388892"/>
                  <a:ext cx="18060" cy="48826"/>
                </a:xfrm>
                <a:custGeom>
                  <a:avLst/>
                  <a:gdLst>
                    <a:gd name="connsiteX0" fmla="*/ 18061 w 18060"/>
                    <a:gd name="connsiteY0" fmla="*/ 0 h 48826"/>
                    <a:gd name="connsiteX1" fmla="*/ 9965 w 18060"/>
                    <a:gd name="connsiteY1" fmla="*/ 16940 h 48826"/>
                    <a:gd name="connsiteX2" fmla="*/ 7473 w 18060"/>
                    <a:gd name="connsiteY2" fmla="*/ 34129 h 48826"/>
                    <a:gd name="connsiteX3" fmla="*/ 0 w 1806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060" h="48826">
                      <a:moveTo>
                        <a:pt x="18061" y="0"/>
                      </a:moveTo>
                      <a:cubicBezTo>
                        <a:pt x="13079" y="6726"/>
                        <a:pt x="10961" y="12705"/>
                        <a:pt x="9965" y="16940"/>
                      </a:cubicBezTo>
                      <a:cubicBezTo>
                        <a:pt x="8345" y="23791"/>
                        <a:pt x="9342" y="27278"/>
                        <a:pt x="7473" y="34129"/>
                      </a:cubicBezTo>
                      <a:cubicBezTo>
                        <a:pt x="5605" y="40730"/>
                        <a:pt x="2367"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6" name="Freeform 8635">
                  <a:extLst>
                    <a:ext uri="{FF2B5EF4-FFF2-40B4-BE49-F238E27FC236}">
                      <a16:creationId xmlns:a16="http://schemas.microsoft.com/office/drawing/2014/main" id="{8BD4A6F9-14E1-9B13-2637-92E995966AB4}"/>
                    </a:ext>
                  </a:extLst>
                </p:cNvPr>
                <p:cNvSpPr/>
                <p:nvPr/>
              </p:nvSpPr>
              <p:spPr>
                <a:xfrm>
                  <a:off x="2797316" y="1386401"/>
                  <a:ext cx="16566" cy="49449"/>
                </a:xfrm>
                <a:custGeom>
                  <a:avLst/>
                  <a:gdLst>
                    <a:gd name="connsiteX0" fmla="*/ 0 w 16566"/>
                    <a:gd name="connsiteY0" fmla="*/ 49449 h 49449"/>
                    <a:gd name="connsiteX1" fmla="*/ 4359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1104"/>
                        <a:pt x="2491" y="35125"/>
                        <a:pt x="4359" y="31139"/>
                      </a:cubicBezTo>
                      <a:cubicBezTo>
                        <a:pt x="7349" y="24787"/>
                        <a:pt x="10463" y="22669"/>
                        <a:pt x="13203" y="16192"/>
                      </a:cubicBezTo>
                      <a:cubicBezTo>
                        <a:pt x="15943"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7" name="Freeform 8636">
                  <a:extLst>
                    <a:ext uri="{FF2B5EF4-FFF2-40B4-BE49-F238E27FC236}">
                      <a16:creationId xmlns:a16="http://schemas.microsoft.com/office/drawing/2014/main" id="{F38DF01D-F4D2-C5A7-88FB-34112E2D0E88}"/>
                    </a:ext>
                  </a:extLst>
                </p:cNvPr>
                <p:cNvSpPr/>
                <p:nvPr/>
              </p:nvSpPr>
              <p:spPr>
                <a:xfrm>
                  <a:off x="2798271" y="1370244"/>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209" y="24378"/>
                        <a:pt x="15611" y="28114"/>
                        <a:pt x="8761" y="25748"/>
                      </a:cubicBezTo>
                      <a:cubicBezTo>
                        <a:pt x="1910" y="23381"/>
                        <a:pt x="-1702" y="15783"/>
                        <a:pt x="789" y="8933"/>
                      </a:cubicBezTo>
                      <a:cubicBezTo>
                        <a:pt x="3280" y="2082"/>
                        <a:pt x="10754" y="-1655"/>
                        <a:pt x="17604" y="712"/>
                      </a:cubicBezTo>
                      <a:cubicBezTo>
                        <a:pt x="24455" y="3078"/>
                        <a:pt x="28067" y="10552"/>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1" name="Graphic 2987">
                <a:extLst>
                  <a:ext uri="{FF2B5EF4-FFF2-40B4-BE49-F238E27FC236}">
                    <a16:creationId xmlns:a16="http://schemas.microsoft.com/office/drawing/2014/main" id="{73DC056C-68E7-F109-DBCE-0457138CBDEA}"/>
                  </a:ext>
                </a:extLst>
              </p:cNvPr>
              <p:cNvGrpSpPr/>
              <p:nvPr/>
            </p:nvGrpSpPr>
            <p:grpSpPr>
              <a:xfrm>
                <a:off x="2729157" y="1360529"/>
                <a:ext cx="67702" cy="141826"/>
                <a:chOff x="2729157" y="1360529"/>
                <a:chExt cx="67702" cy="141826"/>
              </a:xfrm>
              <a:grpFill/>
            </p:grpSpPr>
            <p:sp>
              <p:nvSpPr>
                <p:cNvPr id="5646" name="Freeform 8638">
                  <a:extLst>
                    <a:ext uri="{FF2B5EF4-FFF2-40B4-BE49-F238E27FC236}">
                      <a16:creationId xmlns:a16="http://schemas.microsoft.com/office/drawing/2014/main" id="{C534DDCB-2431-5B74-9F66-1692CB65DB68}"/>
                    </a:ext>
                  </a:extLst>
                </p:cNvPr>
                <p:cNvSpPr/>
                <p:nvPr/>
              </p:nvSpPr>
              <p:spPr>
                <a:xfrm>
                  <a:off x="2748365" y="1434854"/>
                  <a:ext cx="18185" cy="48826"/>
                </a:xfrm>
                <a:custGeom>
                  <a:avLst/>
                  <a:gdLst>
                    <a:gd name="connsiteX0" fmla="*/ 0 w 18185"/>
                    <a:gd name="connsiteY0" fmla="*/ 48827 h 48826"/>
                    <a:gd name="connsiteX1" fmla="*/ 8096 w 18185"/>
                    <a:gd name="connsiteY1" fmla="*/ 31887 h 48826"/>
                    <a:gd name="connsiteX2" fmla="*/ 10587 w 18185"/>
                    <a:gd name="connsiteY2" fmla="*/ 14698 h 48826"/>
                    <a:gd name="connsiteX3" fmla="*/ 18186 w 18185"/>
                    <a:gd name="connsiteY3" fmla="*/ 0 h 48826"/>
                  </a:gdLst>
                  <a:ahLst/>
                  <a:cxnLst>
                    <a:cxn ang="0">
                      <a:pos x="connsiteX0" y="connsiteY0"/>
                    </a:cxn>
                    <a:cxn ang="0">
                      <a:pos x="connsiteX1" y="connsiteY1"/>
                    </a:cxn>
                    <a:cxn ang="0">
                      <a:pos x="connsiteX2" y="connsiteY2"/>
                    </a:cxn>
                    <a:cxn ang="0">
                      <a:pos x="connsiteX3" y="connsiteY3"/>
                    </a:cxn>
                  </a:cxnLst>
                  <a:rect l="l" t="t" r="r" b="b"/>
                  <a:pathLst>
                    <a:path w="18185" h="48826">
                      <a:moveTo>
                        <a:pt x="0" y="48827"/>
                      </a:moveTo>
                      <a:cubicBezTo>
                        <a:pt x="5107" y="42101"/>
                        <a:pt x="7224" y="36122"/>
                        <a:pt x="8096" y="31887"/>
                      </a:cubicBezTo>
                      <a:cubicBezTo>
                        <a:pt x="9715" y="25036"/>
                        <a:pt x="8719" y="21548"/>
                        <a:pt x="10587" y="14698"/>
                      </a:cubicBezTo>
                      <a:cubicBezTo>
                        <a:pt x="12456" y="8096"/>
                        <a:pt x="15694" y="3114"/>
                        <a:pt x="181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7" name="Freeform 8639">
                  <a:extLst>
                    <a:ext uri="{FF2B5EF4-FFF2-40B4-BE49-F238E27FC236}">
                      <a16:creationId xmlns:a16="http://schemas.microsoft.com/office/drawing/2014/main" id="{CD715A38-8FE9-A583-0133-8D7C1D6AE765}"/>
                    </a:ext>
                  </a:extLst>
                </p:cNvPr>
                <p:cNvSpPr/>
                <p:nvPr/>
              </p:nvSpPr>
              <p:spPr>
                <a:xfrm>
                  <a:off x="2740019" y="1436722"/>
                  <a:ext cx="16815" cy="49324"/>
                </a:xfrm>
                <a:custGeom>
                  <a:avLst/>
                  <a:gdLst>
                    <a:gd name="connsiteX0" fmla="*/ 16815 w 16815"/>
                    <a:gd name="connsiteY0" fmla="*/ 0 h 49324"/>
                    <a:gd name="connsiteX1" fmla="*/ 12456 w 16815"/>
                    <a:gd name="connsiteY1" fmla="*/ 18310 h 49324"/>
                    <a:gd name="connsiteX2" fmla="*/ 3488 w 16815"/>
                    <a:gd name="connsiteY2" fmla="*/ 33257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6442" y="8345"/>
                        <a:pt x="14324" y="14324"/>
                        <a:pt x="12456" y="18310"/>
                      </a:cubicBezTo>
                      <a:cubicBezTo>
                        <a:pt x="9342" y="24662"/>
                        <a:pt x="6353" y="26780"/>
                        <a:pt x="3488" y="33257"/>
                      </a:cubicBezTo>
                      <a:cubicBezTo>
                        <a:pt x="747" y="39609"/>
                        <a:pt x="125" y="45464"/>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8" name="Freeform 8640">
                  <a:extLst>
                    <a:ext uri="{FF2B5EF4-FFF2-40B4-BE49-F238E27FC236}">
                      <a16:creationId xmlns:a16="http://schemas.microsoft.com/office/drawing/2014/main" id="{4D61065F-4531-CB67-4D7F-F09FC3431BA1}"/>
                    </a:ext>
                  </a:extLst>
                </p:cNvPr>
                <p:cNvSpPr/>
                <p:nvPr/>
              </p:nvSpPr>
              <p:spPr>
                <a:xfrm>
                  <a:off x="2729157" y="1475855"/>
                  <a:ext cx="26782" cy="26499"/>
                </a:xfrm>
                <a:custGeom>
                  <a:avLst/>
                  <a:gdLst>
                    <a:gd name="connsiteX0" fmla="*/ 773 w 26782"/>
                    <a:gd name="connsiteY0" fmla="*/ 8822 h 26499"/>
                    <a:gd name="connsiteX1" fmla="*/ 17837 w 26782"/>
                    <a:gd name="connsiteY1" fmla="*/ 725 h 26499"/>
                    <a:gd name="connsiteX2" fmla="*/ 26058 w 26782"/>
                    <a:gd name="connsiteY2" fmla="*/ 17665 h 26499"/>
                    <a:gd name="connsiteX3" fmla="*/ 8994 w 26782"/>
                    <a:gd name="connsiteY3" fmla="*/ 25762 h 26499"/>
                    <a:gd name="connsiteX4" fmla="*/ 773 w 26782"/>
                    <a:gd name="connsiteY4" fmla="*/ 8822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499">
                      <a:moveTo>
                        <a:pt x="773" y="8822"/>
                      </a:moveTo>
                      <a:cubicBezTo>
                        <a:pt x="3264" y="1971"/>
                        <a:pt x="10862" y="-1641"/>
                        <a:pt x="17837" y="725"/>
                      </a:cubicBezTo>
                      <a:cubicBezTo>
                        <a:pt x="24813" y="3092"/>
                        <a:pt x="28425" y="10690"/>
                        <a:pt x="26058" y="17665"/>
                      </a:cubicBezTo>
                      <a:cubicBezTo>
                        <a:pt x="23692" y="24640"/>
                        <a:pt x="15969" y="28128"/>
                        <a:pt x="8994" y="25762"/>
                      </a:cubicBezTo>
                      <a:cubicBezTo>
                        <a:pt x="2019" y="23395"/>
                        <a:pt x="-1718" y="15672"/>
                        <a:pt x="773"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9" name="Freeform 8641">
                  <a:extLst>
                    <a:ext uri="{FF2B5EF4-FFF2-40B4-BE49-F238E27FC236}">
                      <a16:creationId xmlns:a16="http://schemas.microsoft.com/office/drawing/2014/main" id="{E4348203-FCDE-8312-A33C-56FA7FE965E3}"/>
                    </a:ext>
                  </a:extLst>
                </p:cNvPr>
                <p:cNvSpPr/>
                <p:nvPr/>
              </p:nvSpPr>
              <p:spPr>
                <a:xfrm>
                  <a:off x="2759699" y="1379301"/>
                  <a:ext cx="18185" cy="48826"/>
                </a:xfrm>
                <a:custGeom>
                  <a:avLst/>
                  <a:gdLst>
                    <a:gd name="connsiteX0" fmla="*/ 18186 w 18185"/>
                    <a:gd name="connsiteY0" fmla="*/ 0 h 48826"/>
                    <a:gd name="connsiteX1" fmla="*/ 10089 w 18185"/>
                    <a:gd name="connsiteY1" fmla="*/ 16940 h 48826"/>
                    <a:gd name="connsiteX2" fmla="*/ 7598 w 18185"/>
                    <a:gd name="connsiteY2" fmla="*/ 34129 h 48826"/>
                    <a:gd name="connsiteX3" fmla="*/ 0 w 1818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185" h="48826">
                      <a:moveTo>
                        <a:pt x="18186" y="0"/>
                      </a:moveTo>
                      <a:cubicBezTo>
                        <a:pt x="13203" y="6726"/>
                        <a:pt x="11086" y="12705"/>
                        <a:pt x="10089" y="16940"/>
                      </a:cubicBezTo>
                      <a:cubicBezTo>
                        <a:pt x="8470" y="23791"/>
                        <a:pt x="9467"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0" name="Freeform 8642">
                  <a:extLst>
                    <a:ext uri="{FF2B5EF4-FFF2-40B4-BE49-F238E27FC236}">
                      <a16:creationId xmlns:a16="http://schemas.microsoft.com/office/drawing/2014/main" id="{3D118ED4-496B-A1AB-9BDA-F6B46290E092}"/>
                    </a:ext>
                  </a:extLst>
                </p:cNvPr>
                <p:cNvSpPr/>
                <p:nvPr/>
              </p:nvSpPr>
              <p:spPr>
                <a:xfrm>
                  <a:off x="2769415" y="1376810"/>
                  <a:ext cx="16815" cy="49324"/>
                </a:xfrm>
                <a:custGeom>
                  <a:avLst/>
                  <a:gdLst>
                    <a:gd name="connsiteX0" fmla="*/ 0 w 16815"/>
                    <a:gd name="connsiteY0" fmla="*/ 49325 h 49324"/>
                    <a:gd name="connsiteX1" fmla="*/ 4360 w 16815"/>
                    <a:gd name="connsiteY1" fmla="*/ 31015 h 49324"/>
                    <a:gd name="connsiteX2" fmla="*/ 13328 w 16815"/>
                    <a:gd name="connsiteY2" fmla="*/ 16068 h 49324"/>
                    <a:gd name="connsiteX3" fmla="*/ 16815 w 16815"/>
                    <a:gd name="connsiteY3" fmla="*/ 0 h 49324"/>
                  </a:gdLst>
                  <a:ahLst/>
                  <a:cxnLst>
                    <a:cxn ang="0">
                      <a:pos x="connsiteX0" y="connsiteY0"/>
                    </a:cxn>
                    <a:cxn ang="0">
                      <a:pos x="connsiteX1" y="connsiteY1"/>
                    </a:cxn>
                    <a:cxn ang="0">
                      <a:pos x="connsiteX2" y="connsiteY2"/>
                    </a:cxn>
                    <a:cxn ang="0">
                      <a:pos x="connsiteX3" y="connsiteY3"/>
                    </a:cxn>
                  </a:cxnLst>
                  <a:rect l="l" t="t" r="r" b="b"/>
                  <a:pathLst>
                    <a:path w="16815" h="49324">
                      <a:moveTo>
                        <a:pt x="0" y="49325"/>
                      </a:moveTo>
                      <a:cubicBezTo>
                        <a:pt x="374" y="40979"/>
                        <a:pt x="2491" y="35001"/>
                        <a:pt x="4360" y="31015"/>
                      </a:cubicBezTo>
                      <a:cubicBezTo>
                        <a:pt x="7474" y="24662"/>
                        <a:pt x="10463" y="22545"/>
                        <a:pt x="13328" y="16068"/>
                      </a:cubicBezTo>
                      <a:cubicBezTo>
                        <a:pt x="16068" y="9715"/>
                        <a:pt x="16691" y="3861"/>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1" name="Freeform 8643">
                  <a:extLst>
                    <a:ext uri="{FF2B5EF4-FFF2-40B4-BE49-F238E27FC236}">
                      <a16:creationId xmlns:a16="http://schemas.microsoft.com/office/drawing/2014/main" id="{3D170937-F2F7-B852-FED4-2993083E8A56}"/>
                    </a:ext>
                  </a:extLst>
                </p:cNvPr>
                <p:cNvSpPr/>
                <p:nvPr/>
              </p:nvSpPr>
              <p:spPr>
                <a:xfrm>
                  <a:off x="2770494" y="1360529"/>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085" y="24378"/>
                        <a:pt x="15611" y="28114"/>
                        <a:pt x="8761" y="25748"/>
                      </a:cubicBezTo>
                      <a:cubicBezTo>
                        <a:pt x="1910" y="23381"/>
                        <a:pt x="-1702" y="15783"/>
                        <a:pt x="789" y="8933"/>
                      </a:cubicBezTo>
                      <a:cubicBezTo>
                        <a:pt x="3280" y="2082"/>
                        <a:pt x="10878" y="-1655"/>
                        <a:pt x="17604" y="712"/>
                      </a:cubicBezTo>
                      <a:cubicBezTo>
                        <a:pt x="24455" y="3203"/>
                        <a:pt x="28067" y="10676"/>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2" name="Graphic 2987">
                <a:extLst>
                  <a:ext uri="{FF2B5EF4-FFF2-40B4-BE49-F238E27FC236}">
                    <a16:creationId xmlns:a16="http://schemas.microsoft.com/office/drawing/2014/main" id="{003CFA7A-3DDD-988E-2367-8954868D4788}"/>
                  </a:ext>
                </a:extLst>
              </p:cNvPr>
              <p:cNvGrpSpPr/>
              <p:nvPr/>
            </p:nvGrpSpPr>
            <p:grpSpPr>
              <a:xfrm>
                <a:off x="2700868" y="1350862"/>
                <a:ext cx="68340" cy="141515"/>
                <a:chOff x="2700868" y="1350862"/>
                <a:chExt cx="68340" cy="141515"/>
              </a:xfrm>
              <a:grpFill/>
            </p:grpSpPr>
            <p:sp>
              <p:nvSpPr>
                <p:cNvPr id="5640" name="Freeform 8645">
                  <a:extLst>
                    <a:ext uri="{FF2B5EF4-FFF2-40B4-BE49-F238E27FC236}">
                      <a16:creationId xmlns:a16="http://schemas.microsoft.com/office/drawing/2014/main" id="{E1DD3679-97B2-6C06-8845-D6AABD1333FB}"/>
                    </a:ext>
                  </a:extLst>
                </p:cNvPr>
                <p:cNvSpPr/>
                <p:nvPr/>
              </p:nvSpPr>
              <p:spPr>
                <a:xfrm>
                  <a:off x="2720090" y="1425014"/>
                  <a:ext cx="18434" cy="48826"/>
                </a:xfrm>
                <a:custGeom>
                  <a:avLst/>
                  <a:gdLst>
                    <a:gd name="connsiteX0" fmla="*/ 0 w 18434"/>
                    <a:gd name="connsiteY0" fmla="*/ 48827 h 48826"/>
                    <a:gd name="connsiteX1" fmla="*/ 8221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7"/>
                      </a:moveTo>
                      <a:cubicBezTo>
                        <a:pt x="5107" y="42100"/>
                        <a:pt x="7224" y="36122"/>
                        <a:pt x="8221" y="31887"/>
                      </a:cubicBezTo>
                      <a:cubicBezTo>
                        <a:pt x="9840" y="25036"/>
                        <a:pt x="8843" y="21548"/>
                        <a:pt x="10836" y="14698"/>
                      </a:cubicBezTo>
                      <a:cubicBezTo>
                        <a:pt x="12705"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1" name="Freeform 8646">
                  <a:extLst>
                    <a:ext uri="{FF2B5EF4-FFF2-40B4-BE49-F238E27FC236}">
                      <a16:creationId xmlns:a16="http://schemas.microsoft.com/office/drawing/2014/main" id="{01CF895D-21BC-5539-E64F-2F4C5D0A538C}"/>
                    </a:ext>
                  </a:extLst>
                </p:cNvPr>
                <p:cNvSpPr/>
                <p:nvPr/>
              </p:nvSpPr>
              <p:spPr>
                <a:xfrm>
                  <a:off x="2711745" y="1427007"/>
                  <a:ext cx="17064" cy="49200"/>
                </a:xfrm>
                <a:custGeom>
                  <a:avLst/>
                  <a:gdLst>
                    <a:gd name="connsiteX0" fmla="*/ 17064 w 17064"/>
                    <a:gd name="connsiteY0" fmla="*/ 0 h 49200"/>
                    <a:gd name="connsiteX1" fmla="*/ 12580 w 17064"/>
                    <a:gd name="connsiteY1" fmla="*/ 18185 h 49200"/>
                    <a:gd name="connsiteX2" fmla="*/ 3488 w 17064"/>
                    <a:gd name="connsiteY2" fmla="*/ 33132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6691" y="8345"/>
                        <a:pt x="14449" y="14324"/>
                        <a:pt x="12580" y="18185"/>
                      </a:cubicBezTo>
                      <a:cubicBezTo>
                        <a:pt x="9466" y="24413"/>
                        <a:pt x="6352" y="26655"/>
                        <a:pt x="3488" y="33132"/>
                      </a:cubicBezTo>
                      <a:cubicBezTo>
                        <a:pt x="623" y="39485"/>
                        <a:pt x="0"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2" name="Freeform 8647">
                  <a:extLst>
                    <a:ext uri="{FF2B5EF4-FFF2-40B4-BE49-F238E27FC236}">
                      <a16:creationId xmlns:a16="http://schemas.microsoft.com/office/drawing/2014/main" id="{A42B7D6C-D2B2-D49C-B475-911D070409FC}"/>
                    </a:ext>
                  </a:extLst>
                </p:cNvPr>
                <p:cNvSpPr/>
                <p:nvPr/>
              </p:nvSpPr>
              <p:spPr>
                <a:xfrm>
                  <a:off x="2700868" y="1466015"/>
                  <a:ext cx="26860" cy="26362"/>
                </a:xfrm>
                <a:custGeom>
                  <a:avLst/>
                  <a:gdLst>
                    <a:gd name="connsiteX0" fmla="*/ 788 w 26860"/>
                    <a:gd name="connsiteY0" fmla="*/ 8822 h 26362"/>
                    <a:gd name="connsiteX1" fmla="*/ 17977 w 26860"/>
                    <a:gd name="connsiteY1" fmla="*/ 725 h 26362"/>
                    <a:gd name="connsiteX2" fmla="*/ 26073 w 26860"/>
                    <a:gd name="connsiteY2" fmla="*/ 17541 h 26362"/>
                    <a:gd name="connsiteX3" fmla="*/ 8884 w 26860"/>
                    <a:gd name="connsiteY3" fmla="*/ 25637 h 26362"/>
                    <a:gd name="connsiteX4" fmla="*/ 788 w 26860"/>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362">
                      <a:moveTo>
                        <a:pt x="788" y="8822"/>
                      </a:moveTo>
                      <a:cubicBezTo>
                        <a:pt x="3279" y="1971"/>
                        <a:pt x="11001" y="-1641"/>
                        <a:pt x="17977" y="725"/>
                      </a:cubicBezTo>
                      <a:cubicBezTo>
                        <a:pt x="24952" y="3092"/>
                        <a:pt x="28564" y="10690"/>
                        <a:pt x="26073" y="17541"/>
                      </a:cubicBezTo>
                      <a:cubicBezTo>
                        <a:pt x="23582" y="24391"/>
                        <a:pt x="15859" y="28004"/>
                        <a:pt x="8884" y="25637"/>
                      </a:cubicBezTo>
                      <a:cubicBezTo>
                        <a:pt x="1909" y="23270"/>
                        <a:pt x="-1703" y="15672"/>
                        <a:pt x="788"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3" name="Freeform 8648">
                  <a:extLst>
                    <a:ext uri="{FF2B5EF4-FFF2-40B4-BE49-F238E27FC236}">
                      <a16:creationId xmlns:a16="http://schemas.microsoft.com/office/drawing/2014/main" id="{A0DEB447-A071-6BE7-B8B8-7FFEAB8EA000}"/>
                    </a:ext>
                  </a:extLst>
                </p:cNvPr>
                <p:cNvSpPr/>
                <p:nvPr/>
              </p:nvSpPr>
              <p:spPr>
                <a:xfrm>
                  <a:off x="2731674" y="1369586"/>
                  <a:ext cx="18434" cy="48826"/>
                </a:xfrm>
                <a:custGeom>
                  <a:avLst/>
                  <a:gdLst>
                    <a:gd name="connsiteX0" fmla="*/ 18434 w 18434"/>
                    <a:gd name="connsiteY0" fmla="*/ 0 h 48826"/>
                    <a:gd name="connsiteX1" fmla="*/ 10214 w 18434"/>
                    <a:gd name="connsiteY1" fmla="*/ 16940 h 48826"/>
                    <a:gd name="connsiteX2" fmla="*/ 7598 w 18434"/>
                    <a:gd name="connsiteY2" fmla="*/ 34129 h 48826"/>
                    <a:gd name="connsiteX3" fmla="*/ 0 w 18434"/>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4" h="48826">
                      <a:moveTo>
                        <a:pt x="18434" y="0"/>
                      </a:moveTo>
                      <a:cubicBezTo>
                        <a:pt x="13328" y="6726"/>
                        <a:pt x="11210" y="12705"/>
                        <a:pt x="10214" y="16940"/>
                      </a:cubicBezTo>
                      <a:cubicBezTo>
                        <a:pt x="8595" y="23791"/>
                        <a:pt x="9591"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4" name="Freeform 8649">
                  <a:extLst>
                    <a:ext uri="{FF2B5EF4-FFF2-40B4-BE49-F238E27FC236}">
                      <a16:creationId xmlns:a16="http://schemas.microsoft.com/office/drawing/2014/main" id="{183900D7-3C46-4BCA-BF88-662F1829ED5F}"/>
                    </a:ext>
                  </a:extLst>
                </p:cNvPr>
                <p:cNvSpPr/>
                <p:nvPr/>
              </p:nvSpPr>
              <p:spPr>
                <a:xfrm>
                  <a:off x="2741389" y="1367219"/>
                  <a:ext cx="16939" cy="49200"/>
                </a:xfrm>
                <a:custGeom>
                  <a:avLst/>
                  <a:gdLst>
                    <a:gd name="connsiteX0" fmla="*/ 0 w 16939"/>
                    <a:gd name="connsiteY0" fmla="*/ 49200 h 49200"/>
                    <a:gd name="connsiteX1" fmla="*/ 4484 w 16939"/>
                    <a:gd name="connsiteY1" fmla="*/ 31015 h 49200"/>
                    <a:gd name="connsiteX2" fmla="*/ 13452 w 16939"/>
                    <a:gd name="connsiteY2" fmla="*/ 16068 h 49200"/>
                    <a:gd name="connsiteX3" fmla="*/ 16940 w 16939"/>
                    <a:gd name="connsiteY3" fmla="*/ 0 h 49200"/>
                  </a:gdLst>
                  <a:ahLst/>
                  <a:cxnLst>
                    <a:cxn ang="0">
                      <a:pos x="connsiteX0" y="connsiteY0"/>
                    </a:cxn>
                    <a:cxn ang="0">
                      <a:pos x="connsiteX1" y="connsiteY1"/>
                    </a:cxn>
                    <a:cxn ang="0">
                      <a:pos x="connsiteX2" y="connsiteY2"/>
                    </a:cxn>
                    <a:cxn ang="0">
                      <a:pos x="connsiteX3" y="connsiteY3"/>
                    </a:cxn>
                  </a:cxnLst>
                  <a:rect l="l" t="t" r="r" b="b"/>
                  <a:pathLst>
                    <a:path w="16939" h="49200">
                      <a:moveTo>
                        <a:pt x="0" y="49200"/>
                      </a:moveTo>
                      <a:cubicBezTo>
                        <a:pt x="374" y="40855"/>
                        <a:pt x="2616" y="34876"/>
                        <a:pt x="4484" y="31015"/>
                      </a:cubicBezTo>
                      <a:cubicBezTo>
                        <a:pt x="7598" y="24787"/>
                        <a:pt x="10587" y="22545"/>
                        <a:pt x="13452" y="16068"/>
                      </a:cubicBezTo>
                      <a:cubicBezTo>
                        <a:pt x="16193" y="9715"/>
                        <a:pt x="16940" y="3861"/>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5" name="Freeform 8650">
                  <a:extLst>
                    <a:ext uri="{FF2B5EF4-FFF2-40B4-BE49-F238E27FC236}">
                      <a16:creationId xmlns:a16="http://schemas.microsoft.com/office/drawing/2014/main" id="{647CCEDA-24FA-6D77-E1C6-CAC97073C6EA}"/>
                    </a:ext>
                  </a:extLst>
                </p:cNvPr>
                <p:cNvSpPr/>
                <p:nvPr/>
              </p:nvSpPr>
              <p:spPr>
                <a:xfrm>
                  <a:off x="2742778" y="1350862"/>
                  <a:ext cx="26431" cy="26473"/>
                </a:xfrm>
                <a:custGeom>
                  <a:avLst/>
                  <a:gdLst>
                    <a:gd name="connsiteX0" fmla="*/ 25641 w 26431"/>
                    <a:gd name="connsiteY0" fmla="*/ 17603 h 26473"/>
                    <a:gd name="connsiteX1" fmla="*/ 8701 w 26431"/>
                    <a:gd name="connsiteY1" fmla="*/ 25699 h 26473"/>
                    <a:gd name="connsiteX2" fmla="*/ 854 w 26431"/>
                    <a:gd name="connsiteY2" fmla="*/ 8884 h 26473"/>
                    <a:gd name="connsiteX3" fmla="*/ 17794 w 26431"/>
                    <a:gd name="connsiteY3" fmla="*/ 788 h 26473"/>
                    <a:gd name="connsiteX4" fmla="*/ 25641 w 26431"/>
                    <a:gd name="connsiteY4" fmla="*/ 17603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473">
                      <a:moveTo>
                        <a:pt x="25641" y="17603"/>
                      </a:moveTo>
                      <a:cubicBezTo>
                        <a:pt x="23150" y="24454"/>
                        <a:pt x="15552" y="28190"/>
                        <a:pt x="8701" y="25699"/>
                      </a:cubicBezTo>
                      <a:cubicBezTo>
                        <a:pt x="1850" y="23333"/>
                        <a:pt x="-1762" y="15859"/>
                        <a:pt x="854" y="8884"/>
                      </a:cubicBezTo>
                      <a:cubicBezTo>
                        <a:pt x="3470" y="1909"/>
                        <a:pt x="10943" y="-1704"/>
                        <a:pt x="17794" y="788"/>
                      </a:cubicBezTo>
                      <a:cubicBezTo>
                        <a:pt x="24520" y="3279"/>
                        <a:pt x="28132" y="10752"/>
                        <a:pt x="25641" y="176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3" name="Graphic 2987">
                <a:extLst>
                  <a:ext uri="{FF2B5EF4-FFF2-40B4-BE49-F238E27FC236}">
                    <a16:creationId xmlns:a16="http://schemas.microsoft.com/office/drawing/2014/main" id="{EAA4EFE5-641D-5E62-B6EE-0358B967B5E4}"/>
                  </a:ext>
                </a:extLst>
              </p:cNvPr>
              <p:cNvGrpSpPr/>
              <p:nvPr/>
            </p:nvGrpSpPr>
            <p:grpSpPr>
              <a:xfrm>
                <a:off x="2672703" y="1341189"/>
                <a:ext cx="68743" cy="141462"/>
                <a:chOff x="2672703" y="1341189"/>
                <a:chExt cx="68743" cy="141462"/>
              </a:xfrm>
              <a:grpFill/>
            </p:grpSpPr>
            <p:sp>
              <p:nvSpPr>
                <p:cNvPr id="5634" name="Freeform 8652">
                  <a:extLst>
                    <a:ext uri="{FF2B5EF4-FFF2-40B4-BE49-F238E27FC236}">
                      <a16:creationId xmlns:a16="http://schemas.microsoft.com/office/drawing/2014/main" id="{EF21D31F-0267-D521-1C99-A1D436920B75}"/>
                    </a:ext>
                  </a:extLst>
                </p:cNvPr>
                <p:cNvSpPr/>
                <p:nvPr/>
              </p:nvSpPr>
              <p:spPr>
                <a:xfrm>
                  <a:off x="2691940" y="1415174"/>
                  <a:ext cx="18683" cy="48826"/>
                </a:xfrm>
                <a:custGeom>
                  <a:avLst/>
                  <a:gdLst>
                    <a:gd name="connsiteX0" fmla="*/ 0 w 18683"/>
                    <a:gd name="connsiteY0" fmla="*/ 48827 h 48826"/>
                    <a:gd name="connsiteX1" fmla="*/ 8345 w 18683"/>
                    <a:gd name="connsiteY1" fmla="*/ 31887 h 48826"/>
                    <a:gd name="connsiteX2" fmla="*/ 10961 w 18683"/>
                    <a:gd name="connsiteY2" fmla="*/ 14698 h 48826"/>
                    <a:gd name="connsiteX3" fmla="*/ 18684 w 18683"/>
                    <a:gd name="connsiteY3" fmla="*/ 0 h 48826"/>
                  </a:gdLst>
                  <a:ahLst/>
                  <a:cxnLst>
                    <a:cxn ang="0">
                      <a:pos x="connsiteX0" y="connsiteY0"/>
                    </a:cxn>
                    <a:cxn ang="0">
                      <a:pos x="connsiteX1" y="connsiteY1"/>
                    </a:cxn>
                    <a:cxn ang="0">
                      <a:pos x="connsiteX2" y="connsiteY2"/>
                    </a:cxn>
                    <a:cxn ang="0">
                      <a:pos x="connsiteX3" y="connsiteY3"/>
                    </a:cxn>
                  </a:cxnLst>
                  <a:rect l="l" t="t" r="r" b="b"/>
                  <a:pathLst>
                    <a:path w="18683" h="48826">
                      <a:moveTo>
                        <a:pt x="0" y="48827"/>
                      </a:moveTo>
                      <a:cubicBezTo>
                        <a:pt x="5107" y="42101"/>
                        <a:pt x="7349" y="36122"/>
                        <a:pt x="8345" y="31887"/>
                      </a:cubicBezTo>
                      <a:cubicBezTo>
                        <a:pt x="9965" y="25036"/>
                        <a:pt x="8968" y="21548"/>
                        <a:pt x="10961" y="14698"/>
                      </a:cubicBezTo>
                      <a:cubicBezTo>
                        <a:pt x="12829" y="8096"/>
                        <a:pt x="16193" y="3114"/>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5" name="Freeform 8653">
                  <a:extLst>
                    <a:ext uri="{FF2B5EF4-FFF2-40B4-BE49-F238E27FC236}">
                      <a16:creationId xmlns:a16="http://schemas.microsoft.com/office/drawing/2014/main" id="{D572A5E1-1EEF-E7E8-BDF2-6B64386DAFBC}"/>
                    </a:ext>
                  </a:extLst>
                </p:cNvPr>
                <p:cNvSpPr/>
                <p:nvPr/>
              </p:nvSpPr>
              <p:spPr>
                <a:xfrm>
                  <a:off x="2683595" y="1417042"/>
                  <a:ext cx="17313" cy="49324"/>
                </a:xfrm>
                <a:custGeom>
                  <a:avLst/>
                  <a:gdLst>
                    <a:gd name="connsiteX0" fmla="*/ 17314 w 17313"/>
                    <a:gd name="connsiteY0" fmla="*/ 0 h 49324"/>
                    <a:gd name="connsiteX1" fmla="*/ 12705 w 17313"/>
                    <a:gd name="connsiteY1" fmla="*/ 18310 h 49324"/>
                    <a:gd name="connsiteX2" fmla="*/ 3612 w 17313"/>
                    <a:gd name="connsiteY2" fmla="*/ 33132 h 49324"/>
                    <a:gd name="connsiteX3" fmla="*/ 0 w 17313"/>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313" h="49324">
                      <a:moveTo>
                        <a:pt x="17314" y="0"/>
                      </a:moveTo>
                      <a:cubicBezTo>
                        <a:pt x="16815" y="8470"/>
                        <a:pt x="14698" y="14449"/>
                        <a:pt x="12705" y="18310"/>
                      </a:cubicBezTo>
                      <a:cubicBezTo>
                        <a:pt x="9591" y="24538"/>
                        <a:pt x="6477" y="26655"/>
                        <a:pt x="3612" y="33132"/>
                      </a:cubicBezTo>
                      <a:cubicBezTo>
                        <a:pt x="747" y="39360"/>
                        <a:pt x="125" y="45339"/>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6" name="Freeform 8654">
                  <a:extLst>
                    <a:ext uri="{FF2B5EF4-FFF2-40B4-BE49-F238E27FC236}">
                      <a16:creationId xmlns:a16="http://schemas.microsoft.com/office/drawing/2014/main" id="{E33469FD-25BB-635F-F3D6-BB25ACC82DF7}"/>
                    </a:ext>
                  </a:extLst>
                </p:cNvPr>
                <p:cNvSpPr/>
                <p:nvPr/>
              </p:nvSpPr>
              <p:spPr>
                <a:xfrm>
                  <a:off x="2672703" y="1456014"/>
                  <a:ext cx="26750" cy="26636"/>
                </a:xfrm>
                <a:custGeom>
                  <a:avLst/>
                  <a:gdLst>
                    <a:gd name="connsiteX0" fmla="*/ 803 w 26750"/>
                    <a:gd name="connsiteY0" fmla="*/ 8484 h 26636"/>
                    <a:gd name="connsiteX1" fmla="*/ 17867 w 26750"/>
                    <a:gd name="connsiteY1" fmla="*/ 886 h 26636"/>
                    <a:gd name="connsiteX2" fmla="*/ 25963 w 26750"/>
                    <a:gd name="connsiteY2" fmla="*/ 17826 h 26636"/>
                    <a:gd name="connsiteX3" fmla="*/ 8774 w 26750"/>
                    <a:gd name="connsiteY3" fmla="*/ 25798 h 26636"/>
                    <a:gd name="connsiteX4" fmla="*/ 803 w 26750"/>
                    <a:gd name="connsiteY4" fmla="*/ 8484 h 26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636">
                      <a:moveTo>
                        <a:pt x="803" y="8484"/>
                      </a:moveTo>
                      <a:cubicBezTo>
                        <a:pt x="3294" y="1634"/>
                        <a:pt x="11016" y="-1729"/>
                        <a:pt x="17867" y="886"/>
                      </a:cubicBezTo>
                      <a:cubicBezTo>
                        <a:pt x="24842" y="3377"/>
                        <a:pt x="28454" y="10851"/>
                        <a:pt x="25963" y="17826"/>
                      </a:cubicBezTo>
                      <a:cubicBezTo>
                        <a:pt x="23472" y="24677"/>
                        <a:pt x="15749" y="28414"/>
                        <a:pt x="8774" y="25798"/>
                      </a:cubicBezTo>
                      <a:cubicBezTo>
                        <a:pt x="1799" y="23058"/>
                        <a:pt x="-1689" y="15335"/>
                        <a:pt x="803"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7" name="Freeform 8655">
                  <a:extLst>
                    <a:ext uri="{FF2B5EF4-FFF2-40B4-BE49-F238E27FC236}">
                      <a16:creationId xmlns:a16="http://schemas.microsoft.com/office/drawing/2014/main" id="{C258E2EC-9EE2-2F84-FF8D-9BB3E72F51FF}"/>
                    </a:ext>
                  </a:extLst>
                </p:cNvPr>
                <p:cNvSpPr/>
                <p:nvPr/>
              </p:nvSpPr>
              <p:spPr>
                <a:xfrm>
                  <a:off x="2703648" y="1359870"/>
                  <a:ext cx="18808" cy="48702"/>
                </a:xfrm>
                <a:custGeom>
                  <a:avLst/>
                  <a:gdLst>
                    <a:gd name="connsiteX0" fmla="*/ 18808 w 18808"/>
                    <a:gd name="connsiteY0" fmla="*/ 0 h 48702"/>
                    <a:gd name="connsiteX1" fmla="*/ 10463 w 18808"/>
                    <a:gd name="connsiteY1" fmla="*/ 16815 h 48702"/>
                    <a:gd name="connsiteX2" fmla="*/ 7723 w 18808"/>
                    <a:gd name="connsiteY2" fmla="*/ 34129 h 48702"/>
                    <a:gd name="connsiteX3" fmla="*/ 0 w 18808"/>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0"/>
                      </a:moveTo>
                      <a:cubicBezTo>
                        <a:pt x="13701" y="6602"/>
                        <a:pt x="11584" y="12580"/>
                        <a:pt x="10463" y="16815"/>
                      </a:cubicBezTo>
                      <a:cubicBezTo>
                        <a:pt x="8719" y="23666"/>
                        <a:pt x="9715" y="27278"/>
                        <a:pt x="7723" y="34129"/>
                      </a:cubicBezTo>
                      <a:cubicBezTo>
                        <a:pt x="5854" y="40730"/>
                        <a:pt x="2491" y="45588"/>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8" name="Freeform 8656">
                  <a:extLst>
                    <a:ext uri="{FF2B5EF4-FFF2-40B4-BE49-F238E27FC236}">
                      <a16:creationId xmlns:a16="http://schemas.microsoft.com/office/drawing/2014/main" id="{AE9D60BF-A425-2351-FD22-68176A8530B5}"/>
                    </a:ext>
                  </a:extLst>
                </p:cNvPr>
                <p:cNvSpPr/>
                <p:nvPr/>
              </p:nvSpPr>
              <p:spPr>
                <a:xfrm>
                  <a:off x="2713364" y="1357504"/>
                  <a:ext cx="17313" cy="49200"/>
                </a:xfrm>
                <a:custGeom>
                  <a:avLst/>
                  <a:gdLst>
                    <a:gd name="connsiteX0" fmla="*/ 0 w 17313"/>
                    <a:gd name="connsiteY0" fmla="*/ 49200 h 49200"/>
                    <a:gd name="connsiteX1" fmla="*/ 4609 w 17313"/>
                    <a:gd name="connsiteY1" fmla="*/ 31015 h 49200"/>
                    <a:gd name="connsiteX2" fmla="*/ 13701 w 17313"/>
                    <a:gd name="connsiteY2" fmla="*/ 16068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374" y="40855"/>
                        <a:pt x="2616" y="34876"/>
                        <a:pt x="4609" y="31015"/>
                      </a:cubicBezTo>
                      <a:cubicBezTo>
                        <a:pt x="7723" y="24787"/>
                        <a:pt x="10837" y="22545"/>
                        <a:pt x="13701" y="16068"/>
                      </a:cubicBezTo>
                      <a:cubicBezTo>
                        <a:pt x="16566" y="9716"/>
                        <a:pt x="17189" y="3861"/>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9" name="Freeform 8657">
                  <a:extLst>
                    <a:ext uri="{FF2B5EF4-FFF2-40B4-BE49-F238E27FC236}">
                      <a16:creationId xmlns:a16="http://schemas.microsoft.com/office/drawing/2014/main" id="{B9DBDD22-B5B5-A3AD-D6D0-5AFB1DEA3238}"/>
                    </a:ext>
                  </a:extLst>
                </p:cNvPr>
                <p:cNvSpPr/>
                <p:nvPr/>
              </p:nvSpPr>
              <p:spPr>
                <a:xfrm>
                  <a:off x="2715174" y="1341189"/>
                  <a:ext cx="26271" cy="26555"/>
                </a:xfrm>
                <a:custGeom>
                  <a:avLst/>
                  <a:gdLst>
                    <a:gd name="connsiteX0" fmla="*/ 25468 w 26271"/>
                    <a:gd name="connsiteY0" fmla="*/ 17685 h 26555"/>
                    <a:gd name="connsiteX1" fmla="*/ 8528 w 26271"/>
                    <a:gd name="connsiteY1" fmla="*/ 25781 h 26555"/>
                    <a:gd name="connsiteX2" fmla="*/ 805 w 26271"/>
                    <a:gd name="connsiteY2" fmla="*/ 8592 h 26555"/>
                    <a:gd name="connsiteX3" fmla="*/ 17620 w 26271"/>
                    <a:gd name="connsiteY3" fmla="*/ 870 h 26555"/>
                    <a:gd name="connsiteX4" fmla="*/ 25468 w 26271"/>
                    <a:gd name="connsiteY4" fmla="*/ 17685 h 2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0" h="26555">
                      <a:moveTo>
                        <a:pt x="25468" y="17685"/>
                      </a:moveTo>
                      <a:cubicBezTo>
                        <a:pt x="22976" y="24536"/>
                        <a:pt x="15378" y="28273"/>
                        <a:pt x="8528" y="25781"/>
                      </a:cubicBezTo>
                      <a:cubicBezTo>
                        <a:pt x="1802" y="23166"/>
                        <a:pt x="-1686" y="15443"/>
                        <a:pt x="805" y="8592"/>
                      </a:cubicBezTo>
                      <a:cubicBezTo>
                        <a:pt x="3296" y="1742"/>
                        <a:pt x="10894" y="-1746"/>
                        <a:pt x="17620" y="870"/>
                      </a:cubicBezTo>
                      <a:cubicBezTo>
                        <a:pt x="24471" y="3361"/>
                        <a:pt x="27959" y="10710"/>
                        <a:pt x="25468" y="176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4" name="Graphic 2987">
                <a:extLst>
                  <a:ext uri="{FF2B5EF4-FFF2-40B4-BE49-F238E27FC236}">
                    <a16:creationId xmlns:a16="http://schemas.microsoft.com/office/drawing/2014/main" id="{50309A67-1D96-8198-4DA7-58C596556E33}"/>
                  </a:ext>
                </a:extLst>
              </p:cNvPr>
              <p:cNvGrpSpPr/>
              <p:nvPr/>
            </p:nvGrpSpPr>
            <p:grpSpPr>
              <a:xfrm>
                <a:off x="2644736" y="1330601"/>
                <a:ext cx="69199" cy="141260"/>
                <a:chOff x="2644736" y="1330601"/>
                <a:chExt cx="69199" cy="141260"/>
              </a:xfrm>
              <a:grpFill/>
            </p:grpSpPr>
            <p:sp>
              <p:nvSpPr>
                <p:cNvPr id="5628" name="Freeform 8659">
                  <a:extLst>
                    <a:ext uri="{FF2B5EF4-FFF2-40B4-BE49-F238E27FC236}">
                      <a16:creationId xmlns:a16="http://schemas.microsoft.com/office/drawing/2014/main" id="{06D9E911-7265-BD86-9650-AC6AB3BF23AD}"/>
                    </a:ext>
                  </a:extLst>
                </p:cNvPr>
                <p:cNvSpPr/>
                <p:nvPr/>
              </p:nvSpPr>
              <p:spPr>
                <a:xfrm>
                  <a:off x="2663914" y="1404711"/>
                  <a:ext cx="18808" cy="48577"/>
                </a:xfrm>
                <a:custGeom>
                  <a:avLst/>
                  <a:gdLst>
                    <a:gd name="connsiteX0" fmla="*/ 0 w 18808"/>
                    <a:gd name="connsiteY0" fmla="*/ 48577 h 48577"/>
                    <a:gd name="connsiteX1" fmla="*/ 8345 w 18808"/>
                    <a:gd name="connsiteY1" fmla="*/ 31762 h 48577"/>
                    <a:gd name="connsiteX2" fmla="*/ 11086 w 18808"/>
                    <a:gd name="connsiteY2" fmla="*/ 1457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5107" y="41976"/>
                        <a:pt x="7349" y="35997"/>
                        <a:pt x="8345" y="31762"/>
                      </a:cubicBezTo>
                      <a:cubicBezTo>
                        <a:pt x="10089" y="24912"/>
                        <a:pt x="9093" y="21299"/>
                        <a:pt x="11086" y="14573"/>
                      </a:cubicBezTo>
                      <a:cubicBezTo>
                        <a:pt x="13079" y="7972"/>
                        <a:pt x="16317" y="3114"/>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9" name="Freeform 8660">
                  <a:extLst>
                    <a:ext uri="{FF2B5EF4-FFF2-40B4-BE49-F238E27FC236}">
                      <a16:creationId xmlns:a16="http://schemas.microsoft.com/office/drawing/2014/main" id="{0AED4A86-7F91-45CB-441C-435CCAAF0112}"/>
                    </a:ext>
                  </a:extLst>
                </p:cNvPr>
                <p:cNvSpPr/>
                <p:nvPr/>
              </p:nvSpPr>
              <p:spPr>
                <a:xfrm>
                  <a:off x="2655445" y="1406330"/>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947" y="14324"/>
                        <a:pt x="12954" y="18185"/>
                      </a:cubicBezTo>
                      <a:cubicBezTo>
                        <a:pt x="9840" y="24413"/>
                        <a:pt x="6726" y="26531"/>
                        <a:pt x="3737" y="32883"/>
                      </a:cubicBezTo>
                      <a:cubicBezTo>
                        <a:pt x="872" y="39111"/>
                        <a:pt x="124" y="45090"/>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0" name="Freeform 8661">
                  <a:extLst>
                    <a:ext uri="{FF2B5EF4-FFF2-40B4-BE49-F238E27FC236}">
                      <a16:creationId xmlns:a16="http://schemas.microsoft.com/office/drawing/2014/main" id="{EB4920FA-6E45-978E-069A-84E6FC2A9627}"/>
                    </a:ext>
                  </a:extLst>
                </p:cNvPr>
                <p:cNvSpPr/>
                <p:nvPr/>
              </p:nvSpPr>
              <p:spPr>
                <a:xfrm>
                  <a:off x="2644736" y="1445178"/>
                  <a:ext cx="26758" cy="26684"/>
                </a:xfrm>
                <a:custGeom>
                  <a:avLst/>
                  <a:gdLst>
                    <a:gd name="connsiteX0" fmla="*/ 868 w 26758"/>
                    <a:gd name="connsiteY0" fmla="*/ 8484 h 26684"/>
                    <a:gd name="connsiteX1" fmla="*/ 18057 w 26758"/>
                    <a:gd name="connsiteY1" fmla="*/ 886 h 26684"/>
                    <a:gd name="connsiteX2" fmla="*/ 25905 w 26758"/>
                    <a:gd name="connsiteY2" fmla="*/ 18200 h 26684"/>
                    <a:gd name="connsiteX3" fmla="*/ 8716 w 26758"/>
                    <a:gd name="connsiteY3" fmla="*/ 25798 h 26684"/>
                    <a:gd name="connsiteX4" fmla="*/ 868 w 26758"/>
                    <a:gd name="connsiteY4" fmla="*/ 8484 h 2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8" h="26684">
                      <a:moveTo>
                        <a:pt x="868" y="8484"/>
                      </a:moveTo>
                      <a:cubicBezTo>
                        <a:pt x="3484" y="1634"/>
                        <a:pt x="11082" y="-1729"/>
                        <a:pt x="18057" y="886"/>
                      </a:cubicBezTo>
                      <a:cubicBezTo>
                        <a:pt x="24908" y="3502"/>
                        <a:pt x="28520" y="11349"/>
                        <a:pt x="25905" y="18200"/>
                      </a:cubicBezTo>
                      <a:cubicBezTo>
                        <a:pt x="23414" y="25051"/>
                        <a:pt x="15691" y="28414"/>
                        <a:pt x="8716" y="25798"/>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1" name="Freeform 8662">
                  <a:extLst>
                    <a:ext uri="{FF2B5EF4-FFF2-40B4-BE49-F238E27FC236}">
                      <a16:creationId xmlns:a16="http://schemas.microsoft.com/office/drawing/2014/main" id="{D4947D72-EFC3-4C0C-90A2-2E5DB11AD887}"/>
                    </a:ext>
                  </a:extLst>
                </p:cNvPr>
                <p:cNvSpPr/>
                <p:nvPr/>
              </p:nvSpPr>
              <p:spPr>
                <a:xfrm>
                  <a:off x="2676121" y="1349158"/>
                  <a:ext cx="18932" cy="48577"/>
                </a:xfrm>
                <a:custGeom>
                  <a:avLst/>
                  <a:gdLst>
                    <a:gd name="connsiteX0" fmla="*/ 18933 w 18932"/>
                    <a:gd name="connsiteY0" fmla="*/ 0 h 48577"/>
                    <a:gd name="connsiteX1" fmla="*/ 10587 w 18932"/>
                    <a:gd name="connsiteY1" fmla="*/ 16815 h 48577"/>
                    <a:gd name="connsiteX2" fmla="*/ 7723 w 18932"/>
                    <a:gd name="connsiteY2" fmla="*/ 34004 h 48577"/>
                    <a:gd name="connsiteX3" fmla="*/ 0 w 18932"/>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2" h="48577">
                      <a:moveTo>
                        <a:pt x="18933" y="0"/>
                      </a:moveTo>
                      <a:cubicBezTo>
                        <a:pt x="13826" y="6602"/>
                        <a:pt x="11584" y="12580"/>
                        <a:pt x="10587" y="16815"/>
                      </a:cubicBezTo>
                      <a:cubicBezTo>
                        <a:pt x="8843" y="23666"/>
                        <a:pt x="9840" y="27278"/>
                        <a:pt x="7723" y="34004"/>
                      </a:cubicBezTo>
                      <a:cubicBezTo>
                        <a:pt x="5730" y="40606"/>
                        <a:pt x="2491" y="45464"/>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2" name="Freeform 8663">
                  <a:extLst>
                    <a:ext uri="{FF2B5EF4-FFF2-40B4-BE49-F238E27FC236}">
                      <a16:creationId xmlns:a16="http://schemas.microsoft.com/office/drawing/2014/main" id="{D6FB88CC-D3CD-7FA0-8CF2-9AC885EA8B87}"/>
                    </a:ext>
                  </a:extLst>
                </p:cNvPr>
                <p:cNvSpPr/>
                <p:nvPr/>
              </p:nvSpPr>
              <p:spPr>
                <a:xfrm>
                  <a:off x="2685712" y="1347041"/>
                  <a:ext cx="17562" cy="49075"/>
                </a:xfrm>
                <a:custGeom>
                  <a:avLst/>
                  <a:gdLst>
                    <a:gd name="connsiteX0" fmla="*/ 0 w 17562"/>
                    <a:gd name="connsiteY0" fmla="*/ 49076 h 49075"/>
                    <a:gd name="connsiteX1" fmla="*/ 4733 w 17562"/>
                    <a:gd name="connsiteY1" fmla="*/ 30890 h 49075"/>
                    <a:gd name="connsiteX2" fmla="*/ 13826 w 17562"/>
                    <a:gd name="connsiteY2" fmla="*/ 16068 h 49075"/>
                    <a:gd name="connsiteX3" fmla="*/ 17563 w 17562"/>
                    <a:gd name="connsiteY3" fmla="*/ 0 h 49075"/>
                  </a:gdLst>
                  <a:ahLst/>
                  <a:cxnLst>
                    <a:cxn ang="0">
                      <a:pos x="connsiteX0" y="connsiteY0"/>
                    </a:cxn>
                    <a:cxn ang="0">
                      <a:pos x="connsiteX1" y="connsiteY1"/>
                    </a:cxn>
                    <a:cxn ang="0">
                      <a:pos x="connsiteX2" y="connsiteY2"/>
                    </a:cxn>
                    <a:cxn ang="0">
                      <a:pos x="connsiteX3" y="connsiteY3"/>
                    </a:cxn>
                  </a:cxnLst>
                  <a:rect l="l" t="t" r="r" b="b"/>
                  <a:pathLst>
                    <a:path w="17562" h="49075">
                      <a:moveTo>
                        <a:pt x="0" y="49076"/>
                      </a:moveTo>
                      <a:cubicBezTo>
                        <a:pt x="498" y="40606"/>
                        <a:pt x="2740" y="34752"/>
                        <a:pt x="4733" y="30890"/>
                      </a:cubicBezTo>
                      <a:cubicBezTo>
                        <a:pt x="7847" y="24662"/>
                        <a:pt x="10961" y="22545"/>
                        <a:pt x="13826" y="16068"/>
                      </a:cubicBezTo>
                      <a:cubicBezTo>
                        <a:pt x="16691" y="9840"/>
                        <a:pt x="17438" y="3861"/>
                        <a:pt x="175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3" name="Freeform 8664">
                  <a:extLst>
                    <a:ext uri="{FF2B5EF4-FFF2-40B4-BE49-F238E27FC236}">
                      <a16:creationId xmlns:a16="http://schemas.microsoft.com/office/drawing/2014/main" id="{79289D5B-7E67-8F98-C55A-AB21E55DF992}"/>
                    </a:ext>
                  </a:extLst>
                </p:cNvPr>
                <p:cNvSpPr/>
                <p:nvPr/>
              </p:nvSpPr>
              <p:spPr>
                <a:xfrm>
                  <a:off x="2687830" y="1330601"/>
                  <a:ext cx="26105" cy="26651"/>
                </a:xfrm>
                <a:custGeom>
                  <a:avLst/>
                  <a:gdLst>
                    <a:gd name="connsiteX0" fmla="*/ 25285 w 26105"/>
                    <a:gd name="connsiteY0" fmla="*/ 18059 h 26651"/>
                    <a:gd name="connsiteX1" fmla="*/ 8469 w 26105"/>
                    <a:gd name="connsiteY1" fmla="*/ 25781 h 26651"/>
                    <a:gd name="connsiteX2" fmla="*/ 871 w 26105"/>
                    <a:gd name="connsiteY2" fmla="*/ 8592 h 26651"/>
                    <a:gd name="connsiteX3" fmla="*/ 17687 w 26105"/>
                    <a:gd name="connsiteY3" fmla="*/ 870 h 26651"/>
                    <a:gd name="connsiteX4" fmla="*/ 25285 w 26105"/>
                    <a:gd name="connsiteY4" fmla="*/ 18059 h 2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5" h="26651">
                      <a:moveTo>
                        <a:pt x="25285" y="18059"/>
                      </a:moveTo>
                      <a:cubicBezTo>
                        <a:pt x="22793" y="24910"/>
                        <a:pt x="15195" y="28397"/>
                        <a:pt x="8469" y="25781"/>
                      </a:cubicBezTo>
                      <a:cubicBezTo>
                        <a:pt x="1743" y="23166"/>
                        <a:pt x="-1744" y="15443"/>
                        <a:pt x="871" y="8592"/>
                      </a:cubicBezTo>
                      <a:cubicBezTo>
                        <a:pt x="3487" y="1742"/>
                        <a:pt x="10961" y="-1746"/>
                        <a:pt x="17687" y="870"/>
                      </a:cubicBezTo>
                      <a:cubicBezTo>
                        <a:pt x="24413" y="3486"/>
                        <a:pt x="27776" y="11084"/>
                        <a:pt x="25285" y="180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5" name="Graphic 2987">
                <a:extLst>
                  <a:ext uri="{FF2B5EF4-FFF2-40B4-BE49-F238E27FC236}">
                    <a16:creationId xmlns:a16="http://schemas.microsoft.com/office/drawing/2014/main" id="{5176E483-A1F0-E77C-7E18-563A7F787129}"/>
                  </a:ext>
                </a:extLst>
              </p:cNvPr>
              <p:cNvGrpSpPr/>
              <p:nvPr/>
            </p:nvGrpSpPr>
            <p:grpSpPr>
              <a:xfrm>
                <a:off x="2616711" y="1319873"/>
                <a:ext cx="69946" cy="141028"/>
                <a:chOff x="2616711" y="1319873"/>
                <a:chExt cx="69946" cy="141028"/>
              </a:xfrm>
              <a:grpFill/>
            </p:grpSpPr>
            <p:sp>
              <p:nvSpPr>
                <p:cNvPr id="5622" name="Freeform 8666">
                  <a:extLst>
                    <a:ext uri="{FF2B5EF4-FFF2-40B4-BE49-F238E27FC236}">
                      <a16:creationId xmlns:a16="http://schemas.microsoft.com/office/drawing/2014/main" id="{E54151EB-C558-4A30-37D6-F9E3A4D0E72C}"/>
                    </a:ext>
                  </a:extLst>
                </p:cNvPr>
                <p:cNvSpPr/>
                <p:nvPr/>
              </p:nvSpPr>
              <p:spPr>
                <a:xfrm>
                  <a:off x="2636014" y="1393874"/>
                  <a:ext cx="19181" cy="48577"/>
                </a:xfrm>
                <a:custGeom>
                  <a:avLst/>
                  <a:gdLst>
                    <a:gd name="connsiteX0" fmla="*/ 0 w 19181"/>
                    <a:gd name="connsiteY0" fmla="*/ 48578 h 48577"/>
                    <a:gd name="connsiteX1" fmla="*/ 8470 w 19181"/>
                    <a:gd name="connsiteY1" fmla="*/ 31762 h 48577"/>
                    <a:gd name="connsiteX2" fmla="*/ 11335 w 19181"/>
                    <a:gd name="connsiteY2" fmla="*/ 14573 h 48577"/>
                    <a:gd name="connsiteX3" fmla="*/ 19182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0" y="48578"/>
                      </a:moveTo>
                      <a:cubicBezTo>
                        <a:pt x="5231" y="41976"/>
                        <a:pt x="7349" y="35997"/>
                        <a:pt x="8470" y="31762"/>
                      </a:cubicBezTo>
                      <a:cubicBezTo>
                        <a:pt x="10214" y="24912"/>
                        <a:pt x="9217" y="21299"/>
                        <a:pt x="11335" y="14573"/>
                      </a:cubicBezTo>
                      <a:cubicBezTo>
                        <a:pt x="13328" y="7972"/>
                        <a:pt x="16691" y="3114"/>
                        <a:pt x="191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3" name="Freeform 8667">
                  <a:extLst>
                    <a:ext uri="{FF2B5EF4-FFF2-40B4-BE49-F238E27FC236}">
                      <a16:creationId xmlns:a16="http://schemas.microsoft.com/office/drawing/2014/main" id="{57049D17-F825-CDA8-F7A2-2C9B25D345C9}"/>
                    </a:ext>
                  </a:extLst>
                </p:cNvPr>
                <p:cNvSpPr/>
                <p:nvPr/>
              </p:nvSpPr>
              <p:spPr>
                <a:xfrm>
                  <a:off x="2627793" y="1395494"/>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822" y="14324"/>
                        <a:pt x="12954" y="18185"/>
                      </a:cubicBezTo>
                      <a:cubicBezTo>
                        <a:pt x="9715" y="24413"/>
                        <a:pt x="6726" y="26531"/>
                        <a:pt x="3737"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4" name="Freeform 8668">
                  <a:extLst>
                    <a:ext uri="{FF2B5EF4-FFF2-40B4-BE49-F238E27FC236}">
                      <a16:creationId xmlns:a16="http://schemas.microsoft.com/office/drawing/2014/main" id="{A6464C60-BD8C-E794-8934-7358F4A5ABF7}"/>
                    </a:ext>
                  </a:extLst>
                </p:cNvPr>
                <p:cNvSpPr/>
                <p:nvPr/>
              </p:nvSpPr>
              <p:spPr>
                <a:xfrm>
                  <a:off x="2616711" y="1434341"/>
                  <a:ext cx="26708" cy="26559"/>
                </a:xfrm>
                <a:custGeom>
                  <a:avLst/>
                  <a:gdLst>
                    <a:gd name="connsiteX0" fmla="*/ 868 w 26708"/>
                    <a:gd name="connsiteY0" fmla="*/ 8484 h 26559"/>
                    <a:gd name="connsiteX1" fmla="*/ 18057 w 26708"/>
                    <a:gd name="connsiteY1" fmla="*/ 886 h 26559"/>
                    <a:gd name="connsiteX2" fmla="*/ 25905 w 26708"/>
                    <a:gd name="connsiteY2" fmla="*/ 18075 h 26559"/>
                    <a:gd name="connsiteX3" fmla="*/ 8716 w 26708"/>
                    <a:gd name="connsiteY3" fmla="*/ 25673 h 26559"/>
                    <a:gd name="connsiteX4" fmla="*/ 868 w 26708"/>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559">
                      <a:moveTo>
                        <a:pt x="868" y="8484"/>
                      </a:moveTo>
                      <a:cubicBezTo>
                        <a:pt x="3484" y="1634"/>
                        <a:pt x="11207" y="-1729"/>
                        <a:pt x="18057" y="886"/>
                      </a:cubicBezTo>
                      <a:cubicBezTo>
                        <a:pt x="24908" y="3502"/>
                        <a:pt x="28396" y="11225"/>
                        <a:pt x="25905" y="18075"/>
                      </a:cubicBezTo>
                      <a:cubicBezTo>
                        <a:pt x="23414" y="24926"/>
                        <a:pt x="15566" y="28289"/>
                        <a:pt x="8716" y="25673"/>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5" name="Freeform 8669">
                  <a:extLst>
                    <a:ext uri="{FF2B5EF4-FFF2-40B4-BE49-F238E27FC236}">
                      <a16:creationId xmlns:a16="http://schemas.microsoft.com/office/drawing/2014/main" id="{3A219D3F-C75B-E946-9138-3F085D032CA0}"/>
                    </a:ext>
                  </a:extLst>
                </p:cNvPr>
                <p:cNvSpPr/>
                <p:nvPr/>
              </p:nvSpPr>
              <p:spPr>
                <a:xfrm>
                  <a:off x="2648469" y="1338571"/>
                  <a:ext cx="19181" cy="48577"/>
                </a:xfrm>
                <a:custGeom>
                  <a:avLst/>
                  <a:gdLst>
                    <a:gd name="connsiteX0" fmla="*/ 19182 w 19181"/>
                    <a:gd name="connsiteY0" fmla="*/ 0 h 48577"/>
                    <a:gd name="connsiteX1" fmla="*/ 10712 w 19181"/>
                    <a:gd name="connsiteY1" fmla="*/ 16815 h 48577"/>
                    <a:gd name="connsiteX2" fmla="*/ 7847 w 19181"/>
                    <a:gd name="connsiteY2" fmla="*/ 34004 h 48577"/>
                    <a:gd name="connsiteX3" fmla="*/ 0 w 19181"/>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0"/>
                      </a:moveTo>
                      <a:cubicBezTo>
                        <a:pt x="14075" y="6602"/>
                        <a:pt x="11833" y="12580"/>
                        <a:pt x="10712" y="16815"/>
                      </a:cubicBezTo>
                      <a:cubicBezTo>
                        <a:pt x="8968" y="23541"/>
                        <a:pt x="9840" y="27154"/>
                        <a:pt x="7847" y="34004"/>
                      </a:cubicBezTo>
                      <a:cubicBezTo>
                        <a:pt x="5854" y="40606"/>
                        <a:pt x="2491" y="45464"/>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6" name="Freeform 8670">
                  <a:extLst>
                    <a:ext uri="{FF2B5EF4-FFF2-40B4-BE49-F238E27FC236}">
                      <a16:creationId xmlns:a16="http://schemas.microsoft.com/office/drawing/2014/main" id="{8C7EB813-5ABE-4397-4818-A86B2B8D5AEA}"/>
                    </a:ext>
                  </a:extLst>
                </p:cNvPr>
                <p:cNvSpPr/>
                <p:nvPr/>
              </p:nvSpPr>
              <p:spPr>
                <a:xfrm>
                  <a:off x="2658185" y="1336453"/>
                  <a:ext cx="17687" cy="48951"/>
                </a:xfrm>
                <a:custGeom>
                  <a:avLst/>
                  <a:gdLst>
                    <a:gd name="connsiteX0" fmla="*/ 0 w 17687"/>
                    <a:gd name="connsiteY0" fmla="*/ 48951 h 48951"/>
                    <a:gd name="connsiteX1" fmla="*/ 4733 w 17687"/>
                    <a:gd name="connsiteY1" fmla="*/ 30766 h 48951"/>
                    <a:gd name="connsiteX2" fmla="*/ 13950 w 17687"/>
                    <a:gd name="connsiteY2" fmla="*/ 16068 h 48951"/>
                    <a:gd name="connsiteX3" fmla="*/ 17687 w 17687"/>
                    <a:gd name="connsiteY3" fmla="*/ 0 h 48951"/>
                  </a:gdLst>
                  <a:ahLst/>
                  <a:cxnLst>
                    <a:cxn ang="0">
                      <a:pos x="connsiteX0" y="connsiteY0"/>
                    </a:cxn>
                    <a:cxn ang="0">
                      <a:pos x="connsiteX1" y="connsiteY1"/>
                    </a:cxn>
                    <a:cxn ang="0">
                      <a:pos x="connsiteX2" y="connsiteY2"/>
                    </a:cxn>
                    <a:cxn ang="0">
                      <a:pos x="connsiteX3" y="connsiteY3"/>
                    </a:cxn>
                  </a:cxnLst>
                  <a:rect l="l" t="t" r="r" b="b"/>
                  <a:pathLst>
                    <a:path w="17687" h="48951">
                      <a:moveTo>
                        <a:pt x="0" y="48951"/>
                      </a:moveTo>
                      <a:cubicBezTo>
                        <a:pt x="498" y="40481"/>
                        <a:pt x="2865" y="34627"/>
                        <a:pt x="4733" y="30766"/>
                      </a:cubicBezTo>
                      <a:cubicBezTo>
                        <a:pt x="7972" y="24538"/>
                        <a:pt x="10961" y="22420"/>
                        <a:pt x="13950" y="16068"/>
                      </a:cubicBezTo>
                      <a:cubicBezTo>
                        <a:pt x="16815" y="9840"/>
                        <a:pt x="17563"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7" name="Freeform 8671">
                  <a:extLst>
                    <a:ext uri="{FF2B5EF4-FFF2-40B4-BE49-F238E27FC236}">
                      <a16:creationId xmlns:a16="http://schemas.microsoft.com/office/drawing/2014/main" id="{B1DD6F57-C7A9-7082-1B6E-5B1E6210DAE1}"/>
                    </a:ext>
                  </a:extLst>
                </p:cNvPr>
                <p:cNvSpPr/>
                <p:nvPr/>
              </p:nvSpPr>
              <p:spPr>
                <a:xfrm>
                  <a:off x="2660428" y="1319873"/>
                  <a:ext cx="26230" cy="26559"/>
                </a:xfrm>
                <a:custGeom>
                  <a:avLst/>
                  <a:gdLst>
                    <a:gd name="connsiteX0" fmla="*/ 25409 w 26230"/>
                    <a:gd name="connsiteY0" fmla="*/ 18075 h 26559"/>
                    <a:gd name="connsiteX1" fmla="*/ 8469 w 26230"/>
                    <a:gd name="connsiteY1" fmla="*/ 25673 h 26559"/>
                    <a:gd name="connsiteX2" fmla="*/ 871 w 26230"/>
                    <a:gd name="connsiteY2" fmla="*/ 8484 h 26559"/>
                    <a:gd name="connsiteX3" fmla="*/ 17811 w 26230"/>
                    <a:gd name="connsiteY3" fmla="*/ 886 h 26559"/>
                    <a:gd name="connsiteX4" fmla="*/ 25409 w 26230"/>
                    <a:gd name="connsiteY4" fmla="*/ 18075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0" h="26559">
                      <a:moveTo>
                        <a:pt x="25409" y="18075"/>
                      </a:moveTo>
                      <a:cubicBezTo>
                        <a:pt x="22793" y="24926"/>
                        <a:pt x="15195" y="28289"/>
                        <a:pt x="8469" y="25673"/>
                      </a:cubicBezTo>
                      <a:cubicBezTo>
                        <a:pt x="1743" y="23058"/>
                        <a:pt x="-1744" y="15335"/>
                        <a:pt x="871" y="8484"/>
                      </a:cubicBezTo>
                      <a:cubicBezTo>
                        <a:pt x="3487" y="1634"/>
                        <a:pt x="11085" y="-1729"/>
                        <a:pt x="17811" y="886"/>
                      </a:cubicBezTo>
                      <a:cubicBezTo>
                        <a:pt x="24537" y="3627"/>
                        <a:pt x="27900" y="11225"/>
                        <a:pt x="25409" y="180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6" name="Graphic 2987">
                <a:extLst>
                  <a:ext uri="{FF2B5EF4-FFF2-40B4-BE49-F238E27FC236}">
                    <a16:creationId xmlns:a16="http://schemas.microsoft.com/office/drawing/2014/main" id="{8CCD1668-EFE3-7452-9BF5-FB262FA15B7E}"/>
                  </a:ext>
                </a:extLst>
              </p:cNvPr>
              <p:cNvGrpSpPr/>
              <p:nvPr/>
            </p:nvGrpSpPr>
            <p:grpSpPr>
              <a:xfrm>
                <a:off x="2588793" y="1309410"/>
                <a:ext cx="70528" cy="140722"/>
                <a:chOff x="2588793" y="1309410"/>
                <a:chExt cx="70528" cy="140722"/>
              </a:xfrm>
              <a:grpFill/>
            </p:grpSpPr>
            <p:sp>
              <p:nvSpPr>
                <p:cNvPr id="5616" name="Freeform 8673">
                  <a:extLst>
                    <a:ext uri="{FF2B5EF4-FFF2-40B4-BE49-F238E27FC236}">
                      <a16:creationId xmlns:a16="http://schemas.microsoft.com/office/drawing/2014/main" id="{9CAE83C2-1593-B6FF-0B24-F1044029AAE4}"/>
                    </a:ext>
                  </a:extLst>
                </p:cNvPr>
                <p:cNvSpPr/>
                <p:nvPr/>
              </p:nvSpPr>
              <p:spPr>
                <a:xfrm>
                  <a:off x="2608113" y="1383287"/>
                  <a:ext cx="19430" cy="48328"/>
                </a:xfrm>
                <a:custGeom>
                  <a:avLst/>
                  <a:gdLst>
                    <a:gd name="connsiteX0" fmla="*/ 0 w 19430"/>
                    <a:gd name="connsiteY0" fmla="*/ 48328 h 48328"/>
                    <a:gd name="connsiteX1" fmla="*/ 8595 w 19430"/>
                    <a:gd name="connsiteY1" fmla="*/ 31638 h 48328"/>
                    <a:gd name="connsiteX2" fmla="*/ 11584 w 19430"/>
                    <a:gd name="connsiteY2" fmla="*/ 14449 h 48328"/>
                    <a:gd name="connsiteX3" fmla="*/ 19431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0" y="48328"/>
                      </a:moveTo>
                      <a:cubicBezTo>
                        <a:pt x="5231" y="41727"/>
                        <a:pt x="7474" y="35748"/>
                        <a:pt x="8595" y="31638"/>
                      </a:cubicBezTo>
                      <a:cubicBezTo>
                        <a:pt x="10338" y="24912"/>
                        <a:pt x="9466" y="21299"/>
                        <a:pt x="11584" y="14449"/>
                      </a:cubicBezTo>
                      <a:cubicBezTo>
                        <a:pt x="13577" y="7847"/>
                        <a:pt x="16940" y="2989"/>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7" name="Freeform 8674">
                  <a:extLst>
                    <a:ext uri="{FF2B5EF4-FFF2-40B4-BE49-F238E27FC236}">
                      <a16:creationId xmlns:a16="http://schemas.microsoft.com/office/drawing/2014/main" id="{EB85C536-E208-E670-D8BF-05F1FA8AD43A}"/>
                    </a:ext>
                  </a:extLst>
                </p:cNvPr>
                <p:cNvSpPr/>
                <p:nvPr/>
              </p:nvSpPr>
              <p:spPr>
                <a:xfrm>
                  <a:off x="2599767" y="1384782"/>
                  <a:ext cx="18060" cy="48951"/>
                </a:xfrm>
                <a:custGeom>
                  <a:avLst/>
                  <a:gdLst>
                    <a:gd name="connsiteX0" fmla="*/ 18061 w 18060"/>
                    <a:gd name="connsiteY0" fmla="*/ 0 h 48951"/>
                    <a:gd name="connsiteX1" fmla="*/ 13203 w 18060"/>
                    <a:gd name="connsiteY1" fmla="*/ 18185 h 48951"/>
                    <a:gd name="connsiteX2" fmla="*/ 3861 w 18060"/>
                    <a:gd name="connsiteY2" fmla="*/ 32883 h 48951"/>
                    <a:gd name="connsiteX3" fmla="*/ 0 w 1806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0" h="48951">
                      <a:moveTo>
                        <a:pt x="18061" y="0"/>
                      </a:moveTo>
                      <a:cubicBezTo>
                        <a:pt x="17438" y="8345"/>
                        <a:pt x="15196" y="14324"/>
                        <a:pt x="13203" y="18185"/>
                      </a:cubicBezTo>
                      <a:cubicBezTo>
                        <a:pt x="9965" y="24413"/>
                        <a:pt x="6851" y="26406"/>
                        <a:pt x="3861"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8" name="Freeform 8675">
                  <a:extLst>
                    <a:ext uri="{FF2B5EF4-FFF2-40B4-BE49-F238E27FC236}">
                      <a16:creationId xmlns:a16="http://schemas.microsoft.com/office/drawing/2014/main" id="{43B282CC-D10C-E041-5AB8-8CF4786DE8E4}"/>
                    </a:ext>
                  </a:extLst>
                </p:cNvPr>
                <p:cNvSpPr/>
                <p:nvPr/>
              </p:nvSpPr>
              <p:spPr>
                <a:xfrm>
                  <a:off x="2588793" y="1423561"/>
                  <a:ext cx="26790" cy="26571"/>
                </a:xfrm>
                <a:custGeom>
                  <a:avLst/>
                  <a:gdLst>
                    <a:gd name="connsiteX0" fmla="*/ 885 w 26790"/>
                    <a:gd name="connsiteY0" fmla="*/ 8428 h 26571"/>
                    <a:gd name="connsiteX1" fmla="*/ 18198 w 26790"/>
                    <a:gd name="connsiteY1" fmla="*/ 955 h 26571"/>
                    <a:gd name="connsiteX2" fmla="*/ 25921 w 26790"/>
                    <a:gd name="connsiteY2" fmla="*/ 18144 h 26571"/>
                    <a:gd name="connsiteX3" fmla="*/ 8607 w 26790"/>
                    <a:gd name="connsiteY3" fmla="*/ 25617 h 26571"/>
                    <a:gd name="connsiteX4" fmla="*/ 885 w 26790"/>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570">
                      <a:moveTo>
                        <a:pt x="885" y="8428"/>
                      </a:moveTo>
                      <a:cubicBezTo>
                        <a:pt x="3500" y="1577"/>
                        <a:pt x="11223" y="-1786"/>
                        <a:pt x="18198" y="955"/>
                      </a:cubicBezTo>
                      <a:cubicBezTo>
                        <a:pt x="25049" y="3570"/>
                        <a:pt x="28537" y="11293"/>
                        <a:pt x="25921" y="18144"/>
                      </a:cubicBezTo>
                      <a:cubicBezTo>
                        <a:pt x="23305" y="24994"/>
                        <a:pt x="15583" y="28357"/>
                        <a:pt x="8607" y="25617"/>
                      </a:cubicBezTo>
                      <a:cubicBezTo>
                        <a:pt x="1632" y="23001"/>
                        <a:pt x="-1731" y="15279"/>
                        <a:pt x="885"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9" name="Freeform 8676">
                  <a:extLst>
                    <a:ext uri="{FF2B5EF4-FFF2-40B4-BE49-F238E27FC236}">
                      <a16:creationId xmlns:a16="http://schemas.microsoft.com/office/drawing/2014/main" id="{59BC0425-0D98-B871-FF34-3B20D78A413A}"/>
                    </a:ext>
                  </a:extLst>
                </p:cNvPr>
                <p:cNvSpPr/>
                <p:nvPr/>
              </p:nvSpPr>
              <p:spPr>
                <a:xfrm>
                  <a:off x="2620818" y="1327983"/>
                  <a:ext cx="19430" cy="48328"/>
                </a:xfrm>
                <a:custGeom>
                  <a:avLst/>
                  <a:gdLst>
                    <a:gd name="connsiteX0" fmla="*/ 19431 w 19430"/>
                    <a:gd name="connsiteY0" fmla="*/ 0 h 48328"/>
                    <a:gd name="connsiteX1" fmla="*/ 10836 w 19430"/>
                    <a:gd name="connsiteY1" fmla="*/ 16691 h 48328"/>
                    <a:gd name="connsiteX2" fmla="*/ 7847 w 19430"/>
                    <a:gd name="connsiteY2" fmla="*/ 33880 h 48328"/>
                    <a:gd name="connsiteX3" fmla="*/ 0 w 1943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0"/>
                      </a:moveTo>
                      <a:cubicBezTo>
                        <a:pt x="14200" y="6602"/>
                        <a:pt x="11957" y="12580"/>
                        <a:pt x="10836" y="16691"/>
                      </a:cubicBezTo>
                      <a:cubicBezTo>
                        <a:pt x="9093" y="23417"/>
                        <a:pt x="9965" y="27029"/>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0" name="Freeform 8677">
                  <a:extLst>
                    <a:ext uri="{FF2B5EF4-FFF2-40B4-BE49-F238E27FC236}">
                      <a16:creationId xmlns:a16="http://schemas.microsoft.com/office/drawing/2014/main" id="{ADBDDD4C-864C-ACF0-2894-01AB256C2439}"/>
                    </a:ext>
                  </a:extLst>
                </p:cNvPr>
                <p:cNvSpPr/>
                <p:nvPr/>
              </p:nvSpPr>
              <p:spPr>
                <a:xfrm>
                  <a:off x="2630533" y="1325741"/>
                  <a:ext cx="18060" cy="48951"/>
                </a:xfrm>
                <a:custGeom>
                  <a:avLst/>
                  <a:gdLst>
                    <a:gd name="connsiteX0" fmla="*/ 0 w 18060"/>
                    <a:gd name="connsiteY0" fmla="*/ 48951 h 48951"/>
                    <a:gd name="connsiteX1" fmla="*/ 4858 w 18060"/>
                    <a:gd name="connsiteY1" fmla="*/ 30766 h 48951"/>
                    <a:gd name="connsiteX2" fmla="*/ 14200 w 18060"/>
                    <a:gd name="connsiteY2" fmla="*/ 16068 h 48951"/>
                    <a:gd name="connsiteX3" fmla="*/ 18061 w 18060"/>
                    <a:gd name="connsiteY3" fmla="*/ 0 h 48951"/>
                  </a:gdLst>
                  <a:ahLst/>
                  <a:cxnLst>
                    <a:cxn ang="0">
                      <a:pos x="connsiteX0" y="connsiteY0"/>
                    </a:cxn>
                    <a:cxn ang="0">
                      <a:pos x="connsiteX1" y="connsiteY1"/>
                    </a:cxn>
                    <a:cxn ang="0">
                      <a:pos x="connsiteX2" y="connsiteY2"/>
                    </a:cxn>
                    <a:cxn ang="0">
                      <a:pos x="connsiteX3" y="connsiteY3"/>
                    </a:cxn>
                  </a:cxnLst>
                  <a:rect l="l" t="t" r="r" b="b"/>
                  <a:pathLst>
                    <a:path w="18060" h="48951">
                      <a:moveTo>
                        <a:pt x="0" y="48951"/>
                      </a:moveTo>
                      <a:cubicBezTo>
                        <a:pt x="623" y="40606"/>
                        <a:pt x="2865" y="34627"/>
                        <a:pt x="4858" y="30766"/>
                      </a:cubicBezTo>
                      <a:cubicBezTo>
                        <a:pt x="8096" y="24538"/>
                        <a:pt x="11210" y="22420"/>
                        <a:pt x="14200" y="16068"/>
                      </a:cubicBezTo>
                      <a:cubicBezTo>
                        <a:pt x="17064" y="9840"/>
                        <a:pt x="17936"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1" name="Freeform 8678">
                  <a:extLst>
                    <a:ext uri="{FF2B5EF4-FFF2-40B4-BE49-F238E27FC236}">
                      <a16:creationId xmlns:a16="http://schemas.microsoft.com/office/drawing/2014/main" id="{907FF8D2-D847-9661-32B4-EC35B1233716}"/>
                    </a:ext>
                  </a:extLst>
                </p:cNvPr>
                <p:cNvSpPr/>
                <p:nvPr/>
              </p:nvSpPr>
              <p:spPr>
                <a:xfrm>
                  <a:off x="2632993" y="1309410"/>
                  <a:ext cx="26328" cy="26435"/>
                </a:xfrm>
                <a:custGeom>
                  <a:avLst/>
                  <a:gdLst>
                    <a:gd name="connsiteX0" fmla="*/ 25441 w 26328"/>
                    <a:gd name="connsiteY0" fmla="*/ 17951 h 26435"/>
                    <a:gd name="connsiteX1" fmla="*/ 8377 w 26328"/>
                    <a:gd name="connsiteY1" fmla="*/ 25549 h 26435"/>
                    <a:gd name="connsiteX2" fmla="*/ 903 w 26328"/>
                    <a:gd name="connsiteY2" fmla="*/ 8484 h 26435"/>
                    <a:gd name="connsiteX3" fmla="*/ 17968 w 26328"/>
                    <a:gd name="connsiteY3" fmla="*/ 886 h 26435"/>
                    <a:gd name="connsiteX4" fmla="*/ 25441 w 26328"/>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435">
                      <a:moveTo>
                        <a:pt x="25441" y="17951"/>
                      </a:moveTo>
                      <a:cubicBezTo>
                        <a:pt x="22825" y="24801"/>
                        <a:pt x="15227" y="28164"/>
                        <a:pt x="8377" y="25549"/>
                      </a:cubicBezTo>
                      <a:cubicBezTo>
                        <a:pt x="1526" y="22933"/>
                        <a:pt x="-1712" y="15210"/>
                        <a:pt x="903" y="8484"/>
                      </a:cubicBezTo>
                      <a:cubicBezTo>
                        <a:pt x="3519" y="1634"/>
                        <a:pt x="11117" y="-1729"/>
                        <a:pt x="17968" y="886"/>
                      </a:cubicBezTo>
                      <a:cubicBezTo>
                        <a:pt x="24694" y="3502"/>
                        <a:pt x="28057" y="11100"/>
                        <a:pt x="25441"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7" name="Graphic 2987">
                <a:extLst>
                  <a:ext uri="{FF2B5EF4-FFF2-40B4-BE49-F238E27FC236}">
                    <a16:creationId xmlns:a16="http://schemas.microsoft.com/office/drawing/2014/main" id="{8D1D97D2-19BB-966E-3DEE-595667CCBD30}"/>
                  </a:ext>
                </a:extLst>
              </p:cNvPr>
              <p:cNvGrpSpPr/>
              <p:nvPr/>
            </p:nvGrpSpPr>
            <p:grpSpPr>
              <a:xfrm>
                <a:off x="2560841" y="1298822"/>
                <a:ext cx="71146" cy="140473"/>
                <a:chOff x="2560841" y="1298822"/>
                <a:chExt cx="71146" cy="140473"/>
              </a:xfrm>
              <a:grpFill/>
            </p:grpSpPr>
            <p:sp>
              <p:nvSpPr>
                <p:cNvPr id="5610" name="Freeform 8680">
                  <a:extLst>
                    <a:ext uri="{FF2B5EF4-FFF2-40B4-BE49-F238E27FC236}">
                      <a16:creationId xmlns:a16="http://schemas.microsoft.com/office/drawing/2014/main" id="{3B2A13A8-C12A-AE54-4683-D8CECE5F847B}"/>
                    </a:ext>
                  </a:extLst>
                </p:cNvPr>
                <p:cNvSpPr/>
                <p:nvPr/>
              </p:nvSpPr>
              <p:spPr>
                <a:xfrm>
                  <a:off x="2580212" y="1372450"/>
                  <a:ext cx="19680" cy="48328"/>
                </a:xfrm>
                <a:custGeom>
                  <a:avLst/>
                  <a:gdLst>
                    <a:gd name="connsiteX0" fmla="*/ 0 w 19680"/>
                    <a:gd name="connsiteY0" fmla="*/ 48328 h 48328"/>
                    <a:gd name="connsiteX1" fmla="*/ 8719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2" y="41727"/>
                        <a:pt x="7598" y="35873"/>
                        <a:pt x="8719" y="31638"/>
                      </a:cubicBezTo>
                      <a:cubicBezTo>
                        <a:pt x="10463" y="24912"/>
                        <a:pt x="9591" y="21299"/>
                        <a:pt x="11708" y="14449"/>
                      </a:cubicBezTo>
                      <a:cubicBezTo>
                        <a:pt x="13701" y="7847"/>
                        <a:pt x="17189" y="2989"/>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1" name="Freeform 8681">
                  <a:extLst>
                    <a:ext uri="{FF2B5EF4-FFF2-40B4-BE49-F238E27FC236}">
                      <a16:creationId xmlns:a16="http://schemas.microsoft.com/office/drawing/2014/main" id="{3FA4EB53-3628-AD89-0555-DF8F60733AD4}"/>
                    </a:ext>
                  </a:extLst>
                </p:cNvPr>
                <p:cNvSpPr/>
                <p:nvPr/>
              </p:nvSpPr>
              <p:spPr>
                <a:xfrm>
                  <a:off x="2571742" y="1374070"/>
                  <a:ext cx="18434" cy="48951"/>
                </a:xfrm>
                <a:custGeom>
                  <a:avLst/>
                  <a:gdLst>
                    <a:gd name="connsiteX0" fmla="*/ 18434 w 18434"/>
                    <a:gd name="connsiteY0" fmla="*/ 0 h 48951"/>
                    <a:gd name="connsiteX1" fmla="*/ 13452 w 18434"/>
                    <a:gd name="connsiteY1" fmla="*/ 18185 h 48951"/>
                    <a:gd name="connsiteX2" fmla="*/ 3986 w 18434"/>
                    <a:gd name="connsiteY2" fmla="*/ 32883 h 48951"/>
                    <a:gd name="connsiteX3" fmla="*/ 0 w 18434"/>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434" h="48951">
                      <a:moveTo>
                        <a:pt x="18434" y="0"/>
                      </a:moveTo>
                      <a:cubicBezTo>
                        <a:pt x="17812" y="8345"/>
                        <a:pt x="15445" y="14324"/>
                        <a:pt x="13452" y="18185"/>
                      </a:cubicBezTo>
                      <a:cubicBezTo>
                        <a:pt x="10214" y="24413"/>
                        <a:pt x="7100" y="26406"/>
                        <a:pt x="3986"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2" name="Freeform 8682">
                  <a:extLst>
                    <a:ext uri="{FF2B5EF4-FFF2-40B4-BE49-F238E27FC236}">
                      <a16:creationId xmlns:a16="http://schemas.microsoft.com/office/drawing/2014/main" id="{FC317C4E-ADD2-614D-1434-7724ED726BBC}"/>
                    </a:ext>
                  </a:extLst>
                </p:cNvPr>
                <p:cNvSpPr/>
                <p:nvPr/>
              </p:nvSpPr>
              <p:spPr>
                <a:xfrm>
                  <a:off x="2560841" y="1412724"/>
                  <a:ext cx="26841" cy="26571"/>
                </a:xfrm>
                <a:custGeom>
                  <a:avLst/>
                  <a:gdLst>
                    <a:gd name="connsiteX0" fmla="*/ 936 w 26841"/>
                    <a:gd name="connsiteY0" fmla="*/ 8428 h 26571"/>
                    <a:gd name="connsiteX1" fmla="*/ 18249 w 26841"/>
                    <a:gd name="connsiteY1" fmla="*/ 955 h 26571"/>
                    <a:gd name="connsiteX2" fmla="*/ 25972 w 26841"/>
                    <a:gd name="connsiteY2" fmla="*/ 18144 h 26571"/>
                    <a:gd name="connsiteX3" fmla="*/ 8658 w 26841"/>
                    <a:gd name="connsiteY3" fmla="*/ 25617 h 26571"/>
                    <a:gd name="connsiteX4" fmla="*/ 936 w 26841"/>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70">
                      <a:moveTo>
                        <a:pt x="936" y="8428"/>
                      </a:moveTo>
                      <a:cubicBezTo>
                        <a:pt x="3676" y="1577"/>
                        <a:pt x="11399" y="-1786"/>
                        <a:pt x="18249" y="955"/>
                      </a:cubicBezTo>
                      <a:cubicBezTo>
                        <a:pt x="25100" y="3570"/>
                        <a:pt x="28588" y="11293"/>
                        <a:pt x="25972" y="18144"/>
                      </a:cubicBezTo>
                      <a:cubicBezTo>
                        <a:pt x="23356" y="24994"/>
                        <a:pt x="15509" y="28357"/>
                        <a:pt x="8658" y="25617"/>
                      </a:cubicBezTo>
                      <a:cubicBezTo>
                        <a:pt x="1683" y="23001"/>
                        <a:pt x="-1804" y="15279"/>
                        <a:pt x="936"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3" name="Freeform 8683">
                  <a:extLst>
                    <a:ext uri="{FF2B5EF4-FFF2-40B4-BE49-F238E27FC236}">
                      <a16:creationId xmlns:a16="http://schemas.microsoft.com/office/drawing/2014/main" id="{AD0827E7-78B3-6902-ED68-0386382CBD4C}"/>
                    </a:ext>
                  </a:extLst>
                </p:cNvPr>
                <p:cNvSpPr/>
                <p:nvPr/>
              </p:nvSpPr>
              <p:spPr>
                <a:xfrm>
                  <a:off x="2593041" y="1317271"/>
                  <a:ext cx="19804" cy="48328"/>
                </a:xfrm>
                <a:custGeom>
                  <a:avLst/>
                  <a:gdLst>
                    <a:gd name="connsiteX0" fmla="*/ 19805 w 19804"/>
                    <a:gd name="connsiteY0" fmla="*/ 0 h 48328"/>
                    <a:gd name="connsiteX1" fmla="*/ 11086 w 19804"/>
                    <a:gd name="connsiteY1" fmla="*/ 16691 h 48328"/>
                    <a:gd name="connsiteX2" fmla="*/ 7972 w 19804"/>
                    <a:gd name="connsiteY2" fmla="*/ 33880 h 48328"/>
                    <a:gd name="connsiteX3" fmla="*/ 0 w 1980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4" h="48328">
                      <a:moveTo>
                        <a:pt x="19805" y="0"/>
                      </a:moveTo>
                      <a:cubicBezTo>
                        <a:pt x="14573" y="6602"/>
                        <a:pt x="12331" y="12456"/>
                        <a:pt x="11086"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4" name="Freeform 8684">
                  <a:extLst>
                    <a:ext uri="{FF2B5EF4-FFF2-40B4-BE49-F238E27FC236}">
                      <a16:creationId xmlns:a16="http://schemas.microsoft.com/office/drawing/2014/main" id="{F8D780BE-0147-40BC-12FD-CA025F74936C}"/>
                    </a:ext>
                  </a:extLst>
                </p:cNvPr>
                <p:cNvSpPr/>
                <p:nvPr/>
              </p:nvSpPr>
              <p:spPr>
                <a:xfrm>
                  <a:off x="2602881" y="1315029"/>
                  <a:ext cx="18309" cy="48951"/>
                </a:xfrm>
                <a:custGeom>
                  <a:avLst/>
                  <a:gdLst>
                    <a:gd name="connsiteX0" fmla="*/ 0 w 18309"/>
                    <a:gd name="connsiteY0" fmla="*/ 48951 h 48951"/>
                    <a:gd name="connsiteX1" fmla="*/ 4982 w 18309"/>
                    <a:gd name="connsiteY1" fmla="*/ 30766 h 48951"/>
                    <a:gd name="connsiteX2" fmla="*/ 14324 w 18309"/>
                    <a:gd name="connsiteY2" fmla="*/ 16068 h 48951"/>
                    <a:gd name="connsiteX3" fmla="*/ 18310 w 18309"/>
                    <a:gd name="connsiteY3" fmla="*/ 0 h 48951"/>
                  </a:gdLst>
                  <a:ahLst/>
                  <a:cxnLst>
                    <a:cxn ang="0">
                      <a:pos x="connsiteX0" y="connsiteY0"/>
                    </a:cxn>
                    <a:cxn ang="0">
                      <a:pos x="connsiteX1" y="connsiteY1"/>
                    </a:cxn>
                    <a:cxn ang="0">
                      <a:pos x="connsiteX2" y="connsiteY2"/>
                    </a:cxn>
                    <a:cxn ang="0">
                      <a:pos x="connsiteX3" y="connsiteY3"/>
                    </a:cxn>
                  </a:cxnLst>
                  <a:rect l="l" t="t" r="r" b="b"/>
                  <a:pathLst>
                    <a:path w="18309" h="48951">
                      <a:moveTo>
                        <a:pt x="0" y="48951"/>
                      </a:moveTo>
                      <a:cubicBezTo>
                        <a:pt x="623" y="40606"/>
                        <a:pt x="2989" y="34627"/>
                        <a:pt x="4982" y="30766"/>
                      </a:cubicBezTo>
                      <a:cubicBezTo>
                        <a:pt x="8221" y="24538"/>
                        <a:pt x="11335" y="22545"/>
                        <a:pt x="14324" y="16068"/>
                      </a:cubicBezTo>
                      <a:cubicBezTo>
                        <a:pt x="17314" y="9840"/>
                        <a:pt x="18061" y="3986"/>
                        <a:pt x="183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5" name="Freeform 8685">
                  <a:extLst>
                    <a:ext uri="{FF2B5EF4-FFF2-40B4-BE49-F238E27FC236}">
                      <a16:creationId xmlns:a16="http://schemas.microsoft.com/office/drawing/2014/main" id="{1D3FCC9F-8965-FCBB-78EE-71C2690B2DF1}"/>
                    </a:ext>
                  </a:extLst>
                </p:cNvPr>
                <p:cNvSpPr/>
                <p:nvPr/>
              </p:nvSpPr>
              <p:spPr>
                <a:xfrm>
                  <a:off x="2605662" y="1298822"/>
                  <a:ext cx="26325" cy="26435"/>
                </a:xfrm>
                <a:custGeom>
                  <a:avLst/>
                  <a:gdLst>
                    <a:gd name="connsiteX0" fmla="*/ 25370 w 26325"/>
                    <a:gd name="connsiteY0" fmla="*/ 17951 h 26435"/>
                    <a:gd name="connsiteX1" fmla="*/ 8305 w 26325"/>
                    <a:gd name="connsiteY1" fmla="*/ 25549 h 26435"/>
                    <a:gd name="connsiteX2" fmla="*/ 956 w 26325"/>
                    <a:gd name="connsiteY2" fmla="*/ 8484 h 26435"/>
                    <a:gd name="connsiteX3" fmla="*/ 18021 w 26325"/>
                    <a:gd name="connsiteY3" fmla="*/ 886 h 26435"/>
                    <a:gd name="connsiteX4" fmla="*/ 25370 w 26325"/>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5" h="26435">
                      <a:moveTo>
                        <a:pt x="25370" y="17951"/>
                      </a:moveTo>
                      <a:cubicBezTo>
                        <a:pt x="22754" y="24801"/>
                        <a:pt x="15031" y="28164"/>
                        <a:pt x="8305" y="25549"/>
                      </a:cubicBezTo>
                      <a:cubicBezTo>
                        <a:pt x="1579" y="22933"/>
                        <a:pt x="-1784" y="15210"/>
                        <a:pt x="956" y="8484"/>
                      </a:cubicBezTo>
                      <a:cubicBezTo>
                        <a:pt x="3697" y="1634"/>
                        <a:pt x="11295" y="-1729"/>
                        <a:pt x="18021" y="886"/>
                      </a:cubicBezTo>
                      <a:cubicBezTo>
                        <a:pt x="24747" y="3502"/>
                        <a:pt x="28110" y="11100"/>
                        <a:pt x="25370"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8" name="Graphic 2987">
                <a:extLst>
                  <a:ext uri="{FF2B5EF4-FFF2-40B4-BE49-F238E27FC236}">
                    <a16:creationId xmlns:a16="http://schemas.microsoft.com/office/drawing/2014/main" id="{92AAF3D7-400F-C647-1D17-A9F13347E91D}"/>
                  </a:ext>
                </a:extLst>
              </p:cNvPr>
              <p:cNvGrpSpPr/>
              <p:nvPr/>
            </p:nvGrpSpPr>
            <p:grpSpPr>
              <a:xfrm>
                <a:off x="2532814" y="1288235"/>
                <a:ext cx="71843" cy="140224"/>
                <a:chOff x="2532814" y="1288235"/>
                <a:chExt cx="71843" cy="140224"/>
              </a:xfrm>
              <a:grpFill/>
            </p:grpSpPr>
            <p:sp>
              <p:nvSpPr>
                <p:cNvPr id="5604" name="Freeform 8687">
                  <a:extLst>
                    <a:ext uri="{FF2B5EF4-FFF2-40B4-BE49-F238E27FC236}">
                      <a16:creationId xmlns:a16="http://schemas.microsoft.com/office/drawing/2014/main" id="{57233328-69F4-D3A2-D40A-AF6E139E532E}"/>
                    </a:ext>
                  </a:extLst>
                </p:cNvPr>
                <p:cNvSpPr/>
                <p:nvPr/>
              </p:nvSpPr>
              <p:spPr>
                <a:xfrm>
                  <a:off x="2552311" y="1361739"/>
                  <a:ext cx="19929" cy="48203"/>
                </a:xfrm>
                <a:custGeom>
                  <a:avLst/>
                  <a:gdLst>
                    <a:gd name="connsiteX0" fmla="*/ 0 w 19929"/>
                    <a:gd name="connsiteY0" fmla="*/ 48204 h 48203"/>
                    <a:gd name="connsiteX1" fmla="*/ 8719 w 19929"/>
                    <a:gd name="connsiteY1" fmla="*/ 31513 h 48203"/>
                    <a:gd name="connsiteX2" fmla="*/ 11833 w 19929"/>
                    <a:gd name="connsiteY2" fmla="*/ 14449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5356" y="41602"/>
                        <a:pt x="7598" y="35748"/>
                        <a:pt x="8719" y="31513"/>
                      </a:cubicBezTo>
                      <a:cubicBezTo>
                        <a:pt x="10587" y="24787"/>
                        <a:pt x="9715" y="21175"/>
                        <a:pt x="11833" y="14449"/>
                      </a:cubicBezTo>
                      <a:cubicBezTo>
                        <a:pt x="13950" y="7847"/>
                        <a:pt x="17314" y="2989"/>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5" name="Freeform 8688">
                  <a:extLst>
                    <a:ext uri="{FF2B5EF4-FFF2-40B4-BE49-F238E27FC236}">
                      <a16:creationId xmlns:a16="http://schemas.microsoft.com/office/drawing/2014/main" id="{08909324-CD35-5AED-949F-D172F278F1EB}"/>
                    </a:ext>
                  </a:extLst>
                </p:cNvPr>
                <p:cNvSpPr/>
                <p:nvPr/>
              </p:nvSpPr>
              <p:spPr>
                <a:xfrm>
                  <a:off x="2543841" y="1363358"/>
                  <a:ext cx="18559" cy="48577"/>
                </a:xfrm>
                <a:custGeom>
                  <a:avLst/>
                  <a:gdLst>
                    <a:gd name="connsiteX0" fmla="*/ 18559 w 18559"/>
                    <a:gd name="connsiteY0" fmla="*/ 0 h 48577"/>
                    <a:gd name="connsiteX1" fmla="*/ 13452 w 18559"/>
                    <a:gd name="connsiteY1" fmla="*/ 18061 h 48577"/>
                    <a:gd name="connsiteX2" fmla="*/ 3986 w 18559"/>
                    <a:gd name="connsiteY2" fmla="*/ 32634 h 48577"/>
                    <a:gd name="connsiteX3" fmla="*/ 0 w 18559"/>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559" h="48577">
                      <a:moveTo>
                        <a:pt x="18559" y="0"/>
                      </a:moveTo>
                      <a:cubicBezTo>
                        <a:pt x="17936" y="8345"/>
                        <a:pt x="15570" y="14200"/>
                        <a:pt x="13452" y="18061"/>
                      </a:cubicBezTo>
                      <a:cubicBezTo>
                        <a:pt x="10089" y="24289"/>
                        <a:pt x="6975" y="26282"/>
                        <a:pt x="3986" y="32634"/>
                      </a:cubicBezTo>
                      <a:cubicBezTo>
                        <a:pt x="996" y="38862"/>
                        <a:pt x="125"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6" name="Freeform 8689">
                  <a:extLst>
                    <a:ext uri="{FF2B5EF4-FFF2-40B4-BE49-F238E27FC236}">
                      <a16:creationId xmlns:a16="http://schemas.microsoft.com/office/drawing/2014/main" id="{A15D26BD-67F6-CBF5-DA70-F3E31F173E72}"/>
                    </a:ext>
                  </a:extLst>
                </p:cNvPr>
                <p:cNvSpPr/>
                <p:nvPr/>
              </p:nvSpPr>
              <p:spPr>
                <a:xfrm>
                  <a:off x="2532814" y="1401939"/>
                  <a:ext cx="26910" cy="26520"/>
                </a:xfrm>
                <a:custGeom>
                  <a:avLst/>
                  <a:gdLst>
                    <a:gd name="connsiteX0" fmla="*/ 937 w 26910"/>
                    <a:gd name="connsiteY0" fmla="*/ 8377 h 26520"/>
                    <a:gd name="connsiteX1" fmla="*/ 18376 w 26910"/>
                    <a:gd name="connsiteY1" fmla="*/ 903 h 26520"/>
                    <a:gd name="connsiteX2" fmla="*/ 25973 w 26910"/>
                    <a:gd name="connsiteY2" fmla="*/ 18092 h 26520"/>
                    <a:gd name="connsiteX3" fmla="*/ 8535 w 26910"/>
                    <a:gd name="connsiteY3" fmla="*/ 25566 h 26520"/>
                    <a:gd name="connsiteX4" fmla="*/ 937 w 26910"/>
                    <a:gd name="connsiteY4" fmla="*/ 8377 h 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520">
                      <a:moveTo>
                        <a:pt x="937" y="8377"/>
                      </a:moveTo>
                      <a:cubicBezTo>
                        <a:pt x="3678" y="1526"/>
                        <a:pt x="11400" y="-1712"/>
                        <a:pt x="18376" y="903"/>
                      </a:cubicBezTo>
                      <a:cubicBezTo>
                        <a:pt x="25226" y="3519"/>
                        <a:pt x="28714" y="11242"/>
                        <a:pt x="25973" y="18092"/>
                      </a:cubicBezTo>
                      <a:cubicBezTo>
                        <a:pt x="23233" y="24943"/>
                        <a:pt x="15511" y="28306"/>
                        <a:pt x="8535" y="25566"/>
                      </a:cubicBezTo>
                      <a:cubicBezTo>
                        <a:pt x="1685" y="22825"/>
                        <a:pt x="-1803" y="15227"/>
                        <a:pt x="93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7" name="Freeform 8690">
                  <a:extLst>
                    <a:ext uri="{FF2B5EF4-FFF2-40B4-BE49-F238E27FC236}">
                      <a16:creationId xmlns:a16="http://schemas.microsoft.com/office/drawing/2014/main" id="{8F5BD5C2-5E13-870A-C18D-7C111FAEB2B6}"/>
                    </a:ext>
                  </a:extLst>
                </p:cNvPr>
                <p:cNvSpPr/>
                <p:nvPr/>
              </p:nvSpPr>
              <p:spPr>
                <a:xfrm>
                  <a:off x="2565514" y="1306684"/>
                  <a:ext cx="19929" cy="48203"/>
                </a:xfrm>
                <a:custGeom>
                  <a:avLst/>
                  <a:gdLst>
                    <a:gd name="connsiteX0" fmla="*/ 19929 w 19929"/>
                    <a:gd name="connsiteY0" fmla="*/ 0 h 48203"/>
                    <a:gd name="connsiteX1" fmla="*/ 11210 w 19929"/>
                    <a:gd name="connsiteY1" fmla="*/ 16691 h 48203"/>
                    <a:gd name="connsiteX2" fmla="*/ 8096 w 19929"/>
                    <a:gd name="connsiteY2" fmla="*/ 33755 h 48203"/>
                    <a:gd name="connsiteX3" fmla="*/ 0 w 19929"/>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9" h="48203">
                      <a:moveTo>
                        <a:pt x="19929" y="0"/>
                      </a:moveTo>
                      <a:cubicBezTo>
                        <a:pt x="14698" y="6602"/>
                        <a:pt x="12331" y="12456"/>
                        <a:pt x="11210" y="16691"/>
                      </a:cubicBezTo>
                      <a:cubicBezTo>
                        <a:pt x="9342" y="23417"/>
                        <a:pt x="10214" y="27029"/>
                        <a:pt x="8096" y="33755"/>
                      </a:cubicBezTo>
                      <a:cubicBezTo>
                        <a:pt x="5979" y="40357"/>
                        <a:pt x="2616" y="45214"/>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8" name="Freeform 8691">
                  <a:extLst>
                    <a:ext uri="{FF2B5EF4-FFF2-40B4-BE49-F238E27FC236}">
                      <a16:creationId xmlns:a16="http://schemas.microsoft.com/office/drawing/2014/main" id="{76E455E8-F2C1-82BD-AB69-DEF9F2684CA5}"/>
                    </a:ext>
                  </a:extLst>
                </p:cNvPr>
                <p:cNvSpPr/>
                <p:nvPr/>
              </p:nvSpPr>
              <p:spPr>
                <a:xfrm>
                  <a:off x="2575229" y="1304567"/>
                  <a:ext cx="18559" cy="48702"/>
                </a:xfrm>
                <a:custGeom>
                  <a:avLst/>
                  <a:gdLst>
                    <a:gd name="connsiteX0" fmla="*/ 0 w 18559"/>
                    <a:gd name="connsiteY0" fmla="*/ 48702 h 48702"/>
                    <a:gd name="connsiteX1" fmla="*/ 5107 w 18559"/>
                    <a:gd name="connsiteY1" fmla="*/ 30641 h 48702"/>
                    <a:gd name="connsiteX2" fmla="*/ 14573 w 18559"/>
                    <a:gd name="connsiteY2" fmla="*/ 15943 h 48702"/>
                    <a:gd name="connsiteX3" fmla="*/ 18559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623" y="40357"/>
                        <a:pt x="2989" y="34502"/>
                        <a:pt x="5107" y="30641"/>
                      </a:cubicBezTo>
                      <a:cubicBezTo>
                        <a:pt x="8345" y="24413"/>
                        <a:pt x="11459" y="22420"/>
                        <a:pt x="14573" y="15943"/>
                      </a:cubicBezTo>
                      <a:cubicBezTo>
                        <a:pt x="17563" y="9715"/>
                        <a:pt x="18434" y="3861"/>
                        <a:pt x="18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9" name="Freeform 8692">
                  <a:extLst>
                    <a:ext uri="{FF2B5EF4-FFF2-40B4-BE49-F238E27FC236}">
                      <a16:creationId xmlns:a16="http://schemas.microsoft.com/office/drawing/2014/main" id="{94B4455D-BD5C-2C49-9AD1-6796E83FC540}"/>
                    </a:ext>
                  </a:extLst>
                </p:cNvPr>
                <p:cNvSpPr/>
                <p:nvPr/>
              </p:nvSpPr>
              <p:spPr>
                <a:xfrm>
                  <a:off x="2578259" y="1288235"/>
                  <a:ext cx="26399" cy="26435"/>
                </a:xfrm>
                <a:custGeom>
                  <a:avLst/>
                  <a:gdLst>
                    <a:gd name="connsiteX0" fmla="*/ 25494 w 26399"/>
                    <a:gd name="connsiteY0" fmla="*/ 17951 h 26435"/>
                    <a:gd name="connsiteX1" fmla="*/ 8305 w 26399"/>
                    <a:gd name="connsiteY1" fmla="*/ 25549 h 26435"/>
                    <a:gd name="connsiteX2" fmla="*/ 956 w 26399"/>
                    <a:gd name="connsiteY2" fmla="*/ 8484 h 26435"/>
                    <a:gd name="connsiteX3" fmla="*/ 18145 w 26399"/>
                    <a:gd name="connsiteY3" fmla="*/ 886 h 26435"/>
                    <a:gd name="connsiteX4" fmla="*/ 25494 w 26399"/>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9" h="26435">
                      <a:moveTo>
                        <a:pt x="25494" y="17951"/>
                      </a:moveTo>
                      <a:cubicBezTo>
                        <a:pt x="22754" y="24801"/>
                        <a:pt x="15156" y="28164"/>
                        <a:pt x="8305" y="25549"/>
                      </a:cubicBezTo>
                      <a:cubicBezTo>
                        <a:pt x="1579" y="22933"/>
                        <a:pt x="-1784" y="15335"/>
                        <a:pt x="956" y="8484"/>
                      </a:cubicBezTo>
                      <a:cubicBezTo>
                        <a:pt x="3696" y="1634"/>
                        <a:pt x="11295" y="-1729"/>
                        <a:pt x="18145" y="886"/>
                      </a:cubicBezTo>
                      <a:cubicBezTo>
                        <a:pt x="24871" y="3502"/>
                        <a:pt x="28110" y="11100"/>
                        <a:pt x="25494"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9" name="Graphic 2987">
                <a:extLst>
                  <a:ext uri="{FF2B5EF4-FFF2-40B4-BE49-F238E27FC236}">
                    <a16:creationId xmlns:a16="http://schemas.microsoft.com/office/drawing/2014/main" id="{01DF8710-68B5-1799-3762-C84C46C09A37}"/>
                  </a:ext>
                </a:extLst>
              </p:cNvPr>
              <p:cNvGrpSpPr/>
              <p:nvPr/>
            </p:nvGrpSpPr>
            <p:grpSpPr>
              <a:xfrm>
                <a:off x="2504898" y="1277663"/>
                <a:ext cx="72427" cy="139909"/>
                <a:chOff x="2504898" y="1277663"/>
                <a:chExt cx="72427" cy="139909"/>
              </a:xfrm>
              <a:grpFill/>
            </p:grpSpPr>
            <p:sp>
              <p:nvSpPr>
                <p:cNvPr id="5598" name="Freeform 8694">
                  <a:extLst>
                    <a:ext uri="{FF2B5EF4-FFF2-40B4-BE49-F238E27FC236}">
                      <a16:creationId xmlns:a16="http://schemas.microsoft.com/office/drawing/2014/main" id="{A535D771-04C9-1A26-4B60-86FB4D0F6787}"/>
                    </a:ext>
                  </a:extLst>
                </p:cNvPr>
                <p:cNvSpPr/>
                <p:nvPr/>
              </p:nvSpPr>
              <p:spPr>
                <a:xfrm>
                  <a:off x="2524410" y="1351027"/>
                  <a:ext cx="20053" cy="48079"/>
                </a:xfrm>
                <a:custGeom>
                  <a:avLst/>
                  <a:gdLst>
                    <a:gd name="connsiteX0" fmla="*/ 0 w 20053"/>
                    <a:gd name="connsiteY0" fmla="*/ 48079 h 48079"/>
                    <a:gd name="connsiteX1" fmla="*/ 8844 w 20053"/>
                    <a:gd name="connsiteY1" fmla="*/ 31513 h 48079"/>
                    <a:gd name="connsiteX2" fmla="*/ 11958 w 20053"/>
                    <a:gd name="connsiteY2" fmla="*/ 1444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5356" y="41478"/>
                        <a:pt x="7723" y="35623"/>
                        <a:pt x="8844" y="31513"/>
                      </a:cubicBezTo>
                      <a:cubicBezTo>
                        <a:pt x="10712" y="24787"/>
                        <a:pt x="9840" y="21175"/>
                        <a:pt x="11958" y="14449"/>
                      </a:cubicBezTo>
                      <a:cubicBezTo>
                        <a:pt x="14075" y="7847"/>
                        <a:pt x="17563"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9" name="Freeform 8695">
                  <a:extLst>
                    <a:ext uri="{FF2B5EF4-FFF2-40B4-BE49-F238E27FC236}">
                      <a16:creationId xmlns:a16="http://schemas.microsoft.com/office/drawing/2014/main" id="{36672680-39FC-5862-B465-15A4B72C0A92}"/>
                    </a:ext>
                  </a:extLst>
                </p:cNvPr>
                <p:cNvSpPr/>
                <p:nvPr/>
              </p:nvSpPr>
              <p:spPr>
                <a:xfrm>
                  <a:off x="2515940" y="1352521"/>
                  <a:ext cx="18808" cy="48577"/>
                </a:xfrm>
                <a:custGeom>
                  <a:avLst/>
                  <a:gdLst>
                    <a:gd name="connsiteX0" fmla="*/ 18808 w 18808"/>
                    <a:gd name="connsiteY0" fmla="*/ 0 h 48577"/>
                    <a:gd name="connsiteX1" fmla="*/ 13701 w 18808"/>
                    <a:gd name="connsiteY1" fmla="*/ 18061 h 48577"/>
                    <a:gd name="connsiteX2" fmla="*/ 4110 w 18808"/>
                    <a:gd name="connsiteY2" fmla="*/ 3263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8061" y="8345"/>
                        <a:pt x="15694" y="14200"/>
                        <a:pt x="13701" y="18061"/>
                      </a:cubicBezTo>
                      <a:cubicBezTo>
                        <a:pt x="10338" y="24289"/>
                        <a:pt x="7224" y="26282"/>
                        <a:pt x="4110" y="32634"/>
                      </a:cubicBezTo>
                      <a:cubicBezTo>
                        <a:pt x="1121" y="38862"/>
                        <a:pt x="249"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0" name="Freeform 8696">
                  <a:extLst>
                    <a:ext uri="{FF2B5EF4-FFF2-40B4-BE49-F238E27FC236}">
                      <a16:creationId xmlns:a16="http://schemas.microsoft.com/office/drawing/2014/main" id="{2B700A2A-1327-9986-82F2-CA69A957307D}"/>
                    </a:ext>
                  </a:extLst>
                </p:cNvPr>
                <p:cNvSpPr/>
                <p:nvPr/>
              </p:nvSpPr>
              <p:spPr>
                <a:xfrm>
                  <a:off x="2504898" y="1391118"/>
                  <a:ext cx="26875" cy="26453"/>
                </a:xfrm>
                <a:custGeom>
                  <a:avLst/>
                  <a:gdLst>
                    <a:gd name="connsiteX0" fmla="*/ 953 w 26875"/>
                    <a:gd name="connsiteY0" fmla="*/ 8361 h 26453"/>
                    <a:gd name="connsiteX1" fmla="*/ 18391 w 26875"/>
                    <a:gd name="connsiteY1" fmla="*/ 888 h 26453"/>
                    <a:gd name="connsiteX2" fmla="*/ 25989 w 26875"/>
                    <a:gd name="connsiteY2" fmla="*/ 18077 h 26453"/>
                    <a:gd name="connsiteX3" fmla="*/ 8551 w 26875"/>
                    <a:gd name="connsiteY3" fmla="*/ 25550 h 26453"/>
                    <a:gd name="connsiteX4" fmla="*/ 953 w 26875"/>
                    <a:gd name="connsiteY4" fmla="*/ 8361 h 26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4" h="26452">
                      <a:moveTo>
                        <a:pt x="953" y="8361"/>
                      </a:moveTo>
                      <a:cubicBezTo>
                        <a:pt x="3693" y="1635"/>
                        <a:pt x="11540" y="-1728"/>
                        <a:pt x="18391" y="888"/>
                      </a:cubicBezTo>
                      <a:cubicBezTo>
                        <a:pt x="25242" y="3504"/>
                        <a:pt x="28605" y="11226"/>
                        <a:pt x="25989" y="18077"/>
                      </a:cubicBezTo>
                      <a:cubicBezTo>
                        <a:pt x="23249" y="24927"/>
                        <a:pt x="15402" y="28166"/>
                        <a:pt x="8551" y="25550"/>
                      </a:cubicBezTo>
                      <a:cubicBezTo>
                        <a:pt x="1576" y="22810"/>
                        <a:pt x="-1787" y="15087"/>
                        <a:pt x="953"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1" name="Freeform 8697">
                  <a:extLst>
                    <a:ext uri="{FF2B5EF4-FFF2-40B4-BE49-F238E27FC236}">
                      <a16:creationId xmlns:a16="http://schemas.microsoft.com/office/drawing/2014/main" id="{84821102-D3DD-351F-3C0D-A9DF9633F3C6}"/>
                    </a:ext>
                  </a:extLst>
                </p:cNvPr>
                <p:cNvSpPr/>
                <p:nvPr/>
              </p:nvSpPr>
              <p:spPr>
                <a:xfrm>
                  <a:off x="2537987" y="1296097"/>
                  <a:ext cx="20178" cy="48079"/>
                </a:xfrm>
                <a:custGeom>
                  <a:avLst/>
                  <a:gdLst>
                    <a:gd name="connsiteX0" fmla="*/ 20178 w 20178"/>
                    <a:gd name="connsiteY0" fmla="*/ 0 h 48079"/>
                    <a:gd name="connsiteX1" fmla="*/ 11335 w 20178"/>
                    <a:gd name="connsiteY1" fmla="*/ 16566 h 48079"/>
                    <a:gd name="connsiteX2" fmla="*/ 8096 w 20178"/>
                    <a:gd name="connsiteY2" fmla="*/ 33631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4822" y="6602"/>
                        <a:pt x="12456" y="12456"/>
                        <a:pt x="11335" y="16566"/>
                      </a:cubicBezTo>
                      <a:cubicBezTo>
                        <a:pt x="9467" y="23292"/>
                        <a:pt x="10338" y="26904"/>
                        <a:pt x="8096" y="33631"/>
                      </a:cubicBezTo>
                      <a:cubicBezTo>
                        <a:pt x="5979" y="40232"/>
                        <a:pt x="2491" y="44965"/>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2" name="Freeform 8698">
                  <a:extLst>
                    <a:ext uri="{FF2B5EF4-FFF2-40B4-BE49-F238E27FC236}">
                      <a16:creationId xmlns:a16="http://schemas.microsoft.com/office/drawing/2014/main" id="{AB867BD7-31E8-03CB-58F7-E75B9D58EC87}"/>
                    </a:ext>
                  </a:extLst>
                </p:cNvPr>
                <p:cNvSpPr/>
                <p:nvPr/>
              </p:nvSpPr>
              <p:spPr>
                <a:xfrm>
                  <a:off x="2547702" y="1293979"/>
                  <a:ext cx="18808" cy="48577"/>
                </a:xfrm>
                <a:custGeom>
                  <a:avLst/>
                  <a:gdLst>
                    <a:gd name="connsiteX0" fmla="*/ 0 w 18808"/>
                    <a:gd name="connsiteY0" fmla="*/ 48577 h 48577"/>
                    <a:gd name="connsiteX1" fmla="*/ 5107 w 18808"/>
                    <a:gd name="connsiteY1" fmla="*/ 30517 h 48577"/>
                    <a:gd name="connsiteX2" fmla="*/ 14698 w 18808"/>
                    <a:gd name="connsiteY2" fmla="*/ 1594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748" y="40232"/>
                        <a:pt x="3114" y="34378"/>
                        <a:pt x="5107" y="30517"/>
                      </a:cubicBezTo>
                      <a:cubicBezTo>
                        <a:pt x="8470" y="24289"/>
                        <a:pt x="11584" y="22296"/>
                        <a:pt x="14698" y="15943"/>
                      </a:cubicBezTo>
                      <a:cubicBezTo>
                        <a:pt x="17687" y="9716"/>
                        <a:pt x="18559" y="3861"/>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3" name="Freeform 8699">
                  <a:extLst>
                    <a:ext uri="{FF2B5EF4-FFF2-40B4-BE49-F238E27FC236}">
                      <a16:creationId xmlns:a16="http://schemas.microsoft.com/office/drawing/2014/main" id="{F45460D4-7B0D-DA28-C30A-72B058204E41}"/>
                    </a:ext>
                  </a:extLst>
                </p:cNvPr>
                <p:cNvSpPr/>
                <p:nvPr/>
              </p:nvSpPr>
              <p:spPr>
                <a:xfrm>
                  <a:off x="2550911" y="1277663"/>
                  <a:ext cx="26413" cy="26420"/>
                </a:xfrm>
                <a:custGeom>
                  <a:avLst/>
                  <a:gdLst>
                    <a:gd name="connsiteX0" fmla="*/ 25440 w 26413"/>
                    <a:gd name="connsiteY0" fmla="*/ 17936 h 26420"/>
                    <a:gd name="connsiteX1" fmla="*/ 8251 w 26413"/>
                    <a:gd name="connsiteY1" fmla="*/ 25534 h 26420"/>
                    <a:gd name="connsiteX2" fmla="*/ 1026 w 26413"/>
                    <a:gd name="connsiteY2" fmla="*/ 8469 h 26420"/>
                    <a:gd name="connsiteX3" fmla="*/ 18215 w 26413"/>
                    <a:gd name="connsiteY3" fmla="*/ 871 h 26420"/>
                    <a:gd name="connsiteX4" fmla="*/ 25440 w 26413"/>
                    <a:gd name="connsiteY4" fmla="*/ 17936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3" h="26420">
                      <a:moveTo>
                        <a:pt x="25440" y="17936"/>
                      </a:moveTo>
                      <a:cubicBezTo>
                        <a:pt x="22699" y="24786"/>
                        <a:pt x="14977" y="28149"/>
                        <a:pt x="8251" y="25534"/>
                      </a:cubicBezTo>
                      <a:cubicBezTo>
                        <a:pt x="1525" y="22918"/>
                        <a:pt x="-1839" y="15320"/>
                        <a:pt x="1026" y="8469"/>
                      </a:cubicBezTo>
                      <a:cubicBezTo>
                        <a:pt x="3767" y="1743"/>
                        <a:pt x="11489" y="-1744"/>
                        <a:pt x="18215" y="871"/>
                      </a:cubicBezTo>
                      <a:cubicBezTo>
                        <a:pt x="24941" y="3487"/>
                        <a:pt x="28180" y="11085"/>
                        <a:pt x="25440" y="179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0" name="Graphic 2987">
                <a:extLst>
                  <a:ext uri="{FF2B5EF4-FFF2-40B4-BE49-F238E27FC236}">
                    <a16:creationId xmlns:a16="http://schemas.microsoft.com/office/drawing/2014/main" id="{BC989D84-6559-FE13-0938-2B6075522C7D}"/>
                  </a:ext>
                </a:extLst>
              </p:cNvPr>
              <p:cNvGrpSpPr/>
              <p:nvPr/>
            </p:nvGrpSpPr>
            <p:grpSpPr>
              <a:xfrm>
                <a:off x="2477033" y="1266812"/>
                <a:ext cx="72956" cy="139907"/>
                <a:chOff x="2477033" y="1266812"/>
                <a:chExt cx="72956" cy="139907"/>
              </a:xfrm>
              <a:grpFill/>
            </p:grpSpPr>
            <p:sp>
              <p:nvSpPr>
                <p:cNvPr id="5592" name="Freeform 8701">
                  <a:extLst>
                    <a:ext uri="{FF2B5EF4-FFF2-40B4-BE49-F238E27FC236}">
                      <a16:creationId xmlns:a16="http://schemas.microsoft.com/office/drawing/2014/main" id="{6DD4AAB2-13A5-47D9-DDDF-56700209D3F0}"/>
                    </a:ext>
                  </a:extLst>
                </p:cNvPr>
                <p:cNvSpPr/>
                <p:nvPr/>
              </p:nvSpPr>
              <p:spPr>
                <a:xfrm>
                  <a:off x="2496509" y="1340315"/>
                  <a:ext cx="20427" cy="47954"/>
                </a:xfrm>
                <a:custGeom>
                  <a:avLst/>
                  <a:gdLst>
                    <a:gd name="connsiteX0" fmla="*/ 0 w 20427"/>
                    <a:gd name="connsiteY0" fmla="*/ 47955 h 47954"/>
                    <a:gd name="connsiteX1" fmla="*/ 8968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478"/>
                        <a:pt x="7723" y="35499"/>
                        <a:pt x="8968" y="31389"/>
                      </a:cubicBezTo>
                      <a:cubicBezTo>
                        <a:pt x="10837" y="24662"/>
                        <a:pt x="9965" y="21050"/>
                        <a:pt x="12207" y="14324"/>
                      </a:cubicBezTo>
                      <a:cubicBezTo>
                        <a:pt x="14324" y="7723"/>
                        <a:pt x="17812" y="2989"/>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3" name="Freeform 8702">
                  <a:extLst>
                    <a:ext uri="{FF2B5EF4-FFF2-40B4-BE49-F238E27FC236}">
                      <a16:creationId xmlns:a16="http://schemas.microsoft.com/office/drawing/2014/main" id="{B34F39C3-1A80-AEC7-9F0D-4358545A244A}"/>
                    </a:ext>
                  </a:extLst>
                </p:cNvPr>
                <p:cNvSpPr/>
                <p:nvPr/>
              </p:nvSpPr>
              <p:spPr>
                <a:xfrm>
                  <a:off x="2488039" y="1341809"/>
                  <a:ext cx="19057" cy="48452"/>
                </a:xfrm>
                <a:custGeom>
                  <a:avLst/>
                  <a:gdLst>
                    <a:gd name="connsiteX0" fmla="*/ 19057 w 19057"/>
                    <a:gd name="connsiteY0" fmla="*/ 0 h 48452"/>
                    <a:gd name="connsiteX1" fmla="*/ 13826 w 19057"/>
                    <a:gd name="connsiteY1" fmla="*/ 18061 h 48452"/>
                    <a:gd name="connsiteX2" fmla="*/ 4235 w 19057"/>
                    <a:gd name="connsiteY2" fmla="*/ 32510 h 48452"/>
                    <a:gd name="connsiteX3" fmla="*/ 0 w 19057"/>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057" h="48452">
                      <a:moveTo>
                        <a:pt x="19057" y="0"/>
                      </a:moveTo>
                      <a:cubicBezTo>
                        <a:pt x="18310" y="8470"/>
                        <a:pt x="15819" y="14200"/>
                        <a:pt x="13826" y="18061"/>
                      </a:cubicBezTo>
                      <a:cubicBezTo>
                        <a:pt x="10463" y="24164"/>
                        <a:pt x="7349" y="26157"/>
                        <a:pt x="4235" y="32510"/>
                      </a:cubicBezTo>
                      <a:cubicBezTo>
                        <a:pt x="1121" y="38737"/>
                        <a:pt x="249" y="44592"/>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4" name="Freeform 8703">
                  <a:extLst>
                    <a:ext uri="{FF2B5EF4-FFF2-40B4-BE49-F238E27FC236}">
                      <a16:creationId xmlns:a16="http://schemas.microsoft.com/office/drawing/2014/main" id="{537F3944-7181-B705-147E-190FBCBE267A}"/>
                    </a:ext>
                  </a:extLst>
                </p:cNvPr>
                <p:cNvSpPr/>
                <p:nvPr/>
              </p:nvSpPr>
              <p:spPr>
                <a:xfrm>
                  <a:off x="2477033" y="1380211"/>
                  <a:ext cx="26907" cy="26508"/>
                </a:xfrm>
                <a:custGeom>
                  <a:avLst/>
                  <a:gdLst>
                    <a:gd name="connsiteX0" fmla="*/ 1041 w 26907"/>
                    <a:gd name="connsiteY0" fmla="*/ 8058 h 26508"/>
                    <a:gd name="connsiteX1" fmla="*/ 18480 w 26907"/>
                    <a:gd name="connsiteY1" fmla="*/ 1083 h 26508"/>
                    <a:gd name="connsiteX2" fmla="*/ 25953 w 26907"/>
                    <a:gd name="connsiteY2" fmla="*/ 18147 h 26508"/>
                    <a:gd name="connsiteX3" fmla="*/ 8390 w 26907"/>
                    <a:gd name="connsiteY3" fmla="*/ 25621 h 26508"/>
                    <a:gd name="connsiteX4" fmla="*/ 1041 w 26907"/>
                    <a:gd name="connsiteY4" fmla="*/ 8058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7" h="26508">
                      <a:moveTo>
                        <a:pt x="1041" y="8058"/>
                      </a:moveTo>
                      <a:cubicBezTo>
                        <a:pt x="3906" y="1207"/>
                        <a:pt x="11629" y="-1782"/>
                        <a:pt x="18480" y="1083"/>
                      </a:cubicBezTo>
                      <a:cubicBezTo>
                        <a:pt x="25330" y="3698"/>
                        <a:pt x="28693" y="11421"/>
                        <a:pt x="25953" y="18147"/>
                      </a:cubicBezTo>
                      <a:cubicBezTo>
                        <a:pt x="23213" y="24873"/>
                        <a:pt x="15366" y="28236"/>
                        <a:pt x="8390" y="25621"/>
                      </a:cubicBezTo>
                      <a:cubicBezTo>
                        <a:pt x="1415" y="22756"/>
                        <a:pt x="-1823" y="14784"/>
                        <a:pt x="1041"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5" name="Freeform 8704">
                  <a:extLst>
                    <a:ext uri="{FF2B5EF4-FFF2-40B4-BE49-F238E27FC236}">
                      <a16:creationId xmlns:a16="http://schemas.microsoft.com/office/drawing/2014/main" id="{18F6CEE2-8E26-CB44-0A4E-738FD7CBB0C8}"/>
                    </a:ext>
                  </a:extLst>
                </p:cNvPr>
                <p:cNvSpPr/>
                <p:nvPr/>
              </p:nvSpPr>
              <p:spPr>
                <a:xfrm>
                  <a:off x="2510335" y="1285385"/>
                  <a:ext cx="20427" cy="48079"/>
                </a:xfrm>
                <a:custGeom>
                  <a:avLst/>
                  <a:gdLst>
                    <a:gd name="connsiteX0" fmla="*/ 20427 w 20427"/>
                    <a:gd name="connsiteY0" fmla="*/ 0 h 48079"/>
                    <a:gd name="connsiteX1" fmla="*/ 11584 w 20427"/>
                    <a:gd name="connsiteY1" fmla="*/ 16566 h 48079"/>
                    <a:gd name="connsiteX2" fmla="*/ 8221 w 20427"/>
                    <a:gd name="connsiteY2" fmla="*/ 33755 h 48079"/>
                    <a:gd name="connsiteX3" fmla="*/ 0 w 20427"/>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427" h="48079">
                      <a:moveTo>
                        <a:pt x="20427" y="0"/>
                      </a:moveTo>
                      <a:cubicBezTo>
                        <a:pt x="15072" y="6477"/>
                        <a:pt x="12705" y="12331"/>
                        <a:pt x="11584" y="16566"/>
                      </a:cubicBezTo>
                      <a:cubicBezTo>
                        <a:pt x="9591" y="23292"/>
                        <a:pt x="10463" y="27029"/>
                        <a:pt x="8221" y="33755"/>
                      </a:cubicBezTo>
                      <a:cubicBezTo>
                        <a:pt x="6103" y="40357"/>
                        <a:pt x="2616" y="45090"/>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6" name="Freeform 8705">
                  <a:extLst>
                    <a:ext uri="{FF2B5EF4-FFF2-40B4-BE49-F238E27FC236}">
                      <a16:creationId xmlns:a16="http://schemas.microsoft.com/office/drawing/2014/main" id="{2B6DC559-229E-61BC-B7AA-4540D9A4B788}"/>
                    </a:ext>
                  </a:extLst>
                </p:cNvPr>
                <p:cNvSpPr/>
                <p:nvPr/>
              </p:nvSpPr>
              <p:spPr>
                <a:xfrm>
                  <a:off x="2520051" y="1283267"/>
                  <a:ext cx="19057" cy="48577"/>
                </a:xfrm>
                <a:custGeom>
                  <a:avLst/>
                  <a:gdLst>
                    <a:gd name="connsiteX0" fmla="*/ 0 w 19057"/>
                    <a:gd name="connsiteY0" fmla="*/ 48577 h 48577"/>
                    <a:gd name="connsiteX1" fmla="*/ 5231 w 19057"/>
                    <a:gd name="connsiteY1" fmla="*/ 30517 h 48577"/>
                    <a:gd name="connsiteX2" fmla="*/ 14822 w 19057"/>
                    <a:gd name="connsiteY2" fmla="*/ 15943 h 48577"/>
                    <a:gd name="connsiteX3" fmla="*/ 19057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4" y="24413"/>
                        <a:pt x="11708" y="22296"/>
                        <a:pt x="14822" y="15943"/>
                      </a:cubicBezTo>
                      <a:cubicBezTo>
                        <a:pt x="17936" y="9715"/>
                        <a:pt x="18808" y="3986"/>
                        <a:pt x="190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7" name="Freeform 8706">
                  <a:extLst>
                    <a:ext uri="{FF2B5EF4-FFF2-40B4-BE49-F238E27FC236}">
                      <a16:creationId xmlns:a16="http://schemas.microsoft.com/office/drawing/2014/main" id="{716B3278-D0EE-FF5A-D159-B97F02F221B5}"/>
                    </a:ext>
                  </a:extLst>
                </p:cNvPr>
                <p:cNvSpPr/>
                <p:nvPr/>
              </p:nvSpPr>
              <p:spPr>
                <a:xfrm>
                  <a:off x="2523542" y="1266812"/>
                  <a:ext cx="26447" cy="26435"/>
                </a:xfrm>
                <a:custGeom>
                  <a:avLst/>
                  <a:gdLst>
                    <a:gd name="connsiteX0" fmla="*/ 25406 w 26447"/>
                    <a:gd name="connsiteY0" fmla="*/ 18074 h 26435"/>
                    <a:gd name="connsiteX1" fmla="*/ 8093 w 26447"/>
                    <a:gd name="connsiteY1" fmla="*/ 25548 h 26435"/>
                    <a:gd name="connsiteX2" fmla="*/ 993 w 26447"/>
                    <a:gd name="connsiteY2" fmla="*/ 8110 h 26435"/>
                    <a:gd name="connsiteX3" fmla="*/ 18057 w 26447"/>
                    <a:gd name="connsiteY3" fmla="*/ 1010 h 26435"/>
                    <a:gd name="connsiteX4" fmla="*/ 25406 w 26447"/>
                    <a:gd name="connsiteY4" fmla="*/ 1807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35">
                      <a:moveTo>
                        <a:pt x="25406" y="18074"/>
                      </a:moveTo>
                      <a:cubicBezTo>
                        <a:pt x="22666" y="24801"/>
                        <a:pt x="14943" y="28164"/>
                        <a:pt x="8093" y="25548"/>
                      </a:cubicBezTo>
                      <a:cubicBezTo>
                        <a:pt x="1367" y="22808"/>
                        <a:pt x="-1747" y="14836"/>
                        <a:pt x="993" y="8110"/>
                      </a:cubicBezTo>
                      <a:cubicBezTo>
                        <a:pt x="3858" y="1259"/>
                        <a:pt x="11331" y="-1730"/>
                        <a:pt x="18057" y="1010"/>
                      </a:cubicBezTo>
                      <a:cubicBezTo>
                        <a:pt x="25033" y="3750"/>
                        <a:pt x="28271" y="11348"/>
                        <a:pt x="25406" y="18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1" name="Graphic 2987">
                <a:extLst>
                  <a:ext uri="{FF2B5EF4-FFF2-40B4-BE49-F238E27FC236}">
                    <a16:creationId xmlns:a16="http://schemas.microsoft.com/office/drawing/2014/main" id="{D8C1F631-69CB-03DC-91C8-82AFC37E81C4}"/>
                  </a:ext>
                </a:extLst>
              </p:cNvPr>
              <p:cNvGrpSpPr/>
              <p:nvPr/>
            </p:nvGrpSpPr>
            <p:grpSpPr>
              <a:xfrm>
                <a:off x="2449432" y="1255298"/>
                <a:ext cx="73481" cy="139714"/>
                <a:chOff x="2449432" y="1255298"/>
                <a:chExt cx="73481" cy="139714"/>
              </a:xfrm>
              <a:grpFill/>
            </p:grpSpPr>
            <p:sp>
              <p:nvSpPr>
                <p:cNvPr id="5586" name="Freeform 8708">
                  <a:extLst>
                    <a:ext uri="{FF2B5EF4-FFF2-40B4-BE49-F238E27FC236}">
                      <a16:creationId xmlns:a16="http://schemas.microsoft.com/office/drawing/2014/main" id="{8F7FC436-785D-90AA-B9C5-B39FDDCF9877}"/>
                    </a:ext>
                  </a:extLst>
                </p:cNvPr>
                <p:cNvSpPr/>
                <p:nvPr/>
              </p:nvSpPr>
              <p:spPr>
                <a:xfrm>
                  <a:off x="2468857" y="1328731"/>
                  <a:ext cx="20551" cy="47830"/>
                </a:xfrm>
                <a:custGeom>
                  <a:avLst/>
                  <a:gdLst>
                    <a:gd name="connsiteX0" fmla="*/ 0 w 20551"/>
                    <a:gd name="connsiteY0" fmla="*/ 47830 h 47830"/>
                    <a:gd name="connsiteX1" fmla="*/ 8968 w 20551"/>
                    <a:gd name="connsiteY1" fmla="*/ 31389 h 47830"/>
                    <a:gd name="connsiteX2" fmla="*/ 12331 w 20551"/>
                    <a:gd name="connsiteY2" fmla="*/ 14200 h 47830"/>
                    <a:gd name="connsiteX3" fmla="*/ 20552 w 20551"/>
                    <a:gd name="connsiteY3" fmla="*/ 0 h 47830"/>
                  </a:gdLst>
                  <a:ahLst/>
                  <a:cxnLst>
                    <a:cxn ang="0">
                      <a:pos x="connsiteX0" y="connsiteY0"/>
                    </a:cxn>
                    <a:cxn ang="0">
                      <a:pos x="connsiteX1" y="connsiteY1"/>
                    </a:cxn>
                    <a:cxn ang="0">
                      <a:pos x="connsiteX2" y="connsiteY2"/>
                    </a:cxn>
                    <a:cxn ang="0">
                      <a:pos x="connsiteX3" y="connsiteY3"/>
                    </a:cxn>
                  </a:cxnLst>
                  <a:rect l="l" t="t" r="r" b="b"/>
                  <a:pathLst>
                    <a:path w="20551" h="47830">
                      <a:moveTo>
                        <a:pt x="0" y="47830"/>
                      </a:moveTo>
                      <a:cubicBezTo>
                        <a:pt x="5356" y="41353"/>
                        <a:pt x="7847" y="35499"/>
                        <a:pt x="8968" y="31389"/>
                      </a:cubicBezTo>
                      <a:cubicBezTo>
                        <a:pt x="10961" y="24662"/>
                        <a:pt x="10089" y="20926"/>
                        <a:pt x="12331" y="14200"/>
                      </a:cubicBezTo>
                      <a:cubicBezTo>
                        <a:pt x="14573" y="7598"/>
                        <a:pt x="18061" y="2865"/>
                        <a:pt x="205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7" name="Freeform 8709">
                  <a:extLst>
                    <a:ext uri="{FF2B5EF4-FFF2-40B4-BE49-F238E27FC236}">
                      <a16:creationId xmlns:a16="http://schemas.microsoft.com/office/drawing/2014/main" id="{68F85FE0-9F31-365C-00AF-E2F783220B93}"/>
                    </a:ext>
                  </a:extLst>
                </p:cNvPr>
                <p:cNvSpPr/>
                <p:nvPr/>
              </p:nvSpPr>
              <p:spPr>
                <a:xfrm>
                  <a:off x="2460387" y="1329976"/>
                  <a:ext cx="19430" cy="48452"/>
                </a:xfrm>
                <a:custGeom>
                  <a:avLst/>
                  <a:gdLst>
                    <a:gd name="connsiteX0" fmla="*/ 19431 w 19430"/>
                    <a:gd name="connsiteY0" fmla="*/ 0 h 48452"/>
                    <a:gd name="connsiteX1" fmla="*/ 14075 w 19430"/>
                    <a:gd name="connsiteY1" fmla="*/ 18061 h 48452"/>
                    <a:gd name="connsiteX2" fmla="*/ 4360 w 19430"/>
                    <a:gd name="connsiteY2" fmla="*/ 32510 h 48452"/>
                    <a:gd name="connsiteX3" fmla="*/ 0 w 19430"/>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430" h="48452">
                      <a:moveTo>
                        <a:pt x="19431" y="0"/>
                      </a:moveTo>
                      <a:cubicBezTo>
                        <a:pt x="18559" y="8470"/>
                        <a:pt x="16193" y="14200"/>
                        <a:pt x="14075" y="18061"/>
                      </a:cubicBezTo>
                      <a:cubicBezTo>
                        <a:pt x="10712" y="24164"/>
                        <a:pt x="7598" y="26157"/>
                        <a:pt x="4360" y="32510"/>
                      </a:cubicBezTo>
                      <a:cubicBezTo>
                        <a:pt x="1246" y="38613"/>
                        <a:pt x="374"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8" name="Freeform 8710">
                  <a:extLst>
                    <a:ext uri="{FF2B5EF4-FFF2-40B4-BE49-F238E27FC236}">
                      <a16:creationId xmlns:a16="http://schemas.microsoft.com/office/drawing/2014/main" id="{F90DB8ED-3245-17B8-128E-A23698E01288}"/>
                    </a:ext>
                  </a:extLst>
                </p:cNvPr>
                <p:cNvSpPr/>
                <p:nvPr/>
              </p:nvSpPr>
              <p:spPr>
                <a:xfrm>
                  <a:off x="2449432" y="1368323"/>
                  <a:ext cx="26627" cy="26688"/>
                </a:xfrm>
                <a:custGeom>
                  <a:avLst/>
                  <a:gdLst>
                    <a:gd name="connsiteX0" fmla="*/ 991 w 26627"/>
                    <a:gd name="connsiteY0" fmla="*/ 7988 h 26688"/>
                    <a:gd name="connsiteX1" fmla="*/ 18429 w 26627"/>
                    <a:gd name="connsiteY1" fmla="*/ 1138 h 26688"/>
                    <a:gd name="connsiteX2" fmla="*/ 25654 w 26627"/>
                    <a:gd name="connsiteY2" fmla="*/ 18700 h 26688"/>
                    <a:gd name="connsiteX3" fmla="*/ 8215 w 26627"/>
                    <a:gd name="connsiteY3" fmla="*/ 25551 h 26688"/>
                    <a:gd name="connsiteX4" fmla="*/ 991 w 26627"/>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88">
                      <a:moveTo>
                        <a:pt x="991" y="7988"/>
                      </a:moveTo>
                      <a:cubicBezTo>
                        <a:pt x="3856" y="1262"/>
                        <a:pt x="11579" y="-1852"/>
                        <a:pt x="18429" y="1138"/>
                      </a:cubicBezTo>
                      <a:cubicBezTo>
                        <a:pt x="25155" y="4127"/>
                        <a:pt x="28394" y="11974"/>
                        <a:pt x="25654" y="18700"/>
                      </a:cubicBezTo>
                      <a:cubicBezTo>
                        <a:pt x="22913" y="25427"/>
                        <a:pt x="15066" y="28540"/>
                        <a:pt x="8215" y="25551"/>
                      </a:cubicBezTo>
                      <a:cubicBezTo>
                        <a:pt x="1365" y="22562"/>
                        <a:pt x="-1749" y="14715"/>
                        <a:pt x="99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9" name="Freeform 8711">
                  <a:extLst>
                    <a:ext uri="{FF2B5EF4-FFF2-40B4-BE49-F238E27FC236}">
                      <a16:creationId xmlns:a16="http://schemas.microsoft.com/office/drawing/2014/main" id="{EFE36A44-1760-610E-2B21-9944FD371AF0}"/>
                    </a:ext>
                  </a:extLst>
                </p:cNvPr>
                <p:cNvSpPr/>
                <p:nvPr/>
              </p:nvSpPr>
              <p:spPr>
                <a:xfrm>
                  <a:off x="2483181" y="1273676"/>
                  <a:ext cx="20676" cy="47705"/>
                </a:xfrm>
                <a:custGeom>
                  <a:avLst/>
                  <a:gdLst>
                    <a:gd name="connsiteX0" fmla="*/ 20677 w 20676"/>
                    <a:gd name="connsiteY0" fmla="*/ 0 h 47705"/>
                    <a:gd name="connsiteX1" fmla="*/ 11708 w 20676"/>
                    <a:gd name="connsiteY1" fmla="*/ 16442 h 47705"/>
                    <a:gd name="connsiteX2" fmla="*/ 8221 w 20676"/>
                    <a:gd name="connsiteY2" fmla="*/ 33506 h 47705"/>
                    <a:gd name="connsiteX3" fmla="*/ 0 w 20676"/>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676" h="47705">
                      <a:moveTo>
                        <a:pt x="20677" y="0"/>
                      </a:moveTo>
                      <a:cubicBezTo>
                        <a:pt x="15321" y="6477"/>
                        <a:pt x="12954" y="12331"/>
                        <a:pt x="11708" y="16442"/>
                      </a:cubicBezTo>
                      <a:cubicBezTo>
                        <a:pt x="9715" y="23168"/>
                        <a:pt x="10463" y="26780"/>
                        <a:pt x="8221" y="33506"/>
                      </a:cubicBezTo>
                      <a:cubicBezTo>
                        <a:pt x="5979" y="40108"/>
                        <a:pt x="2491" y="44841"/>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0" name="Freeform 8712">
                  <a:extLst>
                    <a:ext uri="{FF2B5EF4-FFF2-40B4-BE49-F238E27FC236}">
                      <a16:creationId xmlns:a16="http://schemas.microsoft.com/office/drawing/2014/main" id="{A9EECA2F-DB4C-747F-F256-D11E39D664E3}"/>
                    </a:ext>
                  </a:extLst>
                </p:cNvPr>
                <p:cNvSpPr/>
                <p:nvPr/>
              </p:nvSpPr>
              <p:spPr>
                <a:xfrm>
                  <a:off x="2492772" y="1271808"/>
                  <a:ext cx="19430" cy="48452"/>
                </a:xfrm>
                <a:custGeom>
                  <a:avLst/>
                  <a:gdLst>
                    <a:gd name="connsiteX0" fmla="*/ 0 w 19430"/>
                    <a:gd name="connsiteY0" fmla="*/ 48453 h 48452"/>
                    <a:gd name="connsiteX1" fmla="*/ 5356 w 19430"/>
                    <a:gd name="connsiteY1" fmla="*/ 30392 h 48452"/>
                    <a:gd name="connsiteX2" fmla="*/ 15071 w 19430"/>
                    <a:gd name="connsiteY2" fmla="*/ 15943 h 48452"/>
                    <a:gd name="connsiteX3" fmla="*/ 19431 w 19430"/>
                    <a:gd name="connsiteY3" fmla="*/ 0 h 48452"/>
                  </a:gdLst>
                  <a:ahLst/>
                  <a:cxnLst>
                    <a:cxn ang="0">
                      <a:pos x="connsiteX0" y="connsiteY0"/>
                    </a:cxn>
                    <a:cxn ang="0">
                      <a:pos x="connsiteX1" y="connsiteY1"/>
                    </a:cxn>
                    <a:cxn ang="0">
                      <a:pos x="connsiteX2" y="connsiteY2"/>
                    </a:cxn>
                    <a:cxn ang="0">
                      <a:pos x="connsiteX3" y="connsiteY3"/>
                    </a:cxn>
                  </a:cxnLst>
                  <a:rect l="l" t="t" r="r" b="b"/>
                  <a:pathLst>
                    <a:path w="19430" h="48452">
                      <a:moveTo>
                        <a:pt x="0" y="48453"/>
                      </a:moveTo>
                      <a:cubicBezTo>
                        <a:pt x="872" y="39983"/>
                        <a:pt x="3238" y="34253"/>
                        <a:pt x="5356" y="30392"/>
                      </a:cubicBezTo>
                      <a:cubicBezTo>
                        <a:pt x="8719" y="24289"/>
                        <a:pt x="11833" y="22296"/>
                        <a:pt x="15071" y="15943"/>
                      </a:cubicBezTo>
                      <a:cubicBezTo>
                        <a:pt x="18185" y="9715"/>
                        <a:pt x="19057" y="3986"/>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1" name="Freeform 8713">
                  <a:extLst>
                    <a:ext uri="{FF2B5EF4-FFF2-40B4-BE49-F238E27FC236}">
                      <a16:creationId xmlns:a16="http://schemas.microsoft.com/office/drawing/2014/main" id="{67497B49-893E-8ECA-06F0-A5F8D72E68C2}"/>
                    </a:ext>
                  </a:extLst>
                </p:cNvPr>
                <p:cNvSpPr/>
                <p:nvPr/>
              </p:nvSpPr>
              <p:spPr>
                <a:xfrm>
                  <a:off x="2496867" y="1255298"/>
                  <a:ext cx="26046" cy="26595"/>
                </a:xfrm>
                <a:custGeom>
                  <a:avLst/>
                  <a:gdLst>
                    <a:gd name="connsiteX0" fmla="*/ 25052 w 26046"/>
                    <a:gd name="connsiteY0" fmla="*/ 18503 h 26595"/>
                    <a:gd name="connsiteX1" fmla="*/ 7987 w 26046"/>
                    <a:gd name="connsiteY1" fmla="*/ 25478 h 26595"/>
                    <a:gd name="connsiteX2" fmla="*/ 1012 w 26046"/>
                    <a:gd name="connsiteY2" fmla="*/ 8040 h 26595"/>
                    <a:gd name="connsiteX3" fmla="*/ 18076 w 26046"/>
                    <a:gd name="connsiteY3" fmla="*/ 1065 h 26595"/>
                    <a:gd name="connsiteX4" fmla="*/ 25052 w 26046"/>
                    <a:gd name="connsiteY4" fmla="*/ 18503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5" h="26595">
                      <a:moveTo>
                        <a:pt x="25052" y="18503"/>
                      </a:moveTo>
                      <a:cubicBezTo>
                        <a:pt x="22311" y="25229"/>
                        <a:pt x="14589" y="28467"/>
                        <a:pt x="7987" y="25478"/>
                      </a:cubicBezTo>
                      <a:cubicBezTo>
                        <a:pt x="1261" y="22613"/>
                        <a:pt x="-1728" y="14766"/>
                        <a:pt x="1012" y="8040"/>
                      </a:cubicBezTo>
                      <a:cubicBezTo>
                        <a:pt x="3877" y="1314"/>
                        <a:pt x="11475" y="-1800"/>
                        <a:pt x="18076" y="1065"/>
                      </a:cubicBezTo>
                      <a:cubicBezTo>
                        <a:pt x="24678" y="3929"/>
                        <a:pt x="27792" y="11777"/>
                        <a:pt x="25052"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2" name="Graphic 2987">
                <a:extLst>
                  <a:ext uri="{FF2B5EF4-FFF2-40B4-BE49-F238E27FC236}">
                    <a16:creationId xmlns:a16="http://schemas.microsoft.com/office/drawing/2014/main" id="{1A53A601-2D78-3BAC-BB6F-109371F5C552}"/>
                  </a:ext>
                </a:extLst>
              </p:cNvPr>
              <p:cNvGrpSpPr/>
              <p:nvPr/>
            </p:nvGrpSpPr>
            <p:grpSpPr>
              <a:xfrm>
                <a:off x="2421850" y="1243714"/>
                <a:ext cx="74230" cy="139340"/>
                <a:chOff x="2421850" y="1243714"/>
                <a:chExt cx="74230" cy="139340"/>
              </a:xfrm>
              <a:grpFill/>
            </p:grpSpPr>
            <p:sp>
              <p:nvSpPr>
                <p:cNvPr id="5580" name="Freeform 8715">
                  <a:extLst>
                    <a:ext uri="{FF2B5EF4-FFF2-40B4-BE49-F238E27FC236}">
                      <a16:creationId xmlns:a16="http://schemas.microsoft.com/office/drawing/2014/main" id="{B2599941-5CF0-50DB-4437-12410DD319C1}"/>
                    </a:ext>
                  </a:extLst>
                </p:cNvPr>
                <p:cNvSpPr/>
                <p:nvPr/>
              </p:nvSpPr>
              <p:spPr>
                <a:xfrm>
                  <a:off x="2441454" y="1316898"/>
                  <a:ext cx="20925" cy="47705"/>
                </a:xfrm>
                <a:custGeom>
                  <a:avLst/>
                  <a:gdLst>
                    <a:gd name="connsiteX0" fmla="*/ 0 w 20925"/>
                    <a:gd name="connsiteY0" fmla="*/ 47706 h 47705"/>
                    <a:gd name="connsiteX1" fmla="*/ 9093 w 20925"/>
                    <a:gd name="connsiteY1" fmla="*/ 31264 h 47705"/>
                    <a:gd name="connsiteX2" fmla="*/ 12580 w 20925"/>
                    <a:gd name="connsiteY2" fmla="*/ 14200 h 47705"/>
                    <a:gd name="connsiteX3" fmla="*/ 20926 w 20925"/>
                    <a:gd name="connsiteY3" fmla="*/ 0 h 47705"/>
                  </a:gdLst>
                  <a:ahLst/>
                  <a:cxnLst>
                    <a:cxn ang="0">
                      <a:pos x="connsiteX0" y="connsiteY0"/>
                    </a:cxn>
                    <a:cxn ang="0">
                      <a:pos x="connsiteX1" y="connsiteY1"/>
                    </a:cxn>
                    <a:cxn ang="0">
                      <a:pos x="connsiteX2" y="connsiteY2"/>
                    </a:cxn>
                    <a:cxn ang="0">
                      <a:pos x="connsiteX3" y="connsiteY3"/>
                    </a:cxn>
                  </a:cxnLst>
                  <a:rect l="l" t="t" r="r" b="b"/>
                  <a:pathLst>
                    <a:path w="20925" h="47705">
                      <a:moveTo>
                        <a:pt x="0" y="47706"/>
                      </a:moveTo>
                      <a:cubicBezTo>
                        <a:pt x="5481" y="41353"/>
                        <a:pt x="7847" y="35499"/>
                        <a:pt x="9093" y="31264"/>
                      </a:cubicBezTo>
                      <a:cubicBezTo>
                        <a:pt x="11086" y="24538"/>
                        <a:pt x="10338" y="20926"/>
                        <a:pt x="12580" y="14200"/>
                      </a:cubicBezTo>
                      <a:cubicBezTo>
                        <a:pt x="14822" y="7598"/>
                        <a:pt x="18310" y="2989"/>
                        <a:pt x="20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1" name="Freeform 8716">
                  <a:extLst>
                    <a:ext uri="{FF2B5EF4-FFF2-40B4-BE49-F238E27FC236}">
                      <a16:creationId xmlns:a16="http://schemas.microsoft.com/office/drawing/2014/main" id="{1B79F6D6-A2DE-B142-AD2F-2DDA78963B40}"/>
                    </a:ext>
                  </a:extLst>
                </p:cNvPr>
                <p:cNvSpPr/>
                <p:nvPr/>
              </p:nvSpPr>
              <p:spPr>
                <a:xfrm>
                  <a:off x="2432985" y="1318143"/>
                  <a:ext cx="19680" cy="48328"/>
                </a:xfrm>
                <a:custGeom>
                  <a:avLst/>
                  <a:gdLst>
                    <a:gd name="connsiteX0" fmla="*/ 19680 w 19680"/>
                    <a:gd name="connsiteY0" fmla="*/ 0 h 48328"/>
                    <a:gd name="connsiteX1" fmla="*/ 14200 w 19680"/>
                    <a:gd name="connsiteY1" fmla="*/ 18061 h 48328"/>
                    <a:gd name="connsiteX2" fmla="*/ 4359 w 19680"/>
                    <a:gd name="connsiteY2" fmla="*/ 32385 h 48328"/>
                    <a:gd name="connsiteX3" fmla="*/ 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19680" y="0"/>
                      </a:moveTo>
                      <a:cubicBezTo>
                        <a:pt x="18808" y="8345"/>
                        <a:pt x="16317" y="14200"/>
                        <a:pt x="14200" y="18061"/>
                      </a:cubicBezTo>
                      <a:cubicBezTo>
                        <a:pt x="10712" y="24164"/>
                        <a:pt x="7598" y="26157"/>
                        <a:pt x="4359" y="32385"/>
                      </a:cubicBezTo>
                      <a:cubicBezTo>
                        <a:pt x="1245" y="38488"/>
                        <a:pt x="249"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2" name="Freeform 8717">
                  <a:extLst>
                    <a:ext uri="{FF2B5EF4-FFF2-40B4-BE49-F238E27FC236}">
                      <a16:creationId xmlns:a16="http://schemas.microsoft.com/office/drawing/2014/main" id="{FD8CAA35-63D2-E2AC-6A04-F30F76E8C354}"/>
                    </a:ext>
                  </a:extLst>
                </p:cNvPr>
                <p:cNvSpPr/>
                <p:nvPr/>
              </p:nvSpPr>
              <p:spPr>
                <a:xfrm>
                  <a:off x="2421850" y="1356366"/>
                  <a:ext cx="26628" cy="26688"/>
                </a:xfrm>
                <a:custGeom>
                  <a:avLst/>
                  <a:gdLst>
                    <a:gd name="connsiteX0" fmla="*/ 1045 w 26628"/>
                    <a:gd name="connsiteY0" fmla="*/ 7988 h 26688"/>
                    <a:gd name="connsiteX1" fmla="*/ 18483 w 26628"/>
                    <a:gd name="connsiteY1" fmla="*/ 1138 h 26688"/>
                    <a:gd name="connsiteX2" fmla="*/ 25583 w 26628"/>
                    <a:gd name="connsiteY2" fmla="*/ 18700 h 26688"/>
                    <a:gd name="connsiteX3" fmla="*/ 8145 w 26628"/>
                    <a:gd name="connsiteY3" fmla="*/ 25551 h 26688"/>
                    <a:gd name="connsiteX4" fmla="*/ 1045 w 26628"/>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88">
                      <a:moveTo>
                        <a:pt x="1045" y="7988"/>
                      </a:moveTo>
                      <a:cubicBezTo>
                        <a:pt x="3910" y="1262"/>
                        <a:pt x="11757" y="-1852"/>
                        <a:pt x="18483" y="1138"/>
                      </a:cubicBezTo>
                      <a:cubicBezTo>
                        <a:pt x="25209" y="4127"/>
                        <a:pt x="28448" y="11974"/>
                        <a:pt x="25583" y="18700"/>
                      </a:cubicBezTo>
                      <a:cubicBezTo>
                        <a:pt x="22718" y="25427"/>
                        <a:pt x="14871" y="28540"/>
                        <a:pt x="8145" y="25551"/>
                      </a:cubicBezTo>
                      <a:cubicBezTo>
                        <a:pt x="1419" y="22562"/>
                        <a:pt x="-1820" y="14715"/>
                        <a:pt x="1045"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3" name="Freeform 8718">
                  <a:extLst>
                    <a:ext uri="{FF2B5EF4-FFF2-40B4-BE49-F238E27FC236}">
                      <a16:creationId xmlns:a16="http://schemas.microsoft.com/office/drawing/2014/main" id="{36B968CE-C7E0-C1FA-12CA-6ACC16294DD0}"/>
                    </a:ext>
                  </a:extLst>
                </p:cNvPr>
                <p:cNvSpPr/>
                <p:nvPr/>
              </p:nvSpPr>
              <p:spPr>
                <a:xfrm>
                  <a:off x="2456028" y="1262092"/>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570" y="6477"/>
                        <a:pt x="13079" y="12207"/>
                        <a:pt x="11833" y="16442"/>
                      </a:cubicBezTo>
                      <a:cubicBezTo>
                        <a:pt x="9840" y="23168"/>
                        <a:pt x="10587" y="26780"/>
                        <a:pt x="8346" y="33506"/>
                      </a:cubicBezTo>
                      <a:cubicBezTo>
                        <a:pt x="6103"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4" name="Freeform 8719">
                  <a:extLst>
                    <a:ext uri="{FF2B5EF4-FFF2-40B4-BE49-F238E27FC236}">
                      <a16:creationId xmlns:a16="http://schemas.microsoft.com/office/drawing/2014/main" id="{74C2E997-4560-4458-9545-6BA6AF32C9A0}"/>
                    </a:ext>
                  </a:extLst>
                </p:cNvPr>
                <p:cNvSpPr/>
                <p:nvPr/>
              </p:nvSpPr>
              <p:spPr>
                <a:xfrm>
                  <a:off x="2465619" y="1260224"/>
                  <a:ext cx="19555" cy="48328"/>
                </a:xfrm>
                <a:custGeom>
                  <a:avLst/>
                  <a:gdLst>
                    <a:gd name="connsiteX0" fmla="*/ 0 w 19555"/>
                    <a:gd name="connsiteY0" fmla="*/ 48328 h 48328"/>
                    <a:gd name="connsiteX1" fmla="*/ 5481 w 19555"/>
                    <a:gd name="connsiteY1" fmla="*/ 30268 h 48328"/>
                    <a:gd name="connsiteX2" fmla="*/ 15196 w 19555"/>
                    <a:gd name="connsiteY2" fmla="*/ 15943 h 48328"/>
                    <a:gd name="connsiteX3" fmla="*/ 19556 w 19555"/>
                    <a:gd name="connsiteY3" fmla="*/ 0 h 48328"/>
                  </a:gdLst>
                  <a:ahLst/>
                  <a:cxnLst>
                    <a:cxn ang="0">
                      <a:pos x="connsiteX0" y="connsiteY0"/>
                    </a:cxn>
                    <a:cxn ang="0">
                      <a:pos x="connsiteX1" y="connsiteY1"/>
                    </a:cxn>
                    <a:cxn ang="0">
                      <a:pos x="connsiteX2" y="connsiteY2"/>
                    </a:cxn>
                    <a:cxn ang="0">
                      <a:pos x="connsiteX3" y="connsiteY3"/>
                    </a:cxn>
                  </a:cxnLst>
                  <a:rect l="l" t="t" r="r" b="b"/>
                  <a:pathLst>
                    <a:path w="19555" h="48328">
                      <a:moveTo>
                        <a:pt x="0" y="48328"/>
                      </a:moveTo>
                      <a:cubicBezTo>
                        <a:pt x="872" y="39983"/>
                        <a:pt x="3363" y="34129"/>
                        <a:pt x="5481" y="30268"/>
                      </a:cubicBezTo>
                      <a:cubicBezTo>
                        <a:pt x="8844" y="24164"/>
                        <a:pt x="12082" y="22171"/>
                        <a:pt x="15196" y="15943"/>
                      </a:cubicBezTo>
                      <a:cubicBezTo>
                        <a:pt x="18310" y="9840"/>
                        <a:pt x="19306" y="3986"/>
                        <a:pt x="195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5" name="Freeform 8720">
                  <a:extLst>
                    <a:ext uri="{FF2B5EF4-FFF2-40B4-BE49-F238E27FC236}">
                      <a16:creationId xmlns:a16="http://schemas.microsoft.com/office/drawing/2014/main" id="{E4D5D814-C2C2-9351-E53D-4DBA8B6FA213}"/>
                    </a:ext>
                  </a:extLst>
                </p:cNvPr>
                <p:cNvSpPr/>
                <p:nvPr/>
              </p:nvSpPr>
              <p:spPr>
                <a:xfrm>
                  <a:off x="2469890" y="1243714"/>
                  <a:ext cx="26190" cy="26542"/>
                </a:xfrm>
                <a:custGeom>
                  <a:avLst/>
                  <a:gdLst>
                    <a:gd name="connsiteX0" fmla="*/ 25124 w 26190"/>
                    <a:gd name="connsiteY0" fmla="*/ 18503 h 26542"/>
                    <a:gd name="connsiteX1" fmla="*/ 7935 w 26190"/>
                    <a:gd name="connsiteY1" fmla="*/ 25478 h 26542"/>
                    <a:gd name="connsiteX2" fmla="*/ 1085 w 26190"/>
                    <a:gd name="connsiteY2" fmla="*/ 8040 h 26542"/>
                    <a:gd name="connsiteX3" fmla="*/ 18274 w 26190"/>
                    <a:gd name="connsiteY3" fmla="*/ 1065 h 26542"/>
                    <a:gd name="connsiteX4" fmla="*/ 25124 w 26190"/>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0" h="26542">
                      <a:moveTo>
                        <a:pt x="25124" y="18503"/>
                      </a:moveTo>
                      <a:cubicBezTo>
                        <a:pt x="22260" y="25229"/>
                        <a:pt x="14537" y="28343"/>
                        <a:pt x="7935" y="25478"/>
                      </a:cubicBezTo>
                      <a:cubicBezTo>
                        <a:pt x="1209" y="22613"/>
                        <a:pt x="-1780" y="14766"/>
                        <a:pt x="1085" y="8040"/>
                      </a:cubicBezTo>
                      <a:cubicBezTo>
                        <a:pt x="3950" y="1314"/>
                        <a:pt x="11672" y="-1800"/>
                        <a:pt x="18274" y="1065"/>
                      </a:cubicBezTo>
                      <a:cubicBezTo>
                        <a:pt x="24875" y="3929"/>
                        <a:pt x="27989" y="11777"/>
                        <a:pt x="25124"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3" name="Graphic 2987">
                <a:extLst>
                  <a:ext uri="{FF2B5EF4-FFF2-40B4-BE49-F238E27FC236}">
                    <a16:creationId xmlns:a16="http://schemas.microsoft.com/office/drawing/2014/main" id="{2F760F60-A7F0-0BBD-9D71-D2F1D13612EA}"/>
                  </a:ext>
                </a:extLst>
              </p:cNvPr>
              <p:cNvGrpSpPr/>
              <p:nvPr/>
            </p:nvGrpSpPr>
            <p:grpSpPr>
              <a:xfrm>
                <a:off x="2394306" y="1232006"/>
                <a:ext cx="74889" cy="139091"/>
                <a:chOff x="2394306" y="1232006"/>
                <a:chExt cx="74889" cy="139091"/>
              </a:xfrm>
              <a:grpFill/>
            </p:grpSpPr>
            <p:sp>
              <p:nvSpPr>
                <p:cNvPr id="5574" name="Freeform 8722">
                  <a:extLst>
                    <a:ext uri="{FF2B5EF4-FFF2-40B4-BE49-F238E27FC236}">
                      <a16:creationId xmlns:a16="http://schemas.microsoft.com/office/drawing/2014/main" id="{536AA3DA-3ADA-91F0-B3F3-F65545A00000}"/>
                    </a:ext>
                  </a:extLst>
                </p:cNvPr>
                <p:cNvSpPr/>
                <p:nvPr/>
              </p:nvSpPr>
              <p:spPr>
                <a:xfrm>
                  <a:off x="2413927" y="1305065"/>
                  <a:ext cx="21299" cy="47705"/>
                </a:xfrm>
                <a:custGeom>
                  <a:avLst/>
                  <a:gdLst>
                    <a:gd name="connsiteX0" fmla="*/ 0 w 21299"/>
                    <a:gd name="connsiteY0" fmla="*/ 47706 h 47705"/>
                    <a:gd name="connsiteX1" fmla="*/ 9217 w 21299"/>
                    <a:gd name="connsiteY1" fmla="*/ 31264 h 47705"/>
                    <a:gd name="connsiteX2" fmla="*/ 12829 w 21299"/>
                    <a:gd name="connsiteY2" fmla="*/ 14200 h 47705"/>
                    <a:gd name="connsiteX3" fmla="*/ 21299 w 21299"/>
                    <a:gd name="connsiteY3" fmla="*/ 0 h 47705"/>
                  </a:gdLst>
                  <a:ahLst/>
                  <a:cxnLst>
                    <a:cxn ang="0">
                      <a:pos x="connsiteX0" y="connsiteY0"/>
                    </a:cxn>
                    <a:cxn ang="0">
                      <a:pos x="connsiteX1" y="connsiteY1"/>
                    </a:cxn>
                    <a:cxn ang="0">
                      <a:pos x="connsiteX2" y="connsiteY2"/>
                    </a:cxn>
                    <a:cxn ang="0">
                      <a:pos x="connsiteX3" y="connsiteY3"/>
                    </a:cxn>
                  </a:cxnLst>
                  <a:rect l="l" t="t" r="r" b="b"/>
                  <a:pathLst>
                    <a:path w="21299" h="47705">
                      <a:moveTo>
                        <a:pt x="0" y="47706"/>
                      </a:moveTo>
                      <a:cubicBezTo>
                        <a:pt x="5481" y="41353"/>
                        <a:pt x="7972" y="35499"/>
                        <a:pt x="9217" y="31264"/>
                      </a:cubicBezTo>
                      <a:cubicBezTo>
                        <a:pt x="11210" y="24538"/>
                        <a:pt x="10463" y="20926"/>
                        <a:pt x="12829" y="14200"/>
                      </a:cubicBezTo>
                      <a:cubicBezTo>
                        <a:pt x="15071" y="7723"/>
                        <a:pt x="18684" y="2989"/>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5" name="Freeform 8723">
                  <a:extLst>
                    <a:ext uri="{FF2B5EF4-FFF2-40B4-BE49-F238E27FC236}">
                      <a16:creationId xmlns:a16="http://schemas.microsoft.com/office/drawing/2014/main" id="{A1CFDE58-D511-0216-9FBE-1168AFB89737}"/>
                    </a:ext>
                  </a:extLst>
                </p:cNvPr>
                <p:cNvSpPr/>
                <p:nvPr/>
              </p:nvSpPr>
              <p:spPr>
                <a:xfrm>
                  <a:off x="2405333" y="1306310"/>
                  <a:ext cx="20053" cy="48203"/>
                </a:xfrm>
                <a:custGeom>
                  <a:avLst/>
                  <a:gdLst>
                    <a:gd name="connsiteX0" fmla="*/ 20054 w 20053"/>
                    <a:gd name="connsiteY0" fmla="*/ 0 h 48203"/>
                    <a:gd name="connsiteX1" fmla="*/ 14449 w 20053"/>
                    <a:gd name="connsiteY1" fmla="*/ 17936 h 48203"/>
                    <a:gd name="connsiteX2" fmla="*/ 4484 w 20053"/>
                    <a:gd name="connsiteY2" fmla="*/ 32260 h 48203"/>
                    <a:gd name="connsiteX3" fmla="*/ 0 w 20053"/>
                    <a:gd name="connsiteY3" fmla="*/ 48204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0"/>
                      </a:moveTo>
                      <a:cubicBezTo>
                        <a:pt x="19182" y="8345"/>
                        <a:pt x="16691" y="14200"/>
                        <a:pt x="14449" y="17936"/>
                      </a:cubicBezTo>
                      <a:cubicBezTo>
                        <a:pt x="10961" y="24040"/>
                        <a:pt x="7847" y="25908"/>
                        <a:pt x="4484" y="32260"/>
                      </a:cubicBezTo>
                      <a:cubicBezTo>
                        <a:pt x="1246" y="38364"/>
                        <a:pt x="374" y="44218"/>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6" name="Freeform 8724">
                  <a:extLst>
                    <a:ext uri="{FF2B5EF4-FFF2-40B4-BE49-F238E27FC236}">
                      <a16:creationId xmlns:a16="http://schemas.microsoft.com/office/drawing/2014/main" id="{F9F1B7DE-A7D4-6A7F-035F-56482C9579B6}"/>
                    </a:ext>
                  </a:extLst>
                </p:cNvPr>
                <p:cNvSpPr/>
                <p:nvPr/>
              </p:nvSpPr>
              <p:spPr>
                <a:xfrm>
                  <a:off x="2394306" y="1344461"/>
                  <a:ext cx="26770" cy="26635"/>
                </a:xfrm>
                <a:custGeom>
                  <a:avLst/>
                  <a:gdLst>
                    <a:gd name="connsiteX0" fmla="*/ 1063 w 26770"/>
                    <a:gd name="connsiteY0" fmla="*/ 7935 h 26635"/>
                    <a:gd name="connsiteX1" fmla="*/ 18625 w 26770"/>
                    <a:gd name="connsiteY1" fmla="*/ 1085 h 26635"/>
                    <a:gd name="connsiteX2" fmla="*/ 25725 w 26770"/>
                    <a:gd name="connsiteY2" fmla="*/ 18647 h 26635"/>
                    <a:gd name="connsiteX3" fmla="*/ 8163 w 26770"/>
                    <a:gd name="connsiteY3" fmla="*/ 25498 h 26635"/>
                    <a:gd name="connsiteX4" fmla="*/ 1063 w 26770"/>
                    <a:gd name="connsiteY4" fmla="*/ 7935 h 2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0" h="26635">
                      <a:moveTo>
                        <a:pt x="1063" y="7935"/>
                      </a:moveTo>
                      <a:cubicBezTo>
                        <a:pt x="3927" y="1209"/>
                        <a:pt x="11899" y="-1780"/>
                        <a:pt x="18625" y="1085"/>
                      </a:cubicBezTo>
                      <a:cubicBezTo>
                        <a:pt x="25351" y="4074"/>
                        <a:pt x="28590" y="11921"/>
                        <a:pt x="25725" y="18647"/>
                      </a:cubicBezTo>
                      <a:cubicBezTo>
                        <a:pt x="22860" y="25373"/>
                        <a:pt x="15013" y="28487"/>
                        <a:pt x="8163" y="25498"/>
                      </a:cubicBezTo>
                      <a:cubicBezTo>
                        <a:pt x="1312" y="22509"/>
                        <a:pt x="-1802" y="14662"/>
                        <a:pt x="1063"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7" name="Freeform 8725">
                  <a:extLst>
                    <a:ext uri="{FF2B5EF4-FFF2-40B4-BE49-F238E27FC236}">
                      <a16:creationId xmlns:a16="http://schemas.microsoft.com/office/drawing/2014/main" id="{6628F1A2-1201-80FF-044B-7D2D49C0F31D}"/>
                    </a:ext>
                  </a:extLst>
                </p:cNvPr>
                <p:cNvSpPr/>
                <p:nvPr/>
              </p:nvSpPr>
              <p:spPr>
                <a:xfrm>
                  <a:off x="2428625" y="1250384"/>
                  <a:ext cx="21299" cy="47705"/>
                </a:xfrm>
                <a:custGeom>
                  <a:avLst/>
                  <a:gdLst>
                    <a:gd name="connsiteX0" fmla="*/ 21299 w 21299"/>
                    <a:gd name="connsiteY0" fmla="*/ 0 h 47705"/>
                    <a:gd name="connsiteX1" fmla="*/ 12082 w 21299"/>
                    <a:gd name="connsiteY1" fmla="*/ 16442 h 47705"/>
                    <a:gd name="connsiteX2" fmla="*/ 8470 w 21299"/>
                    <a:gd name="connsiteY2" fmla="*/ 33506 h 47705"/>
                    <a:gd name="connsiteX3" fmla="*/ 0 w 21299"/>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299" h="47705">
                      <a:moveTo>
                        <a:pt x="21299" y="0"/>
                      </a:moveTo>
                      <a:cubicBezTo>
                        <a:pt x="15819" y="6352"/>
                        <a:pt x="13328" y="12207"/>
                        <a:pt x="12082" y="16442"/>
                      </a:cubicBezTo>
                      <a:cubicBezTo>
                        <a:pt x="10089" y="23168"/>
                        <a:pt x="10837" y="26780"/>
                        <a:pt x="8470" y="33506"/>
                      </a:cubicBezTo>
                      <a:cubicBezTo>
                        <a:pt x="6228"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8" name="Freeform 8726">
                  <a:extLst>
                    <a:ext uri="{FF2B5EF4-FFF2-40B4-BE49-F238E27FC236}">
                      <a16:creationId xmlns:a16="http://schemas.microsoft.com/office/drawing/2014/main" id="{465B81F6-DE49-B430-EDD7-78642ECF14F1}"/>
                    </a:ext>
                  </a:extLst>
                </p:cNvPr>
                <p:cNvSpPr/>
                <p:nvPr/>
              </p:nvSpPr>
              <p:spPr>
                <a:xfrm>
                  <a:off x="2438465" y="1248516"/>
                  <a:ext cx="19929" cy="48203"/>
                </a:xfrm>
                <a:custGeom>
                  <a:avLst/>
                  <a:gdLst>
                    <a:gd name="connsiteX0" fmla="*/ 0 w 19929"/>
                    <a:gd name="connsiteY0" fmla="*/ 48204 h 48203"/>
                    <a:gd name="connsiteX1" fmla="*/ 5605 w 19929"/>
                    <a:gd name="connsiteY1" fmla="*/ 30268 h 48203"/>
                    <a:gd name="connsiteX2" fmla="*/ 15445 w 19929"/>
                    <a:gd name="connsiteY2" fmla="*/ 15943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872" y="39858"/>
                        <a:pt x="3363" y="34004"/>
                        <a:pt x="5605" y="30268"/>
                      </a:cubicBezTo>
                      <a:cubicBezTo>
                        <a:pt x="9093" y="24164"/>
                        <a:pt x="12207" y="22171"/>
                        <a:pt x="15445" y="15943"/>
                      </a:cubicBezTo>
                      <a:cubicBezTo>
                        <a:pt x="18559" y="9840"/>
                        <a:pt x="19555" y="3986"/>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9" name="Freeform 8727">
                  <a:extLst>
                    <a:ext uri="{FF2B5EF4-FFF2-40B4-BE49-F238E27FC236}">
                      <a16:creationId xmlns:a16="http://schemas.microsoft.com/office/drawing/2014/main" id="{C137A4CD-33CC-8E0E-54E8-470DD238C44C}"/>
                    </a:ext>
                  </a:extLst>
                </p:cNvPr>
                <p:cNvSpPr/>
                <p:nvPr/>
              </p:nvSpPr>
              <p:spPr>
                <a:xfrm>
                  <a:off x="2442861" y="1232006"/>
                  <a:ext cx="26333" cy="26542"/>
                </a:xfrm>
                <a:custGeom>
                  <a:avLst/>
                  <a:gdLst>
                    <a:gd name="connsiteX0" fmla="*/ 25249 w 26333"/>
                    <a:gd name="connsiteY0" fmla="*/ 18503 h 26542"/>
                    <a:gd name="connsiteX1" fmla="*/ 7935 w 26333"/>
                    <a:gd name="connsiteY1" fmla="*/ 25478 h 26542"/>
                    <a:gd name="connsiteX2" fmla="*/ 1085 w 26333"/>
                    <a:gd name="connsiteY2" fmla="*/ 8040 h 26542"/>
                    <a:gd name="connsiteX3" fmla="*/ 18398 w 26333"/>
                    <a:gd name="connsiteY3" fmla="*/ 1065 h 26542"/>
                    <a:gd name="connsiteX4" fmla="*/ 25249 w 2633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542">
                      <a:moveTo>
                        <a:pt x="25249" y="18503"/>
                      </a:moveTo>
                      <a:cubicBezTo>
                        <a:pt x="22384" y="25229"/>
                        <a:pt x="14662" y="28343"/>
                        <a:pt x="7935" y="25478"/>
                      </a:cubicBezTo>
                      <a:cubicBezTo>
                        <a:pt x="1209" y="22613"/>
                        <a:pt x="-1780" y="14766"/>
                        <a:pt x="1085" y="8040"/>
                      </a:cubicBezTo>
                      <a:cubicBezTo>
                        <a:pt x="3950" y="1314"/>
                        <a:pt x="11672" y="-1800"/>
                        <a:pt x="18398" y="1065"/>
                      </a:cubicBezTo>
                      <a:cubicBezTo>
                        <a:pt x="25124" y="4054"/>
                        <a:pt x="28114" y="11777"/>
                        <a:pt x="2524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4" name="Graphic 2987">
                <a:extLst>
                  <a:ext uri="{FF2B5EF4-FFF2-40B4-BE49-F238E27FC236}">
                    <a16:creationId xmlns:a16="http://schemas.microsoft.com/office/drawing/2014/main" id="{E7418D38-48AC-5B9B-CFAD-904A8882BB7A}"/>
                  </a:ext>
                </a:extLst>
              </p:cNvPr>
              <p:cNvGrpSpPr/>
              <p:nvPr/>
            </p:nvGrpSpPr>
            <p:grpSpPr>
              <a:xfrm>
                <a:off x="2366705" y="1220564"/>
                <a:ext cx="75640" cy="138522"/>
                <a:chOff x="2366705" y="1220564"/>
                <a:chExt cx="75640" cy="138522"/>
              </a:xfrm>
              <a:grpFill/>
            </p:grpSpPr>
            <p:sp>
              <p:nvSpPr>
                <p:cNvPr id="5568" name="Freeform 8729">
                  <a:extLst>
                    <a:ext uri="{FF2B5EF4-FFF2-40B4-BE49-F238E27FC236}">
                      <a16:creationId xmlns:a16="http://schemas.microsoft.com/office/drawing/2014/main" id="{1973FDCB-FAAF-6FD7-9813-8DFA9650653C}"/>
                    </a:ext>
                  </a:extLst>
                </p:cNvPr>
                <p:cNvSpPr/>
                <p:nvPr/>
              </p:nvSpPr>
              <p:spPr>
                <a:xfrm>
                  <a:off x="2386400" y="1293356"/>
                  <a:ext cx="21423" cy="47456"/>
                </a:xfrm>
                <a:custGeom>
                  <a:avLst/>
                  <a:gdLst>
                    <a:gd name="connsiteX0" fmla="*/ 0 w 21423"/>
                    <a:gd name="connsiteY0" fmla="*/ 47456 h 47456"/>
                    <a:gd name="connsiteX1" fmla="*/ 9342 w 21423"/>
                    <a:gd name="connsiteY1" fmla="*/ 31139 h 47456"/>
                    <a:gd name="connsiteX2" fmla="*/ 12954 w 21423"/>
                    <a:gd name="connsiteY2" fmla="*/ 14075 h 47456"/>
                    <a:gd name="connsiteX3" fmla="*/ 21424 w 21423"/>
                    <a:gd name="connsiteY3" fmla="*/ 0 h 47456"/>
                  </a:gdLst>
                  <a:ahLst/>
                  <a:cxnLst>
                    <a:cxn ang="0">
                      <a:pos x="connsiteX0" y="connsiteY0"/>
                    </a:cxn>
                    <a:cxn ang="0">
                      <a:pos x="connsiteX1" y="connsiteY1"/>
                    </a:cxn>
                    <a:cxn ang="0">
                      <a:pos x="connsiteX2" y="connsiteY2"/>
                    </a:cxn>
                    <a:cxn ang="0">
                      <a:pos x="connsiteX3" y="connsiteY3"/>
                    </a:cxn>
                  </a:cxnLst>
                  <a:rect l="l" t="t" r="r" b="b"/>
                  <a:pathLst>
                    <a:path w="21423" h="47456">
                      <a:moveTo>
                        <a:pt x="0" y="47456"/>
                      </a:moveTo>
                      <a:cubicBezTo>
                        <a:pt x="5481" y="41104"/>
                        <a:pt x="7972" y="35250"/>
                        <a:pt x="9342" y="31139"/>
                      </a:cubicBezTo>
                      <a:cubicBezTo>
                        <a:pt x="11459" y="24413"/>
                        <a:pt x="10587" y="20801"/>
                        <a:pt x="12954" y="14075"/>
                      </a:cubicBezTo>
                      <a:cubicBezTo>
                        <a:pt x="15196" y="7598"/>
                        <a:pt x="18808" y="2865"/>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9" name="Freeform 8730">
                  <a:extLst>
                    <a:ext uri="{FF2B5EF4-FFF2-40B4-BE49-F238E27FC236}">
                      <a16:creationId xmlns:a16="http://schemas.microsoft.com/office/drawing/2014/main" id="{CDAC17D7-D962-A273-4049-9D35011BD29C}"/>
                    </a:ext>
                  </a:extLst>
                </p:cNvPr>
                <p:cNvSpPr/>
                <p:nvPr/>
              </p:nvSpPr>
              <p:spPr>
                <a:xfrm>
                  <a:off x="2377805" y="1294602"/>
                  <a:ext cx="20302" cy="48079"/>
                </a:xfrm>
                <a:custGeom>
                  <a:avLst/>
                  <a:gdLst>
                    <a:gd name="connsiteX0" fmla="*/ 20303 w 20302"/>
                    <a:gd name="connsiteY0" fmla="*/ 0 h 48079"/>
                    <a:gd name="connsiteX1" fmla="*/ 14573 w 20302"/>
                    <a:gd name="connsiteY1" fmla="*/ 17936 h 48079"/>
                    <a:gd name="connsiteX2" fmla="*/ 4609 w 20302"/>
                    <a:gd name="connsiteY2" fmla="*/ 32260 h 48079"/>
                    <a:gd name="connsiteX3" fmla="*/ 0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20303" y="0"/>
                      </a:moveTo>
                      <a:cubicBezTo>
                        <a:pt x="19306" y="8345"/>
                        <a:pt x="16815" y="14200"/>
                        <a:pt x="14573" y="17936"/>
                      </a:cubicBezTo>
                      <a:cubicBezTo>
                        <a:pt x="11086" y="24040"/>
                        <a:pt x="7847" y="25908"/>
                        <a:pt x="4609" y="32260"/>
                      </a:cubicBezTo>
                      <a:cubicBezTo>
                        <a:pt x="1370" y="38364"/>
                        <a:pt x="374"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0" name="Freeform 8731">
                  <a:extLst>
                    <a:ext uri="{FF2B5EF4-FFF2-40B4-BE49-F238E27FC236}">
                      <a16:creationId xmlns:a16="http://schemas.microsoft.com/office/drawing/2014/main" id="{D51507AB-2FE0-2386-9FB2-245A81430458}"/>
                    </a:ext>
                  </a:extLst>
                </p:cNvPr>
                <p:cNvSpPr/>
                <p:nvPr/>
              </p:nvSpPr>
              <p:spPr>
                <a:xfrm>
                  <a:off x="2366705" y="1332628"/>
                  <a:ext cx="26915" cy="26458"/>
                </a:xfrm>
                <a:custGeom>
                  <a:avLst/>
                  <a:gdLst>
                    <a:gd name="connsiteX0" fmla="*/ 1136 w 26915"/>
                    <a:gd name="connsiteY0" fmla="*/ 7935 h 26458"/>
                    <a:gd name="connsiteX1" fmla="*/ 18823 w 26915"/>
                    <a:gd name="connsiteY1" fmla="*/ 1085 h 26458"/>
                    <a:gd name="connsiteX2" fmla="*/ 25798 w 26915"/>
                    <a:gd name="connsiteY2" fmla="*/ 18523 h 26458"/>
                    <a:gd name="connsiteX3" fmla="*/ 8111 w 26915"/>
                    <a:gd name="connsiteY3" fmla="*/ 25373 h 26458"/>
                    <a:gd name="connsiteX4" fmla="*/ 1136 w 26915"/>
                    <a:gd name="connsiteY4" fmla="*/ 7935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5" h="26458">
                      <a:moveTo>
                        <a:pt x="1136" y="7935"/>
                      </a:moveTo>
                      <a:cubicBezTo>
                        <a:pt x="4125" y="1209"/>
                        <a:pt x="11972" y="-1780"/>
                        <a:pt x="18823" y="1085"/>
                      </a:cubicBezTo>
                      <a:cubicBezTo>
                        <a:pt x="25549" y="4074"/>
                        <a:pt x="28788" y="11797"/>
                        <a:pt x="25798" y="18523"/>
                      </a:cubicBezTo>
                      <a:cubicBezTo>
                        <a:pt x="22809" y="25249"/>
                        <a:pt x="14962" y="28238"/>
                        <a:pt x="8111" y="25373"/>
                      </a:cubicBezTo>
                      <a:cubicBezTo>
                        <a:pt x="1260" y="22509"/>
                        <a:pt x="-1854" y="14537"/>
                        <a:pt x="1136"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1" name="Freeform 8732">
                  <a:extLst>
                    <a:ext uri="{FF2B5EF4-FFF2-40B4-BE49-F238E27FC236}">
                      <a16:creationId xmlns:a16="http://schemas.microsoft.com/office/drawing/2014/main" id="{F9C132B0-2341-6040-E5F5-533C425F8A8A}"/>
                    </a:ext>
                  </a:extLst>
                </p:cNvPr>
                <p:cNvSpPr/>
                <p:nvPr/>
              </p:nvSpPr>
              <p:spPr>
                <a:xfrm>
                  <a:off x="2401347" y="1238676"/>
                  <a:ext cx="21673" cy="47331"/>
                </a:xfrm>
                <a:custGeom>
                  <a:avLst/>
                  <a:gdLst>
                    <a:gd name="connsiteX0" fmla="*/ 21673 w 21673"/>
                    <a:gd name="connsiteY0" fmla="*/ 0 h 47331"/>
                    <a:gd name="connsiteX1" fmla="*/ 12331 w 21673"/>
                    <a:gd name="connsiteY1" fmla="*/ 16317 h 47331"/>
                    <a:gd name="connsiteX2" fmla="*/ 8595 w 21673"/>
                    <a:gd name="connsiteY2" fmla="*/ 33257 h 47331"/>
                    <a:gd name="connsiteX3" fmla="*/ 0 w 21673"/>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673" h="47331">
                      <a:moveTo>
                        <a:pt x="21673" y="0"/>
                      </a:moveTo>
                      <a:cubicBezTo>
                        <a:pt x="16193" y="6352"/>
                        <a:pt x="13701" y="12207"/>
                        <a:pt x="12331" y="16317"/>
                      </a:cubicBezTo>
                      <a:cubicBezTo>
                        <a:pt x="10214" y="23043"/>
                        <a:pt x="10961" y="26655"/>
                        <a:pt x="8595" y="33257"/>
                      </a:cubicBezTo>
                      <a:cubicBezTo>
                        <a:pt x="6228" y="39734"/>
                        <a:pt x="2740"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2" name="Freeform 8733">
                  <a:extLst>
                    <a:ext uri="{FF2B5EF4-FFF2-40B4-BE49-F238E27FC236}">
                      <a16:creationId xmlns:a16="http://schemas.microsoft.com/office/drawing/2014/main" id="{40DDB30D-7E34-EF82-B166-FF191BBF6BF0}"/>
                    </a:ext>
                  </a:extLst>
                </p:cNvPr>
                <p:cNvSpPr/>
                <p:nvPr/>
              </p:nvSpPr>
              <p:spPr>
                <a:xfrm>
                  <a:off x="2411312" y="1236932"/>
                  <a:ext cx="20302" cy="48079"/>
                </a:xfrm>
                <a:custGeom>
                  <a:avLst/>
                  <a:gdLst>
                    <a:gd name="connsiteX0" fmla="*/ 0 w 20302"/>
                    <a:gd name="connsiteY0" fmla="*/ 48079 h 48079"/>
                    <a:gd name="connsiteX1" fmla="*/ 5730 w 20302"/>
                    <a:gd name="connsiteY1" fmla="*/ 30143 h 48079"/>
                    <a:gd name="connsiteX2" fmla="*/ 15694 w 20302"/>
                    <a:gd name="connsiteY2" fmla="*/ 15819 h 48079"/>
                    <a:gd name="connsiteX3" fmla="*/ 20303 w 20302"/>
                    <a:gd name="connsiteY3" fmla="*/ 0 h 48079"/>
                  </a:gdLst>
                  <a:ahLst/>
                  <a:cxnLst>
                    <a:cxn ang="0">
                      <a:pos x="connsiteX0" y="connsiteY0"/>
                    </a:cxn>
                    <a:cxn ang="0">
                      <a:pos x="connsiteX1" y="connsiteY1"/>
                    </a:cxn>
                    <a:cxn ang="0">
                      <a:pos x="connsiteX2" y="connsiteY2"/>
                    </a:cxn>
                    <a:cxn ang="0">
                      <a:pos x="connsiteX3" y="connsiteY3"/>
                    </a:cxn>
                  </a:cxnLst>
                  <a:rect l="l" t="t" r="r" b="b"/>
                  <a:pathLst>
                    <a:path w="20302" h="48079">
                      <a:moveTo>
                        <a:pt x="0" y="48079"/>
                      </a:moveTo>
                      <a:cubicBezTo>
                        <a:pt x="996" y="39734"/>
                        <a:pt x="3488" y="33880"/>
                        <a:pt x="5730" y="30143"/>
                      </a:cubicBezTo>
                      <a:cubicBezTo>
                        <a:pt x="9217" y="24040"/>
                        <a:pt x="12331" y="22171"/>
                        <a:pt x="15694" y="15819"/>
                      </a:cubicBezTo>
                      <a:cubicBezTo>
                        <a:pt x="18933" y="9716"/>
                        <a:pt x="19929" y="3861"/>
                        <a:pt x="203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3" name="Freeform 8734">
                  <a:extLst>
                    <a:ext uri="{FF2B5EF4-FFF2-40B4-BE49-F238E27FC236}">
                      <a16:creationId xmlns:a16="http://schemas.microsoft.com/office/drawing/2014/main" id="{EB977275-E8AB-B944-4EBF-D0A346DE9810}"/>
                    </a:ext>
                  </a:extLst>
                </p:cNvPr>
                <p:cNvSpPr/>
                <p:nvPr/>
              </p:nvSpPr>
              <p:spPr>
                <a:xfrm>
                  <a:off x="2416007" y="1220564"/>
                  <a:ext cx="26338" cy="26400"/>
                </a:xfrm>
                <a:custGeom>
                  <a:avLst/>
                  <a:gdLst>
                    <a:gd name="connsiteX0" fmla="*/ 25198 w 26338"/>
                    <a:gd name="connsiteY0" fmla="*/ 18361 h 26400"/>
                    <a:gd name="connsiteX1" fmla="*/ 7885 w 26338"/>
                    <a:gd name="connsiteY1" fmla="*/ 25336 h 26400"/>
                    <a:gd name="connsiteX2" fmla="*/ 1159 w 26338"/>
                    <a:gd name="connsiteY2" fmla="*/ 8022 h 26400"/>
                    <a:gd name="connsiteX3" fmla="*/ 18472 w 26338"/>
                    <a:gd name="connsiteY3" fmla="*/ 1047 h 26400"/>
                    <a:gd name="connsiteX4" fmla="*/ 25198 w 26338"/>
                    <a:gd name="connsiteY4" fmla="*/ 18361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00">
                      <a:moveTo>
                        <a:pt x="25198" y="18361"/>
                      </a:moveTo>
                      <a:cubicBezTo>
                        <a:pt x="22333" y="25087"/>
                        <a:pt x="14486" y="28201"/>
                        <a:pt x="7885" y="25336"/>
                      </a:cubicBezTo>
                      <a:cubicBezTo>
                        <a:pt x="1159" y="22471"/>
                        <a:pt x="-1831" y="14624"/>
                        <a:pt x="1159" y="8022"/>
                      </a:cubicBezTo>
                      <a:cubicBezTo>
                        <a:pt x="4148" y="1421"/>
                        <a:pt x="11871" y="-1818"/>
                        <a:pt x="18472" y="1047"/>
                      </a:cubicBezTo>
                      <a:cubicBezTo>
                        <a:pt x="25074" y="3787"/>
                        <a:pt x="28188" y="11634"/>
                        <a:pt x="25198" y="1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5" name="Graphic 2987">
                <a:extLst>
                  <a:ext uri="{FF2B5EF4-FFF2-40B4-BE49-F238E27FC236}">
                    <a16:creationId xmlns:a16="http://schemas.microsoft.com/office/drawing/2014/main" id="{8C9A161A-393C-6DE0-A056-AB1221990A41}"/>
                  </a:ext>
                </a:extLst>
              </p:cNvPr>
              <p:cNvGrpSpPr/>
              <p:nvPr/>
            </p:nvGrpSpPr>
            <p:grpSpPr>
              <a:xfrm>
                <a:off x="2339178" y="1208818"/>
                <a:ext cx="76284" cy="138385"/>
                <a:chOff x="2339178" y="1208818"/>
                <a:chExt cx="76284" cy="138385"/>
              </a:xfrm>
              <a:grpFill/>
            </p:grpSpPr>
            <p:sp>
              <p:nvSpPr>
                <p:cNvPr id="5562" name="Freeform 8736">
                  <a:extLst>
                    <a:ext uri="{FF2B5EF4-FFF2-40B4-BE49-F238E27FC236}">
                      <a16:creationId xmlns:a16="http://schemas.microsoft.com/office/drawing/2014/main" id="{138CB4D6-E872-B4AF-AA9C-4C5A3F1438BA}"/>
                    </a:ext>
                  </a:extLst>
                </p:cNvPr>
                <p:cNvSpPr/>
                <p:nvPr/>
              </p:nvSpPr>
              <p:spPr>
                <a:xfrm>
                  <a:off x="2358873" y="1281523"/>
                  <a:ext cx="21797" cy="47331"/>
                </a:xfrm>
                <a:custGeom>
                  <a:avLst/>
                  <a:gdLst>
                    <a:gd name="connsiteX0" fmla="*/ 0 w 21797"/>
                    <a:gd name="connsiteY0" fmla="*/ 47332 h 47331"/>
                    <a:gd name="connsiteX1" fmla="*/ 9466 w 21797"/>
                    <a:gd name="connsiteY1" fmla="*/ 31015 h 47331"/>
                    <a:gd name="connsiteX2" fmla="*/ 13203 w 21797"/>
                    <a:gd name="connsiteY2" fmla="*/ 14075 h 47331"/>
                    <a:gd name="connsiteX3" fmla="*/ 21798 w 21797"/>
                    <a:gd name="connsiteY3" fmla="*/ 0 h 47331"/>
                  </a:gdLst>
                  <a:ahLst/>
                  <a:cxnLst>
                    <a:cxn ang="0">
                      <a:pos x="connsiteX0" y="connsiteY0"/>
                    </a:cxn>
                    <a:cxn ang="0">
                      <a:pos x="connsiteX1" y="connsiteY1"/>
                    </a:cxn>
                    <a:cxn ang="0">
                      <a:pos x="connsiteX2" y="connsiteY2"/>
                    </a:cxn>
                    <a:cxn ang="0">
                      <a:pos x="connsiteX3" y="connsiteY3"/>
                    </a:cxn>
                  </a:cxnLst>
                  <a:rect l="l" t="t" r="r" b="b"/>
                  <a:pathLst>
                    <a:path w="21797" h="47331">
                      <a:moveTo>
                        <a:pt x="0" y="47332"/>
                      </a:moveTo>
                      <a:cubicBezTo>
                        <a:pt x="5605" y="40979"/>
                        <a:pt x="8096" y="35125"/>
                        <a:pt x="9466" y="31015"/>
                      </a:cubicBezTo>
                      <a:cubicBezTo>
                        <a:pt x="11584" y="24289"/>
                        <a:pt x="10836" y="20677"/>
                        <a:pt x="13203" y="14075"/>
                      </a:cubicBezTo>
                      <a:cubicBezTo>
                        <a:pt x="15570" y="7598"/>
                        <a:pt x="19182" y="2865"/>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3" name="Freeform 8737">
                  <a:extLst>
                    <a:ext uri="{FF2B5EF4-FFF2-40B4-BE49-F238E27FC236}">
                      <a16:creationId xmlns:a16="http://schemas.microsoft.com/office/drawing/2014/main" id="{79F248E8-128B-F239-8614-25956C61C653}"/>
                    </a:ext>
                  </a:extLst>
                </p:cNvPr>
                <p:cNvSpPr/>
                <p:nvPr/>
              </p:nvSpPr>
              <p:spPr>
                <a:xfrm>
                  <a:off x="2350403" y="1282769"/>
                  <a:ext cx="20427" cy="47954"/>
                </a:xfrm>
                <a:custGeom>
                  <a:avLst/>
                  <a:gdLst>
                    <a:gd name="connsiteX0" fmla="*/ 20427 w 20427"/>
                    <a:gd name="connsiteY0" fmla="*/ 0 h 47954"/>
                    <a:gd name="connsiteX1" fmla="*/ 14698 w 20427"/>
                    <a:gd name="connsiteY1" fmla="*/ 17936 h 47954"/>
                    <a:gd name="connsiteX2" fmla="*/ 4609 w 20427"/>
                    <a:gd name="connsiteY2" fmla="*/ 32136 h 47954"/>
                    <a:gd name="connsiteX3" fmla="*/ 0 w 20427"/>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7" h="47954">
                      <a:moveTo>
                        <a:pt x="20427" y="0"/>
                      </a:moveTo>
                      <a:cubicBezTo>
                        <a:pt x="19431" y="8345"/>
                        <a:pt x="16815" y="14075"/>
                        <a:pt x="14698" y="17936"/>
                      </a:cubicBezTo>
                      <a:cubicBezTo>
                        <a:pt x="11210" y="24040"/>
                        <a:pt x="7972" y="25908"/>
                        <a:pt x="4609" y="32136"/>
                      </a:cubicBezTo>
                      <a:cubicBezTo>
                        <a:pt x="1370" y="38239"/>
                        <a:pt x="374" y="43969"/>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4" name="Freeform 8738">
                  <a:extLst>
                    <a:ext uri="{FF2B5EF4-FFF2-40B4-BE49-F238E27FC236}">
                      <a16:creationId xmlns:a16="http://schemas.microsoft.com/office/drawing/2014/main" id="{12007F0E-2CFB-7E2D-7C2B-2DFE6FC03378}"/>
                    </a:ext>
                  </a:extLst>
                </p:cNvPr>
                <p:cNvSpPr/>
                <p:nvPr/>
              </p:nvSpPr>
              <p:spPr>
                <a:xfrm>
                  <a:off x="2339178" y="1320721"/>
                  <a:ext cx="26862" cy="26481"/>
                </a:xfrm>
                <a:custGeom>
                  <a:avLst/>
                  <a:gdLst>
                    <a:gd name="connsiteX0" fmla="*/ 1136 w 26862"/>
                    <a:gd name="connsiteY0" fmla="*/ 7885 h 26481"/>
                    <a:gd name="connsiteX1" fmla="*/ 18823 w 26862"/>
                    <a:gd name="connsiteY1" fmla="*/ 1159 h 26481"/>
                    <a:gd name="connsiteX2" fmla="*/ 25798 w 26862"/>
                    <a:gd name="connsiteY2" fmla="*/ 18597 h 26481"/>
                    <a:gd name="connsiteX3" fmla="*/ 8111 w 26862"/>
                    <a:gd name="connsiteY3" fmla="*/ 25323 h 26481"/>
                    <a:gd name="connsiteX4" fmla="*/ 1136 w 26862"/>
                    <a:gd name="connsiteY4" fmla="*/ 7885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81">
                      <a:moveTo>
                        <a:pt x="1136" y="7885"/>
                      </a:moveTo>
                      <a:cubicBezTo>
                        <a:pt x="4125" y="1159"/>
                        <a:pt x="12097" y="-1831"/>
                        <a:pt x="18823" y="1159"/>
                      </a:cubicBezTo>
                      <a:cubicBezTo>
                        <a:pt x="25549" y="4148"/>
                        <a:pt x="28663" y="11871"/>
                        <a:pt x="25798" y="18597"/>
                      </a:cubicBezTo>
                      <a:cubicBezTo>
                        <a:pt x="22933" y="25323"/>
                        <a:pt x="14962" y="28312"/>
                        <a:pt x="8111" y="25323"/>
                      </a:cubicBezTo>
                      <a:cubicBezTo>
                        <a:pt x="1260" y="22334"/>
                        <a:pt x="-1854" y="14486"/>
                        <a:pt x="1136"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5" name="Freeform 8739">
                  <a:extLst>
                    <a:ext uri="{FF2B5EF4-FFF2-40B4-BE49-F238E27FC236}">
                      <a16:creationId xmlns:a16="http://schemas.microsoft.com/office/drawing/2014/main" id="{121FEECB-55D2-54F7-96FA-A50B86A2840D}"/>
                    </a:ext>
                  </a:extLst>
                </p:cNvPr>
                <p:cNvSpPr/>
                <p:nvPr/>
              </p:nvSpPr>
              <p:spPr>
                <a:xfrm>
                  <a:off x="2374193" y="1227092"/>
                  <a:ext cx="21922" cy="47331"/>
                </a:xfrm>
                <a:custGeom>
                  <a:avLst/>
                  <a:gdLst>
                    <a:gd name="connsiteX0" fmla="*/ 21922 w 21922"/>
                    <a:gd name="connsiteY0" fmla="*/ 0 h 47331"/>
                    <a:gd name="connsiteX1" fmla="*/ 12456 w 21922"/>
                    <a:gd name="connsiteY1" fmla="*/ 16317 h 47331"/>
                    <a:gd name="connsiteX2" fmla="*/ 8595 w 21922"/>
                    <a:gd name="connsiteY2" fmla="*/ 33257 h 47331"/>
                    <a:gd name="connsiteX3" fmla="*/ 0 w 21922"/>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0"/>
                      </a:moveTo>
                      <a:cubicBezTo>
                        <a:pt x="16442" y="6352"/>
                        <a:pt x="13826" y="12207"/>
                        <a:pt x="12456" y="16317"/>
                      </a:cubicBezTo>
                      <a:cubicBezTo>
                        <a:pt x="10338" y="23043"/>
                        <a:pt x="11086" y="26655"/>
                        <a:pt x="8595" y="33257"/>
                      </a:cubicBezTo>
                      <a:cubicBezTo>
                        <a:pt x="6228" y="39734"/>
                        <a:pt x="2616"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6" name="Freeform 8740">
                  <a:extLst>
                    <a:ext uri="{FF2B5EF4-FFF2-40B4-BE49-F238E27FC236}">
                      <a16:creationId xmlns:a16="http://schemas.microsoft.com/office/drawing/2014/main" id="{89AD784D-28C5-4889-B40B-2079D0897418}"/>
                    </a:ext>
                  </a:extLst>
                </p:cNvPr>
                <p:cNvSpPr/>
                <p:nvPr/>
              </p:nvSpPr>
              <p:spPr>
                <a:xfrm>
                  <a:off x="2384033" y="1225099"/>
                  <a:ext cx="20427" cy="48079"/>
                </a:xfrm>
                <a:custGeom>
                  <a:avLst/>
                  <a:gdLst>
                    <a:gd name="connsiteX0" fmla="*/ 0 w 20427"/>
                    <a:gd name="connsiteY0" fmla="*/ 48079 h 48079"/>
                    <a:gd name="connsiteX1" fmla="*/ 5730 w 20427"/>
                    <a:gd name="connsiteY1" fmla="*/ 30143 h 48079"/>
                    <a:gd name="connsiteX2" fmla="*/ 15819 w 20427"/>
                    <a:gd name="connsiteY2" fmla="*/ 15819 h 48079"/>
                    <a:gd name="connsiteX3" fmla="*/ 20427 w 20427"/>
                    <a:gd name="connsiteY3" fmla="*/ 0 h 48079"/>
                  </a:gdLst>
                  <a:ahLst/>
                  <a:cxnLst>
                    <a:cxn ang="0">
                      <a:pos x="connsiteX0" y="connsiteY0"/>
                    </a:cxn>
                    <a:cxn ang="0">
                      <a:pos x="connsiteX1" y="connsiteY1"/>
                    </a:cxn>
                    <a:cxn ang="0">
                      <a:pos x="connsiteX2" y="connsiteY2"/>
                    </a:cxn>
                    <a:cxn ang="0">
                      <a:pos x="connsiteX3" y="connsiteY3"/>
                    </a:cxn>
                  </a:cxnLst>
                  <a:rect l="l" t="t" r="r" b="b"/>
                  <a:pathLst>
                    <a:path w="20427" h="48079">
                      <a:moveTo>
                        <a:pt x="0" y="48079"/>
                      </a:moveTo>
                      <a:cubicBezTo>
                        <a:pt x="996" y="39734"/>
                        <a:pt x="3612" y="34004"/>
                        <a:pt x="5730" y="30143"/>
                      </a:cubicBezTo>
                      <a:cubicBezTo>
                        <a:pt x="9217" y="24040"/>
                        <a:pt x="12456" y="22171"/>
                        <a:pt x="15819" y="15819"/>
                      </a:cubicBezTo>
                      <a:cubicBezTo>
                        <a:pt x="19057" y="9715"/>
                        <a:pt x="20054" y="3861"/>
                        <a:pt x="20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7" name="Freeform 8741">
                  <a:extLst>
                    <a:ext uri="{FF2B5EF4-FFF2-40B4-BE49-F238E27FC236}">
                      <a16:creationId xmlns:a16="http://schemas.microsoft.com/office/drawing/2014/main" id="{88926360-34D1-C66B-6A53-28D746B9DEB0}"/>
                    </a:ext>
                  </a:extLst>
                </p:cNvPr>
                <p:cNvSpPr/>
                <p:nvPr/>
              </p:nvSpPr>
              <p:spPr>
                <a:xfrm>
                  <a:off x="2389081" y="1208818"/>
                  <a:ext cx="26381" cy="26386"/>
                </a:xfrm>
                <a:custGeom>
                  <a:avLst/>
                  <a:gdLst>
                    <a:gd name="connsiteX0" fmla="*/ 25220 w 26381"/>
                    <a:gd name="connsiteY0" fmla="*/ 18398 h 26386"/>
                    <a:gd name="connsiteX1" fmla="*/ 7782 w 26381"/>
                    <a:gd name="connsiteY1" fmla="*/ 25249 h 26386"/>
                    <a:gd name="connsiteX2" fmla="*/ 1180 w 26381"/>
                    <a:gd name="connsiteY2" fmla="*/ 7935 h 26386"/>
                    <a:gd name="connsiteX3" fmla="*/ 18619 w 26381"/>
                    <a:gd name="connsiteY3" fmla="*/ 1085 h 26386"/>
                    <a:gd name="connsiteX4" fmla="*/ 25220 w 26381"/>
                    <a:gd name="connsiteY4" fmla="*/ 18398 h 2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386">
                      <a:moveTo>
                        <a:pt x="25220" y="18398"/>
                      </a:moveTo>
                      <a:cubicBezTo>
                        <a:pt x="22231" y="25124"/>
                        <a:pt x="14508" y="28238"/>
                        <a:pt x="7782" y="25249"/>
                      </a:cubicBezTo>
                      <a:cubicBezTo>
                        <a:pt x="1056" y="22384"/>
                        <a:pt x="-1809" y="14662"/>
                        <a:pt x="1180" y="7935"/>
                      </a:cubicBezTo>
                      <a:cubicBezTo>
                        <a:pt x="4170" y="1209"/>
                        <a:pt x="12017" y="-1780"/>
                        <a:pt x="18619" y="1085"/>
                      </a:cubicBezTo>
                      <a:cubicBezTo>
                        <a:pt x="25220" y="3950"/>
                        <a:pt x="28210" y="11672"/>
                        <a:pt x="25220" y="183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6" name="Graphic 2987">
                <a:extLst>
                  <a:ext uri="{FF2B5EF4-FFF2-40B4-BE49-F238E27FC236}">
                    <a16:creationId xmlns:a16="http://schemas.microsoft.com/office/drawing/2014/main" id="{A7000FFE-F775-93A9-C30C-190EE40BDE6D}"/>
                  </a:ext>
                </a:extLst>
              </p:cNvPr>
              <p:cNvGrpSpPr/>
              <p:nvPr/>
            </p:nvGrpSpPr>
            <p:grpSpPr>
              <a:xfrm>
                <a:off x="2311576" y="1197252"/>
                <a:ext cx="77000" cy="137993"/>
                <a:chOff x="2311576" y="1197252"/>
                <a:chExt cx="77000" cy="137993"/>
              </a:xfrm>
              <a:grpFill/>
            </p:grpSpPr>
            <p:sp>
              <p:nvSpPr>
                <p:cNvPr id="5556" name="Freeform 8743">
                  <a:extLst>
                    <a:ext uri="{FF2B5EF4-FFF2-40B4-BE49-F238E27FC236}">
                      <a16:creationId xmlns:a16="http://schemas.microsoft.com/office/drawing/2014/main" id="{E3B30336-22F2-CDBE-2200-1901A06072AE}"/>
                    </a:ext>
                  </a:extLst>
                </p:cNvPr>
                <p:cNvSpPr/>
                <p:nvPr/>
              </p:nvSpPr>
              <p:spPr>
                <a:xfrm>
                  <a:off x="2331346" y="1269690"/>
                  <a:ext cx="22046" cy="47331"/>
                </a:xfrm>
                <a:custGeom>
                  <a:avLst/>
                  <a:gdLst>
                    <a:gd name="connsiteX0" fmla="*/ 0 w 22046"/>
                    <a:gd name="connsiteY0" fmla="*/ 47332 h 47331"/>
                    <a:gd name="connsiteX1" fmla="*/ 9466 w 22046"/>
                    <a:gd name="connsiteY1" fmla="*/ 31015 h 47331"/>
                    <a:gd name="connsiteX2" fmla="*/ 13328 w 22046"/>
                    <a:gd name="connsiteY2" fmla="*/ 14075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5605" y="40979"/>
                        <a:pt x="8221" y="35250"/>
                        <a:pt x="9466" y="31015"/>
                      </a:cubicBezTo>
                      <a:cubicBezTo>
                        <a:pt x="11584" y="24413"/>
                        <a:pt x="10836" y="20677"/>
                        <a:pt x="13328" y="14075"/>
                      </a:cubicBezTo>
                      <a:cubicBezTo>
                        <a:pt x="15694" y="7598"/>
                        <a:pt x="19306" y="2989"/>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7" name="Freeform 8744">
                  <a:extLst>
                    <a:ext uri="{FF2B5EF4-FFF2-40B4-BE49-F238E27FC236}">
                      <a16:creationId xmlns:a16="http://schemas.microsoft.com/office/drawing/2014/main" id="{22351DBE-B35C-FFE5-756A-0A0BB6F4F92D}"/>
                    </a:ext>
                  </a:extLst>
                </p:cNvPr>
                <p:cNvSpPr/>
                <p:nvPr/>
              </p:nvSpPr>
              <p:spPr>
                <a:xfrm>
                  <a:off x="2322751" y="1270936"/>
                  <a:ext cx="20801" cy="47830"/>
                </a:xfrm>
                <a:custGeom>
                  <a:avLst/>
                  <a:gdLst>
                    <a:gd name="connsiteX0" fmla="*/ 20801 w 20801"/>
                    <a:gd name="connsiteY0" fmla="*/ 0 h 47830"/>
                    <a:gd name="connsiteX1" fmla="*/ 14947 w 20801"/>
                    <a:gd name="connsiteY1" fmla="*/ 17812 h 47830"/>
                    <a:gd name="connsiteX2" fmla="*/ 4733 w 20801"/>
                    <a:gd name="connsiteY2" fmla="*/ 32011 h 47830"/>
                    <a:gd name="connsiteX3" fmla="*/ 0 w 20801"/>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1" y="0"/>
                      </a:moveTo>
                      <a:cubicBezTo>
                        <a:pt x="19805" y="8345"/>
                        <a:pt x="17189" y="14075"/>
                        <a:pt x="14947" y="17812"/>
                      </a:cubicBezTo>
                      <a:cubicBezTo>
                        <a:pt x="11335" y="23791"/>
                        <a:pt x="8096" y="25783"/>
                        <a:pt x="4733" y="32011"/>
                      </a:cubicBezTo>
                      <a:cubicBezTo>
                        <a:pt x="1495" y="38115"/>
                        <a:pt x="374" y="43844"/>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8" name="Freeform 8745">
                  <a:extLst>
                    <a:ext uri="{FF2B5EF4-FFF2-40B4-BE49-F238E27FC236}">
                      <a16:creationId xmlns:a16="http://schemas.microsoft.com/office/drawing/2014/main" id="{4BB8F660-0E8B-24FA-47AD-A5F84FEAE981}"/>
                    </a:ext>
                  </a:extLst>
                </p:cNvPr>
                <p:cNvSpPr/>
                <p:nvPr/>
              </p:nvSpPr>
              <p:spPr>
                <a:xfrm>
                  <a:off x="2311576" y="1308783"/>
                  <a:ext cx="27010" cy="26462"/>
                </a:xfrm>
                <a:custGeom>
                  <a:avLst/>
                  <a:gdLst>
                    <a:gd name="connsiteX0" fmla="*/ 1210 w 27010"/>
                    <a:gd name="connsiteY0" fmla="*/ 7866 h 26462"/>
                    <a:gd name="connsiteX1" fmla="*/ 19022 w 27010"/>
                    <a:gd name="connsiteY1" fmla="*/ 1140 h 26462"/>
                    <a:gd name="connsiteX2" fmla="*/ 25872 w 27010"/>
                    <a:gd name="connsiteY2" fmla="*/ 18578 h 26462"/>
                    <a:gd name="connsiteX3" fmla="*/ 8061 w 27010"/>
                    <a:gd name="connsiteY3" fmla="*/ 25304 h 26462"/>
                    <a:gd name="connsiteX4" fmla="*/ 1210 w 27010"/>
                    <a:gd name="connsiteY4" fmla="*/ 7866 h 26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0" h="26462">
                      <a:moveTo>
                        <a:pt x="1210" y="7866"/>
                      </a:moveTo>
                      <a:cubicBezTo>
                        <a:pt x="4199" y="1265"/>
                        <a:pt x="12171" y="-1849"/>
                        <a:pt x="19022" y="1140"/>
                      </a:cubicBezTo>
                      <a:cubicBezTo>
                        <a:pt x="25748" y="4129"/>
                        <a:pt x="28862" y="11852"/>
                        <a:pt x="25872" y="18578"/>
                      </a:cubicBezTo>
                      <a:cubicBezTo>
                        <a:pt x="22883" y="25304"/>
                        <a:pt x="14911" y="28294"/>
                        <a:pt x="8061" y="25304"/>
                      </a:cubicBezTo>
                      <a:cubicBezTo>
                        <a:pt x="1210" y="22315"/>
                        <a:pt x="-1904" y="14468"/>
                        <a:pt x="1210" y="78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9" name="Freeform 8746">
                  <a:extLst>
                    <a:ext uri="{FF2B5EF4-FFF2-40B4-BE49-F238E27FC236}">
                      <a16:creationId xmlns:a16="http://schemas.microsoft.com/office/drawing/2014/main" id="{BC424350-D16B-F021-A9D3-56D346B79C25}"/>
                    </a:ext>
                  </a:extLst>
                </p:cNvPr>
                <p:cNvSpPr/>
                <p:nvPr/>
              </p:nvSpPr>
              <p:spPr>
                <a:xfrm>
                  <a:off x="2347164" y="1215383"/>
                  <a:ext cx="22046" cy="47331"/>
                </a:xfrm>
                <a:custGeom>
                  <a:avLst/>
                  <a:gdLst>
                    <a:gd name="connsiteX0" fmla="*/ 22047 w 22046"/>
                    <a:gd name="connsiteY0" fmla="*/ 0 h 47331"/>
                    <a:gd name="connsiteX1" fmla="*/ 12580 w 22046"/>
                    <a:gd name="connsiteY1" fmla="*/ 16317 h 47331"/>
                    <a:gd name="connsiteX2" fmla="*/ 8719 w 22046"/>
                    <a:gd name="connsiteY2" fmla="*/ 33257 h 47331"/>
                    <a:gd name="connsiteX3" fmla="*/ 0 w 22046"/>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2046" h="47331">
                      <a:moveTo>
                        <a:pt x="22047" y="0"/>
                      </a:moveTo>
                      <a:cubicBezTo>
                        <a:pt x="16442" y="6352"/>
                        <a:pt x="13826" y="12082"/>
                        <a:pt x="12580" y="16317"/>
                      </a:cubicBezTo>
                      <a:cubicBezTo>
                        <a:pt x="10463" y="22919"/>
                        <a:pt x="11086" y="26531"/>
                        <a:pt x="8719" y="33257"/>
                      </a:cubicBezTo>
                      <a:cubicBezTo>
                        <a:pt x="6352" y="39734"/>
                        <a:pt x="2740" y="44343"/>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0" name="Freeform 8747">
                  <a:extLst>
                    <a:ext uri="{FF2B5EF4-FFF2-40B4-BE49-F238E27FC236}">
                      <a16:creationId xmlns:a16="http://schemas.microsoft.com/office/drawing/2014/main" id="{AAA727F8-C05E-C17C-B988-2E2B2FE10913}"/>
                    </a:ext>
                  </a:extLst>
                </p:cNvPr>
                <p:cNvSpPr/>
                <p:nvPr/>
              </p:nvSpPr>
              <p:spPr>
                <a:xfrm>
                  <a:off x="2356880" y="1213639"/>
                  <a:ext cx="20676" cy="47830"/>
                </a:xfrm>
                <a:custGeom>
                  <a:avLst/>
                  <a:gdLst>
                    <a:gd name="connsiteX0" fmla="*/ 0 w 20676"/>
                    <a:gd name="connsiteY0" fmla="*/ 47830 h 47830"/>
                    <a:gd name="connsiteX1" fmla="*/ 5854 w 20676"/>
                    <a:gd name="connsiteY1" fmla="*/ 30018 h 47830"/>
                    <a:gd name="connsiteX2" fmla="*/ 15943 w 20676"/>
                    <a:gd name="connsiteY2" fmla="*/ 15819 h 47830"/>
                    <a:gd name="connsiteX3" fmla="*/ 20677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0" y="47830"/>
                      </a:moveTo>
                      <a:cubicBezTo>
                        <a:pt x="996" y="39485"/>
                        <a:pt x="3612" y="33755"/>
                        <a:pt x="5854" y="30018"/>
                      </a:cubicBezTo>
                      <a:cubicBezTo>
                        <a:pt x="9466" y="24040"/>
                        <a:pt x="12580" y="22047"/>
                        <a:pt x="15943" y="15819"/>
                      </a:cubicBezTo>
                      <a:cubicBezTo>
                        <a:pt x="19182" y="9715"/>
                        <a:pt x="20303" y="3986"/>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1" name="Freeform 8748">
                  <a:extLst>
                    <a:ext uri="{FF2B5EF4-FFF2-40B4-BE49-F238E27FC236}">
                      <a16:creationId xmlns:a16="http://schemas.microsoft.com/office/drawing/2014/main" id="{0260B1DE-5BB7-95E4-478C-0B7B81A32E97}"/>
                    </a:ext>
                  </a:extLst>
                </p:cNvPr>
                <p:cNvSpPr/>
                <p:nvPr/>
              </p:nvSpPr>
              <p:spPr>
                <a:xfrm>
                  <a:off x="2362176" y="1197252"/>
                  <a:ext cx="26400" cy="26315"/>
                </a:xfrm>
                <a:custGeom>
                  <a:avLst/>
                  <a:gdLst>
                    <a:gd name="connsiteX0" fmla="*/ 25220 w 26400"/>
                    <a:gd name="connsiteY0" fmla="*/ 18380 h 26315"/>
                    <a:gd name="connsiteX1" fmla="*/ 7782 w 26400"/>
                    <a:gd name="connsiteY1" fmla="*/ 25231 h 26315"/>
                    <a:gd name="connsiteX2" fmla="*/ 1180 w 26400"/>
                    <a:gd name="connsiteY2" fmla="*/ 7917 h 26315"/>
                    <a:gd name="connsiteX3" fmla="*/ 18618 w 26400"/>
                    <a:gd name="connsiteY3" fmla="*/ 1067 h 26315"/>
                    <a:gd name="connsiteX4" fmla="*/ 25220 w 26400"/>
                    <a:gd name="connsiteY4" fmla="*/ 18380 h 26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0" h="26315">
                      <a:moveTo>
                        <a:pt x="25220" y="18380"/>
                      </a:moveTo>
                      <a:cubicBezTo>
                        <a:pt x="22231" y="25106"/>
                        <a:pt x="14384" y="28096"/>
                        <a:pt x="7782" y="25231"/>
                      </a:cubicBezTo>
                      <a:cubicBezTo>
                        <a:pt x="1056" y="22366"/>
                        <a:pt x="-1809" y="14643"/>
                        <a:pt x="1180" y="7917"/>
                      </a:cubicBezTo>
                      <a:cubicBezTo>
                        <a:pt x="4170" y="1316"/>
                        <a:pt x="12017" y="-1798"/>
                        <a:pt x="18618" y="1067"/>
                      </a:cubicBezTo>
                      <a:cubicBezTo>
                        <a:pt x="25344" y="3931"/>
                        <a:pt x="28209" y="11654"/>
                        <a:pt x="25220" y="183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7" name="Graphic 2987">
                <a:extLst>
                  <a:ext uri="{FF2B5EF4-FFF2-40B4-BE49-F238E27FC236}">
                    <a16:creationId xmlns:a16="http://schemas.microsoft.com/office/drawing/2014/main" id="{11EFA4B0-5280-3D94-18DA-CDF9FACF523B}"/>
                  </a:ext>
                </a:extLst>
              </p:cNvPr>
              <p:cNvGrpSpPr/>
              <p:nvPr/>
            </p:nvGrpSpPr>
            <p:grpSpPr>
              <a:xfrm>
                <a:off x="2284274" y="1185206"/>
                <a:ext cx="77505" cy="137888"/>
                <a:chOff x="2284274" y="1185206"/>
                <a:chExt cx="77505" cy="137888"/>
              </a:xfrm>
              <a:grpFill/>
            </p:grpSpPr>
            <p:sp>
              <p:nvSpPr>
                <p:cNvPr id="5550" name="Freeform 8750">
                  <a:extLst>
                    <a:ext uri="{FF2B5EF4-FFF2-40B4-BE49-F238E27FC236}">
                      <a16:creationId xmlns:a16="http://schemas.microsoft.com/office/drawing/2014/main" id="{AFD48F5E-33B3-3028-B72D-3829A1CBB192}"/>
                    </a:ext>
                  </a:extLst>
                </p:cNvPr>
                <p:cNvSpPr/>
                <p:nvPr/>
              </p:nvSpPr>
              <p:spPr>
                <a:xfrm>
                  <a:off x="2303818" y="1257857"/>
                  <a:ext cx="22420" cy="47207"/>
                </a:xfrm>
                <a:custGeom>
                  <a:avLst/>
                  <a:gdLst>
                    <a:gd name="connsiteX0" fmla="*/ 0 w 22420"/>
                    <a:gd name="connsiteY0" fmla="*/ 47207 h 47207"/>
                    <a:gd name="connsiteX1" fmla="*/ 9591 w 22420"/>
                    <a:gd name="connsiteY1" fmla="*/ 31015 h 47207"/>
                    <a:gd name="connsiteX2" fmla="*/ 13577 w 22420"/>
                    <a:gd name="connsiteY2" fmla="*/ 14075 h 47207"/>
                    <a:gd name="connsiteX3" fmla="*/ 22420 w 22420"/>
                    <a:gd name="connsiteY3" fmla="*/ 0 h 47207"/>
                  </a:gdLst>
                  <a:ahLst/>
                  <a:cxnLst>
                    <a:cxn ang="0">
                      <a:pos x="connsiteX0" y="connsiteY0"/>
                    </a:cxn>
                    <a:cxn ang="0">
                      <a:pos x="connsiteX1" y="connsiteY1"/>
                    </a:cxn>
                    <a:cxn ang="0">
                      <a:pos x="connsiteX2" y="connsiteY2"/>
                    </a:cxn>
                    <a:cxn ang="0">
                      <a:pos x="connsiteX3" y="connsiteY3"/>
                    </a:cxn>
                  </a:cxnLst>
                  <a:rect l="l" t="t" r="r" b="b"/>
                  <a:pathLst>
                    <a:path w="22420" h="47207">
                      <a:moveTo>
                        <a:pt x="0" y="47207"/>
                      </a:moveTo>
                      <a:cubicBezTo>
                        <a:pt x="5605" y="40855"/>
                        <a:pt x="8221" y="35125"/>
                        <a:pt x="9591" y="31015"/>
                      </a:cubicBezTo>
                      <a:cubicBezTo>
                        <a:pt x="11708" y="24413"/>
                        <a:pt x="11086" y="20801"/>
                        <a:pt x="13577" y="14075"/>
                      </a:cubicBezTo>
                      <a:cubicBezTo>
                        <a:pt x="15943" y="7598"/>
                        <a:pt x="19680" y="2989"/>
                        <a:pt x="224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1" name="Freeform 8751">
                  <a:extLst>
                    <a:ext uri="{FF2B5EF4-FFF2-40B4-BE49-F238E27FC236}">
                      <a16:creationId xmlns:a16="http://schemas.microsoft.com/office/drawing/2014/main" id="{16EC9000-D5A0-B2FC-0837-17EDE9F69528}"/>
                    </a:ext>
                  </a:extLst>
                </p:cNvPr>
                <p:cNvSpPr/>
                <p:nvPr/>
              </p:nvSpPr>
              <p:spPr>
                <a:xfrm>
                  <a:off x="2295348" y="1258854"/>
                  <a:ext cx="21050" cy="47705"/>
                </a:xfrm>
                <a:custGeom>
                  <a:avLst/>
                  <a:gdLst>
                    <a:gd name="connsiteX0" fmla="*/ 21050 w 21050"/>
                    <a:gd name="connsiteY0" fmla="*/ 0 h 47705"/>
                    <a:gd name="connsiteX1" fmla="*/ 15072 w 21050"/>
                    <a:gd name="connsiteY1" fmla="*/ 17812 h 47705"/>
                    <a:gd name="connsiteX2" fmla="*/ 4858 w 21050"/>
                    <a:gd name="connsiteY2" fmla="*/ 31887 h 47705"/>
                    <a:gd name="connsiteX3" fmla="*/ 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0"/>
                      </a:moveTo>
                      <a:cubicBezTo>
                        <a:pt x="19929" y="8345"/>
                        <a:pt x="17314" y="14200"/>
                        <a:pt x="15072" y="17812"/>
                      </a:cubicBezTo>
                      <a:cubicBezTo>
                        <a:pt x="11459" y="23791"/>
                        <a:pt x="8221" y="25659"/>
                        <a:pt x="4858" y="31887"/>
                      </a:cubicBezTo>
                      <a:cubicBezTo>
                        <a:pt x="1495" y="37990"/>
                        <a:pt x="374" y="43720"/>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2" name="Freeform 8752">
                  <a:extLst>
                    <a:ext uri="{FF2B5EF4-FFF2-40B4-BE49-F238E27FC236}">
                      <a16:creationId xmlns:a16="http://schemas.microsoft.com/office/drawing/2014/main" id="{D8832C7F-5171-204B-B57F-84A66734C157}"/>
                    </a:ext>
                  </a:extLst>
                </p:cNvPr>
                <p:cNvSpPr/>
                <p:nvPr/>
              </p:nvSpPr>
              <p:spPr>
                <a:xfrm>
                  <a:off x="2284274" y="1296504"/>
                  <a:ext cx="26859" cy="26590"/>
                </a:xfrm>
                <a:custGeom>
                  <a:avLst/>
                  <a:gdLst>
                    <a:gd name="connsiteX0" fmla="*/ 1234 w 26859"/>
                    <a:gd name="connsiteY0" fmla="*/ 7565 h 26590"/>
                    <a:gd name="connsiteX1" fmla="*/ 18921 w 26859"/>
                    <a:gd name="connsiteY1" fmla="*/ 1337 h 26590"/>
                    <a:gd name="connsiteX2" fmla="*/ 25647 w 26859"/>
                    <a:gd name="connsiteY2" fmla="*/ 18775 h 26590"/>
                    <a:gd name="connsiteX3" fmla="*/ 7836 w 26859"/>
                    <a:gd name="connsiteY3" fmla="*/ 25376 h 26590"/>
                    <a:gd name="connsiteX4" fmla="*/ 1234 w 2685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590">
                      <a:moveTo>
                        <a:pt x="1234" y="7565"/>
                      </a:moveTo>
                      <a:cubicBezTo>
                        <a:pt x="4348" y="963"/>
                        <a:pt x="12195" y="-1902"/>
                        <a:pt x="18921" y="1337"/>
                      </a:cubicBezTo>
                      <a:cubicBezTo>
                        <a:pt x="25647" y="4451"/>
                        <a:pt x="28761" y="12049"/>
                        <a:pt x="25647" y="18775"/>
                      </a:cubicBezTo>
                      <a:cubicBezTo>
                        <a:pt x="22658" y="25376"/>
                        <a:pt x="14562" y="28490"/>
                        <a:pt x="7836" y="25376"/>
                      </a:cubicBezTo>
                      <a:cubicBezTo>
                        <a:pt x="1109" y="22262"/>
                        <a:pt x="-1880" y="14291"/>
                        <a:pt x="1234"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3" name="Freeform 8753">
                  <a:extLst>
                    <a:ext uri="{FF2B5EF4-FFF2-40B4-BE49-F238E27FC236}">
                      <a16:creationId xmlns:a16="http://schemas.microsoft.com/office/drawing/2014/main" id="{1A190B4F-65AB-5D60-037B-FF891ACA1E2E}"/>
                    </a:ext>
                  </a:extLst>
                </p:cNvPr>
                <p:cNvSpPr/>
                <p:nvPr/>
              </p:nvSpPr>
              <p:spPr>
                <a:xfrm>
                  <a:off x="2320011" y="1203550"/>
                  <a:ext cx="22420" cy="47207"/>
                </a:xfrm>
                <a:custGeom>
                  <a:avLst/>
                  <a:gdLst>
                    <a:gd name="connsiteX0" fmla="*/ 22420 w 22420"/>
                    <a:gd name="connsiteY0" fmla="*/ 0 h 47207"/>
                    <a:gd name="connsiteX1" fmla="*/ 12829 w 22420"/>
                    <a:gd name="connsiteY1" fmla="*/ 16192 h 47207"/>
                    <a:gd name="connsiteX2" fmla="*/ 8719 w 22420"/>
                    <a:gd name="connsiteY2" fmla="*/ 33257 h 47207"/>
                    <a:gd name="connsiteX3" fmla="*/ 0 w 2242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420" h="47207">
                      <a:moveTo>
                        <a:pt x="22420" y="0"/>
                      </a:moveTo>
                      <a:cubicBezTo>
                        <a:pt x="16815" y="6228"/>
                        <a:pt x="14200" y="11958"/>
                        <a:pt x="12829" y="16192"/>
                      </a:cubicBezTo>
                      <a:cubicBezTo>
                        <a:pt x="10587" y="22794"/>
                        <a:pt x="11210" y="26531"/>
                        <a:pt x="8719" y="33257"/>
                      </a:cubicBezTo>
                      <a:cubicBezTo>
                        <a:pt x="6228" y="39734"/>
                        <a:pt x="2616" y="44343"/>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4" name="Freeform 8754">
                  <a:extLst>
                    <a:ext uri="{FF2B5EF4-FFF2-40B4-BE49-F238E27FC236}">
                      <a16:creationId xmlns:a16="http://schemas.microsoft.com/office/drawing/2014/main" id="{B1D70C7A-EABD-9405-6C42-CBCB48F31D64}"/>
                    </a:ext>
                  </a:extLst>
                </p:cNvPr>
                <p:cNvSpPr/>
                <p:nvPr/>
              </p:nvSpPr>
              <p:spPr>
                <a:xfrm>
                  <a:off x="2329726" y="1201931"/>
                  <a:ext cx="21050" cy="47705"/>
                </a:xfrm>
                <a:custGeom>
                  <a:avLst/>
                  <a:gdLst>
                    <a:gd name="connsiteX0" fmla="*/ 0 w 21050"/>
                    <a:gd name="connsiteY0" fmla="*/ 47706 h 47705"/>
                    <a:gd name="connsiteX1" fmla="*/ 5979 w 21050"/>
                    <a:gd name="connsiteY1" fmla="*/ 29894 h 47705"/>
                    <a:gd name="connsiteX2" fmla="*/ 16193 w 21050"/>
                    <a:gd name="connsiteY2" fmla="*/ 15694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1121" y="39360"/>
                        <a:pt x="3737" y="33631"/>
                        <a:pt x="5979" y="29894"/>
                      </a:cubicBezTo>
                      <a:cubicBezTo>
                        <a:pt x="9591" y="23915"/>
                        <a:pt x="12830" y="21922"/>
                        <a:pt x="16193" y="15694"/>
                      </a:cubicBezTo>
                      <a:cubicBezTo>
                        <a:pt x="19556" y="9591"/>
                        <a:pt x="20552" y="3861"/>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5" name="Freeform 8755">
                  <a:extLst>
                    <a:ext uri="{FF2B5EF4-FFF2-40B4-BE49-F238E27FC236}">
                      <a16:creationId xmlns:a16="http://schemas.microsoft.com/office/drawing/2014/main" id="{1C314A5F-A3D5-80DC-968F-07D466D89AE3}"/>
                    </a:ext>
                  </a:extLst>
                </p:cNvPr>
                <p:cNvSpPr/>
                <p:nvPr/>
              </p:nvSpPr>
              <p:spPr>
                <a:xfrm>
                  <a:off x="2335564" y="1185206"/>
                  <a:ext cx="26215" cy="26637"/>
                </a:xfrm>
                <a:custGeom>
                  <a:avLst/>
                  <a:gdLst>
                    <a:gd name="connsiteX0" fmla="*/ 25052 w 26215"/>
                    <a:gd name="connsiteY0" fmla="*/ 18718 h 26637"/>
                    <a:gd name="connsiteX1" fmla="*/ 7490 w 26215"/>
                    <a:gd name="connsiteY1" fmla="*/ 25444 h 26637"/>
                    <a:gd name="connsiteX2" fmla="*/ 1262 w 26215"/>
                    <a:gd name="connsiteY2" fmla="*/ 7632 h 26637"/>
                    <a:gd name="connsiteX3" fmla="*/ 18575 w 26215"/>
                    <a:gd name="connsiteY3" fmla="*/ 1280 h 26637"/>
                    <a:gd name="connsiteX4" fmla="*/ 25052 w 26215"/>
                    <a:gd name="connsiteY4" fmla="*/ 18718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5" h="26637">
                      <a:moveTo>
                        <a:pt x="25052" y="18718"/>
                      </a:moveTo>
                      <a:cubicBezTo>
                        <a:pt x="22063" y="25319"/>
                        <a:pt x="14091" y="28558"/>
                        <a:pt x="7490" y="25444"/>
                      </a:cubicBezTo>
                      <a:cubicBezTo>
                        <a:pt x="1013" y="22330"/>
                        <a:pt x="-1852" y="14358"/>
                        <a:pt x="1262" y="7632"/>
                      </a:cubicBezTo>
                      <a:cubicBezTo>
                        <a:pt x="4376" y="906"/>
                        <a:pt x="12098" y="-1834"/>
                        <a:pt x="18575" y="1280"/>
                      </a:cubicBezTo>
                      <a:cubicBezTo>
                        <a:pt x="25052" y="4394"/>
                        <a:pt x="28042" y="12116"/>
                        <a:pt x="25052" y="187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8" name="Graphic 2987">
                <a:extLst>
                  <a:ext uri="{FF2B5EF4-FFF2-40B4-BE49-F238E27FC236}">
                    <a16:creationId xmlns:a16="http://schemas.microsoft.com/office/drawing/2014/main" id="{693EF97A-3922-A9C5-9C5B-ECDC1A007E70}"/>
                  </a:ext>
                </a:extLst>
              </p:cNvPr>
              <p:cNvGrpSpPr/>
              <p:nvPr/>
            </p:nvGrpSpPr>
            <p:grpSpPr>
              <a:xfrm>
                <a:off x="2257118" y="1172646"/>
                <a:ext cx="78175" cy="137516"/>
                <a:chOff x="2257118" y="1172646"/>
                <a:chExt cx="78175" cy="137516"/>
              </a:xfrm>
              <a:grpFill/>
            </p:grpSpPr>
            <p:sp>
              <p:nvSpPr>
                <p:cNvPr id="5544" name="Freeform 8757">
                  <a:extLst>
                    <a:ext uri="{FF2B5EF4-FFF2-40B4-BE49-F238E27FC236}">
                      <a16:creationId xmlns:a16="http://schemas.microsoft.com/office/drawing/2014/main" id="{057F5113-D040-6EB1-BBA9-04B780AC6A3A}"/>
                    </a:ext>
                  </a:extLst>
                </p:cNvPr>
                <p:cNvSpPr/>
                <p:nvPr/>
              </p:nvSpPr>
              <p:spPr>
                <a:xfrm>
                  <a:off x="2276789" y="1245153"/>
                  <a:ext cx="22669" cy="46958"/>
                </a:xfrm>
                <a:custGeom>
                  <a:avLst/>
                  <a:gdLst>
                    <a:gd name="connsiteX0" fmla="*/ 0 w 22669"/>
                    <a:gd name="connsiteY0" fmla="*/ 46958 h 46958"/>
                    <a:gd name="connsiteX1" fmla="*/ 9716 w 22669"/>
                    <a:gd name="connsiteY1" fmla="*/ 30890 h 46958"/>
                    <a:gd name="connsiteX2" fmla="*/ 13826 w 22669"/>
                    <a:gd name="connsiteY2" fmla="*/ 1395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5605" y="40730"/>
                        <a:pt x="8346" y="35001"/>
                        <a:pt x="9716" y="30890"/>
                      </a:cubicBezTo>
                      <a:cubicBezTo>
                        <a:pt x="11958" y="24289"/>
                        <a:pt x="11335" y="20552"/>
                        <a:pt x="13826" y="13950"/>
                      </a:cubicBezTo>
                      <a:cubicBezTo>
                        <a:pt x="16317" y="7473"/>
                        <a:pt x="19929" y="2865"/>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5" name="Freeform 8758">
                  <a:extLst>
                    <a:ext uri="{FF2B5EF4-FFF2-40B4-BE49-F238E27FC236}">
                      <a16:creationId xmlns:a16="http://schemas.microsoft.com/office/drawing/2014/main" id="{DE20283A-9243-DD60-C77D-E828B35ABA29}"/>
                    </a:ext>
                  </a:extLst>
                </p:cNvPr>
                <p:cNvSpPr/>
                <p:nvPr/>
              </p:nvSpPr>
              <p:spPr>
                <a:xfrm>
                  <a:off x="2268319" y="1246024"/>
                  <a:ext cx="21423" cy="47581"/>
                </a:xfrm>
                <a:custGeom>
                  <a:avLst/>
                  <a:gdLst>
                    <a:gd name="connsiteX0" fmla="*/ 21424 w 21423"/>
                    <a:gd name="connsiteY0" fmla="*/ 0 h 47581"/>
                    <a:gd name="connsiteX1" fmla="*/ 15321 w 21423"/>
                    <a:gd name="connsiteY1" fmla="*/ 17812 h 47581"/>
                    <a:gd name="connsiteX2" fmla="*/ 4982 w 21423"/>
                    <a:gd name="connsiteY2" fmla="*/ 31762 h 47581"/>
                    <a:gd name="connsiteX3" fmla="*/ 0 w 21423"/>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0"/>
                      </a:moveTo>
                      <a:cubicBezTo>
                        <a:pt x="20303" y="8345"/>
                        <a:pt x="17563" y="14075"/>
                        <a:pt x="15321" y="17812"/>
                      </a:cubicBezTo>
                      <a:cubicBezTo>
                        <a:pt x="11708" y="23791"/>
                        <a:pt x="8470" y="25534"/>
                        <a:pt x="4982" y="31762"/>
                      </a:cubicBezTo>
                      <a:cubicBezTo>
                        <a:pt x="1619" y="37741"/>
                        <a:pt x="498" y="43595"/>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6" name="Freeform 8759">
                  <a:extLst>
                    <a:ext uri="{FF2B5EF4-FFF2-40B4-BE49-F238E27FC236}">
                      <a16:creationId xmlns:a16="http://schemas.microsoft.com/office/drawing/2014/main" id="{86A2C024-3E75-6ADF-05B3-95F9CB375610}"/>
                    </a:ext>
                  </a:extLst>
                </p:cNvPr>
                <p:cNvSpPr/>
                <p:nvPr/>
              </p:nvSpPr>
              <p:spPr>
                <a:xfrm>
                  <a:off x="2257118" y="1283525"/>
                  <a:ext cx="26657" cy="26637"/>
                </a:xfrm>
                <a:custGeom>
                  <a:avLst/>
                  <a:gdLst>
                    <a:gd name="connsiteX0" fmla="*/ 1237 w 26657"/>
                    <a:gd name="connsiteY0" fmla="*/ 7464 h 26637"/>
                    <a:gd name="connsiteX1" fmla="*/ 18924 w 26657"/>
                    <a:gd name="connsiteY1" fmla="*/ 1361 h 26637"/>
                    <a:gd name="connsiteX2" fmla="*/ 25401 w 26657"/>
                    <a:gd name="connsiteY2" fmla="*/ 19173 h 26637"/>
                    <a:gd name="connsiteX3" fmla="*/ 7714 w 26657"/>
                    <a:gd name="connsiteY3" fmla="*/ 25276 h 26637"/>
                    <a:gd name="connsiteX4" fmla="*/ 1237 w 266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637">
                      <a:moveTo>
                        <a:pt x="1237" y="7464"/>
                      </a:moveTo>
                      <a:cubicBezTo>
                        <a:pt x="4350" y="863"/>
                        <a:pt x="12322" y="-1877"/>
                        <a:pt x="18924" y="1361"/>
                      </a:cubicBezTo>
                      <a:cubicBezTo>
                        <a:pt x="25650" y="4600"/>
                        <a:pt x="28515" y="12571"/>
                        <a:pt x="25401" y="19173"/>
                      </a:cubicBezTo>
                      <a:cubicBezTo>
                        <a:pt x="22287" y="25774"/>
                        <a:pt x="14440" y="28515"/>
                        <a:pt x="7714" y="25276"/>
                      </a:cubicBezTo>
                      <a:cubicBezTo>
                        <a:pt x="1112" y="22162"/>
                        <a:pt x="-1877" y="14066"/>
                        <a:pt x="123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7" name="Freeform 8760">
                  <a:extLst>
                    <a:ext uri="{FF2B5EF4-FFF2-40B4-BE49-F238E27FC236}">
                      <a16:creationId xmlns:a16="http://schemas.microsoft.com/office/drawing/2014/main" id="{B8A4559C-8B99-6508-F05A-9D655736E089}"/>
                    </a:ext>
                  </a:extLst>
                </p:cNvPr>
                <p:cNvSpPr/>
                <p:nvPr/>
              </p:nvSpPr>
              <p:spPr>
                <a:xfrm>
                  <a:off x="2293231" y="1190845"/>
                  <a:ext cx="22794" cy="46833"/>
                </a:xfrm>
                <a:custGeom>
                  <a:avLst/>
                  <a:gdLst>
                    <a:gd name="connsiteX0" fmla="*/ 22794 w 22794"/>
                    <a:gd name="connsiteY0" fmla="*/ 0 h 46833"/>
                    <a:gd name="connsiteX1" fmla="*/ 13079 w 22794"/>
                    <a:gd name="connsiteY1" fmla="*/ 16068 h 46833"/>
                    <a:gd name="connsiteX2" fmla="*/ 8844 w 22794"/>
                    <a:gd name="connsiteY2" fmla="*/ 33008 h 46833"/>
                    <a:gd name="connsiteX3" fmla="*/ 0 w 22794"/>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0"/>
                      </a:moveTo>
                      <a:cubicBezTo>
                        <a:pt x="17189" y="6228"/>
                        <a:pt x="14449" y="11958"/>
                        <a:pt x="13079" y="16068"/>
                      </a:cubicBezTo>
                      <a:cubicBezTo>
                        <a:pt x="10836" y="22669"/>
                        <a:pt x="11459" y="26406"/>
                        <a:pt x="8844" y="33008"/>
                      </a:cubicBezTo>
                      <a:cubicBezTo>
                        <a:pt x="6352" y="39485"/>
                        <a:pt x="2740" y="44093"/>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8" name="Freeform 8761">
                  <a:extLst>
                    <a:ext uri="{FF2B5EF4-FFF2-40B4-BE49-F238E27FC236}">
                      <a16:creationId xmlns:a16="http://schemas.microsoft.com/office/drawing/2014/main" id="{3131D579-4A93-3474-BB1F-5606B6F81050}"/>
                    </a:ext>
                  </a:extLst>
                </p:cNvPr>
                <p:cNvSpPr/>
                <p:nvPr/>
              </p:nvSpPr>
              <p:spPr>
                <a:xfrm>
                  <a:off x="2303071" y="1189226"/>
                  <a:ext cx="21299" cy="47581"/>
                </a:xfrm>
                <a:custGeom>
                  <a:avLst/>
                  <a:gdLst>
                    <a:gd name="connsiteX0" fmla="*/ 0 w 21299"/>
                    <a:gd name="connsiteY0" fmla="*/ 47581 h 47581"/>
                    <a:gd name="connsiteX1" fmla="*/ 6103 w 21299"/>
                    <a:gd name="connsiteY1" fmla="*/ 29769 h 47581"/>
                    <a:gd name="connsiteX2" fmla="*/ 16317 w 21299"/>
                    <a:gd name="connsiteY2" fmla="*/ 15819 h 47581"/>
                    <a:gd name="connsiteX3" fmla="*/ 21299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0" y="47581"/>
                      </a:moveTo>
                      <a:cubicBezTo>
                        <a:pt x="1121" y="39236"/>
                        <a:pt x="3861" y="33506"/>
                        <a:pt x="6103" y="29769"/>
                      </a:cubicBezTo>
                      <a:cubicBezTo>
                        <a:pt x="9715" y="23791"/>
                        <a:pt x="12954" y="21922"/>
                        <a:pt x="16317" y="15819"/>
                      </a:cubicBezTo>
                      <a:cubicBezTo>
                        <a:pt x="19680" y="9840"/>
                        <a:pt x="20801" y="3986"/>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9" name="Freeform 8762">
                  <a:extLst>
                    <a:ext uri="{FF2B5EF4-FFF2-40B4-BE49-F238E27FC236}">
                      <a16:creationId xmlns:a16="http://schemas.microsoft.com/office/drawing/2014/main" id="{A6C83392-031B-FCE2-8FA2-7F0F183ACC56}"/>
                    </a:ext>
                  </a:extLst>
                </p:cNvPr>
                <p:cNvSpPr/>
                <p:nvPr/>
              </p:nvSpPr>
              <p:spPr>
                <a:xfrm>
                  <a:off x="2309158" y="1172646"/>
                  <a:ext cx="26135" cy="26558"/>
                </a:xfrm>
                <a:custGeom>
                  <a:avLst/>
                  <a:gdLst>
                    <a:gd name="connsiteX0" fmla="*/ 24928 w 26135"/>
                    <a:gd name="connsiteY0" fmla="*/ 18946 h 26558"/>
                    <a:gd name="connsiteX1" fmla="*/ 7490 w 26135"/>
                    <a:gd name="connsiteY1" fmla="*/ 25299 h 26558"/>
                    <a:gd name="connsiteX2" fmla="*/ 1262 w 26135"/>
                    <a:gd name="connsiteY2" fmla="*/ 7612 h 26558"/>
                    <a:gd name="connsiteX3" fmla="*/ 18700 w 26135"/>
                    <a:gd name="connsiteY3" fmla="*/ 1259 h 26558"/>
                    <a:gd name="connsiteX4" fmla="*/ 24928 w 26135"/>
                    <a:gd name="connsiteY4" fmla="*/ 18946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558">
                      <a:moveTo>
                        <a:pt x="24928" y="18946"/>
                      </a:moveTo>
                      <a:cubicBezTo>
                        <a:pt x="21814" y="25548"/>
                        <a:pt x="14091" y="28413"/>
                        <a:pt x="7490" y="25299"/>
                      </a:cubicBezTo>
                      <a:cubicBezTo>
                        <a:pt x="1013" y="22185"/>
                        <a:pt x="-1852" y="14213"/>
                        <a:pt x="1262" y="7612"/>
                      </a:cubicBezTo>
                      <a:cubicBezTo>
                        <a:pt x="4376" y="1010"/>
                        <a:pt x="12223" y="-1855"/>
                        <a:pt x="18700" y="1259"/>
                      </a:cubicBezTo>
                      <a:cubicBezTo>
                        <a:pt x="25177" y="4373"/>
                        <a:pt x="27917" y="12345"/>
                        <a:pt x="24928"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9" name="Graphic 2987">
                <a:extLst>
                  <a:ext uri="{FF2B5EF4-FFF2-40B4-BE49-F238E27FC236}">
                    <a16:creationId xmlns:a16="http://schemas.microsoft.com/office/drawing/2014/main" id="{B60A28E1-1D65-60FD-3AD7-02B07011E691}"/>
                  </a:ext>
                </a:extLst>
              </p:cNvPr>
              <p:cNvGrpSpPr/>
              <p:nvPr/>
            </p:nvGrpSpPr>
            <p:grpSpPr>
              <a:xfrm>
                <a:off x="2230069" y="1159864"/>
                <a:ext cx="78895" cy="137220"/>
                <a:chOff x="2230069" y="1159864"/>
                <a:chExt cx="78895" cy="137220"/>
              </a:xfrm>
              <a:grpFill/>
            </p:grpSpPr>
            <p:sp>
              <p:nvSpPr>
                <p:cNvPr id="5538" name="Freeform 8764">
                  <a:extLst>
                    <a:ext uri="{FF2B5EF4-FFF2-40B4-BE49-F238E27FC236}">
                      <a16:creationId xmlns:a16="http://schemas.microsoft.com/office/drawing/2014/main" id="{8014D718-7AFA-4ADC-94EE-FEF146768203}"/>
                    </a:ext>
                  </a:extLst>
                </p:cNvPr>
                <p:cNvSpPr/>
                <p:nvPr/>
              </p:nvSpPr>
              <p:spPr>
                <a:xfrm>
                  <a:off x="2249760" y="1232199"/>
                  <a:ext cx="23043" cy="46833"/>
                </a:xfrm>
                <a:custGeom>
                  <a:avLst/>
                  <a:gdLst>
                    <a:gd name="connsiteX0" fmla="*/ 0 w 23043"/>
                    <a:gd name="connsiteY0" fmla="*/ 46834 h 46833"/>
                    <a:gd name="connsiteX1" fmla="*/ 9840 w 23043"/>
                    <a:gd name="connsiteY1" fmla="*/ 30766 h 46833"/>
                    <a:gd name="connsiteX2" fmla="*/ 14075 w 23043"/>
                    <a:gd name="connsiteY2" fmla="*/ 13826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5730" y="40606"/>
                        <a:pt x="8345" y="34876"/>
                        <a:pt x="9840" y="30766"/>
                      </a:cubicBezTo>
                      <a:cubicBezTo>
                        <a:pt x="12082" y="24164"/>
                        <a:pt x="11459" y="20427"/>
                        <a:pt x="14075" y="13826"/>
                      </a:cubicBezTo>
                      <a:cubicBezTo>
                        <a:pt x="16566" y="7349"/>
                        <a:pt x="20303" y="2865"/>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9" name="Freeform 8765">
                  <a:extLst>
                    <a:ext uri="{FF2B5EF4-FFF2-40B4-BE49-F238E27FC236}">
                      <a16:creationId xmlns:a16="http://schemas.microsoft.com/office/drawing/2014/main" id="{D7741D95-C491-54CD-C62E-1DF8FDEFAFFE}"/>
                    </a:ext>
                  </a:extLst>
                </p:cNvPr>
                <p:cNvSpPr/>
                <p:nvPr/>
              </p:nvSpPr>
              <p:spPr>
                <a:xfrm>
                  <a:off x="2241166" y="1233070"/>
                  <a:ext cx="21797" cy="47456"/>
                </a:xfrm>
                <a:custGeom>
                  <a:avLst/>
                  <a:gdLst>
                    <a:gd name="connsiteX0" fmla="*/ 21798 w 21797"/>
                    <a:gd name="connsiteY0" fmla="*/ 0 h 47456"/>
                    <a:gd name="connsiteX1" fmla="*/ 15570 w 21797"/>
                    <a:gd name="connsiteY1" fmla="*/ 17812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5"/>
                        <a:pt x="17812" y="14075"/>
                        <a:pt x="15570" y="17812"/>
                      </a:cubicBezTo>
                      <a:cubicBezTo>
                        <a:pt x="11833" y="23791"/>
                        <a:pt x="8595" y="25534"/>
                        <a:pt x="5107" y="31762"/>
                      </a:cubicBezTo>
                      <a:cubicBezTo>
                        <a:pt x="1744"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0" name="Freeform 8766">
                  <a:extLst>
                    <a:ext uri="{FF2B5EF4-FFF2-40B4-BE49-F238E27FC236}">
                      <a16:creationId xmlns:a16="http://schemas.microsoft.com/office/drawing/2014/main" id="{1E3803CB-780F-07BB-3F52-3B88C22F7CB8}"/>
                    </a:ext>
                  </a:extLst>
                </p:cNvPr>
                <p:cNvSpPr/>
                <p:nvPr/>
              </p:nvSpPr>
              <p:spPr>
                <a:xfrm>
                  <a:off x="2230069" y="1270447"/>
                  <a:ext cx="26801" cy="26637"/>
                </a:xfrm>
                <a:custGeom>
                  <a:avLst/>
                  <a:gdLst>
                    <a:gd name="connsiteX0" fmla="*/ 1257 w 26801"/>
                    <a:gd name="connsiteY0" fmla="*/ 7464 h 26637"/>
                    <a:gd name="connsiteX1" fmla="*/ 19068 w 26801"/>
                    <a:gd name="connsiteY1" fmla="*/ 1361 h 26637"/>
                    <a:gd name="connsiteX2" fmla="*/ 25545 w 26801"/>
                    <a:gd name="connsiteY2" fmla="*/ 19173 h 26637"/>
                    <a:gd name="connsiteX3" fmla="*/ 7734 w 26801"/>
                    <a:gd name="connsiteY3" fmla="*/ 25276 h 26637"/>
                    <a:gd name="connsiteX4" fmla="*/ 1257 w 26801"/>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1" h="26637">
                      <a:moveTo>
                        <a:pt x="1257" y="7464"/>
                      </a:moveTo>
                      <a:cubicBezTo>
                        <a:pt x="4371" y="863"/>
                        <a:pt x="12342" y="-1877"/>
                        <a:pt x="19068" y="1361"/>
                      </a:cubicBezTo>
                      <a:cubicBezTo>
                        <a:pt x="25795" y="4600"/>
                        <a:pt x="28659" y="12571"/>
                        <a:pt x="25545" y="19173"/>
                      </a:cubicBezTo>
                      <a:cubicBezTo>
                        <a:pt x="22431" y="25774"/>
                        <a:pt x="14460" y="28515"/>
                        <a:pt x="7734" y="25276"/>
                      </a:cubicBezTo>
                      <a:cubicBezTo>
                        <a:pt x="1007" y="22038"/>
                        <a:pt x="-1857" y="14066"/>
                        <a:pt x="125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1" name="Freeform 8767">
                  <a:extLst>
                    <a:ext uri="{FF2B5EF4-FFF2-40B4-BE49-F238E27FC236}">
                      <a16:creationId xmlns:a16="http://schemas.microsoft.com/office/drawing/2014/main" id="{178BD202-31A8-59DE-C66A-9E3C8962D193}"/>
                    </a:ext>
                  </a:extLst>
                </p:cNvPr>
                <p:cNvSpPr/>
                <p:nvPr/>
              </p:nvSpPr>
              <p:spPr>
                <a:xfrm>
                  <a:off x="2266576" y="1178016"/>
                  <a:ext cx="23043" cy="46833"/>
                </a:xfrm>
                <a:custGeom>
                  <a:avLst/>
                  <a:gdLst>
                    <a:gd name="connsiteX0" fmla="*/ 23043 w 23043"/>
                    <a:gd name="connsiteY0" fmla="*/ 0 h 46833"/>
                    <a:gd name="connsiteX1" fmla="*/ 13203 w 23043"/>
                    <a:gd name="connsiteY1" fmla="*/ 16068 h 46833"/>
                    <a:gd name="connsiteX2" fmla="*/ 8968 w 23043"/>
                    <a:gd name="connsiteY2" fmla="*/ 33008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17438" y="6228"/>
                        <a:pt x="14698" y="11958"/>
                        <a:pt x="13203" y="16068"/>
                      </a:cubicBezTo>
                      <a:cubicBezTo>
                        <a:pt x="10961" y="22670"/>
                        <a:pt x="11459" y="26406"/>
                        <a:pt x="8968" y="33008"/>
                      </a:cubicBezTo>
                      <a:cubicBezTo>
                        <a:pt x="6477" y="39485"/>
                        <a:pt x="2740" y="43969"/>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2" name="Freeform 8768">
                  <a:extLst>
                    <a:ext uri="{FF2B5EF4-FFF2-40B4-BE49-F238E27FC236}">
                      <a16:creationId xmlns:a16="http://schemas.microsoft.com/office/drawing/2014/main" id="{C25D2CC4-D4DC-CF65-C273-424EC63B15C2}"/>
                    </a:ext>
                  </a:extLst>
                </p:cNvPr>
                <p:cNvSpPr/>
                <p:nvPr/>
              </p:nvSpPr>
              <p:spPr>
                <a:xfrm>
                  <a:off x="2276416" y="1176521"/>
                  <a:ext cx="21673" cy="47456"/>
                </a:xfrm>
                <a:custGeom>
                  <a:avLst/>
                  <a:gdLst>
                    <a:gd name="connsiteX0" fmla="*/ 0 w 21673"/>
                    <a:gd name="connsiteY0" fmla="*/ 47456 h 47456"/>
                    <a:gd name="connsiteX1" fmla="*/ 6228 w 21673"/>
                    <a:gd name="connsiteY1" fmla="*/ 29645 h 47456"/>
                    <a:gd name="connsiteX2" fmla="*/ 16566 w 21673"/>
                    <a:gd name="connsiteY2" fmla="*/ 15694 h 47456"/>
                    <a:gd name="connsiteX3" fmla="*/ 21673 w 21673"/>
                    <a:gd name="connsiteY3" fmla="*/ 0 h 47456"/>
                  </a:gdLst>
                  <a:ahLst/>
                  <a:cxnLst>
                    <a:cxn ang="0">
                      <a:pos x="connsiteX0" y="connsiteY0"/>
                    </a:cxn>
                    <a:cxn ang="0">
                      <a:pos x="connsiteX1" y="connsiteY1"/>
                    </a:cxn>
                    <a:cxn ang="0">
                      <a:pos x="connsiteX2" y="connsiteY2"/>
                    </a:cxn>
                    <a:cxn ang="0">
                      <a:pos x="connsiteX3" y="connsiteY3"/>
                    </a:cxn>
                  </a:cxnLst>
                  <a:rect l="l" t="t" r="r" b="b"/>
                  <a:pathLst>
                    <a:path w="21673" h="47456">
                      <a:moveTo>
                        <a:pt x="0" y="47456"/>
                      </a:moveTo>
                      <a:cubicBezTo>
                        <a:pt x="1246" y="39111"/>
                        <a:pt x="3986" y="33381"/>
                        <a:pt x="6228" y="29645"/>
                      </a:cubicBezTo>
                      <a:cubicBezTo>
                        <a:pt x="9965" y="23666"/>
                        <a:pt x="13079" y="21922"/>
                        <a:pt x="16566" y="15694"/>
                      </a:cubicBezTo>
                      <a:cubicBezTo>
                        <a:pt x="19929" y="9715"/>
                        <a:pt x="21175" y="3861"/>
                        <a:pt x="216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3" name="Freeform 8769">
                  <a:extLst>
                    <a:ext uri="{FF2B5EF4-FFF2-40B4-BE49-F238E27FC236}">
                      <a16:creationId xmlns:a16="http://schemas.microsoft.com/office/drawing/2014/main" id="{DC07DFDB-809F-CA98-D6C7-50ACEFC3D69D}"/>
                    </a:ext>
                  </a:extLst>
                </p:cNvPr>
                <p:cNvSpPr/>
                <p:nvPr/>
              </p:nvSpPr>
              <p:spPr>
                <a:xfrm>
                  <a:off x="2282853" y="1159864"/>
                  <a:ext cx="26111" cy="26588"/>
                </a:xfrm>
                <a:custGeom>
                  <a:avLst/>
                  <a:gdLst>
                    <a:gd name="connsiteX0" fmla="*/ 24827 w 26111"/>
                    <a:gd name="connsiteY0" fmla="*/ 19024 h 26588"/>
                    <a:gd name="connsiteX1" fmla="*/ 7388 w 26111"/>
                    <a:gd name="connsiteY1" fmla="*/ 25252 h 26588"/>
                    <a:gd name="connsiteX2" fmla="*/ 1285 w 26111"/>
                    <a:gd name="connsiteY2" fmla="*/ 7565 h 26588"/>
                    <a:gd name="connsiteX3" fmla="*/ 18723 w 26111"/>
                    <a:gd name="connsiteY3" fmla="*/ 1337 h 26588"/>
                    <a:gd name="connsiteX4" fmla="*/ 24827 w 26111"/>
                    <a:gd name="connsiteY4" fmla="*/ 19024 h 26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1" h="26588">
                      <a:moveTo>
                        <a:pt x="24827" y="19024"/>
                      </a:moveTo>
                      <a:cubicBezTo>
                        <a:pt x="21713" y="25626"/>
                        <a:pt x="13866" y="28490"/>
                        <a:pt x="7388" y="25252"/>
                      </a:cubicBezTo>
                      <a:cubicBezTo>
                        <a:pt x="912" y="22138"/>
                        <a:pt x="-1829" y="14166"/>
                        <a:pt x="1285" y="7565"/>
                      </a:cubicBezTo>
                      <a:cubicBezTo>
                        <a:pt x="4399" y="963"/>
                        <a:pt x="12246" y="-1902"/>
                        <a:pt x="18723" y="1337"/>
                      </a:cubicBezTo>
                      <a:cubicBezTo>
                        <a:pt x="25200" y="4451"/>
                        <a:pt x="27941" y="12422"/>
                        <a:pt x="24827" y="19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0" name="Graphic 2987">
                <a:extLst>
                  <a:ext uri="{FF2B5EF4-FFF2-40B4-BE49-F238E27FC236}">
                    <a16:creationId xmlns:a16="http://schemas.microsoft.com/office/drawing/2014/main" id="{FBB0649D-191F-3E9C-B851-F94890953E2B}"/>
                  </a:ext>
                </a:extLst>
              </p:cNvPr>
              <p:cNvGrpSpPr/>
              <p:nvPr/>
            </p:nvGrpSpPr>
            <p:grpSpPr>
              <a:xfrm>
                <a:off x="2202963" y="1147213"/>
                <a:ext cx="79744" cy="136792"/>
                <a:chOff x="2202963" y="1147213"/>
                <a:chExt cx="79744" cy="136792"/>
              </a:xfrm>
              <a:grpFill/>
            </p:grpSpPr>
            <p:sp>
              <p:nvSpPr>
                <p:cNvPr id="5532" name="Freeform 8771">
                  <a:extLst>
                    <a:ext uri="{FF2B5EF4-FFF2-40B4-BE49-F238E27FC236}">
                      <a16:creationId xmlns:a16="http://schemas.microsoft.com/office/drawing/2014/main" id="{2DB63B3D-86EB-7EB8-F29B-5CE274289994}"/>
                    </a:ext>
                  </a:extLst>
                </p:cNvPr>
                <p:cNvSpPr/>
                <p:nvPr/>
              </p:nvSpPr>
              <p:spPr>
                <a:xfrm>
                  <a:off x="2222731" y="1219245"/>
                  <a:ext cx="23416" cy="46709"/>
                </a:xfrm>
                <a:custGeom>
                  <a:avLst/>
                  <a:gdLst>
                    <a:gd name="connsiteX0" fmla="*/ 0 w 23416"/>
                    <a:gd name="connsiteY0" fmla="*/ 46709 h 46709"/>
                    <a:gd name="connsiteX1" fmla="*/ 9965 w 23416"/>
                    <a:gd name="connsiteY1" fmla="*/ 30766 h 46709"/>
                    <a:gd name="connsiteX2" fmla="*/ 14324 w 23416"/>
                    <a:gd name="connsiteY2" fmla="*/ 13826 h 46709"/>
                    <a:gd name="connsiteX3" fmla="*/ 23417 w 23416"/>
                    <a:gd name="connsiteY3" fmla="*/ 0 h 46709"/>
                  </a:gdLst>
                  <a:ahLst/>
                  <a:cxnLst>
                    <a:cxn ang="0">
                      <a:pos x="connsiteX0" y="connsiteY0"/>
                    </a:cxn>
                    <a:cxn ang="0">
                      <a:pos x="connsiteX1" y="connsiteY1"/>
                    </a:cxn>
                    <a:cxn ang="0">
                      <a:pos x="connsiteX2" y="connsiteY2"/>
                    </a:cxn>
                    <a:cxn ang="0">
                      <a:pos x="connsiteX3" y="connsiteY3"/>
                    </a:cxn>
                  </a:cxnLst>
                  <a:rect l="l" t="t" r="r" b="b"/>
                  <a:pathLst>
                    <a:path w="23416" h="46709">
                      <a:moveTo>
                        <a:pt x="0" y="46709"/>
                      </a:moveTo>
                      <a:cubicBezTo>
                        <a:pt x="5730" y="40606"/>
                        <a:pt x="8470" y="34876"/>
                        <a:pt x="9965" y="30766"/>
                      </a:cubicBezTo>
                      <a:cubicBezTo>
                        <a:pt x="12331" y="24164"/>
                        <a:pt x="11708" y="20427"/>
                        <a:pt x="14324" y="13826"/>
                      </a:cubicBezTo>
                      <a:cubicBezTo>
                        <a:pt x="16815" y="7349"/>
                        <a:pt x="20677" y="2865"/>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3" name="Freeform 8772">
                  <a:extLst>
                    <a:ext uri="{FF2B5EF4-FFF2-40B4-BE49-F238E27FC236}">
                      <a16:creationId xmlns:a16="http://schemas.microsoft.com/office/drawing/2014/main" id="{D8D9595D-3134-C988-ED6F-BB6AF6C63B53}"/>
                    </a:ext>
                  </a:extLst>
                </p:cNvPr>
                <p:cNvSpPr/>
                <p:nvPr/>
              </p:nvSpPr>
              <p:spPr>
                <a:xfrm>
                  <a:off x="2214137" y="1220116"/>
                  <a:ext cx="22046" cy="47207"/>
                </a:xfrm>
                <a:custGeom>
                  <a:avLst/>
                  <a:gdLst>
                    <a:gd name="connsiteX0" fmla="*/ 22047 w 22046"/>
                    <a:gd name="connsiteY0" fmla="*/ 0 h 47207"/>
                    <a:gd name="connsiteX1" fmla="*/ 15694 w 22046"/>
                    <a:gd name="connsiteY1" fmla="*/ 17687 h 47207"/>
                    <a:gd name="connsiteX2" fmla="*/ 5107 w 22046"/>
                    <a:gd name="connsiteY2" fmla="*/ 31513 h 47207"/>
                    <a:gd name="connsiteX3" fmla="*/ 0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22047" y="0"/>
                      </a:moveTo>
                      <a:cubicBezTo>
                        <a:pt x="20801" y="8345"/>
                        <a:pt x="18061" y="14075"/>
                        <a:pt x="15694" y="17687"/>
                      </a:cubicBezTo>
                      <a:cubicBezTo>
                        <a:pt x="11958" y="23666"/>
                        <a:pt x="8719" y="25410"/>
                        <a:pt x="5107" y="31513"/>
                      </a:cubicBezTo>
                      <a:cubicBezTo>
                        <a:pt x="1619" y="37492"/>
                        <a:pt x="374"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4" name="Freeform 8773">
                  <a:extLst>
                    <a:ext uri="{FF2B5EF4-FFF2-40B4-BE49-F238E27FC236}">
                      <a16:creationId xmlns:a16="http://schemas.microsoft.com/office/drawing/2014/main" id="{0E9425BC-7A1A-A135-C4A8-39AE9D13FCFD}"/>
                    </a:ext>
                  </a:extLst>
                </p:cNvPr>
                <p:cNvSpPr/>
                <p:nvPr/>
              </p:nvSpPr>
              <p:spPr>
                <a:xfrm>
                  <a:off x="2202963" y="1257368"/>
                  <a:ext cx="26757" cy="26637"/>
                </a:xfrm>
                <a:custGeom>
                  <a:avLst/>
                  <a:gdLst>
                    <a:gd name="connsiteX0" fmla="*/ 1334 w 26757"/>
                    <a:gd name="connsiteY0" fmla="*/ 7464 h 26637"/>
                    <a:gd name="connsiteX1" fmla="*/ 19146 w 26757"/>
                    <a:gd name="connsiteY1" fmla="*/ 1361 h 26637"/>
                    <a:gd name="connsiteX2" fmla="*/ 25498 w 26757"/>
                    <a:gd name="connsiteY2" fmla="*/ 19173 h 26637"/>
                    <a:gd name="connsiteX3" fmla="*/ 7686 w 26757"/>
                    <a:gd name="connsiteY3" fmla="*/ 25276 h 26637"/>
                    <a:gd name="connsiteX4" fmla="*/ 1334 w 267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637">
                      <a:moveTo>
                        <a:pt x="1334" y="7464"/>
                      </a:moveTo>
                      <a:cubicBezTo>
                        <a:pt x="4572" y="863"/>
                        <a:pt x="12544" y="-1877"/>
                        <a:pt x="19146" y="1361"/>
                      </a:cubicBezTo>
                      <a:cubicBezTo>
                        <a:pt x="25747" y="4600"/>
                        <a:pt x="28612" y="12571"/>
                        <a:pt x="25498" y="19173"/>
                      </a:cubicBezTo>
                      <a:cubicBezTo>
                        <a:pt x="22384" y="25774"/>
                        <a:pt x="14288" y="28515"/>
                        <a:pt x="7686" y="25276"/>
                      </a:cubicBezTo>
                      <a:cubicBezTo>
                        <a:pt x="960" y="22038"/>
                        <a:pt x="-1904" y="14066"/>
                        <a:pt x="1334"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5" name="Freeform 8774">
                  <a:extLst>
                    <a:ext uri="{FF2B5EF4-FFF2-40B4-BE49-F238E27FC236}">
                      <a16:creationId xmlns:a16="http://schemas.microsoft.com/office/drawing/2014/main" id="{DEAA17D4-6CC2-A44B-9B04-AC95BC91B79C}"/>
                    </a:ext>
                  </a:extLst>
                </p:cNvPr>
                <p:cNvSpPr/>
                <p:nvPr/>
              </p:nvSpPr>
              <p:spPr>
                <a:xfrm>
                  <a:off x="2239920" y="1165311"/>
                  <a:ext cx="23416" cy="46584"/>
                </a:xfrm>
                <a:custGeom>
                  <a:avLst/>
                  <a:gdLst>
                    <a:gd name="connsiteX0" fmla="*/ 23417 w 23416"/>
                    <a:gd name="connsiteY0" fmla="*/ 0 h 46584"/>
                    <a:gd name="connsiteX1" fmla="*/ 13452 w 23416"/>
                    <a:gd name="connsiteY1" fmla="*/ 15943 h 46584"/>
                    <a:gd name="connsiteX2" fmla="*/ 9093 w 23416"/>
                    <a:gd name="connsiteY2" fmla="*/ 32759 h 46584"/>
                    <a:gd name="connsiteX3" fmla="*/ 0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228"/>
                        <a:pt x="14947" y="11833"/>
                        <a:pt x="13452" y="15943"/>
                      </a:cubicBezTo>
                      <a:cubicBezTo>
                        <a:pt x="11086" y="22545"/>
                        <a:pt x="11708" y="26157"/>
                        <a:pt x="9093" y="32759"/>
                      </a:cubicBezTo>
                      <a:cubicBezTo>
                        <a:pt x="6477" y="39236"/>
                        <a:pt x="2740" y="43720"/>
                        <a:pt x="0"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6" name="Freeform 8775">
                  <a:extLst>
                    <a:ext uri="{FF2B5EF4-FFF2-40B4-BE49-F238E27FC236}">
                      <a16:creationId xmlns:a16="http://schemas.microsoft.com/office/drawing/2014/main" id="{C3C72CFF-BBC2-2210-9D57-72DC193C8CCA}"/>
                    </a:ext>
                  </a:extLst>
                </p:cNvPr>
                <p:cNvSpPr/>
                <p:nvPr/>
              </p:nvSpPr>
              <p:spPr>
                <a:xfrm>
                  <a:off x="2249760" y="1163692"/>
                  <a:ext cx="22046" cy="47331"/>
                </a:xfrm>
                <a:custGeom>
                  <a:avLst/>
                  <a:gdLst>
                    <a:gd name="connsiteX0" fmla="*/ 0 w 22046"/>
                    <a:gd name="connsiteY0" fmla="*/ 47332 h 47331"/>
                    <a:gd name="connsiteX1" fmla="*/ 6353 w 22046"/>
                    <a:gd name="connsiteY1" fmla="*/ 29645 h 47331"/>
                    <a:gd name="connsiteX2" fmla="*/ 16815 w 22046"/>
                    <a:gd name="connsiteY2" fmla="*/ 15694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1246" y="38987"/>
                        <a:pt x="3986" y="33257"/>
                        <a:pt x="6353" y="29645"/>
                      </a:cubicBezTo>
                      <a:cubicBezTo>
                        <a:pt x="10089" y="23666"/>
                        <a:pt x="13328" y="21922"/>
                        <a:pt x="16815" y="15694"/>
                      </a:cubicBezTo>
                      <a:cubicBezTo>
                        <a:pt x="20303" y="9716"/>
                        <a:pt x="21424" y="3986"/>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7" name="Freeform 8776">
                  <a:extLst>
                    <a:ext uri="{FF2B5EF4-FFF2-40B4-BE49-F238E27FC236}">
                      <a16:creationId xmlns:a16="http://schemas.microsoft.com/office/drawing/2014/main" id="{AB7ED7FA-712F-9C97-46D1-674861D1C9D8}"/>
                    </a:ext>
                  </a:extLst>
                </p:cNvPr>
                <p:cNvSpPr/>
                <p:nvPr/>
              </p:nvSpPr>
              <p:spPr>
                <a:xfrm>
                  <a:off x="2256470" y="1147213"/>
                  <a:ext cx="26236" cy="26480"/>
                </a:xfrm>
                <a:custGeom>
                  <a:avLst/>
                  <a:gdLst>
                    <a:gd name="connsiteX0" fmla="*/ 24928 w 26236"/>
                    <a:gd name="connsiteY0" fmla="*/ 18970 h 26480"/>
                    <a:gd name="connsiteX1" fmla="*/ 7365 w 26236"/>
                    <a:gd name="connsiteY1" fmla="*/ 25198 h 26480"/>
                    <a:gd name="connsiteX2" fmla="*/ 1386 w 26236"/>
                    <a:gd name="connsiteY2" fmla="*/ 7510 h 26480"/>
                    <a:gd name="connsiteX3" fmla="*/ 18949 w 26236"/>
                    <a:gd name="connsiteY3" fmla="*/ 1283 h 26480"/>
                    <a:gd name="connsiteX4" fmla="*/ 24928 w 26236"/>
                    <a:gd name="connsiteY4" fmla="*/ 18970 h 26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480">
                      <a:moveTo>
                        <a:pt x="24928" y="18970"/>
                      </a:moveTo>
                      <a:cubicBezTo>
                        <a:pt x="21814" y="25571"/>
                        <a:pt x="13966" y="28312"/>
                        <a:pt x="7365" y="25198"/>
                      </a:cubicBezTo>
                      <a:cubicBezTo>
                        <a:pt x="763" y="22084"/>
                        <a:pt x="-1853" y="14112"/>
                        <a:pt x="1386" y="7510"/>
                      </a:cubicBezTo>
                      <a:cubicBezTo>
                        <a:pt x="4625" y="909"/>
                        <a:pt x="12472" y="-1831"/>
                        <a:pt x="18949" y="1283"/>
                      </a:cubicBezTo>
                      <a:cubicBezTo>
                        <a:pt x="25426" y="4397"/>
                        <a:pt x="28041" y="12368"/>
                        <a:pt x="24928" y="189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1" name="Graphic 2987">
                <a:extLst>
                  <a:ext uri="{FF2B5EF4-FFF2-40B4-BE49-F238E27FC236}">
                    <a16:creationId xmlns:a16="http://schemas.microsoft.com/office/drawing/2014/main" id="{0610871A-AF3C-B94A-4CA7-10A7AB213CBF}"/>
                  </a:ext>
                </a:extLst>
              </p:cNvPr>
              <p:cNvGrpSpPr/>
              <p:nvPr/>
            </p:nvGrpSpPr>
            <p:grpSpPr>
              <a:xfrm>
                <a:off x="2175785" y="1134508"/>
                <a:ext cx="80570" cy="136498"/>
                <a:chOff x="2175785" y="1134508"/>
                <a:chExt cx="80570" cy="136498"/>
              </a:xfrm>
              <a:grpFill/>
            </p:grpSpPr>
            <p:sp>
              <p:nvSpPr>
                <p:cNvPr id="5526" name="Freeform 8778">
                  <a:extLst>
                    <a:ext uri="{FF2B5EF4-FFF2-40B4-BE49-F238E27FC236}">
                      <a16:creationId xmlns:a16="http://schemas.microsoft.com/office/drawing/2014/main" id="{AA4A7A11-5110-336F-BEDE-D05249E7CE0F}"/>
                    </a:ext>
                  </a:extLst>
                </p:cNvPr>
                <p:cNvSpPr/>
                <p:nvPr/>
              </p:nvSpPr>
              <p:spPr>
                <a:xfrm>
                  <a:off x="2195702" y="1206415"/>
                  <a:ext cx="23416" cy="46460"/>
                </a:xfrm>
                <a:custGeom>
                  <a:avLst/>
                  <a:gdLst>
                    <a:gd name="connsiteX0" fmla="*/ 0 w 23416"/>
                    <a:gd name="connsiteY0" fmla="*/ 46460 h 46460"/>
                    <a:gd name="connsiteX1" fmla="*/ 9965 w 23416"/>
                    <a:gd name="connsiteY1" fmla="*/ 30517 h 46460"/>
                    <a:gd name="connsiteX2" fmla="*/ 14324 w 23416"/>
                    <a:gd name="connsiteY2" fmla="*/ 13701 h 46460"/>
                    <a:gd name="connsiteX3" fmla="*/ 23417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0" y="46460"/>
                      </a:moveTo>
                      <a:cubicBezTo>
                        <a:pt x="5854" y="40357"/>
                        <a:pt x="8595" y="34627"/>
                        <a:pt x="9965" y="30517"/>
                      </a:cubicBezTo>
                      <a:cubicBezTo>
                        <a:pt x="12331" y="23915"/>
                        <a:pt x="11708" y="20303"/>
                        <a:pt x="14324" y="13701"/>
                      </a:cubicBezTo>
                      <a:cubicBezTo>
                        <a:pt x="16940" y="7349"/>
                        <a:pt x="20677" y="2740"/>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7" name="Freeform 8779">
                  <a:extLst>
                    <a:ext uri="{FF2B5EF4-FFF2-40B4-BE49-F238E27FC236}">
                      <a16:creationId xmlns:a16="http://schemas.microsoft.com/office/drawing/2014/main" id="{CF2D9527-9FA5-5032-80F5-D26B9A0B3090}"/>
                    </a:ext>
                  </a:extLst>
                </p:cNvPr>
                <p:cNvSpPr/>
                <p:nvPr/>
              </p:nvSpPr>
              <p:spPr>
                <a:xfrm>
                  <a:off x="2187232" y="1207162"/>
                  <a:ext cx="22295" cy="47207"/>
                </a:xfrm>
                <a:custGeom>
                  <a:avLst/>
                  <a:gdLst>
                    <a:gd name="connsiteX0" fmla="*/ 22296 w 22295"/>
                    <a:gd name="connsiteY0" fmla="*/ 0 h 47207"/>
                    <a:gd name="connsiteX1" fmla="*/ 15819 w 22295"/>
                    <a:gd name="connsiteY1" fmla="*/ 17687 h 47207"/>
                    <a:gd name="connsiteX2" fmla="*/ 5231 w 22295"/>
                    <a:gd name="connsiteY2" fmla="*/ 31513 h 47207"/>
                    <a:gd name="connsiteX3" fmla="*/ 0 w 22295"/>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0"/>
                      </a:moveTo>
                      <a:cubicBezTo>
                        <a:pt x="20926" y="8345"/>
                        <a:pt x="18185" y="13950"/>
                        <a:pt x="15819" y="17687"/>
                      </a:cubicBezTo>
                      <a:cubicBezTo>
                        <a:pt x="12082" y="23541"/>
                        <a:pt x="8719" y="25410"/>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8" name="Freeform 8780">
                  <a:extLst>
                    <a:ext uri="{FF2B5EF4-FFF2-40B4-BE49-F238E27FC236}">
                      <a16:creationId xmlns:a16="http://schemas.microsoft.com/office/drawing/2014/main" id="{46539C13-3FC4-A014-6503-F3E2971D572A}"/>
                    </a:ext>
                  </a:extLst>
                </p:cNvPr>
                <p:cNvSpPr/>
                <p:nvPr/>
              </p:nvSpPr>
              <p:spPr>
                <a:xfrm>
                  <a:off x="2175785" y="1244389"/>
                  <a:ext cx="26880" cy="26617"/>
                </a:xfrm>
                <a:custGeom>
                  <a:avLst/>
                  <a:gdLst>
                    <a:gd name="connsiteX0" fmla="*/ 1358 w 26880"/>
                    <a:gd name="connsiteY0" fmla="*/ 7365 h 26617"/>
                    <a:gd name="connsiteX1" fmla="*/ 19294 w 26880"/>
                    <a:gd name="connsiteY1" fmla="*/ 1386 h 26617"/>
                    <a:gd name="connsiteX2" fmla="*/ 25522 w 26880"/>
                    <a:gd name="connsiteY2" fmla="*/ 19198 h 26617"/>
                    <a:gd name="connsiteX3" fmla="*/ 7586 w 26880"/>
                    <a:gd name="connsiteY3" fmla="*/ 25177 h 26617"/>
                    <a:gd name="connsiteX4" fmla="*/ 1358 w 26880"/>
                    <a:gd name="connsiteY4" fmla="*/ 7365 h 26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617">
                      <a:moveTo>
                        <a:pt x="1358" y="7365"/>
                      </a:moveTo>
                      <a:cubicBezTo>
                        <a:pt x="4597" y="763"/>
                        <a:pt x="12693" y="-1852"/>
                        <a:pt x="19294" y="1386"/>
                      </a:cubicBezTo>
                      <a:cubicBezTo>
                        <a:pt x="26021" y="4625"/>
                        <a:pt x="28761" y="12596"/>
                        <a:pt x="25522" y="19198"/>
                      </a:cubicBezTo>
                      <a:cubicBezTo>
                        <a:pt x="22284" y="25799"/>
                        <a:pt x="14312" y="28540"/>
                        <a:pt x="7586" y="25177"/>
                      </a:cubicBezTo>
                      <a:cubicBezTo>
                        <a:pt x="860" y="21814"/>
                        <a:pt x="-1880" y="13842"/>
                        <a:pt x="1358" y="7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9" name="Freeform 8781">
                  <a:extLst>
                    <a:ext uri="{FF2B5EF4-FFF2-40B4-BE49-F238E27FC236}">
                      <a16:creationId xmlns:a16="http://schemas.microsoft.com/office/drawing/2014/main" id="{9ADCD524-538E-B45D-86B0-58A5025ABBAC}"/>
                    </a:ext>
                  </a:extLst>
                </p:cNvPr>
                <p:cNvSpPr/>
                <p:nvPr/>
              </p:nvSpPr>
              <p:spPr>
                <a:xfrm>
                  <a:off x="2213265" y="1152482"/>
                  <a:ext cx="23665" cy="46460"/>
                </a:xfrm>
                <a:custGeom>
                  <a:avLst/>
                  <a:gdLst>
                    <a:gd name="connsiteX0" fmla="*/ 23666 w 23665"/>
                    <a:gd name="connsiteY0" fmla="*/ 0 h 46460"/>
                    <a:gd name="connsiteX1" fmla="*/ 13701 w 23665"/>
                    <a:gd name="connsiteY1" fmla="*/ 15943 h 46460"/>
                    <a:gd name="connsiteX2" fmla="*/ 9217 w 23665"/>
                    <a:gd name="connsiteY2" fmla="*/ 32759 h 46460"/>
                    <a:gd name="connsiteX3" fmla="*/ 0 w 23665"/>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665" h="46460">
                      <a:moveTo>
                        <a:pt x="23666" y="0"/>
                      </a:moveTo>
                      <a:cubicBezTo>
                        <a:pt x="17936" y="6103"/>
                        <a:pt x="15071" y="11833"/>
                        <a:pt x="13701" y="15943"/>
                      </a:cubicBezTo>
                      <a:cubicBezTo>
                        <a:pt x="11335" y="22545"/>
                        <a:pt x="11833" y="26157"/>
                        <a:pt x="9217" y="32759"/>
                      </a:cubicBezTo>
                      <a:cubicBezTo>
                        <a:pt x="6602" y="39111"/>
                        <a:pt x="2865" y="43720"/>
                        <a:pt x="0"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0" name="Freeform 8782">
                  <a:extLst>
                    <a:ext uri="{FF2B5EF4-FFF2-40B4-BE49-F238E27FC236}">
                      <a16:creationId xmlns:a16="http://schemas.microsoft.com/office/drawing/2014/main" id="{25B67F34-EC48-6E60-E019-A83A68E0C4CC}"/>
                    </a:ext>
                  </a:extLst>
                </p:cNvPr>
                <p:cNvSpPr/>
                <p:nvPr/>
              </p:nvSpPr>
              <p:spPr>
                <a:xfrm>
                  <a:off x="2223105" y="1151111"/>
                  <a:ext cx="22295" cy="47082"/>
                </a:xfrm>
                <a:custGeom>
                  <a:avLst/>
                  <a:gdLst>
                    <a:gd name="connsiteX0" fmla="*/ 0 w 22295"/>
                    <a:gd name="connsiteY0" fmla="*/ 47083 h 47082"/>
                    <a:gd name="connsiteX1" fmla="*/ 6477 w 22295"/>
                    <a:gd name="connsiteY1" fmla="*/ 29396 h 47082"/>
                    <a:gd name="connsiteX2" fmla="*/ 17065 w 22295"/>
                    <a:gd name="connsiteY2" fmla="*/ 1557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1246" y="38737"/>
                        <a:pt x="4110" y="33132"/>
                        <a:pt x="6477" y="29396"/>
                      </a:cubicBezTo>
                      <a:cubicBezTo>
                        <a:pt x="10214" y="23541"/>
                        <a:pt x="13452" y="21673"/>
                        <a:pt x="17065" y="15570"/>
                      </a:cubicBezTo>
                      <a:cubicBezTo>
                        <a:pt x="20552" y="9591"/>
                        <a:pt x="21798" y="3861"/>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1" name="Freeform 8783">
                  <a:extLst>
                    <a:ext uri="{FF2B5EF4-FFF2-40B4-BE49-F238E27FC236}">
                      <a16:creationId xmlns:a16="http://schemas.microsoft.com/office/drawing/2014/main" id="{FCC827C7-81D4-9EEF-DB8F-A2493E280E1D}"/>
                    </a:ext>
                  </a:extLst>
                </p:cNvPr>
                <p:cNvSpPr/>
                <p:nvPr/>
              </p:nvSpPr>
              <p:spPr>
                <a:xfrm>
                  <a:off x="2230086" y="1134508"/>
                  <a:ext cx="26269" cy="26355"/>
                </a:xfrm>
                <a:custGeom>
                  <a:avLst/>
                  <a:gdLst>
                    <a:gd name="connsiteX0" fmla="*/ 24905 w 26269"/>
                    <a:gd name="connsiteY0" fmla="*/ 18845 h 26355"/>
                    <a:gd name="connsiteX1" fmla="*/ 7343 w 26269"/>
                    <a:gd name="connsiteY1" fmla="*/ 25073 h 26355"/>
                    <a:gd name="connsiteX2" fmla="*/ 1364 w 26269"/>
                    <a:gd name="connsiteY2" fmla="*/ 7510 h 26355"/>
                    <a:gd name="connsiteX3" fmla="*/ 18927 w 26269"/>
                    <a:gd name="connsiteY3" fmla="*/ 1283 h 26355"/>
                    <a:gd name="connsiteX4" fmla="*/ 24905 w 26269"/>
                    <a:gd name="connsiteY4" fmla="*/ 18845 h 26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9" h="26355">
                      <a:moveTo>
                        <a:pt x="24905" y="18845"/>
                      </a:moveTo>
                      <a:cubicBezTo>
                        <a:pt x="21667" y="25447"/>
                        <a:pt x="13820" y="28187"/>
                        <a:pt x="7343" y="25073"/>
                      </a:cubicBezTo>
                      <a:cubicBezTo>
                        <a:pt x="866" y="21959"/>
                        <a:pt x="-1875" y="13987"/>
                        <a:pt x="1364" y="7510"/>
                      </a:cubicBezTo>
                      <a:cubicBezTo>
                        <a:pt x="4603" y="909"/>
                        <a:pt x="12450" y="-1831"/>
                        <a:pt x="18927" y="1283"/>
                      </a:cubicBezTo>
                      <a:cubicBezTo>
                        <a:pt x="25404" y="4397"/>
                        <a:pt x="28144" y="12368"/>
                        <a:pt x="24905" y="188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2" name="Graphic 2987">
                <a:extLst>
                  <a:ext uri="{FF2B5EF4-FFF2-40B4-BE49-F238E27FC236}">
                    <a16:creationId xmlns:a16="http://schemas.microsoft.com/office/drawing/2014/main" id="{87430AAF-7208-B7F5-DBFD-553F7B177076}"/>
                  </a:ext>
                </a:extLst>
              </p:cNvPr>
              <p:cNvGrpSpPr/>
              <p:nvPr/>
            </p:nvGrpSpPr>
            <p:grpSpPr>
              <a:xfrm>
                <a:off x="2148756" y="1121746"/>
                <a:ext cx="81343" cy="136002"/>
                <a:chOff x="2148756" y="1121746"/>
                <a:chExt cx="81343" cy="136002"/>
              </a:xfrm>
              <a:grpFill/>
            </p:grpSpPr>
            <p:sp>
              <p:nvSpPr>
                <p:cNvPr id="5520" name="Freeform 8785">
                  <a:extLst>
                    <a:ext uri="{FF2B5EF4-FFF2-40B4-BE49-F238E27FC236}">
                      <a16:creationId xmlns:a16="http://schemas.microsoft.com/office/drawing/2014/main" id="{71FF032E-5B26-B80F-D806-2942438753DD}"/>
                    </a:ext>
                  </a:extLst>
                </p:cNvPr>
                <p:cNvSpPr/>
                <p:nvPr/>
              </p:nvSpPr>
              <p:spPr>
                <a:xfrm>
                  <a:off x="2168673" y="1193461"/>
                  <a:ext cx="23790" cy="46335"/>
                </a:xfrm>
                <a:custGeom>
                  <a:avLst/>
                  <a:gdLst>
                    <a:gd name="connsiteX0" fmla="*/ 0 w 23790"/>
                    <a:gd name="connsiteY0" fmla="*/ 46335 h 46335"/>
                    <a:gd name="connsiteX1" fmla="*/ 10089 w 23790"/>
                    <a:gd name="connsiteY1" fmla="*/ 30517 h 46335"/>
                    <a:gd name="connsiteX2" fmla="*/ 14573 w 23790"/>
                    <a:gd name="connsiteY2" fmla="*/ 13701 h 46335"/>
                    <a:gd name="connsiteX3" fmla="*/ 23791 w 23790"/>
                    <a:gd name="connsiteY3" fmla="*/ 0 h 46335"/>
                  </a:gdLst>
                  <a:ahLst/>
                  <a:cxnLst>
                    <a:cxn ang="0">
                      <a:pos x="connsiteX0" y="connsiteY0"/>
                    </a:cxn>
                    <a:cxn ang="0">
                      <a:pos x="connsiteX1" y="connsiteY1"/>
                    </a:cxn>
                    <a:cxn ang="0">
                      <a:pos x="connsiteX2" y="connsiteY2"/>
                    </a:cxn>
                    <a:cxn ang="0">
                      <a:pos x="connsiteX3" y="connsiteY3"/>
                    </a:cxn>
                  </a:cxnLst>
                  <a:rect l="l" t="t" r="r" b="b"/>
                  <a:pathLst>
                    <a:path w="23790" h="46335">
                      <a:moveTo>
                        <a:pt x="0" y="46335"/>
                      </a:moveTo>
                      <a:cubicBezTo>
                        <a:pt x="5854" y="40232"/>
                        <a:pt x="8595" y="34502"/>
                        <a:pt x="10089" y="30517"/>
                      </a:cubicBezTo>
                      <a:cubicBezTo>
                        <a:pt x="12456" y="23915"/>
                        <a:pt x="11958" y="20303"/>
                        <a:pt x="14573" y="13701"/>
                      </a:cubicBezTo>
                      <a:cubicBezTo>
                        <a:pt x="17189" y="7349"/>
                        <a:pt x="21050" y="2865"/>
                        <a:pt x="237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1" name="Freeform 8786">
                  <a:extLst>
                    <a:ext uri="{FF2B5EF4-FFF2-40B4-BE49-F238E27FC236}">
                      <a16:creationId xmlns:a16="http://schemas.microsoft.com/office/drawing/2014/main" id="{6540D79D-108D-26C1-664A-DE69D0A61D8E}"/>
                    </a:ext>
                  </a:extLst>
                </p:cNvPr>
                <p:cNvSpPr/>
                <p:nvPr/>
              </p:nvSpPr>
              <p:spPr>
                <a:xfrm>
                  <a:off x="2160079" y="1194208"/>
                  <a:ext cx="22669" cy="46958"/>
                </a:xfrm>
                <a:custGeom>
                  <a:avLst/>
                  <a:gdLst>
                    <a:gd name="connsiteX0" fmla="*/ 22670 w 22669"/>
                    <a:gd name="connsiteY0" fmla="*/ 0 h 46958"/>
                    <a:gd name="connsiteX1" fmla="*/ 16068 w 22669"/>
                    <a:gd name="connsiteY1" fmla="*/ 17563 h 46958"/>
                    <a:gd name="connsiteX2" fmla="*/ 5356 w 22669"/>
                    <a:gd name="connsiteY2" fmla="*/ 31389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21299" y="8221"/>
                        <a:pt x="18434" y="13950"/>
                        <a:pt x="16068" y="17563"/>
                      </a:cubicBezTo>
                      <a:cubicBezTo>
                        <a:pt x="12207" y="23417"/>
                        <a:pt x="8968"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2" name="Freeform 8787">
                  <a:extLst>
                    <a:ext uri="{FF2B5EF4-FFF2-40B4-BE49-F238E27FC236}">
                      <a16:creationId xmlns:a16="http://schemas.microsoft.com/office/drawing/2014/main" id="{C5FD60A9-A6DA-88B9-3E08-C35DAC4B030B}"/>
                    </a:ext>
                  </a:extLst>
                </p:cNvPr>
                <p:cNvSpPr/>
                <p:nvPr/>
              </p:nvSpPr>
              <p:spPr>
                <a:xfrm>
                  <a:off x="2148756" y="1231333"/>
                  <a:ext cx="27005" cy="26415"/>
                </a:xfrm>
                <a:custGeom>
                  <a:avLst/>
                  <a:gdLst>
                    <a:gd name="connsiteX0" fmla="*/ 1358 w 27005"/>
                    <a:gd name="connsiteY0" fmla="*/ 7343 h 26415"/>
                    <a:gd name="connsiteX1" fmla="*/ 19419 w 27005"/>
                    <a:gd name="connsiteY1" fmla="*/ 1364 h 26415"/>
                    <a:gd name="connsiteX2" fmla="*/ 25647 w 27005"/>
                    <a:gd name="connsiteY2" fmla="*/ 19051 h 26415"/>
                    <a:gd name="connsiteX3" fmla="*/ 7586 w 27005"/>
                    <a:gd name="connsiteY3" fmla="*/ 25030 h 26415"/>
                    <a:gd name="connsiteX4" fmla="*/ 1358 w 27005"/>
                    <a:gd name="connsiteY4" fmla="*/ 7343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5" h="26415">
                      <a:moveTo>
                        <a:pt x="1358" y="7343"/>
                      </a:moveTo>
                      <a:cubicBezTo>
                        <a:pt x="4597" y="866"/>
                        <a:pt x="12693" y="-1875"/>
                        <a:pt x="19419" y="1364"/>
                      </a:cubicBezTo>
                      <a:cubicBezTo>
                        <a:pt x="26145" y="4602"/>
                        <a:pt x="28885" y="12574"/>
                        <a:pt x="25647" y="19051"/>
                      </a:cubicBezTo>
                      <a:cubicBezTo>
                        <a:pt x="22408" y="25653"/>
                        <a:pt x="14312" y="28268"/>
                        <a:pt x="7586" y="25030"/>
                      </a:cubicBezTo>
                      <a:cubicBezTo>
                        <a:pt x="860" y="21791"/>
                        <a:pt x="-1880" y="13820"/>
                        <a:pt x="135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3" name="Freeform 8788">
                  <a:extLst>
                    <a:ext uri="{FF2B5EF4-FFF2-40B4-BE49-F238E27FC236}">
                      <a16:creationId xmlns:a16="http://schemas.microsoft.com/office/drawing/2014/main" id="{EE715999-175E-A9B3-ACED-54B5A33DD8DC}"/>
                    </a:ext>
                  </a:extLst>
                </p:cNvPr>
                <p:cNvSpPr/>
                <p:nvPr/>
              </p:nvSpPr>
              <p:spPr>
                <a:xfrm>
                  <a:off x="2186610" y="1139777"/>
                  <a:ext cx="23915" cy="46335"/>
                </a:xfrm>
                <a:custGeom>
                  <a:avLst/>
                  <a:gdLst>
                    <a:gd name="connsiteX0" fmla="*/ 23915 w 23915"/>
                    <a:gd name="connsiteY0" fmla="*/ 0 h 46335"/>
                    <a:gd name="connsiteX1" fmla="*/ 13826 w 23915"/>
                    <a:gd name="connsiteY1" fmla="*/ 15819 h 46335"/>
                    <a:gd name="connsiteX2" fmla="*/ 9217 w 23915"/>
                    <a:gd name="connsiteY2" fmla="*/ 32634 h 46335"/>
                    <a:gd name="connsiteX3" fmla="*/ 0 w 2391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915" h="46335">
                      <a:moveTo>
                        <a:pt x="23915" y="0"/>
                      </a:moveTo>
                      <a:cubicBezTo>
                        <a:pt x="18061" y="6103"/>
                        <a:pt x="15321" y="11833"/>
                        <a:pt x="13826" y="15819"/>
                      </a:cubicBezTo>
                      <a:cubicBezTo>
                        <a:pt x="11459" y="22420"/>
                        <a:pt x="11957" y="26033"/>
                        <a:pt x="9217" y="32634"/>
                      </a:cubicBezTo>
                      <a:cubicBezTo>
                        <a:pt x="6602" y="38987"/>
                        <a:pt x="2740"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4" name="Freeform 8789">
                  <a:extLst>
                    <a:ext uri="{FF2B5EF4-FFF2-40B4-BE49-F238E27FC236}">
                      <a16:creationId xmlns:a16="http://schemas.microsoft.com/office/drawing/2014/main" id="{F286F914-F0DD-0A2E-D8E9-0C06FC6A8ABD}"/>
                    </a:ext>
                  </a:extLst>
                </p:cNvPr>
                <p:cNvSpPr/>
                <p:nvPr/>
              </p:nvSpPr>
              <p:spPr>
                <a:xfrm>
                  <a:off x="2196450" y="1138282"/>
                  <a:ext cx="22669" cy="46958"/>
                </a:xfrm>
                <a:custGeom>
                  <a:avLst/>
                  <a:gdLst>
                    <a:gd name="connsiteX0" fmla="*/ 0 w 22669"/>
                    <a:gd name="connsiteY0" fmla="*/ 46958 h 46958"/>
                    <a:gd name="connsiteX1" fmla="*/ 6602 w 22669"/>
                    <a:gd name="connsiteY1" fmla="*/ 29396 h 46958"/>
                    <a:gd name="connsiteX2" fmla="*/ 17314 w 22669"/>
                    <a:gd name="connsiteY2" fmla="*/ 1557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1370" y="38737"/>
                        <a:pt x="4235" y="33008"/>
                        <a:pt x="6602" y="29396"/>
                      </a:cubicBezTo>
                      <a:cubicBezTo>
                        <a:pt x="10463" y="23541"/>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5" name="Freeform 8790">
                  <a:extLst>
                    <a:ext uri="{FF2B5EF4-FFF2-40B4-BE49-F238E27FC236}">
                      <a16:creationId xmlns:a16="http://schemas.microsoft.com/office/drawing/2014/main" id="{314AF0E5-DDC4-C31C-B8B2-C8B7484FBFE7}"/>
                    </a:ext>
                  </a:extLst>
                </p:cNvPr>
                <p:cNvSpPr/>
                <p:nvPr/>
              </p:nvSpPr>
              <p:spPr>
                <a:xfrm>
                  <a:off x="2203779" y="1121746"/>
                  <a:ext cx="26319" cy="26366"/>
                </a:xfrm>
                <a:custGeom>
                  <a:avLst/>
                  <a:gdLst>
                    <a:gd name="connsiteX0" fmla="*/ 24930 w 26319"/>
                    <a:gd name="connsiteY0" fmla="*/ 18902 h 26366"/>
                    <a:gd name="connsiteX1" fmla="*/ 7243 w 26319"/>
                    <a:gd name="connsiteY1" fmla="*/ 25006 h 26366"/>
                    <a:gd name="connsiteX2" fmla="*/ 1389 w 26319"/>
                    <a:gd name="connsiteY2" fmla="*/ 7443 h 26366"/>
                    <a:gd name="connsiteX3" fmla="*/ 19076 w 26319"/>
                    <a:gd name="connsiteY3" fmla="*/ 1340 h 26366"/>
                    <a:gd name="connsiteX4" fmla="*/ 24930 w 26319"/>
                    <a:gd name="connsiteY4" fmla="*/ 18902 h 2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366">
                      <a:moveTo>
                        <a:pt x="24930" y="18902"/>
                      </a:moveTo>
                      <a:cubicBezTo>
                        <a:pt x="21692" y="25504"/>
                        <a:pt x="13720" y="28244"/>
                        <a:pt x="7243" y="25006"/>
                      </a:cubicBezTo>
                      <a:cubicBezTo>
                        <a:pt x="766" y="21892"/>
                        <a:pt x="-1849" y="14044"/>
                        <a:pt x="1389" y="7443"/>
                      </a:cubicBezTo>
                      <a:cubicBezTo>
                        <a:pt x="4628" y="966"/>
                        <a:pt x="12599" y="-1899"/>
                        <a:pt x="19076" y="1340"/>
                      </a:cubicBezTo>
                      <a:cubicBezTo>
                        <a:pt x="25553" y="4454"/>
                        <a:pt x="28169" y="12301"/>
                        <a:pt x="24930" y="18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3" name="Graphic 2987">
                <a:extLst>
                  <a:ext uri="{FF2B5EF4-FFF2-40B4-BE49-F238E27FC236}">
                    <a16:creationId xmlns:a16="http://schemas.microsoft.com/office/drawing/2014/main" id="{3529C7F5-C40B-4A05-67F3-4CC0F88C8712}"/>
                  </a:ext>
                </a:extLst>
              </p:cNvPr>
              <p:cNvGrpSpPr/>
              <p:nvPr/>
            </p:nvGrpSpPr>
            <p:grpSpPr>
              <a:xfrm>
                <a:off x="2121647" y="1109074"/>
                <a:ext cx="82173" cy="135449"/>
                <a:chOff x="2121647" y="1109074"/>
                <a:chExt cx="82173" cy="135449"/>
              </a:xfrm>
              <a:grpFill/>
            </p:grpSpPr>
            <p:sp>
              <p:nvSpPr>
                <p:cNvPr id="5514" name="Freeform 8792">
                  <a:extLst>
                    <a:ext uri="{FF2B5EF4-FFF2-40B4-BE49-F238E27FC236}">
                      <a16:creationId xmlns:a16="http://schemas.microsoft.com/office/drawing/2014/main" id="{26A13520-F221-1FE0-F7EA-34ADB2087371}"/>
                    </a:ext>
                  </a:extLst>
                </p:cNvPr>
                <p:cNvSpPr/>
                <p:nvPr/>
              </p:nvSpPr>
              <p:spPr>
                <a:xfrm>
                  <a:off x="2141769" y="1180507"/>
                  <a:ext cx="24164" cy="46210"/>
                </a:xfrm>
                <a:custGeom>
                  <a:avLst/>
                  <a:gdLst>
                    <a:gd name="connsiteX0" fmla="*/ 0 w 24164"/>
                    <a:gd name="connsiteY0" fmla="*/ 46211 h 46210"/>
                    <a:gd name="connsiteX1" fmla="*/ 10214 w 24164"/>
                    <a:gd name="connsiteY1" fmla="*/ 30392 h 46210"/>
                    <a:gd name="connsiteX2" fmla="*/ 14822 w 24164"/>
                    <a:gd name="connsiteY2" fmla="*/ 13701 h 46210"/>
                    <a:gd name="connsiteX3" fmla="*/ 24164 w 24164"/>
                    <a:gd name="connsiteY3" fmla="*/ 0 h 46210"/>
                  </a:gdLst>
                  <a:ahLst/>
                  <a:cxnLst>
                    <a:cxn ang="0">
                      <a:pos x="connsiteX0" y="connsiteY0"/>
                    </a:cxn>
                    <a:cxn ang="0">
                      <a:pos x="connsiteX1" y="connsiteY1"/>
                    </a:cxn>
                    <a:cxn ang="0">
                      <a:pos x="connsiteX2" y="connsiteY2"/>
                    </a:cxn>
                    <a:cxn ang="0">
                      <a:pos x="connsiteX3" y="connsiteY3"/>
                    </a:cxn>
                  </a:cxnLst>
                  <a:rect l="l" t="t" r="r" b="b"/>
                  <a:pathLst>
                    <a:path w="24164" h="46210">
                      <a:moveTo>
                        <a:pt x="0" y="46211"/>
                      </a:moveTo>
                      <a:cubicBezTo>
                        <a:pt x="5854" y="40108"/>
                        <a:pt x="8719" y="34502"/>
                        <a:pt x="10214" y="30392"/>
                      </a:cubicBezTo>
                      <a:cubicBezTo>
                        <a:pt x="12705" y="23791"/>
                        <a:pt x="12082" y="20178"/>
                        <a:pt x="14822" y="13701"/>
                      </a:cubicBezTo>
                      <a:cubicBezTo>
                        <a:pt x="17438" y="7349"/>
                        <a:pt x="21299" y="2865"/>
                        <a:pt x="24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5" name="Freeform 8793">
                  <a:extLst>
                    <a:ext uri="{FF2B5EF4-FFF2-40B4-BE49-F238E27FC236}">
                      <a16:creationId xmlns:a16="http://schemas.microsoft.com/office/drawing/2014/main" id="{C5E12B27-0379-52E8-3663-D4FCC4E2DF90}"/>
                    </a:ext>
                  </a:extLst>
                </p:cNvPr>
                <p:cNvSpPr/>
                <p:nvPr/>
              </p:nvSpPr>
              <p:spPr>
                <a:xfrm>
                  <a:off x="2132925" y="1181254"/>
                  <a:ext cx="23043" cy="46833"/>
                </a:xfrm>
                <a:custGeom>
                  <a:avLst/>
                  <a:gdLst>
                    <a:gd name="connsiteX0" fmla="*/ 23043 w 23043"/>
                    <a:gd name="connsiteY0" fmla="*/ 0 h 46833"/>
                    <a:gd name="connsiteX1" fmla="*/ 16317 w 23043"/>
                    <a:gd name="connsiteY1" fmla="*/ 17563 h 46833"/>
                    <a:gd name="connsiteX2" fmla="*/ 5480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21673" y="8221"/>
                        <a:pt x="18808" y="13950"/>
                        <a:pt x="16317" y="17563"/>
                      </a:cubicBezTo>
                      <a:cubicBezTo>
                        <a:pt x="12456" y="23417"/>
                        <a:pt x="9093" y="25161"/>
                        <a:pt x="5480" y="31264"/>
                      </a:cubicBezTo>
                      <a:cubicBezTo>
                        <a:pt x="1868" y="37243"/>
                        <a:pt x="623"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6" name="Freeform 8794">
                  <a:extLst>
                    <a:ext uri="{FF2B5EF4-FFF2-40B4-BE49-F238E27FC236}">
                      <a16:creationId xmlns:a16="http://schemas.microsoft.com/office/drawing/2014/main" id="{42F0FEB4-0C5C-EAA1-C064-C6EB0AF6E619}"/>
                    </a:ext>
                  </a:extLst>
                </p:cNvPr>
                <p:cNvSpPr/>
                <p:nvPr/>
              </p:nvSpPr>
              <p:spPr>
                <a:xfrm>
                  <a:off x="2121647" y="1218130"/>
                  <a:ext cx="26984" cy="26393"/>
                </a:xfrm>
                <a:custGeom>
                  <a:avLst/>
                  <a:gdLst>
                    <a:gd name="connsiteX0" fmla="*/ 1438 w 26984"/>
                    <a:gd name="connsiteY0" fmla="*/ 7343 h 26393"/>
                    <a:gd name="connsiteX1" fmla="*/ 19498 w 26984"/>
                    <a:gd name="connsiteY1" fmla="*/ 1364 h 26393"/>
                    <a:gd name="connsiteX2" fmla="*/ 25602 w 26984"/>
                    <a:gd name="connsiteY2" fmla="*/ 19051 h 26393"/>
                    <a:gd name="connsiteX3" fmla="*/ 7541 w 26984"/>
                    <a:gd name="connsiteY3" fmla="*/ 25030 h 26393"/>
                    <a:gd name="connsiteX4" fmla="*/ 1438 w 26984"/>
                    <a:gd name="connsiteY4" fmla="*/ 7343 h 26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 h="26393">
                      <a:moveTo>
                        <a:pt x="1438" y="7343"/>
                      </a:moveTo>
                      <a:cubicBezTo>
                        <a:pt x="4801" y="866"/>
                        <a:pt x="12897" y="-1875"/>
                        <a:pt x="19498" y="1364"/>
                      </a:cubicBezTo>
                      <a:cubicBezTo>
                        <a:pt x="26225" y="4602"/>
                        <a:pt x="28840" y="12450"/>
                        <a:pt x="25602" y="19051"/>
                      </a:cubicBezTo>
                      <a:cubicBezTo>
                        <a:pt x="22363" y="25528"/>
                        <a:pt x="14143" y="28268"/>
                        <a:pt x="7541" y="25030"/>
                      </a:cubicBezTo>
                      <a:cubicBezTo>
                        <a:pt x="815" y="21791"/>
                        <a:pt x="-1925" y="13944"/>
                        <a:pt x="143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7" name="Freeform 8795">
                  <a:extLst>
                    <a:ext uri="{FF2B5EF4-FFF2-40B4-BE49-F238E27FC236}">
                      <a16:creationId xmlns:a16="http://schemas.microsoft.com/office/drawing/2014/main" id="{22126AEF-A4F3-01A2-C86B-1292DB6F1976}"/>
                    </a:ext>
                  </a:extLst>
                </p:cNvPr>
                <p:cNvSpPr/>
                <p:nvPr/>
              </p:nvSpPr>
              <p:spPr>
                <a:xfrm>
                  <a:off x="2159830" y="1126947"/>
                  <a:ext cx="24288" cy="46210"/>
                </a:xfrm>
                <a:custGeom>
                  <a:avLst/>
                  <a:gdLst>
                    <a:gd name="connsiteX0" fmla="*/ 24289 w 24288"/>
                    <a:gd name="connsiteY0" fmla="*/ 0 h 46210"/>
                    <a:gd name="connsiteX1" fmla="*/ 14075 w 24288"/>
                    <a:gd name="connsiteY1" fmla="*/ 15819 h 46210"/>
                    <a:gd name="connsiteX2" fmla="*/ 9342 w 24288"/>
                    <a:gd name="connsiteY2" fmla="*/ 32510 h 46210"/>
                    <a:gd name="connsiteX3" fmla="*/ 0 w 24288"/>
                    <a:gd name="connsiteY3" fmla="*/ 46211 h 46210"/>
                  </a:gdLst>
                  <a:ahLst/>
                  <a:cxnLst>
                    <a:cxn ang="0">
                      <a:pos x="connsiteX0" y="connsiteY0"/>
                    </a:cxn>
                    <a:cxn ang="0">
                      <a:pos x="connsiteX1" y="connsiteY1"/>
                    </a:cxn>
                    <a:cxn ang="0">
                      <a:pos x="connsiteX2" y="connsiteY2"/>
                    </a:cxn>
                    <a:cxn ang="0">
                      <a:pos x="connsiteX3" y="connsiteY3"/>
                    </a:cxn>
                  </a:cxnLst>
                  <a:rect l="l" t="t" r="r" b="b"/>
                  <a:pathLst>
                    <a:path w="24288" h="46210">
                      <a:moveTo>
                        <a:pt x="24289" y="0"/>
                      </a:moveTo>
                      <a:cubicBezTo>
                        <a:pt x="18435" y="6103"/>
                        <a:pt x="15570" y="11708"/>
                        <a:pt x="14075" y="15819"/>
                      </a:cubicBezTo>
                      <a:cubicBezTo>
                        <a:pt x="11584" y="22296"/>
                        <a:pt x="12082" y="26033"/>
                        <a:pt x="9342" y="32510"/>
                      </a:cubicBezTo>
                      <a:cubicBezTo>
                        <a:pt x="6602" y="38862"/>
                        <a:pt x="2865" y="43346"/>
                        <a:pt x="0" y="4621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8" name="Freeform 8796">
                  <a:extLst>
                    <a:ext uri="{FF2B5EF4-FFF2-40B4-BE49-F238E27FC236}">
                      <a16:creationId xmlns:a16="http://schemas.microsoft.com/office/drawing/2014/main" id="{2B587EAF-B491-D37C-A0E7-6A70C639DFA9}"/>
                    </a:ext>
                  </a:extLst>
                </p:cNvPr>
                <p:cNvSpPr/>
                <p:nvPr/>
              </p:nvSpPr>
              <p:spPr>
                <a:xfrm>
                  <a:off x="2169794" y="1125453"/>
                  <a:ext cx="23043" cy="46833"/>
                </a:xfrm>
                <a:custGeom>
                  <a:avLst/>
                  <a:gdLst>
                    <a:gd name="connsiteX0" fmla="*/ 0 w 23043"/>
                    <a:gd name="connsiteY0" fmla="*/ 46834 h 46833"/>
                    <a:gd name="connsiteX1" fmla="*/ 6726 w 23043"/>
                    <a:gd name="connsiteY1" fmla="*/ 29271 h 46833"/>
                    <a:gd name="connsiteX2" fmla="*/ 17563 w 23043"/>
                    <a:gd name="connsiteY2" fmla="*/ 15570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1370" y="38613"/>
                        <a:pt x="4235" y="32883"/>
                        <a:pt x="6726" y="29271"/>
                      </a:cubicBezTo>
                      <a:cubicBezTo>
                        <a:pt x="10587" y="23417"/>
                        <a:pt x="13826" y="21673"/>
                        <a:pt x="17563" y="15570"/>
                      </a:cubicBezTo>
                      <a:cubicBezTo>
                        <a:pt x="21050" y="9591"/>
                        <a:pt x="22420" y="3861"/>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9" name="Freeform 8797">
                  <a:extLst>
                    <a:ext uri="{FF2B5EF4-FFF2-40B4-BE49-F238E27FC236}">
                      <a16:creationId xmlns:a16="http://schemas.microsoft.com/office/drawing/2014/main" id="{1F0038B2-40F1-A33D-FE53-C562EDF10CC2}"/>
                    </a:ext>
                  </a:extLst>
                </p:cNvPr>
                <p:cNvSpPr/>
                <p:nvPr/>
              </p:nvSpPr>
              <p:spPr>
                <a:xfrm>
                  <a:off x="2177417" y="1109074"/>
                  <a:ext cx="26403" cy="26257"/>
                </a:xfrm>
                <a:custGeom>
                  <a:avLst/>
                  <a:gdLst>
                    <a:gd name="connsiteX0" fmla="*/ 25011 w 26403"/>
                    <a:gd name="connsiteY0" fmla="*/ 18869 h 26257"/>
                    <a:gd name="connsiteX1" fmla="*/ 7199 w 26403"/>
                    <a:gd name="connsiteY1" fmla="*/ 24973 h 26257"/>
                    <a:gd name="connsiteX2" fmla="*/ 1470 w 26403"/>
                    <a:gd name="connsiteY2" fmla="*/ 7410 h 26257"/>
                    <a:gd name="connsiteX3" fmla="*/ 19282 w 26403"/>
                    <a:gd name="connsiteY3" fmla="*/ 1307 h 26257"/>
                    <a:gd name="connsiteX4" fmla="*/ 25011 w 26403"/>
                    <a:gd name="connsiteY4" fmla="*/ 18869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2" h="26257">
                      <a:moveTo>
                        <a:pt x="25011" y="18869"/>
                      </a:moveTo>
                      <a:cubicBezTo>
                        <a:pt x="21773" y="25346"/>
                        <a:pt x="13801" y="28087"/>
                        <a:pt x="7199" y="24973"/>
                      </a:cubicBezTo>
                      <a:cubicBezTo>
                        <a:pt x="722" y="21859"/>
                        <a:pt x="-1893" y="14012"/>
                        <a:pt x="1470" y="7410"/>
                      </a:cubicBezTo>
                      <a:cubicBezTo>
                        <a:pt x="4833" y="808"/>
                        <a:pt x="12805" y="-1807"/>
                        <a:pt x="19282" y="1307"/>
                      </a:cubicBezTo>
                      <a:cubicBezTo>
                        <a:pt x="25634" y="4421"/>
                        <a:pt x="28250" y="12268"/>
                        <a:pt x="25011" y="188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48" name="TextBox 5606">
              <a:extLst>
                <a:ext uri="{FF2B5EF4-FFF2-40B4-BE49-F238E27FC236}">
                  <a16:creationId xmlns:a16="http://schemas.microsoft.com/office/drawing/2014/main" id="{63E942E3-4A2A-CF42-B058-7FC3C3610ACC}"/>
                </a:ext>
              </a:extLst>
            </p:cNvPr>
            <p:cNvSpPr txBox="1"/>
            <p:nvPr/>
          </p:nvSpPr>
          <p:spPr>
            <a:xfrm>
              <a:off x="6591913" y="1318362"/>
              <a:ext cx="1170513"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Célula bacteriana</a:t>
              </a:r>
            </a:p>
          </p:txBody>
        </p:sp>
        <p:sp>
          <p:nvSpPr>
            <p:cNvPr id="7152" name="TextBox 5611">
              <a:extLst>
                <a:ext uri="{FF2B5EF4-FFF2-40B4-BE49-F238E27FC236}">
                  <a16:creationId xmlns:a16="http://schemas.microsoft.com/office/drawing/2014/main" id="{F8FAE608-5FB8-FB7D-BF07-BC6DC9475AB4}"/>
                </a:ext>
              </a:extLst>
            </p:cNvPr>
            <p:cNvSpPr txBox="1"/>
            <p:nvPr/>
          </p:nvSpPr>
          <p:spPr>
            <a:xfrm>
              <a:off x="9258563" y="1759097"/>
              <a:ext cx="316112" cy="243272"/>
            </a:xfrm>
            <a:prstGeom prst="rect">
              <a:avLst/>
            </a:prstGeom>
            <a:noFill/>
          </p:spPr>
          <p:txBody>
            <a:bodyPr wrap="none" rtlCol="0">
              <a:spAutoFit/>
            </a:bodyPr>
            <a:lstStyle/>
            <a:p>
              <a:pPr defTabSz="914377" fontAlgn="base">
                <a:spcBef>
                  <a:spcPct val="0"/>
                </a:spcBef>
                <a:spcAft>
                  <a:spcPct val="0"/>
                </a:spcAft>
                <a:defRPr/>
              </a:pPr>
              <a:r>
                <a:rPr lang="en-US" sz="981">
                  <a:solidFill>
                    <a:srgbClr val="FFFFFF"/>
                  </a:solidFill>
                  <a:ea typeface="ヒラギノ角ゴ Pro W3" panose="020B0300000000000000" pitchFamily="34" charset="-128"/>
                  <a:cs typeface="Arial"/>
                  <a:sym typeface="Arial"/>
                </a:rPr>
                <a:t>C3</a:t>
              </a:r>
            </a:p>
          </p:txBody>
        </p:sp>
        <p:sp>
          <p:nvSpPr>
            <p:cNvPr id="7157" name="Freeform 5764">
              <a:extLst>
                <a:ext uri="{FF2B5EF4-FFF2-40B4-BE49-F238E27FC236}">
                  <a16:creationId xmlns:a16="http://schemas.microsoft.com/office/drawing/2014/main" id="{A7D316C1-E4F7-598E-056A-02D305AD5FCB}"/>
                </a:ext>
              </a:extLst>
            </p:cNvPr>
            <p:cNvSpPr/>
            <p:nvPr/>
          </p:nvSpPr>
          <p:spPr>
            <a:xfrm>
              <a:off x="1118813" y="1916604"/>
              <a:ext cx="1782177" cy="484961"/>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bg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8" name="TextBox 5618">
              <a:extLst>
                <a:ext uri="{FF2B5EF4-FFF2-40B4-BE49-F238E27FC236}">
                  <a16:creationId xmlns:a16="http://schemas.microsoft.com/office/drawing/2014/main" id="{2F2B331E-865E-8F85-0DC9-87D4D95B34CB}"/>
                </a:ext>
              </a:extLst>
            </p:cNvPr>
            <p:cNvSpPr txBox="1"/>
            <p:nvPr/>
          </p:nvSpPr>
          <p:spPr>
            <a:xfrm>
              <a:off x="1263871" y="2008387"/>
              <a:ext cx="156805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t>
              </a:r>
              <a:r>
                <a:rPr lang="en-US" sz="1400" b="1" dirty="0" err="1">
                  <a:solidFill>
                    <a:srgbClr val="FFFFFF"/>
                  </a:solidFill>
                  <a:latin typeface="+mj-lt"/>
                  <a:ea typeface="ヒラギノ角ゴ Pro W3" panose="020B0300000000000000" pitchFamily="34" charset="-128"/>
                  <a:cs typeface="Arial"/>
                  <a:sym typeface="Arial"/>
                </a:rPr>
                <a:t>clássico</a:t>
              </a:r>
              <a:endParaRPr lang="en-US" sz="1400" b="1" dirty="0">
                <a:solidFill>
                  <a:srgbClr val="FFFFFF"/>
                </a:solidFill>
                <a:latin typeface="+mj-lt"/>
                <a:ea typeface="ヒラギノ角ゴ Pro W3" panose="020B0300000000000000" pitchFamily="34" charset="-128"/>
                <a:cs typeface="Arial"/>
                <a:sym typeface="Arial"/>
              </a:endParaRPr>
            </a:p>
          </p:txBody>
        </p:sp>
        <p:sp>
          <p:nvSpPr>
            <p:cNvPr id="7160" name="Freeform 5771">
              <a:extLst>
                <a:ext uri="{FF2B5EF4-FFF2-40B4-BE49-F238E27FC236}">
                  <a16:creationId xmlns:a16="http://schemas.microsoft.com/office/drawing/2014/main" id="{8DBED6C9-29DD-3FC5-C895-6CA9D0C0F614}"/>
                </a:ext>
              </a:extLst>
            </p:cNvPr>
            <p:cNvSpPr/>
            <p:nvPr/>
          </p:nvSpPr>
          <p:spPr>
            <a:xfrm>
              <a:off x="9833495" y="1933022"/>
              <a:ext cx="1780032" cy="468543"/>
            </a:xfrm>
            <a:custGeom>
              <a:avLst/>
              <a:gdLst>
                <a:gd name="connsiteX0" fmla="*/ 0 w 1783167"/>
                <a:gd name="connsiteY0" fmla="*/ 0 h 323227"/>
                <a:gd name="connsiteX1" fmla="*/ 1783167 w 1783167"/>
                <a:gd name="connsiteY1" fmla="*/ 0 h 323227"/>
                <a:gd name="connsiteX2" fmla="*/ 1783167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7" y="0"/>
                  </a:lnTo>
                  <a:lnTo>
                    <a:pt x="1783167" y="323227"/>
                  </a:lnTo>
                  <a:lnTo>
                    <a:pt x="0" y="323227"/>
                  </a:lnTo>
                  <a:close/>
                </a:path>
              </a:pathLst>
            </a:custGeom>
            <a:solidFill>
              <a:schemeClr val="tx2"/>
            </a:solidFill>
            <a:ln w="12452" cap="flat">
              <a:noFill/>
              <a:prstDash val="solid"/>
              <a:miter/>
            </a:ln>
          </p:spPr>
          <p:txBody>
            <a:bodyPr rtlCol="0" anchor="ctr"/>
            <a:lstStyle/>
            <a:p>
              <a:pPr defTabSz="914377" fontAlgn="base">
                <a:spcBef>
                  <a:spcPct val="0"/>
                </a:spcBef>
                <a:spcAft>
                  <a:spcPct val="0"/>
                </a:spcAft>
                <a:defRPr/>
              </a:pPr>
              <a:endParaRPr lang="en-US">
                <a:solidFill>
                  <a:srgbClr val="37302C"/>
                </a:solidFill>
                <a:ea typeface="ヒラギノ角ゴ Pro W3" panose="020B0300000000000000" pitchFamily="34" charset="-128"/>
                <a:cs typeface="Arial"/>
              </a:endParaRPr>
            </a:p>
          </p:txBody>
        </p:sp>
        <p:sp>
          <p:nvSpPr>
            <p:cNvPr id="7161" name="TextBox 5621">
              <a:extLst>
                <a:ext uri="{FF2B5EF4-FFF2-40B4-BE49-F238E27FC236}">
                  <a16:creationId xmlns:a16="http://schemas.microsoft.com/office/drawing/2014/main" id="{9A499B8A-BF26-3A9F-4D02-D1DA7A6A3C97}"/>
                </a:ext>
              </a:extLst>
            </p:cNvPr>
            <p:cNvSpPr txBox="1"/>
            <p:nvPr/>
          </p:nvSpPr>
          <p:spPr>
            <a:xfrm>
              <a:off x="9812877" y="2019643"/>
              <a:ext cx="182126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lternativo</a:t>
              </a:r>
            </a:p>
          </p:txBody>
        </p:sp>
        <p:sp>
          <p:nvSpPr>
            <p:cNvPr id="7162" name="TextBox 5623">
              <a:extLst>
                <a:ext uri="{FF2B5EF4-FFF2-40B4-BE49-F238E27FC236}">
                  <a16:creationId xmlns:a16="http://schemas.microsoft.com/office/drawing/2014/main" id="{56E3A775-7D80-2793-0E62-CF496E6E40D5}"/>
                </a:ext>
              </a:extLst>
            </p:cNvPr>
            <p:cNvSpPr txBox="1"/>
            <p:nvPr/>
          </p:nvSpPr>
          <p:spPr>
            <a:xfrm>
              <a:off x="5234224" y="1933022"/>
              <a:ext cx="1785632" cy="480131"/>
            </a:xfrm>
            <a:prstGeom prst="rect">
              <a:avLst/>
            </a:prstGeom>
            <a:solidFill>
              <a:schemeClr val="accent1"/>
            </a:solidFill>
          </p:spPr>
          <p:txBody>
            <a:bodyPr wrap="square" rtlCol="0" anchor="ctr" anchorCtr="1">
              <a:spAutoFit/>
            </a:bodyPr>
            <a:lstStyle/>
            <a:p>
              <a:pPr algn="ctr" defTabSz="914377" fontAlgn="base">
                <a:lnSpc>
                  <a:spcPct val="90000"/>
                </a:lnSpc>
                <a:spcBef>
                  <a:spcPct val="0"/>
                </a:spcBef>
                <a:spcAft>
                  <a:spcPct val="0"/>
                </a:spcAft>
                <a:defRPr/>
              </a:pPr>
              <a:r>
                <a:rPr lang="en-US" sz="1400" b="1">
                  <a:solidFill>
                    <a:srgbClr val="FFFFFF"/>
                  </a:solidFill>
                  <a:latin typeface="+mj-lt"/>
                  <a:ea typeface="ヒラギノ角ゴ Pro W3" panose="020B0300000000000000" pitchFamily="34" charset="-128"/>
                  <a:cs typeface="Arial"/>
                  <a:sym typeface="Arial"/>
                </a:rPr>
                <a:t>Ligação à manose</a:t>
              </a:r>
              <a:br>
                <a:rPr lang="en-US" sz="1400" b="1">
                  <a:solidFill>
                    <a:srgbClr val="FFFFFF"/>
                  </a:solidFill>
                  <a:latin typeface="+mj-lt"/>
                  <a:ea typeface="ヒラギノ角ゴ Pro W3" panose="020B0300000000000000" pitchFamily="34" charset="-128"/>
                  <a:cs typeface="Arial"/>
                  <a:sym typeface="Arial"/>
                </a:rPr>
              </a:br>
              <a:r>
                <a:rPr lang="en-US" sz="1400" b="1">
                  <a:solidFill>
                    <a:srgbClr val="FFFFFF"/>
                  </a:solidFill>
                  <a:latin typeface="+mj-lt"/>
                  <a:ea typeface="ヒラギノ角ゴ Pro W3" panose="020B0300000000000000" pitchFamily="34" charset="-128"/>
                  <a:cs typeface="Arial"/>
                  <a:sym typeface="Arial"/>
                </a:rPr>
                <a:t>via da lectina</a:t>
              </a:r>
            </a:p>
          </p:txBody>
        </p:sp>
        <p:sp>
          <p:nvSpPr>
            <p:cNvPr id="7163" name="TextBox 5624">
              <a:extLst>
                <a:ext uri="{FF2B5EF4-FFF2-40B4-BE49-F238E27FC236}">
                  <a16:creationId xmlns:a16="http://schemas.microsoft.com/office/drawing/2014/main" id="{433C7456-8DA8-CB88-8C8B-CC5496C7A090}"/>
                </a:ext>
              </a:extLst>
            </p:cNvPr>
            <p:cNvSpPr txBox="1"/>
            <p:nvPr/>
          </p:nvSpPr>
          <p:spPr>
            <a:xfrm>
              <a:off x="2311589" y="1442503"/>
              <a:ext cx="805029"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Anticorpos</a:t>
              </a:r>
            </a:p>
          </p:txBody>
        </p:sp>
        <p:sp>
          <p:nvSpPr>
            <p:cNvPr id="7166" name="TextBox 5627">
              <a:extLst>
                <a:ext uri="{FF2B5EF4-FFF2-40B4-BE49-F238E27FC236}">
                  <a16:creationId xmlns:a16="http://schemas.microsoft.com/office/drawing/2014/main" id="{A6FD3D59-C97B-7757-49D6-DA563B7667AE}"/>
                </a:ext>
              </a:extLst>
            </p:cNvPr>
            <p:cNvSpPr txBox="1"/>
            <p:nvPr/>
          </p:nvSpPr>
          <p:spPr>
            <a:xfrm>
              <a:off x="4211355" y="1149647"/>
              <a:ext cx="1523803"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Superfície</a:t>
              </a:r>
              <a:endParaRPr lang="en-US" sz="1067" b="1" dirty="0">
                <a:solidFill>
                  <a:srgbClr val="000000"/>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hidratos</a:t>
              </a:r>
              <a:r>
                <a:rPr lang="en-US" sz="1067" b="1" dirty="0">
                  <a:solidFill>
                    <a:srgbClr val="000000"/>
                  </a:solidFill>
                  <a:ea typeface="ヒラギノ角ゴ Pro W3" panose="020B0300000000000000" pitchFamily="34" charset="-128"/>
                  <a:cs typeface="Arial"/>
                  <a:sym typeface="Arial"/>
                </a:rPr>
                <a:t> de </a:t>
              </a:r>
              <a:r>
                <a:rPr lang="en-US" sz="1067" b="1" dirty="0" err="1">
                  <a:solidFill>
                    <a:srgbClr val="000000"/>
                  </a:solidFill>
                  <a:ea typeface="ヒラギノ角ゴ Pro W3" panose="020B0300000000000000" pitchFamily="34" charset="-128"/>
                  <a:cs typeface="Arial"/>
                  <a:sym typeface="Arial"/>
                </a:rPr>
                <a:t>carbono</a:t>
              </a:r>
              <a:endParaRPr lang="en-US" sz="1067" b="1" dirty="0">
                <a:solidFill>
                  <a:srgbClr val="000000"/>
                </a:solidFill>
                <a:ea typeface="ヒラギノ角ゴ Pro W3" panose="020B0300000000000000" pitchFamily="34" charset="-128"/>
                <a:cs typeface="Arial"/>
                <a:sym typeface="Arial"/>
              </a:endParaRPr>
            </a:p>
          </p:txBody>
        </p:sp>
        <p:sp>
          <p:nvSpPr>
            <p:cNvPr id="7167" name="TextBox 5628">
              <a:extLst>
                <a:ext uri="{FF2B5EF4-FFF2-40B4-BE49-F238E27FC236}">
                  <a16:creationId xmlns:a16="http://schemas.microsoft.com/office/drawing/2014/main" id="{C9D33FA2-332F-8635-36B3-64B8B54D2323}"/>
                </a:ext>
              </a:extLst>
            </p:cNvPr>
            <p:cNvSpPr txBox="1"/>
            <p:nvPr/>
          </p:nvSpPr>
          <p:spPr>
            <a:xfrm>
              <a:off x="9633555" y="1318362"/>
              <a:ext cx="2146583" cy="584968"/>
            </a:xfrm>
            <a:prstGeom prst="rect">
              <a:avLst/>
            </a:prstGeom>
            <a:noFill/>
          </p:spPr>
          <p:txBody>
            <a:bodyPr wrap="square" rtlCol="0">
              <a:spAutoFit/>
            </a:bodyPr>
            <a:lstStyle/>
            <a:p>
              <a:pPr algn="ct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Falta de </a:t>
              </a:r>
              <a:r>
                <a:rPr lang="en-US" sz="1067" b="1" dirty="0" err="1">
                  <a:solidFill>
                    <a:srgbClr val="000000"/>
                  </a:solidFill>
                  <a:ea typeface="ヒラギノ角ゴ Pro W3" panose="020B0300000000000000" pitchFamily="34" charset="-128"/>
                  <a:cs typeface="Arial"/>
                  <a:sym typeface="Arial"/>
                </a:rPr>
                <a:t>moléculas</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inibidoras</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complemento</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na</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superfície</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patógeno</a:t>
              </a:r>
              <a:endParaRPr lang="en-US" sz="1067" b="1" dirty="0">
                <a:solidFill>
                  <a:srgbClr val="000000"/>
                </a:solidFill>
                <a:ea typeface="ヒラギノ角ゴ Pro W3" panose="020B0300000000000000" pitchFamily="34" charset="-128"/>
                <a:cs typeface="Arial"/>
                <a:sym typeface="Arial"/>
              </a:endParaRPr>
            </a:p>
          </p:txBody>
        </p:sp>
        <p:cxnSp>
          <p:nvCxnSpPr>
            <p:cNvPr id="7178" name="Straight Arrow Connector 160">
              <a:extLst>
                <a:ext uri="{FF2B5EF4-FFF2-40B4-BE49-F238E27FC236}">
                  <a16:creationId xmlns:a16="http://schemas.microsoft.com/office/drawing/2014/main" id="{62B29287-FF32-A720-CC9E-4CE5F9AC73D2}"/>
                </a:ext>
              </a:extLst>
            </p:cNvPr>
            <p:cNvCxnSpPr/>
            <p:nvPr/>
          </p:nvCxnSpPr>
          <p:spPr>
            <a:xfrm>
              <a:off x="1814436" y="2232125"/>
              <a:ext cx="3407808" cy="523753"/>
            </a:xfrm>
            <a:prstGeom prst="bentConnector3">
              <a:avLst>
                <a:gd name="adj1" fmla="val 4603"/>
              </a:avLst>
            </a:prstGeom>
            <a:noFill/>
            <a:ln w="38100" cap="flat" cmpd="sng" algn="ctr">
              <a:solidFill>
                <a:schemeClr val="bg2"/>
              </a:solidFill>
              <a:prstDash val="solid"/>
              <a:miter lim="800000"/>
              <a:headEnd type="none" w="med" len="med"/>
              <a:tailEnd type="arrow" w="med" len="med"/>
            </a:ln>
            <a:effectLst/>
          </p:spPr>
        </p:cxnSp>
        <p:cxnSp>
          <p:nvCxnSpPr>
            <p:cNvPr id="7179" name="Straight Arrow Connector 5642">
              <a:extLst>
                <a:ext uri="{FF2B5EF4-FFF2-40B4-BE49-F238E27FC236}">
                  <a16:creationId xmlns:a16="http://schemas.microsoft.com/office/drawing/2014/main" id="{913A345F-5540-1461-ABBB-6244DF314039}"/>
                </a:ext>
              </a:extLst>
            </p:cNvPr>
            <p:cNvCxnSpPr/>
            <p:nvPr/>
          </p:nvCxnSpPr>
          <p:spPr>
            <a:xfrm flipH="1">
              <a:off x="6127040" y="2259501"/>
              <a:ext cx="0" cy="290047"/>
            </a:xfrm>
            <a:prstGeom prst="straightConnector1">
              <a:avLst/>
            </a:prstGeom>
            <a:noFill/>
            <a:ln w="38100" cap="flat" cmpd="sng" algn="ctr">
              <a:solidFill>
                <a:schemeClr val="accent1"/>
              </a:solidFill>
              <a:prstDash val="solid"/>
              <a:miter lim="800000"/>
              <a:tailEnd type="triangle" w="med" len="med"/>
            </a:ln>
            <a:effectLst/>
          </p:spPr>
        </p:cxnSp>
        <p:pic>
          <p:nvPicPr>
            <p:cNvPr id="7198" name="Picture 5665">
              <a:extLst>
                <a:ext uri="{FF2B5EF4-FFF2-40B4-BE49-F238E27FC236}">
                  <a16:creationId xmlns:a16="http://schemas.microsoft.com/office/drawing/2014/main" id="{F1A210CB-A654-B176-A855-F73F31CE52EC}"/>
                </a:ext>
              </a:extLst>
            </p:cNvPr>
            <p:cNvPicPr>
              <a:picLocks noChangeAspect="1"/>
            </p:cNvPicPr>
            <p:nvPr/>
          </p:nvPicPr>
          <p:blipFill>
            <a:blip r:embed="rId3"/>
            <a:stretch>
              <a:fillRect/>
            </a:stretch>
          </p:blipFill>
          <p:spPr>
            <a:xfrm>
              <a:off x="3179740" y="1251054"/>
              <a:ext cx="678177" cy="1136092"/>
            </a:xfrm>
            <a:prstGeom prst="rect">
              <a:avLst/>
            </a:prstGeom>
          </p:spPr>
        </p:pic>
        <p:cxnSp>
          <p:nvCxnSpPr>
            <p:cNvPr id="7199" name="Straight Connector 5666">
              <a:extLst>
                <a:ext uri="{FF2B5EF4-FFF2-40B4-BE49-F238E27FC236}">
                  <a16:creationId xmlns:a16="http://schemas.microsoft.com/office/drawing/2014/main" id="{26398992-0972-2D2E-AFAE-CD3DF3E083C8}"/>
                </a:ext>
              </a:extLst>
            </p:cNvPr>
            <p:cNvCxnSpPr>
              <a:endCxn id="7198" idx="1"/>
            </p:cNvCxnSpPr>
            <p:nvPr/>
          </p:nvCxnSpPr>
          <p:spPr>
            <a:xfrm>
              <a:off x="2900990" y="1660060"/>
              <a:ext cx="278749" cy="159041"/>
            </a:xfrm>
            <a:prstGeom prst="line">
              <a:avLst/>
            </a:prstGeom>
            <a:noFill/>
            <a:ln w="6350" cap="flat" cmpd="sng" algn="ctr">
              <a:solidFill>
                <a:srgbClr val="001E60"/>
              </a:solidFill>
              <a:prstDash val="solid"/>
              <a:miter lim="800000"/>
            </a:ln>
            <a:effectLst/>
          </p:spPr>
        </p:cxnSp>
        <p:pic>
          <p:nvPicPr>
            <p:cNvPr id="7200" name="Picture 5667">
              <a:extLst>
                <a:ext uri="{FF2B5EF4-FFF2-40B4-BE49-F238E27FC236}">
                  <a16:creationId xmlns:a16="http://schemas.microsoft.com/office/drawing/2014/main" id="{2ECFFF4A-7759-C1F0-4AB7-DEBD4AC18347}"/>
                </a:ext>
              </a:extLst>
            </p:cNvPr>
            <p:cNvPicPr>
              <a:picLocks noChangeAspect="1"/>
            </p:cNvPicPr>
            <p:nvPr/>
          </p:nvPicPr>
          <p:blipFill>
            <a:blip r:embed="rId4"/>
            <a:stretch>
              <a:fillRect/>
            </a:stretch>
          </p:blipFill>
          <p:spPr>
            <a:xfrm>
              <a:off x="4645452" y="1571118"/>
              <a:ext cx="522113" cy="904593"/>
            </a:xfrm>
            <a:prstGeom prst="rect">
              <a:avLst/>
            </a:prstGeom>
          </p:spPr>
        </p:pic>
        <p:sp>
          <p:nvSpPr>
            <p:cNvPr id="7201" name="TextBox 8964">
              <a:extLst>
                <a:ext uri="{FF2B5EF4-FFF2-40B4-BE49-F238E27FC236}">
                  <a16:creationId xmlns:a16="http://schemas.microsoft.com/office/drawing/2014/main" id="{AD599E8D-B7E9-F199-34A5-914F6934F4A0}"/>
                </a:ext>
              </a:extLst>
            </p:cNvPr>
            <p:cNvSpPr txBox="1"/>
            <p:nvPr/>
          </p:nvSpPr>
          <p:spPr>
            <a:xfrm>
              <a:off x="8216513" y="2453602"/>
              <a:ext cx="1627240"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fontAlgn="base">
                <a:spcBef>
                  <a:spcPct val="0"/>
                </a:spcBef>
                <a:spcAft>
                  <a:spcPct val="0"/>
                </a:spcAft>
                <a:defRPr/>
              </a:pPr>
              <a:r>
                <a:rPr lang="en-US" sz="1400" b="1" dirty="0" err="1">
                  <a:solidFill>
                    <a:srgbClr val="000000"/>
                  </a:solidFill>
                  <a:cs typeface="Arial"/>
                  <a:sym typeface="Arial"/>
                </a:rPr>
                <a:t>Verificação</a:t>
              </a:r>
              <a:r>
                <a:rPr lang="en-US" sz="1400" b="1" dirty="0">
                  <a:solidFill>
                    <a:srgbClr val="000000"/>
                  </a:solidFill>
                  <a:cs typeface="Arial"/>
                  <a:sym typeface="Arial"/>
                </a:rPr>
                <a:t> de </a:t>
              </a:r>
              <a:r>
                <a:rPr lang="en-US" sz="1400" b="1" dirty="0" err="1">
                  <a:solidFill>
                    <a:srgbClr val="000000"/>
                  </a:solidFill>
                  <a:cs typeface="Arial"/>
                  <a:sym typeface="Arial"/>
                </a:rPr>
                <a:t>nível</a:t>
              </a:r>
              <a:endParaRPr lang="en-US" sz="1400" b="1" dirty="0">
                <a:solidFill>
                  <a:srgbClr val="000000"/>
                </a:solidFill>
                <a:cs typeface="Arial"/>
                <a:sym typeface="Arial"/>
              </a:endParaRPr>
            </a:p>
          </p:txBody>
        </p:sp>
      </p:grpSp>
      <p:grpSp>
        <p:nvGrpSpPr>
          <p:cNvPr id="7219" name="Agrupar 7218">
            <a:extLst>
              <a:ext uri="{FF2B5EF4-FFF2-40B4-BE49-F238E27FC236}">
                <a16:creationId xmlns:a16="http://schemas.microsoft.com/office/drawing/2014/main" id="{BE950CBC-9E04-693F-1B4F-A7CC271DEB27}"/>
              </a:ext>
            </a:extLst>
          </p:cNvPr>
          <p:cNvGrpSpPr/>
          <p:nvPr/>
        </p:nvGrpSpPr>
        <p:grpSpPr>
          <a:xfrm>
            <a:off x="258143" y="4408305"/>
            <a:ext cx="11127616" cy="1776863"/>
            <a:chOff x="258143" y="4408305"/>
            <a:chExt cx="11127616" cy="1776863"/>
          </a:xfrm>
        </p:grpSpPr>
        <p:grpSp>
          <p:nvGrpSpPr>
            <p:cNvPr id="3646" name="Graphic 2987">
              <a:extLst>
                <a:ext uri="{FF2B5EF4-FFF2-40B4-BE49-F238E27FC236}">
                  <a16:creationId xmlns:a16="http://schemas.microsoft.com/office/drawing/2014/main" id="{2A47ADEF-B9C4-E944-1D42-676E1904427E}"/>
                </a:ext>
              </a:extLst>
            </p:cNvPr>
            <p:cNvGrpSpPr/>
            <p:nvPr/>
          </p:nvGrpSpPr>
          <p:grpSpPr>
            <a:xfrm>
              <a:off x="4731171" y="5548747"/>
              <a:ext cx="6654588" cy="634790"/>
              <a:chOff x="4731171" y="5548745"/>
              <a:chExt cx="6654588" cy="705895"/>
            </a:xfrm>
            <a:solidFill>
              <a:srgbClr val="B52455"/>
            </a:solidFill>
          </p:grpSpPr>
          <p:grpSp>
            <p:nvGrpSpPr>
              <p:cNvPr id="3647" name="Graphic 2987">
                <a:extLst>
                  <a:ext uri="{FF2B5EF4-FFF2-40B4-BE49-F238E27FC236}">
                    <a16:creationId xmlns:a16="http://schemas.microsoft.com/office/drawing/2014/main" id="{5DCFD32F-F111-DB7B-4C43-AE1A094B2087}"/>
                  </a:ext>
                </a:extLst>
              </p:cNvPr>
              <p:cNvGrpSpPr/>
              <p:nvPr/>
            </p:nvGrpSpPr>
            <p:grpSpPr>
              <a:xfrm>
                <a:off x="4731171" y="6112092"/>
                <a:ext cx="65258" cy="142548"/>
                <a:chOff x="4731171" y="6112092"/>
                <a:chExt cx="65258" cy="142548"/>
              </a:xfrm>
              <a:grpFill/>
            </p:grpSpPr>
            <p:sp>
              <p:nvSpPr>
                <p:cNvPr id="5237" name="Freeform 4167">
                  <a:extLst>
                    <a:ext uri="{FF2B5EF4-FFF2-40B4-BE49-F238E27FC236}">
                      <a16:creationId xmlns:a16="http://schemas.microsoft.com/office/drawing/2014/main" id="{93665F92-0422-D8AD-9638-6A5430A556AE}"/>
                    </a:ext>
                  </a:extLst>
                </p:cNvPr>
                <p:cNvSpPr/>
                <p:nvPr/>
              </p:nvSpPr>
              <p:spPr>
                <a:xfrm>
                  <a:off x="4743156" y="6133169"/>
                  <a:ext cx="15943" cy="49574"/>
                </a:xfrm>
                <a:custGeom>
                  <a:avLst/>
                  <a:gdLst>
                    <a:gd name="connsiteX0" fmla="*/ 0 w 15943"/>
                    <a:gd name="connsiteY0" fmla="*/ 0 h 49574"/>
                    <a:gd name="connsiteX1" fmla="*/ 4111 w 15943"/>
                    <a:gd name="connsiteY1" fmla="*/ 18310 h 49574"/>
                    <a:gd name="connsiteX2" fmla="*/ 12829 w 15943"/>
                    <a:gd name="connsiteY2" fmla="*/ 33381 h 49574"/>
                    <a:gd name="connsiteX3" fmla="*/ 15943 w 15943"/>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3" h="49574">
                      <a:moveTo>
                        <a:pt x="0" y="0"/>
                      </a:moveTo>
                      <a:cubicBezTo>
                        <a:pt x="125" y="8345"/>
                        <a:pt x="2242" y="14449"/>
                        <a:pt x="4111" y="18310"/>
                      </a:cubicBezTo>
                      <a:cubicBezTo>
                        <a:pt x="7100" y="24663"/>
                        <a:pt x="10089" y="26905"/>
                        <a:pt x="12829" y="33381"/>
                      </a:cubicBezTo>
                      <a:cubicBezTo>
                        <a:pt x="15445" y="39734"/>
                        <a:pt x="15943" y="45588"/>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8" name="Freeform 4168">
                  <a:extLst>
                    <a:ext uri="{FF2B5EF4-FFF2-40B4-BE49-F238E27FC236}">
                      <a16:creationId xmlns:a16="http://schemas.microsoft.com/office/drawing/2014/main" id="{99A37518-5575-DFF9-637E-BD399D94A498}"/>
                    </a:ext>
                  </a:extLst>
                </p:cNvPr>
                <p:cNvSpPr/>
                <p:nvPr/>
              </p:nvSpPr>
              <p:spPr>
                <a:xfrm>
                  <a:off x="4748263" y="6126319"/>
                  <a:ext cx="17189" cy="49200"/>
                </a:xfrm>
                <a:custGeom>
                  <a:avLst/>
                  <a:gdLst>
                    <a:gd name="connsiteX0" fmla="*/ 17189 w 17189"/>
                    <a:gd name="connsiteY0" fmla="*/ 49200 h 49200"/>
                    <a:gd name="connsiteX1" fmla="*/ 9342 w 17189"/>
                    <a:gd name="connsiteY1" fmla="*/ 32136 h 49200"/>
                    <a:gd name="connsiteX2" fmla="*/ 7225 w 17189"/>
                    <a:gd name="connsiteY2" fmla="*/ 14822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2331" y="42350"/>
                        <a:pt x="10339" y="36371"/>
                        <a:pt x="9342" y="32136"/>
                      </a:cubicBezTo>
                      <a:cubicBezTo>
                        <a:pt x="7847" y="25285"/>
                        <a:pt x="8968" y="21798"/>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9" name="Freeform 4169">
                  <a:extLst>
                    <a:ext uri="{FF2B5EF4-FFF2-40B4-BE49-F238E27FC236}">
                      <a16:creationId xmlns:a16="http://schemas.microsoft.com/office/drawing/2014/main" id="{B3E5B322-3255-E8C2-FA34-F8810B701167}"/>
                    </a:ext>
                  </a:extLst>
                </p:cNvPr>
                <p:cNvSpPr/>
                <p:nvPr/>
              </p:nvSpPr>
              <p:spPr>
                <a:xfrm>
                  <a:off x="4731171" y="6112092"/>
                  <a:ext cx="26632" cy="26460"/>
                </a:xfrm>
                <a:custGeom>
                  <a:avLst/>
                  <a:gdLst>
                    <a:gd name="connsiteX0" fmla="*/ 25935 w 26632"/>
                    <a:gd name="connsiteY0" fmla="*/ 9120 h 26460"/>
                    <a:gd name="connsiteX1" fmla="*/ 17465 w 26632"/>
                    <a:gd name="connsiteY1" fmla="*/ 25811 h 26460"/>
                    <a:gd name="connsiteX2" fmla="*/ 650 w 26632"/>
                    <a:gd name="connsiteY2" fmla="*/ 17341 h 26460"/>
                    <a:gd name="connsiteX3" fmla="*/ 9120 w 26632"/>
                    <a:gd name="connsiteY3" fmla="*/ 650 h 26460"/>
                    <a:gd name="connsiteX4" fmla="*/ 25935 w 26632"/>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60">
                      <a:moveTo>
                        <a:pt x="25935" y="9120"/>
                      </a:moveTo>
                      <a:cubicBezTo>
                        <a:pt x="28301" y="16095"/>
                        <a:pt x="24440" y="23569"/>
                        <a:pt x="17465" y="25811"/>
                      </a:cubicBezTo>
                      <a:cubicBezTo>
                        <a:pt x="10490" y="28053"/>
                        <a:pt x="2892" y="24316"/>
                        <a:pt x="650" y="17341"/>
                      </a:cubicBezTo>
                      <a:cubicBezTo>
                        <a:pt x="-1592" y="10365"/>
                        <a:pt x="2145" y="2892"/>
                        <a:pt x="9120" y="650"/>
                      </a:cubicBezTo>
                      <a:cubicBezTo>
                        <a:pt x="16095" y="-1592"/>
                        <a:pt x="23569" y="2145"/>
                        <a:pt x="25935"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0" name="Freeform 4170">
                  <a:extLst>
                    <a:ext uri="{FF2B5EF4-FFF2-40B4-BE49-F238E27FC236}">
                      <a16:creationId xmlns:a16="http://schemas.microsoft.com/office/drawing/2014/main" id="{79F0D3C6-151C-3915-6A60-A87CDC07E791}"/>
                    </a:ext>
                  </a:extLst>
                </p:cNvPr>
                <p:cNvSpPr/>
                <p:nvPr/>
              </p:nvSpPr>
              <p:spPr>
                <a:xfrm>
                  <a:off x="4768566" y="6183865"/>
                  <a:ext cx="15818" cy="49698"/>
                </a:xfrm>
                <a:custGeom>
                  <a:avLst/>
                  <a:gdLst>
                    <a:gd name="connsiteX0" fmla="*/ 15819 w 15818"/>
                    <a:gd name="connsiteY0" fmla="*/ 49698 h 49698"/>
                    <a:gd name="connsiteX1" fmla="*/ 11708 w 15818"/>
                    <a:gd name="connsiteY1" fmla="*/ 31388 h 49698"/>
                    <a:gd name="connsiteX2" fmla="*/ 3114 w 15818"/>
                    <a:gd name="connsiteY2" fmla="*/ 16192 h 49698"/>
                    <a:gd name="connsiteX3" fmla="*/ 0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5570" y="41353"/>
                        <a:pt x="13577" y="35250"/>
                        <a:pt x="11708" y="31388"/>
                      </a:cubicBezTo>
                      <a:cubicBezTo>
                        <a:pt x="8719" y="25036"/>
                        <a:pt x="5730"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1" name="Freeform 4171">
                  <a:extLst>
                    <a:ext uri="{FF2B5EF4-FFF2-40B4-BE49-F238E27FC236}">
                      <a16:creationId xmlns:a16="http://schemas.microsoft.com/office/drawing/2014/main" id="{45D75B14-003A-B6CF-5757-EFDBD58CAE72}"/>
                    </a:ext>
                  </a:extLst>
                </p:cNvPr>
                <p:cNvSpPr/>
                <p:nvPr/>
              </p:nvSpPr>
              <p:spPr>
                <a:xfrm>
                  <a:off x="4762089" y="6191338"/>
                  <a:ext cx="17313" cy="49200"/>
                </a:xfrm>
                <a:custGeom>
                  <a:avLst/>
                  <a:gdLst>
                    <a:gd name="connsiteX0" fmla="*/ 0 w 17313"/>
                    <a:gd name="connsiteY0" fmla="*/ 0 h 49200"/>
                    <a:gd name="connsiteX1" fmla="*/ 7847 w 17313"/>
                    <a:gd name="connsiteY1" fmla="*/ 17065 h 49200"/>
                    <a:gd name="connsiteX2" fmla="*/ 10089 w 17313"/>
                    <a:gd name="connsiteY2" fmla="*/ 34378 h 49200"/>
                    <a:gd name="connsiteX3" fmla="*/ 17313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851" y="12830"/>
                        <a:pt x="7847" y="17065"/>
                      </a:cubicBezTo>
                      <a:cubicBezTo>
                        <a:pt x="9342" y="23915"/>
                        <a:pt x="8221" y="27403"/>
                        <a:pt x="10089" y="34378"/>
                      </a:cubicBezTo>
                      <a:cubicBezTo>
                        <a:pt x="11833" y="41104"/>
                        <a:pt x="14947" y="46086"/>
                        <a:pt x="17313"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2" name="Freeform 4172">
                  <a:extLst>
                    <a:ext uri="{FF2B5EF4-FFF2-40B4-BE49-F238E27FC236}">
                      <a16:creationId xmlns:a16="http://schemas.microsoft.com/office/drawing/2014/main" id="{E9B25164-C217-35BA-46D0-C2C99C5602A2}"/>
                    </a:ext>
                  </a:extLst>
                </p:cNvPr>
                <p:cNvSpPr/>
                <p:nvPr/>
              </p:nvSpPr>
              <p:spPr>
                <a:xfrm>
                  <a:off x="4769972" y="6228180"/>
                  <a:ext cx="26457" cy="26460"/>
                </a:xfrm>
                <a:custGeom>
                  <a:avLst/>
                  <a:gdLst>
                    <a:gd name="connsiteX0" fmla="*/ 711 w 26457"/>
                    <a:gd name="connsiteY0" fmla="*/ 17341 h 26460"/>
                    <a:gd name="connsiteX1" fmla="*/ 9056 w 26457"/>
                    <a:gd name="connsiteY1" fmla="*/ 650 h 26460"/>
                    <a:gd name="connsiteX2" fmla="*/ 25747 w 26457"/>
                    <a:gd name="connsiteY2" fmla="*/ 9120 h 26460"/>
                    <a:gd name="connsiteX3" fmla="*/ 17401 w 26457"/>
                    <a:gd name="connsiteY3" fmla="*/ 25811 h 26460"/>
                    <a:gd name="connsiteX4" fmla="*/ 711 w 2645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60">
                      <a:moveTo>
                        <a:pt x="711" y="17341"/>
                      </a:moveTo>
                      <a:cubicBezTo>
                        <a:pt x="-1656" y="10365"/>
                        <a:pt x="2081" y="2892"/>
                        <a:pt x="9056" y="650"/>
                      </a:cubicBezTo>
                      <a:cubicBezTo>
                        <a:pt x="16031" y="-1592"/>
                        <a:pt x="23505" y="2145"/>
                        <a:pt x="25747" y="9120"/>
                      </a:cubicBezTo>
                      <a:cubicBezTo>
                        <a:pt x="28113" y="16095"/>
                        <a:pt x="24377" y="23568"/>
                        <a:pt x="17401" y="25811"/>
                      </a:cubicBezTo>
                      <a:cubicBezTo>
                        <a:pt x="10551" y="28053"/>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8" name="Graphic 2987">
                <a:extLst>
                  <a:ext uri="{FF2B5EF4-FFF2-40B4-BE49-F238E27FC236}">
                    <a16:creationId xmlns:a16="http://schemas.microsoft.com/office/drawing/2014/main" id="{2EE6A528-702C-D857-EEC9-2AA1AA335AD1}"/>
                  </a:ext>
                </a:extLst>
              </p:cNvPr>
              <p:cNvGrpSpPr/>
              <p:nvPr/>
            </p:nvGrpSpPr>
            <p:grpSpPr>
              <a:xfrm>
                <a:off x="4759398" y="6102762"/>
                <a:ext cx="64872" cy="142786"/>
                <a:chOff x="4759398" y="6102762"/>
                <a:chExt cx="64872" cy="142786"/>
              </a:xfrm>
              <a:grpFill/>
            </p:grpSpPr>
            <p:sp>
              <p:nvSpPr>
                <p:cNvPr id="5231" name="Freeform 4174">
                  <a:extLst>
                    <a:ext uri="{FF2B5EF4-FFF2-40B4-BE49-F238E27FC236}">
                      <a16:creationId xmlns:a16="http://schemas.microsoft.com/office/drawing/2014/main" id="{29BDE299-C263-F71D-949D-2C23ABF8CC22}"/>
                    </a:ext>
                  </a:extLst>
                </p:cNvPr>
                <p:cNvSpPr/>
                <p:nvPr/>
              </p:nvSpPr>
              <p:spPr>
                <a:xfrm>
                  <a:off x="4771431" y="6123952"/>
                  <a:ext cx="15694" cy="49698"/>
                </a:xfrm>
                <a:custGeom>
                  <a:avLst/>
                  <a:gdLst>
                    <a:gd name="connsiteX0" fmla="*/ 0 w 15694"/>
                    <a:gd name="connsiteY0" fmla="*/ 0 h 49698"/>
                    <a:gd name="connsiteX1" fmla="*/ 3986 w 15694"/>
                    <a:gd name="connsiteY1" fmla="*/ 18310 h 49698"/>
                    <a:gd name="connsiteX2" fmla="*/ 12580 w 15694"/>
                    <a:gd name="connsiteY2" fmla="*/ 33506 h 49698"/>
                    <a:gd name="connsiteX3" fmla="*/ 15694 w 15694"/>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694" h="49698">
                      <a:moveTo>
                        <a:pt x="0" y="0"/>
                      </a:moveTo>
                      <a:cubicBezTo>
                        <a:pt x="124" y="8470"/>
                        <a:pt x="2117" y="14448"/>
                        <a:pt x="3986" y="18310"/>
                      </a:cubicBezTo>
                      <a:cubicBezTo>
                        <a:pt x="6975" y="24662"/>
                        <a:pt x="9840" y="26904"/>
                        <a:pt x="12580" y="33506"/>
                      </a:cubicBezTo>
                      <a:cubicBezTo>
                        <a:pt x="15196" y="39858"/>
                        <a:pt x="15694" y="45712"/>
                        <a:pt x="15694"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2" name="Freeform 4175">
                  <a:extLst>
                    <a:ext uri="{FF2B5EF4-FFF2-40B4-BE49-F238E27FC236}">
                      <a16:creationId xmlns:a16="http://schemas.microsoft.com/office/drawing/2014/main" id="{C2A13A94-5177-80B5-AA0A-4294E5896F02}"/>
                    </a:ext>
                  </a:extLst>
                </p:cNvPr>
                <p:cNvSpPr/>
                <p:nvPr/>
              </p:nvSpPr>
              <p:spPr>
                <a:xfrm>
                  <a:off x="4776537" y="6116977"/>
                  <a:ext cx="17064" cy="49324"/>
                </a:xfrm>
                <a:custGeom>
                  <a:avLst/>
                  <a:gdLst>
                    <a:gd name="connsiteX0" fmla="*/ 17064 w 17064"/>
                    <a:gd name="connsiteY0" fmla="*/ 49325 h 49324"/>
                    <a:gd name="connsiteX1" fmla="*/ 9342 w 17064"/>
                    <a:gd name="connsiteY1" fmla="*/ 32136 h 49324"/>
                    <a:gd name="connsiteX2" fmla="*/ 7224 w 17064"/>
                    <a:gd name="connsiteY2" fmla="*/ 14822 h 49324"/>
                    <a:gd name="connsiteX3" fmla="*/ 0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17064" y="49325"/>
                      </a:moveTo>
                      <a:cubicBezTo>
                        <a:pt x="12206" y="42474"/>
                        <a:pt x="10213" y="36495"/>
                        <a:pt x="9342" y="32136"/>
                      </a:cubicBezTo>
                      <a:cubicBezTo>
                        <a:pt x="7847" y="25285"/>
                        <a:pt x="8968" y="21673"/>
                        <a:pt x="7224"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3" name="Freeform 4176">
                  <a:extLst>
                    <a:ext uri="{FF2B5EF4-FFF2-40B4-BE49-F238E27FC236}">
                      <a16:creationId xmlns:a16="http://schemas.microsoft.com/office/drawing/2014/main" id="{7BD2E93F-FEF4-578E-9155-CC0396E3FE32}"/>
                    </a:ext>
                  </a:extLst>
                </p:cNvPr>
                <p:cNvSpPr/>
                <p:nvPr/>
              </p:nvSpPr>
              <p:spPr>
                <a:xfrm>
                  <a:off x="4759398" y="6102762"/>
                  <a:ext cx="26632" cy="26449"/>
                </a:xfrm>
                <a:custGeom>
                  <a:avLst/>
                  <a:gdLst>
                    <a:gd name="connsiteX0" fmla="*/ 25983 w 26632"/>
                    <a:gd name="connsiteY0" fmla="*/ 9109 h 26449"/>
                    <a:gd name="connsiteX1" fmla="*/ 17513 w 26632"/>
                    <a:gd name="connsiteY1" fmla="*/ 25799 h 26449"/>
                    <a:gd name="connsiteX2" fmla="*/ 698 w 26632"/>
                    <a:gd name="connsiteY2" fmla="*/ 17330 h 26449"/>
                    <a:gd name="connsiteX3" fmla="*/ 9167 w 26632"/>
                    <a:gd name="connsiteY3" fmla="*/ 638 h 26449"/>
                    <a:gd name="connsiteX4" fmla="*/ 25983 w 26632"/>
                    <a:gd name="connsiteY4" fmla="*/ 9109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49">
                      <a:moveTo>
                        <a:pt x="25983" y="9109"/>
                      </a:moveTo>
                      <a:cubicBezTo>
                        <a:pt x="28225" y="16084"/>
                        <a:pt x="24488" y="23557"/>
                        <a:pt x="17513" y="25799"/>
                      </a:cubicBezTo>
                      <a:cubicBezTo>
                        <a:pt x="10538" y="28041"/>
                        <a:pt x="2939" y="24305"/>
                        <a:pt x="698" y="17330"/>
                      </a:cubicBezTo>
                      <a:cubicBezTo>
                        <a:pt x="-1669" y="10354"/>
                        <a:pt x="2192" y="2881"/>
                        <a:pt x="9167" y="638"/>
                      </a:cubicBezTo>
                      <a:cubicBezTo>
                        <a:pt x="16143" y="-1603"/>
                        <a:pt x="23741" y="2258"/>
                        <a:pt x="25983" y="91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4" name="Freeform 4177">
                  <a:extLst>
                    <a:ext uri="{FF2B5EF4-FFF2-40B4-BE49-F238E27FC236}">
                      <a16:creationId xmlns:a16="http://schemas.microsoft.com/office/drawing/2014/main" id="{23C399F6-1012-EB06-39F6-207F3D7B46BE}"/>
                    </a:ext>
                  </a:extLst>
                </p:cNvPr>
                <p:cNvSpPr/>
                <p:nvPr/>
              </p:nvSpPr>
              <p:spPr>
                <a:xfrm>
                  <a:off x="4796591" y="6174772"/>
                  <a:ext cx="15694" cy="49698"/>
                </a:xfrm>
                <a:custGeom>
                  <a:avLst/>
                  <a:gdLst>
                    <a:gd name="connsiteX0" fmla="*/ 15694 w 15694"/>
                    <a:gd name="connsiteY0" fmla="*/ 49698 h 49698"/>
                    <a:gd name="connsiteX1" fmla="*/ 11708 w 15694"/>
                    <a:gd name="connsiteY1" fmla="*/ 31388 h 49698"/>
                    <a:gd name="connsiteX2" fmla="*/ 3114 w 15694"/>
                    <a:gd name="connsiteY2" fmla="*/ 16192 h 49698"/>
                    <a:gd name="connsiteX3" fmla="*/ 0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49698"/>
                      </a:moveTo>
                      <a:cubicBezTo>
                        <a:pt x="15570" y="41353"/>
                        <a:pt x="13452" y="35250"/>
                        <a:pt x="11708" y="31388"/>
                      </a:cubicBezTo>
                      <a:cubicBezTo>
                        <a:pt x="8843" y="25036"/>
                        <a:pt x="5854"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5" name="Freeform 4178">
                  <a:extLst>
                    <a:ext uri="{FF2B5EF4-FFF2-40B4-BE49-F238E27FC236}">
                      <a16:creationId xmlns:a16="http://schemas.microsoft.com/office/drawing/2014/main" id="{66921738-2EB2-3ECB-6C8A-054880E7EE92}"/>
                    </a:ext>
                  </a:extLst>
                </p:cNvPr>
                <p:cNvSpPr/>
                <p:nvPr/>
              </p:nvSpPr>
              <p:spPr>
                <a:xfrm>
                  <a:off x="4790238" y="6182121"/>
                  <a:ext cx="17064" cy="49324"/>
                </a:xfrm>
                <a:custGeom>
                  <a:avLst/>
                  <a:gdLst>
                    <a:gd name="connsiteX0" fmla="*/ 0 w 17064"/>
                    <a:gd name="connsiteY0" fmla="*/ 0 h 49324"/>
                    <a:gd name="connsiteX1" fmla="*/ 7723 w 17064"/>
                    <a:gd name="connsiteY1" fmla="*/ 17189 h 49324"/>
                    <a:gd name="connsiteX2" fmla="*/ 9840 w 17064"/>
                    <a:gd name="connsiteY2" fmla="*/ 34503 h 49324"/>
                    <a:gd name="connsiteX3" fmla="*/ 17065 w 17064"/>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064" h="49324">
                      <a:moveTo>
                        <a:pt x="0" y="0"/>
                      </a:moveTo>
                      <a:cubicBezTo>
                        <a:pt x="4858" y="6851"/>
                        <a:pt x="6851" y="12829"/>
                        <a:pt x="7723" y="17189"/>
                      </a:cubicBezTo>
                      <a:cubicBezTo>
                        <a:pt x="9218" y="24040"/>
                        <a:pt x="8097" y="27527"/>
                        <a:pt x="9840" y="34503"/>
                      </a:cubicBezTo>
                      <a:cubicBezTo>
                        <a:pt x="11584" y="41229"/>
                        <a:pt x="14698" y="46211"/>
                        <a:pt x="17065"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6" name="Freeform 4179">
                  <a:extLst>
                    <a:ext uri="{FF2B5EF4-FFF2-40B4-BE49-F238E27FC236}">
                      <a16:creationId xmlns:a16="http://schemas.microsoft.com/office/drawing/2014/main" id="{CF6B5E84-D0B5-2E76-35C8-A4DD88266E77}"/>
                    </a:ext>
                  </a:extLst>
                </p:cNvPr>
                <p:cNvSpPr/>
                <p:nvPr/>
              </p:nvSpPr>
              <p:spPr>
                <a:xfrm>
                  <a:off x="4797873" y="6219087"/>
                  <a:ext cx="26397" cy="26460"/>
                </a:xfrm>
                <a:custGeom>
                  <a:avLst/>
                  <a:gdLst>
                    <a:gd name="connsiteX0" fmla="*/ 711 w 26397"/>
                    <a:gd name="connsiteY0" fmla="*/ 17341 h 26460"/>
                    <a:gd name="connsiteX1" fmla="*/ 9056 w 26397"/>
                    <a:gd name="connsiteY1" fmla="*/ 650 h 26460"/>
                    <a:gd name="connsiteX2" fmla="*/ 25747 w 26397"/>
                    <a:gd name="connsiteY2" fmla="*/ 9120 h 26460"/>
                    <a:gd name="connsiteX3" fmla="*/ 17401 w 26397"/>
                    <a:gd name="connsiteY3" fmla="*/ 25811 h 26460"/>
                    <a:gd name="connsiteX4" fmla="*/ 711 w 2639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460">
                      <a:moveTo>
                        <a:pt x="711" y="17341"/>
                      </a:moveTo>
                      <a:cubicBezTo>
                        <a:pt x="-1656" y="10366"/>
                        <a:pt x="2081" y="2892"/>
                        <a:pt x="9056" y="650"/>
                      </a:cubicBezTo>
                      <a:cubicBezTo>
                        <a:pt x="16031" y="-1592"/>
                        <a:pt x="23380" y="2145"/>
                        <a:pt x="25747" y="9120"/>
                      </a:cubicBezTo>
                      <a:cubicBezTo>
                        <a:pt x="27989" y="16095"/>
                        <a:pt x="24252" y="23569"/>
                        <a:pt x="17401" y="25811"/>
                      </a:cubicBezTo>
                      <a:cubicBezTo>
                        <a:pt x="10551" y="28052"/>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9" name="Graphic 2987">
                <a:extLst>
                  <a:ext uri="{FF2B5EF4-FFF2-40B4-BE49-F238E27FC236}">
                    <a16:creationId xmlns:a16="http://schemas.microsoft.com/office/drawing/2014/main" id="{9CB8523A-9674-EFEF-1088-9D2F0EC69772}"/>
                  </a:ext>
                </a:extLst>
              </p:cNvPr>
              <p:cNvGrpSpPr/>
              <p:nvPr/>
            </p:nvGrpSpPr>
            <p:grpSpPr>
              <a:xfrm>
                <a:off x="4787597" y="6093533"/>
                <a:ext cx="64575" cy="142844"/>
                <a:chOff x="4787597" y="6093533"/>
                <a:chExt cx="64575" cy="142844"/>
              </a:xfrm>
              <a:grpFill/>
            </p:grpSpPr>
            <p:sp>
              <p:nvSpPr>
                <p:cNvPr id="5225" name="Freeform 4181">
                  <a:extLst>
                    <a:ext uri="{FF2B5EF4-FFF2-40B4-BE49-F238E27FC236}">
                      <a16:creationId xmlns:a16="http://schemas.microsoft.com/office/drawing/2014/main" id="{A79F95BA-283D-B60A-6F47-3FB1B726C2A6}"/>
                    </a:ext>
                  </a:extLst>
                </p:cNvPr>
                <p:cNvSpPr/>
                <p:nvPr/>
              </p:nvSpPr>
              <p:spPr>
                <a:xfrm>
                  <a:off x="4799705" y="6114611"/>
                  <a:ext cx="15587" cy="49823"/>
                </a:xfrm>
                <a:custGeom>
                  <a:avLst/>
                  <a:gdLst>
                    <a:gd name="connsiteX0" fmla="*/ 0 w 15587"/>
                    <a:gd name="connsiteY0" fmla="*/ 0 h 49823"/>
                    <a:gd name="connsiteX1" fmla="*/ 3986 w 15587"/>
                    <a:gd name="connsiteY1" fmla="*/ 18434 h 49823"/>
                    <a:gd name="connsiteX2" fmla="*/ 12580 w 15587"/>
                    <a:gd name="connsiteY2" fmla="*/ 33630 h 49823"/>
                    <a:gd name="connsiteX3" fmla="*/ 15570 w 15587"/>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87" h="49823">
                      <a:moveTo>
                        <a:pt x="0" y="0"/>
                      </a:moveTo>
                      <a:cubicBezTo>
                        <a:pt x="125" y="8470"/>
                        <a:pt x="2118" y="14448"/>
                        <a:pt x="3986" y="18434"/>
                      </a:cubicBezTo>
                      <a:cubicBezTo>
                        <a:pt x="6851" y="24787"/>
                        <a:pt x="9840" y="27029"/>
                        <a:pt x="12580" y="33630"/>
                      </a:cubicBezTo>
                      <a:cubicBezTo>
                        <a:pt x="15196" y="39983"/>
                        <a:pt x="15694" y="45962"/>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6" name="Freeform 4182">
                  <a:extLst>
                    <a:ext uri="{FF2B5EF4-FFF2-40B4-BE49-F238E27FC236}">
                      <a16:creationId xmlns:a16="http://schemas.microsoft.com/office/drawing/2014/main" id="{C6FB57CD-AD08-3201-6C20-5DD200889CC2}"/>
                    </a:ext>
                  </a:extLst>
                </p:cNvPr>
                <p:cNvSpPr/>
                <p:nvPr/>
              </p:nvSpPr>
              <p:spPr>
                <a:xfrm>
                  <a:off x="4804937" y="6107760"/>
                  <a:ext cx="16814" cy="49324"/>
                </a:xfrm>
                <a:custGeom>
                  <a:avLst/>
                  <a:gdLst>
                    <a:gd name="connsiteX0" fmla="*/ 16815 w 16814"/>
                    <a:gd name="connsiteY0" fmla="*/ 49325 h 49324"/>
                    <a:gd name="connsiteX1" fmla="*/ 9092 w 16814"/>
                    <a:gd name="connsiteY1" fmla="*/ 32136 h 49324"/>
                    <a:gd name="connsiteX2" fmla="*/ 7099 w 16814"/>
                    <a:gd name="connsiteY2" fmla="*/ 14822 h 49324"/>
                    <a:gd name="connsiteX3" fmla="*/ 0 w 16814"/>
                    <a:gd name="connsiteY3" fmla="*/ 0 h 49324"/>
                  </a:gdLst>
                  <a:ahLst/>
                  <a:cxnLst>
                    <a:cxn ang="0">
                      <a:pos x="connsiteX0" y="connsiteY0"/>
                    </a:cxn>
                    <a:cxn ang="0">
                      <a:pos x="connsiteX1" y="connsiteY1"/>
                    </a:cxn>
                    <a:cxn ang="0">
                      <a:pos x="connsiteX2" y="connsiteY2"/>
                    </a:cxn>
                    <a:cxn ang="0">
                      <a:pos x="connsiteX3" y="connsiteY3"/>
                    </a:cxn>
                  </a:cxnLst>
                  <a:rect l="l" t="t" r="r" b="b"/>
                  <a:pathLst>
                    <a:path w="16814" h="49324">
                      <a:moveTo>
                        <a:pt x="16815" y="49325"/>
                      </a:moveTo>
                      <a:cubicBezTo>
                        <a:pt x="11957" y="42474"/>
                        <a:pt x="9964" y="36371"/>
                        <a:pt x="9092" y="32136"/>
                      </a:cubicBezTo>
                      <a:cubicBezTo>
                        <a:pt x="7723" y="25285"/>
                        <a:pt x="8719" y="21673"/>
                        <a:pt x="7099"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7" name="Freeform 4183">
                  <a:extLst>
                    <a:ext uri="{FF2B5EF4-FFF2-40B4-BE49-F238E27FC236}">
                      <a16:creationId xmlns:a16="http://schemas.microsoft.com/office/drawing/2014/main" id="{975163F4-31D5-D130-F661-CF7880C65369}"/>
                    </a:ext>
                  </a:extLst>
                </p:cNvPr>
                <p:cNvSpPr/>
                <p:nvPr/>
              </p:nvSpPr>
              <p:spPr>
                <a:xfrm>
                  <a:off x="4787597" y="6093533"/>
                  <a:ext cx="26696" cy="26460"/>
                </a:xfrm>
                <a:custGeom>
                  <a:avLst/>
                  <a:gdLst>
                    <a:gd name="connsiteX0" fmla="*/ 26059 w 26696"/>
                    <a:gd name="connsiteY0" fmla="*/ 9120 h 26460"/>
                    <a:gd name="connsiteX1" fmla="*/ 17464 w 26696"/>
                    <a:gd name="connsiteY1" fmla="*/ 25810 h 26460"/>
                    <a:gd name="connsiteX2" fmla="*/ 649 w 26696"/>
                    <a:gd name="connsiteY2" fmla="*/ 17341 h 26460"/>
                    <a:gd name="connsiteX3" fmla="*/ 9243 w 26696"/>
                    <a:gd name="connsiteY3" fmla="*/ 650 h 26460"/>
                    <a:gd name="connsiteX4" fmla="*/ 26059 w 26696"/>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6" h="26460">
                      <a:moveTo>
                        <a:pt x="26059" y="9120"/>
                      </a:moveTo>
                      <a:cubicBezTo>
                        <a:pt x="28301" y="16095"/>
                        <a:pt x="24439" y="23568"/>
                        <a:pt x="17464" y="25810"/>
                      </a:cubicBezTo>
                      <a:cubicBezTo>
                        <a:pt x="10489" y="28053"/>
                        <a:pt x="3015" y="24316"/>
                        <a:pt x="649" y="17341"/>
                      </a:cubicBezTo>
                      <a:cubicBezTo>
                        <a:pt x="-1593" y="10365"/>
                        <a:pt x="2144" y="2892"/>
                        <a:pt x="9243" y="650"/>
                      </a:cubicBezTo>
                      <a:cubicBezTo>
                        <a:pt x="16343" y="-1592"/>
                        <a:pt x="23817" y="2145"/>
                        <a:pt x="26059"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8" name="Freeform 4184">
                  <a:extLst>
                    <a:ext uri="{FF2B5EF4-FFF2-40B4-BE49-F238E27FC236}">
                      <a16:creationId xmlns:a16="http://schemas.microsoft.com/office/drawing/2014/main" id="{5D4F5A3C-5806-F929-884B-11BD95AE57E9}"/>
                    </a:ext>
                  </a:extLst>
                </p:cNvPr>
                <p:cNvSpPr/>
                <p:nvPr/>
              </p:nvSpPr>
              <p:spPr>
                <a:xfrm>
                  <a:off x="4824724" y="6165430"/>
                  <a:ext cx="15587" cy="49823"/>
                </a:xfrm>
                <a:custGeom>
                  <a:avLst/>
                  <a:gdLst>
                    <a:gd name="connsiteX0" fmla="*/ 15587 w 15587"/>
                    <a:gd name="connsiteY0" fmla="*/ 49823 h 49823"/>
                    <a:gd name="connsiteX1" fmla="*/ 11601 w 15587"/>
                    <a:gd name="connsiteY1" fmla="*/ 31388 h 49823"/>
                    <a:gd name="connsiteX2" fmla="*/ 3007 w 15587"/>
                    <a:gd name="connsiteY2" fmla="*/ 16192 h 49823"/>
                    <a:gd name="connsiteX3" fmla="*/ 17 w 15587"/>
                    <a:gd name="connsiteY3" fmla="*/ 0 h 49823"/>
                  </a:gdLst>
                  <a:ahLst/>
                  <a:cxnLst>
                    <a:cxn ang="0">
                      <a:pos x="connsiteX0" y="connsiteY0"/>
                    </a:cxn>
                    <a:cxn ang="0">
                      <a:pos x="connsiteX1" y="connsiteY1"/>
                    </a:cxn>
                    <a:cxn ang="0">
                      <a:pos x="connsiteX2" y="connsiteY2"/>
                    </a:cxn>
                    <a:cxn ang="0">
                      <a:pos x="connsiteX3" y="connsiteY3"/>
                    </a:cxn>
                  </a:cxnLst>
                  <a:rect l="l" t="t" r="r" b="b"/>
                  <a:pathLst>
                    <a:path w="15587" h="49823">
                      <a:moveTo>
                        <a:pt x="15587" y="49823"/>
                      </a:moveTo>
                      <a:cubicBezTo>
                        <a:pt x="15462" y="41353"/>
                        <a:pt x="13469" y="35374"/>
                        <a:pt x="11601" y="31388"/>
                      </a:cubicBezTo>
                      <a:cubicBezTo>
                        <a:pt x="8736" y="25036"/>
                        <a:pt x="5747" y="22794"/>
                        <a:pt x="3007" y="16192"/>
                      </a:cubicBezTo>
                      <a:cubicBezTo>
                        <a:pt x="391" y="9840"/>
                        <a:pt x="-107" y="3861"/>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9" name="Freeform 4185">
                  <a:extLst>
                    <a:ext uri="{FF2B5EF4-FFF2-40B4-BE49-F238E27FC236}">
                      <a16:creationId xmlns:a16="http://schemas.microsoft.com/office/drawing/2014/main" id="{E81F61D3-AFE8-6CC3-1E72-82A3DF84038A}"/>
                    </a:ext>
                  </a:extLst>
                </p:cNvPr>
                <p:cNvSpPr/>
                <p:nvPr/>
              </p:nvSpPr>
              <p:spPr>
                <a:xfrm>
                  <a:off x="4818389" y="6172903"/>
                  <a:ext cx="16940" cy="49324"/>
                </a:xfrm>
                <a:custGeom>
                  <a:avLst/>
                  <a:gdLst>
                    <a:gd name="connsiteX0" fmla="*/ 0 w 16940"/>
                    <a:gd name="connsiteY0" fmla="*/ 0 h 49324"/>
                    <a:gd name="connsiteX1" fmla="*/ 7723 w 16940"/>
                    <a:gd name="connsiteY1" fmla="*/ 17189 h 49324"/>
                    <a:gd name="connsiteX2" fmla="*/ 9840 w 16940"/>
                    <a:gd name="connsiteY2" fmla="*/ 34502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4858" y="6851"/>
                        <a:pt x="6851" y="12954"/>
                        <a:pt x="7723" y="17189"/>
                      </a:cubicBezTo>
                      <a:cubicBezTo>
                        <a:pt x="9093" y="24040"/>
                        <a:pt x="8096" y="27652"/>
                        <a:pt x="9840" y="34502"/>
                      </a:cubicBezTo>
                      <a:cubicBezTo>
                        <a:pt x="11459" y="41229"/>
                        <a:pt x="14573" y="46211"/>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0" name="Freeform 4186">
                  <a:extLst>
                    <a:ext uri="{FF2B5EF4-FFF2-40B4-BE49-F238E27FC236}">
                      <a16:creationId xmlns:a16="http://schemas.microsoft.com/office/drawing/2014/main" id="{9F79A173-A0F5-40D8-B6F7-EE9CA9609844}"/>
                    </a:ext>
                  </a:extLst>
                </p:cNvPr>
                <p:cNvSpPr/>
                <p:nvPr/>
              </p:nvSpPr>
              <p:spPr>
                <a:xfrm>
                  <a:off x="4825959" y="6209870"/>
                  <a:ext cx="26213" cy="26508"/>
                </a:xfrm>
                <a:custGeom>
                  <a:avLst/>
                  <a:gdLst>
                    <a:gd name="connsiteX0" fmla="*/ 651 w 26213"/>
                    <a:gd name="connsiteY0" fmla="*/ 17341 h 26508"/>
                    <a:gd name="connsiteX1" fmla="*/ 8996 w 26213"/>
                    <a:gd name="connsiteY1" fmla="*/ 650 h 26508"/>
                    <a:gd name="connsiteX2" fmla="*/ 25562 w 26213"/>
                    <a:gd name="connsiteY2" fmla="*/ 9120 h 26508"/>
                    <a:gd name="connsiteX3" fmla="*/ 17217 w 26213"/>
                    <a:gd name="connsiteY3" fmla="*/ 25811 h 26508"/>
                    <a:gd name="connsiteX4" fmla="*/ 651 w 26213"/>
                    <a:gd name="connsiteY4" fmla="*/ 17341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08">
                      <a:moveTo>
                        <a:pt x="651" y="17341"/>
                      </a:moveTo>
                      <a:cubicBezTo>
                        <a:pt x="-1591" y="10365"/>
                        <a:pt x="2145" y="2892"/>
                        <a:pt x="8996" y="650"/>
                      </a:cubicBezTo>
                      <a:cubicBezTo>
                        <a:pt x="15972" y="-1592"/>
                        <a:pt x="23320" y="2145"/>
                        <a:pt x="25562" y="9120"/>
                      </a:cubicBezTo>
                      <a:cubicBezTo>
                        <a:pt x="27804" y="16095"/>
                        <a:pt x="24068" y="23568"/>
                        <a:pt x="17217" y="25811"/>
                      </a:cubicBezTo>
                      <a:cubicBezTo>
                        <a:pt x="10366" y="28177"/>
                        <a:pt x="2893" y="24316"/>
                        <a:pt x="65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0" name="Graphic 2987">
                <a:extLst>
                  <a:ext uri="{FF2B5EF4-FFF2-40B4-BE49-F238E27FC236}">
                    <a16:creationId xmlns:a16="http://schemas.microsoft.com/office/drawing/2014/main" id="{FBA39D38-3567-B2B0-58EB-212DEE483946}"/>
                  </a:ext>
                </a:extLst>
              </p:cNvPr>
              <p:cNvGrpSpPr/>
              <p:nvPr/>
            </p:nvGrpSpPr>
            <p:grpSpPr>
              <a:xfrm>
                <a:off x="4816007" y="6084203"/>
                <a:ext cx="64189" cy="143035"/>
                <a:chOff x="4816007" y="6084203"/>
                <a:chExt cx="64189" cy="143035"/>
              </a:xfrm>
              <a:grpFill/>
            </p:grpSpPr>
            <p:sp>
              <p:nvSpPr>
                <p:cNvPr id="5219" name="Freeform 4188">
                  <a:extLst>
                    <a:ext uri="{FF2B5EF4-FFF2-40B4-BE49-F238E27FC236}">
                      <a16:creationId xmlns:a16="http://schemas.microsoft.com/office/drawing/2014/main" id="{A257B3AB-086F-F708-7878-D49C63458DEF}"/>
                    </a:ext>
                  </a:extLst>
                </p:cNvPr>
                <p:cNvSpPr/>
                <p:nvPr/>
              </p:nvSpPr>
              <p:spPr>
                <a:xfrm>
                  <a:off x="4827979" y="6105393"/>
                  <a:ext cx="15320" cy="49823"/>
                </a:xfrm>
                <a:custGeom>
                  <a:avLst/>
                  <a:gdLst>
                    <a:gd name="connsiteX0" fmla="*/ 0 w 15320"/>
                    <a:gd name="connsiteY0" fmla="*/ 0 h 49823"/>
                    <a:gd name="connsiteX1" fmla="*/ 3862 w 15320"/>
                    <a:gd name="connsiteY1" fmla="*/ 18435 h 49823"/>
                    <a:gd name="connsiteX2" fmla="*/ 12331 w 15320"/>
                    <a:gd name="connsiteY2" fmla="*/ 33631 h 49823"/>
                    <a:gd name="connsiteX3" fmla="*/ 15321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5" y="8470"/>
                        <a:pt x="2118" y="14449"/>
                        <a:pt x="3862" y="18435"/>
                      </a:cubicBezTo>
                      <a:cubicBezTo>
                        <a:pt x="6726" y="24787"/>
                        <a:pt x="9716" y="27029"/>
                        <a:pt x="12331" y="33631"/>
                      </a:cubicBezTo>
                      <a:cubicBezTo>
                        <a:pt x="14947" y="39983"/>
                        <a:pt x="15321" y="45962"/>
                        <a:pt x="1532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0" name="Freeform 4189">
                  <a:extLst>
                    <a:ext uri="{FF2B5EF4-FFF2-40B4-BE49-F238E27FC236}">
                      <a16:creationId xmlns:a16="http://schemas.microsoft.com/office/drawing/2014/main" id="{3E8594E6-39C7-8933-9F01-E426263400CE}"/>
                    </a:ext>
                  </a:extLst>
                </p:cNvPr>
                <p:cNvSpPr/>
                <p:nvPr/>
              </p:nvSpPr>
              <p:spPr>
                <a:xfrm>
                  <a:off x="4833211" y="6098418"/>
                  <a:ext cx="16690" cy="49449"/>
                </a:xfrm>
                <a:custGeom>
                  <a:avLst/>
                  <a:gdLst>
                    <a:gd name="connsiteX0" fmla="*/ 16691 w 16690"/>
                    <a:gd name="connsiteY0" fmla="*/ 49449 h 49449"/>
                    <a:gd name="connsiteX1" fmla="*/ 9093 w 16690"/>
                    <a:gd name="connsiteY1" fmla="*/ 32260 h 49449"/>
                    <a:gd name="connsiteX2" fmla="*/ 7100 w 16690"/>
                    <a:gd name="connsiteY2" fmla="*/ 14947 h 49449"/>
                    <a:gd name="connsiteX3" fmla="*/ 0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49449"/>
                      </a:moveTo>
                      <a:cubicBezTo>
                        <a:pt x="11833" y="42599"/>
                        <a:pt x="9964" y="36495"/>
                        <a:pt x="9093" y="32260"/>
                      </a:cubicBezTo>
                      <a:cubicBezTo>
                        <a:pt x="7723" y="25410"/>
                        <a:pt x="8843" y="21798"/>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1" name="Freeform 4190">
                  <a:extLst>
                    <a:ext uri="{FF2B5EF4-FFF2-40B4-BE49-F238E27FC236}">
                      <a16:creationId xmlns:a16="http://schemas.microsoft.com/office/drawing/2014/main" id="{7BEFD9BB-2EF7-7300-0A44-ADBB983E09FC}"/>
                    </a:ext>
                  </a:extLst>
                </p:cNvPr>
                <p:cNvSpPr/>
                <p:nvPr/>
              </p:nvSpPr>
              <p:spPr>
                <a:xfrm>
                  <a:off x="4816007" y="6084203"/>
                  <a:ext cx="26560" cy="26573"/>
                </a:xfrm>
                <a:custGeom>
                  <a:avLst/>
                  <a:gdLst>
                    <a:gd name="connsiteX0" fmla="*/ 25923 w 26560"/>
                    <a:gd name="connsiteY0" fmla="*/ 9108 h 26573"/>
                    <a:gd name="connsiteX1" fmla="*/ 17328 w 26560"/>
                    <a:gd name="connsiteY1" fmla="*/ 25924 h 26573"/>
                    <a:gd name="connsiteX2" fmla="*/ 638 w 26560"/>
                    <a:gd name="connsiteY2" fmla="*/ 17454 h 26573"/>
                    <a:gd name="connsiteX3" fmla="*/ 9232 w 26560"/>
                    <a:gd name="connsiteY3" fmla="*/ 638 h 26573"/>
                    <a:gd name="connsiteX4" fmla="*/ 25923 w 26560"/>
                    <a:gd name="connsiteY4" fmla="*/ 9108 h 26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0" h="26573">
                      <a:moveTo>
                        <a:pt x="25923" y="9108"/>
                      </a:moveTo>
                      <a:cubicBezTo>
                        <a:pt x="28165" y="16083"/>
                        <a:pt x="24304" y="23557"/>
                        <a:pt x="17328" y="25924"/>
                      </a:cubicBezTo>
                      <a:cubicBezTo>
                        <a:pt x="10353" y="28166"/>
                        <a:pt x="2880" y="24429"/>
                        <a:pt x="638" y="17454"/>
                      </a:cubicBezTo>
                      <a:cubicBezTo>
                        <a:pt x="-1605" y="10479"/>
                        <a:pt x="2257" y="3005"/>
                        <a:pt x="9232" y="638"/>
                      </a:cubicBezTo>
                      <a:cubicBezTo>
                        <a:pt x="16207" y="-1603"/>
                        <a:pt x="23805" y="2258"/>
                        <a:pt x="25923" y="91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2" name="Freeform 4191">
                  <a:extLst>
                    <a:ext uri="{FF2B5EF4-FFF2-40B4-BE49-F238E27FC236}">
                      <a16:creationId xmlns:a16="http://schemas.microsoft.com/office/drawing/2014/main" id="{9D0F6EF1-BC8F-EFC1-55C7-2DCBC93CA9B3}"/>
                    </a:ext>
                  </a:extLst>
                </p:cNvPr>
                <p:cNvSpPr/>
                <p:nvPr/>
              </p:nvSpPr>
              <p:spPr>
                <a:xfrm>
                  <a:off x="4852891" y="6156337"/>
                  <a:ext cx="15320" cy="49823"/>
                </a:xfrm>
                <a:custGeom>
                  <a:avLst/>
                  <a:gdLst>
                    <a:gd name="connsiteX0" fmla="*/ 15321 w 15320"/>
                    <a:gd name="connsiteY0" fmla="*/ 49823 h 49823"/>
                    <a:gd name="connsiteX1" fmla="*/ 11459 w 15320"/>
                    <a:gd name="connsiteY1" fmla="*/ 31389 h 49823"/>
                    <a:gd name="connsiteX2" fmla="*/ 2990 w 15320"/>
                    <a:gd name="connsiteY2" fmla="*/ 16193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5196" y="41353"/>
                        <a:pt x="13203" y="35375"/>
                        <a:pt x="11459" y="31389"/>
                      </a:cubicBezTo>
                      <a:cubicBezTo>
                        <a:pt x="8595" y="25036"/>
                        <a:pt x="5605" y="22794"/>
                        <a:pt x="2990" y="16193"/>
                      </a:cubicBezTo>
                      <a:cubicBezTo>
                        <a:pt x="374"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3" name="Freeform 4192">
                  <a:extLst>
                    <a:ext uri="{FF2B5EF4-FFF2-40B4-BE49-F238E27FC236}">
                      <a16:creationId xmlns:a16="http://schemas.microsoft.com/office/drawing/2014/main" id="{305402B7-4FC7-025C-30DE-37385ADC9B9A}"/>
                    </a:ext>
                  </a:extLst>
                </p:cNvPr>
                <p:cNvSpPr/>
                <p:nvPr/>
              </p:nvSpPr>
              <p:spPr>
                <a:xfrm>
                  <a:off x="4846414" y="6163686"/>
                  <a:ext cx="16690" cy="49449"/>
                </a:xfrm>
                <a:custGeom>
                  <a:avLst/>
                  <a:gdLst>
                    <a:gd name="connsiteX0" fmla="*/ 0 w 16690"/>
                    <a:gd name="connsiteY0" fmla="*/ 0 h 49449"/>
                    <a:gd name="connsiteX1" fmla="*/ 7598 w 16690"/>
                    <a:gd name="connsiteY1" fmla="*/ 17189 h 49449"/>
                    <a:gd name="connsiteX2" fmla="*/ 9591 w 16690"/>
                    <a:gd name="connsiteY2" fmla="*/ 34502 h 49449"/>
                    <a:gd name="connsiteX3" fmla="*/ 16691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0" y="0"/>
                      </a:moveTo>
                      <a:cubicBezTo>
                        <a:pt x="4858" y="6851"/>
                        <a:pt x="6726" y="12954"/>
                        <a:pt x="7598" y="17189"/>
                      </a:cubicBezTo>
                      <a:cubicBezTo>
                        <a:pt x="8968" y="24040"/>
                        <a:pt x="7972" y="27651"/>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4" name="Freeform 4193">
                  <a:extLst>
                    <a:ext uri="{FF2B5EF4-FFF2-40B4-BE49-F238E27FC236}">
                      <a16:creationId xmlns:a16="http://schemas.microsoft.com/office/drawing/2014/main" id="{57EDD008-922F-B143-2601-AA29D7F5D17A}"/>
                    </a:ext>
                  </a:extLst>
                </p:cNvPr>
                <p:cNvSpPr/>
                <p:nvPr/>
              </p:nvSpPr>
              <p:spPr>
                <a:xfrm>
                  <a:off x="4853860" y="6200777"/>
                  <a:ext cx="26335" cy="26460"/>
                </a:xfrm>
                <a:custGeom>
                  <a:avLst/>
                  <a:gdLst>
                    <a:gd name="connsiteX0" fmla="*/ 650 w 26335"/>
                    <a:gd name="connsiteY0" fmla="*/ 17341 h 26460"/>
                    <a:gd name="connsiteX1" fmla="*/ 9120 w 26335"/>
                    <a:gd name="connsiteY1" fmla="*/ 650 h 26460"/>
                    <a:gd name="connsiteX2" fmla="*/ 25686 w 26335"/>
                    <a:gd name="connsiteY2" fmla="*/ 9120 h 26460"/>
                    <a:gd name="connsiteX3" fmla="*/ 17216 w 26335"/>
                    <a:gd name="connsiteY3" fmla="*/ 25811 h 26460"/>
                    <a:gd name="connsiteX4" fmla="*/ 650 w 26335"/>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460">
                      <a:moveTo>
                        <a:pt x="650" y="17341"/>
                      </a:moveTo>
                      <a:cubicBezTo>
                        <a:pt x="-1592" y="10366"/>
                        <a:pt x="2145" y="2892"/>
                        <a:pt x="9120" y="650"/>
                      </a:cubicBezTo>
                      <a:cubicBezTo>
                        <a:pt x="16095" y="-1592"/>
                        <a:pt x="23444" y="2145"/>
                        <a:pt x="25686" y="9120"/>
                      </a:cubicBezTo>
                      <a:cubicBezTo>
                        <a:pt x="27928" y="16095"/>
                        <a:pt x="24191" y="23569"/>
                        <a:pt x="17216" y="25811"/>
                      </a:cubicBezTo>
                      <a:cubicBezTo>
                        <a:pt x="10241" y="28052"/>
                        <a:pt x="2892" y="24316"/>
                        <a:pt x="650"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1" name="Graphic 2987">
                <a:extLst>
                  <a:ext uri="{FF2B5EF4-FFF2-40B4-BE49-F238E27FC236}">
                    <a16:creationId xmlns:a16="http://schemas.microsoft.com/office/drawing/2014/main" id="{9395A1DE-3221-70C2-C2A3-547C94DBCE1A}"/>
                  </a:ext>
                </a:extLst>
              </p:cNvPr>
              <p:cNvGrpSpPr/>
              <p:nvPr/>
            </p:nvGrpSpPr>
            <p:grpSpPr>
              <a:xfrm>
                <a:off x="4844282" y="6074920"/>
                <a:ext cx="63803" cy="143212"/>
                <a:chOff x="4844282" y="6074920"/>
                <a:chExt cx="63803" cy="143212"/>
              </a:xfrm>
              <a:grpFill/>
            </p:grpSpPr>
            <p:sp>
              <p:nvSpPr>
                <p:cNvPr id="5213" name="Freeform 4195">
                  <a:extLst>
                    <a:ext uri="{FF2B5EF4-FFF2-40B4-BE49-F238E27FC236}">
                      <a16:creationId xmlns:a16="http://schemas.microsoft.com/office/drawing/2014/main" id="{9F91234E-019A-D5ED-1755-AA67917881BA}"/>
                    </a:ext>
                  </a:extLst>
                </p:cNvPr>
                <p:cNvSpPr/>
                <p:nvPr/>
              </p:nvSpPr>
              <p:spPr>
                <a:xfrm>
                  <a:off x="4856379" y="6096176"/>
                  <a:ext cx="15320" cy="49947"/>
                </a:xfrm>
                <a:custGeom>
                  <a:avLst/>
                  <a:gdLst>
                    <a:gd name="connsiteX0" fmla="*/ 0 w 15320"/>
                    <a:gd name="connsiteY0" fmla="*/ 0 h 49947"/>
                    <a:gd name="connsiteX1" fmla="*/ 3861 w 15320"/>
                    <a:gd name="connsiteY1" fmla="*/ 18435 h 49947"/>
                    <a:gd name="connsiteX2" fmla="*/ 12331 w 15320"/>
                    <a:gd name="connsiteY2" fmla="*/ 33631 h 49947"/>
                    <a:gd name="connsiteX3" fmla="*/ 1532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0" y="0"/>
                      </a:moveTo>
                      <a:cubicBezTo>
                        <a:pt x="124" y="8470"/>
                        <a:pt x="1993" y="14449"/>
                        <a:pt x="3861" y="18435"/>
                      </a:cubicBezTo>
                      <a:cubicBezTo>
                        <a:pt x="6726" y="24787"/>
                        <a:pt x="9715" y="27029"/>
                        <a:pt x="12331" y="33631"/>
                      </a:cubicBezTo>
                      <a:cubicBezTo>
                        <a:pt x="14947" y="39983"/>
                        <a:pt x="15320" y="45962"/>
                        <a:pt x="1532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4" name="Freeform 4196">
                  <a:extLst>
                    <a:ext uri="{FF2B5EF4-FFF2-40B4-BE49-F238E27FC236}">
                      <a16:creationId xmlns:a16="http://schemas.microsoft.com/office/drawing/2014/main" id="{A191FD79-EACE-9A8C-22A0-E8DBCE0D8D4B}"/>
                    </a:ext>
                  </a:extLst>
                </p:cNvPr>
                <p:cNvSpPr/>
                <p:nvPr/>
              </p:nvSpPr>
              <p:spPr>
                <a:xfrm>
                  <a:off x="4861485" y="6089201"/>
                  <a:ext cx="16566" cy="49449"/>
                </a:xfrm>
                <a:custGeom>
                  <a:avLst/>
                  <a:gdLst>
                    <a:gd name="connsiteX0" fmla="*/ 16566 w 16566"/>
                    <a:gd name="connsiteY0" fmla="*/ 49449 h 49449"/>
                    <a:gd name="connsiteX1" fmla="*/ 8968 w 16566"/>
                    <a:gd name="connsiteY1" fmla="*/ 32260 h 49449"/>
                    <a:gd name="connsiteX2" fmla="*/ 7100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0" y="36495"/>
                        <a:pt x="8968" y="32260"/>
                      </a:cubicBezTo>
                      <a:cubicBezTo>
                        <a:pt x="7598" y="25410"/>
                        <a:pt x="8719"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5" name="Freeform 4197">
                  <a:extLst>
                    <a:ext uri="{FF2B5EF4-FFF2-40B4-BE49-F238E27FC236}">
                      <a16:creationId xmlns:a16="http://schemas.microsoft.com/office/drawing/2014/main" id="{5B546008-56E4-B475-3254-E27766551C9D}"/>
                    </a:ext>
                  </a:extLst>
                </p:cNvPr>
                <p:cNvSpPr/>
                <p:nvPr/>
              </p:nvSpPr>
              <p:spPr>
                <a:xfrm>
                  <a:off x="4844282" y="6074920"/>
                  <a:ext cx="26684" cy="26514"/>
                </a:xfrm>
                <a:custGeom>
                  <a:avLst/>
                  <a:gdLst>
                    <a:gd name="connsiteX0" fmla="*/ 26047 w 26684"/>
                    <a:gd name="connsiteY0" fmla="*/ 9299 h 26514"/>
                    <a:gd name="connsiteX1" fmla="*/ 17328 w 26684"/>
                    <a:gd name="connsiteY1" fmla="*/ 25865 h 26514"/>
                    <a:gd name="connsiteX2" fmla="*/ 638 w 26684"/>
                    <a:gd name="connsiteY2" fmla="*/ 17395 h 26514"/>
                    <a:gd name="connsiteX3" fmla="*/ 9232 w 26684"/>
                    <a:gd name="connsiteY3" fmla="*/ 579 h 26514"/>
                    <a:gd name="connsiteX4" fmla="*/ 26047 w 26684"/>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 h="26513">
                      <a:moveTo>
                        <a:pt x="26047" y="9299"/>
                      </a:moveTo>
                      <a:cubicBezTo>
                        <a:pt x="28289" y="16274"/>
                        <a:pt x="24428" y="23623"/>
                        <a:pt x="17328" y="25865"/>
                      </a:cubicBezTo>
                      <a:cubicBezTo>
                        <a:pt x="10353" y="28107"/>
                        <a:pt x="2880" y="24370"/>
                        <a:pt x="638" y="17395"/>
                      </a:cubicBezTo>
                      <a:cubicBezTo>
                        <a:pt x="-1604" y="10420"/>
                        <a:pt x="2257" y="2946"/>
                        <a:pt x="9232" y="579"/>
                      </a:cubicBezTo>
                      <a:cubicBezTo>
                        <a:pt x="16332" y="-1538"/>
                        <a:pt x="23805" y="2323"/>
                        <a:pt x="26047"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6" name="Freeform 4198">
                  <a:extLst>
                    <a:ext uri="{FF2B5EF4-FFF2-40B4-BE49-F238E27FC236}">
                      <a16:creationId xmlns:a16="http://schemas.microsoft.com/office/drawing/2014/main" id="{FE4BD0E5-8F3D-E405-87A3-8F3A54D34357}"/>
                    </a:ext>
                  </a:extLst>
                </p:cNvPr>
                <p:cNvSpPr/>
                <p:nvPr/>
              </p:nvSpPr>
              <p:spPr>
                <a:xfrm>
                  <a:off x="4881020" y="6146995"/>
                  <a:ext cx="15216" cy="49947"/>
                </a:xfrm>
                <a:custGeom>
                  <a:avLst/>
                  <a:gdLst>
                    <a:gd name="connsiteX0" fmla="*/ 15217 w 15216"/>
                    <a:gd name="connsiteY0" fmla="*/ 49948 h 49947"/>
                    <a:gd name="connsiteX1" fmla="*/ 11356 w 15216"/>
                    <a:gd name="connsiteY1" fmla="*/ 31513 h 49947"/>
                    <a:gd name="connsiteX2" fmla="*/ 2886 w 15216"/>
                    <a:gd name="connsiteY2" fmla="*/ 16193 h 49947"/>
                    <a:gd name="connsiteX3" fmla="*/ 21 w 15216"/>
                    <a:gd name="connsiteY3" fmla="*/ 0 h 49947"/>
                  </a:gdLst>
                  <a:ahLst/>
                  <a:cxnLst>
                    <a:cxn ang="0">
                      <a:pos x="connsiteX0" y="connsiteY0"/>
                    </a:cxn>
                    <a:cxn ang="0">
                      <a:pos x="connsiteX1" y="connsiteY1"/>
                    </a:cxn>
                    <a:cxn ang="0">
                      <a:pos x="connsiteX2" y="connsiteY2"/>
                    </a:cxn>
                    <a:cxn ang="0">
                      <a:pos x="connsiteX3" y="connsiteY3"/>
                    </a:cxn>
                  </a:cxnLst>
                  <a:rect l="l" t="t" r="r" b="b"/>
                  <a:pathLst>
                    <a:path w="15216" h="49947">
                      <a:moveTo>
                        <a:pt x="15217" y="49948"/>
                      </a:moveTo>
                      <a:cubicBezTo>
                        <a:pt x="15092" y="41603"/>
                        <a:pt x="13224" y="35499"/>
                        <a:pt x="11356" y="31513"/>
                      </a:cubicBezTo>
                      <a:cubicBezTo>
                        <a:pt x="8491" y="25161"/>
                        <a:pt x="5501" y="22794"/>
                        <a:pt x="2886" y="16193"/>
                      </a:cubicBezTo>
                      <a:cubicBezTo>
                        <a:pt x="270" y="9715"/>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7" name="Freeform 4199">
                  <a:extLst>
                    <a:ext uri="{FF2B5EF4-FFF2-40B4-BE49-F238E27FC236}">
                      <a16:creationId xmlns:a16="http://schemas.microsoft.com/office/drawing/2014/main" id="{A40B3676-F9EF-CB9C-14CA-E583B41D0C95}"/>
                    </a:ext>
                  </a:extLst>
                </p:cNvPr>
                <p:cNvSpPr/>
                <p:nvPr/>
              </p:nvSpPr>
              <p:spPr>
                <a:xfrm>
                  <a:off x="4874564" y="6154469"/>
                  <a:ext cx="16566" cy="49449"/>
                </a:xfrm>
                <a:custGeom>
                  <a:avLst/>
                  <a:gdLst>
                    <a:gd name="connsiteX0" fmla="*/ 0 w 16566"/>
                    <a:gd name="connsiteY0" fmla="*/ 0 h 49449"/>
                    <a:gd name="connsiteX1" fmla="*/ 7598 w 16566"/>
                    <a:gd name="connsiteY1" fmla="*/ 17189 h 49449"/>
                    <a:gd name="connsiteX2" fmla="*/ 9591 w 16566"/>
                    <a:gd name="connsiteY2" fmla="*/ 34503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4858" y="6851"/>
                        <a:pt x="6726" y="12954"/>
                        <a:pt x="7598" y="17189"/>
                      </a:cubicBezTo>
                      <a:cubicBezTo>
                        <a:pt x="8968" y="24040"/>
                        <a:pt x="7847" y="27652"/>
                        <a:pt x="9591" y="34503"/>
                      </a:cubicBezTo>
                      <a:cubicBezTo>
                        <a:pt x="11210" y="41229"/>
                        <a:pt x="14324" y="46211"/>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8" name="Freeform 4200">
                  <a:extLst>
                    <a:ext uri="{FF2B5EF4-FFF2-40B4-BE49-F238E27FC236}">
                      <a16:creationId xmlns:a16="http://schemas.microsoft.com/office/drawing/2014/main" id="{A6485A3E-2251-4586-A0D6-8712D1BB47CD}"/>
                    </a:ext>
                  </a:extLst>
                </p:cNvPr>
                <p:cNvSpPr/>
                <p:nvPr/>
              </p:nvSpPr>
              <p:spPr>
                <a:xfrm>
                  <a:off x="4881761" y="6191584"/>
                  <a:ext cx="26324" cy="26548"/>
                </a:xfrm>
                <a:custGeom>
                  <a:avLst/>
                  <a:gdLst>
                    <a:gd name="connsiteX0" fmla="*/ 650 w 26324"/>
                    <a:gd name="connsiteY0" fmla="*/ 17316 h 26548"/>
                    <a:gd name="connsiteX1" fmla="*/ 9120 w 26324"/>
                    <a:gd name="connsiteY1" fmla="*/ 626 h 26548"/>
                    <a:gd name="connsiteX2" fmla="*/ 25686 w 26324"/>
                    <a:gd name="connsiteY2" fmla="*/ 9345 h 26548"/>
                    <a:gd name="connsiteX3" fmla="*/ 17216 w 26324"/>
                    <a:gd name="connsiteY3" fmla="*/ 25911 h 26548"/>
                    <a:gd name="connsiteX4" fmla="*/ 650 w 26324"/>
                    <a:gd name="connsiteY4" fmla="*/ 17316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548">
                      <a:moveTo>
                        <a:pt x="650" y="17316"/>
                      </a:moveTo>
                      <a:cubicBezTo>
                        <a:pt x="-1592" y="10341"/>
                        <a:pt x="2145" y="2868"/>
                        <a:pt x="9120" y="626"/>
                      </a:cubicBezTo>
                      <a:cubicBezTo>
                        <a:pt x="16095" y="-1616"/>
                        <a:pt x="23444" y="2370"/>
                        <a:pt x="25686" y="9345"/>
                      </a:cubicBezTo>
                      <a:cubicBezTo>
                        <a:pt x="27928" y="16320"/>
                        <a:pt x="24067" y="23669"/>
                        <a:pt x="17216" y="25911"/>
                      </a:cubicBezTo>
                      <a:cubicBezTo>
                        <a:pt x="10366" y="28153"/>
                        <a:pt x="2892" y="24292"/>
                        <a:pt x="650"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2" name="Graphic 2987">
                <a:extLst>
                  <a:ext uri="{FF2B5EF4-FFF2-40B4-BE49-F238E27FC236}">
                    <a16:creationId xmlns:a16="http://schemas.microsoft.com/office/drawing/2014/main" id="{6E361511-CB32-CEE8-5D55-BA24D27D8B2E}"/>
                  </a:ext>
                </a:extLst>
              </p:cNvPr>
              <p:cNvGrpSpPr/>
              <p:nvPr/>
            </p:nvGrpSpPr>
            <p:grpSpPr>
              <a:xfrm>
                <a:off x="4872693" y="6066076"/>
                <a:ext cx="63542" cy="143200"/>
                <a:chOff x="4872693" y="6066076"/>
                <a:chExt cx="63542" cy="143200"/>
              </a:xfrm>
              <a:grpFill/>
            </p:grpSpPr>
            <p:sp>
              <p:nvSpPr>
                <p:cNvPr id="5207" name="Freeform 4202">
                  <a:extLst>
                    <a:ext uri="{FF2B5EF4-FFF2-40B4-BE49-F238E27FC236}">
                      <a16:creationId xmlns:a16="http://schemas.microsoft.com/office/drawing/2014/main" id="{8EEE4563-F9E4-AADB-3686-D0917D61E5E6}"/>
                    </a:ext>
                  </a:extLst>
                </p:cNvPr>
                <p:cNvSpPr/>
                <p:nvPr/>
              </p:nvSpPr>
              <p:spPr>
                <a:xfrm>
                  <a:off x="4884653" y="6087208"/>
                  <a:ext cx="15088" cy="49947"/>
                </a:xfrm>
                <a:custGeom>
                  <a:avLst/>
                  <a:gdLst>
                    <a:gd name="connsiteX0" fmla="*/ 0 w 15088"/>
                    <a:gd name="connsiteY0" fmla="*/ 0 h 49947"/>
                    <a:gd name="connsiteX1" fmla="*/ 3737 w 15088"/>
                    <a:gd name="connsiteY1" fmla="*/ 18435 h 49947"/>
                    <a:gd name="connsiteX2" fmla="*/ 12207 w 15088"/>
                    <a:gd name="connsiteY2" fmla="*/ 33755 h 49947"/>
                    <a:gd name="connsiteX3" fmla="*/ 15071 w 15088"/>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88" h="49947">
                      <a:moveTo>
                        <a:pt x="0" y="0"/>
                      </a:moveTo>
                      <a:cubicBezTo>
                        <a:pt x="0" y="8470"/>
                        <a:pt x="1993" y="14449"/>
                        <a:pt x="3737" y="18435"/>
                      </a:cubicBezTo>
                      <a:cubicBezTo>
                        <a:pt x="6602" y="24787"/>
                        <a:pt x="9591" y="27153"/>
                        <a:pt x="12207" y="33755"/>
                      </a:cubicBezTo>
                      <a:cubicBezTo>
                        <a:pt x="14698" y="40232"/>
                        <a:pt x="15196" y="46086"/>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8" name="Freeform 4203">
                  <a:extLst>
                    <a:ext uri="{FF2B5EF4-FFF2-40B4-BE49-F238E27FC236}">
                      <a16:creationId xmlns:a16="http://schemas.microsoft.com/office/drawing/2014/main" id="{FF87DCD5-FFFB-B085-4BEC-B026E6B98BB3}"/>
                    </a:ext>
                  </a:extLst>
                </p:cNvPr>
                <p:cNvSpPr/>
                <p:nvPr/>
              </p:nvSpPr>
              <p:spPr>
                <a:xfrm>
                  <a:off x="4890009" y="6080357"/>
                  <a:ext cx="16317" cy="49449"/>
                </a:xfrm>
                <a:custGeom>
                  <a:avLst/>
                  <a:gdLst>
                    <a:gd name="connsiteX0" fmla="*/ 16317 w 16317"/>
                    <a:gd name="connsiteY0" fmla="*/ 49449 h 49449"/>
                    <a:gd name="connsiteX1" fmla="*/ 8843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591" y="36495"/>
                        <a:pt x="8843" y="32260"/>
                      </a:cubicBezTo>
                      <a:cubicBezTo>
                        <a:pt x="7474" y="25409"/>
                        <a:pt x="8595" y="21798"/>
                        <a:pt x="6975" y="14947"/>
                      </a:cubicBezTo>
                      <a:cubicBezTo>
                        <a:pt x="5356" y="8220"/>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9" name="Freeform 4204">
                  <a:extLst>
                    <a:ext uri="{FF2B5EF4-FFF2-40B4-BE49-F238E27FC236}">
                      <a16:creationId xmlns:a16="http://schemas.microsoft.com/office/drawing/2014/main" id="{1C83F497-F6CD-3DD0-59C6-D35E63A3E442}"/>
                    </a:ext>
                  </a:extLst>
                </p:cNvPr>
                <p:cNvSpPr/>
                <p:nvPr/>
              </p:nvSpPr>
              <p:spPr>
                <a:xfrm>
                  <a:off x="4872693" y="6066076"/>
                  <a:ext cx="26661" cy="26490"/>
                </a:xfrm>
                <a:custGeom>
                  <a:avLst/>
                  <a:gdLst>
                    <a:gd name="connsiteX0" fmla="*/ 26036 w 26661"/>
                    <a:gd name="connsiteY0" fmla="*/ 9298 h 26490"/>
                    <a:gd name="connsiteX1" fmla="*/ 17316 w 26661"/>
                    <a:gd name="connsiteY1" fmla="*/ 25865 h 26490"/>
                    <a:gd name="connsiteX2" fmla="*/ 626 w 26661"/>
                    <a:gd name="connsiteY2" fmla="*/ 17146 h 26490"/>
                    <a:gd name="connsiteX3" fmla="*/ 9345 w 26661"/>
                    <a:gd name="connsiteY3" fmla="*/ 580 h 26490"/>
                    <a:gd name="connsiteX4" fmla="*/ 26036 w 26661"/>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0">
                      <a:moveTo>
                        <a:pt x="26036" y="9298"/>
                      </a:moveTo>
                      <a:cubicBezTo>
                        <a:pt x="28277" y="16274"/>
                        <a:pt x="24292" y="23747"/>
                        <a:pt x="17316" y="25865"/>
                      </a:cubicBezTo>
                      <a:cubicBezTo>
                        <a:pt x="10341" y="28107"/>
                        <a:pt x="2868" y="24121"/>
                        <a:pt x="626" y="17146"/>
                      </a:cubicBezTo>
                      <a:cubicBezTo>
                        <a:pt x="-1616" y="10170"/>
                        <a:pt x="2370" y="2697"/>
                        <a:pt x="9345" y="580"/>
                      </a:cubicBezTo>
                      <a:cubicBezTo>
                        <a:pt x="16444" y="-1538"/>
                        <a:pt x="23918" y="2323"/>
                        <a:pt x="26036"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0" name="Freeform 4205">
                  <a:extLst>
                    <a:ext uri="{FF2B5EF4-FFF2-40B4-BE49-F238E27FC236}">
                      <a16:creationId xmlns:a16="http://schemas.microsoft.com/office/drawing/2014/main" id="{D6E0178C-B6A3-3263-3C3B-2048660A700A}"/>
                    </a:ext>
                  </a:extLst>
                </p:cNvPr>
                <p:cNvSpPr/>
                <p:nvPr/>
              </p:nvSpPr>
              <p:spPr>
                <a:xfrm>
                  <a:off x="4909298" y="6138276"/>
                  <a:ext cx="14964" cy="49947"/>
                </a:xfrm>
                <a:custGeom>
                  <a:avLst/>
                  <a:gdLst>
                    <a:gd name="connsiteX0" fmla="*/ 14964 w 14964"/>
                    <a:gd name="connsiteY0" fmla="*/ 49947 h 49947"/>
                    <a:gd name="connsiteX1" fmla="*/ 11228 w 14964"/>
                    <a:gd name="connsiteY1" fmla="*/ 31513 h 49947"/>
                    <a:gd name="connsiteX2" fmla="*/ 2882 w 14964"/>
                    <a:gd name="connsiteY2" fmla="*/ 16192 h 49947"/>
                    <a:gd name="connsiteX3" fmla="*/ 18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14964" y="49947"/>
                      </a:moveTo>
                      <a:cubicBezTo>
                        <a:pt x="14840" y="41602"/>
                        <a:pt x="12971" y="35499"/>
                        <a:pt x="11228" y="31513"/>
                      </a:cubicBezTo>
                      <a:cubicBezTo>
                        <a:pt x="8363" y="25161"/>
                        <a:pt x="5498" y="22794"/>
                        <a:pt x="2882" y="16192"/>
                      </a:cubicBezTo>
                      <a:cubicBezTo>
                        <a:pt x="391" y="9715"/>
                        <a:pt x="-107" y="3861"/>
                        <a:pt x="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1" name="Freeform 4206">
                  <a:extLst>
                    <a:ext uri="{FF2B5EF4-FFF2-40B4-BE49-F238E27FC236}">
                      <a16:creationId xmlns:a16="http://schemas.microsoft.com/office/drawing/2014/main" id="{91A56EFE-4BA1-ABDB-766C-03A1FA20482A}"/>
                    </a:ext>
                  </a:extLst>
                </p:cNvPr>
                <p:cNvSpPr/>
                <p:nvPr/>
              </p:nvSpPr>
              <p:spPr>
                <a:xfrm>
                  <a:off x="4902714" y="6145625"/>
                  <a:ext cx="16317" cy="49449"/>
                </a:xfrm>
                <a:custGeom>
                  <a:avLst/>
                  <a:gdLst>
                    <a:gd name="connsiteX0" fmla="*/ 0 w 16317"/>
                    <a:gd name="connsiteY0" fmla="*/ 0 h 49449"/>
                    <a:gd name="connsiteX1" fmla="*/ 7474 w 16317"/>
                    <a:gd name="connsiteY1" fmla="*/ 17189 h 49449"/>
                    <a:gd name="connsiteX2" fmla="*/ 9342 w 16317"/>
                    <a:gd name="connsiteY2" fmla="*/ 34502 h 49449"/>
                    <a:gd name="connsiteX3" fmla="*/ 16317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0" y="0"/>
                      </a:moveTo>
                      <a:cubicBezTo>
                        <a:pt x="4733" y="6975"/>
                        <a:pt x="6726" y="12954"/>
                        <a:pt x="7474" y="17189"/>
                      </a:cubicBezTo>
                      <a:cubicBezTo>
                        <a:pt x="8844" y="24040"/>
                        <a:pt x="7723" y="27527"/>
                        <a:pt x="9342" y="34502"/>
                      </a:cubicBezTo>
                      <a:cubicBezTo>
                        <a:pt x="10961" y="41229"/>
                        <a:pt x="14075" y="46211"/>
                        <a:pt x="16317"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2" name="Freeform 4207">
                  <a:extLst>
                    <a:ext uri="{FF2B5EF4-FFF2-40B4-BE49-F238E27FC236}">
                      <a16:creationId xmlns:a16="http://schemas.microsoft.com/office/drawing/2014/main" id="{11296435-D790-DEC7-6B1F-22E1357B95A0}"/>
                    </a:ext>
                  </a:extLst>
                </p:cNvPr>
                <p:cNvSpPr/>
                <p:nvPr/>
              </p:nvSpPr>
              <p:spPr>
                <a:xfrm>
                  <a:off x="4909799" y="6182787"/>
                  <a:ext cx="26435" cy="26490"/>
                </a:xfrm>
                <a:custGeom>
                  <a:avLst/>
                  <a:gdLst>
                    <a:gd name="connsiteX0" fmla="*/ 638 w 26435"/>
                    <a:gd name="connsiteY0" fmla="*/ 17146 h 26490"/>
                    <a:gd name="connsiteX1" fmla="*/ 9232 w 26435"/>
                    <a:gd name="connsiteY1" fmla="*/ 580 h 26490"/>
                    <a:gd name="connsiteX2" fmla="*/ 25798 w 26435"/>
                    <a:gd name="connsiteY2" fmla="*/ 9299 h 26490"/>
                    <a:gd name="connsiteX3" fmla="*/ 17204 w 26435"/>
                    <a:gd name="connsiteY3" fmla="*/ 25865 h 26490"/>
                    <a:gd name="connsiteX4" fmla="*/ 638 w 26435"/>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90">
                      <a:moveTo>
                        <a:pt x="638" y="17146"/>
                      </a:moveTo>
                      <a:cubicBezTo>
                        <a:pt x="-1605" y="10170"/>
                        <a:pt x="2257" y="2821"/>
                        <a:pt x="9232" y="580"/>
                      </a:cubicBezTo>
                      <a:cubicBezTo>
                        <a:pt x="16207" y="-1538"/>
                        <a:pt x="23556" y="2323"/>
                        <a:pt x="25798" y="9299"/>
                      </a:cubicBezTo>
                      <a:cubicBezTo>
                        <a:pt x="28040" y="16274"/>
                        <a:pt x="24179" y="23747"/>
                        <a:pt x="17204" y="25865"/>
                      </a:cubicBezTo>
                      <a:cubicBezTo>
                        <a:pt x="10229" y="28107"/>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3" name="Graphic 2987">
                <a:extLst>
                  <a:ext uri="{FF2B5EF4-FFF2-40B4-BE49-F238E27FC236}">
                    <a16:creationId xmlns:a16="http://schemas.microsoft.com/office/drawing/2014/main" id="{33C54083-2235-21CF-DC3A-ACF44283BA5C}"/>
                  </a:ext>
                </a:extLst>
              </p:cNvPr>
              <p:cNvGrpSpPr/>
              <p:nvPr/>
            </p:nvGrpSpPr>
            <p:grpSpPr>
              <a:xfrm>
                <a:off x="4901217" y="6057233"/>
                <a:ext cx="62997" cy="143279"/>
                <a:chOff x="4901217" y="6057233"/>
                <a:chExt cx="62997" cy="143279"/>
              </a:xfrm>
              <a:grpFill/>
            </p:grpSpPr>
            <p:sp>
              <p:nvSpPr>
                <p:cNvPr id="5201" name="Freeform 4209">
                  <a:extLst>
                    <a:ext uri="{FF2B5EF4-FFF2-40B4-BE49-F238E27FC236}">
                      <a16:creationId xmlns:a16="http://schemas.microsoft.com/office/drawing/2014/main" id="{1E0C9AF5-961C-FCFC-F608-1F7F731F2406}"/>
                    </a:ext>
                  </a:extLst>
                </p:cNvPr>
                <p:cNvSpPr/>
                <p:nvPr/>
              </p:nvSpPr>
              <p:spPr>
                <a:xfrm>
                  <a:off x="4913177" y="6078364"/>
                  <a:ext cx="14946" cy="50072"/>
                </a:xfrm>
                <a:custGeom>
                  <a:avLst/>
                  <a:gdLst>
                    <a:gd name="connsiteX0" fmla="*/ 0 w 14946"/>
                    <a:gd name="connsiteY0" fmla="*/ 0 h 50072"/>
                    <a:gd name="connsiteX1" fmla="*/ 3737 w 14946"/>
                    <a:gd name="connsiteY1" fmla="*/ 18434 h 50072"/>
                    <a:gd name="connsiteX2" fmla="*/ 12082 w 14946"/>
                    <a:gd name="connsiteY2" fmla="*/ 33755 h 50072"/>
                    <a:gd name="connsiteX3" fmla="*/ 14947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0" y="0"/>
                      </a:moveTo>
                      <a:cubicBezTo>
                        <a:pt x="0" y="8470"/>
                        <a:pt x="1993" y="14449"/>
                        <a:pt x="3737" y="18434"/>
                      </a:cubicBezTo>
                      <a:cubicBezTo>
                        <a:pt x="6602" y="24787"/>
                        <a:pt x="9466" y="27153"/>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2" name="Freeform 4210">
                  <a:extLst>
                    <a:ext uri="{FF2B5EF4-FFF2-40B4-BE49-F238E27FC236}">
                      <a16:creationId xmlns:a16="http://schemas.microsoft.com/office/drawing/2014/main" id="{48F86A02-EAEE-88E2-ED06-FDAC52965C21}"/>
                    </a:ext>
                  </a:extLst>
                </p:cNvPr>
                <p:cNvSpPr/>
                <p:nvPr/>
              </p:nvSpPr>
              <p:spPr>
                <a:xfrm>
                  <a:off x="4918284" y="6071389"/>
                  <a:ext cx="16317" cy="49573"/>
                </a:xfrm>
                <a:custGeom>
                  <a:avLst/>
                  <a:gdLst>
                    <a:gd name="connsiteX0" fmla="*/ 16317 w 16317"/>
                    <a:gd name="connsiteY0" fmla="*/ 49574 h 49573"/>
                    <a:gd name="connsiteX1" fmla="*/ 8844 w 16317"/>
                    <a:gd name="connsiteY1" fmla="*/ 32260 h 49573"/>
                    <a:gd name="connsiteX2" fmla="*/ 6976 w 16317"/>
                    <a:gd name="connsiteY2" fmla="*/ 14947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1584" y="42599"/>
                        <a:pt x="9716" y="36620"/>
                        <a:pt x="8844" y="32260"/>
                      </a:cubicBezTo>
                      <a:cubicBezTo>
                        <a:pt x="7474" y="25409"/>
                        <a:pt x="8595" y="21798"/>
                        <a:pt x="6976" y="14947"/>
                      </a:cubicBezTo>
                      <a:cubicBezTo>
                        <a:pt x="5356"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3" name="Freeform 4211">
                  <a:extLst>
                    <a:ext uri="{FF2B5EF4-FFF2-40B4-BE49-F238E27FC236}">
                      <a16:creationId xmlns:a16="http://schemas.microsoft.com/office/drawing/2014/main" id="{FECE935F-DD7F-5763-71E5-AEA90C36604B}"/>
                    </a:ext>
                  </a:extLst>
                </p:cNvPr>
                <p:cNvSpPr/>
                <p:nvPr/>
              </p:nvSpPr>
              <p:spPr>
                <a:xfrm>
                  <a:off x="4901217" y="6057233"/>
                  <a:ext cx="26614" cy="26490"/>
                </a:xfrm>
                <a:custGeom>
                  <a:avLst/>
                  <a:gdLst>
                    <a:gd name="connsiteX0" fmla="*/ 26035 w 26614"/>
                    <a:gd name="connsiteY0" fmla="*/ 9298 h 26490"/>
                    <a:gd name="connsiteX1" fmla="*/ 17317 w 26614"/>
                    <a:gd name="connsiteY1" fmla="*/ 25865 h 26490"/>
                    <a:gd name="connsiteX2" fmla="*/ 626 w 26614"/>
                    <a:gd name="connsiteY2" fmla="*/ 17146 h 26490"/>
                    <a:gd name="connsiteX3" fmla="*/ 9345 w 26614"/>
                    <a:gd name="connsiteY3" fmla="*/ 580 h 26490"/>
                    <a:gd name="connsiteX4" fmla="*/ 26035 w 2661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3" h="26490">
                      <a:moveTo>
                        <a:pt x="26035" y="9298"/>
                      </a:moveTo>
                      <a:cubicBezTo>
                        <a:pt x="28153" y="16274"/>
                        <a:pt x="24292" y="23747"/>
                        <a:pt x="17317" y="25865"/>
                      </a:cubicBezTo>
                      <a:cubicBezTo>
                        <a:pt x="10341" y="28107"/>
                        <a:pt x="2868" y="24121"/>
                        <a:pt x="626" y="17146"/>
                      </a:cubicBezTo>
                      <a:cubicBezTo>
                        <a:pt x="-1616" y="10170"/>
                        <a:pt x="2369" y="2697"/>
                        <a:pt x="9345" y="580"/>
                      </a:cubicBezTo>
                      <a:cubicBezTo>
                        <a:pt x="16320" y="-1538"/>
                        <a:pt x="23793" y="2323"/>
                        <a:pt x="2603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4" name="Freeform 4212">
                  <a:extLst>
                    <a:ext uri="{FF2B5EF4-FFF2-40B4-BE49-F238E27FC236}">
                      <a16:creationId xmlns:a16="http://schemas.microsoft.com/office/drawing/2014/main" id="{401880F6-3285-3422-5D1E-A5867B136948}"/>
                    </a:ext>
                  </a:extLst>
                </p:cNvPr>
                <p:cNvSpPr/>
                <p:nvPr/>
              </p:nvSpPr>
              <p:spPr>
                <a:xfrm>
                  <a:off x="4937466" y="6129433"/>
                  <a:ext cx="14947" cy="50072"/>
                </a:xfrm>
                <a:custGeom>
                  <a:avLst/>
                  <a:gdLst>
                    <a:gd name="connsiteX0" fmla="*/ 14947 w 14947"/>
                    <a:gd name="connsiteY0" fmla="*/ 50072 h 50072"/>
                    <a:gd name="connsiteX1" fmla="*/ 11210 w 14947"/>
                    <a:gd name="connsiteY1" fmla="*/ 31637 h 50072"/>
                    <a:gd name="connsiteX2" fmla="*/ 2865 w 14947"/>
                    <a:gd name="connsiteY2" fmla="*/ 16317 h 50072"/>
                    <a:gd name="connsiteX3" fmla="*/ 0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14947" y="50072"/>
                      </a:moveTo>
                      <a:cubicBezTo>
                        <a:pt x="14947" y="41602"/>
                        <a:pt x="12954" y="35623"/>
                        <a:pt x="11210" y="31637"/>
                      </a:cubicBezTo>
                      <a:cubicBezTo>
                        <a:pt x="8346" y="25285"/>
                        <a:pt x="5481" y="22919"/>
                        <a:pt x="2865" y="16317"/>
                      </a:cubicBezTo>
                      <a:cubicBezTo>
                        <a:pt x="374"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5" name="Freeform 4213">
                  <a:extLst>
                    <a:ext uri="{FF2B5EF4-FFF2-40B4-BE49-F238E27FC236}">
                      <a16:creationId xmlns:a16="http://schemas.microsoft.com/office/drawing/2014/main" id="{351DE6B4-8EA1-7B82-9C3F-2AFD7E0A2279}"/>
                    </a:ext>
                  </a:extLst>
                </p:cNvPr>
                <p:cNvSpPr/>
                <p:nvPr/>
              </p:nvSpPr>
              <p:spPr>
                <a:xfrm>
                  <a:off x="4930989" y="6136782"/>
                  <a:ext cx="16317" cy="49573"/>
                </a:xfrm>
                <a:custGeom>
                  <a:avLst/>
                  <a:gdLst>
                    <a:gd name="connsiteX0" fmla="*/ 0 w 16317"/>
                    <a:gd name="connsiteY0" fmla="*/ 0 h 49573"/>
                    <a:gd name="connsiteX1" fmla="*/ 7474 w 16317"/>
                    <a:gd name="connsiteY1" fmla="*/ 17313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2" y="12954"/>
                        <a:pt x="7474" y="17313"/>
                      </a:cubicBezTo>
                      <a:cubicBezTo>
                        <a:pt x="8843" y="24164"/>
                        <a:pt x="7723" y="27776"/>
                        <a:pt x="9342" y="34627"/>
                      </a:cubicBezTo>
                      <a:cubicBezTo>
                        <a:pt x="10961" y="41353"/>
                        <a:pt x="13950" y="46460"/>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6" name="Freeform 4214">
                  <a:extLst>
                    <a:ext uri="{FF2B5EF4-FFF2-40B4-BE49-F238E27FC236}">
                      <a16:creationId xmlns:a16="http://schemas.microsoft.com/office/drawing/2014/main" id="{DA73BD7F-FB96-F01A-02F9-DF31DA241E0C}"/>
                    </a:ext>
                  </a:extLst>
                </p:cNvPr>
                <p:cNvSpPr/>
                <p:nvPr/>
              </p:nvSpPr>
              <p:spPr>
                <a:xfrm>
                  <a:off x="4937825" y="6174068"/>
                  <a:ext cx="26389" cy="26444"/>
                </a:xfrm>
                <a:custGeom>
                  <a:avLst/>
                  <a:gdLst>
                    <a:gd name="connsiteX0" fmla="*/ 638 w 26389"/>
                    <a:gd name="connsiteY0" fmla="*/ 17146 h 26444"/>
                    <a:gd name="connsiteX1" fmla="*/ 9232 w 26389"/>
                    <a:gd name="connsiteY1" fmla="*/ 579 h 26444"/>
                    <a:gd name="connsiteX2" fmla="*/ 25798 w 26389"/>
                    <a:gd name="connsiteY2" fmla="*/ 9299 h 26444"/>
                    <a:gd name="connsiteX3" fmla="*/ 17204 w 26389"/>
                    <a:gd name="connsiteY3" fmla="*/ 25865 h 26444"/>
                    <a:gd name="connsiteX4" fmla="*/ 638 w 26389"/>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44">
                      <a:moveTo>
                        <a:pt x="638" y="17146"/>
                      </a:moveTo>
                      <a:cubicBezTo>
                        <a:pt x="-1605" y="10171"/>
                        <a:pt x="2257" y="2697"/>
                        <a:pt x="9232" y="579"/>
                      </a:cubicBezTo>
                      <a:cubicBezTo>
                        <a:pt x="16207" y="-1538"/>
                        <a:pt x="23556" y="2323"/>
                        <a:pt x="25798" y="9299"/>
                      </a:cubicBezTo>
                      <a:cubicBezTo>
                        <a:pt x="27916" y="16274"/>
                        <a:pt x="24179" y="23747"/>
                        <a:pt x="17204" y="25865"/>
                      </a:cubicBezTo>
                      <a:cubicBezTo>
                        <a:pt x="10229" y="27982"/>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4" name="Graphic 2987">
                <a:extLst>
                  <a:ext uri="{FF2B5EF4-FFF2-40B4-BE49-F238E27FC236}">
                    <a16:creationId xmlns:a16="http://schemas.microsoft.com/office/drawing/2014/main" id="{B4B53335-44CD-9DD0-8731-89A1EACC9C0D}"/>
                  </a:ext>
                </a:extLst>
              </p:cNvPr>
              <p:cNvGrpSpPr/>
              <p:nvPr/>
            </p:nvGrpSpPr>
            <p:grpSpPr>
              <a:xfrm>
                <a:off x="4929538" y="6048389"/>
                <a:ext cx="62690" cy="143403"/>
                <a:chOff x="4929538" y="6048389"/>
                <a:chExt cx="62690" cy="143403"/>
              </a:xfrm>
              <a:grpFill/>
            </p:grpSpPr>
            <p:sp>
              <p:nvSpPr>
                <p:cNvPr id="5195" name="Freeform 4216">
                  <a:extLst>
                    <a:ext uri="{FF2B5EF4-FFF2-40B4-BE49-F238E27FC236}">
                      <a16:creationId xmlns:a16="http://schemas.microsoft.com/office/drawing/2014/main" id="{B66D3D36-41BD-5404-A969-D30DDD2EA266}"/>
                    </a:ext>
                  </a:extLst>
                </p:cNvPr>
                <p:cNvSpPr/>
                <p:nvPr/>
              </p:nvSpPr>
              <p:spPr>
                <a:xfrm>
                  <a:off x="4941576" y="6069520"/>
                  <a:ext cx="14718" cy="50072"/>
                </a:xfrm>
                <a:custGeom>
                  <a:avLst/>
                  <a:gdLst>
                    <a:gd name="connsiteX0" fmla="*/ 0 w 14718"/>
                    <a:gd name="connsiteY0" fmla="*/ 0 h 50072"/>
                    <a:gd name="connsiteX1" fmla="*/ 3612 w 14718"/>
                    <a:gd name="connsiteY1" fmla="*/ 18435 h 50072"/>
                    <a:gd name="connsiteX2" fmla="*/ 11957 w 14718"/>
                    <a:gd name="connsiteY2" fmla="*/ 33755 h 50072"/>
                    <a:gd name="connsiteX3" fmla="*/ 14698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0" y="0"/>
                      </a:moveTo>
                      <a:cubicBezTo>
                        <a:pt x="0" y="8470"/>
                        <a:pt x="1868" y="14449"/>
                        <a:pt x="3612" y="18435"/>
                      </a:cubicBezTo>
                      <a:cubicBezTo>
                        <a:pt x="6477" y="24787"/>
                        <a:pt x="9342" y="27154"/>
                        <a:pt x="11957" y="33755"/>
                      </a:cubicBezTo>
                      <a:cubicBezTo>
                        <a:pt x="14449" y="40232"/>
                        <a:pt x="14822" y="46086"/>
                        <a:pt x="1469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6" name="Freeform 4217">
                  <a:extLst>
                    <a:ext uri="{FF2B5EF4-FFF2-40B4-BE49-F238E27FC236}">
                      <a16:creationId xmlns:a16="http://schemas.microsoft.com/office/drawing/2014/main" id="{395692DF-2A13-5441-6A11-5C140A690CD8}"/>
                    </a:ext>
                  </a:extLst>
                </p:cNvPr>
                <p:cNvSpPr/>
                <p:nvPr/>
              </p:nvSpPr>
              <p:spPr>
                <a:xfrm>
                  <a:off x="4946932" y="6062670"/>
                  <a:ext cx="15943" cy="49574"/>
                </a:xfrm>
                <a:custGeom>
                  <a:avLst/>
                  <a:gdLst>
                    <a:gd name="connsiteX0" fmla="*/ 15943 w 15943"/>
                    <a:gd name="connsiteY0" fmla="*/ 49574 h 49574"/>
                    <a:gd name="connsiteX1" fmla="*/ 8595 w 15943"/>
                    <a:gd name="connsiteY1" fmla="*/ 32260 h 49574"/>
                    <a:gd name="connsiteX2" fmla="*/ 6851 w 15943"/>
                    <a:gd name="connsiteY2" fmla="*/ 14947 h 49574"/>
                    <a:gd name="connsiteX3" fmla="*/ 0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15943" y="49574"/>
                      </a:moveTo>
                      <a:cubicBezTo>
                        <a:pt x="11210" y="42599"/>
                        <a:pt x="9342" y="36620"/>
                        <a:pt x="8595" y="32260"/>
                      </a:cubicBezTo>
                      <a:cubicBezTo>
                        <a:pt x="7224"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7" name="Freeform 4218">
                  <a:extLst>
                    <a:ext uri="{FF2B5EF4-FFF2-40B4-BE49-F238E27FC236}">
                      <a16:creationId xmlns:a16="http://schemas.microsoft.com/office/drawing/2014/main" id="{D2DBCCE3-F8F1-59E4-FD43-413C45241CAE}"/>
                    </a:ext>
                  </a:extLst>
                </p:cNvPr>
                <p:cNvSpPr/>
                <p:nvPr/>
              </p:nvSpPr>
              <p:spPr>
                <a:xfrm>
                  <a:off x="4929538" y="6048389"/>
                  <a:ext cx="26691" cy="26490"/>
                </a:xfrm>
                <a:custGeom>
                  <a:avLst/>
                  <a:gdLst>
                    <a:gd name="connsiteX0" fmla="*/ 26113 w 26691"/>
                    <a:gd name="connsiteY0" fmla="*/ 9299 h 26490"/>
                    <a:gd name="connsiteX1" fmla="*/ 17269 w 26691"/>
                    <a:gd name="connsiteY1" fmla="*/ 25865 h 26490"/>
                    <a:gd name="connsiteX2" fmla="*/ 579 w 26691"/>
                    <a:gd name="connsiteY2" fmla="*/ 17146 h 26490"/>
                    <a:gd name="connsiteX3" fmla="*/ 9422 w 26691"/>
                    <a:gd name="connsiteY3" fmla="*/ 579 h 26490"/>
                    <a:gd name="connsiteX4" fmla="*/ 26113 w 26691"/>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1" h="26490">
                      <a:moveTo>
                        <a:pt x="26113" y="9299"/>
                      </a:moveTo>
                      <a:cubicBezTo>
                        <a:pt x="28230" y="16274"/>
                        <a:pt x="24369" y="23747"/>
                        <a:pt x="17269" y="25865"/>
                      </a:cubicBezTo>
                      <a:cubicBezTo>
                        <a:pt x="10294" y="28107"/>
                        <a:pt x="2821" y="24121"/>
                        <a:pt x="579" y="17146"/>
                      </a:cubicBezTo>
                      <a:cubicBezTo>
                        <a:pt x="-1539" y="10171"/>
                        <a:pt x="2323" y="2697"/>
                        <a:pt x="9422" y="579"/>
                      </a:cubicBezTo>
                      <a:cubicBezTo>
                        <a:pt x="16522" y="-1538"/>
                        <a:pt x="23995" y="2323"/>
                        <a:pt x="26113"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8" name="Freeform 4219">
                  <a:extLst>
                    <a:ext uri="{FF2B5EF4-FFF2-40B4-BE49-F238E27FC236}">
                      <a16:creationId xmlns:a16="http://schemas.microsoft.com/office/drawing/2014/main" id="{AEBA2F43-4576-8E81-6931-85E27113419F}"/>
                    </a:ext>
                  </a:extLst>
                </p:cNvPr>
                <p:cNvSpPr/>
                <p:nvPr/>
              </p:nvSpPr>
              <p:spPr>
                <a:xfrm>
                  <a:off x="4965720" y="6120714"/>
                  <a:ext cx="14718" cy="50072"/>
                </a:xfrm>
                <a:custGeom>
                  <a:avLst/>
                  <a:gdLst>
                    <a:gd name="connsiteX0" fmla="*/ 14719 w 14718"/>
                    <a:gd name="connsiteY0" fmla="*/ 50072 h 50072"/>
                    <a:gd name="connsiteX1" fmla="*/ 11106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3"/>
                        <a:pt x="11106" y="31638"/>
                      </a:cubicBezTo>
                      <a:cubicBezTo>
                        <a:pt x="8366" y="25161"/>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9" name="Freeform 4220">
                  <a:extLst>
                    <a:ext uri="{FF2B5EF4-FFF2-40B4-BE49-F238E27FC236}">
                      <a16:creationId xmlns:a16="http://schemas.microsoft.com/office/drawing/2014/main" id="{A86B5141-89CB-F29A-CAAE-1D372885FD9E}"/>
                    </a:ext>
                  </a:extLst>
                </p:cNvPr>
                <p:cNvSpPr/>
                <p:nvPr/>
              </p:nvSpPr>
              <p:spPr>
                <a:xfrm>
                  <a:off x="4959139" y="6128063"/>
                  <a:ext cx="16192" cy="49574"/>
                </a:xfrm>
                <a:custGeom>
                  <a:avLst/>
                  <a:gdLst>
                    <a:gd name="connsiteX0" fmla="*/ 0 w 16192"/>
                    <a:gd name="connsiteY0" fmla="*/ 0 h 49574"/>
                    <a:gd name="connsiteX1" fmla="*/ 7473 w 16192"/>
                    <a:gd name="connsiteY1" fmla="*/ 17314 h 49574"/>
                    <a:gd name="connsiteX2" fmla="*/ 9342 w 16192"/>
                    <a:gd name="connsiteY2" fmla="*/ 34627 h 49574"/>
                    <a:gd name="connsiteX3" fmla="*/ 16192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0" y="0"/>
                      </a:moveTo>
                      <a:cubicBezTo>
                        <a:pt x="4733" y="6975"/>
                        <a:pt x="6602" y="12954"/>
                        <a:pt x="7473" y="17314"/>
                      </a:cubicBezTo>
                      <a:cubicBezTo>
                        <a:pt x="8843" y="24164"/>
                        <a:pt x="7723" y="27776"/>
                        <a:pt x="9342" y="34627"/>
                      </a:cubicBezTo>
                      <a:cubicBezTo>
                        <a:pt x="10961" y="41353"/>
                        <a:pt x="13950" y="46460"/>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0" name="Freeform 4221">
                  <a:extLst>
                    <a:ext uri="{FF2B5EF4-FFF2-40B4-BE49-F238E27FC236}">
                      <a16:creationId xmlns:a16="http://schemas.microsoft.com/office/drawing/2014/main" id="{803C21AD-9003-60DC-61F2-EFEC345FF1BF}"/>
                    </a:ext>
                  </a:extLst>
                </p:cNvPr>
                <p:cNvSpPr/>
                <p:nvPr/>
              </p:nvSpPr>
              <p:spPr>
                <a:xfrm>
                  <a:off x="4966032" y="6165349"/>
                  <a:ext cx="26196" cy="26444"/>
                </a:xfrm>
                <a:custGeom>
                  <a:avLst/>
                  <a:gdLst>
                    <a:gd name="connsiteX0" fmla="*/ 580 w 26196"/>
                    <a:gd name="connsiteY0" fmla="*/ 17146 h 26444"/>
                    <a:gd name="connsiteX1" fmla="*/ 9175 w 26196"/>
                    <a:gd name="connsiteY1" fmla="*/ 580 h 26444"/>
                    <a:gd name="connsiteX2" fmla="*/ 25616 w 26196"/>
                    <a:gd name="connsiteY2" fmla="*/ 9298 h 26444"/>
                    <a:gd name="connsiteX3" fmla="*/ 17022 w 26196"/>
                    <a:gd name="connsiteY3" fmla="*/ 25865 h 26444"/>
                    <a:gd name="connsiteX4" fmla="*/ 580 w 26196"/>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44">
                      <a:moveTo>
                        <a:pt x="580" y="17146"/>
                      </a:moveTo>
                      <a:cubicBezTo>
                        <a:pt x="-1537" y="10170"/>
                        <a:pt x="2324" y="2697"/>
                        <a:pt x="9175" y="580"/>
                      </a:cubicBezTo>
                      <a:cubicBezTo>
                        <a:pt x="16150" y="-1538"/>
                        <a:pt x="23499" y="2323"/>
                        <a:pt x="25616" y="9298"/>
                      </a:cubicBezTo>
                      <a:cubicBezTo>
                        <a:pt x="27734" y="16274"/>
                        <a:pt x="23872" y="23747"/>
                        <a:pt x="17022" y="25865"/>
                      </a:cubicBezTo>
                      <a:cubicBezTo>
                        <a:pt x="10171" y="27982"/>
                        <a:pt x="2698" y="24121"/>
                        <a:pt x="580"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5" name="Graphic 2987">
                <a:extLst>
                  <a:ext uri="{FF2B5EF4-FFF2-40B4-BE49-F238E27FC236}">
                    <a16:creationId xmlns:a16="http://schemas.microsoft.com/office/drawing/2014/main" id="{DDA26848-7A76-EE04-06AE-45F5DC2D15F5}"/>
                  </a:ext>
                </a:extLst>
              </p:cNvPr>
              <p:cNvGrpSpPr/>
              <p:nvPr/>
            </p:nvGrpSpPr>
            <p:grpSpPr>
              <a:xfrm>
                <a:off x="4958072" y="6039499"/>
                <a:ext cx="62305" cy="143620"/>
                <a:chOff x="4958072" y="6039499"/>
                <a:chExt cx="62305" cy="143620"/>
              </a:xfrm>
              <a:grpFill/>
            </p:grpSpPr>
            <p:sp>
              <p:nvSpPr>
                <p:cNvPr id="5189" name="Freeform 4223">
                  <a:extLst>
                    <a:ext uri="{FF2B5EF4-FFF2-40B4-BE49-F238E27FC236}">
                      <a16:creationId xmlns:a16="http://schemas.microsoft.com/office/drawing/2014/main" id="{972FFC02-74D0-1E5C-76AB-B18D682750BC}"/>
                    </a:ext>
                  </a:extLst>
                </p:cNvPr>
                <p:cNvSpPr/>
                <p:nvPr/>
              </p:nvSpPr>
              <p:spPr>
                <a:xfrm>
                  <a:off x="4969975" y="6060677"/>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2" y="24912"/>
                        <a:pt x="9342" y="27153"/>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0" name="Freeform 4224">
                  <a:extLst>
                    <a:ext uri="{FF2B5EF4-FFF2-40B4-BE49-F238E27FC236}">
                      <a16:creationId xmlns:a16="http://schemas.microsoft.com/office/drawing/2014/main" id="{CE4BF374-FC2F-3B26-F5F4-41A67F02D442}"/>
                    </a:ext>
                  </a:extLst>
                </p:cNvPr>
                <p:cNvSpPr/>
                <p:nvPr/>
              </p:nvSpPr>
              <p:spPr>
                <a:xfrm>
                  <a:off x="4975207" y="6053826"/>
                  <a:ext cx="15943" cy="49573"/>
                </a:xfrm>
                <a:custGeom>
                  <a:avLst/>
                  <a:gdLst>
                    <a:gd name="connsiteX0" fmla="*/ 15943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49574"/>
                      </a:moveTo>
                      <a:cubicBezTo>
                        <a:pt x="11210" y="42599"/>
                        <a:pt x="9342" y="36495"/>
                        <a:pt x="8595" y="32260"/>
                      </a:cubicBezTo>
                      <a:cubicBezTo>
                        <a:pt x="7349" y="25409"/>
                        <a:pt x="8470" y="21798"/>
                        <a:pt x="6851" y="14947"/>
                      </a:cubicBezTo>
                      <a:cubicBezTo>
                        <a:pt x="5356"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1" name="Freeform 4225">
                  <a:extLst>
                    <a:ext uri="{FF2B5EF4-FFF2-40B4-BE49-F238E27FC236}">
                      <a16:creationId xmlns:a16="http://schemas.microsoft.com/office/drawing/2014/main" id="{93DA31F7-4F55-BE5E-03DB-3A622B92ACBB}"/>
                    </a:ext>
                  </a:extLst>
                </p:cNvPr>
                <p:cNvSpPr/>
                <p:nvPr/>
              </p:nvSpPr>
              <p:spPr>
                <a:xfrm>
                  <a:off x="4958072" y="6039499"/>
                  <a:ext cx="26546" cy="26661"/>
                </a:xfrm>
                <a:custGeom>
                  <a:avLst/>
                  <a:gdLst>
                    <a:gd name="connsiteX0" fmla="*/ 25978 w 26546"/>
                    <a:gd name="connsiteY0" fmla="*/ 9345 h 26661"/>
                    <a:gd name="connsiteX1" fmla="*/ 17134 w 26546"/>
                    <a:gd name="connsiteY1" fmla="*/ 26036 h 26661"/>
                    <a:gd name="connsiteX2" fmla="*/ 568 w 26546"/>
                    <a:gd name="connsiteY2" fmla="*/ 17316 h 26661"/>
                    <a:gd name="connsiteX3" fmla="*/ 9412 w 26546"/>
                    <a:gd name="connsiteY3" fmla="*/ 626 h 26661"/>
                    <a:gd name="connsiteX4" fmla="*/ 25978 w 26546"/>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661">
                      <a:moveTo>
                        <a:pt x="25978" y="9345"/>
                      </a:moveTo>
                      <a:cubicBezTo>
                        <a:pt x="28096" y="16320"/>
                        <a:pt x="24110" y="23793"/>
                        <a:pt x="17134" y="26036"/>
                      </a:cubicBezTo>
                      <a:cubicBezTo>
                        <a:pt x="10159" y="28278"/>
                        <a:pt x="2686" y="24292"/>
                        <a:pt x="568" y="17316"/>
                      </a:cubicBezTo>
                      <a:cubicBezTo>
                        <a:pt x="-1549" y="10341"/>
                        <a:pt x="2437" y="2868"/>
                        <a:pt x="9412" y="626"/>
                      </a:cubicBezTo>
                      <a:cubicBezTo>
                        <a:pt x="16512" y="-1616"/>
                        <a:pt x="23861" y="2369"/>
                        <a:pt x="2597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2" name="Freeform 4226">
                  <a:extLst>
                    <a:ext uri="{FF2B5EF4-FFF2-40B4-BE49-F238E27FC236}">
                      <a16:creationId xmlns:a16="http://schemas.microsoft.com/office/drawing/2014/main" id="{E92D9345-F2ED-1AB8-6607-136A36A461EC}"/>
                    </a:ext>
                  </a:extLst>
                </p:cNvPr>
                <p:cNvSpPr/>
                <p:nvPr/>
              </p:nvSpPr>
              <p:spPr>
                <a:xfrm>
                  <a:off x="4993994" y="6111870"/>
                  <a:ext cx="14593" cy="50072"/>
                </a:xfrm>
                <a:custGeom>
                  <a:avLst/>
                  <a:gdLst>
                    <a:gd name="connsiteX0" fmla="*/ 14594 w 14593"/>
                    <a:gd name="connsiteY0" fmla="*/ 50072 h 50072"/>
                    <a:gd name="connsiteX1" fmla="*/ 10982 w 14593"/>
                    <a:gd name="connsiteY1" fmla="*/ 31637 h 50072"/>
                    <a:gd name="connsiteX2" fmla="*/ 2761 w 14593"/>
                    <a:gd name="connsiteY2" fmla="*/ 16317 h 50072"/>
                    <a:gd name="connsiteX3" fmla="*/ 21 w 14593"/>
                    <a:gd name="connsiteY3" fmla="*/ 0 h 50072"/>
                  </a:gdLst>
                  <a:ahLst/>
                  <a:cxnLst>
                    <a:cxn ang="0">
                      <a:pos x="connsiteX0" y="connsiteY0"/>
                    </a:cxn>
                    <a:cxn ang="0">
                      <a:pos x="connsiteX1" y="connsiteY1"/>
                    </a:cxn>
                    <a:cxn ang="0">
                      <a:pos x="connsiteX2" y="connsiteY2"/>
                    </a:cxn>
                    <a:cxn ang="0">
                      <a:pos x="connsiteX3" y="connsiteY3"/>
                    </a:cxn>
                  </a:cxnLst>
                  <a:rect l="l" t="t" r="r" b="b"/>
                  <a:pathLst>
                    <a:path w="14593" h="50072">
                      <a:moveTo>
                        <a:pt x="14594" y="50072"/>
                      </a:moveTo>
                      <a:cubicBezTo>
                        <a:pt x="14594" y="41602"/>
                        <a:pt x="12726" y="35623"/>
                        <a:pt x="10982" y="31637"/>
                      </a:cubicBezTo>
                      <a:cubicBezTo>
                        <a:pt x="8242" y="25161"/>
                        <a:pt x="5252"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3" name="Freeform 4227">
                  <a:extLst>
                    <a:ext uri="{FF2B5EF4-FFF2-40B4-BE49-F238E27FC236}">
                      <a16:creationId xmlns:a16="http://schemas.microsoft.com/office/drawing/2014/main" id="{DC86BA1C-84A6-9905-C1DC-C11B927EF9A2}"/>
                    </a:ext>
                  </a:extLst>
                </p:cNvPr>
                <p:cNvSpPr/>
                <p:nvPr/>
              </p:nvSpPr>
              <p:spPr>
                <a:xfrm>
                  <a:off x="4987413" y="6119219"/>
                  <a:ext cx="15943" cy="49573"/>
                </a:xfrm>
                <a:custGeom>
                  <a:avLst/>
                  <a:gdLst>
                    <a:gd name="connsiteX0" fmla="*/ 0 w 15943"/>
                    <a:gd name="connsiteY0" fmla="*/ 0 h 49573"/>
                    <a:gd name="connsiteX1" fmla="*/ 7349 w 15943"/>
                    <a:gd name="connsiteY1" fmla="*/ 17313 h 49573"/>
                    <a:gd name="connsiteX2" fmla="*/ 9093 w 15943"/>
                    <a:gd name="connsiteY2" fmla="*/ 34627 h 49573"/>
                    <a:gd name="connsiteX3" fmla="*/ 15943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3078"/>
                        <a:pt x="7349" y="17313"/>
                      </a:cubicBezTo>
                      <a:cubicBezTo>
                        <a:pt x="8595" y="24164"/>
                        <a:pt x="7474" y="27776"/>
                        <a:pt x="9093" y="34627"/>
                      </a:cubicBezTo>
                      <a:cubicBezTo>
                        <a:pt x="10587" y="41353"/>
                        <a:pt x="13701" y="46460"/>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4" name="Freeform 4228">
                  <a:extLst>
                    <a:ext uri="{FF2B5EF4-FFF2-40B4-BE49-F238E27FC236}">
                      <a16:creationId xmlns:a16="http://schemas.microsoft.com/office/drawing/2014/main" id="{4C00D691-EF75-15CC-EF6F-63B2C6B221A3}"/>
                    </a:ext>
                  </a:extLst>
                </p:cNvPr>
                <p:cNvSpPr/>
                <p:nvPr/>
              </p:nvSpPr>
              <p:spPr>
                <a:xfrm>
                  <a:off x="4994058" y="6156630"/>
                  <a:ext cx="26319" cy="26490"/>
                </a:xfrm>
                <a:custGeom>
                  <a:avLst/>
                  <a:gdLst>
                    <a:gd name="connsiteX0" fmla="*/ 579 w 26319"/>
                    <a:gd name="connsiteY0" fmla="*/ 17146 h 26490"/>
                    <a:gd name="connsiteX1" fmla="*/ 9299 w 26319"/>
                    <a:gd name="connsiteY1" fmla="*/ 579 h 26490"/>
                    <a:gd name="connsiteX2" fmla="*/ 25740 w 26319"/>
                    <a:gd name="connsiteY2" fmla="*/ 9299 h 26490"/>
                    <a:gd name="connsiteX3" fmla="*/ 17021 w 26319"/>
                    <a:gd name="connsiteY3" fmla="*/ 25865 h 26490"/>
                    <a:gd name="connsiteX4" fmla="*/ 579 w 26319"/>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90">
                      <a:moveTo>
                        <a:pt x="579" y="17146"/>
                      </a:moveTo>
                      <a:cubicBezTo>
                        <a:pt x="-1538" y="10171"/>
                        <a:pt x="2323" y="2697"/>
                        <a:pt x="9299" y="579"/>
                      </a:cubicBezTo>
                      <a:cubicBezTo>
                        <a:pt x="16274" y="-1538"/>
                        <a:pt x="23623" y="2323"/>
                        <a:pt x="25740" y="9299"/>
                      </a:cubicBezTo>
                      <a:cubicBezTo>
                        <a:pt x="27858" y="16274"/>
                        <a:pt x="23996" y="23747"/>
                        <a:pt x="17021" y="25865"/>
                      </a:cubicBezTo>
                      <a:cubicBezTo>
                        <a:pt x="10046" y="28107"/>
                        <a:pt x="2697" y="24121"/>
                        <a:pt x="57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6" name="Graphic 2987">
                <a:extLst>
                  <a:ext uri="{FF2B5EF4-FFF2-40B4-BE49-F238E27FC236}">
                    <a16:creationId xmlns:a16="http://schemas.microsoft.com/office/drawing/2014/main" id="{4D913B7A-7168-68F5-B91B-1EBB96A60020}"/>
                  </a:ext>
                </a:extLst>
              </p:cNvPr>
              <p:cNvGrpSpPr/>
              <p:nvPr/>
            </p:nvGrpSpPr>
            <p:grpSpPr>
              <a:xfrm>
                <a:off x="4986472" y="6030768"/>
                <a:ext cx="61921" cy="143724"/>
                <a:chOff x="4986472" y="6030768"/>
                <a:chExt cx="61921" cy="143724"/>
              </a:xfrm>
              <a:grpFill/>
            </p:grpSpPr>
            <p:sp>
              <p:nvSpPr>
                <p:cNvPr id="5183" name="Freeform 4230">
                  <a:extLst>
                    <a:ext uri="{FF2B5EF4-FFF2-40B4-BE49-F238E27FC236}">
                      <a16:creationId xmlns:a16="http://schemas.microsoft.com/office/drawing/2014/main" id="{D72DADC9-9879-1F54-669B-3FE0CB061B27}"/>
                    </a:ext>
                  </a:extLst>
                </p:cNvPr>
                <p:cNvSpPr/>
                <p:nvPr/>
              </p:nvSpPr>
              <p:spPr>
                <a:xfrm>
                  <a:off x="4998375" y="6051833"/>
                  <a:ext cx="14349" cy="50072"/>
                </a:xfrm>
                <a:custGeom>
                  <a:avLst/>
                  <a:gdLst>
                    <a:gd name="connsiteX0" fmla="*/ 0 w 14349"/>
                    <a:gd name="connsiteY0" fmla="*/ 0 h 50072"/>
                    <a:gd name="connsiteX1" fmla="*/ 3488 w 14349"/>
                    <a:gd name="connsiteY1" fmla="*/ 18435 h 50072"/>
                    <a:gd name="connsiteX2" fmla="*/ 11708 w 14349"/>
                    <a:gd name="connsiteY2" fmla="*/ 33755 h 50072"/>
                    <a:gd name="connsiteX3" fmla="*/ 14324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0" y="0"/>
                      </a:moveTo>
                      <a:cubicBezTo>
                        <a:pt x="0" y="8345"/>
                        <a:pt x="1744" y="14449"/>
                        <a:pt x="3488" y="18435"/>
                      </a:cubicBezTo>
                      <a:cubicBezTo>
                        <a:pt x="6228" y="24912"/>
                        <a:pt x="9217" y="27153"/>
                        <a:pt x="11708" y="33755"/>
                      </a:cubicBezTo>
                      <a:cubicBezTo>
                        <a:pt x="14199" y="40232"/>
                        <a:pt x="14449" y="46086"/>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4" name="Freeform 4231">
                  <a:extLst>
                    <a:ext uri="{FF2B5EF4-FFF2-40B4-BE49-F238E27FC236}">
                      <a16:creationId xmlns:a16="http://schemas.microsoft.com/office/drawing/2014/main" id="{A36EF2B3-DD99-D5CE-ABB1-2A367240332A}"/>
                    </a:ext>
                  </a:extLst>
                </p:cNvPr>
                <p:cNvSpPr/>
                <p:nvPr/>
              </p:nvSpPr>
              <p:spPr>
                <a:xfrm>
                  <a:off x="5003606" y="6045107"/>
                  <a:ext cx="15819" cy="49698"/>
                </a:xfrm>
                <a:custGeom>
                  <a:avLst/>
                  <a:gdLst>
                    <a:gd name="connsiteX0" fmla="*/ 15819 w 15819"/>
                    <a:gd name="connsiteY0" fmla="*/ 49698 h 49698"/>
                    <a:gd name="connsiteX1" fmla="*/ 8470 w 15819"/>
                    <a:gd name="connsiteY1" fmla="*/ 32385 h 49698"/>
                    <a:gd name="connsiteX2" fmla="*/ 6851 w 15819"/>
                    <a:gd name="connsiteY2" fmla="*/ 15071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1086" y="42723"/>
                        <a:pt x="9342" y="36620"/>
                        <a:pt x="8470" y="32385"/>
                      </a:cubicBezTo>
                      <a:cubicBezTo>
                        <a:pt x="7225" y="25535"/>
                        <a:pt x="8346" y="22047"/>
                        <a:pt x="6851" y="15071"/>
                      </a:cubicBezTo>
                      <a:cubicBezTo>
                        <a:pt x="5356"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5" name="Freeform 4232">
                  <a:extLst>
                    <a:ext uri="{FF2B5EF4-FFF2-40B4-BE49-F238E27FC236}">
                      <a16:creationId xmlns:a16="http://schemas.microsoft.com/office/drawing/2014/main" id="{F22C5BC9-46A4-ABED-2C0A-B7B3185FF526}"/>
                    </a:ext>
                  </a:extLst>
                </p:cNvPr>
                <p:cNvSpPr/>
                <p:nvPr/>
              </p:nvSpPr>
              <p:spPr>
                <a:xfrm>
                  <a:off x="4986472" y="6030768"/>
                  <a:ext cx="26669" cy="26491"/>
                </a:xfrm>
                <a:custGeom>
                  <a:avLst/>
                  <a:gdLst>
                    <a:gd name="connsiteX0" fmla="*/ 26102 w 26669"/>
                    <a:gd name="connsiteY0" fmla="*/ 9481 h 26491"/>
                    <a:gd name="connsiteX1" fmla="*/ 17134 w 26669"/>
                    <a:gd name="connsiteY1" fmla="*/ 25923 h 26491"/>
                    <a:gd name="connsiteX2" fmla="*/ 568 w 26669"/>
                    <a:gd name="connsiteY2" fmla="*/ 17079 h 26491"/>
                    <a:gd name="connsiteX3" fmla="*/ 9536 w 26669"/>
                    <a:gd name="connsiteY3" fmla="*/ 513 h 26491"/>
                    <a:gd name="connsiteX4" fmla="*/ 26102 w 26669"/>
                    <a:gd name="connsiteY4" fmla="*/ 9481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491">
                      <a:moveTo>
                        <a:pt x="26102" y="9481"/>
                      </a:moveTo>
                      <a:cubicBezTo>
                        <a:pt x="28220" y="16456"/>
                        <a:pt x="24234" y="23805"/>
                        <a:pt x="17134" y="25923"/>
                      </a:cubicBezTo>
                      <a:cubicBezTo>
                        <a:pt x="10034" y="28040"/>
                        <a:pt x="2685" y="24054"/>
                        <a:pt x="568" y="17079"/>
                      </a:cubicBezTo>
                      <a:cubicBezTo>
                        <a:pt x="-1550" y="10104"/>
                        <a:pt x="2436" y="2630"/>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6" name="Freeform 4233">
                  <a:extLst>
                    <a:ext uri="{FF2B5EF4-FFF2-40B4-BE49-F238E27FC236}">
                      <a16:creationId xmlns:a16="http://schemas.microsoft.com/office/drawing/2014/main" id="{C4BCC9E2-70BA-19E9-97FC-AA9E520C82C5}"/>
                    </a:ext>
                  </a:extLst>
                </p:cNvPr>
                <p:cNvSpPr/>
                <p:nvPr/>
              </p:nvSpPr>
              <p:spPr>
                <a:xfrm>
                  <a:off x="5022389" y="6103276"/>
                  <a:ext cx="14349" cy="50196"/>
                </a:xfrm>
                <a:custGeom>
                  <a:avLst/>
                  <a:gdLst>
                    <a:gd name="connsiteX0" fmla="*/ 14350 w 14349"/>
                    <a:gd name="connsiteY0" fmla="*/ 50197 h 50196"/>
                    <a:gd name="connsiteX1" fmla="*/ 10862 w 14349"/>
                    <a:gd name="connsiteY1" fmla="*/ 31762 h 50196"/>
                    <a:gd name="connsiteX2" fmla="*/ 2641 w 14349"/>
                    <a:gd name="connsiteY2" fmla="*/ 16317 h 50196"/>
                    <a:gd name="connsiteX3" fmla="*/ 26 w 14349"/>
                    <a:gd name="connsiteY3" fmla="*/ 0 h 50196"/>
                  </a:gdLst>
                  <a:ahLst/>
                  <a:cxnLst>
                    <a:cxn ang="0">
                      <a:pos x="connsiteX0" y="connsiteY0"/>
                    </a:cxn>
                    <a:cxn ang="0">
                      <a:pos x="connsiteX1" y="connsiteY1"/>
                    </a:cxn>
                    <a:cxn ang="0">
                      <a:pos x="connsiteX2" y="connsiteY2"/>
                    </a:cxn>
                    <a:cxn ang="0">
                      <a:pos x="connsiteX3" y="connsiteY3"/>
                    </a:cxn>
                  </a:cxnLst>
                  <a:rect l="l" t="t" r="r" b="b"/>
                  <a:pathLst>
                    <a:path w="14349" h="50196">
                      <a:moveTo>
                        <a:pt x="14350" y="50197"/>
                      </a:moveTo>
                      <a:cubicBezTo>
                        <a:pt x="14350" y="41851"/>
                        <a:pt x="12481" y="35748"/>
                        <a:pt x="10862" y="31762"/>
                      </a:cubicBezTo>
                      <a:cubicBezTo>
                        <a:pt x="8122" y="25285"/>
                        <a:pt x="5132" y="23043"/>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7" name="Freeform 4234">
                  <a:extLst>
                    <a:ext uri="{FF2B5EF4-FFF2-40B4-BE49-F238E27FC236}">
                      <a16:creationId xmlns:a16="http://schemas.microsoft.com/office/drawing/2014/main" id="{0FA6C534-FA32-7DF8-9593-04865F8DDC19}"/>
                    </a:ext>
                  </a:extLst>
                </p:cNvPr>
                <p:cNvSpPr/>
                <p:nvPr/>
              </p:nvSpPr>
              <p:spPr>
                <a:xfrm>
                  <a:off x="5015688" y="6110500"/>
                  <a:ext cx="15943" cy="49698"/>
                </a:xfrm>
                <a:custGeom>
                  <a:avLst/>
                  <a:gdLst>
                    <a:gd name="connsiteX0" fmla="*/ 0 w 15943"/>
                    <a:gd name="connsiteY0" fmla="*/ 0 h 49698"/>
                    <a:gd name="connsiteX1" fmla="*/ 7349 w 15943"/>
                    <a:gd name="connsiteY1" fmla="*/ 17314 h 49698"/>
                    <a:gd name="connsiteX2" fmla="*/ 9093 w 15943"/>
                    <a:gd name="connsiteY2" fmla="*/ 34627 h 49698"/>
                    <a:gd name="connsiteX3" fmla="*/ 15943 w 15943"/>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943" h="49698">
                      <a:moveTo>
                        <a:pt x="0" y="0"/>
                      </a:moveTo>
                      <a:cubicBezTo>
                        <a:pt x="4733" y="6975"/>
                        <a:pt x="6477" y="13079"/>
                        <a:pt x="7349" y="17314"/>
                      </a:cubicBezTo>
                      <a:cubicBezTo>
                        <a:pt x="8595" y="24164"/>
                        <a:pt x="7474" y="27652"/>
                        <a:pt x="9093" y="34627"/>
                      </a:cubicBezTo>
                      <a:cubicBezTo>
                        <a:pt x="10587" y="41353"/>
                        <a:pt x="13577" y="46460"/>
                        <a:pt x="15943"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8" name="Freeform 4235">
                  <a:extLst>
                    <a:ext uri="{FF2B5EF4-FFF2-40B4-BE49-F238E27FC236}">
                      <a16:creationId xmlns:a16="http://schemas.microsoft.com/office/drawing/2014/main" id="{7448FDDE-0789-1454-3063-8B83BC33FC00}"/>
                    </a:ext>
                  </a:extLst>
                </p:cNvPr>
                <p:cNvSpPr/>
                <p:nvPr/>
              </p:nvSpPr>
              <p:spPr>
                <a:xfrm>
                  <a:off x="5022084" y="6148057"/>
                  <a:ext cx="26309" cy="26436"/>
                </a:xfrm>
                <a:custGeom>
                  <a:avLst/>
                  <a:gdLst>
                    <a:gd name="connsiteX0" fmla="*/ 579 w 26309"/>
                    <a:gd name="connsiteY0" fmla="*/ 16999 h 26436"/>
                    <a:gd name="connsiteX1" fmla="*/ 9299 w 26309"/>
                    <a:gd name="connsiteY1" fmla="*/ 558 h 26436"/>
                    <a:gd name="connsiteX2" fmla="*/ 25740 w 26309"/>
                    <a:gd name="connsiteY2" fmla="*/ 9526 h 26436"/>
                    <a:gd name="connsiteX3" fmla="*/ 17021 w 26309"/>
                    <a:gd name="connsiteY3" fmla="*/ 25968 h 26436"/>
                    <a:gd name="connsiteX4" fmla="*/ 579 w 26309"/>
                    <a:gd name="connsiteY4" fmla="*/ 16999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36">
                      <a:moveTo>
                        <a:pt x="579" y="16999"/>
                      </a:moveTo>
                      <a:cubicBezTo>
                        <a:pt x="-1538" y="10024"/>
                        <a:pt x="2323" y="2551"/>
                        <a:pt x="9299" y="558"/>
                      </a:cubicBezTo>
                      <a:cubicBezTo>
                        <a:pt x="16274" y="-1560"/>
                        <a:pt x="23623" y="2551"/>
                        <a:pt x="25740" y="9526"/>
                      </a:cubicBezTo>
                      <a:cubicBezTo>
                        <a:pt x="27858" y="16501"/>
                        <a:pt x="23872" y="23850"/>
                        <a:pt x="17021" y="25968"/>
                      </a:cubicBezTo>
                      <a:cubicBezTo>
                        <a:pt x="10046" y="27836"/>
                        <a:pt x="2697" y="23975"/>
                        <a:pt x="579"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7" name="Graphic 2987">
                <a:extLst>
                  <a:ext uri="{FF2B5EF4-FFF2-40B4-BE49-F238E27FC236}">
                    <a16:creationId xmlns:a16="http://schemas.microsoft.com/office/drawing/2014/main" id="{D376966E-8B45-F397-5E63-54350C7087EF}"/>
                  </a:ext>
                </a:extLst>
              </p:cNvPr>
              <p:cNvGrpSpPr/>
              <p:nvPr/>
            </p:nvGrpSpPr>
            <p:grpSpPr>
              <a:xfrm>
                <a:off x="5015120" y="6022298"/>
                <a:ext cx="61546" cy="143823"/>
                <a:chOff x="5015120" y="6022298"/>
                <a:chExt cx="61546" cy="143823"/>
              </a:xfrm>
              <a:grpFill/>
            </p:grpSpPr>
            <p:sp>
              <p:nvSpPr>
                <p:cNvPr id="5177" name="Freeform 4237">
                  <a:extLst>
                    <a:ext uri="{FF2B5EF4-FFF2-40B4-BE49-F238E27FC236}">
                      <a16:creationId xmlns:a16="http://schemas.microsoft.com/office/drawing/2014/main" id="{72E7597D-C425-7040-4BC1-76920AE5DE24}"/>
                    </a:ext>
                  </a:extLst>
                </p:cNvPr>
                <p:cNvSpPr/>
                <p:nvPr/>
              </p:nvSpPr>
              <p:spPr>
                <a:xfrm>
                  <a:off x="5026892" y="6043488"/>
                  <a:ext cx="14355" cy="50196"/>
                </a:xfrm>
                <a:custGeom>
                  <a:avLst/>
                  <a:gdLst>
                    <a:gd name="connsiteX0" fmla="*/ 6 w 14355"/>
                    <a:gd name="connsiteY0" fmla="*/ 0 h 50196"/>
                    <a:gd name="connsiteX1" fmla="*/ 3493 w 14355"/>
                    <a:gd name="connsiteY1" fmla="*/ 18435 h 50196"/>
                    <a:gd name="connsiteX2" fmla="*/ 11714 w 14355"/>
                    <a:gd name="connsiteY2" fmla="*/ 33880 h 50196"/>
                    <a:gd name="connsiteX3" fmla="*/ 14330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6" y="0"/>
                      </a:moveTo>
                      <a:cubicBezTo>
                        <a:pt x="-118" y="8470"/>
                        <a:pt x="1750" y="14449"/>
                        <a:pt x="3493" y="18435"/>
                      </a:cubicBezTo>
                      <a:cubicBezTo>
                        <a:pt x="6234" y="24912"/>
                        <a:pt x="9223" y="27154"/>
                        <a:pt x="11714" y="33880"/>
                      </a:cubicBezTo>
                      <a:cubicBezTo>
                        <a:pt x="14206" y="40357"/>
                        <a:pt x="14455" y="46211"/>
                        <a:pt x="1433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8" name="Freeform 4238">
                  <a:extLst>
                    <a:ext uri="{FF2B5EF4-FFF2-40B4-BE49-F238E27FC236}">
                      <a16:creationId xmlns:a16="http://schemas.microsoft.com/office/drawing/2014/main" id="{914D57FE-27B9-8F51-40C4-E1DD519227C2}"/>
                    </a:ext>
                  </a:extLst>
                </p:cNvPr>
                <p:cNvSpPr/>
                <p:nvPr/>
              </p:nvSpPr>
              <p:spPr>
                <a:xfrm>
                  <a:off x="5032254" y="6036637"/>
                  <a:ext cx="15569" cy="49698"/>
                </a:xfrm>
                <a:custGeom>
                  <a:avLst/>
                  <a:gdLst>
                    <a:gd name="connsiteX0" fmla="*/ 15570 w 15569"/>
                    <a:gd name="connsiteY0" fmla="*/ 49698 h 49698"/>
                    <a:gd name="connsiteX1" fmla="*/ 8345 w 15569"/>
                    <a:gd name="connsiteY1" fmla="*/ 32385 h 49698"/>
                    <a:gd name="connsiteX2" fmla="*/ 6726 w 15569"/>
                    <a:gd name="connsiteY2" fmla="*/ 15071 h 49698"/>
                    <a:gd name="connsiteX3" fmla="*/ 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15570" y="49698"/>
                      </a:moveTo>
                      <a:cubicBezTo>
                        <a:pt x="10836" y="42723"/>
                        <a:pt x="9092" y="36620"/>
                        <a:pt x="8345" y="32385"/>
                      </a:cubicBezTo>
                      <a:cubicBezTo>
                        <a:pt x="7099" y="25534"/>
                        <a:pt x="8221" y="21922"/>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9" name="Freeform 4239">
                  <a:extLst>
                    <a:ext uri="{FF2B5EF4-FFF2-40B4-BE49-F238E27FC236}">
                      <a16:creationId xmlns:a16="http://schemas.microsoft.com/office/drawing/2014/main" id="{F8FEADFF-5DCE-9951-748E-0FDB25E4322B}"/>
                    </a:ext>
                  </a:extLst>
                </p:cNvPr>
                <p:cNvSpPr/>
                <p:nvPr/>
              </p:nvSpPr>
              <p:spPr>
                <a:xfrm>
                  <a:off x="5015120" y="6022298"/>
                  <a:ext cx="26659" cy="26490"/>
                </a:xfrm>
                <a:custGeom>
                  <a:avLst/>
                  <a:gdLst>
                    <a:gd name="connsiteX0" fmla="*/ 26102 w 26659"/>
                    <a:gd name="connsiteY0" fmla="*/ 9481 h 26490"/>
                    <a:gd name="connsiteX1" fmla="*/ 17134 w 26659"/>
                    <a:gd name="connsiteY1" fmla="*/ 25923 h 26490"/>
                    <a:gd name="connsiteX2" fmla="*/ 568 w 26659"/>
                    <a:gd name="connsiteY2" fmla="*/ 16955 h 26490"/>
                    <a:gd name="connsiteX3" fmla="*/ 9536 w 26659"/>
                    <a:gd name="connsiteY3" fmla="*/ 513 h 26490"/>
                    <a:gd name="connsiteX4" fmla="*/ 26102 w 26659"/>
                    <a:gd name="connsiteY4" fmla="*/ 9481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90">
                      <a:moveTo>
                        <a:pt x="26102" y="9481"/>
                      </a:moveTo>
                      <a:cubicBezTo>
                        <a:pt x="28219" y="16456"/>
                        <a:pt x="24109" y="23930"/>
                        <a:pt x="17134" y="25923"/>
                      </a:cubicBezTo>
                      <a:cubicBezTo>
                        <a:pt x="10034" y="28040"/>
                        <a:pt x="2685" y="24054"/>
                        <a:pt x="568" y="16955"/>
                      </a:cubicBezTo>
                      <a:cubicBezTo>
                        <a:pt x="-1550" y="9855"/>
                        <a:pt x="2436" y="2506"/>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0" name="Freeform 4240">
                  <a:extLst>
                    <a:ext uri="{FF2B5EF4-FFF2-40B4-BE49-F238E27FC236}">
                      <a16:creationId xmlns:a16="http://schemas.microsoft.com/office/drawing/2014/main" id="{BEBCAA52-0B9B-5B9C-C891-BA5CDE51D98F}"/>
                    </a:ext>
                  </a:extLst>
                </p:cNvPr>
                <p:cNvSpPr/>
                <p:nvPr/>
              </p:nvSpPr>
              <p:spPr>
                <a:xfrm>
                  <a:off x="5050663" y="6094930"/>
                  <a:ext cx="14225" cy="50196"/>
                </a:xfrm>
                <a:custGeom>
                  <a:avLst/>
                  <a:gdLst>
                    <a:gd name="connsiteX0" fmla="*/ 14225 w 14225"/>
                    <a:gd name="connsiteY0" fmla="*/ 50197 h 50196"/>
                    <a:gd name="connsiteX1" fmla="*/ 10738 w 14225"/>
                    <a:gd name="connsiteY1" fmla="*/ 31762 h 50196"/>
                    <a:gd name="connsiteX2" fmla="*/ 2641 w 14225"/>
                    <a:gd name="connsiteY2" fmla="*/ 16317 h 50196"/>
                    <a:gd name="connsiteX3" fmla="*/ 25 w 14225"/>
                    <a:gd name="connsiteY3" fmla="*/ 0 h 50196"/>
                  </a:gdLst>
                  <a:ahLst/>
                  <a:cxnLst>
                    <a:cxn ang="0">
                      <a:pos x="connsiteX0" y="connsiteY0"/>
                    </a:cxn>
                    <a:cxn ang="0">
                      <a:pos x="connsiteX1" y="connsiteY1"/>
                    </a:cxn>
                    <a:cxn ang="0">
                      <a:pos x="connsiteX2" y="connsiteY2"/>
                    </a:cxn>
                    <a:cxn ang="0">
                      <a:pos x="connsiteX3" y="connsiteY3"/>
                    </a:cxn>
                  </a:cxnLst>
                  <a:rect l="l" t="t" r="r" b="b"/>
                  <a:pathLst>
                    <a:path w="14225" h="50196">
                      <a:moveTo>
                        <a:pt x="14225" y="50197"/>
                      </a:moveTo>
                      <a:cubicBezTo>
                        <a:pt x="14225" y="41852"/>
                        <a:pt x="12481" y="35748"/>
                        <a:pt x="10738" y="31762"/>
                      </a:cubicBezTo>
                      <a:cubicBezTo>
                        <a:pt x="7997" y="25285"/>
                        <a:pt x="5132" y="23043"/>
                        <a:pt x="2641" y="16317"/>
                      </a:cubicBezTo>
                      <a:cubicBezTo>
                        <a:pt x="150" y="9840"/>
                        <a:pt x="-99" y="3986"/>
                        <a:pt x="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1" name="Freeform 4241">
                  <a:extLst>
                    <a:ext uri="{FF2B5EF4-FFF2-40B4-BE49-F238E27FC236}">
                      <a16:creationId xmlns:a16="http://schemas.microsoft.com/office/drawing/2014/main" id="{0A3D12FD-143C-B4B3-3DBE-693BA3F69919}"/>
                    </a:ext>
                  </a:extLst>
                </p:cNvPr>
                <p:cNvSpPr/>
                <p:nvPr/>
              </p:nvSpPr>
              <p:spPr>
                <a:xfrm>
                  <a:off x="5043963" y="6102155"/>
                  <a:ext cx="15569" cy="49698"/>
                </a:xfrm>
                <a:custGeom>
                  <a:avLst/>
                  <a:gdLst>
                    <a:gd name="connsiteX0" fmla="*/ 0 w 15569"/>
                    <a:gd name="connsiteY0" fmla="*/ 0 h 49698"/>
                    <a:gd name="connsiteX1" fmla="*/ 7224 w 15569"/>
                    <a:gd name="connsiteY1" fmla="*/ 17313 h 49698"/>
                    <a:gd name="connsiteX2" fmla="*/ 8843 w 15569"/>
                    <a:gd name="connsiteY2" fmla="*/ 34627 h 49698"/>
                    <a:gd name="connsiteX3" fmla="*/ 15570 w 1556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733" y="6975"/>
                        <a:pt x="6477" y="13078"/>
                        <a:pt x="7224" y="17313"/>
                      </a:cubicBezTo>
                      <a:cubicBezTo>
                        <a:pt x="8470" y="24164"/>
                        <a:pt x="7349" y="27776"/>
                        <a:pt x="8843" y="34627"/>
                      </a:cubicBezTo>
                      <a:cubicBezTo>
                        <a:pt x="10338" y="41353"/>
                        <a:pt x="13327" y="46460"/>
                        <a:pt x="1557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2" name="Freeform 4242">
                  <a:extLst>
                    <a:ext uri="{FF2B5EF4-FFF2-40B4-BE49-F238E27FC236}">
                      <a16:creationId xmlns:a16="http://schemas.microsoft.com/office/drawing/2014/main" id="{6DE9B657-927F-8A83-3F5A-F270564FE51A}"/>
                    </a:ext>
                  </a:extLst>
                </p:cNvPr>
                <p:cNvSpPr/>
                <p:nvPr/>
              </p:nvSpPr>
              <p:spPr>
                <a:xfrm>
                  <a:off x="5050245" y="6139587"/>
                  <a:ext cx="26422" cy="26535"/>
                </a:xfrm>
                <a:custGeom>
                  <a:avLst/>
                  <a:gdLst>
                    <a:gd name="connsiteX0" fmla="*/ 568 w 26422"/>
                    <a:gd name="connsiteY0" fmla="*/ 16999 h 26535"/>
                    <a:gd name="connsiteX1" fmla="*/ 9412 w 26422"/>
                    <a:gd name="connsiteY1" fmla="*/ 558 h 26535"/>
                    <a:gd name="connsiteX2" fmla="*/ 25854 w 26422"/>
                    <a:gd name="connsiteY2" fmla="*/ 9526 h 26535"/>
                    <a:gd name="connsiteX3" fmla="*/ 17010 w 26422"/>
                    <a:gd name="connsiteY3" fmla="*/ 25968 h 26535"/>
                    <a:gd name="connsiteX4" fmla="*/ 568 w 26422"/>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35">
                      <a:moveTo>
                        <a:pt x="568" y="16999"/>
                      </a:moveTo>
                      <a:cubicBezTo>
                        <a:pt x="-1549" y="10024"/>
                        <a:pt x="2437" y="2675"/>
                        <a:pt x="9412" y="558"/>
                      </a:cubicBezTo>
                      <a:cubicBezTo>
                        <a:pt x="16387" y="-1560"/>
                        <a:pt x="23736" y="2551"/>
                        <a:pt x="25854" y="9526"/>
                      </a:cubicBezTo>
                      <a:cubicBezTo>
                        <a:pt x="27971" y="16501"/>
                        <a:pt x="23985" y="23850"/>
                        <a:pt x="17010" y="25968"/>
                      </a:cubicBezTo>
                      <a:cubicBezTo>
                        <a:pt x="10035"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8" name="Graphic 2987">
                <a:extLst>
                  <a:ext uri="{FF2B5EF4-FFF2-40B4-BE49-F238E27FC236}">
                    <a16:creationId xmlns:a16="http://schemas.microsoft.com/office/drawing/2014/main" id="{F263CB1E-2A84-AFF5-C233-EA1831417AB0}"/>
                  </a:ext>
                </a:extLst>
              </p:cNvPr>
              <p:cNvGrpSpPr/>
              <p:nvPr/>
            </p:nvGrpSpPr>
            <p:grpSpPr>
              <a:xfrm>
                <a:off x="5043654" y="6013943"/>
                <a:ext cx="61163" cy="143833"/>
                <a:chOff x="5043654" y="6013943"/>
                <a:chExt cx="61163" cy="143833"/>
              </a:xfrm>
              <a:grpFill/>
            </p:grpSpPr>
            <p:sp>
              <p:nvSpPr>
                <p:cNvPr id="5171" name="Freeform 4244">
                  <a:extLst>
                    <a:ext uri="{FF2B5EF4-FFF2-40B4-BE49-F238E27FC236}">
                      <a16:creationId xmlns:a16="http://schemas.microsoft.com/office/drawing/2014/main" id="{1846C5A7-FC83-8051-69D7-624493B616C0}"/>
                    </a:ext>
                  </a:extLst>
                </p:cNvPr>
                <p:cNvSpPr/>
                <p:nvPr/>
              </p:nvSpPr>
              <p:spPr>
                <a:xfrm>
                  <a:off x="5055416" y="6035018"/>
                  <a:ext cx="14102" cy="50196"/>
                </a:xfrm>
                <a:custGeom>
                  <a:avLst/>
                  <a:gdLst>
                    <a:gd name="connsiteX0" fmla="*/ 6 w 14102"/>
                    <a:gd name="connsiteY0" fmla="*/ 0 h 50196"/>
                    <a:gd name="connsiteX1" fmla="*/ 3369 w 14102"/>
                    <a:gd name="connsiteY1" fmla="*/ 18435 h 50196"/>
                    <a:gd name="connsiteX2" fmla="*/ 11465 w 14102"/>
                    <a:gd name="connsiteY2" fmla="*/ 33880 h 50196"/>
                    <a:gd name="connsiteX3" fmla="*/ 1408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6" y="0"/>
                      </a:moveTo>
                      <a:cubicBezTo>
                        <a:pt x="-119" y="8470"/>
                        <a:pt x="1750" y="14449"/>
                        <a:pt x="3369" y="18435"/>
                      </a:cubicBezTo>
                      <a:cubicBezTo>
                        <a:pt x="6109" y="24912"/>
                        <a:pt x="8974" y="27153"/>
                        <a:pt x="11465" y="33880"/>
                      </a:cubicBezTo>
                      <a:cubicBezTo>
                        <a:pt x="13832" y="40357"/>
                        <a:pt x="14206" y="46211"/>
                        <a:pt x="1408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2" name="Freeform 4245">
                  <a:extLst>
                    <a:ext uri="{FF2B5EF4-FFF2-40B4-BE49-F238E27FC236}">
                      <a16:creationId xmlns:a16="http://schemas.microsoft.com/office/drawing/2014/main" id="{CB0ACD6A-CA0C-3280-608D-7326B6B992DC}"/>
                    </a:ext>
                  </a:extLst>
                </p:cNvPr>
                <p:cNvSpPr/>
                <p:nvPr/>
              </p:nvSpPr>
              <p:spPr>
                <a:xfrm>
                  <a:off x="5060778" y="6028292"/>
                  <a:ext cx="15445" cy="49698"/>
                </a:xfrm>
                <a:custGeom>
                  <a:avLst/>
                  <a:gdLst>
                    <a:gd name="connsiteX0" fmla="*/ 15445 w 15445"/>
                    <a:gd name="connsiteY0" fmla="*/ 49699 h 49698"/>
                    <a:gd name="connsiteX1" fmla="*/ 8221 w 15445"/>
                    <a:gd name="connsiteY1" fmla="*/ 32385 h 49698"/>
                    <a:gd name="connsiteX2" fmla="*/ 6726 w 15445"/>
                    <a:gd name="connsiteY2" fmla="*/ 15072 h 49698"/>
                    <a:gd name="connsiteX3" fmla="*/ 0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49699"/>
                      </a:moveTo>
                      <a:cubicBezTo>
                        <a:pt x="10837" y="42724"/>
                        <a:pt x="8968" y="36620"/>
                        <a:pt x="8221" y="32385"/>
                      </a:cubicBezTo>
                      <a:cubicBezTo>
                        <a:pt x="6975" y="25535"/>
                        <a:pt x="8221" y="21922"/>
                        <a:pt x="6726" y="15072"/>
                      </a:cubicBezTo>
                      <a:cubicBezTo>
                        <a:pt x="5232"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3" name="Freeform 4246">
                  <a:extLst>
                    <a:ext uri="{FF2B5EF4-FFF2-40B4-BE49-F238E27FC236}">
                      <a16:creationId xmlns:a16="http://schemas.microsoft.com/office/drawing/2014/main" id="{C38EA046-D4C0-15B9-5ACE-1E914DE213DF}"/>
                    </a:ext>
                  </a:extLst>
                </p:cNvPr>
                <p:cNvSpPr/>
                <p:nvPr/>
              </p:nvSpPr>
              <p:spPr>
                <a:xfrm>
                  <a:off x="5043654" y="6013943"/>
                  <a:ext cx="26649" cy="26499"/>
                </a:xfrm>
                <a:custGeom>
                  <a:avLst/>
                  <a:gdLst>
                    <a:gd name="connsiteX0" fmla="*/ 26092 w 26649"/>
                    <a:gd name="connsiteY0" fmla="*/ 9491 h 26499"/>
                    <a:gd name="connsiteX1" fmla="*/ 17124 w 26649"/>
                    <a:gd name="connsiteY1" fmla="*/ 25932 h 26499"/>
                    <a:gd name="connsiteX2" fmla="*/ 558 w 26649"/>
                    <a:gd name="connsiteY2" fmla="*/ 16964 h 26499"/>
                    <a:gd name="connsiteX3" fmla="*/ 9526 w 26649"/>
                    <a:gd name="connsiteY3" fmla="*/ 523 h 26499"/>
                    <a:gd name="connsiteX4" fmla="*/ 26092 w 26649"/>
                    <a:gd name="connsiteY4" fmla="*/ 9491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499">
                      <a:moveTo>
                        <a:pt x="26092" y="9491"/>
                      </a:moveTo>
                      <a:cubicBezTo>
                        <a:pt x="28210" y="16466"/>
                        <a:pt x="24099" y="23939"/>
                        <a:pt x="17124" y="25932"/>
                      </a:cubicBezTo>
                      <a:cubicBezTo>
                        <a:pt x="10024" y="28050"/>
                        <a:pt x="2675" y="24064"/>
                        <a:pt x="558" y="16964"/>
                      </a:cubicBezTo>
                      <a:cubicBezTo>
                        <a:pt x="-1560" y="9989"/>
                        <a:pt x="2551" y="2516"/>
                        <a:pt x="9526" y="523"/>
                      </a:cubicBezTo>
                      <a:cubicBezTo>
                        <a:pt x="16501" y="-1470"/>
                        <a:pt x="23975" y="2391"/>
                        <a:pt x="26092" y="94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4" name="Freeform 4247">
                  <a:extLst>
                    <a:ext uri="{FF2B5EF4-FFF2-40B4-BE49-F238E27FC236}">
                      <a16:creationId xmlns:a16="http://schemas.microsoft.com/office/drawing/2014/main" id="{6D0E7261-6C49-F643-539F-848CDF8B71C2}"/>
                    </a:ext>
                  </a:extLst>
                </p:cNvPr>
                <p:cNvSpPr/>
                <p:nvPr/>
              </p:nvSpPr>
              <p:spPr>
                <a:xfrm>
                  <a:off x="5079067" y="6086585"/>
                  <a:ext cx="14101" cy="50196"/>
                </a:xfrm>
                <a:custGeom>
                  <a:avLst/>
                  <a:gdLst>
                    <a:gd name="connsiteX0" fmla="*/ 14096 w 14101"/>
                    <a:gd name="connsiteY0" fmla="*/ 50197 h 50196"/>
                    <a:gd name="connsiteX1" fmla="*/ 10733 w 14101"/>
                    <a:gd name="connsiteY1" fmla="*/ 31762 h 50196"/>
                    <a:gd name="connsiteX2" fmla="*/ 2637 w 14101"/>
                    <a:gd name="connsiteY2" fmla="*/ 16317 h 50196"/>
                    <a:gd name="connsiteX3" fmla="*/ 21 w 14101"/>
                    <a:gd name="connsiteY3" fmla="*/ 0 h 50196"/>
                  </a:gdLst>
                  <a:ahLst/>
                  <a:cxnLst>
                    <a:cxn ang="0">
                      <a:pos x="connsiteX0" y="connsiteY0"/>
                    </a:cxn>
                    <a:cxn ang="0">
                      <a:pos x="connsiteX1" y="connsiteY1"/>
                    </a:cxn>
                    <a:cxn ang="0">
                      <a:pos x="connsiteX2" y="connsiteY2"/>
                    </a:cxn>
                    <a:cxn ang="0">
                      <a:pos x="connsiteX3" y="connsiteY3"/>
                    </a:cxn>
                  </a:cxnLst>
                  <a:rect l="l" t="t" r="r" b="b"/>
                  <a:pathLst>
                    <a:path w="14101" h="50196">
                      <a:moveTo>
                        <a:pt x="14096" y="50197"/>
                      </a:moveTo>
                      <a:cubicBezTo>
                        <a:pt x="14221" y="41727"/>
                        <a:pt x="12352" y="35748"/>
                        <a:pt x="10733" y="31762"/>
                      </a:cubicBezTo>
                      <a:cubicBezTo>
                        <a:pt x="7993" y="25285"/>
                        <a:pt x="5128" y="23043"/>
                        <a:pt x="2637" y="16317"/>
                      </a:cubicBezTo>
                      <a:cubicBezTo>
                        <a:pt x="270" y="9840"/>
                        <a:pt x="-103"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5" name="Freeform 4248">
                  <a:extLst>
                    <a:ext uri="{FF2B5EF4-FFF2-40B4-BE49-F238E27FC236}">
                      <a16:creationId xmlns:a16="http://schemas.microsoft.com/office/drawing/2014/main" id="{5345BBF4-B02A-7F6E-8B91-6DAA787D4B0C}"/>
                    </a:ext>
                  </a:extLst>
                </p:cNvPr>
                <p:cNvSpPr/>
                <p:nvPr/>
              </p:nvSpPr>
              <p:spPr>
                <a:xfrm>
                  <a:off x="5072362" y="6093685"/>
                  <a:ext cx="15569" cy="49698"/>
                </a:xfrm>
                <a:custGeom>
                  <a:avLst/>
                  <a:gdLst>
                    <a:gd name="connsiteX0" fmla="*/ 0 w 15569"/>
                    <a:gd name="connsiteY0" fmla="*/ 0 h 49698"/>
                    <a:gd name="connsiteX1" fmla="*/ 7224 w 15569"/>
                    <a:gd name="connsiteY1" fmla="*/ 17314 h 49698"/>
                    <a:gd name="connsiteX2" fmla="*/ 8843 w 15569"/>
                    <a:gd name="connsiteY2" fmla="*/ 34627 h 49698"/>
                    <a:gd name="connsiteX3" fmla="*/ 15570 w 15569"/>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609" y="6975"/>
                        <a:pt x="6477" y="13079"/>
                        <a:pt x="7224" y="17314"/>
                      </a:cubicBezTo>
                      <a:cubicBezTo>
                        <a:pt x="8470" y="24164"/>
                        <a:pt x="7224" y="27776"/>
                        <a:pt x="8843" y="34627"/>
                      </a:cubicBezTo>
                      <a:cubicBezTo>
                        <a:pt x="10338" y="41353"/>
                        <a:pt x="13327" y="46460"/>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6" name="Freeform 4249">
                  <a:extLst>
                    <a:ext uri="{FF2B5EF4-FFF2-40B4-BE49-F238E27FC236}">
                      <a16:creationId xmlns:a16="http://schemas.microsoft.com/office/drawing/2014/main" id="{C086164F-DD0D-EB47-958E-4DE6E605772B}"/>
                    </a:ext>
                  </a:extLst>
                </p:cNvPr>
                <p:cNvSpPr/>
                <p:nvPr/>
              </p:nvSpPr>
              <p:spPr>
                <a:xfrm>
                  <a:off x="5078519" y="6131241"/>
                  <a:ext cx="26297" cy="26535"/>
                </a:xfrm>
                <a:custGeom>
                  <a:avLst/>
                  <a:gdLst>
                    <a:gd name="connsiteX0" fmla="*/ 568 w 26297"/>
                    <a:gd name="connsiteY0" fmla="*/ 16999 h 26535"/>
                    <a:gd name="connsiteX1" fmla="*/ 9412 w 26297"/>
                    <a:gd name="connsiteY1" fmla="*/ 558 h 26535"/>
                    <a:gd name="connsiteX2" fmla="*/ 25729 w 26297"/>
                    <a:gd name="connsiteY2" fmla="*/ 9526 h 26535"/>
                    <a:gd name="connsiteX3" fmla="*/ 16885 w 26297"/>
                    <a:gd name="connsiteY3" fmla="*/ 25968 h 26535"/>
                    <a:gd name="connsiteX4" fmla="*/ 568 w 26297"/>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35">
                      <a:moveTo>
                        <a:pt x="568" y="16999"/>
                      </a:moveTo>
                      <a:cubicBezTo>
                        <a:pt x="-1549" y="10024"/>
                        <a:pt x="2437" y="2675"/>
                        <a:pt x="9412" y="558"/>
                      </a:cubicBezTo>
                      <a:cubicBezTo>
                        <a:pt x="16387" y="-1560"/>
                        <a:pt x="23736" y="2551"/>
                        <a:pt x="25729" y="9526"/>
                      </a:cubicBezTo>
                      <a:cubicBezTo>
                        <a:pt x="27846" y="16501"/>
                        <a:pt x="23861" y="23850"/>
                        <a:pt x="16885" y="25968"/>
                      </a:cubicBezTo>
                      <a:cubicBezTo>
                        <a:pt x="9910"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9" name="Graphic 2987">
                <a:extLst>
                  <a:ext uri="{FF2B5EF4-FFF2-40B4-BE49-F238E27FC236}">
                    <a16:creationId xmlns:a16="http://schemas.microsoft.com/office/drawing/2014/main" id="{7360C860-606A-059C-97FB-2A18AF2A46C9}"/>
                  </a:ext>
                </a:extLst>
              </p:cNvPr>
              <p:cNvGrpSpPr/>
              <p:nvPr/>
            </p:nvGrpSpPr>
            <p:grpSpPr>
              <a:xfrm>
                <a:off x="5072178" y="6005428"/>
                <a:ext cx="60733" cy="144002"/>
                <a:chOff x="5072178" y="6005428"/>
                <a:chExt cx="60733" cy="144002"/>
              </a:xfrm>
              <a:grpFill/>
            </p:grpSpPr>
            <p:sp>
              <p:nvSpPr>
                <p:cNvPr id="5165" name="Freeform 4251">
                  <a:extLst>
                    <a:ext uri="{FF2B5EF4-FFF2-40B4-BE49-F238E27FC236}">
                      <a16:creationId xmlns:a16="http://schemas.microsoft.com/office/drawing/2014/main" id="{776EAF93-5001-BAD5-7B5F-A6E085A73F70}"/>
                    </a:ext>
                  </a:extLst>
                </p:cNvPr>
                <p:cNvSpPr/>
                <p:nvPr/>
              </p:nvSpPr>
              <p:spPr>
                <a:xfrm>
                  <a:off x="5083939" y="602654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6" y="14449"/>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6" name="Freeform 4252">
                  <a:extLst>
                    <a:ext uri="{FF2B5EF4-FFF2-40B4-BE49-F238E27FC236}">
                      <a16:creationId xmlns:a16="http://schemas.microsoft.com/office/drawing/2014/main" id="{D2016077-B085-8C7F-F79E-4D073398CF1D}"/>
                    </a:ext>
                  </a:extLst>
                </p:cNvPr>
                <p:cNvSpPr/>
                <p:nvPr/>
              </p:nvSpPr>
              <p:spPr>
                <a:xfrm>
                  <a:off x="5089302" y="6019697"/>
                  <a:ext cx="15320" cy="49823"/>
                </a:xfrm>
                <a:custGeom>
                  <a:avLst/>
                  <a:gdLst>
                    <a:gd name="connsiteX0" fmla="*/ 15321 w 15320"/>
                    <a:gd name="connsiteY0" fmla="*/ 49823 h 49823"/>
                    <a:gd name="connsiteX1" fmla="*/ 8221 w 15320"/>
                    <a:gd name="connsiteY1" fmla="*/ 32385 h 49823"/>
                    <a:gd name="connsiteX2" fmla="*/ 6726 w 15320"/>
                    <a:gd name="connsiteY2" fmla="*/ 1507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0712" y="42848"/>
                        <a:pt x="8968" y="36745"/>
                        <a:pt x="8221" y="32385"/>
                      </a:cubicBezTo>
                      <a:cubicBezTo>
                        <a:pt x="6975" y="25535"/>
                        <a:pt x="8221" y="21922"/>
                        <a:pt x="6726" y="15072"/>
                      </a:cubicBezTo>
                      <a:cubicBezTo>
                        <a:pt x="5232"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7" name="Freeform 4253">
                  <a:extLst>
                    <a:ext uri="{FF2B5EF4-FFF2-40B4-BE49-F238E27FC236}">
                      <a16:creationId xmlns:a16="http://schemas.microsoft.com/office/drawing/2014/main" id="{2D204A91-CF14-EAA2-F022-FBE84B38E834}"/>
                    </a:ext>
                  </a:extLst>
                </p:cNvPr>
                <p:cNvSpPr/>
                <p:nvPr/>
              </p:nvSpPr>
              <p:spPr>
                <a:xfrm>
                  <a:off x="5072178" y="6005428"/>
                  <a:ext cx="26603" cy="26544"/>
                </a:xfrm>
                <a:custGeom>
                  <a:avLst/>
                  <a:gdLst>
                    <a:gd name="connsiteX0" fmla="*/ 26091 w 26603"/>
                    <a:gd name="connsiteY0" fmla="*/ 9536 h 26544"/>
                    <a:gd name="connsiteX1" fmla="*/ 16998 w 26603"/>
                    <a:gd name="connsiteY1" fmla="*/ 25977 h 26544"/>
                    <a:gd name="connsiteX2" fmla="*/ 557 w 26603"/>
                    <a:gd name="connsiteY2" fmla="*/ 17009 h 26544"/>
                    <a:gd name="connsiteX3" fmla="*/ 9650 w 26603"/>
                    <a:gd name="connsiteY3" fmla="*/ 568 h 26544"/>
                    <a:gd name="connsiteX4" fmla="*/ 26091 w 26603"/>
                    <a:gd name="connsiteY4" fmla="*/ 953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4">
                      <a:moveTo>
                        <a:pt x="26091" y="9536"/>
                      </a:moveTo>
                      <a:cubicBezTo>
                        <a:pt x="28084" y="16511"/>
                        <a:pt x="24098" y="23984"/>
                        <a:pt x="16998" y="25977"/>
                      </a:cubicBezTo>
                      <a:cubicBezTo>
                        <a:pt x="9899" y="28095"/>
                        <a:pt x="2550" y="24109"/>
                        <a:pt x="557" y="17009"/>
                      </a:cubicBezTo>
                      <a:cubicBezTo>
                        <a:pt x="-1561" y="10034"/>
                        <a:pt x="2550" y="2561"/>
                        <a:pt x="9650" y="568"/>
                      </a:cubicBezTo>
                      <a:cubicBezTo>
                        <a:pt x="16625" y="-1550"/>
                        <a:pt x="24098" y="2436"/>
                        <a:pt x="26091" y="95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8" name="Freeform 4254">
                  <a:extLst>
                    <a:ext uri="{FF2B5EF4-FFF2-40B4-BE49-F238E27FC236}">
                      <a16:creationId xmlns:a16="http://schemas.microsoft.com/office/drawing/2014/main" id="{0EB52D91-2E10-7211-3326-5D0326E2F02B}"/>
                    </a:ext>
                  </a:extLst>
                </p:cNvPr>
                <p:cNvSpPr/>
                <p:nvPr/>
              </p:nvSpPr>
              <p:spPr>
                <a:xfrm>
                  <a:off x="5107337" y="6078115"/>
                  <a:ext cx="13982" cy="50321"/>
                </a:xfrm>
                <a:custGeom>
                  <a:avLst/>
                  <a:gdLst>
                    <a:gd name="connsiteX0" fmla="*/ 13976 w 13982"/>
                    <a:gd name="connsiteY0" fmla="*/ 50321 h 50321"/>
                    <a:gd name="connsiteX1" fmla="*/ 10613 w 13982"/>
                    <a:gd name="connsiteY1" fmla="*/ 31762 h 50321"/>
                    <a:gd name="connsiteX2" fmla="*/ 2517 w 13982"/>
                    <a:gd name="connsiteY2" fmla="*/ 16317 h 50321"/>
                    <a:gd name="connsiteX3" fmla="*/ 2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13976" y="50321"/>
                      </a:moveTo>
                      <a:cubicBezTo>
                        <a:pt x="14101" y="41852"/>
                        <a:pt x="12232" y="35873"/>
                        <a:pt x="10613" y="31762"/>
                      </a:cubicBezTo>
                      <a:cubicBezTo>
                        <a:pt x="7873" y="25285"/>
                        <a:pt x="5008" y="23043"/>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9" name="Freeform 4255">
                  <a:extLst>
                    <a:ext uri="{FF2B5EF4-FFF2-40B4-BE49-F238E27FC236}">
                      <a16:creationId xmlns:a16="http://schemas.microsoft.com/office/drawing/2014/main" id="{94F82F25-B68D-3A4B-4F03-F3F0503FA99D}"/>
                    </a:ext>
                  </a:extLst>
                </p:cNvPr>
                <p:cNvSpPr/>
                <p:nvPr/>
              </p:nvSpPr>
              <p:spPr>
                <a:xfrm>
                  <a:off x="5100761" y="6085339"/>
                  <a:ext cx="15196" cy="49823"/>
                </a:xfrm>
                <a:custGeom>
                  <a:avLst/>
                  <a:gdLst>
                    <a:gd name="connsiteX0" fmla="*/ 0 w 15196"/>
                    <a:gd name="connsiteY0" fmla="*/ 0 h 49823"/>
                    <a:gd name="connsiteX1" fmla="*/ 7099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2" y="13078"/>
                        <a:pt x="7099" y="17438"/>
                      </a:cubicBezTo>
                      <a:cubicBezTo>
                        <a:pt x="8345" y="24289"/>
                        <a:pt x="7099" y="27901"/>
                        <a:pt x="8595" y="34752"/>
                      </a:cubicBezTo>
                      <a:cubicBezTo>
                        <a:pt x="10089" y="41478"/>
                        <a:pt x="12954" y="46584"/>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0" name="Freeform 4256">
                  <a:extLst>
                    <a:ext uri="{FF2B5EF4-FFF2-40B4-BE49-F238E27FC236}">
                      <a16:creationId xmlns:a16="http://schemas.microsoft.com/office/drawing/2014/main" id="{A6C95681-A5AC-0862-4E59-AE5E66F932A7}"/>
                    </a:ext>
                  </a:extLst>
                </p:cNvPr>
                <p:cNvSpPr/>
                <p:nvPr/>
              </p:nvSpPr>
              <p:spPr>
                <a:xfrm>
                  <a:off x="5106669" y="6122941"/>
                  <a:ext cx="26242" cy="26490"/>
                </a:xfrm>
                <a:custGeom>
                  <a:avLst/>
                  <a:gdLst>
                    <a:gd name="connsiteX0" fmla="*/ 568 w 26242"/>
                    <a:gd name="connsiteY0" fmla="*/ 16955 h 26490"/>
                    <a:gd name="connsiteX1" fmla="*/ 9412 w 26242"/>
                    <a:gd name="connsiteY1" fmla="*/ 513 h 26490"/>
                    <a:gd name="connsiteX2" fmla="*/ 25729 w 26242"/>
                    <a:gd name="connsiteY2" fmla="*/ 9481 h 26490"/>
                    <a:gd name="connsiteX3" fmla="*/ 16886 w 26242"/>
                    <a:gd name="connsiteY3" fmla="*/ 25923 h 26490"/>
                    <a:gd name="connsiteX4" fmla="*/ 568 w 26242"/>
                    <a:gd name="connsiteY4" fmla="*/ 16955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90">
                      <a:moveTo>
                        <a:pt x="568" y="16955"/>
                      </a:moveTo>
                      <a:cubicBezTo>
                        <a:pt x="-1549" y="9980"/>
                        <a:pt x="2437" y="2506"/>
                        <a:pt x="9412" y="513"/>
                      </a:cubicBezTo>
                      <a:cubicBezTo>
                        <a:pt x="16387" y="-1480"/>
                        <a:pt x="23736" y="2506"/>
                        <a:pt x="25729" y="9481"/>
                      </a:cubicBezTo>
                      <a:cubicBezTo>
                        <a:pt x="27722" y="16456"/>
                        <a:pt x="23736" y="23930"/>
                        <a:pt x="16886" y="25923"/>
                      </a:cubicBezTo>
                      <a:cubicBezTo>
                        <a:pt x="9910" y="28040"/>
                        <a:pt x="2686" y="24054"/>
                        <a:pt x="568" y="1695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0" name="Graphic 2987">
                <a:extLst>
                  <a:ext uri="{FF2B5EF4-FFF2-40B4-BE49-F238E27FC236}">
                    <a16:creationId xmlns:a16="http://schemas.microsoft.com/office/drawing/2014/main" id="{E6305764-4058-D752-F94A-56EAE842A2EA}"/>
                  </a:ext>
                </a:extLst>
              </p:cNvPr>
              <p:cNvGrpSpPr/>
              <p:nvPr/>
            </p:nvGrpSpPr>
            <p:grpSpPr>
              <a:xfrm>
                <a:off x="5100747" y="5996898"/>
                <a:ext cx="60439" cy="144256"/>
                <a:chOff x="5100747" y="5996898"/>
                <a:chExt cx="60439" cy="144256"/>
              </a:xfrm>
              <a:grpFill/>
            </p:grpSpPr>
            <p:sp>
              <p:nvSpPr>
                <p:cNvPr id="5159" name="Freeform 4258">
                  <a:extLst>
                    <a:ext uri="{FF2B5EF4-FFF2-40B4-BE49-F238E27FC236}">
                      <a16:creationId xmlns:a16="http://schemas.microsoft.com/office/drawing/2014/main" id="{0575560C-187A-8FAF-12D5-DF5000E1194F}"/>
                    </a:ext>
                  </a:extLst>
                </p:cNvPr>
                <p:cNvSpPr/>
                <p:nvPr/>
              </p:nvSpPr>
              <p:spPr>
                <a:xfrm>
                  <a:off x="5112463" y="601807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5" y="14573"/>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0" name="Freeform 4259">
                  <a:extLst>
                    <a:ext uri="{FF2B5EF4-FFF2-40B4-BE49-F238E27FC236}">
                      <a16:creationId xmlns:a16="http://schemas.microsoft.com/office/drawing/2014/main" id="{B830B105-42D6-82FD-F61B-C5B536DA23C1}"/>
                    </a:ext>
                  </a:extLst>
                </p:cNvPr>
                <p:cNvSpPr/>
                <p:nvPr/>
              </p:nvSpPr>
              <p:spPr>
                <a:xfrm>
                  <a:off x="5117825" y="6011227"/>
                  <a:ext cx="15196" cy="49947"/>
                </a:xfrm>
                <a:custGeom>
                  <a:avLst/>
                  <a:gdLst>
                    <a:gd name="connsiteX0" fmla="*/ 15196 w 15196"/>
                    <a:gd name="connsiteY0" fmla="*/ 49948 h 49947"/>
                    <a:gd name="connsiteX1" fmla="*/ 8096 w 15196"/>
                    <a:gd name="connsiteY1" fmla="*/ 32510 h 49947"/>
                    <a:gd name="connsiteX2" fmla="*/ 6602 w 15196"/>
                    <a:gd name="connsiteY2" fmla="*/ 15071 h 49947"/>
                    <a:gd name="connsiteX3" fmla="*/ 0 w 15196"/>
                    <a:gd name="connsiteY3" fmla="*/ 0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49948"/>
                      </a:moveTo>
                      <a:cubicBezTo>
                        <a:pt x="10587" y="42973"/>
                        <a:pt x="8843" y="36869"/>
                        <a:pt x="8096" y="32510"/>
                      </a:cubicBezTo>
                      <a:cubicBezTo>
                        <a:pt x="6851" y="25659"/>
                        <a:pt x="8096" y="22047"/>
                        <a:pt x="6602" y="15071"/>
                      </a:cubicBezTo>
                      <a:cubicBezTo>
                        <a:pt x="5107"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1" name="Freeform 4260">
                  <a:extLst>
                    <a:ext uri="{FF2B5EF4-FFF2-40B4-BE49-F238E27FC236}">
                      <a16:creationId xmlns:a16="http://schemas.microsoft.com/office/drawing/2014/main" id="{07E2FCB7-E8DD-90EB-7C3C-8451A49099D5}"/>
                    </a:ext>
                  </a:extLst>
                </p:cNvPr>
                <p:cNvSpPr/>
                <p:nvPr/>
              </p:nvSpPr>
              <p:spPr>
                <a:xfrm>
                  <a:off x="5100747" y="5996898"/>
                  <a:ext cx="26549" cy="26605"/>
                </a:xfrm>
                <a:custGeom>
                  <a:avLst/>
                  <a:gdLst>
                    <a:gd name="connsiteX0" fmla="*/ 26047 w 26549"/>
                    <a:gd name="connsiteY0" fmla="*/ 9596 h 26605"/>
                    <a:gd name="connsiteX1" fmla="*/ 16954 w 26549"/>
                    <a:gd name="connsiteY1" fmla="*/ 26037 h 26605"/>
                    <a:gd name="connsiteX2" fmla="*/ 512 w 26549"/>
                    <a:gd name="connsiteY2" fmla="*/ 17069 h 26605"/>
                    <a:gd name="connsiteX3" fmla="*/ 9605 w 26549"/>
                    <a:gd name="connsiteY3" fmla="*/ 503 h 26605"/>
                    <a:gd name="connsiteX4" fmla="*/ 26047 w 26549"/>
                    <a:gd name="connsiteY4" fmla="*/ 9596 h 2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605">
                      <a:moveTo>
                        <a:pt x="26047" y="9596"/>
                      </a:moveTo>
                      <a:cubicBezTo>
                        <a:pt x="28040" y="16571"/>
                        <a:pt x="23929" y="23920"/>
                        <a:pt x="16954" y="26037"/>
                      </a:cubicBezTo>
                      <a:cubicBezTo>
                        <a:pt x="9854" y="28155"/>
                        <a:pt x="2505" y="24169"/>
                        <a:pt x="512" y="17069"/>
                      </a:cubicBezTo>
                      <a:cubicBezTo>
                        <a:pt x="-1480" y="10094"/>
                        <a:pt x="2505" y="2620"/>
                        <a:pt x="9605" y="503"/>
                      </a:cubicBezTo>
                      <a:cubicBezTo>
                        <a:pt x="16705" y="-1490"/>
                        <a:pt x="24054" y="2620"/>
                        <a:pt x="26047"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2" name="Freeform 4261">
                  <a:extLst>
                    <a:ext uri="{FF2B5EF4-FFF2-40B4-BE49-F238E27FC236}">
                      <a16:creationId xmlns:a16="http://schemas.microsoft.com/office/drawing/2014/main" id="{336AE7D6-477C-1E1B-4796-360B95689405}"/>
                    </a:ext>
                  </a:extLst>
                </p:cNvPr>
                <p:cNvSpPr/>
                <p:nvPr/>
              </p:nvSpPr>
              <p:spPr>
                <a:xfrm>
                  <a:off x="5135736" y="6069770"/>
                  <a:ext cx="13857" cy="50321"/>
                </a:xfrm>
                <a:custGeom>
                  <a:avLst/>
                  <a:gdLst>
                    <a:gd name="connsiteX0" fmla="*/ 13852 w 13857"/>
                    <a:gd name="connsiteY0" fmla="*/ 50321 h 50321"/>
                    <a:gd name="connsiteX1" fmla="*/ 10489 w 13857"/>
                    <a:gd name="connsiteY1" fmla="*/ 31762 h 50321"/>
                    <a:gd name="connsiteX2" fmla="*/ 2517 w 13857"/>
                    <a:gd name="connsiteY2" fmla="*/ 16317 h 50321"/>
                    <a:gd name="connsiteX3" fmla="*/ 26 w 13857"/>
                    <a:gd name="connsiteY3" fmla="*/ 0 h 50321"/>
                  </a:gdLst>
                  <a:ahLst/>
                  <a:cxnLst>
                    <a:cxn ang="0">
                      <a:pos x="connsiteX0" y="connsiteY0"/>
                    </a:cxn>
                    <a:cxn ang="0">
                      <a:pos x="connsiteX1" y="connsiteY1"/>
                    </a:cxn>
                    <a:cxn ang="0">
                      <a:pos x="connsiteX2" y="connsiteY2"/>
                    </a:cxn>
                    <a:cxn ang="0">
                      <a:pos x="connsiteX3" y="connsiteY3"/>
                    </a:cxn>
                  </a:cxnLst>
                  <a:rect l="l" t="t" r="r" b="b"/>
                  <a:pathLst>
                    <a:path w="13857" h="50321">
                      <a:moveTo>
                        <a:pt x="13852" y="50321"/>
                      </a:moveTo>
                      <a:cubicBezTo>
                        <a:pt x="13976" y="41851"/>
                        <a:pt x="12232" y="35748"/>
                        <a:pt x="10489" y="31762"/>
                      </a:cubicBezTo>
                      <a:cubicBezTo>
                        <a:pt x="7873" y="25285"/>
                        <a:pt x="4883" y="22919"/>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3" name="Freeform 4262">
                  <a:extLst>
                    <a:ext uri="{FF2B5EF4-FFF2-40B4-BE49-F238E27FC236}">
                      <a16:creationId xmlns:a16="http://schemas.microsoft.com/office/drawing/2014/main" id="{4831FF4D-AC7D-C3E1-C4EB-203C93CCEB94}"/>
                    </a:ext>
                  </a:extLst>
                </p:cNvPr>
                <p:cNvSpPr/>
                <p:nvPr/>
              </p:nvSpPr>
              <p:spPr>
                <a:xfrm>
                  <a:off x="5129036" y="6076994"/>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3" y="13079"/>
                        <a:pt x="7100" y="17438"/>
                      </a:cubicBezTo>
                      <a:cubicBezTo>
                        <a:pt x="8346" y="24289"/>
                        <a:pt x="7100" y="27901"/>
                        <a:pt x="8595" y="34752"/>
                      </a:cubicBezTo>
                      <a:cubicBezTo>
                        <a:pt x="10089"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4" name="Freeform 4263">
                  <a:extLst>
                    <a:ext uri="{FF2B5EF4-FFF2-40B4-BE49-F238E27FC236}">
                      <a16:creationId xmlns:a16="http://schemas.microsoft.com/office/drawing/2014/main" id="{21293609-6ED4-F356-A1B9-57D712F902C7}"/>
                    </a:ext>
                  </a:extLst>
                </p:cNvPr>
                <p:cNvSpPr/>
                <p:nvPr/>
              </p:nvSpPr>
              <p:spPr>
                <a:xfrm>
                  <a:off x="5134875" y="6114552"/>
                  <a:ext cx="26311" cy="26603"/>
                </a:xfrm>
                <a:custGeom>
                  <a:avLst/>
                  <a:gdLst>
                    <a:gd name="connsiteX0" fmla="*/ 513 w 26311"/>
                    <a:gd name="connsiteY0" fmla="*/ 16999 h 26603"/>
                    <a:gd name="connsiteX1" fmla="*/ 9481 w 26311"/>
                    <a:gd name="connsiteY1" fmla="*/ 557 h 26603"/>
                    <a:gd name="connsiteX2" fmla="*/ 25798 w 26311"/>
                    <a:gd name="connsiteY2" fmla="*/ 9650 h 26603"/>
                    <a:gd name="connsiteX3" fmla="*/ 16830 w 26311"/>
                    <a:gd name="connsiteY3" fmla="*/ 26091 h 26603"/>
                    <a:gd name="connsiteX4" fmla="*/ 513 w 26311"/>
                    <a:gd name="connsiteY4" fmla="*/ 16999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603">
                      <a:moveTo>
                        <a:pt x="513" y="16999"/>
                      </a:moveTo>
                      <a:cubicBezTo>
                        <a:pt x="-1480" y="10023"/>
                        <a:pt x="2506" y="2550"/>
                        <a:pt x="9481" y="557"/>
                      </a:cubicBezTo>
                      <a:cubicBezTo>
                        <a:pt x="16456" y="-1560"/>
                        <a:pt x="23805" y="2550"/>
                        <a:pt x="25798" y="9650"/>
                      </a:cubicBezTo>
                      <a:cubicBezTo>
                        <a:pt x="27791" y="16625"/>
                        <a:pt x="23805" y="23974"/>
                        <a:pt x="16830" y="26091"/>
                      </a:cubicBezTo>
                      <a:cubicBezTo>
                        <a:pt x="9855" y="28084"/>
                        <a:pt x="2630" y="24099"/>
                        <a:pt x="513"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1" name="Graphic 2987">
                <a:extLst>
                  <a:ext uri="{FF2B5EF4-FFF2-40B4-BE49-F238E27FC236}">
                    <a16:creationId xmlns:a16="http://schemas.microsoft.com/office/drawing/2014/main" id="{B63D5F56-AFA0-691D-166B-6F4D294FD88F}"/>
                  </a:ext>
                </a:extLst>
              </p:cNvPr>
              <p:cNvGrpSpPr/>
              <p:nvPr/>
            </p:nvGrpSpPr>
            <p:grpSpPr>
              <a:xfrm>
                <a:off x="5129280" y="5988873"/>
                <a:ext cx="60180" cy="144176"/>
                <a:chOff x="5129280" y="5988873"/>
                <a:chExt cx="60180" cy="144176"/>
              </a:xfrm>
              <a:grpFill/>
            </p:grpSpPr>
            <p:sp>
              <p:nvSpPr>
                <p:cNvPr id="5153" name="Freeform 4265">
                  <a:extLst>
                    <a:ext uri="{FF2B5EF4-FFF2-40B4-BE49-F238E27FC236}">
                      <a16:creationId xmlns:a16="http://schemas.microsoft.com/office/drawing/2014/main" id="{83D8C2C8-490C-AE50-1DEF-9C223D4455A6}"/>
                    </a:ext>
                  </a:extLst>
                </p:cNvPr>
                <p:cNvSpPr/>
                <p:nvPr/>
              </p:nvSpPr>
              <p:spPr>
                <a:xfrm>
                  <a:off x="5141111" y="6009857"/>
                  <a:ext cx="13659" cy="50321"/>
                </a:xfrm>
                <a:custGeom>
                  <a:avLst/>
                  <a:gdLst>
                    <a:gd name="connsiteX0" fmla="*/ 6 w 13659"/>
                    <a:gd name="connsiteY0" fmla="*/ 0 h 50321"/>
                    <a:gd name="connsiteX1" fmla="*/ 3245 w 13659"/>
                    <a:gd name="connsiteY1" fmla="*/ 18559 h 50321"/>
                    <a:gd name="connsiteX2" fmla="*/ 11216 w 13659"/>
                    <a:gd name="connsiteY2" fmla="*/ 34004 h 50321"/>
                    <a:gd name="connsiteX3" fmla="*/ 13583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6" y="0"/>
                      </a:moveTo>
                      <a:cubicBezTo>
                        <a:pt x="-118" y="8345"/>
                        <a:pt x="1626" y="14449"/>
                        <a:pt x="3245" y="18559"/>
                      </a:cubicBezTo>
                      <a:cubicBezTo>
                        <a:pt x="5861" y="25036"/>
                        <a:pt x="8850" y="27402"/>
                        <a:pt x="11216"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4" name="Freeform 4266">
                  <a:extLst>
                    <a:ext uri="{FF2B5EF4-FFF2-40B4-BE49-F238E27FC236}">
                      <a16:creationId xmlns:a16="http://schemas.microsoft.com/office/drawing/2014/main" id="{2FC1DEC3-FB2B-F0EE-B0A2-7E99FE119BE5}"/>
                    </a:ext>
                  </a:extLst>
                </p:cNvPr>
                <p:cNvSpPr/>
                <p:nvPr/>
              </p:nvSpPr>
              <p:spPr>
                <a:xfrm>
                  <a:off x="5146474" y="6003131"/>
                  <a:ext cx="15071" cy="49947"/>
                </a:xfrm>
                <a:custGeom>
                  <a:avLst/>
                  <a:gdLst>
                    <a:gd name="connsiteX0" fmla="*/ 15072 w 15071"/>
                    <a:gd name="connsiteY0" fmla="*/ 49948 h 49947"/>
                    <a:gd name="connsiteX1" fmla="*/ 7972 w 15071"/>
                    <a:gd name="connsiteY1" fmla="*/ 32509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09"/>
                      </a:cubicBezTo>
                      <a:cubicBezTo>
                        <a:pt x="6851" y="25659"/>
                        <a:pt x="7972" y="22047"/>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5" name="Freeform 4267">
                  <a:extLst>
                    <a:ext uri="{FF2B5EF4-FFF2-40B4-BE49-F238E27FC236}">
                      <a16:creationId xmlns:a16="http://schemas.microsoft.com/office/drawing/2014/main" id="{9CC086E6-129F-3004-A613-392376A23D2F}"/>
                    </a:ext>
                  </a:extLst>
                </p:cNvPr>
                <p:cNvSpPr/>
                <p:nvPr/>
              </p:nvSpPr>
              <p:spPr>
                <a:xfrm>
                  <a:off x="5129280" y="5988873"/>
                  <a:ext cx="26663" cy="26469"/>
                </a:xfrm>
                <a:custGeom>
                  <a:avLst/>
                  <a:gdLst>
                    <a:gd name="connsiteX0" fmla="*/ 26161 w 26663"/>
                    <a:gd name="connsiteY0" fmla="*/ 9650 h 26469"/>
                    <a:gd name="connsiteX1" fmla="*/ 16944 w 26663"/>
                    <a:gd name="connsiteY1" fmla="*/ 25967 h 26469"/>
                    <a:gd name="connsiteX2" fmla="*/ 503 w 26663"/>
                    <a:gd name="connsiteY2" fmla="*/ 16874 h 26469"/>
                    <a:gd name="connsiteX3" fmla="*/ 9720 w 26663"/>
                    <a:gd name="connsiteY3" fmla="*/ 557 h 26469"/>
                    <a:gd name="connsiteX4" fmla="*/ 26161 w 26663"/>
                    <a:gd name="connsiteY4" fmla="*/ 965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69">
                      <a:moveTo>
                        <a:pt x="26161" y="9650"/>
                      </a:moveTo>
                      <a:cubicBezTo>
                        <a:pt x="28154" y="16750"/>
                        <a:pt x="24044" y="23974"/>
                        <a:pt x="16944" y="25967"/>
                      </a:cubicBezTo>
                      <a:cubicBezTo>
                        <a:pt x="9844" y="27960"/>
                        <a:pt x="2496" y="23849"/>
                        <a:pt x="503" y="16874"/>
                      </a:cubicBezTo>
                      <a:cubicBezTo>
                        <a:pt x="-1490" y="9899"/>
                        <a:pt x="2620" y="2550"/>
                        <a:pt x="9720" y="557"/>
                      </a:cubicBezTo>
                      <a:cubicBezTo>
                        <a:pt x="16820" y="-1560"/>
                        <a:pt x="24168" y="2550"/>
                        <a:pt x="26161" y="96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6" name="Freeform 4268">
                  <a:extLst>
                    <a:ext uri="{FF2B5EF4-FFF2-40B4-BE49-F238E27FC236}">
                      <a16:creationId xmlns:a16="http://schemas.microsoft.com/office/drawing/2014/main" id="{905B3E30-05C2-2322-83E9-F900B1E7E273}"/>
                    </a:ext>
                  </a:extLst>
                </p:cNvPr>
                <p:cNvSpPr/>
                <p:nvPr/>
              </p:nvSpPr>
              <p:spPr>
                <a:xfrm>
                  <a:off x="5164208" y="6061673"/>
                  <a:ext cx="13660" cy="50321"/>
                </a:xfrm>
                <a:custGeom>
                  <a:avLst/>
                  <a:gdLst>
                    <a:gd name="connsiteX0" fmla="*/ 13654 w 13660"/>
                    <a:gd name="connsiteY0" fmla="*/ 50321 h 50321"/>
                    <a:gd name="connsiteX1" fmla="*/ 10415 w 13660"/>
                    <a:gd name="connsiteY1" fmla="*/ 31762 h 50321"/>
                    <a:gd name="connsiteX2" fmla="*/ 2444 w 13660"/>
                    <a:gd name="connsiteY2" fmla="*/ 16317 h 50321"/>
                    <a:gd name="connsiteX3" fmla="*/ 77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13654" y="50321"/>
                      </a:moveTo>
                      <a:cubicBezTo>
                        <a:pt x="13778" y="41976"/>
                        <a:pt x="12035" y="35872"/>
                        <a:pt x="10415" y="31762"/>
                      </a:cubicBezTo>
                      <a:cubicBezTo>
                        <a:pt x="7800" y="25285"/>
                        <a:pt x="4935" y="22919"/>
                        <a:pt x="2444"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7" name="Freeform 4269">
                  <a:extLst>
                    <a:ext uri="{FF2B5EF4-FFF2-40B4-BE49-F238E27FC236}">
                      <a16:creationId xmlns:a16="http://schemas.microsoft.com/office/drawing/2014/main" id="{E08C18E6-FAC4-220F-1E72-1DCBA7125B0B}"/>
                    </a:ext>
                  </a:extLst>
                </p:cNvPr>
                <p:cNvSpPr/>
                <p:nvPr/>
              </p:nvSpPr>
              <p:spPr>
                <a:xfrm>
                  <a:off x="5157435" y="6068773"/>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1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7100" y="27776"/>
                        <a:pt x="8470" y="34752"/>
                      </a:cubicBezTo>
                      <a:cubicBezTo>
                        <a:pt x="9840" y="41478"/>
                        <a:pt x="12829" y="46585"/>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8" name="Freeform 4270">
                  <a:extLst>
                    <a:ext uri="{FF2B5EF4-FFF2-40B4-BE49-F238E27FC236}">
                      <a16:creationId xmlns:a16="http://schemas.microsoft.com/office/drawing/2014/main" id="{3E4C95BB-796B-8E68-25D3-AEF6CF39341F}"/>
                    </a:ext>
                  </a:extLst>
                </p:cNvPr>
                <p:cNvSpPr/>
                <p:nvPr/>
              </p:nvSpPr>
              <p:spPr>
                <a:xfrm>
                  <a:off x="5163150" y="6106510"/>
                  <a:ext cx="26311" cy="26539"/>
                </a:xfrm>
                <a:custGeom>
                  <a:avLst/>
                  <a:gdLst>
                    <a:gd name="connsiteX0" fmla="*/ 513 w 26311"/>
                    <a:gd name="connsiteY0" fmla="*/ 16820 h 26539"/>
                    <a:gd name="connsiteX1" fmla="*/ 9481 w 26311"/>
                    <a:gd name="connsiteY1" fmla="*/ 503 h 26539"/>
                    <a:gd name="connsiteX2" fmla="*/ 25798 w 26311"/>
                    <a:gd name="connsiteY2" fmla="*/ 9720 h 26539"/>
                    <a:gd name="connsiteX3" fmla="*/ 16830 w 26311"/>
                    <a:gd name="connsiteY3" fmla="*/ 26037 h 26539"/>
                    <a:gd name="connsiteX4" fmla="*/ 513 w 2631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513" y="16820"/>
                      </a:moveTo>
                      <a:cubicBezTo>
                        <a:pt x="-1480" y="9844"/>
                        <a:pt x="2506" y="2496"/>
                        <a:pt x="9481" y="503"/>
                      </a:cubicBezTo>
                      <a:cubicBezTo>
                        <a:pt x="16456" y="-1490"/>
                        <a:pt x="23805" y="2620"/>
                        <a:pt x="25798" y="9720"/>
                      </a:cubicBezTo>
                      <a:cubicBezTo>
                        <a:pt x="27791" y="16820"/>
                        <a:pt x="23805" y="24044"/>
                        <a:pt x="16830" y="26037"/>
                      </a:cubicBezTo>
                      <a:cubicBezTo>
                        <a:pt x="9855" y="28030"/>
                        <a:pt x="2506" y="23919"/>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2" name="Graphic 2987">
                <a:extLst>
                  <a:ext uri="{FF2B5EF4-FFF2-40B4-BE49-F238E27FC236}">
                    <a16:creationId xmlns:a16="http://schemas.microsoft.com/office/drawing/2014/main" id="{63357723-0BD8-7C8C-3584-2FE523EB922C}"/>
                  </a:ext>
                </a:extLst>
              </p:cNvPr>
              <p:cNvGrpSpPr/>
              <p:nvPr/>
            </p:nvGrpSpPr>
            <p:grpSpPr>
              <a:xfrm>
                <a:off x="5158053" y="5980758"/>
                <a:ext cx="59796" cy="144319"/>
                <a:chOff x="5158053" y="5980758"/>
                <a:chExt cx="59796" cy="144319"/>
              </a:xfrm>
              <a:grpFill/>
            </p:grpSpPr>
            <p:sp>
              <p:nvSpPr>
                <p:cNvPr id="5147" name="Freeform 4272">
                  <a:extLst>
                    <a:ext uri="{FF2B5EF4-FFF2-40B4-BE49-F238E27FC236}">
                      <a16:creationId xmlns:a16="http://schemas.microsoft.com/office/drawing/2014/main" id="{06C2A979-2813-8D92-48A9-2502F03BB553}"/>
                    </a:ext>
                  </a:extLst>
                </p:cNvPr>
                <p:cNvSpPr/>
                <p:nvPr/>
              </p:nvSpPr>
              <p:spPr>
                <a:xfrm>
                  <a:off x="5169742" y="6001886"/>
                  <a:ext cx="13677" cy="50446"/>
                </a:xfrm>
                <a:custGeom>
                  <a:avLst/>
                  <a:gdLst>
                    <a:gd name="connsiteX0" fmla="*/ 24 w 13677"/>
                    <a:gd name="connsiteY0" fmla="*/ 0 h 50446"/>
                    <a:gd name="connsiteX1" fmla="*/ 3262 w 13677"/>
                    <a:gd name="connsiteY1" fmla="*/ 18559 h 50446"/>
                    <a:gd name="connsiteX2" fmla="*/ 11234 w 13677"/>
                    <a:gd name="connsiteY2" fmla="*/ 34129 h 50446"/>
                    <a:gd name="connsiteX3" fmla="*/ 13601 w 1367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676" h="50446">
                      <a:moveTo>
                        <a:pt x="24" y="0"/>
                      </a:moveTo>
                      <a:cubicBezTo>
                        <a:pt x="-225" y="8470"/>
                        <a:pt x="1519" y="14449"/>
                        <a:pt x="3262" y="18559"/>
                      </a:cubicBezTo>
                      <a:cubicBezTo>
                        <a:pt x="5878" y="25036"/>
                        <a:pt x="8743" y="27403"/>
                        <a:pt x="11234" y="34129"/>
                      </a:cubicBezTo>
                      <a:cubicBezTo>
                        <a:pt x="13601" y="40606"/>
                        <a:pt x="13850" y="46460"/>
                        <a:pt x="13601"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8" name="Freeform 4273">
                  <a:extLst>
                    <a:ext uri="{FF2B5EF4-FFF2-40B4-BE49-F238E27FC236}">
                      <a16:creationId xmlns:a16="http://schemas.microsoft.com/office/drawing/2014/main" id="{8F745C7A-DA18-AB9F-FC2F-33C2C4275174}"/>
                    </a:ext>
                  </a:extLst>
                </p:cNvPr>
                <p:cNvSpPr/>
                <p:nvPr/>
              </p:nvSpPr>
              <p:spPr>
                <a:xfrm>
                  <a:off x="5175246" y="5995159"/>
                  <a:ext cx="14822" cy="49947"/>
                </a:xfrm>
                <a:custGeom>
                  <a:avLst/>
                  <a:gdLst>
                    <a:gd name="connsiteX0" fmla="*/ 14822 w 14822"/>
                    <a:gd name="connsiteY0" fmla="*/ 49948 h 49947"/>
                    <a:gd name="connsiteX1" fmla="*/ 7847 w 14822"/>
                    <a:gd name="connsiteY1" fmla="*/ 32510 h 49947"/>
                    <a:gd name="connsiteX2" fmla="*/ 6477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2" y="22047"/>
                        <a:pt x="6477" y="15196"/>
                      </a:cubicBezTo>
                      <a:cubicBezTo>
                        <a:pt x="5107"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9" name="Freeform 4274">
                  <a:extLst>
                    <a:ext uri="{FF2B5EF4-FFF2-40B4-BE49-F238E27FC236}">
                      <a16:creationId xmlns:a16="http://schemas.microsoft.com/office/drawing/2014/main" id="{B190B4B3-64A8-868D-BE94-2F197C68D87E}"/>
                    </a:ext>
                  </a:extLst>
                </p:cNvPr>
                <p:cNvSpPr/>
                <p:nvPr/>
              </p:nvSpPr>
              <p:spPr>
                <a:xfrm>
                  <a:off x="5158053" y="5980758"/>
                  <a:ext cx="26663" cy="26487"/>
                </a:xfrm>
                <a:custGeom>
                  <a:avLst/>
                  <a:gdLst>
                    <a:gd name="connsiteX0" fmla="*/ 26161 w 26663"/>
                    <a:gd name="connsiteY0" fmla="*/ 9668 h 26487"/>
                    <a:gd name="connsiteX1" fmla="*/ 16944 w 26663"/>
                    <a:gd name="connsiteY1" fmla="*/ 25985 h 26487"/>
                    <a:gd name="connsiteX2" fmla="*/ 503 w 26663"/>
                    <a:gd name="connsiteY2" fmla="*/ 16768 h 26487"/>
                    <a:gd name="connsiteX3" fmla="*/ 9720 w 26663"/>
                    <a:gd name="connsiteY3" fmla="*/ 451 h 26487"/>
                    <a:gd name="connsiteX4" fmla="*/ 26161 w 26663"/>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87">
                      <a:moveTo>
                        <a:pt x="26161" y="9668"/>
                      </a:moveTo>
                      <a:cubicBezTo>
                        <a:pt x="28154" y="16768"/>
                        <a:pt x="24044" y="23992"/>
                        <a:pt x="16944" y="25985"/>
                      </a:cubicBezTo>
                      <a:cubicBezTo>
                        <a:pt x="9844" y="27978"/>
                        <a:pt x="2496" y="23867"/>
                        <a:pt x="503" y="16768"/>
                      </a:cubicBezTo>
                      <a:cubicBezTo>
                        <a:pt x="-1490" y="9668"/>
                        <a:pt x="2620" y="2443"/>
                        <a:pt x="9720" y="451"/>
                      </a:cubicBezTo>
                      <a:cubicBezTo>
                        <a:pt x="16820" y="-1418"/>
                        <a:pt x="24168" y="2693"/>
                        <a:pt x="26161"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0" name="Freeform 4275">
                  <a:extLst>
                    <a:ext uri="{FF2B5EF4-FFF2-40B4-BE49-F238E27FC236}">
                      <a16:creationId xmlns:a16="http://schemas.microsoft.com/office/drawing/2014/main" id="{EEF53A94-99F1-BE5F-B209-09BF9FB8EACA}"/>
                    </a:ext>
                  </a:extLst>
                </p:cNvPr>
                <p:cNvSpPr/>
                <p:nvPr/>
              </p:nvSpPr>
              <p:spPr>
                <a:xfrm>
                  <a:off x="5192608" y="6053577"/>
                  <a:ext cx="13660" cy="50446"/>
                </a:xfrm>
                <a:custGeom>
                  <a:avLst/>
                  <a:gdLst>
                    <a:gd name="connsiteX0" fmla="*/ 13654 w 13660"/>
                    <a:gd name="connsiteY0" fmla="*/ 50446 h 50446"/>
                    <a:gd name="connsiteX1" fmla="*/ 10415 w 13660"/>
                    <a:gd name="connsiteY1" fmla="*/ 31887 h 50446"/>
                    <a:gd name="connsiteX2" fmla="*/ 2443 w 13660"/>
                    <a:gd name="connsiteY2" fmla="*/ 16317 h 50446"/>
                    <a:gd name="connsiteX3" fmla="*/ 77 w 13660"/>
                    <a:gd name="connsiteY3" fmla="*/ 0 h 50446"/>
                  </a:gdLst>
                  <a:ahLst/>
                  <a:cxnLst>
                    <a:cxn ang="0">
                      <a:pos x="connsiteX0" y="connsiteY0"/>
                    </a:cxn>
                    <a:cxn ang="0">
                      <a:pos x="connsiteX1" y="connsiteY1"/>
                    </a:cxn>
                    <a:cxn ang="0">
                      <a:pos x="connsiteX2" y="connsiteY2"/>
                    </a:cxn>
                    <a:cxn ang="0">
                      <a:pos x="connsiteX3" y="connsiteY3"/>
                    </a:cxn>
                  </a:cxnLst>
                  <a:rect l="l" t="t" r="r" b="b"/>
                  <a:pathLst>
                    <a:path w="13660" h="50446">
                      <a:moveTo>
                        <a:pt x="13654" y="50446"/>
                      </a:moveTo>
                      <a:cubicBezTo>
                        <a:pt x="13778" y="42101"/>
                        <a:pt x="12159" y="35997"/>
                        <a:pt x="10415" y="31887"/>
                      </a:cubicBezTo>
                      <a:cubicBezTo>
                        <a:pt x="7800" y="25410"/>
                        <a:pt x="4935" y="23043"/>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1" name="Freeform 4276">
                  <a:extLst>
                    <a:ext uri="{FF2B5EF4-FFF2-40B4-BE49-F238E27FC236}">
                      <a16:creationId xmlns:a16="http://schemas.microsoft.com/office/drawing/2014/main" id="{333166D8-83F9-15A7-9E8D-A8D761360254}"/>
                    </a:ext>
                  </a:extLst>
                </p:cNvPr>
                <p:cNvSpPr/>
                <p:nvPr/>
              </p:nvSpPr>
              <p:spPr>
                <a:xfrm>
                  <a:off x="5185958" y="6060801"/>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2" name="Freeform 4277">
                  <a:extLst>
                    <a:ext uri="{FF2B5EF4-FFF2-40B4-BE49-F238E27FC236}">
                      <a16:creationId xmlns:a16="http://schemas.microsoft.com/office/drawing/2014/main" id="{76805C5A-C7F6-3FDC-7695-7F932B06ED0F}"/>
                    </a:ext>
                  </a:extLst>
                </p:cNvPr>
                <p:cNvSpPr/>
                <p:nvPr/>
              </p:nvSpPr>
              <p:spPr>
                <a:xfrm>
                  <a:off x="5191425" y="6098538"/>
                  <a:ext cx="26425" cy="26539"/>
                </a:xfrm>
                <a:custGeom>
                  <a:avLst/>
                  <a:gdLst>
                    <a:gd name="connsiteX0" fmla="*/ 512 w 26425"/>
                    <a:gd name="connsiteY0" fmla="*/ 16820 h 26539"/>
                    <a:gd name="connsiteX1" fmla="*/ 9605 w 26425"/>
                    <a:gd name="connsiteY1" fmla="*/ 503 h 26539"/>
                    <a:gd name="connsiteX2" fmla="*/ 25922 w 26425"/>
                    <a:gd name="connsiteY2" fmla="*/ 9720 h 26539"/>
                    <a:gd name="connsiteX3" fmla="*/ 16830 w 26425"/>
                    <a:gd name="connsiteY3" fmla="*/ 26037 h 26539"/>
                    <a:gd name="connsiteX4" fmla="*/ 512 w 2642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538">
                      <a:moveTo>
                        <a:pt x="512" y="16820"/>
                      </a:moveTo>
                      <a:cubicBezTo>
                        <a:pt x="-1480" y="9720"/>
                        <a:pt x="2505" y="2495"/>
                        <a:pt x="9605" y="503"/>
                      </a:cubicBezTo>
                      <a:cubicBezTo>
                        <a:pt x="16580" y="-1490"/>
                        <a:pt x="23929" y="2620"/>
                        <a:pt x="25922" y="9720"/>
                      </a:cubicBezTo>
                      <a:cubicBezTo>
                        <a:pt x="27915" y="16820"/>
                        <a:pt x="23805" y="24044"/>
                        <a:pt x="16830" y="26037"/>
                      </a:cubicBezTo>
                      <a:cubicBezTo>
                        <a:pt x="9854" y="28030"/>
                        <a:pt x="2505" y="23919"/>
                        <a:pt x="51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3" name="Graphic 2987">
                <a:extLst>
                  <a:ext uri="{FF2B5EF4-FFF2-40B4-BE49-F238E27FC236}">
                    <a16:creationId xmlns:a16="http://schemas.microsoft.com/office/drawing/2014/main" id="{D4B87F1C-B129-B3FB-F3E3-BBC0CAD93998}"/>
                  </a:ext>
                </a:extLst>
              </p:cNvPr>
              <p:cNvGrpSpPr/>
              <p:nvPr/>
            </p:nvGrpSpPr>
            <p:grpSpPr>
              <a:xfrm>
                <a:off x="5186702" y="5972735"/>
                <a:ext cx="59423" cy="144443"/>
                <a:chOff x="5186702" y="5972735"/>
                <a:chExt cx="59423" cy="144443"/>
              </a:xfrm>
              <a:grpFill/>
            </p:grpSpPr>
            <p:sp>
              <p:nvSpPr>
                <p:cNvPr id="5141" name="Freeform 4279">
                  <a:extLst>
                    <a:ext uri="{FF2B5EF4-FFF2-40B4-BE49-F238E27FC236}">
                      <a16:creationId xmlns:a16="http://schemas.microsoft.com/office/drawing/2014/main" id="{47C96E69-8296-2782-739E-481C7A7B21AA}"/>
                    </a:ext>
                  </a:extLst>
                </p:cNvPr>
                <p:cNvSpPr/>
                <p:nvPr/>
              </p:nvSpPr>
              <p:spPr>
                <a:xfrm>
                  <a:off x="5198390" y="5993789"/>
                  <a:ext cx="13384" cy="50445"/>
                </a:xfrm>
                <a:custGeom>
                  <a:avLst/>
                  <a:gdLst>
                    <a:gd name="connsiteX0" fmla="*/ 24 w 13384"/>
                    <a:gd name="connsiteY0" fmla="*/ 0 h 50445"/>
                    <a:gd name="connsiteX1" fmla="*/ 3138 w 13384"/>
                    <a:gd name="connsiteY1" fmla="*/ 18559 h 50445"/>
                    <a:gd name="connsiteX2" fmla="*/ 10985 w 13384"/>
                    <a:gd name="connsiteY2" fmla="*/ 34129 h 50445"/>
                    <a:gd name="connsiteX3" fmla="*/ 13352 w 13384"/>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83" h="50445">
                      <a:moveTo>
                        <a:pt x="24" y="0"/>
                      </a:moveTo>
                      <a:cubicBezTo>
                        <a:pt x="-225" y="8470"/>
                        <a:pt x="1519" y="14573"/>
                        <a:pt x="3138" y="18559"/>
                      </a:cubicBezTo>
                      <a:cubicBezTo>
                        <a:pt x="5753" y="25036"/>
                        <a:pt x="8618" y="27403"/>
                        <a:pt x="10985" y="34129"/>
                      </a:cubicBezTo>
                      <a:cubicBezTo>
                        <a:pt x="13352" y="40606"/>
                        <a:pt x="13476" y="46584"/>
                        <a:pt x="133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2" name="Freeform 4280">
                  <a:extLst>
                    <a:ext uri="{FF2B5EF4-FFF2-40B4-BE49-F238E27FC236}">
                      <a16:creationId xmlns:a16="http://schemas.microsoft.com/office/drawing/2014/main" id="{605ACB84-23EF-13B3-C891-AC242A31C463}"/>
                    </a:ext>
                  </a:extLst>
                </p:cNvPr>
                <p:cNvSpPr/>
                <p:nvPr/>
              </p:nvSpPr>
              <p:spPr>
                <a:xfrm>
                  <a:off x="5203895" y="5987063"/>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089" y="42973"/>
                        <a:pt x="8470" y="36869"/>
                        <a:pt x="7723" y="32634"/>
                      </a:cubicBezTo>
                      <a:cubicBezTo>
                        <a:pt x="6602" y="25784"/>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3" name="Freeform 4281">
                  <a:extLst>
                    <a:ext uri="{FF2B5EF4-FFF2-40B4-BE49-F238E27FC236}">
                      <a16:creationId xmlns:a16="http://schemas.microsoft.com/office/drawing/2014/main" id="{99ACA813-9CF5-63A2-5F5D-3345BFAA8ADE}"/>
                    </a:ext>
                  </a:extLst>
                </p:cNvPr>
                <p:cNvSpPr/>
                <p:nvPr/>
              </p:nvSpPr>
              <p:spPr>
                <a:xfrm>
                  <a:off x="5186702" y="5972735"/>
                  <a:ext cx="26655" cy="26539"/>
                </a:xfrm>
                <a:custGeom>
                  <a:avLst/>
                  <a:gdLst>
                    <a:gd name="connsiteX0" fmla="*/ 26161 w 26655"/>
                    <a:gd name="connsiteY0" fmla="*/ 9720 h 26539"/>
                    <a:gd name="connsiteX1" fmla="*/ 16944 w 26655"/>
                    <a:gd name="connsiteY1" fmla="*/ 26037 h 26539"/>
                    <a:gd name="connsiteX2" fmla="*/ 503 w 26655"/>
                    <a:gd name="connsiteY2" fmla="*/ 16820 h 26539"/>
                    <a:gd name="connsiteX3" fmla="*/ 9720 w 26655"/>
                    <a:gd name="connsiteY3" fmla="*/ 503 h 26539"/>
                    <a:gd name="connsiteX4" fmla="*/ 26161 w 2665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8">
                      <a:moveTo>
                        <a:pt x="26161" y="9720"/>
                      </a:moveTo>
                      <a:cubicBezTo>
                        <a:pt x="28154" y="16820"/>
                        <a:pt x="23919" y="24044"/>
                        <a:pt x="16944" y="26037"/>
                      </a:cubicBezTo>
                      <a:cubicBezTo>
                        <a:pt x="9844" y="28030"/>
                        <a:pt x="2495" y="23919"/>
                        <a:pt x="503" y="16820"/>
                      </a:cubicBezTo>
                      <a:cubicBezTo>
                        <a:pt x="-1490" y="9720"/>
                        <a:pt x="2620" y="2496"/>
                        <a:pt x="9720" y="503"/>
                      </a:cubicBezTo>
                      <a:cubicBezTo>
                        <a:pt x="16820" y="-1490"/>
                        <a:pt x="24168" y="2620"/>
                        <a:pt x="2616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4" name="Freeform 4282">
                  <a:extLst>
                    <a:ext uri="{FF2B5EF4-FFF2-40B4-BE49-F238E27FC236}">
                      <a16:creationId xmlns:a16="http://schemas.microsoft.com/office/drawing/2014/main" id="{CC452703-877E-A8D2-AECA-1996892D76DD}"/>
                    </a:ext>
                  </a:extLst>
                </p:cNvPr>
                <p:cNvSpPr/>
                <p:nvPr/>
              </p:nvSpPr>
              <p:spPr>
                <a:xfrm>
                  <a:off x="5221176" y="6045605"/>
                  <a:ext cx="13384" cy="50445"/>
                </a:xfrm>
                <a:custGeom>
                  <a:avLst/>
                  <a:gdLst>
                    <a:gd name="connsiteX0" fmla="*/ 13360 w 13384"/>
                    <a:gd name="connsiteY0" fmla="*/ 50446 h 50445"/>
                    <a:gd name="connsiteX1" fmla="*/ 10246 w 13384"/>
                    <a:gd name="connsiteY1" fmla="*/ 31887 h 50445"/>
                    <a:gd name="connsiteX2" fmla="*/ 2399 w 13384"/>
                    <a:gd name="connsiteY2" fmla="*/ 16317 h 50445"/>
                    <a:gd name="connsiteX3" fmla="*/ 3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13360" y="50446"/>
                      </a:moveTo>
                      <a:cubicBezTo>
                        <a:pt x="13609" y="41976"/>
                        <a:pt x="11866" y="35873"/>
                        <a:pt x="10246" y="31887"/>
                      </a:cubicBezTo>
                      <a:cubicBezTo>
                        <a:pt x="7631" y="25410"/>
                        <a:pt x="4766" y="23043"/>
                        <a:pt x="2399" y="16317"/>
                      </a:cubicBezTo>
                      <a:cubicBezTo>
                        <a:pt x="32" y="9840"/>
                        <a:pt x="-92" y="3861"/>
                        <a:pt x="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5" name="Freeform 4283">
                  <a:extLst>
                    <a:ext uri="{FF2B5EF4-FFF2-40B4-BE49-F238E27FC236}">
                      <a16:creationId xmlns:a16="http://schemas.microsoft.com/office/drawing/2014/main" id="{88E82C3C-89F5-02F7-CB24-B1422DCEF095}"/>
                    </a:ext>
                  </a:extLst>
                </p:cNvPr>
                <p:cNvSpPr/>
                <p:nvPr/>
              </p:nvSpPr>
              <p:spPr>
                <a:xfrm>
                  <a:off x="5214482" y="6052830"/>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580"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6" name="Freeform 4284">
                  <a:extLst>
                    <a:ext uri="{FF2B5EF4-FFF2-40B4-BE49-F238E27FC236}">
                      <a16:creationId xmlns:a16="http://schemas.microsoft.com/office/drawing/2014/main" id="{0DE8315D-9196-A110-41C2-94F83B9AAA03}"/>
                    </a:ext>
                  </a:extLst>
                </p:cNvPr>
                <p:cNvSpPr/>
                <p:nvPr/>
              </p:nvSpPr>
              <p:spPr>
                <a:xfrm>
                  <a:off x="5219833" y="6090691"/>
                  <a:ext cx="26291" cy="26487"/>
                </a:xfrm>
                <a:custGeom>
                  <a:avLst/>
                  <a:gdLst>
                    <a:gd name="connsiteX0" fmla="*/ 503 w 26291"/>
                    <a:gd name="connsiteY0" fmla="*/ 16820 h 26487"/>
                    <a:gd name="connsiteX1" fmla="*/ 9596 w 26291"/>
                    <a:gd name="connsiteY1" fmla="*/ 503 h 26487"/>
                    <a:gd name="connsiteX2" fmla="*/ 25789 w 26291"/>
                    <a:gd name="connsiteY2" fmla="*/ 9720 h 26487"/>
                    <a:gd name="connsiteX3" fmla="*/ 16696 w 26291"/>
                    <a:gd name="connsiteY3" fmla="*/ 26037 h 26487"/>
                    <a:gd name="connsiteX4" fmla="*/ 503 w 26291"/>
                    <a:gd name="connsiteY4" fmla="*/ 16820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503" y="16820"/>
                      </a:moveTo>
                      <a:cubicBezTo>
                        <a:pt x="-1490" y="9720"/>
                        <a:pt x="2621" y="2496"/>
                        <a:pt x="9596" y="503"/>
                      </a:cubicBezTo>
                      <a:cubicBezTo>
                        <a:pt x="16571" y="-1490"/>
                        <a:pt x="23920" y="2620"/>
                        <a:pt x="25789" y="9720"/>
                      </a:cubicBezTo>
                      <a:cubicBezTo>
                        <a:pt x="27781" y="16820"/>
                        <a:pt x="23671" y="24044"/>
                        <a:pt x="16696" y="26037"/>
                      </a:cubicBezTo>
                      <a:cubicBezTo>
                        <a:pt x="9721" y="27905"/>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4" name="Graphic 2987">
                <a:extLst>
                  <a:ext uri="{FF2B5EF4-FFF2-40B4-BE49-F238E27FC236}">
                    <a16:creationId xmlns:a16="http://schemas.microsoft.com/office/drawing/2014/main" id="{7DF20CD5-3E65-D21C-7DDF-428666DF7688}"/>
                  </a:ext>
                </a:extLst>
              </p:cNvPr>
              <p:cNvGrpSpPr/>
              <p:nvPr/>
            </p:nvGrpSpPr>
            <p:grpSpPr>
              <a:xfrm>
                <a:off x="5215402" y="5964639"/>
                <a:ext cx="58997" cy="144611"/>
                <a:chOff x="5215402" y="5964639"/>
                <a:chExt cx="58997" cy="144611"/>
              </a:xfrm>
              <a:grpFill/>
            </p:grpSpPr>
            <p:sp>
              <p:nvSpPr>
                <p:cNvPr id="5135" name="Freeform 4286">
                  <a:extLst>
                    <a:ext uri="{FF2B5EF4-FFF2-40B4-BE49-F238E27FC236}">
                      <a16:creationId xmlns:a16="http://schemas.microsoft.com/office/drawing/2014/main" id="{71738895-3C91-20E3-CA89-6418F086AA4A}"/>
                    </a:ext>
                  </a:extLst>
                </p:cNvPr>
                <p:cNvSpPr/>
                <p:nvPr/>
              </p:nvSpPr>
              <p:spPr>
                <a:xfrm>
                  <a:off x="5227038" y="5985818"/>
                  <a:ext cx="13317" cy="50446"/>
                </a:xfrm>
                <a:custGeom>
                  <a:avLst/>
                  <a:gdLst>
                    <a:gd name="connsiteX0" fmla="*/ 24 w 13317"/>
                    <a:gd name="connsiteY0" fmla="*/ 0 h 50446"/>
                    <a:gd name="connsiteX1" fmla="*/ 3138 w 13317"/>
                    <a:gd name="connsiteY1" fmla="*/ 18559 h 50446"/>
                    <a:gd name="connsiteX2" fmla="*/ 10985 w 13317"/>
                    <a:gd name="connsiteY2" fmla="*/ 34129 h 50446"/>
                    <a:gd name="connsiteX3" fmla="*/ 13227 w 1331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17" h="50446">
                      <a:moveTo>
                        <a:pt x="24" y="0"/>
                      </a:moveTo>
                      <a:cubicBezTo>
                        <a:pt x="-225" y="8470"/>
                        <a:pt x="1519" y="14573"/>
                        <a:pt x="3138" y="18559"/>
                      </a:cubicBezTo>
                      <a:cubicBezTo>
                        <a:pt x="5753"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6" name="Freeform 4287">
                  <a:extLst>
                    <a:ext uri="{FF2B5EF4-FFF2-40B4-BE49-F238E27FC236}">
                      <a16:creationId xmlns:a16="http://schemas.microsoft.com/office/drawing/2014/main" id="{8AD9F5F4-529D-C4A4-4D04-8D4A768C7100}"/>
                    </a:ext>
                  </a:extLst>
                </p:cNvPr>
                <p:cNvSpPr/>
                <p:nvPr/>
              </p:nvSpPr>
              <p:spPr>
                <a:xfrm>
                  <a:off x="5232418" y="5978967"/>
                  <a:ext cx="14573" cy="50072"/>
                </a:xfrm>
                <a:custGeom>
                  <a:avLst/>
                  <a:gdLst>
                    <a:gd name="connsiteX0" fmla="*/ 14573 w 14573"/>
                    <a:gd name="connsiteY0" fmla="*/ 50072 h 50072"/>
                    <a:gd name="connsiteX1" fmla="*/ 7723 w 14573"/>
                    <a:gd name="connsiteY1" fmla="*/ 32634 h 50072"/>
                    <a:gd name="connsiteX2" fmla="*/ 6477 w 14573"/>
                    <a:gd name="connsiteY2" fmla="*/ 15196 h 50072"/>
                    <a:gd name="connsiteX3" fmla="*/ 0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14573" y="50072"/>
                      </a:moveTo>
                      <a:cubicBezTo>
                        <a:pt x="10090" y="42973"/>
                        <a:pt x="8346"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7" name="Freeform 4288">
                  <a:extLst>
                    <a:ext uri="{FF2B5EF4-FFF2-40B4-BE49-F238E27FC236}">
                      <a16:creationId xmlns:a16="http://schemas.microsoft.com/office/drawing/2014/main" id="{E81CBE68-859B-3107-0559-8C073EF4D96E}"/>
                    </a:ext>
                  </a:extLst>
                </p:cNvPr>
                <p:cNvSpPr/>
                <p:nvPr/>
              </p:nvSpPr>
              <p:spPr>
                <a:xfrm>
                  <a:off x="5215402" y="5964639"/>
                  <a:ext cx="26601" cy="26539"/>
                </a:xfrm>
                <a:custGeom>
                  <a:avLst/>
                  <a:gdLst>
                    <a:gd name="connsiteX0" fmla="*/ 26109 w 26601"/>
                    <a:gd name="connsiteY0" fmla="*/ 9720 h 26539"/>
                    <a:gd name="connsiteX1" fmla="*/ 16767 w 26601"/>
                    <a:gd name="connsiteY1" fmla="*/ 26037 h 26539"/>
                    <a:gd name="connsiteX2" fmla="*/ 450 w 26601"/>
                    <a:gd name="connsiteY2" fmla="*/ 16820 h 26539"/>
                    <a:gd name="connsiteX3" fmla="*/ 9792 w 26601"/>
                    <a:gd name="connsiteY3" fmla="*/ 503 h 26539"/>
                    <a:gd name="connsiteX4" fmla="*/ 26109 w 2660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538">
                      <a:moveTo>
                        <a:pt x="26109" y="9720"/>
                      </a:moveTo>
                      <a:cubicBezTo>
                        <a:pt x="28102" y="16820"/>
                        <a:pt x="23867" y="24168"/>
                        <a:pt x="16767" y="26037"/>
                      </a:cubicBezTo>
                      <a:cubicBezTo>
                        <a:pt x="9667" y="28030"/>
                        <a:pt x="2318" y="23919"/>
                        <a:pt x="450" y="16820"/>
                      </a:cubicBezTo>
                      <a:cubicBezTo>
                        <a:pt x="-1418" y="9720"/>
                        <a:pt x="2692" y="2495"/>
                        <a:pt x="9792" y="503"/>
                      </a:cubicBezTo>
                      <a:cubicBezTo>
                        <a:pt x="16767" y="-1490"/>
                        <a:pt x="24116" y="2620"/>
                        <a:pt x="2610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8" name="Freeform 4289">
                  <a:extLst>
                    <a:ext uri="{FF2B5EF4-FFF2-40B4-BE49-F238E27FC236}">
                      <a16:creationId xmlns:a16="http://schemas.microsoft.com/office/drawing/2014/main" id="{83AEE965-C0CC-E456-57AD-F5C2B08CCEDF}"/>
                    </a:ext>
                  </a:extLst>
                </p:cNvPr>
                <p:cNvSpPr/>
                <p:nvPr/>
              </p:nvSpPr>
              <p:spPr>
                <a:xfrm>
                  <a:off x="5249517" y="6037758"/>
                  <a:ext cx="13317" cy="50445"/>
                </a:xfrm>
                <a:custGeom>
                  <a:avLst/>
                  <a:gdLst>
                    <a:gd name="connsiteX0" fmla="*/ 13293 w 13317"/>
                    <a:gd name="connsiteY0" fmla="*/ 50446 h 50445"/>
                    <a:gd name="connsiteX1" fmla="*/ 10179 w 13317"/>
                    <a:gd name="connsiteY1" fmla="*/ 31887 h 50445"/>
                    <a:gd name="connsiteX2" fmla="*/ 2333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3" y="41976"/>
                        <a:pt x="11799" y="35873"/>
                        <a:pt x="10179" y="31887"/>
                      </a:cubicBezTo>
                      <a:cubicBezTo>
                        <a:pt x="7564" y="25410"/>
                        <a:pt x="4699" y="23043"/>
                        <a:pt x="2333"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9" name="Freeform 4290">
                  <a:extLst>
                    <a:ext uri="{FF2B5EF4-FFF2-40B4-BE49-F238E27FC236}">
                      <a16:creationId xmlns:a16="http://schemas.microsoft.com/office/drawing/2014/main" id="{E5C61080-4DB2-F417-10D0-D7F62B4D5025}"/>
                    </a:ext>
                  </a:extLst>
                </p:cNvPr>
                <p:cNvSpPr/>
                <p:nvPr/>
              </p:nvSpPr>
              <p:spPr>
                <a:xfrm>
                  <a:off x="5242881" y="6044858"/>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3"/>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0" name="Freeform 4291">
                  <a:extLst>
                    <a:ext uri="{FF2B5EF4-FFF2-40B4-BE49-F238E27FC236}">
                      <a16:creationId xmlns:a16="http://schemas.microsoft.com/office/drawing/2014/main" id="{BCA72631-ECFA-FBF9-5CC4-69283E009365}"/>
                    </a:ext>
                  </a:extLst>
                </p:cNvPr>
                <p:cNvSpPr/>
                <p:nvPr/>
              </p:nvSpPr>
              <p:spPr>
                <a:xfrm>
                  <a:off x="5248108" y="6082719"/>
                  <a:ext cx="26291" cy="26530"/>
                </a:xfrm>
                <a:custGeom>
                  <a:avLst/>
                  <a:gdLst>
                    <a:gd name="connsiteX0" fmla="*/ 503 w 26291"/>
                    <a:gd name="connsiteY0" fmla="*/ 16820 h 26530"/>
                    <a:gd name="connsiteX1" fmla="*/ 9596 w 26291"/>
                    <a:gd name="connsiteY1" fmla="*/ 503 h 26530"/>
                    <a:gd name="connsiteX2" fmla="*/ 25788 w 26291"/>
                    <a:gd name="connsiteY2" fmla="*/ 9720 h 26530"/>
                    <a:gd name="connsiteX3" fmla="*/ 16696 w 26291"/>
                    <a:gd name="connsiteY3" fmla="*/ 26037 h 26530"/>
                    <a:gd name="connsiteX4" fmla="*/ 503 w 26291"/>
                    <a:gd name="connsiteY4" fmla="*/ 16820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0">
                      <a:moveTo>
                        <a:pt x="503" y="16820"/>
                      </a:moveTo>
                      <a:cubicBezTo>
                        <a:pt x="-1490" y="9720"/>
                        <a:pt x="2620" y="2496"/>
                        <a:pt x="9596" y="503"/>
                      </a:cubicBezTo>
                      <a:cubicBezTo>
                        <a:pt x="16571" y="-1490"/>
                        <a:pt x="23920" y="2620"/>
                        <a:pt x="25788" y="9720"/>
                      </a:cubicBezTo>
                      <a:cubicBezTo>
                        <a:pt x="27781" y="16820"/>
                        <a:pt x="23671" y="24044"/>
                        <a:pt x="16696" y="26037"/>
                      </a:cubicBezTo>
                      <a:cubicBezTo>
                        <a:pt x="9720" y="28030"/>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5" name="Graphic 2987">
                <a:extLst>
                  <a:ext uri="{FF2B5EF4-FFF2-40B4-BE49-F238E27FC236}">
                    <a16:creationId xmlns:a16="http://schemas.microsoft.com/office/drawing/2014/main" id="{31D9454C-D455-FBF1-BF75-E7711A8E8631}"/>
                  </a:ext>
                </a:extLst>
              </p:cNvPr>
              <p:cNvGrpSpPr/>
              <p:nvPr/>
            </p:nvGrpSpPr>
            <p:grpSpPr>
              <a:xfrm>
                <a:off x="5244007" y="5956603"/>
                <a:ext cx="58738" cy="144683"/>
                <a:chOff x="5244007" y="5956603"/>
                <a:chExt cx="58738" cy="144683"/>
              </a:xfrm>
              <a:grpFill/>
            </p:grpSpPr>
            <p:sp>
              <p:nvSpPr>
                <p:cNvPr id="5129" name="Freeform 4293">
                  <a:extLst>
                    <a:ext uri="{FF2B5EF4-FFF2-40B4-BE49-F238E27FC236}">
                      <a16:creationId xmlns:a16="http://schemas.microsoft.com/office/drawing/2014/main" id="{8C1709B3-C261-54C0-7381-6E2763375EBF}"/>
                    </a:ext>
                  </a:extLst>
                </p:cNvPr>
                <p:cNvSpPr/>
                <p:nvPr/>
              </p:nvSpPr>
              <p:spPr>
                <a:xfrm>
                  <a:off x="5255685" y="5977721"/>
                  <a:ext cx="13181" cy="50446"/>
                </a:xfrm>
                <a:custGeom>
                  <a:avLst/>
                  <a:gdLst>
                    <a:gd name="connsiteX0" fmla="*/ 26 w 13181"/>
                    <a:gd name="connsiteY0" fmla="*/ 0 h 50446"/>
                    <a:gd name="connsiteX1" fmla="*/ 3015 w 13181"/>
                    <a:gd name="connsiteY1" fmla="*/ 18559 h 50446"/>
                    <a:gd name="connsiteX2" fmla="*/ 10862 w 13181"/>
                    <a:gd name="connsiteY2" fmla="*/ 34129 h 50446"/>
                    <a:gd name="connsiteX3" fmla="*/ 13104 w 13181"/>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181" h="50446">
                      <a:moveTo>
                        <a:pt x="26" y="0"/>
                      </a:moveTo>
                      <a:cubicBezTo>
                        <a:pt x="-224" y="8470"/>
                        <a:pt x="1395" y="14573"/>
                        <a:pt x="3015" y="18559"/>
                      </a:cubicBezTo>
                      <a:cubicBezTo>
                        <a:pt x="5630" y="25036"/>
                        <a:pt x="8495" y="27403"/>
                        <a:pt x="10862" y="34129"/>
                      </a:cubicBezTo>
                      <a:cubicBezTo>
                        <a:pt x="13104" y="40606"/>
                        <a:pt x="13353" y="46585"/>
                        <a:pt x="1310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0" name="Freeform 4294">
                  <a:extLst>
                    <a:ext uri="{FF2B5EF4-FFF2-40B4-BE49-F238E27FC236}">
                      <a16:creationId xmlns:a16="http://schemas.microsoft.com/office/drawing/2014/main" id="{54856DF0-067B-FF65-6DC7-4A2B7C22A485}"/>
                    </a:ext>
                  </a:extLst>
                </p:cNvPr>
                <p:cNvSpPr/>
                <p:nvPr/>
              </p:nvSpPr>
              <p:spPr>
                <a:xfrm>
                  <a:off x="5261067" y="5970996"/>
                  <a:ext cx="14448" cy="50072"/>
                </a:xfrm>
                <a:custGeom>
                  <a:avLst/>
                  <a:gdLst>
                    <a:gd name="connsiteX0" fmla="*/ 14449 w 14448"/>
                    <a:gd name="connsiteY0" fmla="*/ 50072 h 50072"/>
                    <a:gd name="connsiteX1" fmla="*/ 7598 w 14448"/>
                    <a:gd name="connsiteY1" fmla="*/ 32509 h 50072"/>
                    <a:gd name="connsiteX2" fmla="*/ 6353 w 14448"/>
                    <a:gd name="connsiteY2" fmla="*/ 15196 h 50072"/>
                    <a:gd name="connsiteX3" fmla="*/ 0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14449" y="50072"/>
                      </a:moveTo>
                      <a:cubicBezTo>
                        <a:pt x="9964" y="42972"/>
                        <a:pt x="8345" y="36869"/>
                        <a:pt x="7598" y="32509"/>
                      </a:cubicBezTo>
                      <a:cubicBezTo>
                        <a:pt x="6477" y="25534"/>
                        <a:pt x="7723" y="22047"/>
                        <a:pt x="6353" y="15196"/>
                      </a:cubicBezTo>
                      <a:cubicBezTo>
                        <a:pt x="4982" y="8470"/>
                        <a:pt x="211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1" name="Freeform 4295">
                  <a:extLst>
                    <a:ext uri="{FF2B5EF4-FFF2-40B4-BE49-F238E27FC236}">
                      <a16:creationId xmlns:a16="http://schemas.microsoft.com/office/drawing/2014/main" id="{6B9F2A4F-490A-B027-533E-6BAC82FDA0E8}"/>
                    </a:ext>
                  </a:extLst>
                </p:cNvPr>
                <p:cNvSpPr/>
                <p:nvPr/>
              </p:nvSpPr>
              <p:spPr>
                <a:xfrm>
                  <a:off x="5244007" y="5956603"/>
                  <a:ext cx="26601" cy="26602"/>
                </a:xfrm>
                <a:custGeom>
                  <a:avLst/>
                  <a:gdLst>
                    <a:gd name="connsiteX0" fmla="*/ 26152 w 26601"/>
                    <a:gd name="connsiteY0" fmla="*/ 9908 h 26602"/>
                    <a:gd name="connsiteX1" fmla="*/ 16810 w 26601"/>
                    <a:gd name="connsiteY1" fmla="*/ 26100 h 26602"/>
                    <a:gd name="connsiteX2" fmla="*/ 493 w 26601"/>
                    <a:gd name="connsiteY2" fmla="*/ 16883 h 26602"/>
                    <a:gd name="connsiteX3" fmla="*/ 9835 w 26601"/>
                    <a:gd name="connsiteY3" fmla="*/ 441 h 26602"/>
                    <a:gd name="connsiteX4" fmla="*/ 26152 w 26601"/>
                    <a:gd name="connsiteY4" fmla="*/ 9908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02">
                      <a:moveTo>
                        <a:pt x="26152" y="9908"/>
                      </a:moveTo>
                      <a:cubicBezTo>
                        <a:pt x="28020" y="17008"/>
                        <a:pt x="23910" y="24232"/>
                        <a:pt x="16810" y="26100"/>
                      </a:cubicBezTo>
                      <a:cubicBezTo>
                        <a:pt x="9710" y="28093"/>
                        <a:pt x="2486" y="23983"/>
                        <a:pt x="493" y="16883"/>
                      </a:cubicBezTo>
                      <a:cubicBezTo>
                        <a:pt x="-1500" y="9783"/>
                        <a:pt x="2735" y="2434"/>
                        <a:pt x="9835" y="441"/>
                      </a:cubicBezTo>
                      <a:cubicBezTo>
                        <a:pt x="16935" y="-1427"/>
                        <a:pt x="24283" y="2808"/>
                        <a:pt x="2615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2" name="Freeform 4296">
                  <a:extLst>
                    <a:ext uri="{FF2B5EF4-FFF2-40B4-BE49-F238E27FC236}">
                      <a16:creationId xmlns:a16="http://schemas.microsoft.com/office/drawing/2014/main" id="{27A57B24-A707-7ADA-B957-ADD30C9D58B2}"/>
                    </a:ext>
                  </a:extLst>
                </p:cNvPr>
                <p:cNvSpPr/>
                <p:nvPr/>
              </p:nvSpPr>
              <p:spPr>
                <a:xfrm>
                  <a:off x="5278178" y="6029787"/>
                  <a:ext cx="13057" cy="50445"/>
                </a:xfrm>
                <a:custGeom>
                  <a:avLst/>
                  <a:gdLst>
                    <a:gd name="connsiteX0" fmla="*/ 13032 w 13057"/>
                    <a:gd name="connsiteY0" fmla="*/ 50446 h 50445"/>
                    <a:gd name="connsiteX1" fmla="*/ 10042 w 13057"/>
                    <a:gd name="connsiteY1" fmla="*/ 31887 h 50445"/>
                    <a:gd name="connsiteX2" fmla="*/ 2320 w 13057"/>
                    <a:gd name="connsiteY2" fmla="*/ 16317 h 50445"/>
                    <a:gd name="connsiteX3" fmla="*/ 78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50446"/>
                      </a:moveTo>
                      <a:cubicBezTo>
                        <a:pt x="13281" y="42100"/>
                        <a:pt x="11662" y="35997"/>
                        <a:pt x="10042" y="31887"/>
                      </a:cubicBezTo>
                      <a:cubicBezTo>
                        <a:pt x="7427" y="25409"/>
                        <a:pt x="4562" y="22919"/>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3" name="Freeform 4297">
                  <a:extLst>
                    <a:ext uri="{FF2B5EF4-FFF2-40B4-BE49-F238E27FC236}">
                      <a16:creationId xmlns:a16="http://schemas.microsoft.com/office/drawing/2014/main" id="{B182D7BE-1576-5272-866C-0B0ACEF65D24}"/>
                    </a:ext>
                  </a:extLst>
                </p:cNvPr>
                <p:cNvSpPr/>
                <p:nvPr/>
              </p:nvSpPr>
              <p:spPr>
                <a:xfrm>
                  <a:off x="5271405" y="6036886"/>
                  <a:ext cx="14448" cy="50196"/>
                </a:xfrm>
                <a:custGeom>
                  <a:avLst/>
                  <a:gdLst>
                    <a:gd name="connsiteX0" fmla="*/ 0 w 14448"/>
                    <a:gd name="connsiteY0" fmla="*/ 0 h 50196"/>
                    <a:gd name="connsiteX1" fmla="*/ 6851 w 14448"/>
                    <a:gd name="connsiteY1" fmla="*/ 17563 h 50196"/>
                    <a:gd name="connsiteX2" fmla="*/ 8096 w 14448"/>
                    <a:gd name="connsiteY2" fmla="*/ 35001 h 50196"/>
                    <a:gd name="connsiteX3" fmla="*/ 14449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0" y="0"/>
                      </a:moveTo>
                      <a:cubicBezTo>
                        <a:pt x="4484" y="7100"/>
                        <a:pt x="6104" y="13203"/>
                        <a:pt x="6851" y="17563"/>
                      </a:cubicBezTo>
                      <a:cubicBezTo>
                        <a:pt x="7972" y="24538"/>
                        <a:pt x="6726" y="28025"/>
                        <a:pt x="8096" y="35001"/>
                      </a:cubicBezTo>
                      <a:cubicBezTo>
                        <a:pt x="9467" y="41727"/>
                        <a:pt x="12331"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4" name="Freeform 4298">
                  <a:extLst>
                    <a:ext uri="{FF2B5EF4-FFF2-40B4-BE49-F238E27FC236}">
                      <a16:creationId xmlns:a16="http://schemas.microsoft.com/office/drawing/2014/main" id="{07537DDA-2764-F3F3-F166-F96ADE469DF3}"/>
                    </a:ext>
                  </a:extLst>
                </p:cNvPr>
                <p:cNvSpPr/>
                <p:nvPr/>
              </p:nvSpPr>
              <p:spPr>
                <a:xfrm>
                  <a:off x="5276383" y="6074766"/>
                  <a:ext cx="26362" cy="26521"/>
                </a:xfrm>
                <a:custGeom>
                  <a:avLst/>
                  <a:gdLst>
                    <a:gd name="connsiteX0" fmla="*/ 503 w 26362"/>
                    <a:gd name="connsiteY0" fmla="*/ 16801 h 26521"/>
                    <a:gd name="connsiteX1" fmla="*/ 9720 w 26362"/>
                    <a:gd name="connsiteY1" fmla="*/ 484 h 26521"/>
                    <a:gd name="connsiteX2" fmla="*/ 25912 w 26362"/>
                    <a:gd name="connsiteY2" fmla="*/ 9826 h 26521"/>
                    <a:gd name="connsiteX3" fmla="*/ 16695 w 26362"/>
                    <a:gd name="connsiteY3" fmla="*/ 26019 h 26521"/>
                    <a:gd name="connsiteX4" fmla="*/ 503 w 26362"/>
                    <a:gd name="connsiteY4" fmla="*/ 16801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20">
                      <a:moveTo>
                        <a:pt x="503" y="16801"/>
                      </a:moveTo>
                      <a:cubicBezTo>
                        <a:pt x="-1490" y="9702"/>
                        <a:pt x="2620" y="2477"/>
                        <a:pt x="9720" y="484"/>
                      </a:cubicBezTo>
                      <a:cubicBezTo>
                        <a:pt x="16695" y="-1509"/>
                        <a:pt x="24044" y="2851"/>
                        <a:pt x="25912" y="9826"/>
                      </a:cubicBezTo>
                      <a:cubicBezTo>
                        <a:pt x="27781" y="16926"/>
                        <a:pt x="23670" y="24026"/>
                        <a:pt x="16695" y="26019"/>
                      </a:cubicBezTo>
                      <a:cubicBezTo>
                        <a:pt x="9720" y="28012"/>
                        <a:pt x="2496" y="23901"/>
                        <a:pt x="503" y="16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6" name="Graphic 2987">
                <a:extLst>
                  <a:ext uri="{FF2B5EF4-FFF2-40B4-BE49-F238E27FC236}">
                    <a16:creationId xmlns:a16="http://schemas.microsoft.com/office/drawing/2014/main" id="{42E1D587-2F1D-1F02-549A-B2AA050E5C71}"/>
                  </a:ext>
                </a:extLst>
              </p:cNvPr>
              <p:cNvGrpSpPr/>
              <p:nvPr/>
            </p:nvGrpSpPr>
            <p:grpSpPr>
              <a:xfrm>
                <a:off x="5272699" y="5949005"/>
                <a:ext cx="58445" cy="144698"/>
                <a:chOff x="5272699" y="5949005"/>
                <a:chExt cx="58445" cy="144698"/>
              </a:xfrm>
              <a:grpFill/>
            </p:grpSpPr>
            <p:sp>
              <p:nvSpPr>
                <p:cNvPr id="5123" name="Freeform 4300">
                  <a:extLst>
                    <a:ext uri="{FF2B5EF4-FFF2-40B4-BE49-F238E27FC236}">
                      <a16:creationId xmlns:a16="http://schemas.microsoft.com/office/drawing/2014/main" id="{712DBA8A-31D0-9696-8E6E-FA91C189408D}"/>
                    </a:ext>
                  </a:extLst>
                </p:cNvPr>
                <p:cNvSpPr/>
                <p:nvPr/>
              </p:nvSpPr>
              <p:spPr>
                <a:xfrm>
                  <a:off x="5284333" y="5969999"/>
                  <a:ext cx="13012" cy="50446"/>
                </a:xfrm>
                <a:custGeom>
                  <a:avLst/>
                  <a:gdLst>
                    <a:gd name="connsiteX0" fmla="*/ 25 w 13012"/>
                    <a:gd name="connsiteY0" fmla="*/ 0 h 50446"/>
                    <a:gd name="connsiteX1" fmla="*/ 3015 w 13012"/>
                    <a:gd name="connsiteY1" fmla="*/ 18559 h 50446"/>
                    <a:gd name="connsiteX2" fmla="*/ 10737 w 13012"/>
                    <a:gd name="connsiteY2" fmla="*/ 34129 h 50446"/>
                    <a:gd name="connsiteX3" fmla="*/ 12980 w 13012"/>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11" h="50446">
                      <a:moveTo>
                        <a:pt x="25" y="0"/>
                      </a:moveTo>
                      <a:cubicBezTo>
                        <a:pt x="-224" y="8346"/>
                        <a:pt x="1395" y="14573"/>
                        <a:pt x="3015" y="18559"/>
                      </a:cubicBezTo>
                      <a:cubicBezTo>
                        <a:pt x="5631" y="25036"/>
                        <a:pt x="8495" y="27403"/>
                        <a:pt x="10737" y="34129"/>
                      </a:cubicBezTo>
                      <a:cubicBezTo>
                        <a:pt x="12980" y="40606"/>
                        <a:pt x="13104" y="46584"/>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4" name="Freeform 4301">
                  <a:extLst>
                    <a:ext uri="{FF2B5EF4-FFF2-40B4-BE49-F238E27FC236}">
                      <a16:creationId xmlns:a16="http://schemas.microsoft.com/office/drawing/2014/main" id="{322B7C38-7AFE-1D05-53E0-E53BF8C81AC1}"/>
                    </a:ext>
                  </a:extLst>
                </p:cNvPr>
                <p:cNvSpPr/>
                <p:nvPr/>
              </p:nvSpPr>
              <p:spPr>
                <a:xfrm>
                  <a:off x="5289964" y="5963397"/>
                  <a:ext cx="14199" cy="50072"/>
                </a:xfrm>
                <a:custGeom>
                  <a:avLst/>
                  <a:gdLst>
                    <a:gd name="connsiteX0" fmla="*/ 14199 w 14199"/>
                    <a:gd name="connsiteY0" fmla="*/ 50072 h 50072"/>
                    <a:gd name="connsiteX1" fmla="*/ 7473 w 14199"/>
                    <a:gd name="connsiteY1" fmla="*/ 32510 h 50072"/>
                    <a:gd name="connsiteX2" fmla="*/ 6352 w 14199"/>
                    <a:gd name="connsiteY2" fmla="*/ 15196 h 50072"/>
                    <a:gd name="connsiteX3" fmla="*/ 0 w 14199"/>
                    <a:gd name="connsiteY3" fmla="*/ 0 h 50072"/>
                  </a:gdLst>
                  <a:ahLst/>
                  <a:cxnLst>
                    <a:cxn ang="0">
                      <a:pos x="connsiteX0" y="connsiteY0"/>
                    </a:cxn>
                    <a:cxn ang="0">
                      <a:pos x="connsiteX1" y="connsiteY1"/>
                    </a:cxn>
                    <a:cxn ang="0">
                      <a:pos x="connsiteX2" y="connsiteY2"/>
                    </a:cxn>
                    <a:cxn ang="0">
                      <a:pos x="connsiteX3" y="connsiteY3"/>
                    </a:cxn>
                  </a:cxnLst>
                  <a:rect l="l" t="t" r="r" b="b"/>
                  <a:pathLst>
                    <a:path w="14199" h="50072">
                      <a:moveTo>
                        <a:pt x="14199" y="50072"/>
                      </a:moveTo>
                      <a:cubicBezTo>
                        <a:pt x="9715" y="42973"/>
                        <a:pt x="8096" y="36869"/>
                        <a:pt x="7473" y="32510"/>
                      </a:cubicBezTo>
                      <a:cubicBezTo>
                        <a:pt x="6352" y="25534"/>
                        <a:pt x="7723" y="22047"/>
                        <a:pt x="6352"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5" name="Freeform 4302">
                  <a:extLst>
                    <a:ext uri="{FF2B5EF4-FFF2-40B4-BE49-F238E27FC236}">
                      <a16:creationId xmlns:a16="http://schemas.microsoft.com/office/drawing/2014/main" id="{815EBAC7-8050-E0C8-FAA2-DB820E7C9507}"/>
                    </a:ext>
                  </a:extLst>
                </p:cNvPr>
                <p:cNvSpPr/>
                <p:nvPr/>
              </p:nvSpPr>
              <p:spPr>
                <a:xfrm>
                  <a:off x="5272699" y="5949005"/>
                  <a:ext cx="26674" cy="26417"/>
                </a:xfrm>
                <a:custGeom>
                  <a:avLst/>
                  <a:gdLst>
                    <a:gd name="connsiteX0" fmla="*/ 26233 w 26674"/>
                    <a:gd name="connsiteY0" fmla="*/ 9784 h 26417"/>
                    <a:gd name="connsiteX1" fmla="*/ 16766 w 26674"/>
                    <a:gd name="connsiteY1" fmla="*/ 25976 h 26417"/>
                    <a:gd name="connsiteX2" fmla="*/ 449 w 26674"/>
                    <a:gd name="connsiteY2" fmla="*/ 16634 h 26417"/>
                    <a:gd name="connsiteX3" fmla="*/ 9916 w 26674"/>
                    <a:gd name="connsiteY3" fmla="*/ 442 h 26417"/>
                    <a:gd name="connsiteX4" fmla="*/ 26233 w 26674"/>
                    <a:gd name="connsiteY4" fmla="*/ 9784 h 26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17">
                      <a:moveTo>
                        <a:pt x="26233" y="9784"/>
                      </a:moveTo>
                      <a:cubicBezTo>
                        <a:pt x="28101" y="16884"/>
                        <a:pt x="23866" y="24108"/>
                        <a:pt x="16766" y="25976"/>
                      </a:cubicBezTo>
                      <a:cubicBezTo>
                        <a:pt x="9667" y="27845"/>
                        <a:pt x="2318" y="23609"/>
                        <a:pt x="449" y="16634"/>
                      </a:cubicBezTo>
                      <a:cubicBezTo>
                        <a:pt x="-1419" y="9535"/>
                        <a:pt x="2691" y="2310"/>
                        <a:pt x="9916" y="442"/>
                      </a:cubicBezTo>
                      <a:cubicBezTo>
                        <a:pt x="17140" y="-1426"/>
                        <a:pt x="24364" y="2808"/>
                        <a:pt x="26233" y="97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6" name="Freeform 4303">
                  <a:extLst>
                    <a:ext uri="{FF2B5EF4-FFF2-40B4-BE49-F238E27FC236}">
                      <a16:creationId xmlns:a16="http://schemas.microsoft.com/office/drawing/2014/main" id="{266F6610-825D-3974-3EB8-2548FD966CC7}"/>
                    </a:ext>
                  </a:extLst>
                </p:cNvPr>
                <p:cNvSpPr/>
                <p:nvPr/>
              </p:nvSpPr>
              <p:spPr>
                <a:xfrm>
                  <a:off x="5306622" y="6022189"/>
                  <a:ext cx="13012" cy="50445"/>
                </a:xfrm>
                <a:custGeom>
                  <a:avLst/>
                  <a:gdLst>
                    <a:gd name="connsiteX0" fmla="*/ 12987 w 13012"/>
                    <a:gd name="connsiteY0" fmla="*/ 50446 h 50445"/>
                    <a:gd name="connsiteX1" fmla="*/ 9998 w 13012"/>
                    <a:gd name="connsiteY1" fmla="*/ 31887 h 50445"/>
                    <a:gd name="connsiteX2" fmla="*/ 2275 w 13012"/>
                    <a:gd name="connsiteY2" fmla="*/ 16317 h 50445"/>
                    <a:gd name="connsiteX3" fmla="*/ 33 w 13012"/>
                    <a:gd name="connsiteY3" fmla="*/ 0 h 50445"/>
                  </a:gdLst>
                  <a:ahLst/>
                  <a:cxnLst>
                    <a:cxn ang="0">
                      <a:pos x="connsiteX0" y="connsiteY0"/>
                    </a:cxn>
                    <a:cxn ang="0">
                      <a:pos x="connsiteX1" y="connsiteY1"/>
                    </a:cxn>
                    <a:cxn ang="0">
                      <a:pos x="connsiteX2" y="connsiteY2"/>
                    </a:cxn>
                    <a:cxn ang="0">
                      <a:pos x="connsiteX3" y="connsiteY3"/>
                    </a:cxn>
                  </a:cxnLst>
                  <a:rect l="l" t="t" r="r" b="b"/>
                  <a:pathLst>
                    <a:path w="13011" h="50445">
                      <a:moveTo>
                        <a:pt x="12987" y="50446"/>
                      </a:moveTo>
                      <a:cubicBezTo>
                        <a:pt x="13236" y="42101"/>
                        <a:pt x="11617" y="35873"/>
                        <a:pt x="9998" y="31887"/>
                      </a:cubicBezTo>
                      <a:cubicBezTo>
                        <a:pt x="7382" y="25410"/>
                        <a:pt x="4642" y="22919"/>
                        <a:pt x="2275" y="16317"/>
                      </a:cubicBezTo>
                      <a:cubicBezTo>
                        <a:pt x="33" y="9840"/>
                        <a:pt x="-92" y="3861"/>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7" name="Freeform 4304">
                  <a:extLst>
                    <a:ext uri="{FF2B5EF4-FFF2-40B4-BE49-F238E27FC236}">
                      <a16:creationId xmlns:a16="http://schemas.microsoft.com/office/drawing/2014/main" id="{0102D83A-D321-BC1A-6A25-0403CE7346D6}"/>
                    </a:ext>
                  </a:extLst>
                </p:cNvPr>
                <p:cNvSpPr/>
                <p:nvPr/>
              </p:nvSpPr>
              <p:spPr>
                <a:xfrm>
                  <a:off x="5299929" y="6029164"/>
                  <a:ext cx="14324" cy="50072"/>
                </a:xfrm>
                <a:custGeom>
                  <a:avLst/>
                  <a:gdLst>
                    <a:gd name="connsiteX0" fmla="*/ 0 w 14324"/>
                    <a:gd name="connsiteY0" fmla="*/ 0 h 50072"/>
                    <a:gd name="connsiteX1" fmla="*/ 6851 w 14324"/>
                    <a:gd name="connsiteY1" fmla="*/ 17563 h 50072"/>
                    <a:gd name="connsiteX2" fmla="*/ 7972 w 14324"/>
                    <a:gd name="connsiteY2" fmla="*/ 34876 h 50072"/>
                    <a:gd name="connsiteX3" fmla="*/ 14324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0" y="0"/>
                      </a:moveTo>
                      <a:cubicBezTo>
                        <a:pt x="4484" y="7100"/>
                        <a:pt x="6103" y="13203"/>
                        <a:pt x="6851" y="17563"/>
                      </a:cubicBezTo>
                      <a:cubicBezTo>
                        <a:pt x="7972" y="24538"/>
                        <a:pt x="6602" y="27901"/>
                        <a:pt x="7972" y="34876"/>
                      </a:cubicBezTo>
                      <a:cubicBezTo>
                        <a:pt x="9342" y="41602"/>
                        <a:pt x="12082" y="46834"/>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8" name="Freeform 4305">
                  <a:extLst>
                    <a:ext uri="{FF2B5EF4-FFF2-40B4-BE49-F238E27FC236}">
                      <a16:creationId xmlns:a16="http://schemas.microsoft.com/office/drawing/2014/main" id="{7AB46500-66BD-CB1E-1100-20D5B5535D32}"/>
                    </a:ext>
                  </a:extLst>
                </p:cNvPr>
                <p:cNvSpPr/>
                <p:nvPr/>
              </p:nvSpPr>
              <p:spPr>
                <a:xfrm>
                  <a:off x="5304834" y="6067211"/>
                  <a:ext cx="26310" cy="26492"/>
                </a:xfrm>
                <a:custGeom>
                  <a:avLst/>
                  <a:gdLst>
                    <a:gd name="connsiteX0" fmla="*/ 451 w 26310"/>
                    <a:gd name="connsiteY0" fmla="*/ 16634 h 26492"/>
                    <a:gd name="connsiteX1" fmla="*/ 9668 w 26310"/>
                    <a:gd name="connsiteY1" fmla="*/ 441 h 26492"/>
                    <a:gd name="connsiteX2" fmla="*/ 25860 w 26310"/>
                    <a:gd name="connsiteY2" fmla="*/ 9908 h 26492"/>
                    <a:gd name="connsiteX3" fmla="*/ 16643 w 26310"/>
                    <a:gd name="connsiteY3" fmla="*/ 26100 h 26492"/>
                    <a:gd name="connsiteX4" fmla="*/ 451 w 26310"/>
                    <a:gd name="connsiteY4" fmla="*/ 16634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92">
                      <a:moveTo>
                        <a:pt x="451" y="16634"/>
                      </a:moveTo>
                      <a:cubicBezTo>
                        <a:pt x="-1418" y="9534"/>
                        <a:pt x="2692" y="2310"/>
                        <a:pt x="9668" y="441"/>
                      </a:cubicBezTo>
                      <a:cubicBezTo>
                        <a:pt x="16643" y="-1427"/>
                        <a:pt x="23992" y="2808"/>
                        <a:pt x="25860" y="9908"/>
                      </a:cubicBezTo>
                      <a:cubicBezTo>
                        <a:pt x="27729" y="17008"/>
                        <a:pt x="23618" y="24232"/>
                        <a:pt x="16643" y="26100"/>
                      </a:cubicBezTo>
                      <a:cubicBezTo>
                        <a:pt x="9668" y="27844"/>
                        <a:pt x="2444" y="23609"/>
                        <a:pt x="45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7" name="Graphic 2987">
                <a:extLst>
                  <a:ext uri="{FF2B5EF4-FFF2-40B4-BE49-F238E27FC236}">
                    <a16:creationId xmlns:a16="http://schemas.microsoft.com/office/drawing/2014/main" id="{E4D6A8FD-F019-657F-0663-D454A72901A1}"/>
                  </a:ext>
                </a:extLst>
              </p:cNvPr>
              <p:cNvGrpSpPr/>
              <p:nvPr/>
            </p:nvGrpSpPr>
            <p:grpSpPr>
              <a:xfrm>
                <a:off x="5301480" y="5941399"/>
                <a:ext cx="58187" cy="144755"/>
                <a:chOff x="5301480" y="5941399"/>
                <a:chExt cx="58187" cy="144755"/>
              </a:xfrm>
              <a:grpFill/>
            </p:grpSpPr>
            <p:sp>
              <p:nvSpPr>
                <p:cNvPr id="5117" name="Freeform 4307">
                  <a:extLst>
                    <a:ext uri="{FF2B5EF4-FFF2-40B4-BE49-F238E27FC236}">
                      <a16:creationId xmlns:a16="http://schemas.microsoft.com/office/drawing/2014/main" id="{FD2FDA6C-FA6E-78B8-FA47-6E33194873FE}"/>
                    </a:ext>
                  </a:extLst>
                </p:cNvPr>
                <p:cNvSpPr/>
                <p:nvPr/>
              </p:nvSpPr>
              <p:spPr>
                <a:xfrm>
                  <a:off x="5313081" y="5962401"/>
                  <a:ext cx="12847" cy="50445"/>
                </a:xfrm>
                <a:custGeom>
                  <a:avLst/>
                  <a:gdLst>
                    <a:gd name="connsiteX0" fmla="*/ 51 w 12847"/>
                    <a:gd name="connsiteY0" fmla="*/ 0 h 50445"/>
                    <a:gd name="connsiteX1" fmla="*/ 2916 w 12847"/>
                    <a:gd name="connsiteY1" fmla="*/ 18559 h 50445"/>
                    <a:gd name="connsiteX2" fmla="*/ 10639 w 12847"/>
                    <a:gd name="connsiteY2" fmla="*/ 34129 h 50445"/>
                    <a:gd name="connsiteX3" fmla="*/ 12756 w 1284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847" h="50445">
                      <a:moveTo>
                        <a:pt x="51" y="0"/>
                      </a:moveTo>
                      <a:cubicBezTo>
                        <a:pt x="-322" y="8470"/>
                        <a:pt x="1422" y="14573"/>
                        <a:pt x="2916" y="18559"/>
                      </a:cubicBezTo>
                      <a:cubicBezTo>
                        <a:pt x="5532" y="25036"/>
                        <a:pt x="8272" y="27527"/>
                        <a:pt x="10639" y="34129"/>
                      </a:cubicBezTo>
                      <a:cubicBezTo>
                        <a:pt x="12881" y="40606"/>
                        <a:pt x="13005" y="46584"/>
                        <a:pt x="1275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8" name="Freeform 4308">
                  <a:extLst>
                    <a:ext uri="{FF2B5EF4-FFF2-40B4-BE49-F238E27FC236}">
                      <a16:creationId xmlns:a16="http://schemas.microsoft.com/office/drawing/2014/main" id="{050B5850-11E7-D2AB-0FFD-A0D4BF8528DE}"/>
                    </a:ext>
                  </a:extLst>
                </p:cNvPr>
                <p:cNvSpPr/>
                <p:nvPr/>
              </p:nvSpPr>
              <p:spPr>
                <a:xfrm>
                  <a:off x="5318612" y="5955675"/>
                  <a:ext cx="14199" cy="50196"/>
                </a:xfrm>
                <a:custGeom>
                  <a:avLst/>
                  <a:gdLst>
                    <a:gd name="connsiteX0" fmla="*/ 14200 w 14199"/>
                    <a:gd name="connsiteY0" fmla="*/ 50197 h 50196"/>
                    <a:gd name="connsiteX1" fmla="*/ 7474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4" y="32634"/>
                      </a:cubicBezTo>
                      <a:cubicBezTo>
                        <a:pt x="6477" y="25659"/>
                        <a:pt x="7723" y="22171"/>
                        <a:pt x="6353"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9" name="Freeform 4309">
                  <a:extLst>
                    <a:ext uri="{FF2B5EF4-FFF2-40B4-BE49-F238E27FC236}">
                      <a16:creationId xmlns:a16="http://schemas.microsoft.com/office/drawing/2014/main" id="{9090F8C0-F815-0407-5284-A65824E87262}"/>
                    </a:ext>
                  </a:extLst>
                </p:cNvPr>
                <p:cNvSpPr/>
                <p:nvPr/>
              </p:nvSpPr>
              <p:spPr>
                <a:xfrm>
                  <a:off x="5301480" y="5941399"/>
                  <a:ext cx="26666" cy="26426"/>
                </a:xfrm>
                <a:custGeom>
                  <a:avLst/>
                  <a:gdLst>
                    <a:gd name="connsiteX0" fmla="*/ 26225 w 26666"/>
                    <a:gd name="connsiteY0" fmla="*/ 9792 h 26426"/>
                    <a:gd name="connsiteX1" fmla="*/ 16758 w 26666"/>
                    <a:gd name="connsiteY1" fmla="*/ 25985 h 26426"/>
                    <a:gd name="connsiteX2" fmla="*/ 441 w 26666"/>
                    <a:gd name="connsiteY2" fmla="*/ 16643 h 26426"/>
                    <a:gd name="connsiteX3" fmla="*/ 9908 w 26666"/>
                    <a:gd name="connsiteY3" fmla="*/ 450 h 26426"/>
                    <a:gd name="connsiteX4" fmla="*/ 26225 w 26666"/>
                    <a:gd name="connsiteY4" fmla="*/ 9792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426">
                      <a:moveTo>
                        <a:pt x="26225" y="9792"/>
                      </a:moveTo>
                      <a:cubicBezTo>
                        <a:pt x="28093" y="16892"/>
                        <a:pt x="23858" y="24116"/>
                        <a:pt x="16758" y="25985"/>
                      </a:cubicBezTo>
                      <a:cubicBezTo>
                        <a:pt x="9658" y="27853"/>
                        <a:pt x="2310" y="23618"/>
                        <a:pt x="441" y="16643"/>
                      </a:cubicBezTo>
                      <a:cubicBezTo>
                        <a:pt x="-1427" y="9668"/>
                        <a:pt x="2808" y="2319"/>
                        <a:pt x="9908" y="450"/>
                      </a:cubicBezTo>
                      <a:cubicBezTo>
                        <a:pt x="17007" y="-1418"/>
                        <a:pt x="24356" y="2692"/>
                        <a:pt x="26225" y="97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0" name="Freeform 4310">
                  <a:extLst>
                    <a:ext uri="{FF2B5EF4-FFF2-40B4-BE49-F238E27FC236}">
                      <a16:creationId xmlns:a16="http://schemas.microsoft.com/office/drawing/2014/main" id="{0FBC341F-290A-431E-9067-B629C0CC4DD9}"/>
                    </a:ext>
                  </a:extLst>
                </p:cNvPr>
                <p:cNvSpPr/>
                <p:nvPr/>
              </p:nvSpPr>
              <p:spPr>
                <a:xfrm>
                  <a:off x="5335336" y="6014715"/>
                  <a:ext cx="12822" cy="50446"/>
                </a:xfrm>
                <a:custGeom>
                  <a:avLst/>
                  <a:gdLst>
                    <a:gd name="connsiteX0" fmla="*/ 12796 w 12822"/>
                    <a:gd name="connsiteY0" fmla="*/ 50446 h 50446"/>
                    <a:gd name="connsiteX1" fmla="*/ 9932 w 12822"/>
                    <a:gd name="connsiteY1" fmla="*/ 31887 h 50446"/>
                    <a:gd name="connsiteX2" fmla="*/ 2209 w 12822"/>
                    <a:gd name="connsiteY2" fmla="*/ 16317 h 50446"/>
                    <a:gd name="connsiteX3" fmla="*/ 92 w 12822"/>
                    <a:gd name="connsiteY3" fmla="*/ 0 h 50446"/>
                  </a:gdLst>
                  <a:ahLst/>
                  <a:cxnLst>
                    <a:cxn ang="0">
                      <a:pos x="connsiteX0" y="connsiteY0"/>
                    </a:cxn>
                    <a:cxn ang="0">
                      <a:pos x="connsiteX1" y="connsiteY1"/>
                    </a:cxn>
                    <a:cxn ang="0">
                      <a:pos x="connsiteX2" y="connsiteY2"/>
                    </a:cxn>
                    <a:cxn ang="0">
                      <a:pos x="connsiteX3" y="connsiteY3"/>
                    </a:cxn>
                  </a:cxnLst>
                  <a:rect l="l" t="t" r="r" b="b"/>
                  <a:pathLst>
                    <a:path w="12822" h="50446">
                      <a:moveTo>
                        <a:pt x="12796" y="50446"/>
                      </a:moveTo>
                      <a:cubicBezTo>
                        <a:pt x="13046" y="42101"/>
                        <a:pt x="11426" y="35873"/>
                        <a:pt x="9932" y="31887"/>
                      </a:cubicBezTo>
                      <a:cubicBezTo>
                        <a:pt x="7441" y="25410"/>
                        <a:pt x="4576" y="22919"/>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1" name="Freeform 4311">
                  <a:extLst>
                    <a:ext uri="{FF2B5EF4-FFF2-40B4-BE49-F238E27FC236}">
                      <a16:creationId xmlns:a16="http://schemas.microsoft.com/office/drawing/2014/main" id="{DCF76F72-80BA-A925-5C8B-97C8C3CA43E3}"/>
                    </a:ext>
                  </a:extLst>
                </p:cNvPr>
                <p:cNvSpPr/>
                <p:nvPr/>
              </p:nvSpPr>
              <p:spPr>
                <a:xfrm>
                  <a:off x="5328452" y="6021566"/>
                  <a:ext cx="14199" cy="50072"/>
                </a:xfrm>
                <a:custGeom>
                  <a:avLst/>
                  <a:gdLst>
                    <a:gd name="connsiteX0" fmla="*/ 0 w 14199"/>
                    <a:gd name="connsiteY0" fmla="*/ 0 h 50072"/>
                    <a:gd name="connsiteX1" fmla="*/ 6726 w 14199"/>
                    <a:gd name="connsiteY1" fmla="*/ 17563 h 50072"/>
                    <a:gd name="connsiteX2" fmla="*/ 7847 w 14199"/>
                    <a:gd name="connsiteY2" fmla="*/ 34876 h 50072"/>
                    <a:gd name="connsiteX3" fmla="*/ 14199 w 1419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199" h="50072">
                      <a:moveTo>
                        <a:pt x="0" y="0"/>
                      </a:moveTo>
                      <a:cubicBezTo>
                        <a:pt x="4484" y="7099"/>
                        <a:pt x="6103" y="13203"/>
                        <a:pt x="6726" y="17563"/>
                      </a:cubicBezTo>
                      <a:cubicBezTo>
                        <a:pt x="7723" y="24538"/>
                        <a:pt x="6477" y="28025"/>
                        <a:pt x="7847" y="34876"/>
                      </a:cubicBezTo>
                      <a:cubicBezTo>
                        <a:pt x="9217" y="41602"/>
                        <a:pt x="11957" y="46833"/>
                        <a:pt x="14199"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2" name="Freeform 4312">
                  <a:extLst>
                    <a:ext uri="{FF2B5EF4-FFF2-40B4-BE49-F238E27FC236}">
                      <a16:creationId xmlns:a16="http://schemas.microsoft.com/office/drawing/2014/main" id="{16F8197A-5C6E-5187-19B8-145E985AD3F2}"/>
                    </a:ext>
                  </a:extLst>
                </p:cNvPr>
                <p:cNvSpPr/>
                <p:nvPr/>
              </p:nvSpPr>
              <p:spPr>
                <a:xfrm>
                  <a:off x="5333234" y="6059613"/>
                  <a:ext cx="26434" cy="26541"/>
                </a:xfrm>
                <a:custGeom>
                  <a:avLst/>
                  <a:gdLst>
                    <a:gd name="connsiteX0" fmla="*/ 450 w 26434"/>
                    <a:gd name="connsiteY0" fmla="*/ 16634 h 26541"/>
                    <a:gd name="connsiteX1" fmla="*/ 9792 w 26434"/>
                    <a:gd name="connsiteY1" fmla="*/ 441 h 26541"/>
                    <a:gd name="connsiteX2" fmla="*/ 25985 w 26434"/>
                    <a:gd name="connsiteY2" fmla="*/ 9907 h 26541"/>
                    <a:gd name="connsiteX3" fmla="*/ 16643 w 26434"/>
                    <a:gd name="connsiteY3" fmla="*/ 26100 h 26541"/>
                    <a:gd name="connsiteX4" fmla="*/ 450 w 26434"/>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6541">
                      <a:moveTo>
                        <a:pt x="450" y="16634"/>
                      </a:moveTo>
                      <a:cubicBezTo>
                        <a:pt x="-1418" y="9534"/>
                        <a:pt x="2692" y="2310"/>
                        <a:pt x="9792" y="441"/>
                      </a:cubicBezTo>
                      <a:cubicBezTo>
                        <a:pt x="16767" y="-1427"/>
                        <a:pt x="24116" y="2808"/>
                        <a:pt x="25985" y="9907"/>
                      </a:cubicBezTo>
                      <a:cubicBezTo>
                        <a:pt x="27853" y="17007"/>
                        <a:pt x="23742" y="24232"/>
                        <a:pt x="16643" y="26100"/>
                      </a:cubicBezTo>
                      <a:cubicBezTo>
                        <a:pt x="9543" y="27968"/>
                        <a:pt x="2443"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8" name="Graphic 2987">
                <a:extLst>
                  <a:ext uri="{FF2B5EF4-FFF2-40B4-BE49-F238E27FC236}">
                    <a16:creationId xmlns:a16="http://schemas.microsoft.com/office/drawing/2014/main" id="{E5A837F2-B39B-16E1-A2EC-8054A6786998}"/>
                  </a:ext>
                </a:extLst>
              </p:cNvPr>
              <p:cNvGrpSpPr/>
              <p:nvPr/>
            </p:nvGrpSpPr>
            <p:grpSpPr>
              <a:xfrm>
                <a:off x="5330211" y="5933758"/>
                <a:ext cx="57848" cy="144798"/>
                <a:chOff x="5330211" y="5933758"/>
                <a:chExt cx="57848" cy="144798"/>
              </a:xfrm>
              <a:grpFill/>
            </p:grpSpPr>
            <p:sp>
              <p:nvSpPr>
                <p:cNvPr id="5111" name="Freeform 4314">
                  <a:extLst>
                    <a:ext uri="{FF2B5EF4-FFF2-40B4-BE49-F238E27FC236}">
                      <a16:creationId xmlns:a16="http://schemas.microsoft.com/office/drawing/2014/main" id="{2C18FB45-0AC2-F4BF-5648-CBAECF51D536}"/>
                    </a:ext>
                  </a:extLst>
                </p:cNvPr>
                <p:cNvSpPr/>
                <p:nvPr/>
              </p:nvSpPr>
              <p:spPr>
                <a:xfrm>
                  <a:off x="5341850" y="5954803"/>
                  <a:ext cx="12850" cy="50570"/>
                </a:xfrm>
                <a:custGeom>
                  <a:avLst/>
                  <a:gdLst>
                    <a:gd name="connsiteX0" fmla="*/ 54 w 12850"/>
                    <a:gd name="connsiteY0" fmla="*/ 0 h 50570"/>
                    <a:gd name="connsiteX1" fmla="*/ 2919 w 12850"/>
                    <a:gd name="connsiteY1" fmla="*/ 18559 h 50570"/>
                    <a:gd name="connsiteX2" fmla="*/ 10642 w 12850"/>
                    <a:gd name="connsiteY2" fmla="*/ 34253 h 50570"/>
                    <a:gd name="connsiteX3" fmla="*/ 12759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54" y="0"/>
                      </a:moveTo>
                      <a:cubicBezTo>
                        <a:pt x="-319" y="8470"/>
                        <a:pt x="1300" y="14573"/>
                        <a:pt x="2919" y="18559"/>
                      </a:cubicBezTo>
                      <a:cubicBezTo>
                        <a:pt x="5410" y="25036"/>
                        <a:pt x="8275" y="27527"/>
                        <a:pt x="10642" y="34253"/>
                      </a:cubicBezTo>
                      <a:cubicBezTo>
                        <a:pt x="12884" y="40731"/>
                        <a:pt x="13008" y="46709"/>
                        <a:pt x="1275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2" name="Freeform 4315">
                  <a:extLst>
                    <a:ext uri="{FF2B5EF4-FFF2-40B4-BE49-F238E27FC236}">
                      <a16:creationId xmlns:a16="http://schemas.microsoft.com/office/drawing/2014/main" id="{928738BA-4294-7FFD-D457-D801373CBB87}"/>
                    </a:ext>
                  </a:extLst>
                </p:cNvPr>
                <p:cNvSpPr/>
                <p:nvPr/>
              </p:nvSpPr>
              <p:spPr>
                <a:xfrm>
                  <a:off x="5347510" y="5947952"/>
                  <a:ext cx="13950" cy="50321"/>
                </a:xfrm>
                <a:custGeom>
                  <a:avLst/>
                  <a:gdLst>
                    <a:gd name="connsiteX0" fmla="*/ 13950 w 13950"/>
                    <a:gd name="connsiteY0" fmla="*/ 50321 h 50321"/>
                    <a:gd name="connsiteX1" fmla="*/ 7224 w 13950"/>
                    <a:gd name="connsiteY1" fmla="*/ 32759 h 50321"/>
                    <a:gd name="connsiteX2" fmla="*/ 6228 w 13950"/>
                    <a:gd name="connsiteY2" fmla="*/ 15320 h 50321"/>
                    <a:gd name="connsiteX3" fmla="*/ 0 w 13950"/>
                    <a:gd name="connsiteY3" fmla="*/ 0 h 50321"/>
                  </a:gdLst>
                  <a:ahLst/>
                  <a:cxnLst>
                    <a:cxn ang="0">
                      <a:pos x="connsiteX0" y="connsiteY0"/>
                    </a:cxn>
                    <a:cxn ang="0">
                      <a:pos x="connsiteX1" y="connsiteY1"/>
                    </a:cxn>
                    <a:cxn ang="0">
                      <a:pos x="connsiteX2" y="connsiteY2"/>
                    </a:cxn>
                    <a:cxn ang="0">
                      <a:pos x="connsiteX3" y="connsiteY3"/>
                    </a:cxn>
                  </a:cxnLst>
                  <a:rect l="l" t="t" r="r" b="b"/>
                  <a:pathLst>
                    <a:path w="13950" h="50321">
                      <a:moveTo>
                        <a:pt x="13950" y="50321"/>
                      </a:moveTo>
                      <a:cubicBezTo>
                        <a:pt x="9466" y="43222"/>
                        <a:pt x="7847" y="36994"/>
                        <a:pt x="7224" y="32759"/>
                      </a:cubicBezTo>
                      <a:cubicBezTo>
                        <a:pt x="6228" y="25784"/>
                        <a:pt x="7474" y="22296"/>
                        <a:pt x="6228" y="15320"/>
                      </a:cubicBezTo>
                      <a:cubicBezTo>
                        <a:pt x="4982"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3" name="Freeform 4316">
                  <a:extLst>
                    <a:ext uri="{FF2B5EF4-FFF2-40B4-BE49-F238E27FC236}">
                      <a16:creationId xmlns:a16="http://schemas.microsoft.com/office/drawing/2014/main" id="{D79DB75F-CCE9-CA0F-9CCC-3F969DE28C1F}"/>
                    </a:ext>
                  </a:extLst>
                </p:cNvPr>
                <p:cNvSpPr/>
                <p:nvPr/>
              </p:nvSpPr>
              <p:spPr>
                <a:xfrm>
                  <a:off x="5330211" y="5933758"/>
                  <a:ext cx="26708" cy="26469"/>
                </a:xfrm>
                <a:custGeom>
                  <a:avLst/>
                  <a:gdLst>
                    <a:gd name="connsiteX0" fmla="*/ 26267 w 26708"/>
                    <a:gd name="connsiteY0" fmla="*/ 9835 h 26469"/>
                    <a:gd name="connsiteX1" fmla="*/ 16801 w 26708"/>
                    <a:gd name="connsiteY1" fmla="*/ 26027 h 26469"/>
                    <a:gd name="connsiteX2" fmla="*/ 484 w 26708"/>
                    <a:gd name="connsiteY2" fmla="*/ 16685 h 26469"/>
                    <a:gd name="connsiteX3" fmla="*/ 9950 w 26708"/>
                    <a:gd name="connsiteY3" fmla="*/ 493 h 26469"/>
                    <a:gd name="connsiteX4" fmla="*/ 26267 w 26708"/>
                    <a:gd name="connsiteY4" fmla="*/ 9835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9">
                      <a:moveTo>
                        <a:pt x="26267" y="9835"/>
                      </a:moveTo>
                      <a:cubicBezTo>
                        <a:pt x="28136" y="16935"/>
                        <a:pt x="23901" y="24159"/>
                        <a:pt x="16801" y="26027"/>
                      </a:cubicBezTo>
                      <a:cubicBezTo>
                        <a:pt x="9701" y="27896"/>
                        <a:pt x="2477" y="23661"/>
                        <a:pt x="484" y="16685"/>
                      </a:cubicBezTo>
                      <a:cubicBezTo>
                        <a:pt x="-1509" y="9710"/>
                        <a:pt x="2851" y="2361"/>
                        <a:pt x="9950" y="493"/>
                      </a:cubicBezTo>
                      <a:cubicBezTo>
                        <a:pt x="17175" y="-1500"/>
                        <a:pt x="24399" y="2735"/>
                        <a:pt x="26267" y="9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4" name="Freeform 4317">
                  <a:extLst>
                    <a:ext uri="{FF2B5EF4-FFF2-40B4-BE49-F238E27FC236}">
                      <a16:creationId xmlns:a16="http://schemas.microsoft.com/office/drawing/2014/main" id="{98C31516-25D4-12E3-FCA7-7957444CCF9F}"/>
                    </a:ext>
                  </a:extLst>
                </p:cNvPr>
                <p:cNvSpPr/>
                <p:nvPr/>
              </p:nvSpPr>
              <p:spPr>
                <a:xfrm>
                  <a:off x="5363860" y="6006992"/>
                  <a:ext cx="12726" cy="50570"/>
                </a:xfrm>
                <a:custGeom>
                  <a:avLst/>
                  <a:gdLst>
                    <a:gd name="connsiteX0" fmla="*/ 12672 w 12726"/>
                    <a:gd name="connsiteY0" fmla="*/ 50570 h 50570"/>
                    <a:gd name="connsiteX1" fmla="*/ 9807 w 12726"/>
                    <a:gd name="connsiteY1" fmla="*/ 32011 h 50570"/>
                    <a:gd name="connsiteX2" fmla="*/ 2209 w 12726"/>
                    <a:gd name="connsiteY2" fmla="*/ 16317 h 50570"/>
                    <a:gd name="connsiteX3" fmla="*/ 92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50570"/>
                      </a:moveTo>
                      <a:cubicBezTo>
                        <a:pt x="13045" y="42101"/>
                        <a:pt x="11426" y="35997"/>
                        <a:pt x="9807" y="32011"/>
                      </a:cubicBezTo>
                      <a:cubicBezTo>
                        <a:pt x="7316" y="25534"/>
                        <a:pt x="4451" y="23043"/>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5" name="Freeform 4318">
                  <a:extLst>
                    <a:ext uri="{FF2B5EF4-FFF2-40B4-BE49-F238E27FC236}">
                      <a16:creationId xmlns:a16="http://schemas.microsoft.com/office/drawing/2014/main" id="{B00163B0-8CD2-8F91-D449-E6D807DBBD2F}"/>
                    </a:ext>
                  </a:extLst>
                </p:cNvPr>
                <p:cNvSpPr/>
                <p:nvPr/>
              </p:nvSpPr>
              <p:spPr>
                <a:xfrm>
                  <a:off x="5357101" y="6013968"/>
                  <a:ext cx="14075" cy="50321"/>
                </a:xfrm>
                <a:custGeom>
                  <a:avLst/>
                  <a:gdLst>
                    <a:gd name="connsiteX0" fmla="*/ 0 w 14075"/>
                    <a:gd name="connsiteY0" fmla="*/ 0 h 50321"/>
                    <a:gd name="connsiteX1" fmla="*/ 6726 w 14075"/>
                    <a:gd name="connsiteY1" fmla="*/ 17563 h 50321"/>
                    <a:gd name="connsiteX2" fmla="*/ 7847 w 14075"/>
                    <a:gd name="connsiteY2" fmla="*/ 35001 h 50321"/>
                    <a:gd name="connsiteX3" fmla="*/ 14075 w 1407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4075" h="50321">
                      <a:moveTo>
                        <a:pt x="0" y="0"/>
                      </a:moveTo>
                      <a:cubicBezTo>
                        <a:pt x="4484" y="7100"/>
                        <a:pt x="6103" y="13328"/>
                        <a:pt x="6726" y="17563"/>
                      </a:cubicBezTo>
                      <a:cubicBezTo>
                        <a:pt x="7723" y="24538"/>
                        <a:pt x="6477" y="28025"/>
                        <a:pt x="7847" y="35001"/>
                      </a:cubicBezTo>
                      <a:cubicBezTo>
                        <a:pt x="9093" y="41727"/>
                        <a:pt x="11957" y="46958"/>
                        <a:pt x="14075"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6" name="Freeform 4319">
                  <a:extLst>
                    <a:ext uri="{FF2B5EF4-FFF2-40B4-BE49-F238E27FC236}">
                      <a16:creationId xmlns:a16="http://schemas.microsoft.com/office/drawing/2014/main" id="{FE46CF2A-FD7A-637F-8C54-E6990D2C1B7E}"/>
                    </a:ext>
                  </a:extLst>
                </p:cNvPr>
                <p:cNvSpPr/>
                <p:nvPr/>
              </p:nvSpPr>
              <p:spPr>
                <a:xfrm>
                  <a:off x="5361757" y="6052015"/>
                  <a:ext cx="26301" cy="26541"/>
                </a:xfrm>
                <a:custGeom>
                  <a:avLst/>
                  <a:gdLst>
                    <a:gd name="connsiteX0" fmla="*/ 450 w 26301"/>
                    <a:gd name="connsiteY0" fmla="*/ 16634 h 26541"/>
                    <a:gd name="connsiteX1" fmla="*/ 9792 w 26301"/>
                    <a:gd name="connsiteY1" fmla="*/ 441 h 26541"/>
                    <a:gd name="connsiteX2" fmla="*/ 25860 w 26301"/>
                    <a:gd name="connsiteY2" fmla="*/ 9908 h 26541"/>
                    <a:gd name="connsiteX3" fmla="*/ 16518 w 26301"/>
                    <a:gd name="connsiteY3" fmla="*/ 26100 h 26541"/>
                    <a:gd name="connsiteX4" fmla="*/ 450 w 2630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541">
                      <a:moveTo>
                        <a:pt x="450" y="16634"/>
                      </a:moveTo>
                      <a:cubicBezTo>
                        <a:pt x="-1418" y="9534"/>
                        <a:pt x="2692" y="2310"/>
                        <a:pt x="9792" y="441"/>
                      </a:cubicBezTo>
                      <a:cubicBezTo>
                        <a:pt x="16767" y="-1427"/>
                        <a:pt x="23992" y="2808"/>
                        <a:pt x="25860" y="9908"/>
                      </a:cubicBezTo>
                      <a:cubicBezTo>
                        <a:pt x="27728" y="17008"/>
                        <a:pt x="23493" y="24232"/>
                        <a:pt x="16518" y="26100"/>
                      </a:cubicBezTo>
                      <a:cubicBezTo>
                        <a:pt x="9543" y="27969"/>
                        <a:pt x="2318"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9" name="Graphic 2987">
                <a:extLst>
                  <a:ext uri="{FF2B5EF4-FFF2-40B4-BE49-F238E27FC236}">
                    <a16:creationId xmlns:a16="http://schemas.microsoft.com/office/drawing/2014/main" id="{9E2ECA7F-18BD-BB27-1225-9056B5BF7BB2}"/>
                  </a:ext>
                </a:extLst>
              </p:cNvPr>
              <p:cNvGrpSpPr/>
              <p:nvPr/>
            </p:nvGrpSpPr>
            <p:grpSpPr>
              <a:xfrm>
                <a:off x="5359151" y="5926012"/>
                <a:ext cx="57307" cy="145071"/>
                <a:chOff x="5359151" y="5926012"/>
                <a:chExt cx="57307" cy="145071"/>
              </a:xfrm>
              <a:grpFill/>
            </p:grpSpPr>
            <p:sp>
              <p:nvSpPr>
                <p:cNvPr id="5105" name="Freeform 4321">
                  <a:extLst>
                    <a:ext uri="{FF2B5EF4-FFF2-40B4-BE49-F238E27FC236}">
                      <a16:creationId xmlns:a16="http://schemas.microsoft.com/office/drawing/2014/main" id="{68F6645B-9295-78DF-DB23-561D49C981CF}"/>
                    </a:ext>
                  </a:extLst>
                </p:cNvPr>
                <p:cNvSpPr/>
                <p:nvPr/>
              </p:nvSpPr>
              <p:spPr>
                <a:xfrm>
                  <a:off x="5370623" y="5947080"/>
                  <a:ext cx="12672" cy="50695"/>
                </a:xfrm>
                <a:custGeom>
                  <a:avLst/>
                  <a:gdLst>
                    <a:gd name="connsiteX0" fmla="*/ 54 w 12672"/>
                    <a:gd name="connsiteY0" fmla="*/ 0 h 50695"/>
                    <a:gd name="connsiteX1" fmla="*/ 2919 w 12672"/>
                    <a:gd name="connsiteY1" fmla="*/ 18559 h 50695"/>
                    <a:gd name="connsiteX2" fmla="*/ 10517 w 12672"/>
                    <a:gd name="connsiteY2" fmla="*/ 34253 h 50695"/>
                    <a:gd name="connsiteX3" fmla="*/ 12510 w 12672"/>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672" h="50695">
                      <a:moveTo>
                        <a:pt x="54" y="0"/>
                      </a:moveTo>
                      <a:cubicBezTo>
                        <a:pt x="-319" y="8470"/>
                        <a:pt x="1300" y="14573"/>
                        <a:pt x="2919" y="18559"/>
                      </a:cubicBezTo>
                      <a:cubicBezTo>
                        <a:pt x="5410" y="25036"/>
                        <a:pt x="8275" y="27527"/>
                        <a:pt x="10517" y="34253"/>
                      </a:cubicBezTo>
                      <a:cubicBezTo>
                        <a:pt x="12759" y="40730"/>
                        <a:pt x="12884" y="46709"/>
                        <a:pt x="1251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6" name="Freeform 4322">
                  <a:extLst>
                    <a:ext uri="{FF2B5EF4-FFF2-40B4-BE49-F238E27FC236}">
                      <a16:creationId xmlns:a16="http://schemas.microsoft.com/office/drawing/2014/main" id="{E6DF8688-82E1-A553-64DE-4F398E843CC6}"/>
                    </a:ext>
                  </a:extLst>
                </p:cNvPr>
                <p:cNvSpPr/>
                <p:nvPr/>
              </p:nvSpPr>
              <p:spPr>
                <a:xfrm>
                  <a:off x="5376158" y="5940354"/>
                  <a:ext cx="13826" cy="50321"/>
                </a:xfrm>
                <a:custGeom>
                  <a:avLst/>
                  <a:gdLst>
                    <a:gd name="connsiteX0" fmla="*/ 13826 w 13826"/>
                    <a:gd name="connsiteY0" fmla="*/ 50321 h 50321"/>
                    <a:gd name="connsiteX1" fmla="*/ 7225 w 13826"/>
                    <a:gd name="connsiteY1" fmla="*/ 32759 h 50321"/>
                    <a:gd name="connsiteX2" fmla="*/ 6228 w 13826"/>
                    <a:gd name="connsiteY2" fmla="*/ 15321 h 50321"/>
                    <a:gd name="connsiteX3" fmla="*/ 0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50321"/>
                      </a:moveTo>
                      <a:cubicBezTo>
                        <a:pt x="9342" y="43222"/>
                        <a:pt x="7847" y="36994"/>
                        <a:pt x="7225" y="32759"/>
                      </a:cubicBezTo>
                      <a:cubicBezTo>
                        <a:pt x="6228" y="25784"/>
                        <a:pt x="7474" y="22296"/>
                        <a:pt x="6228" y="15321"/>
                      </a:cubicBezTo>
                      <a:cubicBezTo>
                        <a:pt x="4982"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7" name="Freeform 4323">
                  <a:extLst>
                    <a:ext uri="{FF2B5EF4-FFF2-40B4-BE49-F238E27FC236}">
                      <a16:creationId xmlns:a16="http://schemas.microsoft.com/office/drawing/2014/main" id="{C34548B7-9ED5-7A94-6D93-6E0DD531995D}"/>
                    </a:ext>
                  </a:extLst>
                </p:cNvPr>
                <p:cNvSpPr/>
                <p:nvPr/>
              </p:nvSpPr>
              <p:spPr>
                <a:xfrm>
                  <a:off x="5359151" y="5926012"/>
                  <a:ext cx="26541" cy="26492"/>
                </a:xfrm>
                <a:custGeom>
                  <a:avLst/>
                  <a:gdLst>
                    <a:gd name="connsiteX0" fmla="*/ 26100 w 26541"/>
                    <a:gd name="connsiteY0" fmla="*/ 9859 h 26492"/>
                    <a:gd name="connsiteX1" fmla="*/ 16634 w 26541"/>
                    <a:gd name="connsiteY1" fmla="*/ 26051 h 26492"/>
                    <a:gd name="connsiteX2" fmla="*/ 441 w 26541"/>
                    <a:gd name="connsiteY2" fmla="*/ 16585 h 26492"/>
                    <a:gd name="connsiteX3" fmla="*/ 9907 w 26541"/>
                    <a:gd name="connsiteY3" fmla="*/ 392 h 26492"/>
                    <a:gd name="connsiteX4" fmla="*/ 26100 w 26541"/>
                    <a:gd name="connsiteY4" fmla="*/ 9859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92">
                      <a:moveTo>
                        <a:pt x="26100" y="9859"/>
                      </a:moveTo>
                      <a:cubicBezTo>
                        <a:pt x="27968" y="16958"/>
                        <a:pt x="23734" y="24183"/>
                        <a:pt x="16634" y="26051"/>
                      </a:cubicBezTo>
                      <a:cubicBezTo>
                        <a:pt x="9534" y="27919"/>
                        <a:pt x="2310" y="23684"/>
                        <a:pt x="441" y="16585"/>
                      </a:cubicBezTo>
                      <a:cubicBezTo>
                        <a:pt x="-1427" y="9485"/>
                        <a:pt x="2808" y="2260"/>
                        <a:pt x="9907" y="392"/>
                      </a:cubicBezTo>
                      <a:cubicBezTo>
                        <a:pt x="17007" y="-1352"/>
                        <a:pt x="24232" y="2883"/>
                        <a:pt x="26100" y="98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8" name="Freeform 4324">
                  <a:extLst>
                    <a:ext uri="{FF2B5EF4-FFF2-40B4-BE49-F238E27FC236}">
                      <a16:creationId xmlns:a16="http://schemas.microsoft.com/office/drawing/2014/main" id="{F5796539-0005-C607-A3B9-8BE081B16D59}"/>
                    </a:ext>
                  </a:extLst>
                </p:cNvPr>
                <p:cNvSpPr/>
                <p:nvPr/>
              </p:nvSpPr>
              <p:spPr>
                <a:xfrm>
                  <a:off x="5392438" y="5999270"/>
                  <a:ext cx="12672" cy="50695"/>
                </a:xfrm>
                <a:custGeom>
                  <a:avLst/>
                  <a:gdLst>
                    <a:gd name="connsiteX0" fmla="*/ 12618 w 12672"/>
                    <a:gd name="connsiteY0" fmla="*/ 50695 h 50695"/>
                    <a:gd name="connsiteX1" fmla="*/ 9753 w 12672"/>
                    <a:gd name="connsiteY1" fmla="*/ 32136 h 50695"/>
                    <a:gd name="connsiteX2" fmla="*/ 2155 w 12672"/>
                    <a:gd name="connsiteY2" fmla="*/ 16442 h 50695"/>
                    <a:gd name="connsiteX3" fmla="*/ 162 w 12672"/>
                    <a:gd name="connsiteY3" fmla="*/ 0 h 50695"/>
                  </a:gdLst>
                  <a:ahLst/>
                  <a:cxnLst>
                    <a:cxn ang="0">
                      <a:pos x="connsiteX0" y="connsiteY0"/>
                    </a:cxn>
                    <a:cxn ang="0">
                      <a:pos x="connsiteX1" y="connsiteY1"/>
                    </a:cxn>
                    <a:cxn ang="0">
                      <a:pos x="connsiteX2" y="connsiteY2"/>
                    </a:cxn>
                    <a:cxn ang="0">
                      <a:pos x="connsiteX3" y="connsiteY3"/>
                    </a:cxn>
                  </a:cxnLst>
                  <a:rect l="l" t="t" r="r" b="b"/>
                  <a:pathLst>
                    <a:path w="12672" h="50695">
                      <a:moveTo>
                        <a:pt x="12618" y="50695"/>
                      </a:moveTo>
                      <a:cubicBezTo>
                        <a:pt x="12991" y="42225"/>
                        <a:pt x="11372" y="36122"/>
                        <a:pt x="9753" y="32136"/>
                      </a:cubicBezTo>
                      <a:cubicBezTo>
                        <a:pt x="7262" y="25659"/>
                        <a:pt x="4397" y="23168"/>
                        <a:pt x="2155" y="16442"/>
                      </a:cubicBezTo>
                      <a:cubicBezTo>
                        <a:pt x="-87" y="9964"/>
                        <a:pt x="-212" y="3986"/>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9" name="Freeform 4325">
                  <a:extLst>
                    <a:ext uri="{FF2B5EF4-FFF2-40B4-BE49-F238E27FC236}">
                      <a16:creationId xmlns:a16="http://schemas.microsoft.com/office/drawing/2014/main" id="{039B3DDF-6731-A133-6651-571752F10228}"/>
                    </a:ext>
                  </a:extLst>
                </p:cNvPr>
                <p:cNvSpPr/>
                <p:nvPr/>
              </p:nvSpPr>
              <p:spPr>
                <a:xfrm>
                  <a:off x="5385624" y="6006370"/>
                  <a:ext cx="13825" cy="50321"/>
                </a:xfrm>
                <a:custGeom>
                  <a:avLst/>
                  <a:gdLst>
                    <a:gd name="connsiteX0" fmla="*/ 0 w 13825"/>
                    <a:gd name="connsiteY0" fmla="*/ 0 h 50321"/>
                    <a:gd name="connsiteX1" fmla="*/ 6602 w 13825"/>
                    <a:gd name="connsiteY1" fmla="*/ 17563 h 50321"/>
                    <a:gd name="connsiteX2" fmla="*/ 7598 w 13825"/>
                    <a:gd name="connsiteY2" fmla="*/ 35001 h 50321"/>
                    <a:gd name="connsiteX3" fmla="*/ 13826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0" y="0"/>
                      </a:moveTo>
                      <a:cubicBezTo>
                        <a:pt x="4484" y="7099"/>
                        <a:pt x="5979" y="13327"/>
                        <a:pt x="6602" y="17563"/>
                      </a:cubicBezTo>
                      <a:cubicBezTo>
                        <a:pt x="7598" y="24538"/>
                        <a:pt x="6353" y="28025"/>
                        <a:pt x="7598" y="35001"/>
                      </a:cubicBezTo>
                      <a:cubicBezTo>
                        <a:pt x="8843" y="41851"/>
                        <a:pt x="11708"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0" name="Freeform 4326">
                  <a:extLst>
                    <a:ext uri="{FF2B5EF4-FFF2-40B4-BE49-F238E27FC236}">
                      <a16:creationId xmlns:a16="http://schemas.microsoft.com/office/drawing/2014/main" id="{8186E083-B58C-6E30-9405-9887F4EB8266}"/>
                    </a:ext>
                  </a:extLst>
                </p:cNvPr>
                <p:cNvSpPr/>
                <p:nvPr/>
              </p:nvSpPr>
              <p:spPr>
                <a:xfrm>
                  <a:off x="5390165" y="6044541"/>
                  <a:ext cx="26293" cy="26541"/>
                </a:xfrm>
                <a:custGeom>
                  <a:avLst/>
                  <a:gdLst>
                    <a:gd name="connsiteX0" fmla="*/ 442 w 26293"/>
                    <a:gd name="connsiteY0" fmla="*/ 16634 h 26541"/>
                    <a:gd name="connsiteX1" fmla="*/ 9784 w 26293"/>
                    <a:gd name="connsiteY1" fmla="*/ 441 h 26541"/>
                    <a:gd name="connsiteX2" fmla="*/ 25852 w 26293"/>
                    <a:gd name="connsiteY2" fmla="*/ 9908 h 26541"/>
                    <a:gd name="connsiteX3" fmla="*/ 16510 w 26293"/>
                    <a:gd name="connsiteY3" fmla="*/ 26101 h 26541"/>
                    <a:gd name="connsiteX4" fmla="*/ 442 w 26293"/>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16634"/>
                      </a:moveTo>
                      <a:cubicBezTo>
                        <a:pt x="-1426" y="9534"/>
                        <a:pt x="2808" y="2310"/>
                        <a:pt x="9784" y="441"/>
                      </a:cubicBezTo>
                      <a:cubicBezTo>
                        <a:pt x="16759" y="-1427"/>
                        <a:pt x="23983" y="2808"/>
                        <a:pt x="25852" y="9908"/>
                      </a:cubicBezTo>
                      <a:cubicBezTo>
                        <a:pt x="27720" y="17008"/>
                        <a:pt x="23485" y="24232"/>
                        <a:pt x="16510" y="26101"/>
                      </a:cubicBezTo>
                      <a:cubicBezTo>
                        <a:pt x="9410" y="27969"/>
                        <a:pt x="2310" y="23734"/>
                        <a:pt x="442"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0" name="Graphic 2987">
                <a:extLst>
                  <a:ext uri="{FF2B5EF4-FFF2-40B4-BE49-F238E27FC236}">
                    <a16:creationId xmlns:a16="http://schemas.microsoft.com/office/drawing/2014/main" id="{B5A21A5A-A3E5-805F-3402-BBDE927336CE}"/>
                  </a:ext>
                </a:extLst>
              </p:cNvPr>
              <p:cNvGrpSpPr/>
              <p:nvPr/>
            </p:nvGrpSpPr>
            <p:grpSpPr>
              <a:xfrm>
                <a:off x="5387807" y="5918497"/>
                <a:ext cx="57174" cy="144987"/>
                <a:chOff x="5387807" y="5918497"/>
                <a:chExt cx="57174" cy="144987"/>
              </a:xfrm>
              <a:grpFill/>
            </p:grpSpPr>
            <p:sp>
              <p:nvSpPr>
                <p:cNvPr id="5099" name="Freeform 4328">
                  <a:extLst>
                    <a:ext uri="{FF2B5EF4-FFF2-40B4-BE49-F238E27FC236}">
                      <a16:creationId xmlns:a16="http://schemas.microsoft.com/office/drawing/2014/main" id="{BA674616-9896-0AB2-45F6-B4B16820F222}"/>
                    </a:ext>
                  </a:extLst>
                </p:cNvPr>
                <p:cNvSpPr/>
                <p:nvPr/>
              </p:nvSpPr>
              <p:spPr>
                <a:xfrm>
                  <a:off x="5399396" y="5939482"/>
                  <a:ext cx="12494" cy="50694"/>
                </a:xfrm>
                <a:custGeom>
                  <a:avLst/>
                  <a:gdLst>
                    <a:gd name="connsiteX0" fmla="*/ 54 w 12494"/>
                    <a:gd name="connsiteY0" fmla="*/ 0 h 50694"/>
                    <a:gd name="connsiteX1" fmla="*/ 2795 w 12494"/>
                    <a:gd name="connsiteY1" fmla="*/ 18559 h 50694"/>
                    <a:gd name="connsiteX2" fmla="*/ 10393 w 12494"/>
                    <a:gd name="connsiteY2" fmla="*/ 34253 h 50694"/>
                    <a:gd name="connsiteX3" fmla="*/ 12386 w 12494"/>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494" h="50694">
                      <a:moveTo>
                        <a:pt x="54" y="0"/>
                      </a:moveTo>
                      <a:cubicBezTo>
                        <a:pt x="-319" y="8470"/>
                        <a:pt x="1300" y="14573"/>
                        <a:pt x="2795" y="18559"/>
                      </a:cubicBezTo>
                      <a:cubicBezTo>
                        <a:pt x="5286" y="25161"/>
                        <a:pt x="8151" y="27527"/>
                        <a:pt x="10393" y="34253"/>
                      </a:cubicBezTo>
                      <a:cubicBezTo>
                        <a:pt x="12635" y="40855"/>
                        <a:pt x="12635" y="46709"/>
                        <a:pt x="1238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0" name="Freeform 4329">
                  <a:extLst>
                    <a:ext uri="{FF2B5EF4-FFF2-40B4-BE49-F238E27FC236}">
                      <a16:creationId xmlns:a16="http://schemas.microsoft.com/office/drawing/2014/main" id="{F53FD136-99E0-AB50-673B-617FF17498F7}"/>
                    </a:ext>
                  </a:extLst>
                </p:cNvPr>
                <p:cNvSpPr/>
                <p:nvPr/>
              </p:nvSpPr>
              <p:spPr>
                <a:xfrm>
                  <a:off x="5404806" y="5932881"/>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6" y="43097"/>
                        <a:pt x="7847" y="36994"/>
                        <a:pt x="7224" y="32634"/>
                      </a:cubicBezTo>
                      <a:cubicBezTo>
                        <a:pt x="6228" y="25659"/>
                        <a:pt x="7598" y="22296"/>
                        <a:pt x="6228" y="15321"/>
                      </a:cubicBezTo>
                      <a:cubicBezTo>
                        <a:pt x="498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1" name="Freeform 4330">
                  <a:extLst>
                    <a:ext uri="{FF2B5EF4-FFF2-40B4-BE49-F238E27FC236}">
                      <a16:creationId xmlns:a16="http://schemas.microsoft.com/office/drawing/2014/main" id="{1A9C0403-D6A4-68AD-02C9-16FAC08B8220}"/>
                    </a:ext>
                  </a:extLst>
                </p:cNvPr>
                <p:cNvSpPr/>
                <p:nvPr/>
              </p:nvSpPr>
              <p:spPr>
                <a:xfrm>
                  <a:off x="5387807" y="5918497"/>
                  <a:ext cx="26649" cy="26533"/>
                </a:xfrm>
                <a:custGeom>
                  <a:avLst/>
                  <a:gdLst>
                    <a:gd name="connsiteX0" fmla="*/ 26216 w 26649"/>
                    <a:gd name="connsiteY0" fmla="*/ 10024 h 26533"/>
                    <a:gd name="connsiteX1" fmla="*/ 16626 w 26649"/>
                    <a:gd name="connsiteY1" fmla="*/ 26092 h 26533"/>
                    <a:gd name="connsiteX2" fmla="*/ 433 w 26649"/>
                    <a:gd name="connsiteY2" fmla="*/ 16626 h 26533"/>
                    <a:gd name="connsiteX3" fmla="*/ 10024 w 26649"/>
                    <a:gd name="connsiteY3" fmla="*/ 433 h 26533"/>
                    <a:gd name="connsiteX4" fmla="*/ 26216 w 26649"/>
                    <a:gd name="connsiteY4" fmla="*/ 10024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3">
                      <a:moveTo>
                        <a:pt x="26216" y="10024"/>
                      </a:moveTo>
                      <a:cubicBezTo>
                        <a:pt x="28085" y="17124"/>
                        <a:pt x="23725" y="24348"/>
                        <a:pt x="16626" y="26092"/>
                      </a:cubicBezTo>
                      <a:cubicBezTo>
                        <a:pt x="9526" y="27960"/>
                        <a:pt x="2301" y="23725"/>
                        <a:pt x="433" y="16626"/>
                      </a:cubicBezTo>
                      <a:cubicBezTo>
                        <a:pt x="-1435" y="9526"/>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2" name="Freeform 4331">
                  <a:extLst>
                    <a:ext uri="{FF2B5EF4-FFF2-40B4-BE49-F238E27FC236}">
                      <a16:creationId xmlns:a16="http://schemas.microsoft.com/office/drawing/2014/main" id="{7DC28601-1930-F1BF-77E9-6FA29469BC10}"/>
                    </a:ext>
                  </a:extLst>
                </p:cNvPr>
                <p:cNvSpPr/>
                <p:nvPr/>
              </p:nvSpPr>
              <p:spPr>
                <a:xfrm>
                  <a:off x="5421014" y="5991921"/>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4"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3" name="Freeform 4332">
                  <a:extLst>
                    <a:ext uri="{FF2B5EF4-FFF2-40B4-BE49-F238E27FC236}">
                      <a16:creationId xmlns:a16="http://schemas.microsoft.com/office/drawing/2014/main" id="{45E67BE7-FCBD-94C6-10FF-63DF23D69D5B}"/>
                    </a:ext>
                  </a:extLst>
                </p:cNvPr>
                <p:cNvSpPr/>
                <p:nvPr/>
              </p:nvSpPr>
              <p:spPr>
                <a:xfrm>
                  <a:off x="5414273" y="5998772"/>
                  <a:ext cx="13826" cy="50321"/>
                </a:xfrm>
                <a:custGeom>
                  <a:avLst/>
                  <a:gdLst>
                    <a:gd name="connsiteX0" fmla="*/ 0 w 13826"/>
                    <a:gd name="connsiteY0" fmla="*/ 0 h 50321"/>
                    <a:gd name="connsiteX1" fmla="*/ 6602 w 13826"/>
                    <a:gd name="connsiteY1" fmla="*/ 17563 h 50321"/>
                    <a:gd name="connsiteX2" fmla="*/ 7598 w 13826"/>
                    <a:gd name="connsiteY2" fmla="*/ 35001 h 50321"/>
                    <a:gd name="connsiteX3" fmla="*/ 13826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0" y="0"/>
                      </a:moveTo>
                      <a:cubicBezTo>
                        <a:pt x="4360" y="7100"/>
                        <a:pt x="5979" y="13328"/>
                        <a:pt x="6602" y="17563"/>
                      </a:cubicBezTo>
                      <a:cubicBezTo>
                        <a:pt x="7598" y="24538"/>
                        <a:pt x="6353" y="28025"/>
                        <a:pt x="7598" y="35001"/>
                      </a:cubicBezTo>
                      <a:cubicBezTo>
                        <a:pt x="8844" y="41852"/>
                        <a:pt x="11584"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4" name="Freeform 4333">
                  <a:extLst>
                    <a:ext uri="{FF2B5EF4-FFF2-40B4-BE49-F238E27FC236}">
                      <a16:creationId xmlns:a16="http://schemas.microsoft.com/office/drawing/2014/main" id="{0B82C6F4-AC94-53AC-DDB8-76C1F26DA446}"/>
                    </a:ext>
                  </a:extLst>
                </p:cNvPr>
                <p:cNvSpPr/>
                <p:nvPr/>
              </p:nvSpPr>
              <p:spPr>
                <a:xfrm>
                  <a:off x="5418564" y="6036993"/>
                  <a:ext cx="26416" cy="26491"/>
                </a:xfrm>
                <a:custGeom>
                  <a:avLst/>
                  <a:gdLst>
                    <a:gd name="connsiteX0" fmla="*/ 441 w 26416"/>
                    <a:gd name="connsiteY0" fmla="*/ 16584 h 26491"/>
                    <a:gd name="connsiteX1" fmla="*/ 9908 w 26416"/>
                    <a:gd name="connsiteY1" fmla="*/ 392 h 26491"/>
                    <a:gd name="connsiteX2" fmla="*/ 25975 w 26416"/>
                    <a:gd name="connsiteY2" fmla="*/ 9983 h 26491"/>
                    <a:gd name="connsiteX3" fmla="*/ 16509 w 26416"/>
                    <a:gd name="connsiteY3" fmla="*/ 26051 h 26491"/>
                    <a:gd name="connsiteX4" fmla="*/ 441 w 26416"/>
                    <a:gd name="connsiteY4" fmla="*/ 16584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91">
                      <a:moveTo>
                        <a:pt x="441" y="16584"/>
                      </a:moveTo>
                      <a:cubicBezTo>
                        <a:pt x="-1427" y="9485"/>
                        <a:pt x="2808" y="2260"/>
                        <a:pt x="9908" y="392"/>
                      </a:cubicBezTo>
                      <a:cubicBezTo>
                        <a:pt x="17008" y="-1352"/>
                        <a:pt x="24107" y="2883"/>
                        <a:pt x="25975" y="9983"/>
                      </a:cubicBezTo>
                      <a:cubicBezTo>
                        <a:pt x="27844" y="17082"/>
                        <a:pt x="23609" y="24307"/>
                        <a:pt x="16509" y="26051"/>
                      </a:cubicBezTo>
                      <a:cubicBezTo>
                        <a:pt x="9409" y="27919"/>
                        <a:pt x="2310" y="23684"/>
                        <a:pt x="441" y="16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1" name="Graphic 2987">
                <a:extLst>
                  <a:ext uri="{FF2B5EF4-FFF2-40B4-BE49-F238E27FC236}">
                    <a16:creationId xmlns:a16="http://schemas.microsoft.com/office/drawing/2014/main" id="{3EFC5D23-B9C0-D386-A94C-9CDBD9F4D604}"/>
                  </a:ext>
                </a:extLst>
              </p:cNvPr>
              <p:cNvGrpSpPr/>
              <p:nvPr/>
            </p:nvGrpSpPr>
            <p:grpSpPr>
              <a:xfrm>
                <a:off x="5416705" y="5911273"/>
                <a:ext cx="56792" cy="145062"/>
                <a:chOff x="5416705" y="5911273"/>
                <a:chExt cx="56792" cy="145062"/>
              </a:xfrm>
              <a:grpFill/>
            </p:grpSpPr>
            <p:sp>
              <p:nvSpPr>
                <p:cNvPr id="5093" name="Freeform 4335">
                  <a:extLst>
                    <a:ext uri="{FF2B5EF4-FFF2-40B4-BE49-F238E27FC236}">
                      <a16:creationId xmlns:a16="http://schemas.microsoft.com/office/drawing/2014/main" id="{13977A9B-7E11-67C1-ABED-BAAB9A1251F4}"/>
                    </a:ext>
                  </a:extLst>
                </p:cNvPr>
                <p:cNvSpPr/>
                <p:nvPr/>
              </p:nvSpPr>
              <p:spPr>
                <a:xfrm>
                  <a:off x="5428165" y="5932258"/>
                  <a:ext cx="12498" cy="50695"/>
                </a:xfrm>
                <a:custGeom>
                  <a:avLst/>
                  <a:gdLst>
                    <a:gd name="connsiteX0" fmla="*/ 58 w 12498"/>
                    <a:gd name="connsiteY0" fmla="*/ 0 h 50695"/>
                    <a:gd name="connsiteX1" fmla="*/ 2798 w 12498"/>
                    <a:gd name="connsiteY1" fmla="*/ 18559 h 50695"/>
                    <a:gd name="connsiteX2" fmla="*/ 10396 w 12498"/>
                    <a:gd name="connsiteY2" fmla="*/ 34253 h 50695"/>
                    <a:gd name="connsiteX3" fmla="*/ 12389 w 12498"/>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498" h="50695">
                      <a:moveTo>
                        <a:pt x="58" y="0"/>
                      </a:moveTo>
                      <a:cubicBezTo>
                        <a:pt x="-316" y="8346"/>
                        <a:pt x="1179" y="14573"/>
                        <a:pt x="2798" y="18559"/>
                      </a:cubicBezTo>
                      <a:cubicBezTo>
                        <a:pt x="5290" y="25161"/>
                        <a:pt x="8154" y="27527"/>
                        <a:pt x="10396" y="34253"/>
                      </a:cubicBezTo>
                      <a:cubicBezTo>
                        <a:pt x="12638" y="40855"/>
                        <a:pt x="12638" y="46709"/>
                        <a:pt x="1238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4" name="Freeform 4336">
                  <a:extLst>
                    <a:ext uri="{FF2B5EF4-FFF2-40B4-BE49-F238E27FC236}">
                      <a16:creationId xmlns:a16="http://schemas.microsoft.com/office/drawing/2014/main" id="{9B6C9F50-A625-A363-D7E1-A7568B15AF7B}"/>
                    </a:ext>
                  </a:extLst>
                </p:cNvPr>
                <p:cNvSpPr/>
                <p:nvPr/>
              </p:nvSpPr>
              <p:spPr>
                <a:xfrm>
                  <a:off x="5433953" y="5925532"/>
                  <a:ext cx="13452" cy="50446"/>
                </a:xfrm>
                <a:custGeom>
                  <a:avLst/>
                  <a:gdLst>
                    <a:gd name="connsiteX0" fmla="*/ 13452 w 13452"/>
                    <a:gd name="connsiteY0" fmla="*/ 50446 h 50446"/>
                    <a:gd name="connsiteX1" fmla="*/ 6975 w 13452"/>
                    <a:gd name="connsiteY1" fmla="*/ 32759 h 50446"/>
                    <a:gd name="connsiteX2" fmla="*/ 6103 w 13452"/>
                    <a:gd name="connsiteY2" fmla="*/ 15321 h 50446"/>
                    <a:gd name="connsiteX3" fmla="*/ 0 w 13452"/>
                    <a:gd name="connsiteY3" fmla="*/ 0 h 50446"/>
                  </a:gdLst>
                  <a:ahLst/>
                  <a:cxnLst>
                    <a:cxn ang="0">
                      <a:pos x="connsiteX0" y="connsiteY0"/>
                    </a:cxn>
                    <a:cxn ang="0">
                      <a:pos x="connsiteX1" y="connsiteY1"/>
                    </a:cxn>
                    <a:cxn ang="0">
                      <a:pos x="connsiteX2" y="connsiteY2"/>
                    </a:cxn>
                    <a:cxn ang="0">
                      <a:pos x="connsiteX3" y="connsiteY3"/>
                    </a:cxn>
                  </a:cxnLst>
                  <a:rect l="l" t="t" r="r" b="b"/>
                  <a:pathLst>
                    <a:path w="13451" h="50446">
                      <a:moveTo>
                        <a:pt x="13452" y="50446"/>
                      </a:moveTo>
                      <a:cubicBezTo>
                        <a:pt x="9092" y="43222"/>
                        <a:pt x="7473" y="37118"/>
                        <a:pt x="6975" y="32759"/>
                      </a:cubicBezTo>
                      <a:cubicBezTo>
                        <a:pt x="5979" y="25784"/>
                        <a:pt x="7349" y="22421"/>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5" name="Freeform 4337">
                  <a:extLst>
                    <a:ext uri="{FF2B5EF4-FFF2-40B4-BE49-F238E27FC236}">
                      <a16:creationId xmlns:a16="http://schemas.microsoft.com/office/drawing/2014/main" id="{05B9422D-A03B-298A-4FC8-8C22B6CC8AB0}"/>
                    </a:ext>
                  </a:extLst>
                </p:cNvPr>
                <p:cNvSpPr/>
                <p:nvPr/>
              </p:nvSpPr>
              <p:spPr>
                <a:xfrm>
                  <a:off x="5416705" y="5911273"/>
                  <a:ext cx="26608" cy="26483"/>
                </a:xfrm>
                <a:custGeom>
                  <a:avLst/>
                  <a:gdLst>
                    <a:gd name="connsiteX0" fmla="*/ 26216 w 26608"/>
                    <a:gd name="connsiteY0" fmla="*/ 10024 h 26483"/>
                    <a:gd name="connsiteX1" fmla="*/ 16625 w 26608"/>
                    <a:gd name="connsiteY1" fmla="*/ 26092 h 26483"/>
                    <a:gd name="connsiteX2" fmla="*/ 433 w 26608"/>
                    <a:gd name="connsiteY2" fmla="*/ 16501 h 26483"/>
                    <a:gd name="connsiteX3" fmla="*/ 10024 w 26608"/>
                    <a:gd name="connsiteY3" fmla="*/ 433 h 26483"/>
                    <a:gd name="connsiteX4" fmla="*/ 26216 w 26608"/>
                    <a:gd name="connsiteY4" fmla="*/ 10024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483">
                      <a:moveTo>
                        <a:pt x="26216" y="10024"/>
                      </a:moveTo>
                      <a:cubicBezTo>
                        <a:pt x="27960" y="17124"/>
                        <a:pt x="23725" y="24348"/>
                        <a:pt x="16625" y="26092"/>
                      </a:cubicBezTo>
                      <a:cubicBezTo>
                        <a:pt x="9526" y="27835"/>
                        <a:pt x="2301" y="23600"/>
                        <a:pt x="433" y="16501"/>
                      </a:cubicBezTo>
                      <a:cubicBezTo>
                        <a:pt x="-1435" y="9401"/>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6" name="Freeform 4338">
                  <a:extLst>
                    <a:ext uri="{FF2B5EF4-FFF2-40B4-BE49-F238E27FC236}">
                      <a16:creationId xmlns:a16="http://schemas.microsoft.com/office/drawing/2014/main" id="{B58D43C1-784E-5325-552D-E0CA5C8F935C}"/>
                    </a:ext>
                  </a:extLst>
                </p:cNvPr>
                <p:cNvSpPr/>
                <p:nvPr/>
              </p:nvSpPr>
              <p:spPr>
                <a:xfrm>
                  <a:off x="5449679" y="5984697"/>
                  <a:ext cx="12357" cy="50695"/>
                </a:xfrm>
                <a:custGeom>
                  <a:avLst/>
                  <a:gdLst>
                    <a:gd name="connsiteX0" fmla="*/ 12300 w 12357"/>
                    <a:gd name="connsiteY0" fmla="*/ 50695 h 50695"/>
                    <a:gd name="connsiteX1" fmla="*/ 9559 w 12357"/>
                    <a:gd name="connsiteY1" fmla="*/ 32136 h 50695"/>
                    <a:gd name="connsiteX2" fmla="*/ 2086 w 12357"/>
                    <a:gd name="connsiteY2" fmla="*/ 16442 h 50695"/>
                    <a:gd name="connsiteX3" fmla="*/ 93 w 12357"/>
                    <a:gd name="connsiteY3" fmla="*/ 0 h 50695"/>
                  </a:gdLst>
                  <a:ahLst/>
                  <a:cxnLst>
                    <a:cxn ang="0">
                      <a:pos x="connsiteX0" y="connsiteY0"/>
                    </a:cxn>
                    <a:cxn ang="0">
                      <a:pos x="connsiteX1" y="connsiteY1"/>
                    </a:cxn>
                    <a:cxn ang="0">
                      <a:pos x="connsiteX2" y="connsiteY2"/>
                    </a:cxn>
                    <a:cxn ang="0">
                      <a:pos x="connsiteX3" y="connsiteY3"/>
                    </a:cxn>
                  </a:cxnLst>
                  <a:rect l="l" t="t" r="r" b="b"/>
                  <a:pathLst>
                    <a:path w="12357" h="50695">
                      <a:moveTo>
                        <a:pt x="12300" y="50695"/>
                      </a:moveTo>
                      <a:cubicBezTo>
                        <a:pt x="12673" y="42350"/>
                        <a:pt x="11179" y="36122"/>
                        <a:pt x="9559" y="32136"/>
                      </a:cubicBezTo>
                      <a:cubicBezTo>
                        <a:pt x="7068" y="25535"/>
                        <a:pt x="4328" y="23168"/>
                        <a:pt x="2086" y="16442"/>
                      </a:cubicBezTo>
                      <a:cubicBezTo>
                        <a:pt x="-32" y="9840"/>
                        <a:pt x="-156" y="3986"/>
                        <a:pt x="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7" name="Freeform 4339">
                  <a:extLst>
                    <a:ext uri="{FF2B5EF4-FFF2-40B4-BE49-F238E27FC236}">
                      <a16:creationId xmlns:a16="http://schemas.microsoft.com/office/drawing/2014/main" id="{15AEBDC2-C489-5985-00DB-A9D54339FA53}"/>
                    </a:ext>
                  </a:extLst>
                </p:cNvPr>
                <p:cNvSpPr/>
                <p:nvPr/>
              </p:nvSpPr>
              <p:spPr>
                <a:xfrm>
                  <a:off x="5442921" y="5991547"/>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7" y="17687"/>
                      </a:cubicBezTo>
                      <a:cubicBezTo>
                        <a:pt x="7473" y="24662"/>
                        <a:pt x="6103" y="28025"/>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8" name="Freeform 4340">
                  <a:extLst>
                    <a:ext uri="{FF2B5EF4-FFF2-40B4-BE49-F238E27FC236}">
                      <a16:creationId xmlns:a16="http://schemas.microsoft.com/office/drawing/2014/main" id="{23EF36D7-567D-D07F-ADA3-EDF8B8F61467}"/>
                    </a:ext>
                  </a:extLst>
                </p:cNvPr>
                <p:cNvSpPr/>
                <p:nvPr/>
              </p:nvSpPr>
              <p:spPr>
                <a:xfrm>
                  <a:off x="5447096" y="6029893"/>
                  <a:ext cx="26401" cy="26442"/>
                </a:xfrm>
                <a:custGeom>
                  <a:avLst/>
                  <a:gdLst>
                    <a:gd name="connsiteX0" fmla="*/ 433 w 26401"/>
                    <a:gd name="connsiteY0" fmla="*/ 16460 h 26442"/>
                    <a:gd name="connsiteX1" fmla="*/ 9900 w 26401"/>
                    <a:gd name="connsiteY1" fmla="*/ 392 h 26442"/>
                    <a:gd name="connsiteX2" fmla="*/ 25968 w 26401"/>
                    <a:gd name="connsiteY2" fmla="*/ 9983 h 26442"/>
                    <a:gd name="connsiteX3" fmla="*/ 16501 w 26401"/>
                    <a:gd name="connsiteY3" fmla="*/ 26050 h 26442"/>
                    <a:gd name="connsiteX4" fmla="*/ 433 w 26401"/>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42">
                      <a:moveTo>
                        <a:pt x="433" y="16460"/>
                      </a:moveTo>
                      <a:cubicBezTo>
                        <a:pt x="-1435" y="9360"/>
                        <a:pt x="2924" y="2136"/>
                        <a:pt x="9900" y="392"/>
                      </a:cubicBezTo>
                      <a:cubicBezTo>
                        <a:pt x="16999" y="-1352"/>
                        <a:pt x="24099" y="2883"/>
                        <a:pt x="25968" y="9983"/>
                      </a:cubicBezTo>
                      <a:cubicBezTo>
                        <a:pt x="27836" y="17082"/>
                        <a:pt x="23477" y="24307"/>
                        <a:pt x="16501" y="26050"/>
                      </a:cubicBezTo>
                      <a:cubicBezTo>
                        <a:pt x="9402" y="27794"/>
                        <a:pt x="2177" y="23560"/>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2" name="Graphic 2987">
                <a:extLst>
                  <a:ext uri="{FF2B5EF4-FFF2-40B4-BE49-F238E27FC236}">
                    <a16:creationId xmlns:a16="http://schemas.microsoft.com/office/drawing/2014/main" id="{7BE55625-D627-CAE9-F2A2-FA8EE4A9AFE7}"/>
                  </a:ext>
                </a:extLst>
              </p:cNvPr>
              <p:cNvGrpSpPr/>
              <p:nvPr/>
            </p:nvGrpSpPr>
            <p:grpSpPr>
              <a:xfrm>
                <a:off x="5445478" y="5903965"/>
                <a:ext cx="56501" cy="145187"/>
                <a:chOff x="5445478" y="5903965"/>
                <a:chExt cx="56501" cy="145187"/>
              </a:xfrm>
              <a:grpFill/>
            </p:grpSpPr>
            <p:sp>
              <p:nvSpPr>
                <p:cNvPr id="5087" name="Freeform 4342">
                  <a:extLst>
                    <a:ext uri="{FF2B5EF4-FFF2-40B4-BE49-F238E27FC236}">
                      <a16:creationId xmlns:a16="http://schemas.microsoft.com/office/drawing/2014/main" id="{3B3E239F-D3D5-7409-FA04-0A4EE3AFEBD3}"/>
                    </a:ext>
                  </a:extLst>
                </p:cNvPr>
                <p:cNvSpPr/>
                <p:nvPr/>
              </p:nvSpPr>
              <p:spPr>
                <a:xfrm>
                  <a:off x="5457028" y="5925034"/>
                  <a:ext cx="12213" cy="50694"/>
                </a:xfrm>
                <a:custGeom>
                  <a:avLst/>
                  <a:gdLst>
                    <a:gd name="connsiteX0" fmla="*/ 92 w 12213"/>
                    <a:gd name="connsiteY0" fmla="*/ 0 h 50694"/>
                    <a:gd name="connsiteX1" fmla="*/ 2708 w 12213"/>
                    <a:gd name="connsiteY1" fmla="*/ 18559 h 50694"/>
                    <a:gd name="connsiteX2" fmla="*/ 10181 w 12213"/>
                    <a:gd name="connsiteY2" fmla="*/ 34253 h 50694"/>
                    <a:gd name="connsiteX3" fmla="*/ 12049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92" y="0"/>
                      </a:moveTo>
                      <a:cubicBezTo>
                        <a:pt x="-406" y="8345"/>
                        <a:pt x="1213" y="14573"/>
                        <a:pt x="2708" y="18559"/>
                      </a:cubicBezTo>
                      <a:cubicBezTo>
                        <a:pt x="5199" y="25161"/>
                        <a:pt x="7939" y="27527"/>
                        <a:pt x="10181" y="34253"/>
                      </a:cubicBezTo>
                      <a:cubicBezTo>
                        <a:pt x="12299" y="40855"/>
                        <a:pt x="12423" y="46709"/>
                        <a:pt x="1204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8" name="Freeform 4343">
                  <a:extLst>
                    <a:ext uri="{FF2B5EF4-FFF2-40B4-BE49-F238E27FC236}">
                      <a16:creationId xmlns:a16="http://schemas.microsoft.com/office/drawing/2014/main" id="{1FBE949E-0211-1F54-CFDE-71D7E367E38B}"/>
                    </a:ext>
                  </a:extLst>
                </p:cNvPr>
                <p:cNvSpPr/>
                <p:nvPr/>
              </p:nvSpPr>
              <p:spPr>
                <a:xfrm>
                  <a:off x="5462601" y="5918307"/>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3" y="43222"/>
                        <a:pt x="7598" y="37118"/>
                        <a:pt x="6975" y="32759"/>
                      </a:cubicBezTo>
                      <a:cubicBezTo>
                        <a:pt x="5979" y="25784"/>
                        <a:pt x="7349" y="22296"/>
                        <a:pt x="6103" y="15321"/>
                      </a:cubicBezTo>
                      <a:cubicBezTo>
                        <a:pt x="4858"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9" name="Freeform 4344">
                  <a:extLst>
                    <a:ext uri="{FF2B5EF4-FFF2-40B4-BE49-F238E27FC236}">
                      <a16:creationId xmlns:a16="http://schemas.microsoft.com/office/drawing/2014/main" id="{09A39C70-2918-7AEC-BC98-872141D76AD0}"/>
                    </a:ext>
                  </a:extLst>
                </p:cNvPr>
                <p:cNvSpPr/>
                <p:nvPr/>
              </p:nvSpPr>
              <p:spPr>
                <a:xfrm>
                  <a:off x="5445478" y="5903965"/>
                  <a:ext cx="26724" cy="26442"/>
                </a:xfrm>
                <a:custGeom>
                  <a:avLst/>
                  <a:gdLst>
                    <a:gd name="connsiteX0" fmla="*/ 26340 w 26724"/>
                    <a:gd name="connsiteY0" fmla="*/ 9983 h 26442"/>
                    <a:gd name="connsiteX1" fmla="*/ 16625 w 26724"/>
                    <a:gd name="connsiteY1" fmla="*/ 26051 h 26442"/>
                    <a:gd name="connsiteX2" fmla="*/ 432 w 26724"/>
                    <a:gd name="connsiteY2" fmla="*/ 16459 h 26442"/>
                    <a:gd name="connsiteX3" fmla="*/ 10148 w 26724"/>
                    <a:gd name="connsiteY3" fmla="*/ 392 h 26442"/>
                    <a:gd name="connsiteX4" fmla="*/ 26340 w 26724"/>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42">
                      <a:moveTo>
                        <a:pt x="26340" y="9983"/>
                      </a:moveTo>
                      <a:cubicBezTo>
                        <a:pt x="28084" y="17082"/>
                        <a:pt x="23725" y="24307"/>
                        <a:pt x="16625" y="26051"/>
                      </a:cubicBezTo>
                      <a:cubicBezTo>
                        <a:pt x="9525" y="27794"/>
                        <a:pt x="2301" y="23559"/>
                        <a:pt x="432" y="16459"/>
                      </a:cubicBezTo>
                      <a:cubicBezTo>
                        <a:pt x="-1436" y="9360"/>
                        <a:pt x="2924" y="2135"/>
                        <a:pt x="10148" y="392"/>
                      </a:cubicBezTo>
                      <a:cubicBezTo>
                        <a:pt x="17372" y="-1352"/>
                        <a:pt x="24597" y="2883"/>
                        <a:pt x="26340"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0" name="Freeform 4345">
                  <a:extLst>
                    <a:ext uri="{FF2B5EF4-FFF2-40B4-BE49-F238E27FC236}">
                      <a16:creationId xmlns:a16="http://schemas.microsoft.com/office/drawing/2014/main" id="{40622681-E6A2-C059-C24C-D165BAF4C2C6}"/>
                    </a:ext>
                  </a:extLst>
                </p:cNvPr>
                <p:cNvSpPr/>
                <p:nvPr/>
              </p:nvSpPr>
              <p:spPr>
                <a:xfrm>
                  <a:off x="5478505" y="5977472"/>
                  <a:ext cx="12179" cy="50695"/>
                </a:xfrm>
                <a:custGeom>
                  <a:avLst/>
                  <a:gdLst>
                    <a:gd name="connsiteX0" fmla="*/ 12122 w 12179"/>
                    <a:gd name="connsiteY0" fmla="*/ 50695 h 50695"/>
                    <a:gd name="connsiteX1" fmla="*/ 9506 w 12179"/>
                    <a:gd name="connsiteY1" fmla="*/ 32136 h 50695"/>
                    <a:gd name="connsiteX2" fmla="*/ 2033 w 12179"/>
                    <a:gd name="connsiteY2" fmla="*/ 16442 h 50695"/>
                    <a:gd name="connsiteX3" fmla="*/ 164 w 12179"/>
                    <a:gd name="connsiteY3" fmla="*/ 0 h 50695"/>
                  </a:gdLst>
                  <a:ahLst/>
                  <a:cxnLst>
                    <a:cxn ang="0">
                      <a:pos x="connsiteX0" y="connsiteY0"/>
                    </a:cxn>
                    <a:cxn ang="0">
                      <a:pos x="connsiteX1" y="connsiteY1"/>
                    </a:cxn>
                    <a:cxn ang="0">
                      <a:pos x="connsiteX2" y="connsiteY2"/>
                    </a:cxn>
                    <a:cxn ang="0">
                      <a:pos x="connsiteX3" y="connsiteY3"/>
                    </a:cxn>
                  </a:cxnLst>
                  <a:rect l="l" t="t" r="r" b="b"/>
                  <a:pathLst>
                    <a:path w="12179" h="50695">
                      <a:moveTo>
                        <a:pt x="12122" y="50695"/>
                      </a:moveTo>
                      <a:cubicBezTo>
                        <a:pt x="12495" y="42350"/>
                        <a:pt x="11001" y="36122"/>
                        <a:pt x="9506" y="32136"/>
                      </a:cubicBezTo>
                      <a:cubicBezTo>
                        <a:pt x="7015" y="25534"/>
                        <a:pt x="4275" y="23168"/>
                        <a:pt x="2033" y="16442"/>
                      </a:cubicBezTo>
                      <a:cubicBezTo>
                        <a:pt x="-85" y="9840"/>
                        <a:pt x="-209" y="3986"/>
                        <a:pt x="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1" name="Freeform 4346">
                  <a:extLst>
                    <a:ext uri="{FF2B5EF4-FFF2-40B4-BE49-F238E27FC236}">
                      <a16:creationId xmlns:a16="http://schemas.microsoft.com/office/drawing/2014/main" id="{8C1B1FBD-206A-2854-BD21-B970C1BAE11F}"/>
                    </a:ext>
                  </a:extLst>
                </p:cNvPr>
                <p:cNvSpPr/>
                <p:nvPr/>
              </p:nvSpPr>
              <p:spPr>
                <a:xfrm>
                  <a:off x="5471569" y="5984448"/>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60" y="7224"/>
                        <a:pt x="5854" y="13328"/>
                        <a:pt x="6477" y="17687"/>
                      </a:cubicBezTo>
                      <a:cubicBezTo>
                        <a:pt x="7474" y="24663"/>
                        <a:pt x="6103" y="28150"/>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2" name="Freeform 4347">
                  <a:extLst>
                    <a:ext uri="{FF2B5EF4-FFF2-40B4-BE49-F238E27FC236}">
                      <a16:creationId xmlns:a16="http://schemas.microsoft.com/office/drawing/2014/main" id="{F089DFE1-467E-7B60-132B-8DD0D3C2BD4A}"/>
                    </a:ext>
                  </a:extLst>
                </p:cNvPr>
                <p:cNvSpPr/>
                <p:nvPr/>
              </p:nvSpPr>
              <p:spPr>
                <a:xfrm>
                  <a:off x="5475661" y="6022669"/>
                  <a:ext cx="26318" cy="26483"/>
                </a:xfrm>
                <a:custGeom>
                  <a:avLst/>
                  <a:gdLst>
                    <a:gd name="connsiteX0" fmla="*/ 392 w 26318"/>
                    <a:gd name="connsiteY0" fmla="*/ 16460 h 26483"/>
                    <a:gd name="connsiteX1" fmla="*/ 9858 w 26318"/>
                    <a:gd name="connsiteY1" fmla="*/ 392 h 26483"/>
                    <a:gd name="connsiteX2" fmla="*/ 25926 w 26318"/>
                    <a:gd name="connsiteY2" fmla="*/ 9983 h 26483"/>
                    <a:gd name="connsiteX3" fmla="*/ 16336 w 26318"/>
                    <a:gd name="connsiteY3" fmla="*/ 26051 h 26483"/>
                    <a:gd name="connsiteX4" fmla="*/ 392 w 26318"/>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8" h="26483">
                      <a:moveTo>
                        <a:pt x="392" y="16460"/>
                      </a:moveTo>
                      <a:cubicBezTo>
                        <a:pt x="-1352" y="9360"/>
                        <a:pt x="2883" y="2135"/>
                        <a:pt x="9858" y="392"/>
                      </a:cubicBezTo>
                      <a:cubicBezTo>
                        <a:pt x="16958" y="-1352"/>
                        <a:pt x="24058" y="2883"/>
                        <a:pt x="25926" y="9983"/>
                      </a:cubicBezTo>
                      <a:cubicBezTo>
                        <a:pt x="27670" y="17082"/>
                        <a:pt x="23435" y="24307"/>
                        <a:pt x="16336" y="26051"/>
                      </a:cubicBezTo>
                      <a:cubicBezTo>
                        <a:pt x="9360" y="27919"/>
                        <a:pt x="2136" y="23559"/>
                        <a:pt x="392"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3" name="Graphic 2987">
                <a:extLst>
                  <a:ext uri="{FF2B5EF4-FFF2-40B4-BE49-F238E27FC236}">
                    <a16:creationId xmlns:a16="http://schemas.microsoft.com/office/drawing/2014/main" id="{B77EAE34-3B1A-092D-3F09-D8BFBECC14E4}"/>
                  </a:ext>
                </a:extLst>
              </p:cNvPr>
              <p:cNvGrpSpPr/>
              <p:nvPr/>
            </p:nvGrpSpPr>
            <p:grpSpPr>
              <a:xfrm>
                <a:off x="5474548" y="5896741"/>
                <a:ext cx="55955" cy="145387"/>
                <a:chOff x="5474548" y="5896741"/>
                <a:chExt cx="55955" cy="145387"/>
              </a:xfrm>
              <a:grpFill/>
            </p:grpSpPr>
            <p:sp>
              <p:nvSpPr>
                <p:cNvPr id="5081" name="Freeform 4349">
                  <a:extLst>
                    <a:ext uri="{FF2B5EF4-FFF2-40B4-BE49-F238E27FC236}">
                      <a16:creationId xmlns:a16="http://schemas.microsoft.com/office/drawing/2014/main" id="{10EAF896-F6D8-5CE2-A03F-83FA260AED62}"/>
                    </a:ext>
                  </a:extLst>
                </p:cNvPr>
                <p:cNvSpPr/>
                <p:nvPr/>
              </p:nvSpPr>
              <p:spPr>
                <a:xfrm>
                  <a:off x="5485801" y="5917809"/>
                  <a:ext cx="12160" cy="50819"/>
                </a:xfrm>
                <a:custGeom>
                  <a:avLst/>
                  <a:gdLst>
                    <a:gd name="connsiteX0" fmla="*/ 92 w 12160"/>
                    <a:gd name="connsiteY0" fmla="*/ 0 h 50819"/>
                    <a:gd name="connsiteX1" fmla="*/ 2708 w 12160"/>
                    <a:gd name="connsiteY1" fmla="*/ 18684 h 50819"/>
                    <a:gd name="connsiteX2" fmla="*/ 10181 w 12160"/>
                    <a:gd name="connsiteY2" fmla="*/ 34378 h 50819"/>
                    <a:gd name="connsiteX3" fmla="*/ 12050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0"/>
                      </a:moveTo>
                      <a:cubicBezTo>
                        <a:pt x="-406" y="8470"/>
                        <a:pt x="1213" y="14573"/>
                        <a:pt x="2708" y="18684"/>
                      </a:cubicBezTo>
                      <a:cubicBezTo>
                        <a:pt x="5199" y="25285"/>
                        <a:pt x="7939" y="27652"/>
                        <a:pt x="10181" y="34378"/>
                      </a:cubicBezTo>
                      <a:cubicBezTo>
                        <a:pt x="12299" y="40980"/>
                        <a:pt x="12299" y="46834"/>
                        <a:pt x="1205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2" name="Freeform 4350">
                  <a:extLst>
                    <a:ext uri="{FF2B5EF4-FFF2-40B4-BE49-F238E27FC236}">
                      <a16:creationId xmlns:a16="http://schemas.microsoft.com/office/drawing/2014/main" id="{83D1BA70-D15A-A90F-E32C-3B30372F8650}"/>
                    </a:ext>
                  </a:extLst>
                </p:cNvPr>
                <p:cNvSpPr/>
                <p:nvPr/>
              </p:nvSpPr>
              <p:spPr>
                <a:xfrm>
                  <a:off x="5491498" y="5911208"/>
                  <a:ext cx="13327" cy="50446"/>
                </a:xfrm>
                <a:custGeom>
                  <a:avLst/>
                  <a:gdLst>
                    <a:gd name="connsiteX0" fmla="*/ 13328 w 13327"/>
                    <a:gd name="connsiteY0" fmla="*/ 50446 h 50446"/>
                    <a:gd name="connsiteX1" fmla="*/ 6851 w 13327"/>
                    <a:gd name="connsiteY1" fmla="*/ 32759 h 50446"/>
                    <a:gd name="connsiteX2" fmla="*/ 6103 w 13327"/>
                    <a:gd name="connsiteY2" fmla="*/ 15321 h 50446"/>
                    <a:gd name="connsiteX3" fmla="*/ 0 w 13327"/>
                    <a:gd name="connsiteY3" fmla="*/ 0 h 50446"/>
                  </a:gdLst>
                  <a:ahLst/>
                  <a:cxnLst>
                    <a:cxn ang="0">
                      <a:pos x="connsiteX0" y="connsiteY0"/>
                    </a:cxn>
                    <a:cxn ang="0">
                      <a:pos x="connsiteX1" y="connsiteY1"/>
                    </a:cxn>
                    <a:cxn ang="0">
                      <a:pos x="connsiteX2" y="connsiteY2"/>
                    </a:cxn>
                    <a:cxn ang="0">
                      <a:pos x="connsiteX3" y="connsiteY3"/>
                    </a:cxn>
                  </a:cxnLst>
                  <a:rect l="l" t="t" r="r" b="b"/>
                  <a:pathLst>
                    <a:path w="13327" h="50446">
                      <a:moveTo>
                        <a:pt x="13328" y="50446"/>
                      </a:moveTo>
                      <a:cubicBezTo>
                        <a:pt x="8968" y="43222"/>
                        <a:pt x="7474" y="37118"/>
                        <a:pt x="6851" y="32759"/>
                      </a:cubicBezTo>
                      <a:cubicBezTo>
                        <a:pt x="5979" y="25784"/>
                        <a:pt x="7224" y="22296"/>
                        <a:pt x="6103" y="15321"/>
                      </a:cubicBezTo>
                      <a:cubicBezTo>
                        <a:pt x="4982"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3" name="Freeform 4351">
                  <a:extLst>
                    <a:ext uri="{FF2B5EF4-FFF2-40B4-BE49-F238E27FC236}">
                      <a16:creationId xmlns:a16="http://schemas.microsoft.com/office/drawing/2014/main" id="{A6BB6BB0-7536-E625-94A8-D81D2FD9B72D}"/>
                    </a:ext>
                  </a:extLst>
                </p:cNvPr>
                <p:cNvSpPr/>
                <p:nvPr/>
              </p:nvSpPr>
              <p:spPr>
                <a:xfrm>
                  <a:off x="5474548" y="5896741"/>
                  <a:ext cx="26551" cy="26442"/>
                </a:xfrm>
                <a:custGeom>
                  <a:avLst/>
                  <a:gdLst>
                    <a:gd name="connsiteX0" fmla="*/ 26168 w 26551"/>
                    <a:gd name="connsiteY0" fmla="*/ 9983 h 26442"/>
                    <a:gd name="connsiteX1" fmla="*/ 16452 w 26551"/>
                    <a:gd name="connsiteY1" fmla="*/ 26050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0"/>
                      </a:cubicBezTo>
                      <a:cubicBezTo>
                        <a:pt x="9352" y="27794"/>
                        <a:pt x="2128" y="23560"/>
                        <a:pt x="384" y="16460"/>
                      </a:cubicBezTo>
                      <a:cubicBezTo>
                        <a:pt x="-1360" y="9360"/>
                        <a:pt x="3000" y="2136"/>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4" name="Freeform 4352">
                  <a:extLst>
                    <a:ext uri="{FF2B5EF4-FFF2-40B4-BE49-F238E27FC236}">
                      <a16:creationId xmlns:a16="http://schemas.microsoft.com/office/drawing/2014/main" id="{124E214D-EE09-C79F-C2AC-26FE30AF60DB}"/>
                    </a:ext>
                  </a:extLst>
                </p:cNvPr>
                <p:cNvSpPr/>
                <p:nvPr/>
              </p:nvSpPr>
              <p:spPr>
                <a:xfrm>
                  <a:off x="5507082" y="5970248"/>
                  <a:ext cx="12160" cy="50819"/>
                </a:xfrm>
                <a:custGeom>
                  <a:avLst/>
                  <a:gdLst>
                    <a:gd name="connsiteX0" fmla="*/ 12069 w 12160"/>
                    <a:gd name="connsiteY0" fmla="*/ 50820 h 50819"/>
                    <a:gd name="connsiteX1" fmla="*/ 9453 w 12160"/>
                    <a:gd name="connsiteY1" fmla="*/ 32136 h 50819"/>
                    <a:gd name="connsiteX2" fmla="*/ 1979 w 12160"/>
                    <a:gd name="connsiteY2" fmla="*/ 16442 h 50819"/>
                    <a:gd name="connsiteX3" fmla="*/ 111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50820"/>
                      </a:moveTo>
                      <a:cubicBezTo>
                        <a:pt x="12567" y="42474"/>
                        <a:pt x="10948" y="36246"/>
                        <a:pt x="9453" y="32136"/>
                      </a:cubicBezTo>
                      <a:cubicBezTo>
                        <a:pt x="6962" y="25535"/>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5" name="Freeform 4353">
                  <a:extLst>
                    <a:ext uri="{FF2B5EF4-FFF2-40B4-BE49-F238E27FC236}">
                      <a16:creationId xmlns:a16="http://schemas.microsoft.com/office/drawing/2014/main" id="{9F07B802-A707-5037-BB96-62F4F2AD64E1}"/>
                    </a:ext>
                  </a:extLst>
                </p:cNvPr>
                <p:cNvSpPr/>
                <p:nvPr/>
              </p:nvSpPr>
              <p:spPr>
                <a:xfrm>
                  <a:off x="5500217" y="5977223"/>
                  <a:ext cx="13327" cy="50445"/>
                </a:xfrm>
                <a:custGeom>
                  <a:avLst/>
                  <a:gdLst>
                    <a:gd name="connsiteX0" fmla="*/ 0 w 13327"/>
                    <a:gd name="connsiteY0" fmla="*/ 0 h 50445"/>
                    <a:gd name="connsiteX1" fmla="*/ 6477 w 13327"/>
                    <a:gd name="connsiteY1" fmla="*/ 17687 h 50445"/>
                    <a:gd name="connsiteX2" fmla="*/ 7349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60" y="7224"/>
                        <a:pt x="5854" y="13327"/>
                        <a:pt x="6477" y="17687"/>
                      </a:cubicBezTo>
                      <a:cubicBezTo>
                        <a:pt x="7349" y="24662"/>
                        <a:pt x="6104" y="28150"/>
                        <a:pt x="7349" y="35125"/>
                      </a:cubicBezTo>
                      <a:cubicBezTo>
                        <a:pt x="8595" y="41976"/>
                        <a:pt x="11335"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6" name="Freeform 4354">
                  <a:extLst>
                    <a:ext uri="{FF2B5EF4-FFF2-40B4-BE49-F238E27FC236}">
                      <a16:creationId xmlns:a16="http://schemas.microsoft.com/office/drawing/2014/main" id="{646DA14B-B999-871D-12A3-8A79189954EA}"/>
                    </a:ext>
                  </a:extLst>
                </p:cNvPr>
                <p:cNvSpPr/>
                <p:nvPr/>
              </p:nvSpPr>
              <p:spPr>
                <a:xfrm>
                  <a:off x="5504185" y="6015569"/>
                  <a:ext cx="26317" cy="26558"/>
                </a:xfrm>
                <a:custGeom>
                  <a:avLst/>
                  <a:gdLst>
                    <a:gd name="connsiteX0" fmla="*/ 392 w 26317"/>
                    <a:gd name="connsiteY0" fmla="*/ 16459 h 26558"/>
                    <a:gd name="connsiteX1" fmla="*/ 9983 w 26317"/>
                    <a:gd name="connsiteY1" fmla="*/ 391 h 26558"/>
                    <a:gd name="connsiteX2" fmla="*/ 25926 w 26317"/>
                    <a:gd name="connsiteY2" fmla="*/ 10107 h 26558"/>
                    <a:gd name="connsiteX3" fmla="*/ 16335 w 26317"/>
                    <a:gd name="connsiteY3" fmla="*/ 26175 h 26558"/>
                    <a:gd name="connsiteX4" fmla="*/ 392 w 26317"/>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58">
                      <a:moveTo>
                        <a:pt x="392" y="16459"/>
                      </a:moveTo>
                      <a:cubicBezTo>
                        <a:pt x="-1352" y="9359"/>
                        <a:pt x="2883" y="2135"/>
                        <a:pt x="9983" y="391"/>
                      </a:cubicBezTo>
                      <a:cubicBezTo>
                        <a:pt x="17082" y="-1352"/>
                        <a:pt x="24182" y="2883"/>
                        <a:pt x="25926" y="10107"/>
                      </a:cubicBezTo>
                      <a:cubicBezTo>
                        <a:pt x="27670" y="17207"/>
                        <a:pt x="23435" y="24431"/>
                        <a:pt x="16335" y="26175"/>
                      </a:cubicBezTo>
                      <a:cubicBezTo>
                        <a:pt x="9236" y="27918"/>
                        <a:pt x="2136" y="23559"/>
                        <a:pt x="392"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4" name="Graphic 2987">
                <a:extLst>
                  <a:ext uri="{FF2B5EF4-FFF2-40B4-BE49-F238E27FC236}">
                    <a16:creationId xmlns:a16="http://schemas.microsoft.com/office/drawing/2014/main" id="{37C3F6E4-B708-8E5C-2432-50789603B569}"/>
                  </a:ext>
                </a:extLst>
              </p:cNvPr>
              <p:cNvGrpSpPr/>
              <p:nvPr/>
            </p:nvGrpSpPr>
            <p:grpSpPr>
              <a:xfrm>
                <a:off x="5503321" y="5889517"/>
                <a:ext cx="55698" cy="145387"/>
                <a:chOff x="5503321" y="5889517"/>
                <a:chExt cx="55698" cy="145387"/>
              </a:xfrm>
              <a:grpFill/>
            </p:grpSpPr>
            <p:sp>
              <p:nvSpPr>
                <p:cNvPr id="5075" name="Freeform 4356">
                  <a:extLst>
                    <a:ext uri="{FF2B5EF4-FFF2-40B4-BE49-F238E27FC236}">
                      <a16:creationId xmlns:a16="http://schemas.microsoft.com/office/drawing/2014/main" id="{D4E47E8B-4C6F-8AF4-8139-DFB7488381F0}"/>
                    </a:ext>
                  </a:extLst>
                </p:cNvPr>
                <p:cNvSpPr/>
                <p:nvPr/>
              </p:nvSpPr>
              <p:spPr>
                <a:xfrm>
                  <a:off x="5514693" y="5910585"/>
                  <a:ext cx="11917" cy="50819"/>
                </a:xfrm>
                <a:custGeom>
                  <a:avLst/>
                  <a:gdLst>
                    <a:gd name="connsiteX0" fmla="*/ 98 w 11917"/>
                    <a:gd name="connsiteY0" fmla="*/ 0 h 50819"/>
                    <a:gd name="connsiteX1" fmla="*/ 2589 w 11917"/>
                    <a:gd name="connsiteY1" fmla="*/ 18684 h 50819"/>
                    <a:gd name="connsiteX2" fmla="*/ 9938 w 11917"/>
                    <a:gd name="connsiteY2" fmla="*/ 34378 h 50819"/>
                    <a:gd name="connsiteX3" fmla="*/ 11806 w 11917"/>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917" h="50818">
                      <a:moveTo>
                        <a:pt x="98" y="0"/>
                      </a:moveTo>
                      <a:cubicBezTo>
                        <a:pt x="-401" y="8470"/>
                        <a:pt x="1094" y="14573"/>
                        <a:pt x="2589" y="18684"/>
                      </a:cubicBezTo>
                      <a:cubicBezTo>
                        <a:pt x="4956" y="25285"/>
                        <a:pt x="7820" y="27652"/>
                        <a:pt x="9938" y="34378"/>
                      </a:cubicBezTo>
                      <a:cubicBezTo>
                        <a:pt x="12055" y="40979"/>
                        <a:pt x="12055" y="46833"/>
                        <a:pt x="11806"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6" name="Freeform 4357">
                  <a:extLst>
                    <a:ext uri="{FF2B5EF4-FFF2-40B4-BE49-F238E27FC236}">
                      <a16:creationId xmlns:a16="http://schemas.microsoft.com/office/drawing/2014/main" id="{244C7E93-CBD7-4DEC-4FFE-FCC26224B5AA}"/>
                    </a:ext>
                  </a:extLst>
                </p:cNvPr>
                <p:cNvSpPr/>
                <p:nvPr/>
              </p:nvSpPr>
              <p:spPr>
                <a:xfrm>
                  <a:off x="5520520" y="5903983"/>
                  <a:ext cx="13078" cy="50445"/>
                </a:xfrm>
                <a:custGeom>
                  <a:avLst/>
                  <a:gdLst>
                    <a:gd name="connsiteX0" fmla="*/ 13079 w 13078"/>
                    <a:gd name="connsiteY0" fmla="*/ 50446 h 50445"/>
                    <a:gd name="connsiteX1" fmla="*/ 6726 w 13078"/>
                    <a:gd name="connsiteY1" fmla="*/ 32759 h 50445"/>
                    <a:gd name="connsiteX2" fmla="*/ 5979 w 13078"/>
                    <a:gd name="connsiteY2" fmla="*/ 15320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9" y="50446"/>
                      </a:moveTo>
                      <a:cubicBezTo>
                        <a:pt x="8719" y="43222"/>
                        <a:pt x="7225" y="37118"/>
                        <a:pt x="6726" y="32759"/>
                      </a:cubicBezTo>
                      <a:cubicBezTo>
                        <a:pt x="5854" y="25783"/>
                        <a:pt x="7225" y="22296"/>
                        <a:pt x="5979" y="15320"/>
                      </a:cubicBezTo>
                      <a:cubicBezTo>
                        <a:pt x="4858" y="8470"/>
                        <a:pt x="2118"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7" name="Freeform 4358">
                  <a:extLst>
                    <a:ext uri="{FF2B5EF4-FFF2-40B4-BE49-F238E27FC236}">
                      <a16:creationId xmlns:a16="http://schemas.microsoft.com/office/drawing/2014/main" id="{B90934D0-FF01-FF76-A5E3-DEC7AF8E6378}"/>
                    </a:ext>
                  </a:extLst>
                </p:cNvPr>
                <p:cNvSpPr/>
                <p:nvPr/>
              </p:nvSpPr>
              <p:spPr>
                <a:xfrm>
                  <a:off x="5503321" y="5889517"/>
                  <a:ext cx="26551" cy="26442"/>
                </a:xfrm>
                <a:custGeom>
                  <a:avLst/>
                  <a:gdLst>
                    <a:gd name="connsiteX0" fmla="*/ 26168 w 26551"/>
                    <a:gd name="connsiteY0" fmla="*/ 9983 h 26442"/>
                    <a:gd name="connsiteX1" fmla="*/ 16452 w 26551"/>
                    <a:gd name="connsiteY1" fmla="*/ 26051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1"/>
                      </a:cubicBezTo>
                      <a:cubicBezTo>
                        <a:pt x="9352" y="27794"/>
                        <a:pt x="2128" y="23559"/>
                        <a:pt x="384" y="16460"/>
                      </a:cubicBezTo>
                      <a:cubicBezTo>
                        <a:pt x="-1360" y="9360"/>
                        <a:pt x="3000" y="2135"/>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8" name="Freeform 4359">
                  <a:extLst>
                    <a:ext uri="{FF2B5EF4-FFF2-40B4-BE49-F238E27FC236}">
                      <a16:creationId xmlns:a16="http://schemas.microsoft.com/office/drawing/2014/main" id="{D41F639B-D0F4-8AF1-5876-8FA49BF9465F}"/>
                    </a:ext>
                  </a:extLst>
                </p:cNvPr>
                <p:cNvSpPr/>
                <p:nvPr/>
              </p:nvSpPr>
              <p:spPr>
                <a:xfrm>
                  <a:off x="5535854" y="5962899"/>
                  <a:ext cx="11917" cy="50944"/>
                </a:xfrm>
                <a:custGeom>
                  <a:avLst/>
                  <a:gdLst>
                    <a:gd name="connsiteX0" fmla="*/ 11820 w 11917"/>
                    <a:gd name="connsiteY0" fmla="*/ 50944 h 50944"/>
                    <a:gd name="connsiteX1" fmla="*/ 9328 w 11917"/>
                    <a:gd name="connsiteY1" fmla="*/ 32260 h 50944"/>
                    <a:gd name="connsiteX2" fmla="*/ 1979 w 11917"/>
                    <a:gd name="connsiteY2" fmla="*/ 16442 h 50944"/>
                    <a:gd name="connsiteX3" fmla="*/ 111 w 11917"/>
                    <a:gd name="connsiteY3" fmla="*/ 0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50944"/>
                      </a:moveTo>
                      <a:cubicBezTo>
                        <a:pt x="12318" y="42474"/>
                        <a:pt x="10823" y="36371"/>
                        <a:pt x="9328" y="32260"/>
                      </a:cubicBezTo>
                      <a:cubicBezTo>
                        <a:pt x="6962" y="25659"/>
                        <a:pt x="4097" y="23293"/>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9" name="Freeform 4360">
                  <a:extLst>
                    <a:ext uri="{FF2B5EF4-FFF2-40B4-BE49-F238E27FC236}">
                      <a16:creationId xmlns:a16="http://schemas.microsoft.com/office/drawing/2014/main" id="{04575210-53E3-394E-6224-5BCAC61952FB}"/>
                    </a:ext>
                  </a:extLst>
                </p:cNvPr>
                <p:cNvSpPr/>
                <p:nvPr/>
              </p:nvSpPr>
              <p:spPr>
                <a:xfrm>
                  <a:off x="5528990" y="5969999"/>
                  <a:ext cx="13078" cy="50446"/>
                </a:xfrm>
                <a:custGeom>
                  <a:avLst/>
                  <a:gdLst>
                    <a:gd name="connsiteX0" fmla="*/ 0 w 13078"/>
                    <a:gd name="connsiteY0" fmla="*/ 0 h 50446"/>
                    <a:gd name="connsiteX1" fmla="*/ 6352 w 13078"/>
                    <a:gd name="connsiteY1" fmla="*/ 17687 h 50446"/>
                    <a:gd name="connsiteX2" fmla="*/ 7099 w 13078"/>
                    <a:gd name="connsiteY2" fmla="*/ 35125 h 50446"/>
                    <a:gd name="connsiteX3" fmla="*/ 13078 w 13078"/>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78" h="50446">
                      <a:moveTo>
                        <a:pt x="0" y="0"/>
                      </a:moveTo>
                      <a:cubicBezTo>
                        <a:pt x="4359" y="7225"/>
                        <a:pt x="5854" y="13328"/>
                        <a:pt x="6352" y="17687"/>
                      </a:cubicBezTo>
                      <a:cubicBezTo>
                        <a:pt x="7224" y="24663"/>
                        <a:pt x="5979" y="28150"/>
                        <a:pt x="7099"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0" name="Freeform 4361">
                  <a:extLst>
                    <a:ext uri="{FF2B5EF4-FFF2-40B4-BE49-F238E27FC236}">
                      <a16:creationId xmlns:a16="http://schemas.microsoft.com/office/drawing/2014/main" id="{AC25F8F4-C490-2352-6D33-EBE4BE321977}"/>
                    </a:ext>
                  </a:extLst>
                </p:cNvPr>
                <p:cNvSpPr/>
                <p:nvPr/>
              </p:nvSpPr>
              <p:spPr>
                <a:xfrm>
                  <a:off x="5532709" y="6008352"/>
                  <a:ext cx="26310" cy="26551"/>
                </a:xfrm>
                <a:custGeom>
                  <a:avLst/>
                  <a:gdLst>
                    <a:gd name="connsiteX0" fmla="*/ 392 w 26310"/>
                    <a:gd name="connsiteY0" fmla="*/ 16452 h 26551"/>
                    <a:gd name="connsiteX1" fmla="*/ 9983 w 26310"/>
                    <a:gd name="connsiteY1" fmla="*/ 384 h 26551"/>
                    <a:gd name="connsiteX2" fmla="*/ 25926 w 26310"/>
                    <a:gd name="connsiteY2" fmla="*/ 10100 h 26551"/>
                    <a:gd name="connsiteX3" fmla="*/ 16335 w 26310"/>
                    <a:gd name="connsiteY3" fmla="*/ 26167 h 26551"/>
                    <a:gd name="connsiteX4" fmla="*/ 392 w 2631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392" y="16452"/>
                      </a:moveTo>
                      <a:cubicBezTo>
                        <a:pt x="-1352" y="9352"/>
                        <a:pt x="2883" y="2128"/>
                        <a:pt x="9983" y="384"/>
                      </a:cubicBezTo>
                      <a:cubicBezTo>
                        <a:pt x="17082" y="-1360"/>
                        <a:pt x="24182" y="3000"/>
                        <a:pt x="25926" y="10100"/>
                      </a:cubicBezTo>
                      <a:cubicBezTo>
                        <a:pt x="27670" y="17199"/>
                        <a:pt x="23310" y="24424"/>
                        <a:pt x="16335" y="26167"/>
                      </a:cubicBezTo>
                      <a:cubicBezTo>
                        <a:pt x="9360" y="27911"/>
                        <a:pt x="2135" y="23552"/>
                        <a:pt x="3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5" name="Graphic 2987">
                <a:extLst>
                  <a:ext uri="{FF2B5EF4-FFF2-40B4-BE49-F238E27FC236}">
                    <a16:creationId xmlns:a16="http://schemas.microsoft.com/office/drawing/2014/main" id="{9B6B2C8C-C19C-51E4-1607-F7969E790DC3}"/>
                  </a:ext>
                </a:extLst>
              </p:cNvPr>
              <p:cNvGrpSpPr/>
              <p:nvPr/>
            </p:nvGrpSpPr>
            <p:grpSpPr>
              <a:xfrm>
                <a:off x="5532219" y="5882346"/>
                <a:ext cx="55448" cy="145497"/>
                <a:chOff x="5532219" y="5882346"/>
                <a:chExt cx="55448" cy="145497"/>
              </a:xfrm>
              <a:grpFill/>
            </p:grpSpPr>
            <p:sp>
              <p:nvSpPr>
                <p:cNvPr id="5069" name="Freeform 4363">
                  <a:extLst>
                    <a:ext uri="{FF2B5EF4-FFF2-40B4-BE49-F238E27FC236}">
                      <a16:creationId xmlns:a16="http://schemas.microsoft.com/office/drawing/2014/main" id="{626D12FC-35C2-6F9A-4D76-4CD0BBC71546}"/>
                    </a:ext>
                  </a:extLst>
                </p:cNvPr>
                <p:cNvSpPr/>
                <p:nvPr/>
              </p:nvSpPr>
              <p:spPr>
                <a:xfrm>
                  <a:off x="5543590" y="5903360"/>
                  <a:ext cx="11869" cy="50944"/>
                </a:xfrm>
                <a:custGeom>
                  <a:avLst/>
                  <a:gdLst>
                    <a:gd name="connsiteX0" fmla="*/ 98 w 11869"/>
                    <a:gd name="connsiteY0" fmla="*/ 0 h 50944"/>
                    <a:gd name="connsiteX1" fmla="*/ 2589 w 11869"/>
                    <a:gd name="connsiteY1" fmla="*/ 18684 h 50944"/>
                    <a:gd name="connsiteX2" fmla="*/ 9938 w 11869"/>
                    <a:gd name="connsiteY2" fmla="*/ 34503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6"/>
                        <a:pt x="1094" y="14573"/>
                        <a:pt x="2589" y="18684"/>
                      </a:cubicBezTo>
                      <a:cubicBezTo>
                        <a:pt x="4955" y="25285"/>
                        <a:pt x="7820" y="27776"/>
                        <a:pt x="9938" y="34503"/>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0" name="Freeform 4364">
                  <a:extLst>
                    <a:ext uri="{FF2B5EF4-FFF2-40B4-BE49-F238E27FC236}">
                      <a16:creationId xmlns:a16="http://schemas.microsoft.com/office/drawing/2014/main" id="{95F1340A-57D3-B722-C554-35061856811C}"/>
                    </a:ext>
                  </a:extLst>
                </p:cNvPr>
                <p:cNvSpPr/>
                <p:nvPr/>
              </p:nvSpPr>
              <p:spPr>
                <a:xfrm>
                  <a:off x="5549169" y="5896759"/>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9" y="43346"/>
                        <a:pt x="7349" y="37118"/>
                        <a:pt x="6726" y="32883"/>
                      </a:cubicBezTo>
                      <a:cubicBezTo>
                        <a:pt x="5854" y="25908"/>
                        <a:pt x="7224"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1" name="Freeform 4365">
                  <a:extLst>
                    <a:ext uri="{FF2B5EF4-FFF2-40B4-BE49-F238E27FC236}">
                      <a16:creationId xmlns:a16="http://schemas.microsoft.com/office/drawing/2014/main" id="{2018C815-1774-FBF2-7815-5CC4536C89D6}"/>
                    </a:ext>
                  </a:extLst>
                </p:cNvPr>
                <p:cNvSpPr/>
                <p:nvPr/>
              </p:nvSpPr>
              <p:spPr>
                <a:xfrm>
                  <a:off x="5532219" y="5882346"/>
                  <a:ext cx="26668" cy="26465"/>
                </a:xfrm>
                <a:custGeom>
                  <a:avLst/>
                  <a:gdLst>
                    <a:gd name="connsiteX0" fmla="*/ 26292 w 26668"/>
                    <a:gd name="connsiteY0" fmla="*/ 10177 h 26465"/>
                    <a:gd name="connsiteX1" fmla="*/ 16452 w 26668"/>
                    <a:gd name="connsiteY1" fmla="*/ 26121 h 26465"/>
                    <a:gd name="connsiteX2" fmla="*/ 384 w 26668"/>
                    <a:gd name="connsiteY2" fmla="*/ 16405 h 26465"/>
                    <a:gd name="connsiteX3" fmla="*/ 10224 w 26668"/>
                    <a:gd name="connsiteY3" fmla="*/ 337 h 26465"/>
                    <a:gd name="connsiteX4" fmla="*/ 26292 w 26668"/>
                    <a:gd name="connsiteY4" fmla="*/ 10177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65">
                      <a:moveTo>
                        <a:pt x="26292" y="10177"/>
                      </a:moveTo>
                      <a:cubicBezTo>
                        <a:pt x="28035" y="17277"/>
                        <a:pt x="23552" y="24377"/>
                        <a:pt x="16452" y="26121"/>
                      </a:cubicBezTo>
                      <a:cubicBezTo>
                        <a:pt x="9352" y="27740"/>
                        <a:pt x="2128" y="23505"/>
                        <a:pt x="384" y="16405"/>
                      </a:cubicBezTo>
                      <a:cubicBezTo>
                        <a:pt x="-1360" y="9305"/>
                        <a:pt x="3000" y="2081"/>
                        <a:pt x="10224" y="337"/>
                      </a:cubicBezTo>
                      <a:cubicBezTo>
                        <a:pt x="17324" y="-1282"/>
                        <a:pt x="24548" y="3078"/>
                        <a:pt x="262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2" name="Freeform 4366">
                  <a:extLst>
                    <a:ext uri="{FF2B5EF4-FFF2-40B4-BE49-F238E27FC236}">
                      <a16:creationId xmlns:a16="http://schemas.microsoft.com/office/drawing/2014/main" id="{C4B63274-9A02-B0CB-47C4-29CAF5CD7F6A}"/>
                    </a:ext>
                  </a:extLst>
                </p:cNvPr>
                <p:cNvSpPr/>
                <p:nvPr/>
              </p:nvSpPr>
              <p:spPr>
                <a:xfrm>
                  <a:off x="5564550" y="5955924"/>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5" y="36371"/>
                        <a:pt x="9281" y="32260"/>
                      </a:cubicBezTo>
                      <a:cubicBezTo>
                        <a:pt x="6914" y="25659"/>
                        <a:pt x="4050"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3" name="Freeform 4367">
                  <a:extLst>
                    <a:ext uri="{FF2B5EF4-FFF2-40B4-BE49-F238E27FC236}">
                      <a16:creationId xmlns:a16="http://schemas.microsoft.com/office/drawing/2014/main" id="{928D63F3-37BE-5C63-6930-0D8F5E136B41}"/>
                    </a:ext>
                  </a:extLst>
                </p:cNvPr>
                <p:cNvSpPr/>
                <p:nvPr/>
              </p:nvSpPr>
              <p:spPr>
                <a:xfrm>
                  <a:off x="5557639" y="5962899"/>
                  <a:ext cx="13078" cy="50570"/>
                </a:xfrm>
                <a:custGeom>
                  <a:avLst/>
                  <a:gdLst>
                    <a:gd name="connsiteX0" fmla="*/ 0 w 13078"/>
                    <a:gd name="connsiteY0" fmla="*/ 0 h 50570"/>
                    <a:gd name="connsiteX1" fmla="*/ 6353 w 13078"/>
                    <a:gd name="connsiteY1" fmla="*/ 17687 h 50570"/>
                    <a:gd name="connsiteX2" fmla="*/ 7100 w 13078"/>
                    <a:gd name="connsiteY2" fmla="*/ 35125 h 50570"/>
                    <a:gd name="connsiteX3" fmla="*/ 13078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0" y="0"/>
                      </a:moveTo>
                      <a:cubicBezTo>
                        <a:pt x="4360" y="7225"/>
                        <a:pt x="5730" y="13452"/>
                        <a:pt x="6353" y="17687"/>
                      </a:cubicBezTo>
                      <a:cubicBezTo>
                        <a:pt x="7224" y="24663"/>
                        <a:pt x="5854" y="28025"/>
                        <a:pt x="7100" y="35125"/>
                      </a:cubicBezTo>
                      <a:cubicBezTo>
                        <a:pt x="8221" y="41976"/>
                        <a:pt x="10961" y="47207"/>
                        <a:pt x="13078"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4" name="Freeform 4368">
                  <a:extLst>
                    <a:ext uri="{FF2B5EF4-FFF2-40B4-BE49-F238E27FC236}">
                      <a16:creationId xmlns:a16="http://schemas.microsoft.com/office/drawing/2014/main" id="{EE6043CE-2F5A-FF0A-578A-2650DB101F18}"/>
                    </a:ext>
                  </a:extLst>
                </p:cNvPr>
                <p:cNvSpPr/>
                <p:nvPr/>
              </p:nvSpPr>
              <p:spPr>
                <a:xfrm>
                  <a:off x="5561240" y="6001424"/>
                  <a:ext cx="26427" cy="26419"/>
                </a:xfrm>
                <a:custGeom>
                  <a:avLst/>
                  <a:gdLst>
                    <a:gd name="connsiteX0" fmla="*/ 384 w 26427"/>
                    <a:gd name="connsiteY0" fmla="*/ 16281 h 26419"/>
                    <a:gd name="connsiteX1" fmla="*/ 10100 w 26427"/>
                    <a:gd name="connsiteY1" fmla="*/ 337 h 26419"/>
                    <a:gd name="connsiteX2" fmla="*/ 26043 w 26427"/>
                    <a:gd name="connsiteY2" fmla="*/ 10177 h 26419"/>
                    <a:gd name="connsiteX3" fmla="*/ 16328 w 26427"/>
                    <a:gd name="connsiteY3" fmla="*/ 26121 h 26419"/>
                    <a:gd name="connsiteX4" fmla="*/ 384 w 26427"/>
                    <a:gd name="connsiteY4" fmla="*/ 16281 h 26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19">
                      <a:moveTo>
                        <a:pt x="384" y="16281"/>
                      </a:moveTo>
                      <a:cubicBezTo>
                        <a:pt x="-1360" y="9181"/>
                        <a:pt x="3000" y="1956"/>
                        <a:pt x="10100" y="337"/>
                      </a:cubicBezTo>
                      <a:cubicBezTo>
                        <a:pt x="17199" y="-1282"/>
                        <a:pt x="24299" y="3077"/>
                        <a:pt x="26043" y="10177"/>
                      </a:cubicBezTo>
                      <a:cubicBezTo>
                        <a:pt x="27787" y="17277"/>
                        <a:pt x="23427" y="24377"/>
                        <a:pt x="16328" y="26121"/>
                      </a:cubicBezTo>
                      <a:cubicBezTo>
                        <a:pt x="9228" y="27615"/>
                        <a:pt x="2128" y="23380"/>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6" name="Graphic 2987">
                <a:extLst>
                  <a:ext uri="{FF2B5EF4-FFF2-40B4-BE49-F238E27FC236}">
                    <a16:creationId xmlns:a16="http://schemas.microsoft.com/office/drawing/2014/main" id="{C5C08443-6B71-059B-68C1-68C913156B92}"/>
                  </a:ext>
                </a:extLst>
              </p:cNvPr>
              <p:cNvGrpSpPr/>
              <p:nvPr/>
            </p:nvGrpSpPr>
            <p:grpSpPr>
              <a:xfrm>
                <a:off x="5561123" y="5875496"/>
                <a:ext cx="55192" cy="145535"/>
                <a:chOff x="5561123" y="5875496"/>
                <a:chExt cx="55192" cy="145535"/>
              </a:xfrm>
              <a:grpFill/>
            </p:grpSpPr>
            <p:sp>
              <p:nvSpPr>
                <p:cNvPr id="5063" name="Freeform 4370">
                  <a:extLst>
                    <a:ext uri="{FF2B5EF4-FFF2-40B4-BE49-F238E27FC236}">
                      <a16:creationId xmlns:a16="http://schemas.microsoft.com/office/drawing/2014/main" id="{56F8938B-76AC-7304-26B2-104229505C5C}"/>
                    </a:ext>
                  </a:extLst>
                </p:cNvPr>
                <p:cNvSpPr/>
                <p:nvPr/>
              </p:nvSpPr>
              <p:spPr>
                <a:xfrm>
                  <a:off x="5572488" y="5896510"/>
                  <a:ext cx="11869" cy="50944"/>
                </a:xfrm>
                <a:custGeom>
                  <a:avLst/>
                  <a:gdLst>
                    <a:gd name="connsiteX0" fmla="*/ 98 w 11869"/>
                    <a:gd name="connsiteY0" fmla="*/ 0 h 50944"/>
                    <a:gd name="connsiteX1" fmla="*/ 2589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5"/>
                        <a:pt x="1094" y="14573"/>
                        <a:pt x="2589" y="18684"/>
                      </a:cubicBezTo>
                      <a:cubicBezTo>
                        <a:pt x="4955" y="25285"/>
                        <a:pt x="7820" y="27776"/>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4" name="Freeform 4371">
                  <a:extLst>
                    <a:ext uri="{FF2B5EF4-FFF2-40B4-BE49-F238E27FC236}">
                      <a16:creationId xmlns:a16="http://schemas.microsoft.com/office/drawing/2014/main" id="{18BC92D3-F23C-8A8A-838E-D782D80186EE}"/>
                    </a:ext>
                  </a:extLst>
                </p:cNvPr>
                <p:cNvSpPr/>
                <p:nvPr/>
              </p:nvSpPr>
              <p:spPr>
                <a:xfrm>
                  <a:off x="5578315" y="5889908"/>
                  <a:ext cx="12829" cy="50570"/>
                </a:xfrm>
                <a:custGeom>
                  <a:avLst/>
                  <a:gdLst>
                    <a:gd name="connsiteX0" fmla="*/ 12829 w 12829"/>
                    <a:gd name="connsiteY0" fmla="*/ 50570 h 50570"/>
                    <a:gd name="connsiteX1" fmla="*/ 6602 w 12829"/>
                    <a:gd name="connsiteY1" fmla="*/ 32883 h 50570"/>
                    <a:gd name="connsiteX2" fmla="*/ 5979 w 12829"/>
                    <a:gd name="connsiteY2" fmla="*/ 15445 h 50570"/>
                    <a:gd name="connsiteX3" fmla="*/ 0 w 12829"/>
                    <a:gd name="connsiteY3" fmla="*/ 0 h 50570"/>
                  </a:gdLst>
                  <a:ahLst/>
                  <a:cxnLst>
                    <a:cxn ang="0">
                      <a:pos x="connsiteX0" y="connsiteY0"/>
                    </a:cxn>
                    <a:cxn ang="0">
                      <a:pos x="connsiteX1" y="connsiteY1"/>
                    </a:cxn>
                    <a:cxn ang="0">
                      <a:pos x="connsiteX2" y="connsiteY2"/>
                    </a:cxn>
                    <a:cxn ang="0">
                      <a:pos x="connsiteX3" y="connsiteY3"/>
                    </a:cxn>
                  </a:cxnLst>
                  <a:rect l="l" t="t" r="r" b="b"/>
                  <a:pathLst>
                    <a:path w="12829" h="50570">
                      <a:moveTo>
                        <a:pt x="12829" y="50570"/>
                      </a:moveTo>
                      <a:cubicBezTo>
                        <a:pt x="8595" y="43346"/>
                        <a:pt x="7100" y="37118"/>
                        <a:pt x="6602" y="32883"/>
                      </a:cubicBezTo>
                      <a:cubicBezTo>
                        <a:pt x="5730" y="25908"/>
                        <a:pt x="7100"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5" name="Freeform 4372">
                  <a:extLst>
                    <a:ext uri="{FF2B5EF4-FFF2-40B4-BE49-F238E27FC236}">
                      <a16:creationId xmlns:a16="http://schemas.microsoft.com/office/drawing/2014/main" id="{42FF1187-783A-A83B-337A-88A401D1C388}"/>
                    </a:ext>
                  </a:extLst>
                </p:cNvPr>
                <p:cNvSpPr/>
                <p:nvPr/>
              </p:nvSpPr>
              <p:spPr>
                <a:xfrm>
                  <a:off x="5561123" y="5875496"/>
                  <a:ext cx="26661" cy="26497"/>
                </a:xfrm>
                <a:custGeom>
                  <a:avLst/>
                  <a:gdLst>
                    <a:gd name="connsiteX0" fmla="*/ 26285 w 26661"/>
                    <a:gd name="connsiteY0" fmla="*/ 10178 h 26497"/>
                    <a:gd name="connsiteX1" fmla="*/ 16445 w 26661"/>
                    <a:gd name="connsiteY1" fmla="*/ 26121 h 26497"/>
                    <a:gd name="connsiteX2" fmla="*/ 377 w 26661"/>
                    <a:gd name="connsiteY2" fmla="*/ 16281 h 26497"/>
                    <a:gd name="connsiteX3" fmla="*/ 10217 w 26661"/>
                    <a:gd name="connsiteY3" fmla="*/ 337 h 26497"/>
                    <a:gd name="connsiteX4" fmla="*/ 26285 w 26661"/>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7">
                      <a:moveTo>
                        <a:pt x="26285" y="10178"/>
                      </a:moveTo>
                      <a:cubicBezTo>
                        <a:pt x="28029" y="17277"/>
                        <a:pt x="23544" y="24502"/>
                        <a:pt x="16445" y="26121"/>
                      </a:cubicBezTo>
                      <a:cubicBezTo>
                        <a:pt x="9345" y="27865"/>
                        <a:pt x="2121" y="23381"/>
                        <a:pt x="377" y="16281"/>
                      </a:cubicBezTo>
                      <a:cubicBezTo>
                        <a:pt x="-1367" y="9181"/>
                        <a:pt x="3117" y="2081"/>
                        <a:pt x="10217" y="337"/>
                      </a:cubicBezTo>
                      <a:cubicBezTo>
                        <a:pt x="17441" y="-1282"/>
                        <a:pt x="24666" y="3078"/>
                        <a:pt x="262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6" name="Freeform 4373">
                  <a:extLst>
                    <a:ext uri="{FF2B5EF4-FFF2-40B4-BE49-F238E27FC236}">
                      <a16:creationId xmlns:a16="http://schemas.microsoft.com/office/drawing/2014/main" id="{4FDB6055-CECD-E69C-D2C5-C88B9D2F6CDB}"/>
                    </a:ext>
                  </a:extLst>
                </p:cNvPr>
                <p:cNvSpPr/>
                <p:nvPr/>
              </p:nvSpPr>
              <p:spPr>
                <a:xfrm>
                  <a:off x="5593198" y="5949073"/>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6" y="36371"/>
                        <a:pt x="9281" y="32260"/>
                      </a:cubicBezTo>
                      <a:cubicBezTo>
                        <a:pt x="6915" y="25659"/>
                        <a:pt x="4174"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7" name="Freeform 4374">
                  <a:extLst>
                    <a:ext uri="{FF2B5EF4-FFF2-40B4-BE49-F238E27FC236}">
                      <a16:creationId xmlns:a16="http://schemas.microsoft.com/office/drawing/2014/main" id="{F9EEF74B-9786-B978-9449-1A63D03F940C}"/>
                    </a:ext>
                  </a:extLst>
                </p:cNvPr>
                <p:cNvSpPr/>
                <p:nvPr/>
              </p:nvSpPr>
              <p:spPr>
                <a:xfrm>
                  <a:off x="5586411" y="5956048"/>
                  <a:ext cx="12829" cy="50570"/>
                </a:xfrm>
                <a:custGeom>
                  <a:avLst/>
                  <a:gdLst>
                    <a:gd name="connsiteX0" fmla="*/ 0 w 12829"/>
                    <a:gd name="connsiteY0" fmla="*/ 0 h 50570"/>
                    <a:gd name="connsiteX1" fmla="*/ 6353 w 12829"/>
                    <a:gd name="connsiteY1" fmla="*/ 17687 h 50570"/>
                    <a:gd name="connsiteX2" fmla="*/ 6975 w 12829"/>
                    <a:gd name="connsiteY2" fmla="*/ 35125 h 50570"/>
                    <a:gd name="connsiteX3" fmla="*/ 12829 w 12829"/>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29" h="50570">
                      <a:moveTo>
                        <a:pt x="0" y="0"/>
                      </a:moveTo>
                      <a:cubicBezTo>
                        <a:pt x="4235" y="7224"/>
                        <a:pt x="5730" y="13452"/>
                        <a:pt x="6353" y="17687"/>
                      </a:cubicBezTo>
                      <a:cubicBezTo>
                        <a:pt x="7224" y="24663"/>
                        <a:pt x="5854" y="28025"/>
                        <a:pt x="6975" y="35125"/>
                      </a:cubicBezTo>
                      <a:cubicBezTo>
                        <a:pt x="8096" y="41976"/>
                        <a:pt x="10836" y="47207"/>
                        <a:pt x="1282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8" name="Freeform 4375">
                  <a:extLst>
                    <a:ext uri="{FF2B5EF4-FFF2-40B4-BE49-F238E27FC236}">
                      <a16:creationId xmlns:a16="http://schemas.microsoft.com/office/drawing/2014/main" id="{C8BF0776-3707-B981-9C7E-E29D3C6B5449}"/>
                    </a:ext>
                  </a:extLst>
                </p:cNvPr>
                <p:cNvSpPr/>
                <p:nvPr/>
              </p:nvSpPr>
              <p:spPr>
                <a:xfrm>
                  <a:off x="5589889" y="5994573"/>
                  <a:ext cx="26427" cy="26458"/>
                </a:xfrm>
                <a:custGeom>
                  <a:avLst/>
                  <a:gdLst>
                    <a:gd name="connsiteX0" fmla="*/ 384 w 26427"/>
                    <a:gd name="connsiteY0" fmla="*/ 16281 h 26458"/>
                    <a:gd name="connsiteX1" fmla="*/ 10100 w 26427"/>
                    <a:gd name="connsiteY1" fmla="*/ 337 h 26458"/>
                    <a:gd name="connsiteX2" fmla="*/ 26043 w 26427"/>
                    <a:gd name="connsiteY2" fmla="*/ 10178 h 26458"/>
                    <a:gd name="connsiteX3" fmla="*/ 16327 w 26427"/>
                    <a:gd name="connsiteY3" fmla="*/ 26121 h 26458"/>
                    <a:gd name="connsiteX4" fmla="*/ 384 w 26427"/>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58">
                      <a:moveTo>
                        <a:pt x="384" y="16281"/>
                      </a:moveTo>
                      <a:cubicBezTo>
                        <a:pt x="-1360" y="9181"/>
                        <a:pt x="3000" y="2081"/>
                        <a:pt x="10100" y="337"/>
                      </a:cubicBezTo>
                      <a:cubicBezTo>
                        <a:pt x="17199" y="-1282"/>
                        <a:pt x="24299" y="3078"/>
                        <a:pt x="26043" y="10178"/>
                      </a:cubicBezTo>
                      <a:cubicBezTo>
                        <a:pt x="27787" y="17277"/>
                        <a:pt x="23427" y="24377"/>
                        <a:pt x="16327" y="26121"/>
                      </a:cubicBezTo>
                      <a:cubicBezTo>
                        <a:pt x="9228" y="27740"/>
                        <a:pt x="2128"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7" name="Graphic 2987">
                <a:extLst>
                  <a:ext uri="{FF2B5EF4-FFF2-40B4-BE49-F238E27FC236}">
                    <a16:creationId xmlns:a16="http://schemas.microsoft.com/office/drawing/2014/main" id="{32710C03-FCAD-73C7-F44A-EBDEBE5DA13C}"/>
                  </a:ext>
                </a:extLst>
              </p:cNvPr>
              <p:cNvGrpSpPr/>
              <p:nvPr/>
            </p:nvGrpSpPr>
            <p:grpSpPr>
              <a:xfrm>
                <a:off x="5590145" y="5868645"/>
                <a:ext cx="54648" cy="145574"/>
                <a:chOff x="5590145" y="5868645"/>
                <a:chExt cx="54648" cy="145574"/>
              </a:xfrm>
              <a:grpFill/>
            </p:grpSpPr>
            <p:sp>
              <p:nvSpPr>
                <p:cNvPr id="5057" name="Freeform 4377">
                  <a:extLst>
                    <a:ext uri="{FF2B5EF4-FFF2-40B4-BE49-F238E27FC236}">
                      <a16:creationId xmlns:a16="http://schemas.microsoft.com/office/drawing/2014/main" id="{9E486E7B-E94D-F673-7936-4BF168B15AD1}"/>
                    </a:ext>
                  </a:extLst>
                </p:cNvPr>
                <p:cNvSpPr/>
                <p:nvPr/>
              </p:nvSpPr>
              <p:spPr>
                <a:xfrm>
                  <a:off x="5601338" y="5889659"/>
                  <a:ext cx="11613" cy="50944"/>
                </a:xfrm>
                <a:custGeom>
                  <a:avLst/>
                  <a:gdLst>
                    <a:gd name="connsiteX0" fmla="*/ 145 w 11613"/>
                    <a:gd name="connsiteY0" fmla="*/ 0 h 50944"/>
                    <a:gd name="connsiteX1" fmla="*/ 2512 w 11613"/>
                    <a:gd name="connsiteY1" fmla="*/ 18684 h 50944"/>
                    <a:gd name="connsiteX2" fmla="*/ 9736 w 11613"/>
                    <a:gd name="connsiteY2" fmla="*/ 34502 h 50944"/>
                    <a:gd name="connsiteX3" fmla="*/ 11480 w 1161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13" h="50944">
                      <a:moveTo>
                        <a:pt x="145" y="0"/>
                      </a:moveTo>
                      <a:cubicBezTo>
                        <a:pt x="-478" y="8345"/>
                        <a:pt x="1017" y="14573"/>
                        <a:pt x="2512" y="18684"/>
                      </a:cubicBezTo>
                      <a:cubicBezTo>
                        <a:pt x="4878" y="25285"/>
                        <a:pt x="7618" y="27776"/>
                        <a:pt x="9736" y="34502"/>
                      </a:cubicBezTo>
                      <a:cubicBezTo>
                        <a:pt x="11853" y="41104"/>
                        <a:pt x="11729" y="46958"/>
                        <a:pt x="1148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8" name="Freeform 4378">
                  <a:extLst>
                    <a:ext uri="{FF2B5EF4-FFF2-40B4-BE49-F238E27FC236}">
                      <a16:creationId xmlns:a16="http://schemas.microsoft.com/office/drawing/2014/main" id="{B0DB4F1A-60E5-EAB9-D7F4-371A0BE5DC14}"/>
                    </a:ext>
                  </a:extLst>
                </p:cNvPr>
                <p:cNvSpPr/>
                <p:nvPr/>
              </p:nvSpPr>
              <p:spPr>
                <a:xfrm>
                  <a:off x="5607213" y="5883057"/>
                  <a:ext cx="12704" cy="50570"/>
                </a:xfrm>
                <a:custGeom>
                  <a:avLst/>
                  <a:gdLst>
                    <a:gd name="connsiteX0" fmla="*/ 12705 w 12704"/>
                    <a:gd name="connsiteY0" fmla="*/ 50571 h 50570"/>
                    <a:gd name="connsiteX1" fmla="*/ 6477 w 12704"/>
                    <a:gd name="connsiteY1" fmla="*/ 32883 h 50570"/>
                    <a:gd name="connsiteX2" fmla="*/ 5854 w 12704"/>
                    <a:gd name="connsiteY2" fmla="*/ 15445 h 50570"/>
                    <a:gd name="connsiteX3" fmla="*/ 0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50571"/>
                      </a:moveTo>
                      <a:cubicBezTo>
                        <a:pt x="8470" y="43346"/>
                        <a:pt x="6975" y="37118"/>
                        <a:pt x="6477" y="32883"/>
                      </a:cubicBezTo>
                      <a:cubicBezTo>
                        <a:pt x="5605" y="25908"/>
                        <a:pt x="6975" y="22421"/>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9" name="Freeform 4379">
                  <a:extLst>
                    <a:ext uri="{FF2B5EF4-FFF2-40B4-BE49-F238E27FC236}">
                      <a16:creationId xmlns:a16="http://schemas.microsoft.com/office/drawing/2014/main" id="{C4776F47-1D9F-562E-21D6-CA9F272C344A}"/>
                    </a:ext>
                  </a:extLst>
                </p:cNvPr>
                <p:cNvSpPr/>
                <p:nvPr/>
              </p:nvSpPr>
              <p:spPr>
                <a:xfrm>
                  <a:off x="5590145" y="5868645"/>
                  <a:ext cx="26622" cy="26497"/>
                </a:xfrm>
                <a:custGeom>
                  <a:avLst/>
                  <a:gdLst>
                    <a:gd name="connsiteX0" fmla="*/ 26285 w 26622"/>
                    <a:gd name="connsiteY0" fmla="*/ 10177 h 26497"/>
                    <a:gd name="connsiteX1" fmla="*/ 16445 w 26622"/>
                    <a:gd name="connsiteY1" fmla="*/ 26121 h 26497"/>
                    <a:gd name="connsiteX2" fmla="*/ 377 w 26622"/>
                    <a:gd name="connsiteY2" fmla="*/ 16281 h 26497"/>
                    <a:gd name="connsiteX3" fmla="*/ 10217 w 26622"/>
                    <a:gd name="connsiteY3" fmla="*/ 337 h 26497"/>
                    <a:gd name="connsiteX4" fmla="*/ 26285 w 26622"/>
                    <a:gd name="connsiteY4" fmla="*/ 10177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497">
                      <a:moveTo>
                        <a:pt x="26285" y="10177"/>
                      </a:moveTo>
                      <a:cubicBezTo>
                        <a:pt x="27904" y="17277"/>
                        <a:pt x="23545" y="24502"/>
                        <a:pt x="16445" y="26121"/>
                      </a:cubicBezTo>
                      <a:cubicBezTo>
                        <a:pt x="9345" y="27865"/>
                        <a:pt x="2121" y="23380"/>
                        <a:pt x="377" y="16281"/>
                      </a:cubicBezTo>
                      <a:cubicBezTo>
                        <a:pt x="-1367" y="9181"/>
                        <a:pt x="3117" y="1956"/>
                        <a:pt x="10217" y="337"/>
                      </a:cubicBezTo>
                      <a:cubicBezTo>
                        <a:pt x="17441" y="-1282"/>
                        <a:pt x="24541" y="3078"/>
                        <a:pt x="26285"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0" name="Freeform 4380">
                  <a:extLst>
                    <a:ext uri="{FF2B5EF4-FFF2-40B4-BE49-F238E27FC236}">
                      <a16:creationId xmlns:a16="http://schemas.microsoft.com/office/drawing/2014/main" id="{6DB8E80F-760B-8E3B-EA9C-582DAEAEED24}"/>
                    </a:ext>
                  </a:extLst>
                </p:cNvPr>
                <p:cNvSpPr/>
                <p:nvPr/>
              </p:nvSpPr>
              <p:spPr>
                <a:xfrm>
                  <a:off x="5622191" y="5942347"/>
                  <a:ext cx="11531" cy="50944"/>
                </a:xfrm>
                <a:custGeom>
                  <a:avLst/>
                  <a:gdLst>
                    <a:gd name="connsiteX0" fmla="*/ 11427 w 11531"/>
                    <a:gd name="connsiteY0" fmla="*/ 50944 h 50944"/>
                    <a:gd name="connsiteX1" fmla="*/ 9061 w 11531"/>
                    <a:gd name="connsiteY1" fmla="*/ 32260 h 50944"/>
                    <a:gd name="connsiteX2" fmla="*/ 1836 w 11531"/>
                    <a:gd name="connsiteY2" fmla="*/ 16442 h 50944"/>
                    <a:gd name="connsiteX3" fmla="*/ 217 w 11531"/>
                    <a:gd name="connsiteY3" fmla="*/ 0 h 50944"/>
                  </a:gdLst>
                  <a:ahLst/>
                  <a:cxnLst>
                    <a:cxn ang="0">
                      <a:pos x="connsiteX0" y="connsiteY0"/>
                    </a:cxn>
                    <a:cxn ang="0">
                      <a:pos x="connsiteX1" y="connsiteY1"/>
                    </a:cxn>
                    <a:cxn ang="0">
                      <a:pos x="connsiteX2" y="connsiteY2"/>
                    </a:cxn>
                    <a:cxn ang="0">
                      <a:pos x="connsiteX3" y="connsiteY3"/>
                    </a:cxn>
                  </a:cxnLst>
                  <a:rect l="l" t="t" r="r" b="b"/>
                  <a:pathLst>
                    <a:path w="11531" h="50944">
                      <a:moveTo>
                        <a:pt x="11427" y="50944"/>
                      </a:moveTo>
                      <a:cubicBezTo>
                        <a:pt x="11925" y="42599"/>
                        <a:pt x="10555" y="36371"/>
                        <a:pt x="9061" y="32260"/>
                      </a:cubicBezTo>
                      <a:cubicBezTo>
                        <a:pt x="6694" y="25659"/>
                        <a:pt x="3954" y="23168"/>
                        <a:pt x="1836" y="16442"/>
                      </a:cubicBezTo>
                      <a:cubicBezTo>
                        <a:pt x="-281" y="9840"/>
                        <a:pt x="-157" y="3986"/>
                        <a:pt x="2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1" name="Freeform 4381">
                  <a:extLst>
                    <a:ext uri="{FF2B5EF4-FFF2-40B4-BE49-F238E27FC236}">
                      <a16:creationId xmlns:a16="http://schemas.microsoft.com/office/drawing/2014/main" id="{77C5266B-30CD-DD54-6C6C-8C1A0B4F4245}"/>
                    </a:ext>
                  </a:extLst>
                </p:cNvPr>
                <p:cNvSpPr/>
                <p:nvPr/>
              </p:nvSpPr>
              <p:spPr>
                <a:xfrm>
                  <a:off x="5615184" y="5949198"/>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5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30" y="13452"/>
                        <a:pt x="6228" y="17687"/>
                      </a:cubicBezTo>
                      <a:cubicBezTo>
                        <a:pt x="7100" y="24662"/>
                        <a:pt x="5730" y="28025"/>
                        <a:pt x="6851" y="35125"/>
                      </a:cubicBezTo>
                      <a:cubicBezTo>
                        <a:pt x="7972" y="41976"/>
                        <a:pt x="10712" y="47207"/>
                        <a:pt x="1270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2" name="Freeform 4382">
                  <a:extLst>
                    <a:ext uri="{FF2B5EF4-FFF2-40B4-BE49-F238E27FC236}">
                      <a16:creationId xmlns:a16="http://schemas.microsoft.com/office/drawing/2014/main" id="{8040206F-674A-8CAB-B415-DF487E9DD949}"/>
                    </a:ext>
                  </a:extLst>
                </p:cNvPr>
                <p:cNvSpPr/>
                <p:nvPr/>
              </p:nvSpPr>
              <p:spPr>
                <a:xfrm>
                  <a:off x="5618537" y="5987722"/>
                  <a:ext cx="26256" cy="26497"/>
                </a:xfrm>
                <a:custGeom>
                  <a:avLst/>
                  <a:gdLst>
                    <a:gd name="connsiteX0" fmla="*/ 384 w 26256"/>
                    <a:gd name="connsiteY0" fmla="*/ 16281 h 26497"/>
                    <a:gd name="connsiteX1" fmla="*/ 10100 w 26256"/>
                    <a:gd name="connsiteY1" fmla="*/ 337 h 26497"/>
                    <a:gd name="connsiteX2" fmla="*/ 25919 w 26256"/>
                    <a:gd name="connsiteY2" fmla="*/ 10177 h 26497"/>
                    <a:gd name="connsiteX3" fmla="*/ 16203 w 26256"/>
                    <a:gd name="connsiteY3" fmla="*/ 26121 h 26497"/>
                    <a:gd name="connsiteX4" fmla="*/ 384 w 26256"/>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497">
                      <a:moveTo>
                        <a:pt x="384" y="16281"/>
                      </a:moveTo>
                      <a:cubicBezTo>
                        <a:pt x="-1360" y="9181"/>
                        <a:pt x="3000" y="2081"/>
                        <a:pt x="10100" y="337"/>
                      </a:cubicBezTo>
                      <a:cubicBezTo>
                        <a:pt x="17199" y="-1282"/>
                        <a:pt x="24299" y="3078"/>
                        <a:pt x="25919" y="10177"/>
                      </a:cubicBezTo>
                      <a:cubicBezTo>
                        <a:pt x="27538" y="17277"/>
                        <a:pt x="23178" y="24377"/>
                        <a:pt x="16203" y="26121"/>
                      </a:cubicBezTo>
                      <a:cubicBezTo>
                        <a:pt x="9103" y="27865"/>
                        <a:pt x="2003"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8" name="Graphic 2987">
                <a:extLst>
                  <a:ext uri="{FF2B5EF4-FFF2-40B4-BE49-F238E27FC236}">
                    <a16:creationId xmlns:a16="http://schemas.microsoft.com/office/drawing/2014/main" id="{47D9206E-9D6C-AD96-8F6F-CC7BAA619D63}"/>
                  </a:ext>
                </a:extLst>
              </p:cNvPr>
              <p:cNvGrpSpPr/>
              <p:nvPr/>
            </p:nvGrpSpPr>
            <p:grpSpPr>
              <a:xfrm>
                <a:off x="5619082" y="5861794"/>
                <a:ext cx="54483" cy="145699"/>
                <a:chOff x="5619082" y="5861794"/>
                <a:chExt cx="54483" cy="145699"/>
              </a:xfrm>
              <a:grpFill/>
            </p:grpSpPr>
            <p:sp>
              <p:nvSpPr>
                <p:cNvPr id="5051" name="Freeform 4384">
                  <a:extLst>
                    <a:ext uri="{FF2B5EF4-FFF2-40B4-BE49-F238E27FC236}">
                      <a16:creationId xmlns:a16="http://schemas.microsoft.com/office/drawing/2014/main" id="{3C1B9B28-727F-EC99-03E1-4AAEED685061}"/>
                    </a:ext>
                  </a:extLst>
                </p:cNvPr>
                <p:cNvSpPr/>
                <p:nvPr/>
              </p:nvSpPr>
              <p:spPr>
                <a:xfrm>
                  <a:off x="5630360" y="5882808"/>
                  <a:ext cx="11546" cy="50944"/>
                </a:xfrm>
                <a:custGeom>
                  <a:avLst/>
                  <a:gdLst>
                    <a:gd name="connsiteX0" fmla="*/ 145 w 11546"/>
                    <a:gd name="connsiteY0" fmla="*/ 0 h 50944"/>
                    <a:gd name="connsiteX1" fmla="*/ 2512 w 11546"/>
                    <a:gd name="connsiteY1" fmla="*/ 18684 h 50944"/>
                    <a:gd name="connsiteX2" fmla="*/ 9736 w 11546"/>
                    <a:gd name="connsiteY2" fmla="*/ 34502 h 50944"/>
                    <a:gd name="connsiteX3" fmla="*/ 11355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0"/>
                      </a:moveTo>
                      <a:cubicBezTo>
                        <a:pt x="-478" y="8346"/>
                        <a:pt x="1017" y="14573"/>
                        <a:pt x="2512" y="18684"/>
                      </a:cubicBezTo>
                      <a:cubicBezTo>
                        <a:pt x="4878" y="25285"/>
                        <a:pt x="7619" y="27776"/>
                        <a:pt x="9736" y="34502"/>
                      </a:cubicBezTo>
                      <a:cubicBezTo>
                        <a:pt x="11729" y="41104"/>
                        <a:pt x="11729" y="46958"/>
                        <a:pt x="1135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2" name="Freeform 4385">
                  <a:extLst>
                    <a:ext uri="{FF2B5EF4-FFF2-40B4-BE49-F238E27FC236}">
                      <a16:creationId xmlns:a16="http://schemas.microsoft.com/office/drawing/2014/main" id="{538A2A8C-CB1C-C8AF-06F4-A93474C343CA}"/>
                    </a:ext>
                  </a:extLst>
                </p:cNvPr>
                <p:cNvSpPr/>
                <p:nvPr/>
              </p:nvSpPr>
              <p:spPr>
                <a:xfrm>
                  <a:off x="5635985" y="5876207"/>
                  <a:ext cx="12704" cy="50695"/>
                </a:xfrm>
                <a:custGeom>
                  <a:avLst/>
                  <a:gdLst>
                    <a:gd name="connsiteX0" fmla="*/ 12705 w 12704"/>
                    <a:gd name="connsiteY0" fmla="*/ 50695 h 50695"/>
                    <a:gd name="connsiteX1" fmla="*/ 6477 w 12704"/>
                    <a:gd name="connsiteY1" fmla="*/ 32883 h 50695"/>
                    <a:gd name="connsiteX2" fmla="*/ 5854 w 12704"/>
                    <a:gd name="connsiteY2" fmla="*/ 15445 h 50695"/>
                    <a:gd name="connsiteX3" fmla="*/ 0 w 12704"/>
                    <a:gd name="connsiteY3" fmla="*/ 0 h 50695"/>
                  </a:gdLst>
                  <a:ahLst/>
                  <a:cxnLst>
                    <a:cxn ang="0">
                      <a:pos x="connsiteX0" y="connsiteY0"/>
                    </a:cxn>
                    <a:cxn ang="0">
                      <a:pos x="connsiteX1" y="connsiteY1"/>
                    </a:cxn>
                    <a:cxn ang="0">
                      <a:pos x="connsiteX2" y="connsiteY2"/>
                    </a:cxn>
                    <a:cxn ang="0">
                      <a:pos x="connsiteX3" y="connsiteY3"/>
                    </a:cxn>
                  </a:cxnLst>
                  <a:rect l="l" t="t" r="r" b="b"/>
                  <a:pathLst>
                    <a:path w="12704" h="50695">
                      <a:moveTo>
                        <a:pt x="12705" y="50695"/>
                      </a:moveTo>
                      <a:cubicBezTo>
                        <a:pt x="8470" y="43471"/>
                        <a:pt x="6975" y="37243"/>
                        <a:pt x="6477" y="32883"/>
                      </a:cubicBezTo>
                      <a:cubicBezTo>
                        <a:pt x="5605" y="25908"/>
                        <a:pt x="6975" y="22420"/>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3" name="Freeform 4386">
                  <a:extLst>
                    <a:ext uri="{FF2B5EF4-FFF2-40B4-BE49-F238E27FC236}">
                      <a16:creationId xmlns:a16="http://schemas.microsoft.com/office/drawing/2014/main" id="{61DC00C8-58E2-DDE5-4522-61305F50888A}"/>
                    </a:ext>
                  </a:extLst>
                </p:cNvPr>
                <p:cNvSpPr/>
                <p:nvPr/>
              </p:nvSpPr>
              <p:spPr>
                <a:xfrm>
                  <a:off x="5619082" y="5861794"/>
                  <a:ext cx="26582" cy="26497"/>
                </a:xfrm>
                <a:custGeom>
                  <a:avLst/>
                  <a:gdLst>
                    <a:gd name="connsiteX0" fmla="*/ 26245 w 26582"/>
                    <a:gd name="connsiteY0" fmla="*/ 10178 h 26497"/>
                    <a:gd name="connsiteX1" fmla="*/ 16280 w 26582"/>
                    <a:gd name="connsiteY1" fmla="*/ 26121 h 26497"/>
                    <a:gd name="connsiteX2" fmla="*/ 337 w 26582"/>
                    <a:gd name="connsiteY2" fmla="*/ 16281 h 26497"/>
                    <a:gd name="connsiteX3" fmla="*/ 10302 w 26582"/>
                    <a:gd name="connsiteY3" fmla="*/ 337 h 26497"/>
                    <a:gd name="connsiteX4" fmla="*/ 26245 w 26582"/>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1" h="26497">
                      <a:moveTo>
                        <a:pt x="26245" y="10178"/>
                      </a:moveTo>
                      <a:cubicBezTo>
                        <a:pt x="27864" y="17277"/>
                        <a:pt x="23505" y="24502"/>
                        <a:pt x="16280" y="26121"/>
                      </a:cubicBezTo>
                      <a:cubicBezTo>
                        <a:pt x="9181" y="27865"/>
                        <a:pt x="1956" y="23381"/>
                        <a:pt x="337" y="16281"/>
                      </a:cubicBezTo>
                      <a:cubicBezTo>
                        <a:pt x="-1282" y="9181"/>
                        <a:pt x="3077" y="1957"/>
                        <a:pt x="10302" y="337"/>
                      </a:cubicBezTo>
                      <a:cubicBezTo>
                        <a:pt x="17401" y="-1282"/>
                        <a:pt x="24626"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4" name="Freeform 4387">
                  <a:extLst>
                    <a:ext uri="{FF2B5EF4-FFF2-40B4-BE49-F238E27FC236}">
                      <a16:creationId xmlns:a16="http://schemas.microsoft.com/office/drawing/2014/main" id="{63264E8D-BE02-11D2-9B1F-4ED9D75FB875}"/>
                    </a:ext>
                  </a:extLst>
                </p:cNvPr>
                <p:cNvSpPr/>
                <p:nvPr/>
              </p:nvSpPr>
              <p:spPr>
                <a:xfrm>
                  <a:off x="5650865" y="5935621"/>
                  <a:ext cx="11546" cy="50944"/>
                </a:xfrm>
                <a:custGeom>
                  <a:avLst/>
                  <a:gdLst>
                    <a:gd name="connsiteX0" fmla="*/ 11402 w 11546"/>
                    <a:gd name="connsiteY0" fmla="*/ 50944 h 50944"/>
                    <a:gd name="connsiteX1" fmla="*/ 9035 w 11546"/>
                    <a:gd name="connsiteY1" fmla="*/ 32261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5" y="42599"/>
                        <a:pt x="10530" y="36371"/>
                        <a:pt x="9035" y="32261"/>
                      </a:cubicBezTo>
                      <a:cubicBezTo>
                        <a:pt x="6669" y="25659"/>
                        <a:pt x="3928"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5" name="Freeform 4388">
                  <a:extLst>
                    <a:ext uri="{FF2B5EF4-FFF2-40B4-BE49-F238E27FC236}">
                      <a16:creationId xmlns:a16="http://schemas.microsoft.com/office/drawing/2014/main" id="{FD13EBD9-08C4-5171-97C2-239AECB7110F}"/>
                    </a:ext>
                  </a:extLst>
                </p:cNvPr>
                <p:cNvSpPr/>
                <p:nvPr/>
              </p:nvSpPr>
              <p:spPr>
                <a:xfrm>
                  <a:off x="5643957" y="5942472"/>
                  <a:ext cx="12705" cy="50695"/>
                </a:xfrm>
                <a:custGeom>
                  <a:avLst/>
                  <a:gdLst>
                    <a:gd name="connsiteX0" fmla="*/ 0 w 12705"/>
                    <a:gd name="connsiteY0" fmla="*/ 0 h 50695"/>
                    <a:gd name="connsiteX1" fmla="*/ 6228 w 12705"/>
                    <a:gd name="connsiteY1" fmla="*/ 17812 h 50695"/>
                    <a:gd name="connsiteX2" fmla="*/ 6851 w 12705"/>
                    <a:gd name="connsiteY2" fmla="*/ 35250 h 50695"/>
                    <a:gd name="connsiteX3" fmla="*/ 12705 w 12705"/>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705" h="50695">
                      <a:moveTo>
                        <a:pt x="0" y="0"/>
                      </a:moveTo>
                      <a:cubicBezTo>
                        <a:pt x="4235" y="7224"/>
                        <a:pt x="5730" y="13452"/>
                        <a:pt x="6228" y="17812"/>
                      </a:cubicBezTo>
                      <a:cubicBezTo>
                        <a:pt x="7100" y="24787"/>
                        <a:pt x="5730" y="28274"/>
                        <a:pt x="6851" y="35250"/>
                      </a:cubicBezTo>
                      <a:cubicBezTo>
                        <a:pt x="7972" y="42101"/>
                        <a:pt x="10587" y="47332"/>
                        <a:pt x="1270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6" name="Freeform 4389">
                  <a:extLst>
                    <a:ext uri="{FF2B5EF4-FFF2-40B4-BE49-F238E27FC236}">
                      <a16:creationId xmlns:a16="http://schemas.microsoft.com/office/drawing/2014/main" id="{FB078002-A8E4-030B-ADE9-3519C490F5AD}"/>
                    </a:ext>
                  </a:extLst>
                </p:cNvPr>
                <p:cNvSpPr/>
                <p:nvPr/>
              </p:nvSpPr>
              <p:spPr>
                <a:xfrm>
                  <a:off x="5647232" y="5980996"/>
                  <a:ext cx="26333" cy="26497"/>
                </a:xfrm>
                <a:custGeom>
                  <a:avLst/>
                  <a:gdLst>
                    <a:gd name="connsiteX0" fmla="*/ 337 w 26333"/>
                    <a:gd name="connsiteY0" fmla="*/ 16281 h 26497"/>
                    <a:gd name="connsiteX1" fmla="*/ 10178 w 26333"/>
                    <a:gd name="connsiteY1" fmla="*/ 337 h 26497"/>
                    <a:gd name="connsiteX2" fmla="*/ 25996 w 26333"/>
                    <a:gd name="connsiteY2" fmla="*/ 10178 h 26497"/>
                    <a:gd name="connsiteX3" fmla="*/ 16156 w 26333"/>
                    <a:gd name="connsiteY3" fmla="*/ 26121 h 26497"/>
                    <a:gd name="connsiteX4" fmla="*/ 337 w 26333"/>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97">
                      <a:moveTo>
                        <a:pt x="337" y="16281"/>
                      </a:moveTo>
                      <a:cubicBezTo>
                        <a:pt x="-1282" y="9181"/>
                        <a:pt x="3078" y="2081"/>
                        <a:pt x="10178" y="337"/>
                      </a:cubicBezTo>
                      <a:cubicBezTo>
                        <a:pt x="17277" y="-1282"/>
                        <a:pt x="24377" y="3078"/>
                        <a:pt x="25996" y="10178"/>
                      </a:cubicBezTo>
                      <a:cubicBezTo>
                        <a:pt x="27616" y="17277"/>
                        <a:pt x="23256" y="24502"/>
                        <a:pt x="16156" y="26121"/>
                      </a:cubicBezTo>
                      <a:cubicBezTo>
                        <a:pt x="9056" y="27865"/>
                        <a:pt x="1957"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9" name="Graphic 2987">
                <a:extLst>
                  <a:ext uri="{FF2B5EF4-FFF2-40B4-BE49-F238E27FC236}">
                    <a16:creationId xmlns:a16="http://schemas.microsoft.com/office/drawing/2014/main" id="{26B02049-68B5-8E22-4C8D-09F4FC7F4042}"/>
                  </a:ext>
                </a:extLst>
              </p:cNvPr>
              <p:cNvGrpSpPr/>
              <p:nvPr/>
            </p:nvGrpSpPr>
            <p:grpSpPr>
              <a:xfrm>
                <a:off x="5648104" y="5854944"/>
                <a:ext cx="53985" cy="145784"/>
                <a:chOff x="5648104" y="5854944"/>
                <a:chExt cx="53985" cy="145784"/>
              </a:xfrm>
              <a:grpFill/>
            </p:grpSpPr>
            <p:sp>
              <p:nvSpPr>
                <p:cNvPr id="5045" name="Freeform 4391">
                  <a:extLst>
                    <a:ext uri="{FF2B5EF4-FFF2-40B4-BE49-F238E27FC236}">
                      <a16:creationId xmlns:a16="http://schemas.microsoft.com/office/drawing/2014/main" id="{1CDDCCF0-C84E-6C1D-4481-41DF8F5E6018}"/>
                    </a:ext>
                  </a:extLst>
                </p:cNvPr>
                <p:cNvSpPr/>
                <p:nvPr/>
              </p:nvSpPr>
              <p:spPr>
                <a:xfrm>
                  <a:off x="5659256" y="5875958"/>
                  <a:ext cx="11422" cy="50944"/>
                </a:xfrm>
                <a:custGeom>
                  <a:avLst/>
                  <a:gdLst>
                    <a:gd name="connsiteX0" fmla="*/ 145 w 11422"/>
                    <a:gd name="connsiteY0" fmla="*/ 0 h 50944"/>
                    <a:gd name="connsiteX1" fmla="*/ 2388 w 11422"/>
                    <a:gd name="connsiteY1" fmla="*/ 18684 h 50944"/>
                    <a:gd name="connsiteX2" fmla="*/ 9612 w 11422"/>
                    <a:gd name="connsiteY2" fmla="*/ 34502 h 50944"/>
                    <a:gd name="connsiteX3" fmla="*/ 11231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45" y="0"/>
                      </a:moveTo>
                      <a:cubicBezTo>
                        <a:pt x="-477" y="8345"/>
                        <a:pt x="1017" y="14573"/>
                        <a:pt x="2388" y="18684"/>
                      </a:cubicBezTo>
                      <a:cubicBezTo>
                        <a:pt x="4754" y="25285"/>
                        <a:pt x="7495" y="27776"/>
                        <a:pt x="9612" y="34502"/>
                      </a:cubicBezTo>
                      <a:cubicBezTo>
                        <a:pt x="11605" y="41104"/>
                        <a:pt x="11605" y="46958"/>
                        <a:pt x="1123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6" name="Freeform 4392">
                  <a:extLst>
                    <a:ext uri="{FF2B5EF4-FFF2-40B4-BE49-F238E27FC236}">
                      <a16:creationId xmlns:a16="http://schemas.microsoft.com/office/drawing/2014/main" id="{881D082A-B389-3F89-E254-80E35ADDCA2B}"/>
                    </a:ext>
                  </a:extLst>
                </p:cNvPr>
                <p:cNvSpPr/>
                <p:nvPr/>
              </p:nvSpPr>
              <p:spPr>
                <a:xfrm>
                  <a:off x="5665256" y="5869356"/>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7" y="43471"/>
                        <a:pt x="6726" y="37243"/>
                        <a:pt x="6228" y="32883"/>
                      </a:cubicBezTo>
                      <a:cubicBezTo>
                        <a:pt x="5356" y="25908"/>
                        <a:pt x="6851" y="22420"/>
                        <a:pt x="5730" y="15445"/>
                      </a:cubicBezTo>
                      <a:cubicBezTo>
                        <a:pt x="4609"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7" name="Freeform 4393">
                  <a:extLst>
                    <a:ext uri="{FF2B5EF4-FFF2-40B4-BE49-F238E27FC236}">
                      <a16:creationId xmlns:a16="http://schemas.microsoft.com/office/drawing/2014/main" id="{28A77D7B-2088-712B-4763-36584C281477}"/>
                    </a:ext>
                  </a:extLst>
                </p:cNvPr>
                <p:cNvSpPr/>
                <p:nvPr/>
              </p:nvSpPr>
              <p:spPr>
                <a:xfrm>
                  <a:off x="5648104" y="5854944"/>
                  <a:ext cx="26575" cy="26497"/>
                </a:xfrm>
                <a:custGeom>
                  <a:avLst/>
                  <a:gdLst>
                    <a:gd name="connsiteX0" fmla="*/ 26245 w 26575"/>
                    <a:gd name="connsiteY0" fmla="*/ 10178 h 26497"/>
                    <a:gd name="connsiteX1" fmla="*/ 16280 w 26575"/>
                    <a:gd name="connsiteY1" fmla="*/ 26121 h 26497"/>
                    <a:gd name="connsiteX2" fmla="*/ 337 w 26575"/>
                    <a:gd name="connsiteY2" fmla="*/ 16281 h 26497"/>
                    <a:gd name="connsiteX3" fmla="*/ 10302 w 26575"/>
                    <a:gd name="connsiteY3" fmla="*/ 337 h 26497"/>
                    <a:gd name="connsiteX4" fmla="*/ 26245 w 26575"/>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4" h="26497">
                      <a:moveTo>
                        <a:pt x="26245" y="10178"/>
                      </a:moveTo>
                      <a:cubicBezTo>
                        <a:pt x="27864" y="17277"/>
                        <a:pt x="23380" y="24502"/>
                        <a:pt x="16280" y="26121"/>
                      </a:cubicBezTo>
                      <a:cubicBezTo>
                        <a:pt x="9181" y="27865"/>
                        <a:pt x="1956" y="23381"/>
                        <a:pt x="337" y="16281"/>
                      </a:cubicBezTo>
                      <a:cubicBezTo>
                        <a:pt x="-1282" y="9181"/>
                        <a:pt x="3077" y="1957"/>
                        <a:pt x="10302" y="337"/>
                      </a:cubicBezTo>
                      <a:cubicBezTo>
                        <a:pt x="17526" y="-1282"/>
                        <a:pt x="24501"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8" name="Freeform 4394">
                  <a:extLst>
                    <a:ext uri="{FF2B5EF4-FFF2-40B4-BE49-F238E27FC236}">
                      <a16:creationId xmlns:a16="http://schemas.microsoft.com/office/drawing/2014/main" id="{D3445C58-B03B-9C0F-4158-1F02FE7B46DD}"/>
                    </a:ext>
                  </a:extLst>
                </p:cNvPr>
                <p:cNvSpPr/>
                <p:nvPr/>
              </p:nvSpPr>
              <p:spPr>
                <a:xfrm>
                  <a:off x="5679763" y="5928770"/>
                  <a:ext cx="11298" cy="50944"/>
                </a:xfrm>
                <a:custGeom>
                  <a:avLst/>
                  <a:gdLst>
                    <a:gd name="connsiteX0" fmla="*/ 11153 w 11298"/>
                    <a:gd name="connsiteY0" fmla="*/ 50944 h 50944"/>
                    <a:gd name="connsiteX1" fmla="*/ 8911 w 11298"/>
                    <a:gd name="connsiteY1" fmla="*/ 32260 h 50944"/>
                    <a:gd name="connsiteX2" fmla="*/ 1811 w 11298"/>
                    <a:gd name="connsiteY2" fmla="*/ 16442 h 50944"/>
                    <a:gd name="connsiteX3" fmla="*/ 192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50944"/>
                      </a:moveTo>
                      <a:cubicBezTo>
                        <a:pt x="11775" y="42599"/>
                        <a:pt x="10281" y="36371"/>
                        <a:pt x="8911" y="32260"/>
                      </a:cubicBezTo>
                      <a:cubicBezTo>
                        <a:pt x="6544" y="25659"/>
                        <a:pt x="3804"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9" name="Freeform 4395">
                  <a:extLst>
                    <a:ext uri="{FF2B5EF4-FFF2-40B4-BE49-F238E27FC236}">
                      <a16:creationId xmlns:a16="http://schemas.microsoft.com/office/drawing/2014/main" id="{34440687-E6E8-2BBC-434F-DB5C1B31C1CF}"/>
                    </a:ext>
                  </a:extLst>
                </p:cNvPr>
                <p:cNvSpPr/>
                <p:nvPr/>
              </p:nvSpPr>
              <p:spPr>
                <a:xfrm>
                  <a:off x="5672730" y="5935621"/>
                  <a:ext cx="12331" cy="50695"/>
                </a:xfrm>
                <a:custGeom>
                  <a:avLst/>
                  <a:gdLst>
                    <a:gd name="connsiteX0" fmla="*/ 0 w 12331"/>
                    <a:gd name="connsiteY0" fmla="*/ 0 h 50695"/>
                    <a:gd name="connsiteX1" fmla="*/ 6104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225"/>
                        <a:pt x="5605" y="13452"/>
                        <a:pt x="6104" y="17812"/>
                      </a:cubicBezTo>
                      <a:cubicBezTo>
                        <a:pt x="6975" y="24787"/>
                        <a:pt x="5481" y="28275"/>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0" name="Freeform 4396">
                  <a:extLst>
                    <a:ext uri="{FF2B5EF4-FFF2-40B4-BE49-F238E27FC236}">
                      <a16:creationId xmlns:a16="http://schemas.microsoft.com/office/drawing/2014/main" id="{980E7800-0EC2-15DC-6DA3-2D081A36103E}"/>
                    </a:ext>
                  </a:extLst>
                </p:cNvPr>
                <p:cNvSpPr/>
                <p:nvPr/>
              </p:nvSpPr>
              <p:spPr>
                <a:xfrm>
                  <a:off x="5675756" y="5974270"/>
                  <a:ext cx="26333" cy="26458"/>
                </a:xfrm>
                <a:custGeom>
                  <a:avLst/>
                  <a:gdLst>
                    <a:gd name="connsiteX0" fmla="*/ 337 w 26333"/>
                    <a:gd name="connsiteY0" fmla="*/ 16281 h 26458"/>
                    <a:gd name="connsiteX1" fmla="*/ 10177 w 26333"/>
                    <a:gd name="connsiteY1" fmla="*/ 337 h 26458"/>
                    <a:gd name="connsiteX2" fmla="*/ 25996 w 26333"/>
                    <a:gd name="connsiteY2" fmla="*/ 10178 h 26458"/>
                    <a:gd name="connsiteX3" fmla="*/ 16156 w 26333"/>
                    <a:gd name="connsiteY3" fmla="*/ 26121 h 26458"/>
                    <a:gd name="connsiteX4" fmla="*/ 337 w 26333"/>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58">
                      <a:moveTo>
                        <a:pt x="337" y="16281"/>
                      </a:moveTo>
                      <a:cubicBezTo>
                        <a:pt x="-1282" y="9181"/>
                        <a:pt x="3078" y="1957"/>
                        <a:pt x="10177" y="337"/>
                      </a:cubicBezTo>
                      <a:cubicBezTo>
                        <a:pt x="17277" y="-1282"/>
                        <a:pt x="24377" y="3078"/>
                        <a:pt x="25996" y="10178"/>
                      </a:cubicBezTo>
                      <a:cubicBezTo>
                        <a:pt x="27616" y="17277"/>
                        <a:pt x="23256" y="24502"/>
                        <a:pt x="16156" y="26121"/>
                      </a:cubicBezTo>
                      <a:cubicBezTo>
                        <a:pt x="9181" y="27740"/>
                        <a:pt x="2081"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0" name="Graphic 2987">
                <a:extLst>
                  <a:ext uri="{FF2B5EF4-FFF2-40B4-BE49-F238E27FC236}">
                    <a16:creationId xmlns:a16="http://schemas.microsoft.com/office/drawing/2014/main" id="{99E00C13-4518-8D54-A2B5-B5052641E67A}"/>
                  </a:ext>
                </a:extLst>
              </p:cNvPr>
              <p:cNvGrpSpPr/>
              <p:nvPr/>
            </p:nvGrpSpPr>
            <p:grpSpPr>
              <a:xfrm>
                <a:off x="5677008" y="5848224"/>
                <a:ext cx="53723" cy="145852"/>
                <a:chOff x="5677008" y="5848224"/>
                <a:chExt cx="53723" cy="145852"/>
              </a:xfrm>
              <a:grpFill/>
            </p:grpSpPr>
            <p:sp>
              <p:nvSpPr>
                <p:cNvPr id="5039" name="Freeform 4398">
                  <a:extLst>
                    <a:ext uri="{FF2B5EF4-FFF2-40B4-BE49-F238E27FC236}">
                      <a16:creationId xmlns:a16="http://schemas.microsoft.com/office/drawing/2014/main" id="{2FBA13A7-E892-2721-DF73-964D7AF7F32F}"/>
                    </a:ext>
                  </a:extLst>
                </p:cNvPr>
                <p:cNvSpPr/>
                <p:nvPr/>
              </p:nvSpPr>
              <p:spPr>
                <a:xfrm>
                  <a:off x="5688145" y="5869107"/>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6"/>
                        <a:pt x="901" y="14573"/>
                        <a:pt x="2396" y="18684"/>
                      </a:cubicBezTo>
                      <a:cubicBezTo>
                        <a:pt x="4763" y="25285"/>
                        <a:pt x="7503" y="27776"/>
                        <a:pt x="9496" y="34627"/>
                      </a:cubicBezTo>
                      <a:cubicBezTo>
                        <a:pt x="11489"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0" name="Freeform 4399">
                  <a:extLst>
                    <a:ext uri="{FF2B5EF4-FFF2-40B4-BE49-F238E27FC236}">
                      <a16:creationId xmlns:a16="http://schemas.microsoft.com/office/drawing/2014/main" id="{359122ED-3F78-FA70-DDC9-75FA62845D4D}"/>
                    </a:ext>
                  </a:extLst>
                </p:cNvPr>
                <p:cNvSpPr/>
                <p:nvPr/>
              </p:nvSpPr>
              <p:spPr>
                <a:xfrm>
                  <a:off x="5694029" y="5862755"/>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0" y="25908"/>
                        <a:pt x="6851" y="22545"/>
                        <a:pt x="5730"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1" name="Freeform 4400">
                  <a:extLst>
                    <a:ext uri="{FF2B5EF4-FFF2-40B4-BE49-F238E27FC236}">
                      <a16:creationId xmlns:a16="http://schemas.microsoft.com/office/drawing/2014/main" id="{005F202C-AA5E-4B18-BAF8-6F0EEFB697F8}"/>
                    </a:ext>
                  </a:extLst>
                </p:cNvPr>
                <p:cNvSpPr/>
                <p:nvPr/>
              </p:nvSpPr>
              <p:spPr>
                <a:xfrm>
                  <a:off x="5677008" y="5848224"/>
                  <a:ext cx="26693" cy="26445"/>
                </a:xfrm>
                <a:custGeom>
                  <a:avLst/>
                  <a:gdLst>
                    <a:gd name="connsiteX0" fmla="*/ 26363 w 26693"/>
                    <a:gd name="connsiteY0" fmla="*/ 10296 h 26445"/>
                    <a:gd name="connsiteX1" fmla="*/ 16274 w 26693"/>
                    <a:gd name="connsiteY1" fmla="*/ 26114 h 26445"/>
                    <a:gd name="connsiteX2" fmla="*/ 330 w 26693"/>
                    <a:gd name="connsiteY2" fmla="*/ 16150 h 26445"/>
                    <a:gd name="connsiteX3" fmla="*/ 10420 w 26693"/>
                    <a:gd name="connsiteY3" fmla="*/ 331 h 26445"/>
                    <a:gd name="connsiteX4" fmla="*/ 26363 w 26693"/>
                    <a:gd name="connsiteY4" fmla="*/ 10296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45">
                      <a:moveTo>
                        <a:pt x="26363" y="10296"/>
                      </a:moveTo>
                      <a:cubicBezTo>
                        <a:pt x="27982" y="17395"/>
                        <a:pt x="23498" y="24495"/>
                        <a:pt x="16274" y="26114"/>
                      </a:cubicBezTo>
                      <a:cubicBezTo>
                        <a:pt x="9050" y="27734"/>
                        <a:pt x="1950" y="23249"/>
                        <a:pt x="330" y="16150"/>
                      </a:cubicBezTo>
                      <a:cubicBezTo>
                        <a:pt x="-1289" y="9050"/>
                        <a:pt x="3195" y="1825"/>
                        <a:pt x="10420" y="331"/>
                      </a:cubicBezTo>
                      <a:cubicBezTo>
                        <a:pt x="17519" y="-1288"/>
                        <a:pt x="24744" y="3196"/>
                        <a:pt x="26363" y="102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2" name="Freeform 4401">
                  <a:extLst>
                    <a:ext uri="{FF2B5EF4-FFF2-40B4-BE49-F238E27FC236}">
                      <a16:creationId xmlns:a16="http://schemas.microsoft.com/office/drawing/2014/main" id="{82B66C0D-1493-86D2-16D8-0CFA43D57912}"/>
                    </a:ext>
                  </a:extLst>
                </p:cNvPr>
                <p:cNvSpPr/>
                <p:nvPr/>
              </p:nvSpPr>
              <p:spPr>
                <a:xfrm>
                  <a:off x="5708506" y="5922044"/>
                  <a:ext cx="11203" cy="51068"/>
                </a:xfrm>
                <a:custGeom>
                  <a:avLst/>
                  <a:gdLst>
                    <a:gd name="connsiteX0" fmla="*/ 11058 w 11203"/>
                    <a:gd name="connsiteY0" fmla="*/ 51069 h 51068"/>
                    <a:gd name="connsiteX1" fmla="*/ 8816 w 11203"/>
                    <a:gd name="connsiteY1" fmla="*/ 32385 h 51068"/>
                    <a:gd name="connsiteX2" fmla="*/ 1716 w 11203"/>
                    <a:gd name="connsiteY2" fmla="*/ 16442 h 51068"/>
                    <a:gd name="connsiteX3" fmla="*/ 221 w 11203"/>
                    <a:gd name="connsiteY3" fmla="*/ 0 h 51068"/>
                  </a:gdLst>
                  <a:ahLst/>
                  <a:cxnLst>
                    <a:cxn ang="0">
                      <a:pos x="connsiteX0" y="connsiteY0"/>
                    </a:cxn>
                    <a:cxn ang="0">
                      <a:pos x="connsiteX1" y="connsiteY1"/>
                    </a:cxn>
                    <a:cxn ang="0">
                      <a:pos x="connsiteX2" y="connsiteY2"/>
                    </a:cxn>
                    <a:cxn ang="0">
                      <a:pos x="connsiteX3" y="connsiteY3"/>
                    </a:cxn>
                  </a:cxnLst>
                  <a:rect l="l" t="t" r="r" b="b"/>
                  <a:pathLst>
                    <a:path w="11203" h="51068">
                      <a:moveTo>
                        <a:pt x="11058" y="51069"/>
                      </a:moveTo>
                      <a:cubicBezTo>
                        <a:pt x="11681" y="42724"/>
                        <a:pt x="10186" y="36496"/>
                        <a:pt x="8816" y="32385"/>
                      </a:cubicBezTo>
                      <a:cubicBezTo>
                        <a:pt x="6574"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3" name="Freeform 4402">
                  <a:extLst>
                    <a:ext uri="{FF2B5EF4-FFF2-40B4-BE49-F238E27FC236}">
                      <a16:creationId xmlns:a16="http://schemas.microsoft.com/office/drawing/2014/main" id="{6AA0D84C-DAEA-3FB0-2F6D-42A69E9BD06C}"/>
                    </a:ext>
                  </a:extLst>
                </p:cNvPr>
                <p:cNvSpPr/>
                <p:nvPr/>
              </p:nvSpPr>
              <p:spPr>
                <a:xfrm>
                  <a:off x="5701502" y="5928895"/>
                  <a:ext cx="12331" cy="50694"/>
                </a:xfrm>
                <a:custGeom>
                  <a:avLst/>
                  <a:gdLst>
                    <a:gd name="connsiteX0" fmla="*/ 0 w 12331"/>
                    <a:gd name="connsiteY0" fmla="*/ 0 h 50694"/>
                    <a:gd name="connsiteX1" fmla="*/ 6104 w 12331"/>
                    <a:gd name="connsiteY1" fmla="*/ 17812 h 50694"/>
                    <a:gd name="connsiteX2" fmla="*/ 6602 w 12331"/>
                    <a:gd name="connsiteY2" fmla="*/ 35250 h 50694"/>
                    <a:gd name="connsiteX3" fmla="*/ 12331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0" y="0"/>
                      </a:moveTo>
                      <a:cubicBezTo>
                        <a:pt x="4235" y="7349"/>
                        <a:pt x="5605" y="13452"/>
                        <a:pt x="6104" y="17812"/>
                      </a:cubicBezTo>
                      <a:cubicBezTo>
                        <a:pt x="6851" y="24787"/>
                        <a:pt x="5481" y="28150"/>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4" name="Freeform 4403">
                  <a:extLst>
                    <a:ext uri="{FF2B5EF4-FFF2-40B4-BE49-F238E27FC236}">
                      <a16:creationId xmlns:a16="http://schemas.microsoft.com/office/drawing/2014/main" id="{35606394-9EE4-DC12-053A-500E281A466B}"/>
                    </a:ext>
                  </a:extLst>
                </p:cNvPr>
                <p:cNvSpPr/>
                <p:nvPr/>
              </p:nvSpPr>
              <p:spPr>
                <a:xfrm>
                  <a:off x="5704404" y="5967551"/>
                  <a:ext cx="26327" cy="26525"/>
                </a:xfrm>
                <a:custGeom>
                  <a:avLst/>
                  <a:gdLst>
                    <a:gd name="connsiteX0" fmla="*/ 337 w 26327"/>
                    <a:gd name="connsiteY0" fmla="*/ 16149 h 26525"/>
                    <a:gd name="connsiteX1" fmla="*/ 10178 w 26327"/>
                    <a:gd name="connsiteY1" fmla="*/ 331 h 26525"/>
                    <a:gd name="connsiteX2" fmla="*/ 25996 w 26327"/>
                    <a:gd name="connsiteY2" fmla="*/ 10420 h 26525"/>
                    <a:gd name="connsiteX3" fmla="*/ 16156 w 26327"/>
                    <a:gd name="connsiteY3" fmla="*/ 26238 h 26525"/>
                    <a:gd name="connsiteX4" fmla="*/ 337 w 26327"/>
                    <a:gd name="connsiteY4" fmla="*/ 16149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524">
                      <a:moveTo>
                        <a:pt x="337" y="16149"/>
                      </a:moveTo>
                      <a:cubicBezTo>
                        <a:pt x="-1282" y="9049"/>
                        <a:pt x="3078" y="1825"/>
                        <a:pt x="10178" y="331"/>
                      </a:cubicBezTo>
                      <a:cubicBezTo>
                        <a:pt x="17277" y="-1289"/>
                        <a:pt x="24377" y="3195"/>
                        <a:pt x="25996" y="10420"/>
                      </a:cubicBezTo>
                      <a:cubicBezTo>
                        <a:pt x="27616" y="17519"/>
                        <a:pt x="23131" y="24619"/>
                        <a:pt x="16156" y="26238"/>
                      </a:cubicBezTo>
                      <a:cubicBezTo>
                        <a:pt x="9057" y="27733"/>
                        <a:pt x="1957" y="23249"/>
                        <a:pt x="337" y="1614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1" name="Graphic 2987">
                <a:extLst>
                  <a:ext uri="{FF2B5EF4-FFF2-40B4-BE49-F238E27FC236}">
                    <a16:creationId xmlns:a16="http://schemas.microsoft.com/office/drawing/2014/main" id="{3458F0BE-C11C-8DF8-5199-B82AFDE1B5E6}"/>
                  </a:ext>
                </a:extLst>
              </p:cNvPr>
              <p:cNvGrpSpPr/>
              <p:nvPr/>
            </p:nvGrpSpPr>
            <p:grpSpPr>
              <a:xfrm>
                <a:off x="5706030" y="5841748"/>
                <a:ext cx="53598" cy="145895"/>
                <a:chOff x="5706030" y="5841748"/>
                <a:chExt cx="53598" cy="145895"/>
              </a:xfrm>
              <a:grpFill/>
            </p:grpSpPr>
            <p:sp>
              <p:nvSpPr>
                <p:cNvPr id="5033" name="Freeform 4405">
                  <a:extLst>
                    <a:ext uri="{FF2B5EF4-FFF2-40B4-BE49-F238E27FC236}">
                      <a16:creationId xmlns:a16="http://schemas.microsoft.com/office/drawing/2014/main" id="{6ADE4589-3952-2D8D-08BA-A9F7839E86A6}"/>
                    </a:ext>
                  </a:extLst>
                </p:cNvPr>
                <p:cNvSpPr/>
                <p:nvPr/>
              </p:nvSpPr>
              <p:spPr>
                <a:xfrm>
                  <a:off x="5717167" y="5862755"/>
                  <a:ext cx="11212" cy="51068"/>
                </a:xfrm>
                <a:custGeom>
                  <a:avLst/>
                  <a:gdLst>
                    <a:gd name="connsiteX0" fmla="*/ 154 w 11212"/>
                    <a:gd name="connsiteY0" fmla="*/ 0 h 51068"/>
                    <a:gd name="connsiteX1" fmla="*/ 2396 w 11212"/>
                    <a:gd name="connsiteY1" fmla="*/ 18684 h 51068"/>
                    <a:gd name="connsiteX2" fmla="*/ 9496 w 11212"/>
                    <a:gd name="connsiteY2" fmla="*/ 34627 h 51068"/>
                    <a:gd name="connsiteX3" fmla="*/ 10991 w 112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2" h="51068">
                      <a:moveTo>
                        <a:pt x="154" y="0"/>
                      </a:moveTo>
                      <a:cubicBezTo>
                        <a:pt x="-469" y="8345"/>
                        <a:pt x="901" y="14573"/>
                        <a:pt x="2396" y="18684"/>
                      </a:cubicBezTo>
                      <a:cubicBezTo>
                        <a:pt x="4638" y="25285"/>
                        <a:pt x="7503" y="27776"/>
                        <a:pt x="9496" y="34627"/>
                      </a:cubicBezTo>
                      <a:cubicBezTo>
                        <a:pt x="11489" y="41229"/>
                        <a:pt x="11364" y="47083"/>
                        <a:pt x="10991"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4" name="Freeform 4406">
                  <a:extLst>
                    <a:ext uri="{FF2B5EF4-FFF2-40B4-BE49-F238E27FC236}">
                      <a16:creationId xmlns:a16="http://schemas.microsoft.com/office/drawing/2014/main" id="{A6BE6110-0460-FD39-3C49-54AB63A2B578}"/>
                    </a:ext>
                  </a:extLst>
                </p:cNvPr>
                <p:cNvSpPr/>
                <p:nvPr/>
              </p:nvSpPr>
              <p:spPr>
                <a:xfrm>
                  <a:off x="5723051" y="5856278"/>
                  <a:ext cx="12206" cy="50695"/>
                </a:xfrm>
                <a:custGeom>
                  <a:avLst/>
                  <a:gdLst>
                    <a:gd name="connsiteX0" fmla="*/ 12207 w 12206"/>
                    <a:gd name="connsiteY0" fmla="*/ 50695 h 50695"/>
                    <a:gd name="connsiteX1" fmla="*/ 6103 w 12206"/>
                    <a:gd name="connsiteY1" fmla="*/ 32883 h 50695"/>
                    <a:gd name="connsiteX2" fmla="*/ 5730 w 12206"/>
                    <a:gd name="connsiteY2" fmla="*/ 15445 h 50695"/>
                    <a:gd name="connsiteX3" fmla="*/ 0 w 12206"/>
                    <a:gd name="connsiteY3" fmla="*/ 0 h 50695"/>
                  </a:gdLst>
                  <a:ahLst/>
                  <a:cxnLst>
                    <a:cxn ang="0">
                      <a:pos x="connsiteX0" y="connsiteY0"/>
                    </a:cxn>
                    <a:cxn ang="0">
                      <a:pos x="connsiteX1" y="connsiteY1"/>
                    </a:cxn>
                    <a:cxn ang="0">
                      <a:pos x="connsiteX2" y="connsiteY2"/>
                    </a:cxn>
                    <a:cxn ang="0">
                      <a:pos x="connsiteX3" y="connsiteY3"/>
                    </a:cxn>
                  </a:cxnLst>
                  <a:rect l="l" t="t" r="r" b="b"/>
                  <a:pathLst>
                    <a:path w="12206" h="50695">
                      <a:moveTo>
                        <a:pt x="12207" y="50695"/>
                      </a:moveTo>
                      <a:cubicBezTo>
                        <a:pt x="7971" y="43346"/>
                        <a:pt x="6602" y="37243"/>
                        <a:pt x="6103"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5" name="Freeform 4407">
                  <a:extLst>
                    <a:ext uri="{FF2B5EF4-FFF2-40B4-BE49-F238E27FC236}">
                      <a16:creationId xmlns:a16="http://schemas.microsoft.com/office/drawing/2014/main" id="{99432ED5-BF57-3253-B0D3-603C89151CFA}"/>
                    </a:ext>
                  </a:extLst>
                </p:cNvPr>
                <p:cNvSpPr/>
                <p:nvPr/>
              </p:nvSpPr>
              <p:spPr>
                <a:xfrm>
                  <a:off x="5706030" y="5841748"/>
                  <a:ext cx="26693" cy="26568"/>
                </a:xfrm>
                <a:custGeom>
                  <a:avLst/>
                  <a:gdLst>
                    <a:gd name="connsiteX0" fmla="*/ 26363 w 26693"/>
                    <a:gd name="connsiteY0" fmla="*/ 10420 h 26568"/>
                    <a:gd name="connsiteX1" fmla="*/ 16274 w 26693"/>
                    <a:gd name="connsiteY1" fmla="*/ 26238 h 26568"/>
                    <a:gd name="connsiteX2" fmla="*/ 331 w 26693"/>
                    <a:gd name="connsiteY2" fmla="*/ 16149 h 26568"/>
                    <a:gd name="connsiteX3" fmla="*/ 10420 w 26693"/>
                    <a:gd name="connsiteY3" fmla="*/ 331 h 26568"/>
                    <a:gd name="connsiteX4" fmla="*/ 26363 w 2669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67">
                      <a:moveTo>
                        <a:pt x="26363" y="10420"/>
                      </a:moveTo>
                      <a:cubicBezTo>
                        <a:pt x="27982" y="17520"/>
                        <a:pt x="23498" y="24619"/>
                        <a:pt x="16274" y="26238"/>
                      </a:cubicBezTo>
                      <a:cubicBezTo>
                        <a:pt x="9049" y="27858"/>
                        <a:pt x="1950" y="23374"/>
                        <a:pt x="331" y="16149"/>
                      </a:cubicBezTo>
                      <a:cubicBezTo>
                        <a:pt x="-1289" y="9049"/>
                        <a:pt x="3195" y="1950"/>
                        <a:pt x="10420" y="331"/>
                      </a:cubicBezTo>
                      <a:cubicBezTo>
                        <a:pt x="17644" y="-1289"/>
                        <a:pt x="24744" y="3195"/>
                        <a:pt x="2636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6" name="Freeform 4408">
                  <a:extLst>
                    <a:ext uri="{FF2B5EF4-FFF2-40B4-BE49-F238E27FC236}">
                      <a16:creationId xmlns:a16="http://schemas.microsoft.com/office/drawing/2014/main" id="{0596C171-EF60-7D65-1C96-E0B0B2ABF779}"/>
                    </a:ext>
                  </a:extLst>
                </p:cNvPr>
                <p:cNvSpPr/>
                <p:nvPr/>
              </p:nvSpPr>
              <p:spPr>
                <a:xfrm>
                  <a:off x="5737278" y="5915692"/>
                  <a:ext cx="11211" cy="51068"/>
                </a:xfrm>
                <a:custGeom>
                  <a:avLst/>
                  <a:gdLst>
                    <a:gd name="connsiteX0" fmla="*/ 11058 w 11211"/>
                    <a:gd name="connsiteY0" fmla="*/ 51068 h 51068"/>
                    <a:gd name="connsiteX1" fmla="*/ 8816 w 11211"/>
                    <a:gd name="connsiteY1" fmla="*/ 32385 h 51068"/>
                    <a:gd name="connsiteX2" fmla="*/ 1716 w 11211"/>
                    <a:gd name="connsiteY2" fmla="*/ 16441 h 51068"/>
                    <a:gd name="connsiteX3" fmla="*/ 22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8"/>
                      </a:moveTo>
                      <a:cubicBezTo>
                        <a:pt x="11681" y="42723"/>
                        <a:pt x="10311" y="36495"/>
                        <a:pt x="8816" y="32385"/>
                      </a:cubicBezTo>
                      <a:cubicBezTo>
                        <a:pt x="6574" y="25783"/>
                        <a:pt x="3834" y="23292"/>
                        <a:pt x="1716" y="16441"/>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7" name="Freeform 4409">
                  <a:extLst>
                    <a:ext uri="{FF2B5EF4-FFF2-40B4-BE49-F238E27FC236}">
                      <a16:creationId xmlns:a16="http://schemas.microsoft.com/office/drawing/2014/main" id="{BE7BA811-9A48-7731-8F6C-9747E76C09BE}"/>
                    </a:ext>
                  </a:extLst>
                </p:cNvPr>
                <p:cNvSpPr/>
                <p:nvPr/>
              </p:nvSpPr>
              <p:spPr>
                <a:xfrm>
                  <a:off x="5730400" y="5922418"/>
                  <a:ext cx="12331" cy="50695"/>
                </a:xfrm>
                <a:custGeom>
                  <a:avLst/>
                  <a:gdLst>
                    <a:gd name="connsiteX0" fmla="*/ 0 w 12331"/>
                    <a:gd name="connsiteY0" fmla="*/ 0 h 50695"/>
                    <a:gd name="connsiteX1" fmla="*/ 6103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349"/>
                        <a:pt x="5605" y="13452"/>
                        <a:pt x="6103" y="17812"/>
                      </a:cubicBezTo>
                      <a:cubicBezTo>
                        <a:pt x="6851" y="24787"/>
                        <a:pt x="5481" y="28150"/>
                        <a:pt x="6602" y="35250"/>
                      </a:cubicBezTo>
                      <a:cubicBezTo>
                        <a:pt x="7598" y="42101"/>
                        <a:pt x="10214"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8" name="Freeform 4410">
                  <a:extLst>
                    <a:ext uri="{FF2B5EF4-FFF2-40B4-BE49-F238E27FC236}">
                      <a16:creationId xmlns:a16="http://schemas.microsoft.com/office/drawing/2014/main" id="{5AD88642-80AF-BF0A-68F3-E016ABE5E663}"/>
                    </a:ext>
                  </a:extLst>
                </p:cNvPr>
                <p:cNvSpPr/>
                <p:nvPr/>
              </p:nvSpPr>
              <p:spPr>
                <a:xfrm>
                  <a:off x="5733183" y="5961074"/>
                  <a:ext cx="26445" cy="26569"/>
                </a:xfrm>
                <a:custGeom>
                  <a:avLst/>
                  <a:gdLst>
                    <a:gd name="connsiteX0" fmla="*/ 331 w 26445"/>
                    <a:gd name="connsiteY0" fmla="*/ 16150 h 26569"/>
                    <a:gd name="connsiteX1" fmla="*/ 10295 w 26445"/>
                    <a:gd name="connsiteY1" fmla="*/ 331 h 26569"/>
                    <a:gd name="connsiteX2" fmla="*/ 26114 w 26445"/>
                    <a:gd name="connsiteY2" fmla="*/ 10420 h 26569"/>
                    <a:gd name="connsiteX3" fmla="*/ 16150 w 26445"/>
                    <a:gd name="connsiteY3" fmla="*/ 26239 h 26569"/>
                    <a:gd name="connsiteX4" fmla="*/ 331 w 26445"/>
                    <a:gd name="connsiteY4" fmla="*/ 1615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569">
                      <a:moveTo>
                        <a:pt x="331" y="16150"/>
                      </a:moveTo>
                      <a:cubicBezTo>
                        <a:pt x="-1288" y="9050"/>
                        <a:pt x="3196" y="1950"/>
                        <a:pt x="10295" y="331"/>
                      </a:cubicBezTo>
                      <a:cubicBezTo>
                        <a:pt x="17395" y="-1289"/>
                        <a:pt x="24495" y="3195"/>
                        <a:pt x="26114" y="10420"/>
                      </a:cubicBezTo>
                      <a:cubicBezTo>
                        <a:pt x="27734" y="17520"/>
                        <a:pt x="23249" y="24619"/>
                        <a:pt x="16150" y="26239"/>
                      </a:cubicBezTo>
                      <a:cubicBezTo>
                        <a:pt x="9050" y="27858"/>
                        <a:pt x="1950" y="23374"/>
                        <a:pt x="331"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2" name="Graphic 2987">
                <a:extLst>
                  <a:ext uri="{FF2B5EF4-FFF2-40B4-BE49-F238E27FC236}">
                    <a16:creationId xmlns:a16="http://schemas.microsoft.com/office/drawing/2014/main" id="{4EE0A1C6-17A9-C11E-B030-ED3BAB9208F6}"/>
                  </a:ext>
                </a:extLst>
              </p:cNvPr>
              <p:cNvGrpSpPr/>
              <p:nvPr/>
            </p:nvGrpSpPr>
            <p:grpSpPr>
              <a:xfrm>
                <a:off x="5735176" y="5835271"/>
                <a:ext cx="52937" cy="146013"/>
                <a:chOff x="5735176" y="5835271"/>
                <a:chExt cx="52937" cy="146013"/>
              </a:xfrm>
              <a:grpFill/>
            </p:grpSpPr>
            <p:sp>
              <p:nvSpPr>
                <p:cNvPr id="5027" name="Freeform 4412">
                  <a:extLst>
                    <a:ext uri="{FF2B5EF4-FFF2-40B4-BE49-F238E27FC236}">
                      <a16:creationId xmlns:a16="http://schemas.microsoft.com/office/drawing/2014/main" id="{B1D9DFF7-6D46-63EB-2358-1E932B2FF229}"/>
                    </a:ext>
                  </a:extLst>
                </p:cNvPr>
                <p:cNvSpPr/>
                <p:nvPr/>
              </p:nvSpPr>
              <p:spPr>
                <a:xfrm>
                  <a:off x="5746189" y="585627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7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6"/>
                        <a:pt x="902" y="14573"/>
                        <a:pt x="2272" y="18684"/>
                      </a:cubicBezTo>
                      <a:cubicBezTo>
                        <a:pt x="4514" y="25285"/>
                        <a:pt x="7254" y="27776"/>
                        <a:pt x="9372" y="34627"/>
                      </a:cubicBezTo>
                      <a:cubicBezTo>
                        <a:pt x="11365" y="41229"/>
                        <a:pt x="11240" y="47083"/>
                        <a:pt x="1086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8" name="Freeform 4413">
                  <a:extLst>
                    <a:ext uri="{FF2B5EF4-FFF2-40B4-BE49-F238E27FC236}">
                      <a16:creationId xmlns:a16="http://schemas.microsoft.com/office/drawing/2014/main" id="{1B0404B3-0BCD-BD18-E012-418085AE3EB3}"/>
                    </a:ext>
                  </a:extLst>
                </p:cNvPr>
                <p:cNvSpPr/>
                <p:nvPr/>
              </p:nvSpPr>
              <p:spPr>
                <a:xfrm>
                  <a:off x="5752073" y="5849801"/>
                  <a:ext cx="12082" cy="50695"/>
                </a:xfrm>
                <a:custGeom>
                  <a:avLst/>
                  <a:gdLst>
                    <a:gd name="connsiteX0" fmla="*/ 12082 w 12082"/>
                    <a:gd name="connsiteY0" fmla="*/ 50695 h 50695"/>
                    <a:gd name="connsiteX1" fmla="*/ 6104 w 12082"/>
                    <a:gd name="connsiteY1" fmla="*/ 32883 h 50695"/>
                    <a:gd name="connsiteX2" fmla="*/ 5730 w 12082"/>
                    <a:gd name="connsiteY2" fmla="*/ 15445 h 50695"/>
                    <a:gd name="connsiteX3" fmla="*/ 0 w 12082"/>
                    <a:gd name="connsiteY3" fmla="*/ 0 h 50695"/>
                  </a:gdLst>
                  <a:ahLst/>
                  <a:cxnLst>
                    <a:cxn ang="0">
                      <a:pos x="connsiteX0" y="connsiteY0"/>
                    </a:cxn>
                    <a:cxn ang="0">
                      <a:pos x="connsiteX1" y="connsiteY1"/>
                    </a:cxn>
                    <a:cxn ang="0">
                      <a:pos x="connsiteX2" y="connsiteY2"/>
                    </a:cxn>
                    <a:cxn ang="0">
                      <a:pos x="connsiteX3" y="connsiteY3"/>
                    </a:cxn>
                  </a:cxnLst>
                  <a:rect l="l" t="t" r="r" b="b"/>
                  <a:pathLst>
                    <a:path w="12082" h="50695">
                      <a:moveTo>
                        <a:pt x="12082" y="50695"/>
                      </a:moveTo>
                      <a:cubicBezTo>
                        <a:pt x="7972" y="43346"/>
                        <a:pt x="6602" y="37243"/>
                        <a:pt x="6104"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9" name="Freeform 4414">
                  <a:extLst>
                    <a:ext uri="{FF2B5EF4-FFF2-40B4-BE49-F238E27FC236}">
                      <a16:creationId xmlns:a16="http://schemas.microsoft.com/office/drawing/2014/main" id="{88C2F553-2844-ADD5-17DF-A7F6A2190F16}"/>
                    </a:ext>
                  </a:extLst>
                </p:cNvPr>
                <p:cNvSpPr/>
                <p:nvPr/>
              </p:nvSpPr>
              <p:spPr>
                <a:xfrm>
                  <a:off x="5735176" y="5835271"/>
                  <a:ext cx="26562" cy="26569"/>
                </a:xfrm>
                <a:custGeom>
                  <a:avLst/>
                  <a:gdLst>
                    <a:gd name="connsiteX0" fmla="*/ 26238 w 26562"/>
                    <a:gd name="connsiteY0" fmla="*/ 10420 h 26569"/>
                    <a:gd name="connsiteX1" fmla="*/ 16149 w 26562"/>
                    <a:gd name="connsiteY1" fmla="*/ 26239 h 26569"/>
                    <a:gd name="connsiteX2" fmla="*/ 331 w 26562"/>
                    <a:gd name="connsiteY2" fmla="*/ 16149 h 26569"/>
                    <a:gd name="connsiteX3" fmla="*/ 10420 w 26562"/>
                    <a:gd name="connsiteY3" fmla="*/ 330 h 26569"/>
                    <a:gd name="connsiteX4" fmla="*/ 26238 w 26562"/>
                    <a:gd name="connsiteY4" fmla="*/ 1042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2" h="26569">
                      <a:moveTo>
                        <a:pt x="26238" y="10420"/>
                      </a:moveTo>
                      <a:cubicBezTo>
                        <a:pt x="27858" y="17519"/>
                        <a:pt x="23249" y="24619"/>
                        <a:pt x="16149" y="26239"/>
                      </a:cubicBezTo>
                      <a:cubicBezTo>
                        <a:pt x="8925" y="27858"/>
                        <a:pt x="1825" y="23374"/>
                        <a:pt x="331" y="16149"/>
                      </a:cubicBezTo>
                      <a:cubicBezTo>
                        <a:pt x="-1289" y="9050"/>
                        <a:pt x="3195" y="1950"/>
                        <a:pt x="10420" y="330"/>
                      </a:cubicBezTo>
                      <a:cubicBezTo>
                        <a:pt x="17520" y="-1289"/>
                        <a:pt x="24619" y="3195"/>
                        <a:pt x="26238"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0" name="Freeform 4415">
                  <a:extLst>
                    <a:ext uri="{FF2B5EF4-FFF2-40B4-BE49-F238E27FC236}">
                      <a16:creationId xmlns:a16="http://schemas.microsoft.com/office/drawing/2014/main" id="{C77CD5AC-CCA8-AE5B-5939-0470B5770574}"/>
                    </a:ext>
                  </a:extLst>
                </p:cNvPr>
                <p:cNvSpPr/>
                <p:nvPr/>
              </p:nvSpPr>
              <p:spPr>
                <a:xfrm>
                  <a:off x="5766176" y="5909215"/>
                  <a:ext cx="10963" cy="51068"/>
                </a:xfrm>
                <a:custGeom>
                  <a:avLst/>
                  <a:gdLst>
                    <a:gd name="connsiteX0" fmla="*/ 10809 w 10963"/>
                    <a:gd name="connsiteY0" fmla="*/ 51069 h 51068"/>
                    <a:gd name="connsiteX1" fmla="*/ 8691 w 10963"/>
                    <a:gd name="connsiteY1" fmla="*/ 32385 h 51068"/>
                    <a:gd name="connsiteX2" fmla="*/ 1716 w 10963"/>
                    <a:gd name="connsiteY2" fmla="*/ 16442 h 51068"/>
                    <a:gd name="connsiteX3" fmla="*/ 221 w 10963"/>
                    <a:gd name="connsiteY3" fmla="*/ 0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51069"/>
                      </a:moveTo>
                      <a:cubicBezTo>
                        <a:pt x="11432" y="42724"/>
                        <a:pt x="10061" y="36496"/>
                        <a:pt x="8691" y="32385"/>
                      </a:cubicBezTo>
                      <a:cubicBezTo>
                        <a:pt x="6449"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1" name="Freeform 4416">
                  <a:extLst>
                    <a:ext uri="{FF2B5EF4-FFF2-40B4-BE49-F238E27FC236}">
                      <a16:creationId xmlns:a16="http://schemas.microsoft.com/office/drawing/2014/main" id="{EEC5D2B7-B578-1FFF-F398-1ACCAE83E415}"/>
                    </a:ext>
                  </a:extLst>
                </p:cNvPr>
                <p:cNvSpPr/>
                <p:nvPr/>
              </p:nvSpPr>
              <p:spPr>
                <a:xfrm>
                  <a:off x="5759297" y="5916066"/>
                  <a:ext cx="11957" cy="50694"/>
                </a:xfrm>
                <a:custGeom>
                  <a:avLst/>
                  <a:gdLst>
                    <a:gd name="connsiteX0" fmla="*/ 0 w 11957"/>
                    <a:gd name="connsiteY0" fmla="*/ 0 h 50694"/>
                    <a:gd name="connsiteX1" fmla="*/ 5979 w 11957"/>
                    <a:gd name="connsiteY1" fmla="*/ 17812 h 50694"/>
                    <a:gd name="connsiteX2" fmla="*/ 6353 w 11957"/>
                    <a:gd name="connsiteY2" fmla="*/ 35250 h 50694"/>
                    <a:gd name="connsiteX3" fmla="*/ 11957 w 1195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1957" h="50694">
                      <a:moveTo>
                        <a:pt x="0" y="0"/>
                      </a:moveTo>
                      <a:cubicBezTo>
                        <a:pt x="4110" y="7349"/>
                        <a:pt x="5481" y="13452"/>
                        <a:pt x="5979" y="17812"/>
                      </a:cubicBezTo>
                      <a:cubicBezTo>
                        <a:pt x="6726" y="24787"/>
                        <a:pt x="5356" y="28150"/>
                        <a:pt x="6353" y="35250"/>
                      </a:cubicBezTo>
                      <a:cubicBezTo>
                        <a:pt x="7349" y="42101"/>
                        <a:pt x="9964" y="47332"/>
                        <a:pt x="1195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2" name="Freeform 4417">
                  <a:extLst>
                    <a:ext uri="{FF2B5EF4-FFF2-40B4-BE49-F238E27FC236}">
                      <a16:creationId xmlns:a16="http://schemas.microsoft.com/office/drawing/2014/main" id="{7E88D067-7DBF-C919-BF3F-8741486AB368}"/>
                    </a:ext>
                  </a:extLst>
                </p:cNvPr>
                <p:cNvSpPr/>
                <p:nvPr/>
              </p:nvSpPr>
              <p:spPr>
                <a:xfrm>
                  <a:off x="5761831" y="5954728"/>
                  <a:ext cx="26282" cy="26556"/>
                </a:xfrm>
                <a:custGeom>
                  <a:avLst/>
                  <a:gdLst>
                    <a:gd name="connsiteX0" fmla="*/ 331 w 26282"/>
                    <a:gd name="connsiteY0" fmla="*/ 16143 h 26556"/>
                    <a:gd name="connsiteX1" fmla="*/ 10296 w 26282"/>
                    <a:gd name="connsiteY1" fmla="*/ 325 h 26556"/>
                    <a:gd name="connsiteX2" fmla="*/ 25990 w 26282"/>
                    <a:gd name="connsiteY2" fmla="*/ 10414 h 26556"/>
                    <a:gd name="connsiteX3" fmla="*/ 16025 w 26282"/>
                    <a:gd name="connsiteY3" fmla="*/ 26232 h 26556"/>
                    <a:gd name="connsiteX4" fmla="*/ 331 w 26282"/>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56">
                      <a:moveTo>
                        <a:pt x="331" y="16143"/>
                      </a:moveTo>
                      <a:cubicBezTo>
                        <a:pt x="-1288" y="9043"/>
                        <a:pt x="3196" y="1943"/>
                        <a:pt x="10296" y="325"/>
                      </a:cubicBezTo>
                      <a:cubicBezTo>
                        <a:pt x="17395" y="-1295"/>
                        <a:pt x="24495" y="3314"/>
                        <a:pt x="25990" y="10414"/>
                      </a:cubicBezTo>
                      <a:cubicBezTo>
                        <a:pt x="27485" y="17513"/>
                        <a:pt x="23125" y="24613"/>
                        <a:pt x="16025"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3" name="Graphic 2987">
                <a:extLst>
                  <a:ext uri="{FF2B5EF4-FFF2-40B4-BE49-F238E27FC236}">
                    <a16:creationId xmlns:a16="http://schemas.microsoft.com/office/drawing/2014/main" id="{0B6F3441-004F-B0E2-E62B-EB427D939D13}"/>
                  </a:ext>
                </a:extLst>
              </p:cNvPr>
              <p:cNvGrpSpPr/>
              <p:nvPr/>
            </p:nvGrpSpPr>
            <p:grpSpPr>
              <a:xfrm>
                <a:off x="5764204" y="5828794"/>
                <a:ext cx="52720" cy="146100"/>
                <a:chOff x="5764204" y="5828794"/>
                <a:chExt cx="52720" cy="146100"/>
              </a:xfrm>
              <a:grpFill/>
            </p:grpSpPr>
            <p:sp>
              <p:nvSpPr>
                <p:cNvPr id="5021" name="Freeform 4419">
                  <a:extLst>
                    <a:ext uri="{FF2B5EF4-FFF2-40B4-BE49-F238E27FC236}">
                      <a16:creationId xmlns:a16="http://schemas.microsoft.com/office/drawing/2014/main" id="{C9221C25-48AA-4CAC-4988-D22BACB197CD}"/>
                    </a:ext>
                  </a:extLst>
                </p:cNvPr>
                <p:cNvSpPr/>
                <p:nvPr/>
              </p:nvSpPr>
              <p:spPr>
                <a:xfrm>
                  <a:off x="5775166" y="5849801"/>
                  <a:ext cx="10973" cy="51068"/>
                </a:xfrm>
                <a:custGeom>
                  <a:avLst/>
                  <a:gdLst>
                    <a:gd name="connsiteX0" fmla="*/ 200 w 10973"/>
                    <a:gd name="connsiteY0" fmla="*/ 0 h 51068"/>
                    <a:gd name="connsiteX1" fmla="*/ 2317 w 10973"/>
                    <a:gd name="connsiteY1" fmla="*/ 18684 h 51068"/>
                    <a:gd name="connsiteX2" fmla="*/ 9292 w 10973"/>
                    <a:gd name="connsiteY2" fmla="*/ 34627 h 51068"/>
                    <a:gd name="connsiteX3" fmla="*/ 10662 w 1097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73" h="51068">
                      <a:moveTo>
                        <a:pt x="200" y="0"/>
                      </a:moveTo>
                      <a:cubicBezTo>
                        <a:pt x="-548" y="8345"/>
                        <a:pt x="947" y="14573"/>
                        <a:pt x="2317" y="18684"/>
                      </a:cubicBezTo>
                      <a:cubicBezTo>
                        <a:pt x="4559" y="25285"/>
                        <a:pt x="7299" y="27776"/>
                        <a:pt x="9292" y="34627"/>
                      </a:cubicBezTo>
                      <a:cubicBezTo>
                        <a:pt x="11285" y="41229"/>
                        <a:pt x="11160" y="47207"/>
                        <a:pt x="1066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2" name="Freeform 4420">
                  <a:extLst>
                    <a:ext uri="{FF2B5EF4-FFF2-40B4-BE49-F238E27FC236}">
                      <a16:creationId xmlns:a16="http://schemas.microsoft.com/office/drawing/2014/main" id="{F238961F-246A-43AA-9C8C-304ED2EBB73D}"/>
                    </a:ext>
                  </a:extLst>
                </p:cNvPr>
                <p:cNvSpPr/>
                <p:nvPr/>
              </p:nvSpPr>
              <p:spPr>
                <a:xfrm>
                  <a:off x="5781095" y="5843324"/>
                  <a:ext cx="11957" cy="50819"/>
                </a:xfrm>
                <a:custGeom>
                  <a:avLst/>
                  <a:gdLst>
                    <a:gd name="connsiteX0" fmla="*/ 11957 w 11957"/>
                    <a:gd name="connsiteY0" fmla="*/ 50819 h 50819"/>
                    <a:gd name="connsiteX1" fmla="*/ 5979 w 11957"/>
                    <a:gd name="connsiteY1" fmla="*/ 33008 h 50819"/>
                    <a:gd name="connsiteX2" fmla="*/ 5605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19"/>
                      </a:moveTo>
                      <a:cubicBezTo>
                        <a:pt x="7847" y="43471"/>
                        <a:pt x="6477" y="37367"/>
                        <a:pt x="5979" y="33008"/>
                      </a:cubicBezTo>
                      <a:cubicBezTo>
                        <a:pt x="5231" y="26033"/>
                        <a:pt x="6726" y="22669"/>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3" name="Freeform 4421">
                  <a:extLst>
                    <a:ext uri="{FF2B5EF4-FFF2-40B4-BE49-F238E27FC236}">
                      <a16:creationId xmlns:a16="http://schemas.microsoft.com/office/drawing/2014/main" id="{37D09022-6907-DCB0-4C26-2C6282843D3F}"/>
                    </a:ext>
                  </a:extLst>
                </p:cNvPr>
                <p:cNvSpPr/>
                <p:nvPr/>
              </p:nvSpPr>
              <p:spPr>
                <a:xfrm>
                  <a:off x="5764204" y="5828794"/>
                  <a:ext cx="26557" cy="26568"/>
                </a:xfrm>
                <a:custGeom>
                  <a:avLst/>
                  <a:gdLst>
                    <a:gd name="connsiteX0" fmla="*/ 26233 w 26557"/>
                    <a:gd name="connsiteY0" fmla="*/ 10420 h 26568"/>
                    <a:gd name="connsiteX1" fmla="*/ 16143 w 26557"/>
                    <a:gd name="connsiteY1" fmla="*/ 26238 h 26568"/>
                    <a:gd name="connsiteX2" fmla="*/ 324 w 26557"/>
                    <a:gd name="connsiteY2" fmla="*/ 16149 h 26568"/>
                    <a:gd name="connsiteX3" fmla="*/ 10414 w 26557"/>
                    <a:gd name="connsiteY3" fmla="*/ 331 h 26568"/>
                    <a:gd name="connsiteX4" fmla="*/ 26233 w 26557"/>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567">
                      <a:moveTo>
                        <a:pt x="26233" y="10420"/>
                      </a:moveTo>
                      <a:cubicBezTo>
                        <a:pt x="27852" y="17520"/>
                        <a:pt x="23243" y="24619"/>
                        <a:pt x="16143" y="26238"/>
                      </a:cubicBezTo>
                      <a:cubicBezTo>
                        <a:pt x="8919" y="27858"/>
                        <a:pt x="1944" y="23374"/>
                        <a:pt x="324" y="16149"/>
                      </a:cubicBezTo>
                      <a:cubicBezTo>
                        <a:pt x="-1295" y="9050"/>
                        <a:pt x="3314" y="1950"/>
                        <a:pt x="10414" y="331"/>
                      </a:cubicBezTo>
                      <a:cubicBezTo>
                        <a:pt x="17638" y="-1289"/>
                        <a:pt x="24738" y="3195"/>
                        <a:pt x="2623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4" name="Freeform 4422">
                  <a:extLst>
                    <a:ext uri="{FF2B5EF4-FFF2-40B4-BE49-F238E27FC236}">
                      <a16:creationId xmlns:a16="http://schemas.microsoft.com/office/drawing/2014/main" id="{826BA91B-F930-F678-8A5F-C25385A490E1}"/>
                    </a:ext>
                  </a:extLst>
                </p:cNvPr>
                <p:cNvSpPr/>
                <p:nvPr/>
              </p:nvSpPr>
              <p:spPr>
                <a:xfrm>
                  <a:off x="5794983" y="5902862"/>
                  <a:ext cx="10928" cy="51068"/>
                </a:xfrm>
                <a:custGeom>
                  <a:avLst/>
                  <a:gdLst>
                    <a:gd name="connsiteX0" fmla="*/ 10774 w 10928"/>
                    <a:gd name="connsiteY0" fmla="*/ 51068 h 51068"/>
                    <a:gd name="connsiteX1" fmla="*/ 8657 w 10928"/>
                    <a:gd name="connsiteY1" fmla="*/ 32385 h 51068"/>
                    <a:gd name="connsiteX2" fmla="*/ 1682 w 10928"/>
                    <a:gd name="connsiteY2" fmla="*/ 16441 h 51068"/>
                    <a:gd name="connsiteX3" fmla="*/ 311 w 10928"/>
                    <a:gd name="connsiteY3" fmla="*/ 0 h 51068"/>
                  </a:gdLst>
                  <a:ahLst/>
                  <a:cxnLst>
                    <a:cxn ang="0">
                      <a:pos x="connsiteX0" y="connsiteY0"/>
                    </a:cxn>
                    <a:cxn ang="0">
                      <a:pos x="connsiteX1" y="connsiteY1"/>
                    </a:cxn>
                    <a:cxn ang="0">
                      <a:pos x="connsiteX2" y="connsiteY2"/>
                    </a:cxn>
                    <a:cxn ang="0">
                      <a:pos x="connsiteX3" y="connsiteY3"/>
                    </a:cxn>
                  </a:cxnLst>
                  <a:rect l="l" t="t" r="r" b="b"/>
                  <a:pathLst>
                    <a:path w="10928" h="51068">
                      <a:moveTo>
                        <a:pt x="10774" y="51068"/>
                      </a:moveTo>
                      <a:cubicBezTo>
                        <a:pt x="11397" y="42723"/>
                        <a:pt x="10027" y="36495"/>
                        <a:pt x="8657" y="32385"/>
                      </a:cubicBezTo>
                      <a:cubicBezTo>
                        <a:pt x="6415" y="25783"/>
                        <a:pt x="3675" y="23292"/>
                        <a:pt x="1682" y="16441"/>
                      </a:cubicBezTo>
                      <a:cubicBezTo>
                        <a:pt x="-311" y="9840"/>
                        <a:pt x="-187" y="3861"/>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5" name="Freeform 4423">
                  <a:extLst>
                    <a:ext uri="{FF2B5EF4-FFF2-40B4-BE49-F238E27FC236}">
                      <a16:creationId xmlns:a16="http://schemas.microsoft.com/office/drawing/2014/main" id="{AB1E7300-C687-7BA9-4F88-7554081B446B}"/>
                    </a:ext>
                  </a:extLst>
                </p:cNvPr>
                <p:cNvSpPr/>
                <p:nvPr/>
              </p:nvSpPr>
              <p:spPr>
                <a:xfrm>
                  <a:off x="5788195" y="5909588"/>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452"/>
                        <a:pt x="5979" y="17812"/>
                      </a:cubicBezTo>
                      <a:cubicBezTo>
                        <a:pt x="6726" y="24787"/>
                        <a:pt x="5356" y="28150"/>
                        <a:pt x="6352" y="35250"/>
                      </a:cubicBezTo>
                      <a:cubicBezTo>
                        <a:pt x="7349"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6" name="Freeform 4424">
                  <a:extLst>
                    <a:ext uri="{FF2B5EF4-FFF2-40B4-BE49-F238E27FC236}">
                      <a16:creationId xmlns:a16="http://schemas.microsoft.com/office/drawing/2014/main" id="{311526D8-8EFA-7BA4-D5DF-A64A294A0F4C}"/>
                    </a:ext>
                  </a:extLst>
                </p:cNvPr>
                <p:cNvSpPr/>
                <p:nvPr/>
              </p:nvSpPr>
              <p:spPr>
                <a:xfrm>
                  <a:off x="5790604" y="5948375"/>
                  <a:ext cx="26320" cy="26519"/>
                </a:xfrm>
                <a:custGeom>
                  <a:avLst/>
                  <a:gdLst>
                    <a:gd name="connsiteX0" fmla="*/ 331 w 26320"/>
                    <a:gd name="connsiteY0" fmla="*/ 16143 h 26519"/>
                    <a:gd name="connsiteX1" fmla="*/ 10295 w 26320"/>
                    <a:gd name="connsiteY1" fmla="*/ 325 h 26519"/>
                    <a:gd name="connsiteX2" fmla="*/ 25990 w 26320"/>
                    <a:gd name="connsiteY2" fmla="*/ 10414 h 26519"/>
                    <a:gd name="connsiteX3" fmla="*/ 16025 w 26320"/>
                    <a:gd name="connsiteY3" fmla="*/ 26232 h 26519"/>
                    <a:gd name="connsiteX4" fmla="*/ 331 w 26320"/>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519">
                      <a:moveTo>
                        <a:pt x="331" y="16143"/>
                      </a:moveTo>
                      <a:cubicBezTo>
                        <a:pt x="-1288" y="9043"/>
                        <a:pt x="3195" y="1944"/>
                        <a:pt x="10295" y="325"/>
                      </a:cubicBezTo>
                      <a:cubicBezTo>
                        <a:pt x="17395" y="-1295"/>
                        <a:pt x="24495" y="3314"/>
                        <a:pt x="25990" y="10414"/>
                      </a:cubicBezTo>
                      <a:cubicBezTo>
                        <a:pt x="27609" y="17514"/>
                        <a:pt x="23125" y="24613"/>
                        <a:pt x="16025" y="26232"/>
                      </a:cubicBezTo>
                      <a:cubicBezTo>
                        <a:pt x="8925" y="27727"/>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4" name="Graphic 2987">
                <a:extLst>
                  <a:ext uri="{FF2B5EF4-FFF2-40B4-BE49-F238E27FC236}">
                    <a16:creationId xmlns:a16="http://schemas.microsoft.com/office/drawing/2014/main" id="{0972504E-B827-311C-13FA-9CAEC689D401}"/>
                  </a:ext>
                </a:extLst>
              </p:cNvPr>
              <p:cNvGrpSpPr/>
              <p:nvPr/>
            </p:nvGrpSpPr>
            <p:grpSpPr>
              <a:xfrm>
                <a:off x="5793102" y="5822317"/>
                <a:ext cx="52713" cy="146144"/>
                <a:chOff x="5793102" y="5822317"/>
                <a:chExt cx="52713" cy="146144"/>
              </a:xfrm>
              <a:grpFill/>
            </p:grpSpPr>
            <p:sp>
              <p:nvSpPr>
                <p:cNvPr id="5015" name="Freeform 4426">
                  <a:extLst>
                    <a:ext uri="{FF2B5EF4-FFF2-40B4-BE49-F238E27FC236}">
                      <a16:creationId xmlns:a16="http://schemas.microsoft.com/office/drawing/2014/main" id="{33F97C68-2A5C-AF3D-EE75-3C1661028A78}"/>
                    </a:ext>
                  </a:extLst>
                </p:cNvPr>
                <p:cNvSpPr/>
                <p:nvPr/>
              </p:nvSpPr>
              <p:spPr>
                <a:xfrm>
                  <a:off x="5804176" y="5843324"/>
                  <a:ext cx="10805" cy="51068"/>
                </a:xfrm>
                <a:custGeom>
                  <a:avLst/>
                  <a:gdLst>
                    <a:gd name="connsiteX0" fmla="*/ 211 w 10805"/>
                    <a:gd name="connsiteY0" fmla="*/ 0 h 51068"/>
                    <a:gd name="connsiteX1" fmla="*/ 2204 w 10805"/>
                    <a:gd name="connsiteY1" fmla="*/ 18684 h 51068"/>
                    <a:gd name="connsiteX2" fmla="*/ 9180 w 10805"/>
                    <a:gd name="connsiteY2" fmla="*/ 34627 h 51068"/>
                    <a:gd name="connsiteX3" fmla="*/ 10549 w 10805"/>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805" h="51068">
                      <a:moveTo>
                        <a:pt x="211" y="0"/>
                      </a:moveTo>
                      <a:cubicBezTo>
                        <a:pt x="-536" y="8345"/>
                        <a:pt x="834" y="14573"/>
                        <a:pt x="2204" y="18684"/>
                      </a:cubicBezTo>
                      <a:cubicBezTo>
                        <a:pt x="4446" y="25285"/>
                        <a:pt x="7187" y="27776"/>
                        <a:pt x="9180" y="34627"/>
                      </a:cubicBezTo>
                      <a:cubicBezTo>
                        <a:pt x="11172" y="41229"/>
                        <a:pt x="10923" y="47207"/>
                        <a:pt x="10549"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6" name="Freeform 4427">
                  <a:extLst>
                    <a:ext uri="{FF2B5EF4-FFF2-40B4-BE49-F238E27FC236}">
                      <a16:creationId xmlns:a16="http://schemas.microsoft.com/office/drawing/2014/main" id="{BE791106-533F-0631-56D2-A4009CA20A9B}"/>
                    </a:ext>
                  </a:extLst>
                </p:cNvPr>
                <p:cNvSpPr/>
                <p:nvPr/>
              </p:nvSpPr>
              <p:spPr>
                <a:xfrm>
                  <a:off x="5810366" y="5836847"/>
                  <a:ext cx="11708" cy="50819"/>
                </a:xfrm>
                <a:custGeom>
                  <a:avLst/>
                  <a:gdLst>
                    <a:gd name="connsiteX0" fmla="*/ 11708 w 11708"/>
                    <a:gd name="connsiteY0" fmla="*/ 50820 h 50819"/>
                    <a:gd name="connsiteX1" fmla="*/ 5854 w 11708"/>
                    <a:gd name="connsiteY1" fmla="*/ 33008 h 50819"/>
                    <a:gd name="connsiteX2" fmla="*/ 5605 w 11708"/>
                    <a:gd name="connsiteY2" fmla="*/ 15570 h 50819"/>
                    <a:gd name="connsiteX3" fmla="*/ 0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50820"/>
                      </a:moveTo>
                      <a:cubicBezTo>
                        <a:pt x="7598" y="43471"/>
                        <a:pt x="6228" y="37243"/>
                        <a:pt x="5854" y="33008"/>
                      </a:cubicBezTo>
                      <a:cubicBezTo>
                        <a:pt x="5107" y="26033"/>
                        <a:pt x="6602" y="22545"/>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7" name="Freeform 4428">
                  <a:extLst>
                    <a:ext uri="{FF2B5EF4-FFF2-40B4-BE49-F238E27FC236}">
                      <a16:creationId xmlns:a16="http://schemas.microsoft.com/office/drawing/2014/main" id="{4B9775EC-BCE5-1643-7DBA-F108B18DAA0F}"/>
                    </a:ext>
                  </a:extLst>
                </p:cNvPr>
                <p:cNvSpPr/>
                <p:nvPr/>
              </p:nvSpPr>
              <p:spPr>
                <a:xfrm>
                  <a:off x="5793102" y="5822317"/>
                  <a:ext cx="26643" cy="26568"/>
                </a:xfrm>
                <a:custGeom>
                  <a:avLst/>
                  <a:gdLst>
                    <a:gd name="connsiteX0" fmla="*/ 26357 w 26643"/>
                    <a:gd name="connsiteY0" fmla="*/ 10420 h 26568"/>
                    <a:gd name="connsiteX1" fmla="*/ 16143 w 26643"/>
                    <a:gd name="connsiteY1" fmla="*/ 26238 h 26568"/>
                    <a:gd name="connsiteX2" fmla="*/ 324 w 26643"/>
                    <a:gd name="connsiteY2" fmla="*/ 16149 h 26568"/>
                    <a:gd name="connsiteX3" fmla="*/ 10538 w 26643"/>
                    <a:gd name="connsiteY3" fmla="*/ 331 h 26568"/>
                    <a:gd name="connsiteX4" fmla="*/ 26357 w 2664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2" h="26567">
                      <a:moveTo>
                        <a:pt x="26357" y="10420"/>
                      </a:moveTo>
                      <a:cubicBezTo>
                        <a:pt x="27851" y="17520"/>
                        <a:pt x="23367" y="24619"/>
                        <a:pt x="16143" y="26238"/>
                      </a:cubicBezTo>
                      <a:cubicBezTo>
                        <a:pt x="8919" y="27858"/>
                        <a:pt x="1944" y="23373"/>
                        <a:pt x="324" y="16149"/>
                      </a:cubicBezTo>
                      <a:cubicBezTo>
                        <a:pt x="-1295" y="9049"/>
                        <a:pt x="3313" y="1950"/>
                        <a:pt x="10538" y="331"/>
                      </a:cubicBezTo>
                      <a:cubicBezTo>
                        <a:pt x="17762" y="-1289"/>
                        <a:pt x="24862" y="3195"/>
                        <a:pt x="26357"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8" name="Freeform 4429">
                  <a:extLst>
                    <a:ext uri="{FF2B5EF4-FFF2-40B4-BE49-F238E27FC236}">
                      <a16:creationId xmlns:a16="http://schemas.microsoft.com/office/drawing/2014/main" id="{1F74822C-4606-6A17-CBD0-6D242CDF642B}"/>
                    </a:ext>
                  </a:extLst>
                </p:cNvPr>
                <p:cNvSpPr/>
                <p:nvPr/>
              </p:nvSpPr>
              <p:spPr>
                <a:xfrm>
                  <a:off x="5823936" y="5896510"/>
                  <a:ext cx="10806" cy="51068"/>
                </a:xfrm>
                <a:custGeom>
                  <a:avLst/>
                  <a:gdLst>
                    <a:gd name="connsiteX0" fmla="*/ 10595 w 10806"/>
                    <a:gd name="connsiteY0" fmla="*/ 51069 h 51068"/>
                    <a:gd name="connsiteX1" fmla="*/ 8602 w 10806"/>
                    <a:gd name="connsiteY1" fmla="*/ 32385 h 51068"/>
                    <a:gd name="connsiteX2" fmla="*/ 1627 w 10806"/>
                    <a:gd name="connsiteY2" fmla="*/ 16442 h 51068"/>
                    <a:gd name="connsiteX3" fmla="*/ 256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10595" y="51069"/>
                      </a:moveTo>
                      <a:cubicBezTo>
                        <a:pt x="11342" y="42723"/>
                        <a:pt x="9972" y="36495"/>
                        <a:pt x="8602" y="32385"/>
                      </a:cubicBezTo>
                      <a:cubicBezTo>
                        <a:pt x="6360" y="25784"/>
                        <a:pt x="3619" y="23292"/>
                        <a:pt x="1627" y="16442"/>
                      </a:cubicBezTo>
                      <a:cubicBezTo>
                        <a:pt x="-366" y="9840"/>
                        <a:pt x="-117" y="3861"/>
                        <a:pt x="2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9" name="Freeform 4430">
                  <a:extLst>
                    <a:ext uri="{FF2B5EF4-FFF2-40B4-BE49-F238E27FC236}">
                      <a16:creationId xmlns:a16="http://schemas.microsoft.com/office/drawing/2014/main" id="{5189343B-8B63-ED32-570E-417392C18416}"/>
                    </a:ext>
                  </a:extLst>
                </p:cNvPr>
                <p:cNvSpPr/>
                <p:nvPr/>
              </p:nvSpPr>
              <p:spPr>
                <a:xfrm>
                  <a:off x="5816968" y="5903111"/>
                  <a:ext cx="11832" cy="50819"/>
                </a:xfrm>
                <a:custGeom>
                  <a:avLst/>
                  <a:gdLst>
                    <a:gd name="connsiteX0" fmla="*/ 0 w 11832"/>
                    <a:gd name="connsiteY0" fmla="*/ 0 h 50819"/>
                    <a:gd name="connsiteX1" fmla="*/ 5854 w 11832"/>
                    <a:gd name="connsiteY1" fmla="*/ 17812 h 50819"/>
                    <a:gd name="connsiteX2" fmla="*/ 6228 w 11832"/>
                    <a:gd name="connsiteY2" fmla="*/ 35250 h 50819"/>
                    <a:gd name="connsiteX3" fmla="*/ 11833 w 11832"/>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832" h="50818">
                      <a:moveTo>
                        <a:pt x="0" y="0"/>
                      </a:moveTo>
                      <a:cubicBezTo>
                        <a:pt x="4110" y="7349"/>
                        <a:pt x="5481" y="13577"/>
                        <a:pt x="5854" y="17812"/>
                      </a:cubicBezTo>
                      <a:cubicBezTo>
                        <a:pt x="6602" y="24787"/>
                        <a:pt x="5107" y="28274"/>
                        <a:pt x="6228" y="35250"/>
                      </a:cubicBezTo>
                      <a:cubicBezTo>
                        <a:pt x="7224" y="42101"/>
                        <a:pt x="9840" y="47332"/>
                        <a:pt x="11833"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0" name="Freeform 4431">
                  <a:extLst>
                    <a:ext uri="{FF2B5EF4-FFF2-40B4-BE49-F238E27FC236}">
                      <a16:creationId xmlns:a16="http://schemas.microsoft.com/office/drawing/2014/main" id="{E442E4CD-0EAD-669C-F58D-CD9A654AADF1}"/>
                    </a:ext>
                  </a:extLst>
                </p:cNvPr>
                <p:cNvSpPr/>
                <p:nvPr/>
              </p:nvSpPr>
              <p:spPr>
                <a:xfrm>
                  <a:off x="5819377" y="5941898"/>
                  <a:ext cx="26438" cy="26563"/>
                </a:xfrm>
                <a:custGeom>
                  <a:avLst/>
                  <a:gdLst>
                    <a:gd name="connsiteX0" fmla="*/ 331 w 26438"/>
                    <a:gd name="connsiteY0" fmla="*/ 16143 h 26563"/>
                    <a:gd name="connsiteX1" fmla="*/ 10420 w 26438"/>
                    <a:gd name="connsiteY1" fmla="*/ 324 h 26563"/>
                    <a:gd name="connsiteX2" fmla="*/ 26114 w 26438"/>
                    <a:gd name="connsiteY2" fmla="*/ 10414 h 26563"/>
                    <a:gd name="connsiteX3" fmla="*/ 16025 w 26438"/>
                    <a:gd name="connsiteY3" fmla="*/ 26233 h 26563"/>
                    <a:gd name="connsiteX4" fmla="*/ 331 w 26438"/>
                    <a:gd name="connsiteY4" fmla="*/ 16143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563">
                      <a:moveTo>
                        <a:pt x="331" y="16143"/>
                      </a:moveTo>
                      <a:cubicBezTo>
                        <a:pt x="-1289" y="9044"/>
                        <a:pt x="3195" y="1944"/>
                        <a:pt x="10420" y="324"/>
                      </a:cubicBezTo>
                      <a:cubicBezTo>
                        <a:pt x="17519" y="-1295"/>
                        <a:pt x="24495" y="3314"/>
                        <a:pt x="26114" y="10414"/>
                      </a:cubicBezTo>
                      <a:cubicBezTo>
                        <a:pt x="27733" y="17513"/>
                        <a:pt x="23124" y="24613"/>
                        <a:pt x="16025" y="26233"/>
                      </a:cubicBezTo>
                      <a:cubicBezTo>
                        <a:pt x="8800" y="27852"/>
                        <a:pt x="1825" y="23368"/>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5" name="Graphic 2987">
                <a:extLst>
                  <a:ext uri="{FF2B5EF4-FFF2-40B4-BE49-F238E27FC236}">
                    <a16:creationId xmlns:a16="http://schemas.microsoft.com/office/drawing/2014/main" id="{C24827C3-11A0-AE5F-3B43-58B1B6A8D23B}"/>
                  </a:ext>
                </a:extLst>
              </p:cNvPr>
              <p:cNvGrpSpPr/>
              <p:nvPr/>
            </p:nvGrpSpPr>
            <p:grpSpPr>
              <a:xfrm>
                <a:off x="5822286" y="5816013"/>
                <a:ext cx="52141" cy="146171"/>
                <a:chOff x="5822286" y="5816013"/>
                <a:chExt cx="52141" cy="146171"/>
              </a:xfrm>
              <a:grpFill/>
            </p:grpSpPr>
            <p:sp>
              <p:nvSpPr>
                <p:cNvPr id="5009" name="Freeform 4433">
                  <a:extLst>
                    <a:ext uri="{FF2B5EF4-FFF2-40B4-BE49-F238E27FC236}">
                      <a16:creationId xmlns:a16="http://schemas.microsoft.com/office/drawing/2014/main" id="{C7A04B96-1EB5-DD36-0704-9E2860DBA6C7}"/>
                    </a:ext>
                  </a:extLst>
                </p:cNvPr>
                <p:cNvSpPr/>
                <p:nvPr/>
              </p:nvSpPr>
              <p:spPr>
                <a:xfrm>
                  <a:off x="5833322" y="5836971"/>
                  <a:ext cx="10775" cy="51068"/>
                </a:xfrm>
                <a:custGeom>
                  <a:avLst/>
                  <a:gdLst>
                    <a:gd name="connsiteX0" fmla="*/ 211 w 10775"/>
                    <a:gd name="connsiteY0" fmla="*/ 0 h 51068"/>
                    <a:gd name="connsiteX1" fmla="*/ 2204 w 10775"/>
                    <a:gd name="connsiteY1" fmla="*/ 18684 h 51068"/>
                    <a:gd name="connsiteX2" fmla="*/ 9179 w 10775"/>
                    <a:gd name="connsiteY2" fmla="*/ 34627 h 51068"/>
                    <a:gd name="connsiteX3" fmla="*/ 10550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211" y="0"/>
                      </a:moveTo>
                      <a:cubicBezTo>
                        <a:pt x="-536" y="8345"/>
                        <a:pt x="834" y="14573"/>
                        <a:pt x="2204" y="18684"/>
                      </a:cubicBezTo>
                      <a:cubicBezTo>
                        <a:pt x="4446" y="25285"/>
                        <a:pt x="7187" y="27901"/>
                        <a:pt x="9179" y="34627"/>
                      </a:cubicBezTo>
                      <a:cubicBezTo>
                        <a:pt x="11048"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0" name="Freeform 4434">
                  <a:extLst>
                    <a:ext uri="{FF2B5EF4-FFF2-40B4-BE49-F238E27FC236}">
                      <a16:creationId xmlns:a16="http://schemas.microsoft.com/office/drawing/2014/main" id="{6124F136-5442-C637-1A85-E54EDEB7E4A6}"/>
                    </a:ext>
                  </a:extLst>
                </p:cNvPr>
                <p:cNvSpPr/>
                <p:nvPr/>
              </p:nvSpPr>
              <p:spPr>
                <a:xfrm>
                  <a:off x="5839263" y="5830494"/>
                  <a:ext cx="11708" cy="50944"/>
                </a:xfrm>
                <a:custGeom>
                  <a:avLst/>
                  <a:gdLst>
                    <a:gd name="connsiteX0" fmla="*/ 11708 w 11708"/>
                    <a:gd name="connsiteY0" fmla="*/ 50944 h 50944"/>
                    <a:gd name="connsiteX1" fmla="*/ 5854 w 11708"/>
                    <a:gd name="connsiteY1" fmla="*/ 33008 h 50944"/>
                    <a:gd name="connsiteX2" fmla="*/ 5605 w 11708"/>
                    <a:gd name="connsiteY2" fmla="*/ 15570 h 50944"/>
                    <a:gd name="connsiteX3" fmla="*/ 0 w 11708"/>
                    <a:gd name="connsiteY3" fmla="*/ 0 h 50944"/>
                  </a:gdLst>
                  <a:ahLst/>
                  <a:cxnLst>
                    <a:cxn ang="0">
                      <a:pos x="connsiteX0" y="connsiteY0"/>
                    </a:cxn>
                    <a:cxn ang="0">
                      <a:pos x="connsiteX1" y="connsiteY1"/>
                    </a:cxn>
                    <a:cxn ang="0">
                      <a:pos x="connsiteX2" y="connsiteY2"/>
                    </a:cxn>
                    <a:cxn ang="0">
                      <a:pos x="connsiteX3" y="connsiteY3"/>
                    </a:cxn>
                  </a:cxnLst>
                  <a:rect l="l" t="t" r="r" b="b"/>
                  <a:pathLst>
                    <a:path w="11708" h="50944">
                      <a:moveTo>
                        <a:pt x="11708" y="50944"/>
                      </a:moveTo>
                      <a:cubicBezTo>
                        <a:pt x="7598" y="43595"/>
                        <a:pt x="6228" y="37367"/>
                        <a:pt x="5854" y="33008"/>
                      </a:cubicBezTo>
                      <a:cubicBezTo>
                        <a:pt x="5107" y="26033"/>
                        <a:pt x="6602" y="22669"/>
                        <a:pt x="5605" y="15570"/>
                      </a:cubicBezTo>
                      <a:cubicBezTo>
                        <a:pt x="4609" y="8719"/>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1" name="Freeform 4435">
                  <a:extLst>
                    <a:ext uri="{FF2B5EF4-FFF2-40B4-BE49-F238E27FC236}">
                      <a16:creationId xmlns:a16="http://schemas.microsoft.com/office/drawing/2014/main" id="{709AB192-EF4F-6572-9A4A-49FA7909FFA0}"/>
                    </a:ext>
                  </a:extLst>
                </p:cNvPr>
                <p:cNvSpPr/>
                <p:nvPr/>
              </p:nvSpPr>
              <p:spPr>
                <a:xfrm>
                  <a:off x="5822286" y="5816013"/>
                  <a:ext cx="26601" cy="26471"/>
                </a:xfrm>
                <a:custGeom>
                  <a:avLst/>
                  <a:gdLst>
                    <a:gd name="connsiteX0" fmla="*/ 26319 w 26601"/>
                    <a:gd name="connsiteY0" fmla="*/ 10495 h 26471"/>
                    <a:gd name="connsiteX1" fmla="*/ 16106 w 26601"/>
                    <a:gd name="connsiteY1" fmla="*/ 26189 h 26471"/>
                    <a:gd name="connsiteX2" fmla="*/ 287 w 26601"/>
                    <a:gd name="connsiteY2" fmla="*/ 15976 h 26471"/>
                    <a:gd name="connsiteX3" fmla="*/ 10501 w 26601"/>
                    <a:gd name="connsiteY3" fmla="*/ 282 h 26471"/>
                    <a:gd name="connsiteX4" fmla="*/ 26319 w 26601"/>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470">
                      <a:moveTo>
                        <a:pt x="26319" y="10495"/>
                      </a:moveTo>
                      <a:cubicBezTo>
                        <a:pt x="27814" y="17595"/>
                        <a:pt x="23205" y="24695"/>
                        <a:pt x="16106" y="26189"/>
                      </a:cubicBezTo>
                      <a:cubicBezTo>
                        <a:pt x="8881" y="27684"/>
                        <a:pt x="1906" y="23075"/>
                        <a:pt x="287" y="15976"/>
                      </a:cubicBezTo>
                      <a:cubicBezTo>
                        <a:pt x="-1208" y="8751"/>
                        <a:pt x="3277" y="1776"/>
                        <a:pt x="10501" y="282"/>
                      </a:cubicBezTo>
                      <a:cubicBezTo>
                        <a:pt x="17725" y="-1213"/>
                        <a:pt x="24825" y="3395"/>
                        <a:pt x="2631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2" name="Freeform 4436">
                  <a:extLst>
                    <a:ext uri="{FF2B5EF4-FFF2-40B4-BE49-F238E27FC236}">
                      <a16:creationId xmlns:a16="http://schemas.microsoft.com/office/drawing/2014/main" id="{EB83AFDC-2152-A245-7963-492E9FC06734}"/>
                    </a:ext>
                  </a:extLst>
                </p:cNvPr>
                <p:cNvSpPr/>
                <p:nvPr/>
              </p:nvSpPr>
              <p:spPr>
                <a:xfrm>
                  <a:off x="5852863" y="5890157"/>
                  <a:ext cx="10651" cy="51193"/>
                </a:xfrm>
                <a:custGeom>
                  <a:avLst/>
                  <a:gdLst>
                    <a:gd name="connsiteX0" fmla="*/ 10440 w 10651"/>
                    <a:gd name="connsiteY0" fmla="*/ 51193 h 51193"/>
                    <a:gd name="connsiteX1" fmla="*/ 8447 w 10651"/>
                    <a:gd name="connsiteY1" fmla="*/ 32510 h 51193"/>
                    <a:gd name="connsiteX2" fmla="*/ 1596 w 10651"/>
                    <a:gd name="connsiteY2" fmla="*/ 16442 h 51193"/>
                    <a:gd name="connsiteX3" fmla="*/ 226 w 10651"/>
                    <a:gd name="connsiteY3" fmla="*/ 0 h 51193"/>
                  </a:gdLst>
                  <a:ahLst/>
                  <a:cxnLst>
                    <a:cxn ang="0">
                      <a:pos x="connsiteX0" y="connsiteY0"/>
                    </a:cxn>
                    <a:cxn ang="0">
                      <a:pos x="connsiteX1" y="connsiteY1"/>
                    </a:cxn>
                    <a:cxn ang="0">
                      <a:pos x="connsiteX2" y="connsiteY2"/>
                    </a:cxn>
                    <a:cxn ang="0">
                      <a:pos x="connsiteX3" y="connsiteY3"/>
                    </a:cxn>
                  </a:cxnLst>
                  <a:rect l="l" t="t" r="r" b="b"/>
                  <a:pathLst>
                    <a:path w="10651" h="51193">
                      <a:moveTo>
                        <a:pt x="10440" y="51193"/>
                      </a:moveTo>
                      <a:cubicBezTo>
                        <a:pt x="11187" y="42848"/>
                        <a:pt x="9817" y="36620"/>
                        <a:pt x="8447" y="32510"/>
                      </a:cubicBezTo>
                      <a:cubicBezTo>
                        <a:pt x="6205" y="25908"/>
                        <a:pt x="3465" y="23292"/>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3" name="Freeform 4437">
                  <a:extLst>
                    <a:ext uri="{FF2B5EF4-FFF2-40B4-BE49-F238E27FC236}">
                      <a16:creationId xmlns:a16="http://schemas.microsoft.com/office/drawing/2014/main" id="{4F1D94A1-7825-1C11-5BF9-3C9433D98EE1}"/>
                    </a:ext>
                  </a:extLst>
                </p:cNvPr>
                <p:cNvSpPr/>
                <p:nvPr/>
              </p:nvSpPr>
              <p:spPr>
                <a:xfrm>
                  <a:off x="5845865" y="5896759"/>
                  <a:ext cx="11584" cy="50944"/>
                </a:xfrm>
                <a:custGeom>
                  <a:avLst/>
                  <a:gdLst>
                    <a:gd name="connsiteX0" fmla="*/ 0 w 11584"/>
                    <a:gd name="connsiteY0" fmla="*/ 0 h 50944"/>
                    <a:gd name="connsiteX1" fmla="*/ 5854 w 11584"/>
                    <a:gd name="connsiteY1" fmla="*/ 17936 h 50944"/>
                    <a:gd name="connsiteX2" fmla="*/ 6104 w 11584"/>
                    <a:gd name="connsiteY2" fmla="*/ 35374 h 50944"/>
                    <a:gd name="connsiteX3" fmla="*/ 11584 w 1158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4" h="50944">
                      <a:moveTo>
                        <a:pt x="0" y="0"/>
                      </a:moveTo>
                      <a:cubicBezTo>
                        <a:pt x="4111" y="7349"/>
                        <a:pt x="5481" y="13577"/>
                        <a:pt x="5854" y="17936"/>
                      </a:cubicBezTo>
                      <a:cubicBezTo>
                        <a:pt x="6602" y="24912"/>
                        <a:pt x="5107" y="28275"/>
                        <a:pt x="6104"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4" name="Freeform 4438">
                  <a:extLst>
                    <a:ext uri="{FF2B5EF4-FFF2-40B4-BE49-F238E27FC236}">
                      <a16:creationId xmlns:a16="http://schemas.microsoft.com/office/drawing/2014/main" id="{9FACAB3C-2799-813E-0ACC-9833D02F5DF1}"/>
                    </a:ext>
                  </a:extLst>
                </p:cNvPr>
                <p:cNvSpPr/>
                <p:nvPr/>
              </p:nvSpPr>
              <p:spPr>
                <a:xfrm>
                  <a:off x="5848069" y="5935713"/>
                  <a:ext cx="26357" cy="26471"/>
                </a:xfrm>
                <a:custGeom>
                  <a:avLst/>
                  <a:gdLst>
                    <a:gd name="connsiteX0" fmla="*/ 287 w 26357"/>
                    <a:gd name="connsiteY0" fmla="*/ 15976 h 26471"/>
                    <a:gd name="connsiteX1" fmla="*/ 10376 w 26357"/>
                    <a:gd name="connsiteY1" fmla="*/ 282 h 26471"/>
                    <a:gd name="connsiteX2" fmla="*/ 26071 w 26357"/>
                    <a:gd name="connsiteY2" fmla="*/ 10495 h 26471"/>
                    <a:gd name="connsiteX3" fmla="*/ 15982 w 26357"/>
                    <a:gd name="connsiteY3" fmla="*/ 26190 h 26471"/>
                    <a:gd name="connsiteX4" fmla="*/ 287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87" y="15976"/>
                      </a:moveTo>
                      <a:cubicBezTo>
                        <a:pt x="-1207" y="8752"/>
                        <a:pt x="3276" y="1777"/>
                        <a:pt x="10376" y="282"/>
                      </a:cubicBezTo>
                      <a:cubicBezTo>
                        <a:pt x="17476" y="-1213"/>
                        <a:pt x="24576" y="3395"/>
                        <a:pt x="26071" y="10495"/>
                      </a:cubicBezTo>
                      <a:cubicBezTo>
                        <a:pt x="27565" y="17595"/>
                        <a:pt x="23081" y="24695"/>
                        <a:pt x="15982" y="26190"/>
                      </a:cubicBezTo>
                      <a:cubicBezTo>
                        <a:pt x="8882" y="27684"/>
                        <a:pt x="1906" y="23076"/>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6" name="Graphic 2987">
                <a:extLst>
                  <a:ext uri="{FF2B5EF4-FFF2-40B4-BE49-F238E27FC236}">
                    <a16:creationId xmlns:a16="http://schemas.microsoft.com/office/drawing/2014/main" id="{52F08388-B4E9-F39D-FAE6-865CF8AC6784}"/>
                  </a:ext>
                </a:extLst>
              </p:cNvPr>
              <p:cNvGrpSpPr/>
              <p:nvPr/>
            </p:nvGrpSpPr>
            <p:grpSpPr>
              <a:xfrm>
                <a:off x="5851313" y="5809992"/>
                <a:ext cx="51886" cy="146131"/>
                <a:chOff x="5851313" y="5809992"/>
                <a:chExt cx="51886" cy="146131"/>
              </a:xfrm>
              <a:grpFill/>
            </p:grpSpPr>
            <p:sp>
              <p:nvSpPr>
                <p:cNvPr id="5003" name="Freeform 4440">
                  <a:extLst>
                    <a:ext uri="{FF2B5EF4-FFF2-40B4-BE49-F238E27FC236}">
                      <a16:creationId xmlns:a16="http://schemas.microsoft.com/office/drawing/2014/main" id="{DAA06D5D-6C65-9ECB-CE73-8D1F90260633}"/>
                    </a:ext>
                  </a:extLst>
                </p:cNvPr>
                <p:cNvSpPr/>
                <p:nvPr/>
              </p:nvSpPr>
              <p:spPr>
                <a:xfrm>
                  <a:off x="5862344" y="5830868"/>
                  <a:ext cx="10618" cy="51193"/>
                </a:xfrm>
                <a:custGeom>
                  <a:avLst/>
                  <a:gdLst>
                    <a:gd name="connsiteX0" fmla="*/ 211 w 10618"/>
                    <a:gd name="connsiteY0" fmla="*/ 0 h 51193"/>
                    <a:gd name="connsiteX1" fmla="*/ 2204 w 10618"/>
                    <a:gd name="connsiteY1" fmla="*/ 18684 h 51193"/>
                    <a:gd name="connsiteX2" fmla="*/ 9055 w 10618"/>
                    <a:gd name="connsiteY2" fmla="*/ 34751 h 51193"/>
                    <a:gd name="connsiteX3" fmla="*/ 10301 w 1061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618" h="51193">
                      <a:moveTo>
                        <a:pt x="211" y="0"/>
                      </a:moveTo>
                      <a:cubicBezTo>
                        <a:pt x="-536" y="8345"/>
                        <a:pt x="834" y="14573"/>
                        <a:pt x="2204" y="18684"/>
                      </a:cubicBezTo>
                      <a:cubicBezTo>
                        <a:pt x="4446" y="25285"/>
                        <a:pt x="7187" y="27901"/>
                        <a:pt x="9055" y="34751"/>
                      </a:cubicBezTo>
                      <a:cubicBezTo>
                        <a:pt x="10923" y="41353"/>
                        <a:pt x="10799" y="47332"/>
                        <a:pt x="1030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4" name="Freeform 4441">
                  <a:extLst>
                    <a:ext uri="{FF2B5EF4-FFF2-40B4-BE49-F238E27FC236}">
                      <a16:creationId xmlns:a16="http://schemas.microsoft.com/office/drawing/2014/main" id="{800EAC16-6DF5-E4DD-859F-5D38742A593C}"/>
                    </a:ext>
                  </a:extLst>
                </p:cNvPr>
                <p:cNvSpPr/>
                <p:nvPr/>
              </p:nvSpPr>
              <p:spPr>
                <a:xfrm>
                  <a:off x="5868534" y="5824391"/>
                  <a:ext cx="11459" cy="50944"/>
                </a:xfrm>
                <a:custGeom>
                  <a:avLst/>
                  <a:gdLst>
                    <a:gd name="connsiteX0" fmla="*/ 11459 w 11459"/>
                    <a:gd name="connsiteY0" fmla="*/ 50944 h 50944"/>
                    <a:gd name="connsiteX1" fmla="*/ 5605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9" y="43595"/>
                        <a:pt x="6104" y="37367"/>
                        <a:pt x="5605" y="33008"/>
                      </a:cubicBezTo>
                      <a:cubicBezTo>
                        <a:pt x="4982" y="26033"/>
                        <a:pt x="6353" y="22670"/>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5" name="Freeform 4442">
                  <a:extLst>
                    <a:ext uri="{FF2B5EF4-FFF2-40B4-BE49-F238E27FC236}">
                      <a16:creationId xmlns:a16="http://schemas.microsoft.com/office/drawing/2014/main" id="{1FA00DCB-5852-4964-FE1E-178929708174}"/>
                    </a:ext>
                  </a:extLst>
                </p:cNvPr>
                <p:cNvSpPr/>
                <p:nvPr/>
              </p:nvSpPr>
              <p:spPr>
                <a:xfrm>
                  <a:off x="5851313" y="5809992"/>
                  <a:ext cx="26719" cy="26513"/>
                </a:xfrm>
                <a:custGeom>
                  <a:avLst/>
                  <a:gdLst>
                    <a:gd name="connsiteX0" fmla="*/ 26438 w 26719"/>
                    <a:gd name="connsiteY0" fmla="*/ 10538 h 26513"/>
                    <a:gd name="connsiteX1" fmla="*/ 16100 w 26719"/>
                    <a:gd name="connsiteY1" fmla="*/ 26232 h 26513"/>
                    <a:gd name="connsiteX2" fmla="*/ 281 w 26719"/>
                    <a:gd name="connsiteY2" fmla="*/ 16018 h 26513"/>
                    <a:gd name="connsiteX3" fmla="*/ 10619 w 26719"/>
                    <a:gd name="connsiteY3" fmla="*/ 324 h 26513"/>
                    <a:gd name="connsiteX4" fmla="*/ 26438 w 26719"/>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13">
                      <a:moveTo>
                        <a:pt x="26438" y="10538"/>
                      </a:moveTo>
                      <a:cubicBezTo>
                        <a:pt x="27933" y="17762"/>
                        <a:pt x="23325" y="24738"/>
                        <a:pt x="16100" y="26232"/>
                      </a:cubicBezTo>
                      <a:cubicBezTo>
                        <a:pt x="8876" y="27727"/>
                        <a:pt x="1901" y="23118"/>
                        <a:pt x="281" y="16018"/>
                      </a:cubicBezTo>
                      <a:cubicBezTo>
                        <a:pt x="-1213" y="8919"/>
                        <a:pt x="3395" y="1819"/>
                        <a:pt x="10619" y="324"/>
                      </a:cubicBezTo>
                      <a:cubicBezTo>
                        <a:pt x="17844" y="-1295"/>
                        <a:pt x="24943" y="3314"/>
                        <a:pt x="26438"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6" name="Freeform 4443">
                  <a:extLst>
                    <a:ext uri="{FF2B5EF4-FFF2-40B4-BE49-F238E27FC236}">
                      <a16:creationId xmlns:a16="http://schemas.microsoft.com/office/drawing/2014/main" id="{08E9C436-0D52-357A-4EC7-1AB93DEA730A}"/>
                    </a:ext>
                  </a:extLst>
                </p:cNvPr>
                <p:cNvSpPr/>
                <p:nvPr/>
              </p:nvSpPr>
              <p:spPr>
                <a:xfrm>
                  <a:off x="5881669" y="5884054"/>
                  <a:ext cx="10618" cy="51193"/>
                </a:xfrm>
                <a:custGeom>
                  <a:avLst/>
                  <a:gdLst>
                    <a:gd name="connsiteX0" fmla="*/ 10407 w 10618"/>
                    <a:gd name="connsiteY0" fmla="*/ 51193 h 51193"/>
                    <a:gd name="connsiteX1" fmla="*/ 8414 w 10618"/>
                    <a:gd name="connsiteY1" fmla="*/ 32509 h 51193"/>
                    <a:gd name="connsiteX2" fmla="*/ 1563 w 10618"/>
                    <a:gd name="connsiteY2" fmla="*/ 16442 h 51193"/>
                    <a:gd name="connsiteX3" fmla="*/ 318 w 10618"/>
                    <a:gd name="connsiteY3" fmla="*/ 0 h 51193"/>
                  </a:gdLst>
                  <a:ahLst/>
                  <a:cxnLst>
                    <a:cxn ang="0">
                      <a:pos x="connsiteX0" y="connsiteY0"/>
                    </a:cxn>
                    <a:cxn ang="0">
                      <a:pos x="connsiteX1" y="connsiteY1"/>
                    </a:cxn>
                    <a:cxn ang="0">
                      <a:pos x="connsiteX2" y="connsiteY2"/>
                    </a:cxn>
                    <a:cxn ang="0">
                      <a:pos x="connsiteX3" y="connsiteY3"/>
                    </a:cxn>
                  </a:cxnLst>
                  <a:rect l="l" t="t" r="r" b="b"/>
                  <a:pathLst>
                    <a:path w="10618" h="51193">
                      <a:moveTo>
                        <a:pt x="10407" y="51193"/>
                      </a:moveTo>
                      <a:cubicBezTo>
                        <a:pt x="11154" y="42848"/>
                        <a:pt x="9784" y="36620"/>
                        <a:pt x="8414" y="32509"/>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7" name="Freeform 4444">
                  <a:extLst>
                    <a:ext uri="{FF2B5EF4-FFF2-40B4-BE49-F238E27FC236}">
                      <a16:creationId xmlns:a16="http://schemas.microsoft.com/office/drawing/2014/main" id="{FF778AA4-0E1A-6831-8E9D-200C89447B07}"/>
                    </a:ext>
                  </a:extLst>
                </p:cNvPr>
                <p:cNvSpPr/>
                <p:nvPr/>
              </p:nvSpPr>
              <p:spPr>
                <a:xfrm>
                  <a:off x="5874887" y="5890780"/>
                  <a:ext cx="11583" cy="50944"/>
                </a:xfrm>
                <a:custGeom>
                  <a:avLst/>
                  <a:gdLst>
                    <a:gd name="connsiteX0" fmla="*/ 0 w 11583"/>
                    <a:gd name="connsiteY0" fmla="*/ 0 h 50944"/>
                    <a:gd name="connsiteX1" fmla="*/ 5854 w 11583"/>
                    <a:gd name="connsiteY1" fmla="*/ 17936 h 50944"/>
                    <a:gd name="connsiteX2" fmla="*/ 6103 w 11583"/>
                    <a:gd name="connsiteY2" fmla="*/ 35374 h 50944"/>
                    <a:gd name="connsiteX3" fmla="*/ 11584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0" y="0"/>
                      </a:moveTo>
                      <a:cubicBezTo>
                        <a:pt x="4110" y="7349"/>
                        <a:pt x="5356" y="13577"/>
                        <a:pt x="5854" y="17936"/>
                      </a:cubicBezTo>
                      <a:cubicBezTo>
                        <a:pt x="6477" y="24912"/>
                        <a:pt x="5107" y="28274"/>
                        <a:pt x="6103"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8" name="Freeform 4445">
                  <a:extLst>
                    <a:ext uri="{FF2B5EF4-FFF2-40B4-BE49-F238E27FC236}">
                      <a16:creationId xmlns:a16="http://schemas.microsoft.com/office/drawing/2014/main" id="{2E10CB01-DCAC-5043-0B68-F3A0670A009F}"/>
                    </a:ext>
                  </a:extLst>
                </p:cNvPr>
                <p:cNvSpPr/>
                <p:nvPr/>
              </p:nvSpPr>
              <p:spPr>
                <a:xfrm>
                  <a:off x="5876842" y="5929610"/>
                  <a:ext cx="26357" cy="26513"/>
                </a:xfrm>
                <a:custGeom>
                  <a:avLst/>
                  <a:gdLst>
                    <a:gd name="connsiteX0" fmla="*/ 287 w 26357"/>
                    <a:gd name="connsiteY0" fmla="*/ 15976 h 26513"/>
                    <a:gd name="connsiteX1" fmla="*/ 10376 w 26357"/>
                    <a:gd name="connsiteY1" fmla="*/ 282 h 26513"/>
                    <a:gd name="connsiteX2" fmla="*/ 26071 w 26357"/>
                    <a:gd name="connsiteY2" fmla="*/ 10495 h 26513"/>
                    <a:gd name="connsiteX3" fmla="*/ 15982 w 26357"/>
                    <a:gd name="connsiteY3" fmla="*/ 26190 h 26513"/>
                    <a:gd name="connsiteX4" fmla="*/ 287 w 26357"/>
                    <a:gd name="connsiteY4" fmla="*/ 15976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513">
                      <a:moveTo>
                        <a:pt x="287" y="15976"/>
                      </a:moveTo>
                      <a:cubicBezTo>
                        <a:pt x="-1207" y="8876"/>
                        <a:pt x="3276" y="1776"/>
                        <a:pt x="10376" y="282"/>
                      </a:cubicBezTo>
                      <a:cubicBezTo>
                        <a:pt x="17476" y="-1213"/>
                        <a:pt x="24451" y="3395"/>
                        <a:pt x="26071" y="10495"/>
                      </a:cubicBezTo>
                      <a:cubicBezTo>
                        <a:pt x="27565" y="17720"/>
                        <a:pt x="23081" y="24695"/>
                        <a:pt x="15982" y="26190"/>
                      </a:cubicBezTo>
                      <a:cubicBezTo>
                        <a:pt x="8882" y="27809"/>
                        <a:pt x="1906" y="23200"/>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7" name="Graphic 2987">
                <a:extLst>
                  <a:ext uri="{FF2B5EF4-FFF2-40B4-BE49-F238E27FC236}">
                    <a16:creationId xmlns:a16="http://schemas.microsoft.com/office/drawing/2014/main" id="{06DFC038-4D0B-7F31-1E8A-9C7F2FA7458A}"/>
                  </a:ext>
                </a:extLst>
              </p:cNvPr>
              <p:cNvGrpSpPr/>
              <p:nvPr/>
            </p:nvGrpSpPr>
            <p:grpSpPr>
              <a:xfrm>
                <a:off x="5880584" y="5803888"/>
                <a:ext cx="51506" cy="146338"/>
                <a:chOff x="5880584" y="5803888"/>
                <a:chExt cx="51506" cy="146338"/>
              </a:xfrm>
              <a:grpFill/>
            </p:grpSpPr>
            <p:sp>
              <p:nvSpPr>
                <p:cNvPr id="4997" name="Freeform 4447">
                  <a:extLst>
                    <a:ext uri="{FF2B5EF4-FFF2-40B4-BE49-F238E27FC236}">
                      <a16:creationId xmlns:a16="http://schemas.microsoft.com/office/drawing/2014/main" id="{AF8D98B0-B0F9-7D90-98F6-A1F9753979B6}"/>
                    </a:ext>
                  </a:extLst>
                </p:cNvPr>
                <p:cNvSpPr/>
                <p:nvPr/>
              </p:nvSpPr>
              <p:spPr>
                <a:xfrm>
                  <a:off x="5891478" y="5824765"/>
                  <a:ext cx="10506" cy="51193"/>
                </a:xfrm>
                <a:custGeom>
                  <a:avLst/>
                  <a:gdLst>
                    <a:gd name="connsiteX0" fmla="*/ 225 w 10506"/>
                    <a:gd name="connsiteY0" fmla="*/ 0 h 51193"/>
                    <a:gd name="connsiteX1" fmla="*/ 2093 w 10506"/>
                    <a:gd name="connsiteY1" fmla="*/ 18684 h 51193"/>
                    <a:gd name="connsiteX2" fmla="*/ 8943 w 10506"/>
                    <a:gd name="connsiteY2" fmla="*/ 34752 h 51193"/>
                    <a:gd name="connsiteX3" fmla="*/ 10189 w 1050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06" h="51193">
                      <a:moveTo>
                        <a:pt x="225" y="0"/>
                      </a:moveTo>
                      <a:cubicBezTo>
                        <a:pt x="-523" y="8346"/>
                        <a:pt x="722" y="14573"/>
                        <a:pt x="2093" y="18684"/>
                      </a:cubicBezTo>
                      <a:cubicBezTo>
                        <a:pt x="4335" y="25285"/>
                        <a:pt x="6950" y="27901"/>
                        <a:pt x="8943" y="34752"/>
                      </a:cubicBezTo>
                      <a:cubicBezTo>
                        <a:pt x="10812" y="41353"/>
                        <a:pt x="10687"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8" name="Freeform 4448">
                  <a:extLst>
                    <a:ext uri="{FF2B5EF4-FFF2-40B4-BE49-F238E27FC236}">
                      <a16:creationId xmlns:a16="http://schemas.microsoft.com/office/drawing/2014/main" id="{768B6594-D4ED-97FC-F25A-B15D87747531}"/>
                    </a:ext>
                  </a:extLst>
                </p:cNvPr>
                <p:cNvSpPr/>
                <p:nvPr/>
              </p:nvSpPr>
              <p:spPr>
                <a:xfrm>
                  <a:off x="5897557" y="5818412"/>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4" y="43595"/>
                        <a:pt x="5979" y="37367"/>
                        <a:pt x="5605" y="33008"/>
                      </a:cubicBezTo>
                      <a:cubicBezTo>
                        <a:pt x="4982" y="26033"/>
                        <a:pt x="6352" y="22669"/>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9" name="Freeform 4449">
                  <a:extLst>
                    <a:ext uri="{FF2B5EF4-FFF2-40B4-BE49-F238E27FC236}">
                      <a16:creationId xmlns:a16="http://schemas.microsoft.com/office/drawing/2014/main" id="{C6FD99EA-4DE5-D923-AB8F-87267A18A0B1}"/>
                    </a:ext>
                  </a:extLst>
                </p:cNvPr>
                <p:cNvSpPr/>
                <p:nvPr/>
              </p:nvSpPr>
              <p:spPr>
                <a:xfrm>
                  <a:off x="5880584" y="5803888"/>
                  <a:ext cx="26595" cy="26513"/>
                </a:xfrm>
                <a:custGeom>
                  <a:avLst/>
                  <a:gdLst>
                    <a:gd name="connsiteX0" fmla="*/ 26314 w 26595"/>
                    <a:gd name="connsiteY0" fmla="*/ 10538 h 26513"/>
                    <a:gd name="connsiteX1" fmla="*/ 15975 w 26595"/>
                    <a:gd name="connsiteY1" fmla="*/ 26232 h 26513"/>
                    <a:gd name="connsiteX2" fmla="*/ 281 w 26595"/>
                    <a:gd name="connsiteY2" fmla="*/ 16019 h 26513"/>
                    <a:gd name="connsiteX3" fmla="*/ 10620 w 26595"/>
                    <a:gd name="connsiteY3" fmla="*/ 324 h 26513"/>
                    <a:gd name="connsiteX4" fmla="*/ 26314 w 26595"/>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13">
                      <a:moveTo>
                        <a:pt x="26314" y="10538"/>
                      </a:moveTo>
                      <a:cubicBezTo>
                        <a:pt x="27809" y="17762"/>
                        <a:pt x="23200" y="24737"/>
                        <a:pt x="15975" y="26232"/>
                      </a:cubicBezTo>
                      <a:cubicBezTo>
                        <a:pt x="8751" y="27727"/>
                        <a:pt x="1776" y="23118"/>
                        <a:pt x="281" y="16019"/>
                      </a:cubicBezTo>
                      <a:cubicBezTo>
                        <a:pt x="-1214" y="8794"/>
                        <a:pt x="3395" y="1819"/>
                        <a:pt x="10620" y="324"/>
                      </a:cubicBezTo>
                      <a:cubicBezTo>
                        <a:pt x="17719" y="-1295"/>
                        <a:pt x="24819" y="3313"/>
                        <a:pt x="26314"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0" name="Freeform 4450">
                  <a:extLst>
                    <a:ext uri="{FF2B5EF4-FFF2-40B4-BE49-F238E27FC236}">
                      <a16:creationId xmlns:a16="http://schemas.microsoft.com/office/drawing/2014/main" id="{261E45C6-43B6-C347-3887-0A7C37D13D5A}"/>
                    </a:ext>
                  </a:extLst>
                </p:cNvPr>
                <p:cNvSpPr/>
                <p:nvPr/>
              </p:nvSpPr>
              <p:spPr>
                <a:xfrm>
                  <a:off x="5910691" y="5878075"/>
                  <a:ext cx="10506" cy="51193"/>
                </a:xfrm>
                <a:custGeom>
                  <a:avLst/>
                  <a:gdLst>
                    <a:gd name="connsiteX0" fmla="*/ 10282 w 10506"/>
                    <a:gd name="connsiteY0" fmla="*/ 51193 h 51193"/>
                    <a:gd name="connsiteX1" fmla="*/ 8414 w 10506"/>
                    <a:gd name="connsiteY1" fmla="*/ 32510 h 51193"/>
                    <a:gd name="connsiteX2" fmla="*/ 1563 w 10506"/>
                    <a:gd name="connsiteY2" fmla="*/ 16442 h 51193"/>
                    <a:gd name="connsiteX3" fmla="*/ 318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10282" y="51193"/>
                      </a:moveTo>
                      <a:cubicBezTo>
                        <a:pt x="11030" y="42848"/>
                        <a:pt x="9784" y="36620"/>
                        <a:pt x="8414" y="32510"/>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1" name="Freeform 4451">
                  <a:extLst>
                    <a:ext uri="{FF2B5EF4-FFF2-40B4-BE49-F238E27FC236}">
                      <a16:creationId xmlns:a16="http://schemas.microsoft.com/office/drawing/2014/main" id="{F8A1AB4F-31F3-9366-708C-6627F52A2D21}"/>
                    </a:ext>
                  </a:extLst>
                </p:cNvPr>
                <p:cNvSpPr/>
                <p:nvPr/>
              </p:nvSpPr>
              <p:spPr>
                <a:xfrm>
                  <a:off x="5903784" y="5884677"/>
                  <a:ext cx="11334" cy="50944"/>
                </a:xfrm>
                <a:custGeom>
                  <a:avLst/>
                  <a:gdLst>
                    <a:gd name="connsiteX0" fmla="*/ 0 w 11334"/>
                    <a:gd name="connsiteY0" fmla="*/ 0 h 50944"/>
                    <a:gd name="connsiteX1" fmla="*/ 5730 w 11334"/>
                    <a:gd name="connsiteY1" fmla="*/ 17936 h 50944"/>
                    <a:gd name="connsiteX2" fmla="*/ 5854 w 11334"/>
                    <a:gd name="connsiteY2" fmla="*/ 35374 h 50944"/>
                    <a:gd name="connsiteX3" fmla="*/ 11335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30" y="17936"/>
                      </a:cubicBezTo>
                      <a:cubicBezTo>
                        <a:pt x="6352" y="24912"/>
                        <a:pt x="4982" y="28275"/>
                        <a:pt x="5854" y="35374"/>
                      </a:cubicBezTo>
                      <a:cubicBezTo>
                        <a:pt x="6851"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2" name="Freeform 4452">
                  <a:extLst>
                    <a:ext uri="{FF2B5EF4-FFF2-40B4-BE49-F238E27FC236}">
                      <a16:creationId xmlns:a16="http://schemas.microsoft.com/office/drawing/2014/main" id="{FA6405D4-DC7F-43BF-4534-984B203F65AA}"/>
                    </a:ext>
                  </a:extLst>
                </p:cNvPr>
                <p:cNvSpPr/>
                <p:nvPr/>
              </p:nvSpPr>
              <p:spPr>
                <a:xfrm>
                  <a:off x="5905739" y="5923631"/>
                  <a:ext cx="26351" cy="26595"/>
                </a:xfrm>
                <a:custGeom>
                  <a:avLst/>
                  <a:gdLst>
                    <a:gd name="connsiteX0" fmla="*/ 287 w 26351"/>
                    <a:gd name="connsiteY0" fmla="*/ 15975 h 26595"/>
                    <a:gd name="connsiteX1" fmla="*/ 10501 w 26351"/>
                    <a:gd name="connsiteY1" fmla="*/ 281 h 26595"/>
                    <a:gd name="connsiteX2" fmla="*/ 26070 w 26351"/>
                    <a:gd name="connsiteY2" fmla="*/ 10620 h 26595"/>
                    <a:gd name="connsiteX3" fmla="*/ 15857 w 26351"/>
                    <a:gd name="connsiteY3" fmla="*/ 26314 h 26595"/>
                    <a:gd name="connsiteX4" fmla="*/ 287 w 26351"/>
                    <a:gd name="connsiteY4" fmla="*/ 15975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95">
                      <a:moveTo>
                        <a:pt x="287" y="15975"/>
                      </a:moveTo>
                      <a:cubicBezTo>
                        <a:pt x="-1208" y="8751"/>
                        <a:pt x="3276" y="1776"/>
                        <a:pt x="10501" y="281"/>
                      </a:cubicBezTo>
                      <a:cubicBezTo>
                        <a:pt x="17600" y="-1214"/>
                        <a:pt x="24575" y="3395"/>
                        <a:pt x="26070" y="10620"/>
                      </a:cubicBezTo>
                      <a:cubicBezTo>
                        <a:pt x="27565" y="17844"/>
                        <a:pt x="22957" y="24819"/>
                        <a:pt x="15857" y="26314"/>
                      </a:cubicBezTo>
                      <a:cubicBezTo>
                        <a:pt x="8757" y="27809"/>
                        <a:pt x="1782" y="23200"/>
                        <a:pt x="287" y="15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8" name="Graphic 2987">
                <a:extLst>
                  <a:ext uri="{FF2B5EF4-FFF2-40B4-BE49-F238E27FC236}">
                    <a16:creationId xmlns:a16="http://schemas.microsoft.com/office/drawing/2014/main" id="{AF471089-94EC-8002-927F-B7DB1BBD520F}"/>
                  </a:ext>
                </a:extLst>
              </p:cNvPr>
              <p:cNvGrpSpPr/>
              <p:nvPr/>
            </p:nvGrpSpPr>
            <p:grpSpPr>
              <a:xfrm>
                <a:off x="5909606" y="5797822"/>
                <a:ext cx="51257" cy="146384"/>
                <a:chOff x="5909606" y="5797822"/>
                <a:chExt cx="51257" cy="146384"/>
              </a:xfrm>
              <a:grpFill/>
            </p:grpSpPr>
            <p:sp>
              <p:nvSpPr>
                <p:cNvPr id="4991" name="Freeform 4454">
                  <a:extLst>
                    <a:ext uri="{FF2B5EF4-FFF2-40B4-BE49-F238E27FC236}">
                      <a16:creationId xmlns:a16="http://schemas.microsoft.com/office/drawing/2014/main" id="{D2F48538-2B50-A120-9EDC-0BCB4207D067}"/>
                    </a:ext>
                  </a:extLst>
                </p:cNvPr>
                <p:cNvSpPr/>
                <p:nvPr/>
              </p:nvSpPr>
              <p:spPr>
                <a:xfrm>
                  <a:off x="5920624" y="5818786"/>
                  <a:ext cx="10451" cy="51193"/>
                </a:xfrm>
                <a:custGeom>
                  <a:avLst/>
                  <a:gdLst>
                    <a:gd name="connsiteX0" fmla="*/ 224 w 10451"/>
                    <a:gd name="connsiteY0" fmla="*/ 0 h 51193"/>
                    <a:gd name="connsiteX1" fmla="*/ 2093 w 10451"/>
                    <a:gd name="connsiteY1" fmla="*/ 18684 h 51193"/>
                    <a:gd name="connsiteX2" fmla="*/ 8943 w 10451"/>
                    <a:gd name="connsiteY2" fmla="*/ 34751 h 51193"/>
                    <a:gd name="connsiteX3" fmla="*/ 10189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224" y="0"/>
                      </a:moveTo>
                      <a:cubicBezTo>
                        <a:pt x="-523" y="8345"/>
                        <a:pt x="723" y="14573"/>
                        <a:pt x="2093" y="18684"/>
                      </a:cubicBezTo>
                      <a:cubicBezTo>
                        <a:pt x="4210" y="25285"/>
                        <a:pt x="6951" y="27901"/>
                        <a:pt x="8943" y="34751"/>
                      </a:cubicBezTo>
                      <a:cubicBezTo>
                        <a:pt x="10812" y="41353"/>
                        <a:pt x="10563"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2" name="Freeform 4455">
                  <a:extLst>
                    <a:ext uri="{FF2B5EF4-FFF2-40B4-BE49-F238E27FC236}">
                      <a16:creationId xmlns:a16="http://schemas.microsoft.com/office/drawing/2014/main" id="{86B0D4C3-83FA-03A9-0776-89BD2B3482E3}"/>
                    </a:ext>
                  </a:extLst>
                </p:cNvPr>
                <p:cNvSpPr/>
                <p:nvPr/>
              </p:nvSpPr>
              <p:spPr>
                <a:xfrm>
                  <a:off x="5926578" y="5812309"/>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5" y="43595"/>
                        <a:pt x="5979" y="37367"/>
                        <a:pt x="5605" y="33008"/>
                      </a:cubicBezTo>
                      <a:cubicBezTo>
                        <a:pt x="4982" y="26033"/>
                        <a:pt x="6477" y="22670"/>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3" name="Freeform 4456">
                  <a:extLst>
                    <a:ext uri="{FF2B5EF4-FFF2-40B4-BE49-F238E27FC236}">
                      <a16:creationId xmlns:a16="http://schemas.microsoft.com/office/drawing/2014/main" id="{29EBB7E7-13D8-0383-5F71-E4052E1D6E1F}"/>
                    </a:ext>
                  </a:extLst>
                </p:cNvPr>
                <p:cNvSpPr/>
                <p:nvPr/>
              </p:nvSpPr>
              <p:spPr>
                <a:xfrm>
                  <a:off x="5909606" y="5797822"/>
                  <a:ext cx="26595" cy="26476"/>
                </a:xfrm>
                <a:custGeom>
                  <a:avLst/>
                  <a:gdLst>
                    <a:gd name="connsiteX0" fmla="*/ 26314 w 26595"/>
                    <a:gd name="connsiteY0" fmla="*/ 10500 h 26476"/>
                    <a:gd name="connsiteX1" fmla="*/ 15976 w 26595"/>
                    <a:gd name="connsiteY1" fmla="*/ 26195 h 26476"/>
                    <a:gd name="connsiteX2" fmla="*/ 281 w 26595"/>
                    <a:gd name="connsiteY2" fmla="*/ 15981 h 26476"/>
                    <a:gd name="connsiteX3" fmla="*/ 10619 w 26595"/>
                    <a:gd name="connsiteY3" fmla="*/ 287 h 26476"/>
                    <a:gd name="connsiteX4" fmla="*/ 26314 w 26595"/>
                    <a:gd name="connsiteY4" fmla="*/ 10500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6">
                      <a:moveTo>
                        <a:pt x="26314" y="10500"/>
                      </a:moveTo>
                      <a:cubicBezTo>
                        <a:pt x="27808" y="17725"/>
                        <a:pt x="23200" y="24700"/>
                        <a:pt x="15976" y="26195"/>
                      </a:cubicBezTo>
                      <a:cubicBezTo>
                        <a:pt x="8751" y="27689"/>
                        <a:pt x="1776" y="23081"/>
                        <a:pt x="281" y="15981"/>
                      </a:cubicBezTo>
                      <a:cubicBezTo>
                        <a:pt x="-1213" y="8757"/>
                        <a:pt x="3395" y="1782"/>
                        <a:pt x="10619" y="287"/>
                      </a:cubicBezTo>
                      <a:cubicBezTo>
                        <a:pt x="17844" y="-1208"/>
                        <a:pt x="24944" y="3276"/>
                        <a:pt x="26314"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4" name="Freeform 4457">
                  <a:extLst>
                    <a:ext uri="{FF2B5EF4-FFF2-40B4-BE49-F238E27FC236}">
                      <a16:creationId xmlns:a16="http://schemas.microsoft.com/office/drawing/2014/main" id="{B3A87724-7F7F-6FF7-5D5D-5F78EB4B40C7}"/>
                    </a:ext>
                  </a:extLst>
                </p:cNvPr>
                <p:cNvSpPr/>
                <p:nvPr/>
              </p:nvSpPr>
              <p:spPr>
                <a:xfrm>
                  <a:off x="5939643" y="5872097"/>
                  <a:ext cx="10327" cy="51193"/>
                </a:xfrm>
                <a:custGeom>
                  <a:avLst/>
                  <a:gdLst>
                    <a:gd name="connsiteX0" fmla="*/ 10103 w 10327"/>
                    <a:gd name="connsiteY0" fmla="*/ 51193 h 51193"/>
                    <a:gd name="connsiteX1" fmla="*/ 8234 w 10327"/>
                    <a:gd name="connsiteY1" fmla="*/ 32509 h 51193"/>
                    <a:gd name="connsiteX2" fmla="*/ 1508 w 10327"/>
                    <a:gd name="connsiteY2" fmla="*/ 16441 h 51193"/>
                    <a:gd name="connsiteX3" fmla="*/ 263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10103" y="51193"/>
                      </a:moveTo>
                      <a:cubicBezTo>
                        <a:pt x="10850" y="42848"/>
                        <a:pt x="9605" y="36620"/>
                        <a:pt x="8234" y="32509"/>
                      </a:cubicBezTo>
                      <a:cubicBezTo>
                        <a:pt x="6117" y="25908"/>
                        <a:pt x="3377" y="23292"/>
                        <a:pt x="1508" y="16441"/>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5" name="Freeform 4458">
                  <a:extLst>
                    <a:ext uri="{FF2B5EF4-FFF2-40B4-BE49-F238E27FC236}">
                      <a16:creationId xmlns:a16="http://schemas.microsoft.com/office/drawing/2014/main" id="{01FDD6FC-0844-8EE3-8CE8-9304F31A32AB}"/>
                    </a:ext>
                  </a:extLst>
                </p:cNvPr>
                <p:cNvSpPr/>
                <p:nvPr/>
              </p:nvSpPr>
              <p:spPr>
                <a:xfrm>
                  <a:off x="5932682" y="5878698"/>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4111" y="7349"/>
                        <a:pt x="5356" y="13577"/>
                        <a:pt x="5730" y="17936"/>
                      </a:cubicBezTo>
                      <a:cubicBezTo>
                        <a:pt x="6353" y="24912"/>
                        <a:pt x="4858" y="28274"/>
                        <a:pt x="5854" y="35374"/>
                      </a:cubicBezTo>
                      <a:cubicBezTo>
                        <a:pt x="6726" y="42225"/>
                        <a:pt x="9342"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6" name="Freeform 4459">
                  <a:extLst>
                    <a:ext uri="{FF2B5EF4-FFF2-40B4-BE49-F238E27FC236}">
                      <a16:creationId xmlns:a16="http://schemas.microsoft.com/office/drawing/2014/main" id="{35269956-3116-BF82-5385-B891E14C36CE}"/>
                    </a:ext>
                  </a:extLst>
                </p:cNvPr>
                <p:cNvSpPr/>
                <p:nvPr/>
              </p:nvSpPr>
              <p:spPr>
                <a:xfrm>
                  <a:off x="5934518" y="5917653"/>
                  <a:ext cx="26346" cy="26554"/>
                </a:xfrm>
                <a:custGeom>
                  <a:avLst/>
                  <a:gdLst>
                    <a:gd name="connsiteX0" fmla="*/ 282 w 26346"/>
                    <a:gd name="connsiteY0" fmla="*/ 15976 h 26554"/>
                    <a:gd name="connsiteX1" fmla="*/ 10495 w 26346"/>
                    <a:gd name="connsiteY1" fmla="*/ 281 h 26554"/>
                    <a:gd name="connsiteX2" fmla="*/ 26065 w 26346"/>
                    <a:gd name="connsiteY2" fmla="*/ 10619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19"/>
                      </a:cubicBezTo>
                      <a:cubicBezTo>
                        <a:pt x="27560" y="17844"/>
                        <a:pt x="22951" y="24819"/>
                        <a:pt x="15851" y="26314"/>
                      </a:cubicBezTo>
                      <a:cubicBezTo>
                        <a:pt x="8751" y="27684"/>
                        <a:pt x="1776" y="23075"/>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9" name="Graphic 2987">
                <a:extLst>
                  <a:ext uri="{FF2B5EF4-FFF2-40B4-BE49-F238E27FC236}">
                    <a16:creationId xmlns:a16="http://schemas.microsoft.com/office/drawing/2014/main" id="{6D0359C5-83FA-F601-F33E-CABEBE913D55}"/>
                  </a:ext>
                </a:extLst>
              </p:cNvPr>
              <p:cNvGrpSpPr/>
              <p:nvPr/>
            </p:nvGrpSpPr>
            <p:grpSpPr>
              <a:xfrm>
                <a:off x="5938758" y="5791724"/>
                <a:ext cx="50879" cy="146504"/>
                <a:chOff x="5938758" y="5791724"/>
                <a:chExt cx="50879" cy="146504"/>
              </a:xfrm>
              <a:grpFill/>
            </p:grpSpPr>
            <p:sp>
              <p:nvSpPr>
                <p:cNvPr id="4985" name="Freeform 4461">
                  <a:extLst>
                    <a:ext uri="{FF2B5EF4-FFF2-40B4-BE49-F238E27FC236}">
                      <a16:creationId xmlns:a16="http://schemas.microsoft.com/office/drawing/2014/main" id="{84622B4A-747D-C9AD-F439-B2CA8C541ECD}"/>
                    </a:ext>
                  </a:extLst>
                </p:cNvPr>
                <p:cNvSpPr/>
                <p:nvPr/>
              </p:nvSpPr>
              <p:spPr>
                <a:xfrm>
                  <a:off x="5949595" y="5812682"/>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6"/>
                        <a:pt x="773" y="14573"/>
                        <a:pt x="2019" y="18684"/>
                      </a:cubicBezTo>
                      <a:cubicBezTo>
                        <a:pt x="4136" y="25285"/>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6" name="Freeform 4462">
                  <a:extLst>
                    <a:ext uri="{FF2B5EF4-FFF2-40B4-BE49-F238E27FC236}">
                      <a16:creationId xmlns:a16="http://schemas.microsoft.com/office/drawing/2014/main" id="{56D01FC2-5DFF-AD4C-F694-93FD6BF290EE}"/>
                    </a:ext>
                  </a:extLst>
                </p:cNvPr>
                <p:cNvSpPr/>
                <p:nvPr/>
              </p:nvSpPr>
              <p:spPr>
                <a:xfrm>
                  <a:off x="5955974" y="5806330"/>
                  <a:ext cx="10960" cy="50944"/>
                </a:xfrm>
                <a:custGeom>
                  <a:avLst/>
                  <a:gdLst>
                    <a:gd name="connsiteX0" fmla="*/ 10961 w 10960"/>
                    <a:gd name="connsiteY0" fmla="*/ 50944 h 50944"/>
                    <a:gd name="connsiteX1" fmla="*/ 5356 w 10960"/>
                    <a:gd name="connsiteY1" fmla="*/ 33008 h 50944"/>
                    <a:gd name="connsiteX2" fmla="*/ 5356 w 10960"/>
                    <a:gd name="connsiteY2" fmla="*/ 15570 h 50944"/>
                    <a:gd name="connsiteX3" fmla="*/ 0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10961" y="50944"/>
                      </a:moveTo>
                      <a:cubicBezTo>
                        <a:pt x="6975" y="43595"/>
                        <a:pt x="5730" y="37367"/>
                        <a:pt x="5356" y="33008"/>
                      </a:cubicBezTo>
                      <a:cubicBezTo>
                        <a:pt x="4733" y="26033"/>
                        <a:pt x="6228" y="22669"/>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7" name="Freeform 4463">
                  <a:extLst>
                    <a:ext uri="{FF2B5EF4-FFF2-40B4-BE49-F238E27FC236}">
                      <a16:creationId xmlns:a16="http://schemas.microsoft.com/office/drawing/2014/main" id="{D8E770E0-C7A4-A081-6E9F-FDED921FD6F9}"/>
                    </a:ext>
                  </a:extLst>
                </p:cNvPr>
                <p:cNvSpPr/>
                <p:nvPr/>
              </p:nvSpPr>
              <p:spPr>
                <a:xfrm>
                  <a:off x="5938758" y="5791724"/>
                  <a:ext cx="26584" cy="26471"/>
                </a:xfrm>
                <a:custGeom>
                  <a:avLst/>
                  <a:gdLst>
                    <a:gd name="connsiteX0" fmla="*/ 26309 w 26584"/>
                    <a:gd name="connsiteY0" fmla="*/ 10495 h 26471"/>
                    <a:gd name="connsiteX1" fmla="*/ 15970 w 26584"/>
                    <a:gd name="connsiteY1" fmla="*/ 26190 h 26471"/>
                    <a:gd name="connsiteX2" fmla="*/ 276 w 26584"/>
                    <a:gd name="connsiteY2" fmla="*/ 15976 h 26471"/>
                    <a:gd name="connsiteX3" fmla="*/ 10615 w 26584"/>
                    <a:gd name="connsiteY3" fmla="*/ 282 h 26471"/>
                    <a:gd name="connsiteX4" fmla="*/ 26309 w 26584"/>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4" h="26470">
                      <a:moveTo>
                        <a:pt x="26309" y="10495"/>
                      </a:moveTo>
                      <a:cubicBezTo>
                        <a:pt x="27803" y="17720"/>
                        <a:pt x="23070" y="24695"/>
                        <a:pt x="15970" y="26190"/>
                      </a:cubicBezTo>
                      <a:cubicBezTo>
                        <a:pt x="8871" y="27684"/>
                        <a:pt x="1771" y="23076"/>
                        <a:pt x="276" y="15976"/>
                      </a:cubicBezTo>
                      <a:cubicBezTo>
                        <a:pt x="-1219" y="8752"/>
                        <a:pt x="3515" y="1777"/>
                        <a:pt x="10615" y="282"/>
                      </a:cubicBezTo>
                      <a:cubicBezTo>
                        <a:pt x="17839" y="-1213"/>
                        <a:pt x="24814" y="3395"/>
                        <a:pt x="2630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8" name="Freeform 4464">
                  <a:extLst>
                    <a:ext uri="{FF2B5EF4-FFF2-40B4-BE49-F238E27FC236}">
                      <a16:creationId xmlns:a16="http://schemas.microsoft.com/office/drawing/2014/main" id="{D6AF5CE8-ED7B-5BBE-08E6-D8A18D3A2A92}"/>
                    </a:ext>
                  </a:extLst>
                </p:cNvPr>
                <p:cNvSpPr/>
                <p:nvPr/>
              </p:nvSpPr>
              <p:spPr>
                <a:xfrm>
                  <a:off x="5968694" y="5865993"/>
                  <a:ext cx="10224" cy="51193"/>
                </a:xfrm>
                <a:custGeom>
                  <a:avLst/>
                  <a:gdLst>
                    <a:gd name="connsiteX0" fmla="*/ 9950 w 10224"/>
                    <a:gd name="connsiteY0" fmla="*/ 51193 h 51193"/>
                    <a:gd name="connsiteX1" fmla="*/ 8206 w 10224"/>
                    <a:gd name="connsiteY1" fmla="*/ 32510 h 51193"/>
                    <a:gd name="connsiteX2" fmla="*/ 1480 w 10224"/>
                    <a:gd name="connsiteY2" fmla="*/ 16442 h 51193"/>
                    <a:gd name="connsiteX3" fmla="*/ 359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51193"/>
                      </a:moveTo>
                      <a:cubicBezTo>
                        <a:pt x="10822" y="42848"/>
                        <a:pt x="9452" y="36620"/>
                        <a:pt x="8206" y="32510"/>
                      </a:cubicBezTo>
                      <a:cubicBezTo>
                        <a:pt x="6088" y="25908"/>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9" name="Freeform 4465">
                  <a:extLst>
                    <a:ext uri="{FF2B5EF4-FFF2-40B4-BE49-F238E27FC236}">
                      <a16:creationId xmlns:a16="http://schemas.microsoft.com/office/drawing/2014/main" id="{6840F39B-BE11-7360-A9DA-E4800976A1D7}"/>
                    </a:ext>
                  </a:extLst>
                </p:cNvPr>
                <p:cNvSpPr/>
                <p:nvPr/>
              </p:nvSpPr>
              <p:spPr>
                <a:xfrm>
                  <a:off x="5961704" y="5872595"/>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3986" y="7349"/>
                        <a:pt x="5231" y="13577"/>
                        <a:pt x="5730" y="17936"/>
                      </a:cubicBezTo>
                      <a:cubicBezTo>
                        <a:pt x="6353" y="24912"/>
                        <a:pt x="4858" y="28275"/>
                        <a:pt x="5854" y="35374"/>
                      </a:cubicBezTo>
                      <a:cubicBezTo>
                        <a:pt x="6726" y="42225"/>
                        <a:pt x="9217"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0" name="Freeform 4466">
                  <a:extLst>
                    <a:ext uri="{FF2B5EF4-FFF2-40B4-BE49-F238E27FC236}">
                      <a16:creationId xmlns:a16="http://schemas.microsoft.com/office/drawing/2014/main" id="{B5CBD535-0723-6E09-A717-18930366E459}"/>
                    </a:ext>
                  </a:extLst>
                </p:cNvPr>
                <p:cNvSpPr/>
                <p:nvPr/>
              </p:nvSpPr>
              <p:spPr>
                <a:xfrm>
                  <a:off x="5963290" y="5911674"/>
                  <a:ext cx="26346" cy="26554"/>
                </a:xfrm>
                <a:custGeom>
                  <a:avLst/>
                  <a:gdLst>
                    <a:gd name="connsiteX0" fmla="*/ 282 w 26346"/>
                    <a:gd name="connsiteY0" fmla="*/ 15976 h 26554"/>
                    <a:gd name="connsiteX1" fmla="*/ 10495 w 26346"/>
                    <a:gd name="connsiteY1" fmla="*/ 281 h 26554"/>
                    <a:gd name="connsiteX2" fmla="*/ 26065 w 26346"/>
                    <a:gd name="connsiteY2" fmla="*/ 10620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20"/>
                      </a:cubicBezTo>
                      <a:cubicBezTo>
                        <a:pt x="27560" y="17844"/>
                        <a:pt x="22951" y="24819"/>
                        <a:pt x="15851" y="26314"/>
                      </a:cubicBezTo>
                      <a:cubicBezTo>
                        <a:pt x="8751" y="27684"/>
                        <a:pt x="1776" y="23076"/>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0" name="Graphic 2987">
                <a:extLst>
                  <a:ext uri="{FF2B5EF4-FFF2-40B4-BE49-F238E27FC236}">
                    <a16:creationId xmlns:a16="http://schemas.microsoft.com/office/drawing/2014/main" id="{287E3163-50BE-CEA7-66DA-2CB2B7D23A97}"/>
                  </a:ext>
                </a:extLst>
              </p:cNvPr>
              <p:cNvGrpSpPr/>
              <p:nvPr/>
            </p:nvGrpSpPr>
            <p:grpSpPr>
              <a:xfrm>
                <a:off x="5967780" y="5785870"/>
                <a:ext cx="50873" cy="146379"/>
                <a:chOff x="5967780" y="5785870"/>
                <a:chExt cx="50873" cy="146379"/>
              </a:xfrm>
              <a:grpFill/>
            </p:grpSpPr>
            <p:sp>
              <p:nvSpPr>
                <p:cNvPr id="4979" name="Freeform 4468">
                  <a:extLst>
                    <a:ext uri="{FF2B5EF4-FFF2-40B4-BE49-F238E27FC236}">
                      <a16:creationId xmlns:a16="http://schemas.microsoft.com/office/drawing/2014/main" id="{2D386AEA-6857-4C21-01E2-BEFD756A2606}"/>
                    </a:ext>
                  </a:extLst>
                </p:cNvPr>
                <p:cNvSpPr/>
                <p:nvPr/>
              </p:nvSpPr>
              <p:spPr>
                <a:xfrm>
                  <a:off x="5978727" y="5806704"/>
                  <a:ext cx="10239" cy="51193"/>
                </a:xfrm>
                <a:custGeom>
                  <a:avLst/>
                  <a:gdLst>
                    <a:gd name="connsiteX0" fmla="*/ 290 w 10239"/>
                    <a:gd name="connsiteY0" fmla="*/ 0 h 51193"/>
                    <a:gd name="connsiteX1" fmla="*/ 2034 w 10239"/>
                    <a:gd name="connsiteY1" fmla="*/ 18684 h 51193"/>
                    <a:gd name="connsiteX2" fmla="*/ 8760 w 10239"/>
                    <a:gd name="connsiteY2" fmla="*/ 34751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3" y="14573"/>
                        <a:pt x="2034" y="18684"/>
                      </a:cubicBezTo>
                      <a:cubicBezTo>
                        <a:pt x="4151" y="25409"/>
                        <a:pt x="6891" y="27901"/>
                        <a:pt x="8760" y="34751"/>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0" name="Freeform 4469">
                  <a:extLst>
                    <a:ext uri="{FF2B5EF4-FFF2-40B4-BE49-F238E27FC236}">
                      <a16:creationId xmlns:a16="http://schemas.microsoft.com/office/drawing/2014/main" id="{CA4E5E93-510B-F59D-8DCE-14FB2FA174AF}"/>
                    </a:ext>
                  </a:extLst>
                </p:cNvPr>
                <p:cNvSpPr/>
                <p:nvPr/>
              </p:nvSpPr>
              <p:spPr>
                <a:xfrm>
                  <a:off x="5984996" y="5800351"/>
                  <a:ext cx="10961" cy="50944"/>
                </a:xfrm>
                <a:custGeom>
                  <a:avLst/>
                  <a:gdLst>
                    <a:gd name="connsiteX0" fmla="*/ 10961 w 10961"/>
                    <a:gd name="connsiteY0" fmla="*/ 50944 h 50944"/>
                    <a:gd name="connsiteX1" fmla="*/ 5356 w 10961"/>
                    <a:gd name="connsiteY1" fmla="*/ 33008 h 50944"/>
                    <a:gd name="connsiteX2" fmla="*/ 5356 w 10961"/>
                    <a:gd name="connsiteY2" fmla="*/ 15570 h 50944"/>
                    <a:gd name="connsiteX3" fmla="*/ 0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50944"/>
                      </a:moveTo>
                      <a:cubicBezTo>
                        <a:pt x="6975" y="43595"/>
                        <a:pt x="5730" y="37367"/>
                        <a:pt x="5356" y="33008"/>
                      </a:cubicBezTo>
                      <a:cubicBezTo>
                        <a:pt x="4733" y="26033"/>
                        <a:pt x="6228" y="22670"/>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1" name="Freeform 4470">
                  <a:extLst>
                    <a:ext uri="{FF2B5EF4-FFF2-40B4-BE49-F238E27FC236}">
                      <a16:creationId xmlns:a16="http://schemas.microsoft.com/office/drawing/2014/main" id="{52307AA2-7F18-2C6C-3763-F75846B423BD}"/>
                    </a:ext>
                  </a:extLst>
                </p:cNvPr>
                <p:cNvSpPr/>
                <p:nvPr/>
              </p:nvSpPr>
              <p:spPr>
                <a:xfrm>
                  <a:off x="5967780" y="5785870"/>
                  <a:ext cx="26708" cy="26430"/>
                </a:xfrm>
                <a:custGeom>
                  <a:avLst/>
                  <a:gdLst>
                    <a:gd name="connsiteX0" fmla="*/ 26433 w 26708"/>
                    <a:gd name="connsiteY0" fmla="*/ 10620 h 26430"/>
                    <a:gd name="connsiteX1" fmla="*/ 15970 w 26708"/>
                    <a:gd name="connsiteY1" fmla="*/ 26189 h 26430"/>
                    <a:gd name="connsiteX2" fmla="*/ 276 w 26708"/>
                    <a:gd name="connsiteY2" fmla="*/ 15851 h 26430"/>
                    <a:gd name="connsiteX3" fmla="*/ 10739 w 26708"/>
                    <a:gd name="connsiteY3" fmla="*/ 281 h 26430"/>
                    <a:gd name="connsiteX4" fmla="*/ 26433 w 26708"/>
                    <a:gd name="connsiteY4" fmla="*/ 10620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30">
                      <a:moveTo>
                        <a:pt x="26433" y="10620"/>
                      </a:moveTo>
                      <a:cubicBezTo>
                        <a:pt x="27927" y="17844"/>
                        <a:pt x="23195" y="24819"/>
                        <a:pt x="15970" y="26189"/>
                      </a:cubicBezTo>
                      <a:cubicBezTo>
                        <a:pt x="8746" y="27559"/>
                        <a:pt x="1771" y="22951"/>
                        <a:pt x="276" y="15851"/>
                      </a:cubicBezTo>
                      <a:cubicBezTo>
                        <a:pt x="-1219" y="8627"/>
                        <a:pt x="3514" y="1652"/>
                        <a:pt x="10739" y="281"/>
                      </a:cubicBezTo>
                      <a:cubicBezTo>
                        <a:pt x="18088" y="-1213"/>
                        <a:pt x="25063" y="3395"/>
                        <a:pt x="26433" y="106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2" name="Freeform 4471">
                  <a:extLst>
                    <a:ext uri="{FF2B5EF4-FFF2-40B4-BE49-F238E27FC236}">
                      <a16:creationId xmlns:a16="http://schemas.microsoft.com/office/drawing/2014/main" id="{59C340CE-71B9-69F9-0F4B-9C3D9AFB9AEA}"/>
                    </a:ext>
                  </a:extLst>
                </p:cNvPr>
                <p:cNvSpPr/>
                <p:nvPr/>
              </p:nvSpPr>
              <p:spPr>
                <a:xfrm>
                  <a:off x="5997467" y="5860139"/>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8" y="25784"/>
                        <a:pt x="3348" y="23293"/>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3" name="Freeform 4472">
                  <a:extLst>
                    <a:ext uri="{FF2B5EF4-FFF2-40B4-BE49-F238E27FC236}">
                      <a16:creationId xmlns:a16="http://schemas.microsoft.com/office/drawing/2014/main" id="{EA372C22-CCAC-BFFC-1F5E-2F5A83B2D6FB}"/>
                    </a:ext>
                  </a:extLst>
                </p:cNvPr>
                <p:cNvSpPr/>
                <p:nvPr/>
              </p:nvSpPr>
              <p:spPr>
                <a:xfrm>
                  <a:off x="5990601" y="5866616"/>
                  <a:ext cx="10960" cy="50944"/>
                </a:xfrm>
                <a:custGeom>
                  <a:avLst/>
                  <a:gdLst>
                    <a:gd name="connsiteX0" fmla="*/ 0 w 10960"/>
                    <a:gd name="connsiteY0" fmla="*/ 0 h 50944"/>
                    <a:gd name="connsiteX1" fmla="*/ 5605 w 10960"/>
                    <a:gd name="connsiteY1" fmla="*/ 17936 h 50944"/>
                    <a:gd name="connsiteX2" fmla="*/ 5605 w 10960"/>
                    <a:gd name="connsiteY2" fmla="*/ 35374 h 50944"/>
                    <a:gd name="connsiteX3" fmla="*/ 10961 w 1096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0" h="50944">
                      <a:moveTo>
                        <a:pt x="0" y="0"/>
                      </a:moveTo>
                      <a:cubicBezTo>
                        <a:pt x="3986" y="7349"/>
                        <a:pt x="5231" y="13577"/>
                        <a:pt x="5605" y="17936"/>
                      </a:cubicBezTo>
                      <a:cubicBezTo>
                        <a:pt x="6228" y="24912"/>
                        <a:pt x="4733" y="28274"/>
                        <a:pt x="5605" y="35374"/>
                      </a:cubicBezTo>
                      <a:cubicBezTo>
                        <a:pt x="6477" y="42225"/>
                        <a:pt x="8968" y="47581"/>
                        <a:pt x="1096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4" name="Freeform 4473">
                  <a:extLst>
                    <a:ext uri="{FF2B5EF4-FFF2-40B4-BE49-F238E27FC236}">
                      <a16:creationId xmlns:a16="http://schemas.microsoft.com/office/drawing/2014/main" id="{1198BA47-9B68-1DD7-480F-A95BBD2C2D17}"/>
                    </a:ext>
                  </a:extLst>
                </p:cNvPr>
                <p:cNvSpPr/>
                <p:nvPr/>
              </p:nvSpPr>
              <p:spPr>
                <a:xfrm>
                  <a:off x="5992188" y="5905736"/>
                  <a:ext cx="26465" cy="26514"/>
                </a:xfrm>
                <a:custGeom>
                  <a:avLst/>
                  <a:gdLst>
                    <a:gd name="connsiteX0" fmla="*/ 281 w 26465"/>
                    <a:gd name="connsiteY0" fmla="*/ 15811 h 26514"/>
                    <a:gd name="connsiteX1" fmla="*/ 10619 w 26465"/>
                    <a:gd name="connsiteY1" fmla="*/ 241 h 26514"/>
                    <a:gd name="connsiteX2" fmla="*/ 26189 w 26465"/>
                    <a:gd name="connsiteY2" fmla="*/ 10704 h 26514"/>
                    <a:gd name="connsiteX3" fmla="*/ 15851 w 26465"/>
                    <a:gd name="connsiteY3" fmla="*/ 26273 h 26514"/>
                    <a:gd name="connsiteX4" fmla="*/ 281 w 26465"/>
                    <a:gd name="connsiteY4" fmla="*/ 15811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5" h="26513">
                      <a:moveTo>
                        <a:pt x="281" y="15811"/>
                      </a:moveTo>
                      <a:cubicBezTo>
                        <a:pt x="-1213" y="8586"/>
                        <a:pt x="3395" y="1611"/>
                        <a:pt x="10619" y="241"/>
                      </a:cubicBezTo>
                      <a:cubicBezTo>
                        <a:pt x="17719" y="-1129"/>
                        <a:pt x="24694" y="3479"/>
                        <a:pt x="26189" y="10704"/>
                      </a:cubicBezTo>
                      <a:cubicBezTo>
                        <a:pt x="27684" y="17928"/>
                        <a:pt x="22951" y="24779"/>
                        <a:pt x="15851" y="26273"/>
                      </a:cubicBezTo>
                      <a:cubicBezTo>
                        <a:pt x="8626" y="27643"/>
                        <a:pt x="1651" y="23035"/>
                        <a:pt x="28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1" name="Graphic 2987">
                <a:extLst>
                  <a:ext uri="{FF2B5EF4-FFF2-40B4-BE49-F238E27FC236}">
                    <a16:creationId xmlns:a16="http://schemas.microsoft.com/office/drawing/2014/main" id="{C5CD621D-6F72-D304-5E8E-EFCF444F1C71}"/>
                  </a:ext>
                </a:extLst>
              </p:cNvPr>
              <p:cNvGrpSpPr/>
              <p:nvPr/>
            </p:nvGrpSpPr>
            <p:grpSpPr>
              <a:xfrm>
                <a:off x="5997051" y="5780057"/>
                <a:ext cx="50215" cy="146583"/>
                <a:chOff x="5997051" y="5780057"/>
                <a:chExt cx="50215" cy="146583"/>
              </a:xfrm>
              <a:grpFill/>
            </p:grpSpPr>
            <p:sp>
              <p:nvSpPr>
                <p:cNvPr id="4973" name="Freeform 4475">
                  <a:extLst>
                    <a:ext uri="{FF2B5EF4-FFF2-40B4-BE49-F238E27FC236}">
                      <a16:creationId xmlns:a16="http://schemas.microsoft.com/office/drawing/2014/main" id="{7C88C788-B7F1-3808-8FCA-DF29EBD58F2B}"/>
                    </a:ext>
                  </a:extLst>
                </p:cNvPr>
                <p:cNvSpPr/>
                <p:nvPr/>
              </p:nvSpPr>
              <p:spPr>
                <a:xfrm>
                  <a:off x="6007874" y="5800974"/>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6"/>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4" name="Freeform 4476">
                  <a:extLst>
                    <a:ext uri="{FF2B5EF4-FFF2-40B4-BE49-F238E27FC236}">
                      <a16:creationId xmlns:a16="http://schemas.microsoft.com/office/drawing/2014/main" id="{FF99F651-A240-481D-4F4F-BB830F75BCCB}"/>
                    </a:ext>
                  </a:extLst>
                </p:cNvPr>
                <p:cNvSpPr/>
                <p:nvPr/>
              </p:nvSpPr>
              <p:spPr>
                <a:xfrm>
                  <a:off x="6014018" y="5794622"/>
                  <a:ext cx="10961" cy="51068"/>
                </a:xfrm>
                <a:custGeom>
                  <a:avLst/>
                  <a:gdLst>
                    <a:gd name="connsiteX0" fmla="*/ 10961 w 10961"/>
                    <a:gd name="connsiteY0" fmla="*/ 51068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8"/>
                      </a:moveTo>
                      <a:cubicBezTo>
                        <a:pt x="6976" y="43595"/>
                        <a:pt x="5730" y="37492"/>
                        <a:pt x="5356" y="33132"/>
                      </a:cubicBezTo>
                      <a:cubicBezTo>
                        <a:pt x="4733" y="26157"/>
                        <a:pt x="6228" y="22794"/>
                        <a:pt x="5356"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5" name="Freeform 4477">
                  <a:extLst>
                    <a:ext uri="{FF2B5EF4-FFF2-40B4-BE49-F238E27FC236}">
                      <a16:creationId xmlns:a16="http://schemas.microsoft.com/office/drawing/2014/main" id="{41C186D5-C381-6BBE-305A-DA38E8162FB0}"/>
                    </a:ext>
                  </a:extLst>
                </p:cNvPr>
                <p:cNvSpPr/>
                <p:nvPr/>
              </p:nvSpPr>
              <p:spPr>
                <a:xfrm>
                  <a:off x="5997051" y="5780057"/>
                  <a:ext cx="26673" cy="26514"/>
                </a:xfrm>
                <a:custGeom>
                  <a:avLst/>
                  <a:gdLst>
                    <a:gd name="connsiteX0" fmla="*/ 26433 w 26673"/>
                    <a:gd name="connsiteY0" fmla="*/ 10704 h 26514"/>
                    <a:gd name="connsiteX1" fmla="*/ 15970 w 26673"/>
                    <a:gd name="connsiteY1" fmla="*/ 26274 h 26514"/>
                    <a:gd name="connsiteX2" fmla="*/ 276 w 26673"/>
                    <a:gd name="connsiteY2" fmla="*/ 15810 h 26514"/>
                    <a:gd name="connsiteX3" fmla="*/ 10739 w 26673"/>
                    <a:gd name="connsiteY3" fmla="*/ 241 h 26514"/>
                    <a:gd name="connsiteX4" fmla="*/ 26433 w 26673"/>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513">
                      <a:moveTo>
                        <a:pt x="26433" y="10704"/>
                      </a:moveTo>
                      <a:cubicBezTo>
                        <a:pt x="27803" y="17928"/>
                        <a:pt x="23194" y="24903"/>
                        <a:pt x="15970" y="26274"/>
                      </a:cubicBezTo>
                      <a:cubicBezTo>
                        <a:pt x="8746" y="27644"/>
                        <a:pt x="1770" y="23035"/>
                        <a:pt x="276" y="15810"/>
                      </a:cubicBezTo>
                      <a:cubicBezTo>
                        <a:pt x="-1219" y="8586"/>
                        <a:pt x="3514" y="1611"/>
                        <a:pt x="10739" y="241"/>
                      </a:cubicBezTo>
                      <a:cubicBezTo>
                        <a:pt x="17963" y="-1129"/>
                        <a:pt x="24938" y="3479"/>
                        <a:pt x="2643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6" name="Freeform 4478">
                  <a:extLst>
                    <a:ext uri="{FF2B5EF4-FFF2-40B4-BE49-F238E27FC236}">
                      <a16:creationId xmlns:a16="http://schemas.microsoft.com/office/drawing/2014/main" id="{027CF0B6-02AF-B3C6-8D68-B7A792B8FDEB}"/>
                    </a:ext>
                  </a:extLst>
                </p:cNvPr>
                <p:cNvSpPr/>
                <p:nvPr/>
              </p:nvSpPr>
              <p:spPr>
                <a:xfrm>
                  <a:off x="6026613" y="5854534"/>
                  <a:ext cx="10115" cy="51193"/>
                </a:xfrm>
                <a:custGeom>
                  <a:avLst/>
                  <a:gdLst>
                    <a:gd name="connsiteX0" fmla="*/ 9825 w 10115"/>
                    <a:gd name="connsiteY0" fmla="*/ 51193 h 51193"/>
                    <a:gd name="connsiteX1" fmla="*/ 8081 w 10115"/>
                    <a:gd name="connsiteY1" fmla="*/ 32509 h 51193"/>
                    <a:gd name="connsiteX2" fmla="*/ 1480 w 10115"/>
                    <a:gd name="connsiteY2" fmla="*/ 16442 h 51193"/>
                    <a:gd name="connsiteX3" fmla="*/ 359 w 10115"/>
                    <a:gd name="connsiteY3" fmla="*/ 0 h 51193"/>
                  </a:gdLst>
                  <a:ahLst/>
                  <a:cxnLst>
                    <a:cxn ang="0">
                      <a:pos x="connsiteX0" y="connsiteY0"/>
                    </a:cxn>
                    <a:cxn ang="0">
                      <a:pos x="connsiteX1" y="connsiteY1"/>
                    </a:cxn>
                    <a:cxn ang="0">
                      <a:pos x="connsiteX2" y="connsiteY2"/>
                    </a:cxn>
                    <a:cxn ang="0">
                      <a:pos x="connsiteX3" y="connsiteY3"/>
                    </a:cxn>
                  </a:cxnLst>
                  <a:rect l="l" t="t" r="r" b="b"/>
                  <a:pathLst>
                    <a:path w="10115" h="51193">
                      <a:moveTo>
                        <a:pt x="9825" y="51193"/>
                      </a:moveTo>
                      <a:cubicBezTo>
                        <a:pt x="10697" y="42848"/>
                        <a:pt x="9452" y="36620"/>
                        <a:pt x="8081" y="32509"/>
                      </a:cubicBezTo>
                      <a:cubicBezTo>
                        <a:pt x="5964" y="25784"/>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7" name="Freeform 4479">
                  <a:extLst>
                    <a:ext uri="{FF2B5EF4-FFF2-40B4-BE49-F238E27FC236}">
                      <a16:creationId xmlns:a16="http://schemas.microsoft.com/office/drawing/2014/main" id="{9A10C294-5674-7E22-D906-DAFDF953B30F}"/>
                    </a:ext>
                  </a:extLst>
                </p:cNvPr>
                <p:cNvSpPr/>
                <p:nvPr/>
              </p:nvSpPr>
              <p:spPr>
                <a:xfrm>
                  <a:off x="6019623" y="5861011"/>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4"/>
                        <a:pt x="5232" y="13577"/>
                        <a:pt x="5605" y="17936"/>
                      </a:cubicBezTo>
                      <a:cubicBezTo>
                        <a:pt x="6228" y="24912"/>
                        <a:pt x="4733" y="28274"/>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8" name="Freeform 4480">
                  <a:extLst>
                    <a:ext uri="{FF2B5EF4-FFF2-40B4-BE49-F238E27FC236}">
                      <a16:creationId xmlns:a16="http://schemas.microsoft.com/office/drawing/2014/main" id="{1AAEA835-8B27-3567-31BD-548A2EA060FB}"/>
                    </a:ext>
                  </a:extLst>
                </p:cNvPr>
                <p:cNvSpPr/>
                <p:nvPr/>
              </p:nvSpPr>
              <p:spPr>
                <a:xfrm>
                  <a:off x="6020966" y="5900130"/>
                  <a:ext cx="26300" cy="26509"/>
                </a:xfrm>
                <a:custGeom>
                  <a:avLst/>
                  <a:gdLst>
                    <a:gd name="connsiteX0" fmla="*/ 276 w 26300"/>
                    <a:gd name="connsiteY0" fmla="*/ 15810 h 26509"/>
                    <a:gd name="connsiteX1" fmla="*/ 10614 w 26300"/>
                    <a:gd name="connsiteY1" fmla="*/ 241 h 26509"/>
                    <a:gd name="connsiteX2" fmla="*/ 26060 w 26300"/>
                    <a:gd name="connsiteY2" fmla="*/ 10704 h 26509"/>
                    <a:gd name="connsiteX3" fmla="*/ 15721 w 26300"/>
                    <a:gd name="connsiteY3" fmla="*/ 26273 h 26509"/>
                    <a:gd name="connsiteX4" fmla="*/ 276 w 26300"/>
                    <a:gd name="connsiteY4" fmla="*/ 15810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0" h="26509">
                      <a:moveTo>
                        <a:pt x="276" y="15810"/>
                      </a:moveTo>
                      <a:cubicBezTo>
                        <a:pt x="-1219" y="8586"/>
                        <a:pt x="3515" y="1735"/>
                        <a:pt x="10614" y="241"/>
                      </a:cubicBezTo>
                      <a:cubicBezTo>
                        <a:pt x="17714" y="-1129"/>
                        <a:pt x="24689" y="3479"/>
                        <a:pt x="26060" y="10704"/>
                      </a:cubicBezTo>
                      <a:cubicBezTo>
                        <a:pt x="27430" y="17928"/>
                        <a:pt x="22821" y="24779"/>
                        <a:pt x="15721" y="26273"/>
                      </a:cubicBezTo>
                      <a:cubicBezTo>
                        <a:pt x="8746" y="27644"/>
                        <a:pt x="1771" y="22910"/>
                        <a:pt x="276" y="15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2" name="Graphic 2987">
                <a:extLst>
                  <a:ext uri="{FF2B5EF4-FFF2-40B4-BE49-F238E27FC236}">
                    <a16:creationId xmlns:a16="http://schemas.microsoft.com/office/drawing/2014/main" id="{7BF035E9-D0FD-436E-621F-B2F6AEF19E44}"/>
                  </a:ext>
                </a:extLst>
              </p:cNvPr>
              <p:cNvGrpSpPr/>
              <p:nvPr/>
            </p:nvGrpSpPr>
            <p:grpSpPr>
              <a:xfrm>
                <a:off x="6026357" y="5774332"/>
                <a:ext cx="49806" cy="146618"/>
                <a:chOff x="6026357" y="5774332"/>
                <a:chExt cx="49806" cy="146618"/>
              </a:xfrm>
              <a:grpFill/>
            </p:grpSpPr>
            <p:sp>
              <p:nvSpPr>
                <p:cNvPr id="4967" name="Freeform 4482">
                  <a:extLst>
                    <a:ext uri="{FF2B5EF4-FFF2-40B4-BE49-F238E27FC236}">
                      <a16:creationId xmlns:a16="http://schemas.microsoft.com/office/drawing/2014/main" id="{6832F191-7C58-1A0E-399E-7774FD944819}"/>
                    </a:ext>
                  </a:extLst>
                </p:cNvPr>
                <p:cNvSpPr/>
                <p:nvPr/>
              </p:nvSpPr>
              <p:spPr>
                <a:xfrm>
                  <a:off x="6037019" y="5795244"/>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1" y="8346"/>
                        <a:pt x="665" y="14573"/>
                        <a:pt x="1910" y="18684"/>
                      </a:cubicBezTo>
                      <a:cubicBezTo>
                        <a:pt x="4028" y="25410"/>
                        <a:pt x="6644" y="27901"/>
                        <a:pt x="8512" y="34752"/>
                      </a:cubicBezTo>
                      <a:cubicBezTo>
                        <a:pt x="10381"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8" name="Freeform 4483">
                  <a:extLst>
                    <a:ext uri="{FF2B5EF4-FFF2-40B4-BE49-F238E27FC236}">
                      <a16:creationId xmlns:a16="http://schemas.microsoft.com/office/drawing/2014/main" id="{D2E8DB54-4DCB-0101-39E7-F8F6DF122C29}"/>
                    </a:ext>
                  </a:extLst>
                </p:cNvPr>
                <p:cNvSpPr/>
                <p:nvPr/>
              </p:nvSpPr>
              <p:spPr>
                <a:xfrm>
                  <a:off x="6043413" y="5788892"/>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356" y="37367"/>
                        <a:pt x="5107" y="33132"/>
                      </a:cubicBezTo>
                      <a:cubicBezTo>
                        <a:pt x="4484" y="26157"/>
                        <a:pt x="6103" y="22794"/>
                        <a:pt x="5231"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9" name="Freeform 4484">
                  <a:extLst>
                    <a:ext uri="{FF2B5EF4-FFF2-40B4-BE49-F238E27FC236}">
                      <a16:creationId xmlns:a16="http://schemas.microsoft.com/office/drawing/2014/main" id="{24E245C5-3B6B-FF4E-C9B4-469E357C49FD}"/>
                    </a:ext>
                  </a:extLst>
                </p:cNvPr>
                <p:cNvSpPr/>
                <p:nvPr/>
              </p:nvSpPr>
              <p:spPr>
                <a:xfrm>
                  <a:off x="6026357" y="5774332"/>
                  <a:ext cx="26509" cy="26509"/>
                </a:xfrm>
                <a:custGeom>
                  <a:avLst/>
                  <a:gdLst>
                    <a:gd name="connsiteX0" fmla="*/ 26273 w 26509"/>
                    <a:gd name="connsiteY0" fmla="*/ 10699 h 26509"/>
                    <a:gd name="connsiteX1" fmla="*/ 15810 w 26509"/>
                    <a:gd name="connsiteY1" fmla="*/ 26269 h 26509"/>
                    <a:gd name="connsiteX2" fmla="*/ 241 w 26509"/>
                    <a:gd name="connsiteY2" fmla="*/ 15806 h 26509"/>
                    <a:gd name="connsiteX3" fmla="*/ 10704 w 26509"/>
                    <a:gd name="connsiteY3" fmla="*/ 236 h 26509"/>
                    <a:gd name="connsiteX4" fmla="*/ 26273 w 26509"/>
                    <a:gd name="connsiteY4" fmla="*/ 10699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9" h="26509">
                      <a:moveTo>
                        <a:pt x="26273" y="10699"/>
                      </a:moveTo>
                      <a:cubicBezTo>
                        <a:pt x="27644" y="17924"/>
                        <a:pt x="22910" y="24899"/>
                        <a:pt x="15810" y="26269"/>
                      </a:cubicBezTo>
                      <a:cubicBezTo>
                        <a:pt x="8586" y="27639"/>
                        <a:pt x="1611" y="23030"/>
                        <a:pt x="241" y="15806"/>
                      </a:cubicBezTo>
                      <a:cubicBezTo>
                        <a:pt x="-1129" y="8582"/>
                        <a:pt x="3479" y="1607"/>
                        <a:pt x="10704" y="236"/>
                      </a:cubicBezTo>
                      <a:cubicBezTo>
                        <a:pt x="17928" y="-1134"/>
                        <a:pt x="24903" y="3600"/>
                        <a:pt x="26273"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0" name="Freeform 4485">
                  <a:extLst>
                    <a:ext uri="{FF2B5EF4-FFF2-40B4-BE49-F238E27FC236}">
                      <a16:creationId xmlns:a16="http://schemas.microsoft.com/office/drawing/2014/main" id="{BD2B9619-F3AA-AC89-1E3B-EFC31CEB8BDF}"/>
                    </a:ext>
                  </a:extLst>
                </p:cNvPr>
                <p:cNvSpPr/>
                <p:nvPr/>
              </p:nvSpPr>
              <p:spPr>
                <a:xfrm>
                  <a:off x="6055751" y="5848929"/>
                  <a:ext cx="9875" cy="51193"/>
                </a:xfrm>
                <a:custGeom>
                  <a:avLst/>
                  <a:gdLst>
                    <a:gd name="connsiteX0" fmla="*/ 9584 w 9875"/>
                    <a:gd name="connsiteY0" fmla="*/ 51193 h 51193"/>
                    <a:gd name="connsiteX1" fmla="*/ 7965 w 9875"/>
                    <a:gd name="connsiteY1" fmla="*/ 32510 h 51193"/>
                    <a:gd name="connsiteX2" fmla="*/ 1364 w 9875"/>
                    <a:gd name="connsiteY2" fmla="*/ 16442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8"/>
                        <a:pt x="9211" y="36620"/>
                        <a:pt x="7965" y="32510"/>
                      </a:cubicBezTo>
                      <a:cubicBezTo>
                        <a:pt x="5847" y="25784"/>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1" name="Freeform 4486">
                  <a:extLst>
                    <a:ext uri="{FF2B5EF4-FFF2-40B4-BE49-F238E27FC236}">
                      <a16:creationId xmlns:a16="http://schemas.microsoft.com/office/drawing/2014/main" id="{27B14F62-3902-E7F9-056D-A3CB17134BCB}"/>
                    </a:ext>
                  </a:extLst>
                </p:cNvPr>
                <p:cNvSpPr/>
                <p:nvPr/>
              </p:nvSpPr>
              <p:spPr>
                <a:xfrm>
                  <a:off x="6048645" y="5855406"/>
                  <a:ext cx="10712" cy="51068"/>
                </a:xfrm>
                <a:custGeom>
                  <a:avLst/>
                  <a:gdLst>
                    <a:gd name="connsiteX0" fmla="*/ 0 w 10712"/>
                    <a:gd name="connsiteY0" fmla="*/ 0 h 51068"/>
                    <a:gd name="connsiteX1" fmla="*/ 5481 w 10712"/>
                    <a:gd name="connsiteY1" fmla="*/ 17936 h 51068"/>
                    <a:gd name="connsiteX2" fmla="*/ 5481 w 10712"/>
                    <a:gd name="connsiteY2" fmla="*/ 35374 h 51068"/>
                    <a:gd name="connsiteX3" fmla="*/ 10712 w 107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712" h="51068">
                      <a:moveTo>
                        <a:pt x="0" y="0"/>
                      </a:moveTo>
                      <a:cubicBezTo>
                        <a:pt x="3986" y="7473"/>
                        <a:pt x="5232" y="13701"/>
                        <a:pt x="5481" y="17936"/>
                      </a:cubicBezTo>
                      <a:cubicBezTo>
                        <a:pt x="6104" y="24912"/>
                        <a:pt x="4609" y="28274"/>
                        <a:pt x="5481" y="35374"/>
                      </a:cubicBezTo>
                      <a:cubicBezTo>
                        <a:pt x="6353" y="42225"/>
                        <a:pt x="8844" y="47581"/>
                        <a:pt x="1071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2" name="Freeform 4487">
                  <a:extLst>
                    <a:ext uri="{FF2B5EF4-FFF2-40B4-BE49-F238E27FC236}">
                      <a16:creationId xmlns:a16="http://schemas.microsoft.com/office/drawing/2014/main" id="{C58A7539-96F0-F3BE-F7CC-CC7FEAAAFD90}"/>
                    </a:ext>
                  </a:extLst>
                </p:cNvPr>
                <p:cNvSpPr/>
                <p:nvPr/>
              </p:nvSpPr>
              <p:spPr>
                <a:xfrm>
                  <a:off x="6049899" y="5894401"/>
                  <a:ext cx="26265" cy="26549"/>
                </a:xfrm>
                <a:custGeom>
                  <a:avLst/>
                  <a:gdLst>
                    <a:gd name="connsiteX0" fmla="*/ 241 w 26265"/>
                    <a:gd name="connsiteY0" fmla="*/ 15811 h 26549"/>
                    <a:gd name="connsiteX1" fmla="*/ 10579 w 26265"/>
                    <a:gd name="connsiteY1" fmla="*/ 241 h 26549"/>
                    <a:gd name="connsiteX2" fmla="*/ 26024 w 26265"/>
                    <a:gd name="connsiteY2" fmla="*/ 10704 h 26549"/>
                    <a:gd name="connsiteX3" fmla="*/ 15686 w 26265"/>
                    <a:gd name="connsiteY3" fmla="*/ 26273 h 26549"/>
                    <a:gd name="connsiteX4" fmla="*/ 241 w 26265"/>
                    <a:gd name="connsiteY4" fmla="*/ 15811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49">
                      <a:moveTo>
                        <a:pt x="241" y="15811"/>
                      </a:moveTo>
                      <a:cubicBezTo>
                        <a:pt x="-1129" y="8586"/>
                        <a:pt x="3479" y="1736"/>
                        <a:pt x="10579" y="241"/>
                      </a:cubicBezTo>
                      <a:cubicBezTo>
                        <a:pt x="17679" y="-1129"/>
                        <a:pt x="24654" y="3479"/>
                        <a:pt x="26024" y="10704"/>
                      </a:cubicBezTo>
                      <a:cubicBezTo>
                        <a:pt x="27395" y="17928"/>
                        <a:pt x="22786" y="24903"/>
                        <a:pt x="15686" y="26273"/>
                      </a:cubicBezTo>
                      <a:cubicBezTo>
                        <a:pt x="8586" y="27768"/>
                        <a:pt x="1736" y="23035"/>
                        <a:pt x="24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3" name="Graphic 2987">
                <a:extLst>
                  <a:ext uri="{FF2B5EF4-FFF2-40B4-BE49-F238E27FC236}">
                    <a16:creationId xmlns:a16="http://schemas.microsoft.com/office/drawing/2014/main" id="{AB093147-6E3D-0C97-19D9-9409ACE72055}"/>
                  </a:ext>
                </a:extLst>
              </p:cNvPr>
              <p:cNvGrpSpPr/>
              <p:nvPr/>
            </p:nvGrpSpPr>
            <p:grpSpPr>
              <a:xfrm>
                <a:off x="6055509" y="5768722"/>
                <a:ext cx="49677" cy="146622"/>
                <a:chOff x="6055509" y="5768722"/>
                <a:chExt cx="49677" cy="146622"/>
              </a:xfrm>
              <a:grpFill/>
            </p:grpSpPr>
            <p:sp>
              <p:nvSpPr>
                <p:cNvPr id="4961" name="Freeform 4489">
                  <a:extLst>
                    <a:ext uri="{FF2B5EF4-FFF2-40B4-BE49-F238E27FC236}">
                      <a16:creationId xmlns:a16="http://schemas.microsoft.com/office/drawing/2014/main" id="{BEC50D9B-0176-D0A7-7877-2F84A89AB4D8}"/>
                    </a:ext>
                  </a:extLst>
                </p:cNvPr>
                <p:cNvSpPr/>
                <p:nvPr/>
              </p:nvSpPr>
              <p:spPr>
                <a:xfrm>
                  <a:off x="6066274" y="5789515"/>
                  <a:ext cx="9891" cy="51193"/>
                </a:xfrm>
                <a:custGeom>
                  <a:avLst/>
                  <a:gdLst>
                    <a:gd name="connsiteX0" fmla="*/ 307 w 9891"/>
                    <a:gd name="connsiteY0" fmla="*/ 0 h 51193"/>
                    <a:gd name="connsiteX1" fmla="*/ 1927 w 9891"/>
                    <a:gd name="connsiteY1" fmla="*/ 18684 h 51193"/>
                    <a:gd name="connsiteX2" fmla="*/ 8528 w 9891"/>
                    <a:gd name="connsiteY2" fmla="*/ 34752 h 51193"/>
                    <a:gd name="connsiteX3" fmla="*/ 9525 w 989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91" h="51193">
                      <a:moveTo>
                        <a:pt x="307" y="0"/>
                      </a:moveTo>
                      <a:cubicBezTo>
                        <a:pt x="-564" y="8345"/>
                        <a:pt x="557" y="14573"/>
                        <a:pt x="1927" y="18684"/>
                      </a:cubicBezTo>
                      <a:cubicBezTo>
                        <a:pt x="4044" y="25410"/>
                        <a:pt x="6660" y="27901"/>
                        <a:pt x="8528" y="34752"/>
                      </a:cubicBezTo>
                      <a:cubicBezTo>
                        <a:pt x="10272" y="41478"/>
                        <a:pt x="10023" y="47332"/>
                        <a:pt x="952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2" name="Freeform 4490">
                  <a:extLst>
                    <a:ext uri="{FF2B5EF4-FFF2-40B4-BE49-F238E27FC236}">
                      <a16:creationId xmlns:a16="http://schemas.microsoft.com/office/drawing/2014/main" id="{B96A6583-206C-BC95-488E-980EBDE35F76}"/>
                    </a:ext>
                  </a:extLst>
                </p:cNvPr>
                <p:cNvSpPr/>
                <p:nvPr/>
              </p:nvSpPr>
              <p:spPr>
                <a:xfrm>
                  <a:off x="6072435" y="5783287"/>
                  <a:ext cx="10587" cy="51068"/>
                </a:xfrm>
                <a:custGeom>
                  <a:avLst/>
                  <a:gdLst>
                    <a:gd name="connsiteX0" fmla="*/ 10587 w 10587"/>
                    <a:gd name="connsiteY0" fmla="*/ 51069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4" y="22794"/>
                        <a:pt x="5232"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3" name="Freeform 4491">
                  <a:extLst>
                    <a:ext uri="{FF2B5EF4-FFF2-40B4-BE49-F238E27FC236}">
                      <a16:creationId xmlns:a16="http://schemas.microsoft.com/office/drawing/2014/main" id="{2289F681-7EA6-C3FA-FE2E-03D6258D94D1}"/>
                    </a:ext>
                  </a:extLst>
                </p:cNvPr>
                <p:cNvSpPr/>
                <p:nvPr/>
              </p:nvSpPr>
              <p:spPr>
                <a:xfrm>
                  <a:off x="6055509" y="5768722"/>
                  <a:ext cx="26629" cy="26514"/>
                </a:xfrm>
                <a:custGeom>
                  <a:avLst/>
                  <a:gdLst>
                    <a:gd name="connsiteX0" fmla="*/ 26393 w 26629"/>
                    <a:gd name="connsiteY0" fmla="*/ 10704 h 26514"/>
                    <a:gd name="connsiteX1" fmla="*/ 15806 w 26629"/>
                    <a:gd name="connsiteY1" fmla="*/ 26273 h 26514"/>
                    <a:gd name="connsiteX2" fmla="*/ 236 w 26629"/>
                    <a:gd name="connsiteY2" fmla="*/ 15811 h 26514"/>
                    <a:gd name="connsiteX3" fmla="*/ 10823 w 26629"/>
                    <a:gd name="connsiteY3" fmla="*/ 241 h 26514"/>
                    <a:gd name="connsiteX4" fmla="*/ 26393 w 26629"/>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13">
                      <a:moveTo>
                        <a:pt x="26393" y="10704"/>
                      </a:moveTo>
                      <a:cubicBezTo>
                        <a:pt x="27764" y="17928"/>
                        <a:pt x="23030" y="24903"/>
                        <a:pt x="15806" y="26273"/>
                      </a:cubicBezTo>
                      <a:cubicBezTo>
                        <a:pt x="8582" y="27643"/>
                        <a:pt x="1606" y="23035"/>
                        <a:pt x="236" y="15811"/>
                      </a:cubicBezTo>
                      <a:cubicBezTo>
                        <a:pt x="-1134" y="8586"/>
                        <a:pt x="3599" y="1611"/>
                        <a:pt x="10823" y="241"/>
                      </a:cubicBezTo>
                      <a:cubicBezTo>
                        <a:pt x="18048" y="-1129"/>
                        <a:pt x="25023" y="3479"/>
                        <a:pt x="2639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4" name="Freeform 4492">
                  <a:extLst>
                    <a:ext uri="{FF2B5EF4-FFF2-40B4-BE49-F238E27FC236}">
                      <a16:creationId xmlns:a16="http://schemas.microsoft.com/office/drawing/2014/main" id="{76C9FF2E-DF17-C740-B92E-546D810A9EA8}"/>
                    </a:ext>
                  </a:extLst>
                </p:cNvPr>
                <p:cNvSpPr/>
                <p:nvPr/>
              </p:nvSpPr>
              <p:spPr>
                <a:xfrm>
                  <a:off x="6084649" y="5843324"/>
                  <a:ext cx="9875" cy="51193"/>
                </a:xfrm>
                <a:custGeom>
                  <a:avLst/>
                  <a:gdLst>
                    <a:gd name="connsiteX0" fmla="*/ 9584 w 9875"/>
                    <a:gd name="connsiteY0" fmla="*/ 51193 h 51193"/>
                    <a:gd name="connsiteX1" fmla="*/ 7965 w 9875"/>
                    <a:gd name="connsiteY1" fmla="*/ 32509 h 51193"/>
                    <a:gd name="connsiteX2" fmla="*/ 1363 w 9875"/>
                    <a:gd name="connsiteY2" fmla="*/ 16441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7"/>
                        <a:pt x="9211" y="36620"/>
                        <a:pt x="7965" y="32509"/>
                      </a:cubicBezTo>
                      <a:cubicBezTo>
                        <a:pt x="5848" y="25783"/>
                        <a:pt x="3232" y="23292"/>
                        <a:pt x="1363"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5" name="Freeform 4493">
                  <a:extLst>
                    <a:ext uri="{FF2B5EF4-FFF2-40B4-BE49-F238E27FC236}">
                      <a16:creationId xmlns:a16="http://schemas.microsoft.com/office/drawing/2014/main" id="{C4057B4B-5A14-B3A2-848B-829F5CB8CB42}"/>
                    </a:ext>
                  </a:extLst>
                </p:cNvPr>
                <p:cNvSpPr/>
                <p:nvPr/>
              </p:nvSpPr>
              <p:spPr>
                <a:xfrm>
                  <a:off x="6077667" y="5849676"/>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4"/>
                        <a:pt x="5107" y="13701"/>
                        <a:pt x="5481" y="17936"/>
                      </a:cubicBezTo>
                      <a:cubicBezTo>
                        <a:pt x="5979" y="24912"/>
                        <a:pt x="4484" y="28275"/>
                        <a:pt x="5356" y="35374"/>
                      </a:cubicBezTo>
                      <a:cubicBezTo>
                        <a:pt x="6228" y="42225"/>
                        <a:pt x="8595" y="47581"/>
                        <a:pt x="1058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6" name="Freeform 4494">
                  <a:extLst>
                    <a:ext uri="{FF2B5EF4-FFF2-40B4-BE49-F238E27FC236}">
                      <a16:creationId xmlns:a16="http://schemas.microsoft.com/office/drawing/2014/main" id="{CA1B270B-0075-2C28-01CA-6BAA9956CF14}"/>
                    </a:ext>
                  </a:extLst>
                </p:cNvPr>
                <p:cNvSpPr/>
                <p:nvPr/>
              </p:nvSpPr>
              <p:spPr>
                <a:xfrm>
                  <a:off x="6078796" y="5888800"/>
                  <a:ext cx="26389" cy="26544"/>
                </a:xfrm>
                <a:custGeom>
                  <a:avLst/>
                  <a:gdLst>
                    <a:gd name="connsiteX0" fmla="*/ 241 w 26389"/>
                    <a:gd name="connsiteY0" fmla="*/ 15806 h 26544"/>
                    <a:gd name="connsiteX1" fmla="*/ 10704 w 26389"/>
                    <a:gd name="connsiteY1" fmla="*/ 236 h 26544"/>
                    <a:gd name="connsiteX2" fmla="*/ 26149 w 26389"/>
                    <a:gd name="connsiteY2" fmla="*/ 10699 h 26544"/>
                    <a:gd name="connsiteX3" fmla="*/ 15686 w 26389"/>
                    <a:gd name="connsiteY3" fmla="*/ 26269 h 26544"/>
                    <a:gd name="connsiteX4" fmla="*/ 241 w 26389"/>
                    <a:gd name="connsiteY4" fmla="*/ 1580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44">
                      <a:moveTo>
                        <a:pt x="241" y="15806"/>
                      </a:moveTo>
                      <a:cubicBezTo>
                        <a:pt x="-1129" y="8582"/>
                        <a:pt x="3479" y="1607"/>
                        <a:pt x="10704" y="236"/>
                      </a:cubicBezTo>
                      <a:cubicBezTo>
                        <a:pt x="17803" y="-1134"/>
                        <a:pt x="24779" y="3599"/>
                        <a:pt x="26149" y="10699"/>
                      </a:cubicBezTo>
                      <a:cubicBezTo>
                        <a:pt x="27519" y="17924"/>
                        <a:pt x="22910" y="24899"/>
                        <a:pt x="15686" y="26269"/>
                      </a:cubicBezTo>
                      <a:cubicBezTo>
                        <a:pt x="8586" y="27763"/>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4" name="Graphic 2987">
                <a:extLst>
                  <a:ext uri="{FF2B5EF4-FFF2-40B4-BE49-F238E27FC236}">
                    <a16:creationId xmlns:a16="http://schemas.microsoft.com/office/drawing/2014/main" id="{F0A8ED0B-AAD4-0E26-6F2F-48F8BE641D1D}"/>
                  </a:ext>
                </a:extLst>
              </p:cNvPr>
              <p:cNvGrpSpPr/>
              <p:nvPr/>
            </p:nvGrpSpPr>
            <p:grpSpPr>
              <a:xfrm>
                <a:off x="6084655" y="5762957"/>
                <a:ext cx="49423" cy="146747"/>
                <a:chOff x="6084655" y="5762957"/>
                <a:chExt cx="49423" cy="146747"/>
              </a:xfrm>
              <a:grpFill/>
            </p:grpSpPr>
            <p:sp>
              <p:nvSpPr>
                <p:cNvPr id="4955" name="Freeform 4496">
                  <a:extLst>
                    <a:ext uri="{FF2B5EF4-FFF2-40B4-BE49-F238E27FC236}">
                      <a16:creationId xmlns:a16="http://schemas.microsoft.com/office/drawing/2014/main" id="{1E2903AA-83DE-4838-9517-5481B410D996}"/>
                    </a:ext>
                  </a:extLst>
                </p:cNvPr>
                <p:cNvSpPr/>
                <p:nvPr/>
              </p:nvSpPr>
              <p:spPr>
                <a:xfrm>
                  <a:off x="6095368" y="5783910"/>
                  <a:ext cx="9944" cy="51317"/>
                </a:xfrm>
                <a:custGeom>
                  <a:avLst/>
                  <a:gdLst>
                    <a:gd name="connsiteX0" fmla="*/ 360 w 9944"/>
                    <a:gd name="connsiteY0" fmla="*/ 0 h 51317"/>
                    <a:gd name="connsiteX1" fmla="*/ 1979 w 9944"/>
                    <a:gd name="connsiteY1" fmla="*/ 18808 h 51317"/>
                    <a:gd name="connsiteX2" fmla="*/ 8581 w 9944"/>
                    <a:gd name="connsiteY2" fmla="*/ 34876 h 51317"/>
                    <a:gd name="connsiteX3" fmla="*/ 9577 w 9944"/>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944" h="51317">
                      <a:moveTo>
                        <a:pt x="360" y="0"/>
                      </a:moveTo>
                      <a:cubicBezTo>
                        <a:pt x="-636" y="8346"/>
                        <a:pt x="609" y="14573"/>
                        <a:pt x="1979" y="18808"/>
                      </a:cubicBezTo>
                      <a:cubicBezTo>
                        <a:pt x="4097" y="25535"/>
                        <a:pt x="6712" y="28025"/>
                        <a:pt x="8581" y="34876"/>
                      </a:cubicBezTo>
                      <a:cubicBezTo>
                        <a:pt x="10325" y="41602"/>
                        <a:pt x="10076" y="47456"/>
                        <a:pt x="957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6" name="Freeform 4497">
                  <a:extLst>
                    <a:ext uri="{FF2B5EF4-FFF2-40B4-BE49-F238E27FC236}">
                      <a16:creationId xmlns:a16="http://schemas.microsoft.com/office/drawing/2014/main" id="{B6F532CA-6D61-DDE8-C490-1275FBB2CAE3}"/>
                    </a:ext>
                  </a:extLst>
                </p:cNvPr>
                <p:cNvSpPr/>
                <p:nvPr/>
              </p:nvSpPr>
              <p:spPr>
                <a:xfrm>
                  <a:off x="6101582" y="5777557"/>
                  <a:ext cx="10587" cy="51068"/>
                </a:xfrm>
                <a:custGeom>
                  <a:avLst/>
                  <a:gdLst>
                    <a:gd name="connsiteX0" fmla="*/ 10587 w 10587"/>
                    <a:gd name="connsiteY0" fmla="*/ 51068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8"/>
                      </a:moveTo>
                      <a:cubicBezTo>
                        <a:pt x="6602" y="43595"/>
                        <a:pt x="5481" y="37367"/>
                        <a:pt x="5107" y="33132"/>
                      </a:cubicBezTo>
                      <a:cubicBezTo>
                        <a:pt x="4609" y="26157"/>
                        <a:pt x="6104" y="22794"/>
                        <a:pt x="5232"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7" name="Freeform 4498">
                  <a:extLst>
                    <a:ext uri="{FF2B5EF4-FFF2-40B4-BE49-F238E27FC236}">
                      <a16:creationId xmlns:a16="http://schemas.microsoft.com/office/drawing/2014/main" id="{BB48E4EF-E6AC-D05A-01AE-5AEAAA672BD6}"/>
                    </a:ext>
                  </a:extLst>
                </p:cNvPr>
                <p:cNvSpPr/>
                <p:nvPr/>
              </p:nvSpPr>
              <p:spPr>
                <a:xfrm>
                  <a:off x="6084655" y="5762957"/>
                  <a:ext cx="26629" cy="26549"/>
                </a:xfrm>
                <a:custGeom>
                  <a:avLst/>
                  <a:gdLst>
                    <a:gd name="connsiteX0" fmla="*/ 26393 w 26629"/>
                    <a:gd name="connsiteY0" fmla="*/ 10739 h 26549"/>
                    <a:gd name="connsiteX1" fmla="*/ 15806 w 26629"/>
                    <a:gd name="connsiteY1" fmla="*/ 26308 h 26549"/>
                    <a:gd name="connsiteX2" fmla="*/ 236 w 26629"/>
                    <a:gd name="connsiteY2" fmla="*/ 15846 h 26549"/>
                    <a:gd name="connsiteX3" fmla="*/ 10823 w 26629"/>
                    <a:gd name="connsiteY3" fmla="*/ 276 h 26549"/>
                    <a:gd name="connsiteX4" fmla="*/ 26393 w 26629"/>
                    <a:gd name="connsiteY4" fmla="*/ 10739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49">
                      <a:moveTo>
                        <a:pt x="26393" y="10739"/>
                      </a:moveTo>
                      <a:cubicBezTo>
                        <a:pt x="27764" y="17963"/>
                        <a:pt x="23030" y="24938"/>
                        <a:pt x="15806" y="26308"/>
                      </a:cubicBezTo>
                      <a:cubicBezTo>
                        <a:pt x="8582" y="27679"/>
                        <a:pt x="1606" y="23070"/>
                        <a:pt x="236" y="15846"/>
                      </a:cubicBezTo>
                      <a:cubicBezTo>
                        <a:pt x="-1134" y="8621"/>
                        <a:pt x="3599" y="1646"/>
                        <a:pt x="10823" y="276"/>
                      </a:cubicBezTo>
                      <a:cubicBezTo>
                        <a:pt x="18048" y="-1219"/>
                        <a:pt x="25023" y="3514"/>
                        <a:pt x="26393" y="107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8" name="Freeform 4499">
                  <a:extLst>
                    <a:ext uri="{FF2B5EF4-FFF2-40B4-BE49-F238E27FC236}">
                      <a16:creationId xmlns:a16="http://schemas.microsoft.com/office/drawing/2014/main" id="{035C6179-811E-5462-ED29-39FC60C6DD45}"/>
                    </a:ext>
                  </a:extLst>
                </p:cNvPr>
                <p:cNvSpPr/>
                <p:nvPr/>
              </p:nvSpPr>
              <p:spPr>
                <a:xfrm>
                  <a:off x="6113671" y="5837470"/>
                  <a:ext cx="9767" cy="51317"/>
                </a:xfrm>
                <a:custGeom>
                  <a:avLst/>
                  <a:gdLst>
                    <a:gd name="connsiteX0" fmla="*/ 9460 w 9767"/>
                    <a:gd name="connsiteY0" fmla="*/ 51318 h 51317"/>
                    <a:gd name="connsiteX1" fmla="*/ 7840 w 9767"/>
                    <a:gd name="connsiteY1" fmla="*/ 32509 h 51317"/>
                    <a:gd name="connsiteX2" fmla="*/ 1364 w 9767"/>
                    <a:gd name="connsiteY2" fmla="*/ 16441 h 51317"/>
                    <a:gd name="connsiteX3" fmla="*/ 367 w 9767"/>
                    <a:gd name="connsiteY3" fmla="*/ 0 h 51317"/>
                  </a:gdLst>
                  <a:ahLst/>
                  <a:cxnLst>
                    <a:cxn ang="0">
                      <a:pos x="connsiteX0" y="connsiteY0"/>
                    </a:cxn>
                    <a:cxn ang="0">
                      <a:pos x="connsiteX1" y="connsiteY1"/>
                    </a:cxn>
                    <a:cxn ang="0">
                      <a:pos x="connsiteX2" y="connsiteY2"/>
                    </a:cxn>
                    <a:cxn ang="0">
                      <a:pos x="connsiteX3" y="connsiteY3"/>
                    </a:cxn>
                  </a:cxnLst>
                  <a:rect l="l" t="t" r="r" b="b"/>
                  <a:pathLst>
                    <a:path w="9767" h="51317">
                      <a:moveTo>
                        <a:pt x="9460" y="51318"/>
                      </a:moveTo>
                      <a:cubicBezTo>
                        <a:pt x="10332" y="42972"/>
                        <a:pt x="9211" y="36744"/>
                        <a:pt x="7840" y="32509"/>
                      </a:cubicBezTo>
                      <a:cubicBezTo>
                        <a:pt x="5723" y="25783"/>
                        <a:pt x="3107" y="23292"/>
                        <a:pt x="1364"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9" name="Freeform 4500">
                  <a:extLst>
                    <a:ext uri="{FF2B5EF4-FFF2-40B4-BE49-F238E27FC236}">
                      <a16:creationId xmlns:a16="http://schemas.microsoft.com/office/drawing/2014/main" id="{FB0C234F-D23D-34B7-401A-222C7B59F38B}"/>
                    </a:ext>
                  </a:extLst>
                </p:cNvPr>
                <p:cNvSpPr/>
                <p:nvPr/>
              </p:nvSpPr>
              <p:spPr>
                <a:xfrm>
                  <a:off x="6106689" y="5844071"/>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4" y="28274"/>
                        <a:pt x="5356" y="35374"/>
                      </a:cubicBezTo>
                      <a:cubicBezTo>
                        <a:pt x="6228" y="42225"/>
                        <a:pt x="8595" y="47581"/>
                        <a:pt x="1058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0" name="Freeform 4501">
                  <a:extLst>
                    <a:ext uri="{FF2B5EF4-FFF2-40B4-BE49-F238E27FC236}">
                      <a16:creationId xmlns:a16="http://schemas.microsoft.com/office/drawing/2014/main" id="{6436689C-586A-D3A3-E631-E841ADA21F8B}"/>
                    </a:ext>
                  </a:extLst>
                </p:cNvPr>
                <p:cNvSpPr/>
                <p:nvPr/>
              </p:nvSpPr>
              <p:spPr>
                <a:xfrm>
                  <a:off x="6107693" y="5883195"/>
                  <a:ext cx="26385" cy="26509"/>
                </a:xfrm>
                <a:custGeom>
                  <a:avLst/>
                  <a:gdLst>
                    <a:gd name="connsiteX0" fmla="*/ 241 w 26385"/>
                    <a:gd name="connsiteY0" fmla="*/ 15806 h 26509"/>
                    <a:gd name="connsiteX1" fmla="*/ 10704 w 26385"/>
                    <a:gd name="connsiteY1" fmla="*/ 236 h 26509"/>
                    <a:gd name="connsiteX2" fmla="*/ 26149 w 26385"/>
                    <a:gd name="connsiteY2" fmla="*/ 10699 h 26509"/>
                    <a:gd name="connsiteX3" fmla="*/ 15686 w 26385"/>
                    <a:gd name="connsiteY3" fmla="*/ 26269 h 26509"/>
                    <a:gd name="connsiteX4" fmla="*/ 241 w 26385"/>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9">
                      <a:moveTo>
                        <a:pt x="241" y="15806"/>
                      </a:moveTo>
                      <a:cubicBezTo>
                        <a:pt x="-1129" y="8581"/>
                        <a:pt x="3479" y="1606"/>
                        <a:pt x="10704" y="236"/>
                      </a:cubicBezTo>
                      <a:cubicBezTo>
                        <a:pt x="17803" y="-1134"/>
                        <a:pt x="24779" y="3599"/>
                        <a:pt x="26149" y="10699"/>
                      </a:cubicBezTo>
                      <a:cubicBezTo>
                        <a:pt x="27519" y="17923"/>
                        <a:pt x="22786" y="24898"/>
                        <a:pt x="15686" y="26269"/>
                      </a:cubicBezTo>
                      <a:cubicBezTo>
                        <a:pt x="8586" y="27639"/>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5" name="Graphic 2987">
                <a:extLst>
                  <a:ext uri="{FF2B5EF4-FFF2-40B4-BE49-F238E27FC236}">
                    <a16:creationId xmlns:a16="http://schemas.microsoft.com/office/drawing/2014/main" id="{0ECA70D3-D730-F3E3-BE01-287950E7B8A7}"/>
                  </a:ext>
                </a:extLst>
              </p:cNvPr>
              <p:cNvGrpSpPr/>
              <p:nvPr/>
            </p:nvGrpSpPr>
            <p:grpSpPr>
              <a:xfrm>
                <a:off x="6113926" y="5757392"/>
                <a:ext cx="49049" cy="146794"/>
                <a:chOff x="6113926" y="5757392"/>
                <a:chExt cx="49049" cy="146794"/>
              </a:xfrm>
              <a:grpFill/>
            </p:grpSpPr>
            <p:sp>
              <p:nvSpPr>
                <p:cNvPr id="4949" name="Freeform 4503">
                  <a:extLst>
                    <a:ext uri="{FF2B5EF4-FFF2-40B4-BE49-F238E27FC236}">
                      <a16:creationId xmlns:a16="http://schemas.microsoft.com/office/drawing/2014/main" id="{914FFAAE-56CF-BFA0-F133-A28E6FDD42DA}"/>
                    </a:ext>
                  </a:extLst>
                </p:cNvPr>
                <p:cNvSpPr/>
                <p:nvPr/>
              </p:nvSpPr>
              <p:spPr>
                <a:xfrm>
                  <a:off x="6124512" y="5778180"/>
                  <a:ext cx="9673" cy="51317"/>
                </a:xfrm>
                <a:custGeom>
                  <a:avLst/>
                  <a:gdLst>
                    <a:gd name="connsiteX0" fmla="*/ 362 w 9673"/>
                    <a:gd name="connsiteY0" fmla="*/ 0 h 51317"/>
                    <a:gd name="connsiteX1" fmla="*/ 1857 w 9673"/>
                    <a:gd name="connsiteY1" fmla="*/ 18684 h 51317"/>
                    <a:gd name="connsiteX2" fmla="*/ 8334 w 9673"/>
                    <a:gd name="connsiteY2" fmla="*/ 34876 h 51317"/>
                    <a:gd name="connsiteX3" fmla="*/ 9206 w 9673"/>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3" h="51317">
                      <a:moveTo>
                        <a:pt x="362" y="0"/>
                      </a:moveTo>
                      <a:cubicBezTo>
                        <a:pt x="-634" y="8345"/>
                        <a:pt x="611" y="14573"/>
                        <a:pt x="1857" y="18684"/>
                      </a:cubicBezTo>
                      <a:cubicBezTo>
                        <a:pt x="3850" y="25410"/>
                        <a:pt x="6590" y="28025"/>
                        <a:pt x="8334" y="34876"/>
                      </a:cubicBezTo>
                      <a:cubicBezTo>
                        <a:pt x="10078" y="41602"/>
                        <a:pt x="9828"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0" name="Freeform 4504">
                  <a:extLst>
                    <a:ext uri="{FF2B5EF4-FFF2-40B4-BE49-F238E27FC236}">
                      <a16:creationId xmlns:a16="http://schemas.microsoft.com/office/drawing/2014/main" id="{48C26024-6417-3A9F-2327-E450442D68D2}"/>
                    </a:ext>
                  </a:extLst>
                </p:cNvPr>
                <p:cNvSpPr/>
                <p:nvPr/>
              </p:nvSpPr>
              <p:spPr>
                <a:xfrm>
                  <a:off x="6130977" y="5771952"/>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4" y="22794"/>
                        <a:pt x="5107" y="15694"/>
                      </a:cubicBezTo>
                      <a:cubicBezTo>
                        <a:pt x="4360" y="8843"/>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1" name="Freeform 4505">
                  <a:extLst>
                    <a:ext uri="{FF2B5EF4-FFF2-40B4-BE49-F238E27FC236}">
                      <a16:creationId xmlns:a16="http://schemas.microsoft.com/office/drawing/2014/main" id="{720A16BB-5F93-6A26-C2B9-E562BE8D9C3B}"/>
                    </a:ext>
                  </a:extLst>
                </p:cNvPr>
                <p:cNvSpPr/>
                <p:nvPr/>
              </p:nvSpPr>
              <p:spPr>
                <a:xfrm>
                  <a:off x="6113926" y="5757392"/>
                  <a:ext cx="26624" cy="26471"/>
                </a:xfrm>
                <a:custGeom>
                  <a:avLst/>
                  <a:gdLst>
                    <a:gd name="connsiteX0" fmla="*/ 26393 w 26624"/>
                    <a:gd name="connsiteY0" fmla="*/ 10824 h 26471"/>
                    <a:gd name="connsiteX1" fmla="*/ 15806 w 26624"/>
                    <a:gd name="connsiteY1" fmla="*/ 26269 h 26471"/>
                    <a:gd name="connsiteX2" fmla="*/ 236 w 26624"/>
                    <a:gd name="connsiteY2" fmla="*/ 15681 h 26471"/>
                    <a:gd name="connsiteX3" fmla="*/ 10823 w 26624"/>
                    <a:gd name="connsiteY3" fmla="*/ 236 h 26471"/>
                    <a:gd name="connsiteX4" fmla="*/ 26393 w 26624"/>
                    <a:gd name="connsiteY4" fmla="*/ 10824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470">
                      <a:moveTo>
                        <a:pt x="26393" y="10824"/>
                      </a:moveTo>
                      <a:cubicBezTo>
                        <a:pt x="27763" y="18048"/>
                        <a:pt x="22906" y="24898"/>
                        <a:pt x="15806" y="26269"/>
                      </a:cubicBezTo>
                      <a:cubicBezTo>
                        <a:pt x="8582" y="27514"/>
                        <a:pt x="1606" y="22905"/>
                        <a:pt x="236" y="15681"/>
                      </a:cubicBezTo>
                      <a:cubicBezTo>
                        <a:pt x="-1134" y="8457"/>
                        <a:pt x="3599" y="1482"/>
                        <a:pt x="10823" y="236"/>
                      </a:cubicBezTo>
                      <a:cubicBezTo>
                        <a:pt x="18048" y="-1134"/>
                        <a:pt x="25023" y="3599"/>
                        <a:pt x="26393"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2" name="Freeform 4506">
                  <a:extLst>
                    <a:ext uri="{FF2B5EF4-FFF2-40B4-BE49-F238E27FC236}">
                      <a16:creationId xmlns:a16="http://schemas.microsoft.com/office/drawing/2014/main" id="{69297F66-46DE-832F-A81E-1CDA18A9883F}"/>
                    </a:ext>
                  </a:extLst>
                </p:cNvPr>
                <p:cNvSpPr/>
                <p:nvPr/>
              </p:nvSpPr>
              <p:spPr>
                <a:xfrm>
                  <a:off x="6142717" y="5831989"/>
                  <a:ext cx="9673" cy="51317"/>
                </a:xfrm>
                <a:custGeom>
                  <a:avLst/>
                  <a:gdLst>
                    <a:gd name="connsiteX0" fmla="*/ 9311 w 9673"/>
                    <a:gd name="connsiteY0" fmla="*/ 51318 h 51317"/>
                    <a:gd name="connsiteX1" fmla="*/ 7816 w 9673"/>
                    <a:gd name="connsiteY1" fmla="*/ 32634 h 51317"/>
                    <a:gd name="connsiteX2" fmla="*/ 1339 w 9673"/>
                    <a:gd name="connsiteY2" fmla="*/ 16441 h 51317"/>
                    <a:gd name="connsiteX3" fmla="*/ 468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9311" y="51318"/>
                      </a:moveTo>
                      <a:cubicBezTo>
                        <a:pt x="10307" y="42972"/>
                        <a:pt x="9062" y="36744"/>
                        <a:pt x="7816" y="32634"/>
                      </a:cubicBezTo>
                      <a:cubicBezTo>
                        <a:pt x="5823" y="25908"/>
                        <a:pt x="3083" y="23292"/>
                        <a:pt x="1339" y="16441"/>
                      </a:cubicBezTo>
                      <a:cubicBezTo>
                        <a:pt x="-404" y="9715"/>
                        <a:pt x="-155" y="3861"/>
                        <a:pt x="4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3" name="Freeform 4507">
                  <a:extLst>
                    <a:ext uri="{FF2B5EF4-FFF2-40B4-BE49-F238E27FC236}">
                      <a16:creationId xmlns:a16="http://schemas.microsoft.com/office/drawing/2014/main" id="{B1094B2A-A6D4-7627-DD18-CC6B736AA12B}"/>
                    </a:ext>
                  </a:extLst>
                </p:cNvPr>
                <p:cNvSpPr/>
                <p:nvPr/>
              </p:nvSpPr>
              <p:spPr>
                <a:xfrm>
                  <a:off x="6135711" y="5838341"/>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5107" y="13701"/>
                        <a:pt x="5356" y="18061"/>
                      </a:cubicBezTo>
                      <a:cubicBezTo>
                        <a:pt x="5854" y="25036"/>
                        <a:pt x="4360" y="28399"/>
                        <a:pt x="5107" y="35499"/>
                      </a:cubicBezTo>
                      <a:cubicBezTo>
                        <a:pt x="5854"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4" name="Freeform 4508">
                  <a:extLst>
                    <a:ext uri="{FF2B5EF4-FFF2-40B4-BE49-F238E27FC236}">
                      <a16:creationId xmlns:a16="http://schemas.microsoft.com/office/drawing/2014/main" id="{0B2515EF-0D24-700A-3264-46B3D342D357}"/>
                    </a:ext>
                  </a:extLst>
                </p:cNvPr>
                <p:cNvSpPr/>
                <p:nvPr/>
              </p:nvSpPr>
              <p:spPr>
                <a:xfrm>
                  <a:off x="6136595" y="5877752"/>
                  <a:ext cx="26380" cy="26434"/>
                </a:xfrm>
                <a:custGeom>
                  <a:avLst/>
                  <a:gdLst>
                    <a:gd name="connsiteX0" fmla="*/ 236 w 26380"/>
                    <a:gd name="connsiteY0" fmla="*/ 15644 h 26434"/>
                    <a:gd name="connsiteX1" fmla="*/ 10699 w 26380"/>
                    <a:gd name="connsiteY1" fmla="*/ 199 h 26434"/>
                    <a:gd name="connsiteX2" fmla="*/ 26144 w 26380"/>
                    <a:gd name="connsiteY2" fmla="*/ 10911 h 26434"/>
                    <a:gd name="connsiteX3" fmla="*/ 15681 w 26380"/>
                    <a:gd name="connsiteY3" fmla="*/ 26231 h 26434"/>
                    <a:gd name="connsiteX4" fmla="*/ 236 w 26380"/>
                    <a:gd name="connsiteY4" fmla="*/ 15644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5644"/>
                      </a:moveTo>
                      <a:cubicBezTo>
                        <a:pt x="-1134" y="8419"/>
                        <a:pt x="3599" y="1444"/>
                        <a:pt x="10699" y="199"/>
                      </a:cubicBezTo>
                      <a:cubicBezTo>
                        <a:pt x="17923" y="-1047"/>
                        <a:pt x="24774" y="3686"/>
                        <a:pt x="26144" y="10911"/>
                      </a:cubicBezTo>
                      <a:cubicBezTo>
                        <a:pt x="27514" y="18135"/>
                        <a:pt x="22781" y="24986"/>
                        <a:pt x="15681" y="26231"/>
                      </a:cubicBezTo>
                      <a:cubicBezTo>
                        <a:pt x="8457" y="27477"/>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6" name="Graphic 2987">
                <a:extLst>
                  <a:ext uri="{FF2B5EF4-FFF2-40B4-BE49-F238E27FC236}">
                    <a16:creationId xmlns:a16="http://schemas.microsoft.com/office/drawing/2014/main" id="{8B4D3FCA-4904-B010-053C-AE8A7778447E}"/>
                  </a:ext>
                </a:extLst>
              </p:cNvPr>
              <p:cNvGrpSpPr/>
              <p:nvPr/>
            </p:nvGrpSpPr>
            <p:grpSpPr>
              <a:xfrm>
                <a:off x="6143077" y="5751953"/>
                <a:ext cx="48762" cy="147030"/>
                <a:chOff x="6143077" y="5751953"/>
                <a:chExt cx="48762" cy="147030"/>
              </a:xfrm>
              <a:grpFill/>
            </p:grpSpPr>
            <p:sp>
              <p:nvSpPr>
                <p:cNvPr id="4943" name="Freeform 4510">
                  <a:extLst>
                    <a:ext uri="{FF2B5EF4-FFF2-40B4-BE49-F238E27FC236}">
                      <a16:creationId xmlns:a16="http://schemas.microsoft.com/office/drawing/2014/main" id="{A40ABAD7-7438-570A-45BE-066DC6E7D5BB}"/>
                    </a:ext>
                  </a:extLst>
                </p:cNvPr>
                <p:cNvSpPr/>
                <p:nvPr/>
              </p:nvSpPr>
              <p:spPr>
                <a:xfrm>
                  <a:off x="6153783" y="5772949"/>
                  <a:ext cx="9621" cy="51318"/>
                </a:xfrm>
                <a:custGeom>
                  <a:avLst/>
                  <a:gdLst>
                    <a:gd name="connsiteX0" fmla="*/ 362 w 9621"/>
                    <a:gd name="connsiteY0" fmla="*/ 0 h 51318"/>
                    <a:gd name="connsiteX1" fmla="*/ 1857 w 9621"/>
                    <a:gd name="connsiteY1" fmla="*/ 18684 h 51318"/>
                    <a:gd name="connsiteX2" fmla="*/ 8334 w 9621"/>
                    <a:gd name="connsiteY2" fmla="*/ 34876 h 51318"/>
                    <a:gd name="connsiteX3" fmla="*/ 9206 w 9621"/>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621" h="51318">
                      <a:moveTo>
                        <a:pt x="362" y="0"/>
                      </a:moveTo>
                      <a:cubicBezTo>
                        <a:pt x="-634" y="8346"/>
                        <a:pt x="611" y="14573"/>
                        <a:pt x="1857" y="18684"/>
                      </a:cubicBezTo>
                      <a:cubicBezTo>
                        <a:pt x="3850" y="25410"/>
                        <a:pt x="6590" y="28025"/>
                        <a:pt x="8334" y="34876"/>
                      </a:cubicBezTo>
                      <a:cubicBezTo>
                        <a:pt x="10077" y="41602"/>
                        <a:pt x="9704"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4" name="Freeform 4511">
                  <a:extLst>
                    <a:ext uri="{FF2B5EF4-FFF2-40B4-BE49-F238E27FC236}">
                      <a16:creationId xmlns:a16="http://schemas.microsoft.com/office/drawing/2014/main" id="{E6766B40-B75C-F4E6-5E1C-24671364AC18}"/>
                    </a:ext>
                  </a:extLst>
                </p:cNvPr>
                <p:cNvSpPr/>
                <p:nvPr/>
              </p:nvSpPr>
              <p:spPr>
                <a:xfrm>
                  <a:off x="6160124" y="5766721"/>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854" y="22794"/>
                        <a:pt x="5107"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5" name="Freeform 4512">
                  <a:extLst>
                    <a:ext uri="{FF2B5EF4-FFF2-40B4-BE49-F238E27FC236}">
                      <a16:creationId xmlns:a16="http://schemas.microsoft.com/office/drawing/2014/main" id="{4A969DF2-D057-0DBB-8E6F-380BE5ACFF5B}"/>
                    </a:ext>
                  </a:extLst>
                </p:cNvPr>
                <p:cNvSpPr/>
                <p:nvPr/>
              </p:nvSpPr>
              <p:spPr>
                <a:xfrm>
                  <a:off x="6143077" y="5751953"/>
                  <a:ext cx="26744" cy="26583"/>
                </a:xfrm>
                <a:custGeom>
                  <a:avLst/>
                  <a:gdLst>
                    <a:gd name="connsiteX0" fmla="*/ 26513 w 26744"/>
                    <a:gd name="connsiteY0" fmla="*/ 10907 h 26583"/>
                    <a:gd name="connsiteX1" fmla="*/ 15801 w 26744"/>
                    <a:gd name="connsiteY1" fmla="*/ 26352 h 26583"/>
                    <a:gd name="connsiteX2" fmla="*/ 231 w 26744"/>
                    <a:gd name="connsiteY2" fmla="*/ 15640 h 26583"/>
                    <a:gd name="connsiteX3" fmla="*/ 10944 w 26744"/>
                    <a:gd name="connsiteY3" fmla="*/ 195 h 26583"/>
                    <a:gd name="connsiteX4" fmla="*/ 26513 w 2674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83">
                      <a:moveTo>
                        <a:pt x="26513" y="10907"/>
                      </a:moveTo>
                      <a:cubicBezTo>
                        <a:pt x="27883" y="18131"/>
                        <a:pt x="23026" y="24982"/>
                        <a:pt x="15801" y="26352"/>
                      </a:cubicBezTo>
                      <a:cubicBezTo>
                        <a:pt x="8577" y="27722"/>
                        <a:pt x="1602" y="22865"/>
                        <a:pt x="231" y="15640"/>
                      </a:cubicBezTo>
                      <a:cubicBezTo>
                        <a:pt x="-1139" y="8416"/>
                        <a:pt x="3719" y="1565"/>
                        <a:pt x="10944" y="195"/>
                      </a:cubicBezTo>
                      <a:cubicBezTo>
                        <a:pt x="18168" y="-1051"/>
                        <a:pt x="25143" y="3807"/>
                        <a:pt x="26513"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6" name="Freeform 4513">
                  <a:extLst>
                    <a:ext uri="{FF2B5EF4-FFF2-40B4-BE49-F238E27FC236}">
                      <a16:creationId xmlns:a16="http://schemas.microsoft.com/office/drawing/2014/main" id="{194E228C-EB48-4B27-109E-12FF60B091BF}"/>
                    </a:ext>
                  </a:extLst>
                </p:cNvPr>
                <p:cNvSpPr/>
                <p:nvPr/>
              </p:nvSpPr>
              <p:spPr>
                <a:xfrm>
                  <a:off x="6171790" y="5826758"/>
                  <a:ext cx="9621" cy="51317"/>
                </a:xfrm>
                <a:custGeom>
                  <a:avLst/>
                  <a:gdLst>
                    <a:gd name="connsiteX0" fmla="*/ 9259 w 9621"/>
                    <a:gd name="connsiteY0" fmla="*/ 51318 h 51317"/>
                    <a:gd name="connsiteX1" fmla="*/ 7764 w 9621"/>
                    <a:gd name="connsiteY1" fmla="*/ 32634 h 51317"/>
                    <a:gd name="connsiteX2" fmla="*/ 1288 w 9621"/>
                    <a:gd name="connsiteY2" fmla="*/ 16442 h 51317"/>
                    <a:gd name="connsiteX3" fmla="*/ 41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51318"/>
                      </a:moveTo>
                      <a:cubicBezTo>
                        <a:pt x="10256" y="42973"/>
                        <a:pt x="9010" y="36745"/>
                        <a:pt x="7764" y="32634"/>
                      </a:cubicBezTo>
                      <a:cubicBezTo>
                        <a:pt x="5772" y="25908"/>
                        <a:pt x="3156"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7" name="Freeform 4514">
                  <a:extLst>
                    <a:ext uri="{FF2B5EF4-FFF2-40B4-BE49-F238E27FC236}">
                      <a16:creationId xmlns:a16="http://schemas.microsoft.com/office/drawing/2014/main" id="{0D76D859-0ADD-7D85-57F3-BF392249EF98}"/>
                    </a:ext>
                  </a:extLst>
                </p:cNvPr>
                <p:cNvSpPr/>
                <p:nvPr/>
              </p:nvSpPr>
              <p:spPr>
                <a:xfrm>
                  <a:off x="6164857" y="5833110"/>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345" y="47705"/>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8" name="Freeform 4515">
                  <a:extLst>
                    <a:ext uri="{FF2B5EF4-FFF2-40B4-BE49-F238E27FC236}">
                      <a16:creationId xmlns:a16="http://schemas.microsoft.com/office/drawing/2014/main" id="{2303E120-D5A8-0D22-3A50-127FEC7940FE}"/>
                    </a:ext>
                  </a:extLst>
                </p:cNvPr>
                <p:cNvSpPr/>
                <p:nvPr/>
              </p:nvSpPr>
              <p:spPr>
                <a:xfrm>
                  <a:off x="6165493" y="5872396"/>
                  <a:ext cx="26346" cy="26587"/>
                </a:xfrm>
                <a:custGeom>
                  <a:avLst/>
                  <a:gdLst>
                    <a:gd name="connsiteX0" fmla="*/ 236 w 26346"/>
                    <a:gd name="connsiteY0" fmla="*/ 15644 h 26587"/>
                    <a:gd name="connsiteX1" fmla="*/ 10823 w 26346"/>
                    <a:gd name="connsiteY1" fmla="*/ 199 h 26587"/>
                    <a:gd name="connsiteX2" fmla="*/ 26144 w 26346"/>
                    <a:gd name="connsiteY2" fmla="*/ 10911 h 26587"/>
                    <a:gd name="connsiteX3" fmla="*/ 15556 w 26346"/>
                    <a:gd name="connsiteY3" fmla="*/ 26356 h 26587"/>
                    <a:gd name="connsiteX4" fmla="*/ 236 w 26346"/>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87">
                      <a:moveTo>
                        <a:pt x="236" y="15644"/>
                      </a:moveTo>
                      <a:cubicBezTo>
                        <a:pt x="-1134" y="8420"/>
                        <a:pt x="3599" y="1569"/>
                        <a:pt x="10823" y="199"/>
                      </a:cubicBezTo>
                      <a:cubicBezTo>
                        <a:pt x="18048" y="-1047"/>
                        <a:pt x="24898" y="3686"/>
                        <a:pt x="26144" y="10911"/>
                      </a:cubicBezTo>
                      <a:cubicBezTo>
                        <a:pt x="27390" y="18135"/>
                        <a:pt x="22781" y="24986"/>
                        <a:pt x="15556" y="26356"/>
                      </a:cubicBezTo>
                      <a:cubicBezTo>
                        <a:pt x="8332" y="27726"/>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7" name="Graphic 2987">
                <a:extLst>
                  <a:ext uri="{FF2B5EF4-FFF2-40B4-BE49-F238E27FC236}">
                    <a16:creationId xmlns:a16="http://schemas.microsoft.com/office/drawing/2014/main" id="{FBDF4B08-C778-43BC-9282-EE9A635F0CA2}"/>
                  </a:ext>
                </a:extLst>
              </p:cNvPr>
              <p:cNvGrpSpPr/>
              <p:nvPr/>
            </p:nvGrpSpPr>
            <p:grpSpPr>
              <a:xfrm>
                <a:off x="6172473" y="5746717"/>
                <a:ext cx="48385" cy="146998"/>
                <a:chOff x="6172473" y="5746717"/>
                <a:chExt cx="48385" cy="146998"/>
              </a:xfrm>
              <a:grpFill/>
            </p:grpSpPr>
            <p:sp>
              <p:nvSpPr>
                <p:cNvPr id="4937" name="Freeform 4517">
                  <a:extLst>
                    <a:ext uri="{FF2B5EF4-FFF2-40B4-BE49-F238E27FC236}">
                      <a16:creationId xmlns:a16="http://schemas.microsoft.com/office/drawing/2014/main" id="{4E561783-B02A-93DE-3003-5896F89A2A61}"/>
                    </a:ext>
                  </a:extLst>
                </p:cNvPr>
                <p:cNvSpPr/>
                <p:nvPr/>
              </p:nvSpPr>
              <p:spPr>
                <a:xfrm>
                  <a:off x="6183033" y="5767593"/>
                  <a:ext cx="9517" cy="51442"/>
                </a:xfrm>
                <a:custGeom>
                  <a:avLst/>
                  <a:gdLst>
                    <a:gd name="connsiteX0" fmla="*/ 383 w 9517"/>
                    <a:gd name="connsiteY0" fmla="*/ 0 h 51442"/>
                    <a:gd name="connsiteX1" fmla="*/ 1754 w 9517"/>
                    <a:gd name="connsiteY1" fmla="*/ 18808 h 51442"/>
                    <a:gd name="connsiteX2" fmla="*/ 8230 w 9517"/>
                    <a:gd name="connsiteY2" fmla="*/ 35001 h 51442"/>
                    <a:gd name="connsiteX3" fmla="*/ 9102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383" y="0"/>
                      </a:moveTo>
                      <a:cubicBezTo>
                        <a:pt x="-613" y="8346"/>
                        <a:pt x="508" y="14573"/>
                        <a:pt x="1754" y="18808"/>
                      </a:cubicBezTo>
                      <a:cubicBezTo>
                        <a:pt x="3746" y="25535"/>
                        <a:pt x="6362" y="28150"/>
                        <a:pt x="8230" y="35001"/>
                      </a:cubicBezTo>
                      <a:cubicBezTo>
                        <a:pt x="9974" y="41727"/>
                        <a:pt x="9601" y="47581"/>
                        <a:pt x="910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8" name="Freeform 4518">
                  <a:extLst>
                    <a:ext uri="{FF2B5EF4-FFF2-40B4-BE49-F238E27FC236}">
                      <a16:creationId xmlns:a16="http://schemas.microsoft.com/office/drawing/2014/main" id="{EE66B043-B053-7D3F-B717-5D216EA0972C}"/>
                    </a:ext>
                  </a:extLst>
                </p:cNvPr>
                <p:cNvSpPr/>
                <p:nvPr/>
              </p:nvSpPr>
              <p:spPr>
                <a:xfrm>
                  <a:off x="6189270" y="5761365"/>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979" y="22794"/>
                        <a:pt x="5107"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9" name="Freeform 4519">
                  <a:extLst>
                    <a:ext uri="{FF2B5EF4-FFF2-40B4-BE49-F238E27FC236}">
                      <a16:creationId xmlns:a16="http://schemas.microsoft.com/office/drawing/2014/main" id="{9E5C5B38-8620-44E7-F152-0F458A54A6C3}"/>
                    </a:ext>
                  </a:extLst>
                </p:cNvPr>
                <p:cNvSpPr/>
                <p:nvPr/>
              </p:nvSpPr>
              <p:spPr>
                <a:xfrm>
                  <a:off x="6172473" y="5746717"/>
                  <a:ext cx="26587" cy="26587"/>
                </a:xfrm>
                <a:custGeom>
                  <a:avLst/>
                  <a:gdLst>
                    <a:gd name="connsiteX0" fmla="*/ 26389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9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9" y="10911"/>
                      </a:moveTo>
                      <a:cubicBezTo>
                        <a:pt x="27634" y="18135"/>
                        <a:pt x="22901" y="24986"/>
                        <a:pt x="15677" y="26356"/>
                      </a:cubicBezTo>
                      <a:cubicBezTo>
                        <a:pt x="8452" y="27726"/>
                        <a:pt x="1477" y="22868"/>
                        <a:pt x="232" y="15644"/>
                      </a:cubicBezTo>
                      <a:cubicBezTo>
                        <a:pt x="-1139" y="8420"/>
                        <a:pt x="3719" y="1569"/>
                        <a:pt x="10943" y="199"/>
                      </a:cubicBezTo>
                      <a:cubicBezTo>
                        <a:pt x="18168" y="-1047"/>
                        <a:pt x="25018" y="3686"/>
                        <a:pt x="2638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0" name="Freeform 4520">
                  <a:extLst>
                    <a:ext uri="{FF2B5EF4-FFF2-40B4-BE49-F238E27FC236}">
                      <a16:creationId xmlns:a16="http://schemas.microsoft.com/office/drawing/2014/main" id="{26BAAD8C-DBDD-A3D8-83B2-CF9B5202F535}"/>
                    </a:ext>
                  </a:extLst>
                </p:cNvPr>
                <p:cNvSpPr/>
                <p:nvPr/>
              </p:nvSpPr>
              <p:spPr>
                <a:xfrm>
                  <a:off x="6200937" y="5821402"/>
                  <a:ext cx="9393" cy="51442"/>
                </a:xfrm>
                <a:custGeom>
                  <a:avLst/>
                  <a:gdLst>
                    <a:gd name="connsiteX0" fmla="*/ 9010 w 9393"/>
                    <a:gd name="connsiteY0" fmla="*/ 51442 h 51442"/>
                    <a:gd name="connsiteX1" fmla="*/ 7640 w 9393"/>
                    <a:gd name="connsiteY1" fmla="*/ 32634 h 51442"/>
                    <a:gd name="connsiteX2" fmla="*/ 1288 w 9393"/>
                    <a:gd name="connsiteY2" fmla="*/ 16442 h 51442"/>
                    <a:gd name="connsiteX3" fmla="*/ 416 w 9393"/>
                    <a:gd name="connsiteY3" fmla="*/ 0 h 51442"/>
                  </a:gdLst>
                  <a:ahLst/>
                  <a:cxnLst>
                    <a:cxn ang="0">
                      <a:pos x="connsiteX0" y="connsiteY0"/>
                    </a:cxn>
                    <a:cxn ang="0">
                      <a:pos x="connsiteX1" y="connsiteY1"/>
                    </a:cxn>
                    <a:cxn ang="0">
                      <a:pos x="connsiteX2" y="connsiteY2"/>
                    </a:cxn>
                    <a:cxn ang="0">
                      <a:pos x="connsiteX3" y="connsiteY3"/>
                    </a:cxn>
                  </a:cxnLst>
                  <a:rect l="l" t="t" r="r" b="b"/>
                  <a:pathLst>
                    <a:path w="9393" h="51442">
                      <a:moveTo>
                        <a:pt x="9010" y="51442"/>
                      </a:moveTo>
                      <a:cubicBezTo>
                        <a:pt x="10007" y="43097"/>
                        <a:pt x="8885" y="36869"/>
                        <a:pt x="7640" y="32634"/>
                      </a:cubicBezTo>
                      <a:cubicBezTo>
                        <a:pt x="5647"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1" name="Freeform 4521">
                  <a:extLst>
                    <a:ext uri="{FF2B5EF4-FFF2-40B4-BE49-F238E27FC236}">
                      <a16:creationId xmlns:a16="http://schemas.microsoft.com/office/drawing/2014/main" id="{FF2F851C-02FB-E49E-2059-BA0D8F1DCCBC}"/>
                    </a:ext>
                  </a:extLst>
                </p:cNvPr>
                <p:cNvSpPr/>
                <p:nvPr/>
              </p:nvSpPr>
              <p:spPr>
                <a:xfrm>
                  <a:off x="6194004" y="5827878"/>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221"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2" name="Freeform 4522">
                  <a:extLst>
                    <a:ext uri="{FF2B5EF4-FFF2-40B4-BE49-F238E27FC236}">
                      <a16:creationId xmlns:a16="http://schemas.microsoft.com/office/drawing/2014/main" id="{66AAE7E2-0C71-CF36-CA4D-E4D7F98E4560}"/>
                    </a:ext>
                  </a:extLst>
                </p:cNvPr>
                <p:cNvSpPr/>
                <p:nvPr/>
              </p:nvSpPr>
              <p:spPr>
                <a:xfrm>
                  <a:off x="6194515" y="5867165"/>
                  <a:ext cx="26343" cy="26550"/>
                </a:xfrm>
                <a:custGeom>
                  <a:avLst/>
                  <a:gdLst>
                    <a:gd name="connsiteX0" fmla="*/ 236 w 26343"/>
                    <a:gd name="connsiteY0" fmla="*/ 15644 h 26550"/>
                    <a:gd name="connsiteX1" fmla="*/ 10824 w 26343"/>
                    <a:gd name="connsiteY1" fmla="*/ 199 h 26550"/>
                    <a:gd name="connsiteX2" fmla="*/ 26144 w 26343"/>
                    <a:gd name="connsiteY2" fmla="*/ 10911 h 26550"/>
                    <a:gd name="connsiteX3" fmla="*/ 15557 w 26343"/>
                    <a:gd name="connsiteY3" fmla="*/ 26356 h 26550"/>
                    <a:gd name="connsiteX4" fmla="*/ 236 w 26343"/>
                    <a:gd name="connsiteY4" fmla="*/ 15644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49">
                      <a:moveTo>
                        <a:pt x="236" y="15644"/>
                      </a:moveTo>
                      <a:cubicBezTo>
                        <a:pt x="-1134" y="8420"/>
                        <a:pt x="3599" y="1569"/>
                        <a:pt x="10824" y="199"/>
                      </a:cubicBezTo>
                      <a:cubicBezTo>
                        <a:pt x="18048" y="-1047"/>
                        <a:pt x="24899" y="3686"/>
                        <a:pt x="26144" y="10911"/>
                      </a:cubicBezTo>
                      <a:cubicBezTo>
                        <a:pt x="27390" y="18135"/>
                        <a:pt x="22657" y="24986"/>
                        <a:pt x="15557" y="26356"/>
                      </a:cubicBezTo>
                      <a:cubicBezTo>
                        <a:pt x="8457" y="27601"/>
                        <a:pt x="1606" y="22744"/>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8" name="Graphic 2987">
                <a:extLst>
                  <a:ext uri="{FF2B5EF4-FFF2-40B4-BE49-F238E27FC236}">
                    <a16:creationId xmlns:a16="http://schemas.microsoft.com/office/drawing/2014/main" id="{856AC8CC-D181-73A7-185F-66AC4E60682F}"/>
                  </a:ext>
                </a:extLst>
              </p:cNvPr>
              <p:cNvGrpSpPr/>
              <p:nvPr/>
            </p:nvGrpSpPr>
            <p:grpSpPr>
              <a:xfrm>
                <a:off x="6201744" y="5741361"/>
                <a:ext cx="48011" cy="147034"/>
                <a:chOff x="6201744" y="5741361"/>
                <a:chExt cx="48011" cy="147034"/>
              </a:xfrm>
              <a:grpFill/>
            </p:grpSpPr>
            <p:sp>
              <p:nvSpPr>
                <p:cNvPr id="4931" name="Freeform 4524">
                  <a:extLst>
                    <a:ext uri="{FF2B5EF4-FFF2-40B4-BE49-F238E27FC236}">
                      <a16:creationId xmlns:a16="http://schemas.microsoft.com/office/drawing/2014/main" id="{620CB48B-0AAB-1362-4349-2EEFD0BF011F}"/>
                    </a:ext>
                  </a:extLst>
                </p:cNvPr>
                <p:cNvSpPr/>
                <p:nvPr/>
              </p:nvSpPr>
              <p:spPr>
                <a:xfrm>
                  <a:off x="6212304" y="5762237"/>
                  <a:ext cx="9372" cy="51442"/>
                </a:xfrm>
                <a:custGeom>
                  <a:avLst/>
                  <a:gdLst>
                    <a:gd name="connsiteX0" fmla="*/ 383 w 9372"/>
                    <a:gd name="connsiteY0" fmla="*/ 0 h 51442"/>
                    <a:gd name="connsiteX1" fmla="*/ 1754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5"/>
                        <a:pt x="508" y="14573"/>
                        <a:pt x="1754" y="18808"/>
                      </a:cubicBezTo>
                      <a:cubicBezTo>
                        <a:pt x="3746" y="25534"/>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2" name="Freeform 4525">
                  <a:extLst>
                    <a:ext uri="{FF2B5EF4-FFF2-40B4-BE49-F238E27FC236}">
                      <a16:creationId xmlns:a16="http://schemas.microsoft.com/office/drawing/2014/main" id="{CD1BC018-D0E2-7F69-FD91-C83742FD3D3F}"/>
                    </a:ext>
                  </a:extLst>
                </p:cNvPr>
                <p:cNvSpPr/>
                <p:nvPr/>
              </p:nvSpPr>
              <p:spPr>
                <a:xfrm>
                  <a:off x="6218791" y="5756134"/>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19"/>
                        <a:pt x="4858" y="37492"/>
                        <a:pt x="4609" y="33132"/>
                      </a:cubicBezTo>
                      <a:cubicBezTo>
                        <a:pt x="4111" y="26157"/>
                        <a:pt x="5730" y="22794"/>
                        <a:pt x="4983" y="15694"/>
                      </a:cubicBezTo>
                      <a:cubicBezTo>
                        <a:pt x="4235" y="8843"/>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3" name="Freeform 4526">
                  <a:extLst>
                    <a:ext uri="{FF2B5EF4-FFF2-40B4-BE49-F238E27FC236}">
                      <a16:creationId xmlns:a16="http://schemas.microsoft.com/office/drawing/2014/main" id="{B784689A-5E6F-A92A-D81B-ED2D91B7AD05}"/>
                    </a:ext>
                  </a:extLst>
                </p:cNvPr>
                <p:cNvSpPr/>
                <p:nvPr/>
              </p:nvSpPr>
              <p:spPr>
                <a:xfrm>
                  <a:off x="6201744" y="5741361"/>
                  <a:ext cx="26587" cy="26587"/>
                </a:xfrm>
                <a:custGeom>
                  <a:avLst/>
                  <a:gdLst>
                    <a:gd name="connsiteX0" fmla="*/ 26388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8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8" y="10911"/>
                      </a:moveTo>
                      <a:cubicBezTo>
                        <a:pt x="27634" y="18135"/>
                        <a:pt x="22901" y="24986"/>
                        <a:pt x="15677" y="26356"/>
                      </a:cubicBezTo>
                      <a:cubicBezTo>
                        <a:pt x="8452" y="27726"/>
                        <a:pt x="1601" y="22868"/>
                        <a:pt x="232" y="15644"/>
                      </a:cubicBezTo>
                      <a:cubicBezTo>
                        <a:pt x="-1139" y="8420"/>
                        <a:pt x="3719" y="1569"/>
                        <a:pt x="10943" y="199"/>
                      </a:cubicBezTo>
                      <a:cubicBezTo>
                        <a:pt x="18168" y="-1047"/>
                        <a:pt x="25018" y="3686"/>
                        <a:pt x="26388"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4" name="Freeform 4527">
                  <a:extLst>
                    <a:ext uri="{FF2B5EF4-FFF2-40B4-BE49-F238E27FC236}">
                      <a16:creationId xmlns:a16="http://schemas.microsoft.com/office/drawing/2014/main" id="{ED512A21-4CF7-D81C-EC51-BEFFDB31EA80}"/>
                    </a:ext>
                  </a:extLst>
                </p:cNvPr>
                <p:cNvSpPr/>
                <p:nvPr/>
              </p:nvSpPr>
              <p:spPr>
                <a:xfrm>
                  <a:off x="6229980" y="5816046"/>
                  <a:ext cx="9372" cy="51442"/>
                </a:xfrm>
                <a:custGeom>
                  <a:avLst/>
                  <a:gdLst>
                    <a:gd name="connsiteX0" fmla="*/ 8990 w 9372"/>
                    <a:gd name="connsiteY0" fmla="*/ 51442 h 51442"/>
                    <a:gd name="connsiteX1" fmla="*/ 7619 w 9372"/>
                    <a:gd name="connsiteY1" fmla="*/ 32634 h 51442"/>
                    <a:gd name="connsiteX2" fmla="*/ 1267 w 9372"/>
                    <a:gd name="connsiteY2" fmla="*/ 16441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1" y="23292"/>
                        <a:pt x="1267" y="16441"/>
                      </a:cubicBezTo>
                      <a:cubicBezTo>
                        <a:pt x="-477" y="9715"/>
                        <a:pt x="-103"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5" name="Freeform 4528">
                  <a:extLst>
                    <a:ext uri="{FF2B5EF4-FFF2-40B4-BE49-F238E27FC236}">
                      <a16:creationId xmlns:a16="http://schemas.microsoft.com/office/drawing/2014/main" id="{1B2DEC28-EAF9-7A5A-8071-2883D65BB99F}"/>
                    </a:ext>
                  </a:extLst>
                </p:cNvPr>
                <p:cNvSpPr/>
                <p:nvPr/>
              </p:nvSpPr>
              <p:spPr>
                <a:xfrm>
                  <a:off x="6223025" y="5822523"/>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2" y="7474"/>
                        <a:pt x="4983" y="13701"/>
                        <a:pt x="5232" y="18061"/>
                      </a:cubicBezTo>
                      <a:cubicBezTo>
                        <a:pt x="5730" y="25036"/>
                        <a:pt x="4111" y="28399"/>
                        <a:pt x="4858" y="35499"/>
                      </a:cubicBezTo>
                      <a:cubicBezTo>
                        <a:pt x="5605" y="42350"/>
                        <a:pt x="7972" y="47705"/>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6" name="Freeform 4529">
                  <a:extLst>
                    <a:ext uri="{FF2B5EF4-FFF2-40B4-BE49-F238E27FC236}">
                      <a16:creationId xmlns:a16="http://schemas.microsoft.com/office/drawing/2014/main" id="{E4C5A64F-1732-0066-4317-011765457679}"/>
                    </a:ext>
                  </a:extLst>
                </p:cNvPr>
                <p:cNvSpPr/>
                <p:nvPr/>
              </p:nvSpPr>
              <p:spPr>
                <a:xfrm>
                  <a:off x="6223450" y="5861809"/>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7" y="8419"/>
                        <a:pt x="3687" y="1569"/>
                        <a:pt x="10786" y="199"/>
                      </a:cubicBezTo>
                      <a:cubicBezTo>
                        <a:pt x="18011" y="-1047"/>
                        <a:pt x="24861" y="3686"/>
                        <a:pt x="26107" y="10911"/>
                      </a:cubicBezTo>
                      <a:cubicBezTo>
                        <a:pt x="27352" y="18135"/>
                        <a:pt x="22619" y="24986"/>
                        <a:pt x="15520" y="26356"/>
                      </a:cubicBezTo>
                      <a:cubicBezTo>
                        <a:pt x="8420" y="27726"/>
                        <a:pt x="1569"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9" name="Graphic 2987">
                <a:extLst>
                  <a:ext uri="{FF2B5EF4-FFF2-40B4-BE49-F238E27FC236}">
                    <a16:creationId xmlns:a16="http://schemas.microsoft.com/office/drawing/2014/main" id="{798373B8-435A-E9F2-C0E4-C71518C36E2C}"/>
                  </a:ext>
                </a:extLst>
              </p:cNvPr>
              <p:cNvGrpSpPr/>
              <p:nvPr/>
            </p:nvGrpSpPr>
            <p:grpSpPr>
              <a:xfrm>
                <a:off x="6230923" y="5736009"/>
                <a:ext cx="47853" cy="147155"/>
                <a:chOff x="6230923" y="5736009"/>
                <a:chExt cx="47853" cy="147155"/>
              </a:xfrm>
              <a:grpFill/>
            </p:grpSpPr>
            <p:sp>
              <p:nvSpPr>
                <p:cNvPr id="4925" name="Freeform 4531">
                  <a:extLst>
                    <a:ext uri="{FF2B5EF4-FFF2-40B4-BE49-F238E27FC236}">
                      <a16:creationId xmlns:a16="http://schemas.microsoft.com/office/drawing/2014/main" id="{10B73586-6020-276A-B03D-1CCDCC6DDA93}"/>
                    </a:ext>
                  </a:extLst>
                </p:cNvPr>
                <p:cNvSpPr/>
                <p:nvPr/>
              </p:nvSpPr>
              <p:spPr>
                <a:xfrm>
                  <a:off x="6241575" y="5757005"/>
                  <a:ext cx="9372" cy="51442"/>
                </a:xfrm>
                <a:custGeom>
                  <a:avLst/>
                  <a:gdLst>
                    <a:gd name="connsiteX0" fmla="*/ 383 w 9372"/>
                    <a:gd name="connsiteY0" fmla="*/ 0 h 51442"/>
                    <a:gd name="connsiteX1" fmla="*/ 1753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6"/>
                        <a:pt x="508" y="14573"/>
                        <a:pt x="1753" y="18808"/>
                      </a:cubicBezTo>
                      <a:cubicBezTo>
                        <a:pt x="3746" y="25535"/>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6" name="Freeform 4532">
                  <a:extLst>
                    <a:ext uri="{FF2B5EF4-FFF2-40B4-BE49-F238E27FC236}">
                      <a16:creationId xmlns:a16="http://schemas.microsoft.com/office/drawing/2014/main" id="{A691F7D5-4AEA-EC1B-4400-92DDED03C73B}"/>
                    </a:ext>
                  </a:extLst>
                </p:cNvPr>
                <p:cNvSpPr/>
                <p:nvPr/>
              </p:nvSpPr>
              <p:spPr>
                <a:xfrm>
                  <a:off x="6247937" y="5750777"/>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7" name="Freeform 4533">
                  <a:extLst>
                    <a:ext uri="{FF2B5EF4-FFF2-40B4-BE49-F238E27FC236}">
                      <a16:creationId xmlns:a16="http://schemas.microsoft.com/office/drawing/2014/main" id="{ADD99C98-82EA-B4BF-DA87-5337B880E69D}"/>
                    </a:ext>
                  </a:extLst>
                </p:cNvPr>
                <p:cNvSpPr/>
                <p:nvPr/>
              </p:nvSpPr>
              <p:spPr>
                <a:xfrm>
                  <a:off x="6230923" y="5736009"/>
                  <a:ext cx="26674" cy="26583"/>
                </a:xfrm>
                <a:custGeom>
                  <a:avLst/>
                  <a:gdLst>
                    <a:gd name="connsiteX0" fmla="*/ 26480 w 26674"/>
                    <a:gd name="connsiteY0" fmla="*/ 10907 h 26583"/>
                    <a:gd name="connsiteX1" fmla="*/ 15644 w 26674"/>
                    <a:gd name="connsiteY1" fmla="*/ 26352 h 26583"/>
                    <a:gd name="connsiteX2" fmla="*/ 199 w 26674"/>
                    <a:gd name="connsiteY2" fmla="*/ 15640 h 26583"/>
                    <a:gd name="connsiteX3" fmla="*/ 11035 w 26674"/>
                    <a:gd name="connsiteY3" fmla="*/ 195 h 26583"/>
                    <a:gd name="connsiteX4" fmla="*/ 26480 w 2667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83">
                      <a:moveTo>
                        <a:pt x="26480" y="10907"/>
                      </a:moveTo>
                      <a:cubicBezTo>
                        <a:pt x="27726" y="18131"/>
                        <a:pt x="22868" y="24982"/>
                        <a:pt x="15644" y="26352"/>
                      </a:cubicBezTo>
                      <a:cubicBezTo>
                        <a:pt x="8419" y="27722"/>
                        <a:pt x="1569" y="22865"/>
                        <a:pt x="199" y="15640"/>
                      </a:cubicBezTo>
                      <a:cubicBezTo>
                        <a:pt x="-1047" y="8416"/>
                        <a:pt x="3686" y="1565"/>
                        <a:pt x="11035" y="195"/>
                      </a:cubicBezTo>
                      <a:cubicBezTo>
                        <a:pt x="18259" y="-1051"/>
                        <a:pt x="25110" y="3807"/>
                        <a:pt x="26480"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8" name="Freeform 4534">
                  <a:extLst>
                    <a:ext uri="{FF2B5EF4-FFF2-40B4-BE49-F238E27FC236}">
                      <a16:creationId xmlns:a16="http://schemas.microsoft.com/office/drawing/2014/main" id="{AB72547E-E62E-7D04-15F5-4FE1E24948E4}"/>
                    </a:ext>
                  </a:extLst>
                </p:cNvPr>
                <p:cNvSpPr/>
                <p:nvPr/>
              </p:nvSpPr>
              <p:spPr>
                <a:xfrm>
                  <a:off x="6259001" y="5810814"/>
                  <a:ext cx="9372" cy="51442"/>
                </a:xfrm>
                <a:custGeom>
                  <a:avLst/>
                  <a:gdLst>
                    <a:gd name="connsiteX0" fmla="*/ 8989 w 9372"/>
                    <a:gd name="connsiteY0" fmla="*/ 51442 h 51442"/>
                    <a:gd name="connsiteX1" fmla="*/ 7619 w 9372"/>
                    <a:gd name="connsiteY1" fmla="*/ 32634 h 51442"/>
                    <a:gd name="connsiteX2" fmla="*/ 1267 w 9372"/>
                    <a:gd name="connsiteY2" fmla="*/ 16442 h 51442"/>
                    <a:gd name="connsiteX3" fmla="*/ 520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51442"/>
                      </a:moveTo>
                      <a:cubicBezTo>
                        <a:pt x="9986" y="43097"/>
                        <a:pt x="8865" y="36869"/>
                        <a:pt x="7619" y="32634"/>
                      </a:cubicBezTo>
                      <a:cubicBezTo>
                        <a:pt x="5627" y="25908"/>
                        <a:pt x="3011" y="23292"/>
                        <a:pt x="1267" y="16442"/>
                      </a:cubicBezTo>
                      <a:cubicBezTo>
                        <a:pt x="-477" y="9715"/>
                        <a:pt x="-103" y="3861"/>
                        <a:pt x="5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9" name="Freeform 4535">
                  <a:extLst>
                    <a:ext uri="{FF2B5EF4-FFF2-40B4-BE49-F238E27FC236}">
                      <a16:creationId xmlns:a16="http://schemas.microsoft.com/office/drawing/2014/main" id="{6EFC4A67-5F98-08D7-9C17-695880EB1A41}"/>
                    </a:ext>
                  </a:extLst>
                </p:cNvPr>
                <p:cNvSpPr/>
                <p:nvPr/>
              </p:nvSpPr>
              <p:spPr>
                <a:xfrm>
                  <a:off x="6252172" y="5817291"/>
                  <a:ext cx="9839" cy="51193"/>
                </a:xfrm>
                <a:custGeom>
                  <a:avLst/>
                  <a:gdLst>
                    <a:gd name="connsiteX0" fmla="*/ 0 w 9839"/>
                    <a:gd name="connsiteY0" fmla="*/ 0 h 51193"/>
                    <a:gd name="connsiteX1" fmla="*/ 5231 w 9839"/>
                    <a:gd name="connsiteY1" fmla="*/ 18061 h 51193"/>
                    <a:gd name="connsiteX2" fmla="*/ 4858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4"/>
                        <a:pt x="4982" y="13701"/>
                        <a:pt x="5231" y="18061"/>
                      </a:cubicBezTo>
                      <a:cubicBezTo>
                        <a:pt x="5730" y="25036"/>
                        <a:pt x="4110" y="28399"/>
                        <a:pt x="4858" y="35499"/>
                      </a:cubicBezTo>
                      <a:cubicBezTo>
                        <a:pt x="5605"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0" name="Freeform 4536">
                  <a:extLst>
                    <a:ext uri="{FF2B5EF4-FFF2-40B4-BE49-F238E27FC236}">
                      <a16:creationId xmlns:a16="http://schemas.microsoft.com/office/drawing/2014/main" id="{7A755B11-DE05-07F5-4122-39E0EA4955B1}"/>
                    </a:ext>
                  </a:extLst>
                </p:cNvPr>
                <p:cNvSpPr/>
                <p:nvPr/>
              </p:nvSpPr>
              <p:spPr>
                <a:xfrm>
                  <a:off x="6252471" y="5856577"/>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6" y="8420"/>
                        <a:pt x="3686" y="1569"/>
                        <a:pt x="10786" y="199"/>
                      </a:cubicBezTo>
                      <a:cubicBezTo>
                        <a:pt x="18011" y="-1047"/>
                        <a:pt x="24737" y="3686"/>
                        <a:pt x="26107" y="10911"/>
                      </a:cubicBezTo>
                      <a:cubicBezTo>
                        <a:pt x="27353" y="18135"/>
                        <a:pt x="22619" y="24986"/>
                        <a:pt x="15520" y="26356"/>
                      </a:cubicBezTo>
                      <a:cubicBezTo>
                        <a:pt x="8420" y="27726"/>
                        <a:pt x="1444"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0" name="Graphic 2987">
                <a:extLst>
                  <a:ext uri="{FF2B5EF4-FFF2-40B4-BE49-F238E27FC236}">
                    <a16:creationId xmlns:a16="http://schemas.microsoft.com/office/drawing/2014/main" id="{756F2BBD-7D31-BB57-DE8D-8A13D5D46F2B}"/>
                  </a:ext>
                </a:extLst>
              </p:cNvPr>
              <p:cNvGrpSpPr/>
              <p:nvPr/>
            </p:nvGrpSpPr>
            <p:grpSpPr>
              <a:xfrm>
                <a:off x="6260323" y="5730812"/>
                <a:ext cx="47476" cy="147088"/>
                <a:chOff x="6260323" y="5730812"/>
                <a:chExt cx="47476" cy="147088"/>
              </a:xfrm>
              <a:grpFill/>
            </p:grpSpPr>
            <p:sp>
              <p:nvSpPr>
                <p:cNvPr id="4919" name="Freeform 4538">
                  <a:extLst>
                    <a:ext uri="{FF2B5EF4-FFF2-40B4-BE49-F238E27FC236}">
                      <a16:creationId xmlns:a16="http://schemas.microsoft.com/office/drawing/2014/main" id="{DAD86AF3-9840-46D4-8F1A-141EFC708E79}"/>
                    </a:ext>
                  </a:extLst>
                </p:cNvPr>
                <p:cNvSpPr/>
                <p:nvPr/>
              </p:nvSpPr>
              <p:spPr>
                <a:xfrm>
                  <a:off x="6270644" y="5751649"/>
                  <a:ext cx="9233" cy="51442"/>
                </a:xfrm>
                <a:custGeom>
                  <a:avLst/>
                  <a:gdLst>
                    <a:gd name="connsiteX0" fmla="*/ 461 w 9233"/>
                    <a:gd name="connsiteY0" fmla="*/ 0 h 51442"/>
                    <a:gd name="connsiteX1" fmla="*/ 1707 w 9233"/>
                    <a:gd name="connsiteY1" fmla="*/ 18808 h 51442"/>
                    <a:gd name="connsiteX2" fmla="*/ 8059 w 9233"/>
                    <a:gd name="connsiteY2" fmla="*/ 35001 h 51442"/>
                    <a:gd name="connsiteX3" fmla="*/ 8807 w 923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33" h="51442">
                      <a:moveTo>
                        <a:pt x="461" y="0"/>
                      </a:moveTo>
                      <a:cubicBezTo>
                        <a:pt x="-660" y="8346"/>
                        <a:pt x="461" y="14573"/>
                        <a:pt x="1707" y="18808"/>
                      </a:cubicBezTo>
                      <a:cubicBezTo>
                        <a:pt x="3700" y="25534"/>
                        <a:pt x="6315" y="28150"/>
                        <a:pt x="8059" y="35001"/>
                      </a:cubicBezTo>
                      <a:cubicBezTo>
                        <a:pt x="9678" y="41727"/>
                        <a:pt x="9305" y="47581"/>
                        <a:pt x="880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0" name="Freeform 4539">
                  <a:extLst>
                    <a:ext uri="{FF2B5EF4-FFF2-40B4-BE49-F238E27FC236}">
                      <a16:creationId xmlns:a16="http://schemas.microsoft.com/office/drawing/2014/main" id="{79008A76-A80F-1927-6CE9-DA5AD03FA9E5}"/>
                    </a:ext>
                  </a:extLst>
                </p:cNvPr>
                <p:cNvSpPr/>
                <p:nvPr/>
              </p:nvSpPr>
              <p:spPr>
                <a:xfrm>
                  <a:off x="6277333" y="5745421"/>
                  <a:ext cx="9590" cy="51317"/>
                </a:xfrm>
                <a:custGeom>
                  <a:avLst/>
                  <a:gdLst>
                    <a:gd name="connsiteX0" fmla="*/ 9591 w 9590"/>
                    <a:gd name="connsiteY0" fmla="*/ 51318 h 51317"/>
                    <a:gd name="connsiteX1" fmla="*/ 4484 w 9590"/>
                    <a:gd name="connsiteY1" fmla="*/ 33257 h 51317"/>
                    <a:gd name="connsiteX2" fmla="*/ 4982 w 9590"/>
                    <a:gd name="connsiteY2" fmla="*/ 15819 h 51317"/>
                    <a:gd name="connsiteX3" fmla="*/ 0 w 9590"/>
                    <a:gd name="connsiteY3" fmla="*/ 0 h 51317"/>
                  </a:gdLst>
                  <a:ahLst/>
                  <a:cxnLst>
                    <a:cxn ang="0">
                      <a:pos x="connsiteX0" y="connsiteY0"/>
                    </a:cxn>
                    <a:cxn ang="0">
                      <a:pos x="connsiteX1" y="connsiteY1"/>
                    </a:cxn>
                    <a:cxn ang="0">
                      <a:pos x="connsiteX2" y="connsiteY2"/>
                    </a:cxn>
                    <a:cxn ang="0">
                      <a:pos x="connsiteX3" y="connsiteY3"/>
                    </a:cxn>
                  </a:cxnLst>
                  <a:rect l="l" t="t" r="r" b="b"/>
                  <a:pathLst>
                    <a:path w="9590" h="51317">
                      <a:moveTo>
                        <a:pt x="9591" y="51318"/>
                      </a:moveTo>
                      <a:cubicBezTo>
                        <a:pt x="5730" y="43844"/>
                        <a:pt x="4733" y="37616"/>
                        <a:pt x="4484" y="33257"/>
                      </a:cubicBezTo>
                      <a:cubicBezTo>
                        <a:pt x="4110" y="26282"/>
                        <a:pt x="5605" y="22919"/>
                        <a:pt x="4982"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1" name="Freeform 4540">
                  <a:extLst>
                    <a:ext uri="{FF2B5EF4-FFF2-40B4-BE49-F238E27FC236}">
                      <a16:creationId xmlns:a16="http://schemas.microsoft.com/office/drawing/2014/main" id="{DAACCA45-1A76-12B9-66DB-388A0D5BCA8B}"/>
                    </a:ext>
                  </a:extLst>
                </p:cNvPr>
                <p:cNvSpPr/>
                <p:nvPr/>
              </p:nvSpPr>
              <p:spPr>
                <a:xfrm>
                  <a:off x="6260323" y="5730812"/>
                  <a:ext cx="26546" cy="26516"/>
                </a:xfrm>
                <a:custGeom>
                  <a:avLst/>
                  <a:gdLst>
                    <a:gd name="connsiteX0" fmla="*/ 26352 w 26546"/>
                    <a:gd name="connsiteY0" fmla="*/ 10997 h 26516"/>
                    <a:gd name="connsiteX1" fmla="*/ 15516 w 26546"/>
                    <a:gd name="connsiteY1" fmla="*/ 26318 h 26516"/>
                    <a:gd name="connsiteX2" fmla="*/ 195 w 26546"/>
                    <a:gd name="connsiteY2" fmla="*/ 15606 h 26516"/>
                    <a:gd name="connsiteX3" fmla="*/ 11031 w 26546"/>
                    <a:gd name="connsiteY3" fmla="*/ 161 h 26516"/>
                    <a:gd name="connsiteX4" fmla="*/ 26352 w 26546"/>
                    <a:gd name="connsiteY4" fmla="*/ 10997 h 26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16">
                      <a:moveTo>
                        <a:pt x="26352" y="10997"/>
                      </a:moveTo>
                      <a:cubicBezTo>
                        <a:pt x="27598" y="18222"/>
                        <a:pt x="22740" y="25072"/>
                        <a:pt x="15516" y="26318"/>
                      </a:cubicBezTo>
                      <a:cubicBezTo>
                        <a:pt x="8291" y="27564"/>
                        <a:pt x="1440" y="22830"/>
                        <a:pt x="195" y="15606"/>
                      </a:cubicBezTo>
                      <a:cubicBezTo>
                        <a:pt x="-1051" y="8382"/>
                        <a:pt x="3807" y="1407"/>
                        <a:pt x="11031" y="161"/>
                      </a:cubicBezTo>
                      <a:cubicBezTo>
                        <a:pt x="18131" y="-960"/>
                        <a:pt x="25106" y="3898"/>
                        <a:pt x="26352" y="1099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2" name="Freeform 4541">
                  <a:extLst>
                    <a:ext uri="{FF2B5EF4-FFF2-40B4-BE49-F238E27FC236}">
                      <a16:creationId xmlns:a16="http://schemas.microsoft.com/office/drawing/2014/main" id="{FF03187C-4EF8-1B93-B382-B778FAA3AAED}"/>
                    </a:ext>
                  </a:extLst>
                </p:cNvPr>
                <p:cNvSpPr/>
                <p:nvPr/>
              </p:nvSpPr>
              <p:spPr>
                <a:xfrm>
                  <a:off x="6288116" y="5805458"/>
                  <a:ext cx="9178" cy="51566"/>
                </a:xfrm>
                <a:custGeom>
                  <a:avLst/>
                  <a:gdLst>
                    <a:gd name="connsiteX0" fmla="*/ 8772 w 9178"/>
                    <a:gd name="connsiteY0" fmla="*/ 51567 h 51566"/>
                    <a:gd name="connsiteX1" fmla="*/ 7527 w 9178"/>
                    <a:gd name="connsiteY1" fmla="*/ 32759 h 51566"/>
                    <a:gd name="connsiteX2" fmla="*/ 1174 w 9178"/>
                    <a:gd name="connsiteY2" fmla="*/ 16442 h 51566"/>
                    <a:gd name="connsiteX3" fmla="*/ 427 w 9178"/>
                    <a:gd name="connsiteY3" fmla="*/ 0 h 51566"/>
                  </a:gdLst>
                  <a:ahLst/>
                  <a:cxnLst>
                    <a:cxn ang="0">
                      <a:pos x="connsiteX0" y="connsiteY0"/>
                    </a:cxn>
                    <a:cxn ang="0">
                      <a:pos x="connsiteX1" y="connsiteY1"/>
                    </a:cxn>
                    <a:cxn ang="0">
                      <a:pos x="connsiteX2" y="connsiteY2"/>
                    </a:cxn>
                    <a:cxn ang="0">
                      <a:pos x="connsiteX3" y="connsiteY3"/>
                    </a:cxn>
                  </a:cxnLst>
                  <a:rect l="l" t="t" r="r" b="b"/>
                  <a:pathLst>
                    <a:path w="9178" h="51566">
                      <a:moveTo>
                        <a:pt x="8772" y="51567"/>
                      </a:moveTo>
                      <a:cubicBezTo>
                        <a:pt x="9769" y="43222"/>
                        <a:pt x="8772" y="36994"/>
                        <a:pt x="7527" y="32759"/>
                      </a:cubicBezTo>
                      <a:cubicBezTo>
                        <a:pt x="5534" y="26033"/>
                        <a:pt x="2918" y="23417"/>
                        <a:pt x="1174" y="16442"/>
                      </a:cubicBezTo>
                      <a:cubicBezTo>
                        <a:pt x="-445" y="9715"/>
                        <a:pt x="-72" y="3861"/>
                        <a:pt x="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3" name="Freeform 4542">
                  <a:extLst>
                    <a:ext uri="{FF2B5EF4-FFF2-40B4-BE49-F238E27FC236}">
                      <a16:creationId xmlns:a16="http://schemas.microsoft.com/office/drawing/2014/main" id="{D7B42FBA-9D94-3978-A314-14E68ADA5CF2}"/>
                    </a:ext>
                  </a:extLst>
                </p:cNvPr>
                <p:cNvSpPr/>
                <p:nvPr/>
              </p:nvSpPr>
              <p:spPr>
                <a:xfrm>
                  <a:off x="6281194" y="5811935"/>
                  <a:ext cx="9715" cy="51193"/>
                </a:xfrm>
                <a:custGeom>
                  <a:avLst/>
                  <a:gdLst>
                    <a:gd name="connsiteX0" fmla="*/ 0 w 9715"/>
                    <a:gd name="connsiteY0" fmla="*/ 0 h 51193"/>
                    <a:gd name="connsiteX1" fmla="*/ 5107 w 9715"/>
                    <a:gd name="connsiteY1" fmla="*/ 18061 h 51193"/>
                    <a:gd name="connsiteX2" fmla="*/ 4733 w 9715"/>
                    <a:gd name="connsiteY2" fmla="*/ 35499 h 51193"/>
                    <a:gd name="connsiteX3" fmla="*/ 9715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0" y="0"/>
                      </a:moveTo>
                      <a:cubicBezTo>
                        <a:pt x="3861" y="7474"/>
                        <a:pt x="4858" y="13701"/>
                        <a:pt x="5107" y="18061"/>
                      </a:cubicBezTo>
                      <a:cubicBezTo>
                        <a:pt x="5481" y="25036"/>
                        <a:pt x="3986" y="28399"/>
                        <a:pt x="4733" y="35499"/>
                      </a:cubicBezTo>
                      <a:cubicBezTo>
                        <a:pt x="5481" y="42350"/>
                        <a:pt x="7847" y="47706"/>
                        <a:pt x="971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4" name="Freeform 4543">
                  <a:extLst>
                    <a:ext uri="{FF2B5EF4-FFF2-40B4-BE49-F238E27FC236}">
                      <a16:creationId xmlns:a16="http://schemas.microsoft.com/office/drawing/2014/main" id="{7D368A4D-A313-F122-376B-58FE16818A08}"/>
                    </a:ext>
                  </a:extLst>
                </p:cNvPr>
                <p:cNvSpPr/>
                <p:nvPr/>
              </p:nvSpPr>
              <p:spPr>
                <a:xfrm>
                  <a:off x="6281369" y="5851474"/>
                  <a:ext cx="26430" cy="26426"/>
                </a:xfrm>
                <a:custGeom>
                  <a:avLst/>
                  <a:gdLst>
                    <a:gd name="connsiteX0" fmla="*/ 199 w 26430"/>
                    <a:gd name="connsiteY0" fmla="*/ 15516 h 26426"/>
                    <a:gd name="connsiteX1" fmla="*/ 10911 w 26430"/>
                    <a:gd name="connsiteY1" fmla="*/ 195 h 26426"/>
                    <a:gd name="connsiteX2" fmla="*/ 26231 w 26430"/>
                    <a:gd name="connsiteY2" fmla="*/ 11031 h 26426"/>
                    <a:gd name="connsiteX3" fmla="*/ 15520 w 26430"/>
                    <a:gd name="connsiteY3" fmla="*/ 26227 h 26426"/>
                    <a:gd name="connsiteX4" fmla="*/ 199 w 26430"/>
                    <a:gd name="connsiteY4" fmla="*/ 15516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26">
                      <a:moveTo>
                        <a:pt x="199" y="15516"/>
                      </a:moveTo>
                      <a:cubicBezTo>
                        <a:pt x="-1047" y="8291"/>
                        <a:pt x="3686" y="1316"/>
                        <a:pt x="10911" y="195"/>
                      </a:cubicBezTo>
                      <a:cubicBezTo>
                        <a:pt x="18135" y="-1051"/>
                        <a:pt x="24986" y="3807"/>
                        <a:pt x="26231" y="11031"/>
                      </a:cubicBezTo>
                      <a:cubicBezTo>
                        <a:pt x="27477" y="18256"/>
                        <a:pt x="22744" y="25106"/>
                        <a:pt x="15520" y="26227"/>
                      </a:cubicBezTo>
                      <a:cubicBezTo>
                        <a:pt x="8295" y="27473"/>
                        <a:pt x="1569" y="22740"/>
                        <a:pt x="199"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1" name="Graphic 2987">
                <a:extLst>
                  <a:ext uri="{FF2B5EF4-FFF2-40B4-BE49-F238E27FC236}">
                    <a16:creationId xmlns:a16="http://schemas.microsoft.com/office/drawing/2014/main" id="{48BD3E0F-3879-0C4A-46CB-4271E99915A4}"/>
                  </a:ext>
                </a:extLst>
              </p:cNvPr>
              <p:cNvGrpSpPr/>
              <p:nvPr/>
            </p:nvGrpSpPr>
            <p:grpSpPr>
              <a:xfrm>
                <a:off x="6289594" y="5725920"/>
                <a:ext cx="47098" cy="147114"/>
                <a:chOff x="6289594" y="5725920"/>
                <a:chExt cx="47098" cy="147114"/>
              </a:xfrm>
              <a:grpFill/>
            </p:grpSpPr>
            <p:sp>
              <p:nvSpPr>
                <p:cNvPr id="4913" name="Freeform 4545">
                  <a:extLst>
                    <a:ext uri="{FF2B5EF4-FFF2-40B4-BE49-F238E27FC236}">
                      <a16:creationId xmlns:a16="http://schemas.microsoft.com/office/drawing/2014/main" id="{D838E354-28C8-89CB-4826-0DFEEB229B8E}"/>
                    </a:ext>
                  </a:extLst>
                </p:cNvPr>
                <p:cNvSpPr/>
                <p:nvPr/>
              </p:nvSpPr>
              <p:spPr>
                <a:xfrm>
                  <a:off x="6300039" y="5746667"/>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8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700" y="25534"/>
                        <a:pt x="6315" y="28150"/>
                        <a:pt x="7935" y="35125"/>
                      </a:cubicBezTo>
                      <a:cubicBezTo>
                        <a:pt x="9554" y="41851"/>
                        <a:pt x="9180" y="47705"/>
                        <a:pt x="8558"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4" name="Freeform 4546">
                  <a:extLst>
                    <a:ext uri="{FF2B5EF4-FFF2-40B4-BE49-F238E27FC236}">
                      <a16:creationId xmlns:a16="http://schemas.microsoft.com/office/drawing/2014/main" id="{6360BC3A-4C8C-CED1-D23D-C5DF8A573E40}"/>
                    </a:ext>
                  </a:extLst>
                </p:cNvPr>
                <p:cNvSpPr/>
                <p:nvPr/>
              </p:nvSpPr>
              <p:spPr>
                <a:xfrm>
                  <a:off x="6306604" y="5740564"/>
                  <a:ext cx="9466" cy="51317"/>
                </a:xfrm>
                <a:custGeom>
                  <a:avLst/>
                  <a:gdLst>
                    <a:gd name="connsiteX0" fmla="*/ 9466 w 9466"/>
                    <a:gd name="connsiteY0" fmla="*/ 51318 h 51317"/>
                    <a:gd name="connsiteX1" fmla="*/ 4360 w 9466"/>
                    <a:gd name="connsiteY1" fmla="*/ 33257 h 51317"/>
                    <a:gd name="connsiteX2" fmla="*/ 4858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6" y="51318"/>
                      </a:moveTo>
                      <a:cubicBezTo>
                        <a:pt x="5605" y="43844"/>
                        <a:pt x="4609" y="37492"/>
                        <a:pt x="4360" y="33257"/>
                      </a:cubicBezTo>
                      <a:cubicBezTo>
                        <a:pt x="3986"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5" name="Freeform 4547">
                  <a:extLst>
                    <a:ext uri="{FF2B5EF4-FFF2-40B4-BE49-F238E27FC236}">
                      <a16:creationId xmlns:a16="http://schemas.microsoft.com/office/drawing/2014/main" id="{6248AFC6-0EC6-AEA8-59A6-B0BE31375656}"/>
                    </a:ext>
                  </a:extLst>
                </p:cNvPr>
                <p:cNvSpPr/>
                <p:nvPr/>
              </p:nvSpPr>
              <p:spPr>
                <a:xfrm>
                  <a:off x="6289594" y="5725920"/>
                  <a:ext cx="26546" cy="26546"/>
                </a:xfrm>
                <a:custGeom>
                  <a:avLst/>
                  <a:gdLst>
                    <a:gd name="connsiteX0" fmla="*/ 26352 w 26546"/>
                    <a:gd name="connsiteY0" fmla="*/ 11031 h 26546"/>
                    <a:gd name="connsiteX1" fmla="*/ 15516 w 26546"/>
                    <a:gd name="connsiteY1" fmla="*/ 26352 h 26546"/>
                    <a:gd name="connsiteX2" fmla="*/ 195 w 26546"/>
                    <a:gd name="connsiteY2" fmla="*/ 15515 h 26546"/>
                    <a:gd name="connsiteX3" fmla="*/ 11031 w 26546"/>
                    <a:gd name="connsiteY3" fmla="*/ 195 h 26546"/>
                    <a:gd name="connsiteX4" fmla="*/ 26352 w 26546"/>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352" y="11031"/>
                      </a:moveTo>
                      <a:cubicBezTo>
                        <a:pt x="27598" y="18255"/>
                        <a:pt x="22740" y="25106"/>
                        <a:pt x="15516" y="26352"/>
                      </a:cubicBezTo>
                      <a:cubicBezTo>
                        <a:pt x="8291" y="27597"/>
                        <a:pt x="1440" y="22740"/>
                        <a:pt x="195" y="15515"/>
                      </a:cubicBezTo>
                      <a:cubicBezTo>
                        <a:pt x="-1051" y="8291"/>
                        <a:pt x="3807" y="1440"/>
                        <a:pt x="11031" y="195"/>
                      </a:cubicBezTo>
                      <a:cubicBezTo>
                        <a:pt x="18256" y="-1051"/>
                        <a:pt x="25106" y="3807"/>
                        <a:pt x="26352"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6" name="Freeform 4548">
                  <a:extLst>
                    <a:ext uri="{FF2B5EF4-FFF2-40B4-BE49-F238E27FC236}">
                      <a16:creationId xmlns:a16="http://schemas.microsoft.com/office/drawing/2014/main" id="{0EEF63A6-826B-0850-56B0-70BF4EEBDEA6}"/>
                    </a:ext>
                  </a:extLst>
                </p:cNvPr>
                <p:cNvSpPr/>
                <p:nvPr/>
              </p:nvSpPr>
              <p:spPr>
                <a:xfrm>
                  <a:off x="6317407" y="5800600"/>
                  <a:ext cx="9089" cy="51567"/>
                </a:xfrm>
                <a:custGeom>
                  <a:avLst/>
                  <a:gdLst>
                    <a:gd name="connsiteX0" fmla="*/ 8628 w 9089"/>
                    <a:gd name="connsiteY0" fmla="*/ 51567 h 51567"/>
                    <a:gd name="connsiteX1" fmla="*/ 7383 w 9089"/>
                    <a:gd name="connsiteY1" fmla="*/ 32759 h 51567"/>
                    <a:gd name="connsiteX2" fmla="*/ 1155 w 9089"/>
                    <a:gd name="connsiteY2" fmla="*/ 16442 h 51567"/>
                    <a:gd name="connsiteX3" fmla="*/ 532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8628" y="51567"/>
                      </a:moveTo>
                      <a:cubicBezTo>
                        <a:pt x="9749" y="43222"/>
                        <a:pt x="8628" y="36994"/>
                        <a:pt x="7383" y="32759"/>
                      </a:cubicBezTo>
                      <a:cubicBezTo>
                        <a:pt x="5390" y="26033"/>
                        <a:pt x="2774"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7" name="Freeform 4549">
                  <a:extLst>
                    <a:ext uri="{FF2B5EF4-FFF2-40B4-BE49-F238E27FC236}">
                      <a16:creationId xmlns:a16="http://schemas.microsoft.com/office/drawing/2014/main" id="{B42511BD-43C3-D5D9-0396-F0E57D6D9262}"/>
                    </a:ext>
                  </a:extLst>
                </p:cNvPr>
                <p:cNvSpPr/>
                <p:nvPr/>
              </p:nvSpPr>
              <p:spPr>
                <a:xfrm>
                  <a:off x="6310340" y="5807078"/>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986" y="28399"/>
                        <a:pt x="4609" y="35499"/>
                      </a:cubicBezTo>
                      <a:cubicBezTo>
                        <a:pt x="5356"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8" name="Freeform 4550">
                  <a:extLst>
                    <a:ext uri="{FF2B5EF4-FFF2-40B4-BE49-F238E27FC236}">
                      <a16:creationId xmlns:a16="http://schemas.microsoft.com/office/drawing/2014/main" id="{13609B3E-FCF9-827D-90AB-1CB8DD2A4578}"/>
                    </a:ext>
                  </a:extLst>
                </p:cNvPr>
                <p:cNvSpPr/>
                <p:nvPr/>
              </p:nvSpPr>
              <p:spPr>
                <a:xfrm>
                  <a:off x="6310395" y="5846617"/>
                  <a:ext cx="26297" cy="26418"/>
                </a:xfrm>
                <a:custGeom>
                  <a:avLst/>
                  <a:gdLst>
                    <a:gd name="connsiteX0" fmla="*/ 195 w 26297"/>
                    <a:gd name="connsiteY0" fmla="*/ 15391 h 26418"/>
                    <a:gd name="connsiteX1" fmla="*/ 10907 w 26297"/>
                    <a:gd name="connsiteY1" fmla="*/ 195 h 26418"/>
                    <a:gd name="connsiteX2" fmla="*/ 26103 w 26297"/>
                    <a:gd name="connsiteY2" fmla="*/ 11031 h 26418"/>
                    <a:gd name="connsiteX3" fmla="*/ 15391 w 26297"/>
                    <a:gd name="connsiteY3" fmla="*/ 26227 h 26418"/>
                    <a:gd name="connsiteX4" fmla="*/ 195 w 26297"/>
                    <a:gd name="connsiteY4" fmla="*/ 15391 h 26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18">
                      <a:moveTo>
                        <a:pt x="195" y="15391"/>
                      </a:moveTo>
                      <a:cubicBezTo>
                        <a:pt x="-1051" y="8166"/>
                        <a:pt x="3807" y="1316"/>
                        <a:pt x="10907" y="195"/>
                      </a:cubicBezTo>
                      <a:cubicBezTo>
                        <a:pt x="18131" y="-1051"/>
                        <a:pt x="24857" y="3807"/>
                        <a:pt x="26103" y="11031"/>
                      </a:cubicBezTo>
                      <a:cubicBezTo>
                        <a:pt x="27348" y="18255"/>
                        <a:pt x="22491" y="25106"/>
                        <a:pt x="15391" y="26227"/>
                      </a:cubicBezTo>
                      <a:cubicBezTo>
                        <a:pt x="8291" y="27473"/>
                        <a:pt x="1440" y="22490"/>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2" name="Graphic 2987">
                <a:extLst>
                  <a:ext uri="{FF2B5EF4-FFF2-40B4-BE49-F238E27FC236}">
                    <a16:creationId xmlns:a16="http://schemas.microsoft.com/office/drawing/2014/main" id="{191F5D7D-12CE-48AF-D4B6-92A8389C6074}"/>
                  </a:ext>
                </a:extLst>
              </p:cNvPr>
              <p:cNvGrpSpPr/>
              <p:nvPr/>
            </p:nvGrpSpPr>
            <p:grpSpPr>
              <a:xfrm>
                <a:off x="6318865" y="5720938"/>
                <a:ext cx="46849" cy="147118"/>
                <a:chOff x="6318865" y="5720938"/>
                <a:chExt cx="46849" cy="147118"/>
              </a:xfrm>
              <a:grpFill/>
            </p:grpSpPr>
            <p:sp>
              <p:nvSpPr>
                <p:cNvPr id="4907" name="Freeform 4552">
                  <a:extLst>
                    <a:ext uri="{FF2B5EF4-FFF2-40B4-BE49-F238E27FC236}">
                      <a16:creationId xmlns:a16="http://schemas.microsoft.com/office/drawing/2014/main" id="{FFC9A1F8-31B9-4D98-26B9-A3E8B8F7634A}"/>
                    </a:ext>
                  </a:extLst>
                </p:cNvPr>
                <p:cNvSpPr/>
                <p:nvPr/>
              </p:nvSpPr>
              <p:spPr>
                <a:xfrm>
                  <a:off x="6329307" y="5741809"/>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578" y="25535"/>
                        <a:pt x="6194"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8" name="Freeform 4553">
                  <a:extLst>
                    <a:ext uri="{FF2B5EF4-FFF2-40B4-BE49-F238E27FC236}">
                      <a16:creationId xmlns:a16="http://schemas.microsoft.com/office/drawing/2014/main" id="{D830C1FB-308F-B092-F7B5-AA6EA773F574}"/>
                    </a:ext>
                  </a:extLst>
                </p:cNvPr>
                <p:cNvSpPr/>
                <p:nvPr/>
              </p:nvSpPr>
              <p:spPr>
                <a:xfrm>
                  <a:off x="6335875" y="5735581"/>
                  <a:ext cx="9466" cy="51318"/>
                </a:xfrm>
                <a:custGeom>
                  <a:avLst/>
                  <a:gdLst>
                    <a:gd name="connsiteX0" fmla="*/ 9466 w 9466"/>
                    <a:gd name="connsiteY0" fmla="*/ 51318 h 51318"/>
                    <a:gd name="connsiteX1" fmla="*/ 4359 w 9466"/>
                    <a:gd name="connsiteY1" fmla="*/ 33257 h 51318"/>
                    <a:gd name="connsiteX2" fmla="*/ 4858 w 9466"/>
                    <a:gd name="connsiteY2" fmla="*/ 15819 h 51318"/>
                    <a:gd name="connsiteX3" fmla="*/ 0 w 9466"/>
                    <a:gd name="connsiteY3" fmla="*/ 0 h 51318"/>
                  </a:gdLst>
                  <a:ahLst/>
                  <a:cxnLst>
                    <a:cxn ang="0">
                      <a:pos x="connsiteX0" y="connsiteY0"/>
                    </a:cxn>
                    <a:cxn ang="0">
                      <a:pos x="connsiteX1" y="connsiteY1"/>
                    </a:cxn>
                    <a:cxn ang="0">
                      <a:pos x="connsiteX2" y="connsiteY2"/>
                    </a:cxn>
                    <a:cxn ang="0">
                      <a:pos x="connsiteX3" y="connsiteY3"/>
                    </a:cxn>
                  </a:cxnLst>
                  <a:rect l="l" t="t" r="r" b="b"/>
                  <a:pathLst>
                    <a:path w="9466" h="51318">
                      <a:moveTo>
                        <a:pt x="9466" y="51318"/>
                      </a:moveTo>
                      <a:cubicBezTo>
                        <a:pt x="5730" y="43845"/>
                        <a:pt x="4609" y="37492"/>
                        <a:pt x="4359" y="33257"/>
                      </a:cubicBezTo>
                      <a:cubicBezTo>
                        <a:pt x="3986" y="26282"/>
                        <a:pt x="5605"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9" name="Freeform 4554">
                  <a:extLst>
                    <a:ext uri="{FF2B5EF4-FFF2-40B4-BE49-F238E27FC236}">
                      <a16:creationId xmlns:a16="http://schemas.microsoft.com/office/drawing/2014/main" id="{6726B72A-7082-6773-99F9-6C84BB77D133}"/>
                    </a:ext>
                  </a:extLst>
                </p:cNvPr>
                <p:cNvSpPr/>
                <p:nvPr/>
              </p:nvSpPr>
              <p:spPr>
                <a:xfrm>
                  <a:off x="6318865" y="5720938"/>
                  <a:ext cx="26670" cy="26546"/>
                </a:xfrm>
                <a:custGeom>
                  <a:avLst/>
                  <a:gdLst>
                    <a:gd name="connsiteX0" fmla="*/ 26476 w 26670"/>
                    <a:gd name="connsiteY0" fmla="*/ 11032 h 26546"/>
                    <a:gd name="connsiteX1" fmla="*/ 15515 w 26670"/>
                    <a:gd name="connsiteY1" fmla="*/ 26352 h 26546"/>
                    <a:gd name="connsiteX2" fmla="*/ 195 w 26670"/>
                    <a:gd name="connsiteY2" fmla="*/ 15515 h 26546"/>
                    <a:gd name="connsiteX3" fmla="*/ 11156 w 26670"/>
                    <a:gd name="connsiteY3" fmla="*/ 195 h 26546"/>
                    <a:gd name="connsiteX4" fmla="*/ 26476 w 26670"/>
                    <a:gd name="connsiteY4" fmla="*/ 1103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476" y="11032"/>
                      </a:moveTo>
                      <a:cubicBezTo>
                        <a:pt x="27722" y="18256"/>
                        <a:pt x="22864" y="25106"/>
                        <a:pt x="15515" y="26352"/>
                      </a:cubicBezTo>
                      <a:cubicBezTo>
                        <a:pt x="8291" y="27598"/>
                        <a:pt x="1440" y="22740"/>
                        <a:pt x="195" y="15515"/>
                      </a:cubicBezTo>
                      <a:cubicBezTo>
                        <a:pt x="-1051" y="8291"/>
                        <a:pt x="3807" y="1440"/>
                        <a:pt x="11156" y="195"/>
                      </a:cubicBezTo>
                      <a:cubicBezTo>
                        <a:pt x="18380" y="-1051"/>
                        <a:pt x="25231" y="3807"/>
                        <a:pt x="26476" y="110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0" name="Freeform 4555">
                  <a:extLst>
                    <a:ext uri="{FF2B5EF4-FFF2-40B4-BE49-F238E27FC236}">
                      <a16:creationId xmlns:a16="http://schemas.microsoft.com/office/drawing/2014/main" id="{80B4B410-A0BB-21EE-B4A6-6D61DF5E463A}"/>
                    </a:ext>
                  </a:extLst>
                </p:cNvPr>
                <p:cNvSpPr/>
                <p:nvPr/>
              </p:nvSpPr>
              <p:spPr>
                <a:xfrm>
                  <a:off x="6346553" y="5795743"/>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2"/>
                        <a:pt x="8504" y="36994"/>
                        <a:pt x="7383" y="32759"/>
                      </a:cubicBezTo>
                      <a:cubicBezTo>
                        <a:pt x="5514" y="26033"/>
                        <a:pt x="2899"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1" name="Freeform 4556">
                  <a:extLst>
                    <a:ext uri="{FF2B5EF4-FFF2-40B4-BE49-F238E27FC236}">
                      <a16:creationId xmlns:a16="http://schemas.microsoft.com/office/drawing/2014/main" id="{54A67334-9C68-6722-7816-E3F23A08D53B}"/>
                    </a:ext>
                  </a:extLst>
                </p:cNvPr>
                <p:cNvSpPr/>
                <p:nvPr/>
              </p:nvSpPr>
              <p:spPr>
                <a:xfrm>
                  <a:off x="6339612" y="5802095"/>
                  <a:ext cx="9466" cy="51318"/>
                </a:xfrm>
                <a:custGeom>
                  <a:avLst/>
                  <a:gdLst>
                    <a:gd name="connsiteX0" fmla="*/ 0 w 9466"/>
                    <a:gd name="connsiteY0" fmla="*/ 0 h 51318"/>
                    <a:gd name="connsiteX1" fmla="*/ 5107 w 9466"/>
                    <a:gd name="connsiteY1" fmla="*/ 18061 h 51318"/>
                    <a:gd name="connsiteX2" fmla="*/ 4609 w 9466"/>
                    <a:gd name="connsiteY2" fmla="*/ 35499 h 51318"/>
                    <a:gd name="connsiteX3" fmla="*/ 9467 w 9466"/>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466" h="51318">
                      <a:moveTo>
                        <a:pt x="0" y="0"/>
                      </a:moveTo>
                      <a:cubicBezTo>
                        <a:pt x="3737" y="7474"/>
                        <a:pt x="4858" y="13826"/>
                        <a:pt x="5107" y="18061"/>
                      </a:cubicBezTo>
                      <a:cubicBezTo>
                        <a:pt x="5481" y="25036"/>
                        <a:pt x="3861" y="28400"/>
                        <a:pt x="4609" y="35499"/>
                      </a:cubicBezTo>
                      <a:cubicBezTo>
                        <a:pt x="5232"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2" name="Freeform 4557">
                  <a:extLst>
                    <a:ext uri="{FF2B5EF4-FFF2-40B4-BE49-F238E27FC236}">
                      <a16:creationId xmlns:a16="http://schemas.microsoft.com/office/drawing/2014/main" id="{AC2D5DEC-0489-EB81-556F-61FB8BA33D32}"/>
                    </a:ext>
                  </a:extLst>
                </p:cNvPr>
                <p:cNvSpPr/>
                <p:nvPr/>
              </p:nvSpPr>
              <p:spPr>
                <a:xfrm>
                  <a:off x="6339417" y="5841634"/>
                  <a:ext cx="26297" cy="26422"/>
                </a:xfrm>
                <a:custGeom>
                  <a:avLst/>
                  <a:gdLst>
                    <a:gd name="connsiteX0" fmla="*/ 195 w 26297"/>
                    <a:gd name="connsiteY0" fmla="*/ 15391 h 26422"/>
                    <a:gd name="connsiteX1" fmla="*/ 10907 w 26297"/>
                    <a:gd name="connsiteY1" fmla="*/ 195 h 26422"/>
                    <a:gd name="connsiteX2" fmla="*/ 26103 w 26297"/>
                    <a:gd name="connsiteY2" fmla="*/ 11032 h 26422"/>
                    <a:gd name="connsiteX3" fmla="*/ 15391 w 26297"/>
                    <a:gd name="connsiteY3" fmla="*/ 26228 h 26422"/>
                    <a:gd name="connsiteX4" fmla="*/ 195 w 26297"/>
                    <a:gd name="connsiteY4" fmla="*/ 15391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22">
                      <a:moveTo>
                        <a:pt x="195" y="15391"/>
                      </a:moveTo>
                      <a:cubicBezTo>
                        <a:pt x="-1051" y="8167"/>
                        <a:pt x="3807" y="1316"/>
                        <a:pt x="10907" y="195"/>
                      </a:cubicBezTo>
                      <a:cubicBezTo>
                        <a:pt x="18131" y="-1051"/>
                        <a:pt x="24858" y="3807"/>
                        <a:pt x="26103" y="11032"/>
                      </a:cubicBezTo>
                      <a:cubicBezTo>
                        <a:pt x="27348" y="18256"/>
                        <a:pt x="22491" y="25106"/>
                        <a:pt x="15391" y="26228"/>
                      </a:cubicBezTo>
                      <a:cubicBezTo>
                        <a:pt x="8291" y="27473"/>
                        <a:pt x="1441" y="22615"/>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3" name="Graphic 2987">
                <a:extLst>
                  <a:ext uri="{FF2B5EF4-FFF2-40B4-BE49-F238E27FC236}">
                    <a16:creationId xmlns:a16="http://schemas.microsoft.com/office/drawing/2014/main" id="{C7D74DC7-4C17-4D51-8916-088F9C75EFF4}"/>
                  </a:ext>
                </a:extLst>
              </p:cNvPr>
              <p:cNvGrpSpPr/>
              <p:nvPr/>
            </p:nvGrpSpPr>
            <p:grpSpPr>
              <a:xfrm>
                <a:off x="6348140" y="5716048"/>
                <a:ext cx="46721" cy="147150"/>
                <a:chOff x="6348140" y="5716048"/>
                <a:chExt cx="46721" cy="147150"/>
              </a:xfrm>
              <a:grpFill/>
            </p:grpSpPr>
            <p:sp>
              <p:nvSpPr>
                <p:cNvPr id="4901" name="Freeform 4559">
                  <a:extLst>
                    <a:ext uri="{FF2B5EF4-FFF2-40B4-BE49-F238E27FC236}">
                      <a16:creationId xmlns:a16="http://schemas.microsoft.com/office/drawing/2014/main" id="{BD7012FE-F114-1A7B-2083-3359CA8D3903}"/>
                    </a:ext>
                  </a:extLst>
                </p:cNvPr>
                <p:cNvSpPr/>
                <p:nvPr/>
              </p:nvSpPr>
              <p:spPr>
                <a:xfrm>
                  <a:off x="6358578" y="5736827"/>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454" y="25535"/>
                        <a:pt x="6070"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2" name="Freeform 4560">
                  <a:extLst>
                    <a:ext uri="{FF2B5EF4-FFF2-40B4-BE49-F238E27FC236}">
                      <a16:creationId xmlns:a16="http://schemas.microsoft.com/office/drawing/2014/main" id="{1E54366E-D389-A6CE-9FA2-D9B4F761EA7A}"/>
                    </a:ext>
                  </a:extLst>
                </p:cNvPr>
                <p:cNvSpPr/>
                <p:nvPr/>
              </p:nvSpPr>
              <p:spPr>
                <a:xfrm>
                  <a:off x="6365270" y="5730724"/>
                  <a:ext cx="9217" cy="51317"/>
                </a:xfrm>
                <a:custGeom>
                  <a:avLst/>
                  <a:gdLst>
                    <a:gd name="connsiteX0" fmla="*/ 9217 w 9217"/>
                    <a:gd name="connsiteY0" fmla="*/ 51318 h 51317"/>
                    <a:gd name="connsiteX1" fmla="*/ 4235 w 9217"/>
                    <a:gd name="connsiteY1" fmla="*/ 33257 h 51317"/>
                    <a:gd name="connsiteX2" fmla="*/ 4858 w 9217"/>
                    <a:gd name="connsiteY2" fmla="*/ 15819 h 51317"/>
                    <a:gd name="connsiteX3" fmla="*/ 0 w 9217"/>
                    <a:gd name="connsiteY3" fmla="*/ 0 h 51317"/>
                  </a:gdLst>
                  <a:ahLst/>
                  <a:cxnLst>
                    <a:cxn ang="0">
                      <a:pos x="connsiteX0" y="connsiteY0"/>
                    </a:cxn>
                    <a:cxn ang="0">
                      <a:pos x="connsiteX1" y="connsiteY1"/>
                    </a:cxn>
                    <a:cxn ang="0">
                      <a:pos x="connsiteX2" y="connsiteY2"/>
                    </a:cxn>
                    <a:cxn ang="0">
                      <a:pos x="connsiteX3" y="connsiteY3"/>
                    </a:cxn>
                  </a:cxnLst>
                  <a:rect l="l" t="t" r="r" b="b"/>
                  <a:pathLst>
                    <a:path w="9217" h="51317">
                      <a:moveTo>
                        <a:pt x="9217" y="51318"/>
                      </a:moveTo>
                      <a:cubicBezTo>
                        <a:pt x="5481" y="43844"/>
                        <a:pt x="4484" y="37492"/>
                        <a:pt x="4235" y="33257"/>
                      </a:cubicBezTo>
                      <a:cubicBezTo>
                        <a:pt x="3861"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3" name="Freeform 4561">
                  <a:extLst>
                    <a:ext uri="{FF2B5EF4-FFF2-40B4-BE49-F238E27FC236}">
                      <a16:creationId xmlns:a16="http://schemas.microsoft.com/office/drawing/2014/main" id="{7D17BE28-14AA-05A8-0F63-38901F17D53D}"/>
                    </a:ext>
                  </a:extLst>
                </p:cNvPr>
                <p:cNvSpPr/>
                <p:nvPr/>
              </p:nvSpPr>
              <p:spPr>
                <a:xfrm>
                  <a:off x="6348140" y="5716048"/>
                  <a:ext cx="26663" cy="26579"/>
                </a:xfrm>
                <a:custGeom>
                  <a:avLst/>
                  <a:gdLst>
                    <a:gd name="connsiteX0" fmla="*/ 26473 w 26663"/>
                    <a:gd name="connsiteY0" fmla="*/ 11064 h 26579"/>
                    <a:gd name="connsiteX1" fmla="*/ 15511 w 26663"/>
                    <a:gd name="connsiteY1" fmla="*/ 26384 h 26579"/>
                    <a:gd name="connsiteX2" fmla="*/ 191 w 26663"/>
                    <a:gd name="connsiteY2" fmla="*/ 15548 h 26579"/>
                    <a:gd name="connsiteX3" fmla="*/ 11152 w 26663"/>
                    <a:gd name="connsiteY3" fmla="*/ 227 h 26579"/>
                    <a:gd name="connsiteX4" fmla="*/ 26473 w 26663"/>
                    <a:gd name="connsiteY4" fmla="*/ 1106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79">
                      <a:moveTo>
                        <a:pt x="26473" y="11064"/>
                      </a:moveTo>
                      <a:cubicBezTo>
                        <a:pt x="27718" y="18288"/>
                        <a:pt x="22736" y="25139"/>
                        <a:pt x="15511" y="26384"/>
                      </a:cubicBezTo>
                      <a:cubicBezTo>
                        <a:pt x="8287" y="27630"/>
                        <a:pt x="1436" y="22772"/>
                        <a:pt x="191" y="15548"/>
                      </a:cubicBezTo>
                      <a:cubicBezTo>
                        <a:pt x="-1055" y="8323"/>
                        <a:pt x="3928" y="1473"/>
                        <a:pt x="11152" y="227"/>
                      </a:cubicBezTo>
                      <a:cubicBezTo>
                        <a:pt x="18501" y="-1143"/>
                        <a:pt x="25352" y="3839"/>
                        <a:pt x="26473"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4" name="Freeform 4562">
                  <a:extLst>
                    <a:ext uri="{FF2B5EF4-FFF2-40B4-BE49-F238E27FC236}">
                      <a16:creationId xmlns:a16="http://schemas.microsoft.com/office/drawing/2014/main" id="{301C9E34-6649-6392-36EA-3205C834A43C}"/>
                    </a:ext>
                  </a:extLst>
                </p:cNvPr>
                <p:cNvSpPr/>
                <p:nvPr/>
              </p:nvSpPr>
              <p:spPr>
                <a:xfrm>
                  <a:off x="6375624" y="5790885"/>
                  <a:ext cx="8919" cy="51567"/>
                </a:xfrm>
                <a:custGeom>
                  <a:avLst/>
                  <a:gdLst>
                    <a:gd name="connsiteX0" fmla="*/ 8455 w 8919"/>
                    <a:gd name="connsiteY0" fmla="*/ 51567 h 51567"/>
                    <a:gd name="connsiteX1" fmla="*/ 7334 w 8919"/>
                    <a:gd name="connsiteY1" fmla="*/ 32759 h 51567"/>
                    <a:gd name="connsiteX2" fmla="*/ 1106 w 8919"/>
                    <a:gd name="connsiteY2" fmla="*/ 16442 h 51567"/>
                    <a:gd name="connsiteX3" fmla="*/ 483 w 8919"/>
                    <a:gd name="connsiteY3" fmla="*/ 0 h 51567"/>
                  </a:gdLst>
                  <a:ahLst/>
                  <a:cxnLst>
                    <a:cxn ang="0">
                      <a:pos x="connsiteX0" y="connsiteY0"/>
                    </a:cxn>
                    <a:cxn ang="0">
                      <a:pos x="connsiteX1" y="connsiteY1"/>
                    </a:cxn>
                    <a:cxn ang="0">
                      <a:pos x="connsiteX2" y="connsiteY2"/>
                    </a:cxn>
                    <a:cxn ang="0">
                      <a:pos x="connsiteX3" y="connsiteY3"/>
                    </a:cxn>
                  </a:cxnLst>
                  <a:rect l="l" t="t" r="r" b="b"/>
                  <a:pathLst>
                    <a:path w="8919" h="51567">
                      <a:moveTo>
                        <a:pt x="8455" y="51567"/>
                      </a:moveTo>
                      <a:cubicBezTo>
                        <a:pt x="9576" y="43222"/>
                        <a:pt x="8455" y="36994"/>
                        <a:pt x="7334" y="32759"/>
                      </a:cubicBezTo>
                      <a:cubicBezTo>
                        <a:pt x="5466" y="26033"/>
                        <a:pt x="2850" y="23417"/>
                        <a:pt x="1106" y="16442"/>
                      </a:cubicBezTo>
                      <a:cubicBezTo>
                        <a:pt x="-513" y="9715"/>
                        <a:pt x="-15" y="3861"/>
                        <a:pt x="4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5" name="Freeform 4563">
                  <a:extLst>
                    <a:ext uri="{FF2B5EF4-FFF2-40B4-BE49-F238E27FC236}">
                      <a16:creationId xmlns:a16="http://schemas.microsoft.com/office/drawing/2014/main" id="{193B545A-20F5-52CE-8D45-F5368BAC0D86}"/>
                    </a:ext>
                  </a:extLst>
                </p:cNvPr>
                <p:cNvSpPr/>
                <p:nvPr/>
              </p:nvSpPr>
              <p:spPr>
                <a:xfrm>
                  <a:off x="6368758" y="5797237"/>
                  <a:ext cx="9341" cy="51317"/>
                </a:xfrm>
                <a:custGeom>
                  <a:avLst/>
                  <a:gdLst>
                    <a:gd name="connsiteX0" fmla="*/ 0 w 9341"/>
                    <a:gd name="connsiteY0" fmla="*/ 0 h 51317"/>
                    <a:gd name="connsiteX1" fmla="*/ 4982 w 9341"/>
                    <a:gd name="connsiteY1" fmla="*/ 18061 h 51317"/>
                    <a:gd name="connsiteX2" fmla="*/ 4484 w 9341"/>
                    <a:gd name="connsiteY2" fmla="*/ 35499 h 51317"/>
                    <a:gd name="connsiteX3" fmla="*/ 9342 w 934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341" h="51317">
                      <a:moveTo>
                        <a:pt x="0" y="0"/>
                      </a:moveTo>
                      <a:cubicBezTo>
                        <a:pt x="3737" y="7474"/>
                        <a:pt x="4733" y="13826"/>
                        <a:pt x="4982" y="18061"/>
                      </a:cubicBezTo>
                      <a:cubicBezTo>
                        <a:pt x="5356" y="25036"/>
                        <a:pt x="3737" y="28399"/>
                        <a:pt x="4484" y="35499"/>
                      </a:cubicBezTo>
                      <a:cubicBezTo>
                        <a:pt x="5107" y="42350"/>
                        <a:pt x="7474" y="47830"/>
                        <a:pt x="9342"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6" name="Freeform 4564">
                  <a:extLst>
                    <a:ext uri="{FF2B5EF4-FFF2-40B4-BE49-F238E27FC236}">
                      <a16:creationId xmlns:a16="http://schemas.microsoft.com/office/drawing/2014/main" id="{511C0CF2-15AC-023E-13B0-09A83A09939C}"/>
                    </a:ext>
                  </a:extLst>
                </p:cNvPr>
                <p:cNvSpPr/>
                <p:nvPr/>
              </p:nvSpPr>
              <p:spPr>
                <a:xfrm>
                  <a:off x="6368439" y="5836652"/>
                  <a:ext cx="26422" cy="26546"/>
                </a:xfrm>
                <a:custGeom>
                  <a:avLst/>
                  <a:gdLst>
                    <a:gd name="connsiteX0" fmla="*/ 195 w 26422"/>
                    <a:gd name="connsiteY0" fmla="*/ 15516 h 26546"/>
                    <a:gd name="connsiteX1" fmla="*/ 11031 w 26422"/>
                    <a:gd name="connsiteY1" fmla="*/ 195 h 26546"/>
                    <a:gd name="connsiteX2" fmla="*/ 26228 w 26422"/>
                    <a:gd name="connsiteY2" fmla="*/ 11031 h 26546"/>
                    <a:gd name="connsiteX3" fmla="*/ 15391 w 26422"/>
                    <a:gd name="connsiteY3" fmla="*/ 26352 h 26546"/>
                    <a:gd name="connsiteX4" fmla="*/ 195 w 26422"/>
                    <a:gd name="connsiteY4" fmla="*/ 15516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195" y="15516"/>
                      </a:moveTo>
                      <a:cubicBezTo>
                        <a:pt x="-1051" y="8291"/>
                        <a:pt x="3807" y="1440"/>
                        <a:pt x="11031" y="195"/>
                      </a:cubicBezTo>
                      <a:cubicBezTo>
                        <a:pt x="18256" y="-1051"/>
                        <a:pt x="24982" y="3807"/>
                        <a:pt x="26228" y="11031"/>
                      </a:cubicBezTo>
                      <a:cubicBezTo>
                        <a:pt x="27473" y="18256"/>
                        <a:pt x="22615" y="25106"/>
                        <a:pt x="15391" y="26352"/>
                      </a:cubicBezTo>
                      <a:cubicBezTo>
                        <a:pt x="8291" y="27598"/>
                        <a:pt x="1440" y="22740"/>
                        <a:pt x="195"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4" name="Graphic 2987">
                <a:extLst>
                  <a:ext uri="{FF2B5EF4-FFF2-40B4-BE49-F238E27FC236}">
                    <a16:creationId xmlns:a16="http://schemas.microsoft.com/office/drawing/2014/main" id="{DBF78470-98E6-D65F-7F35-9A7EB18F2335}"/>
                  </a:ext>
                </a:extLst>
              </p:cNvPr>
              <p:cNvGrpSpPr/>
              <p:nvPr/>
            </p:nvGrpSpPr>
            <p:grpSpPr>
              <a:xfrm>
                <a:off x="6377535" y="5711098"/>
                <a:ext cx="46441" cy="147242"/>
                <a:chOff x="6377535" y="5711098"/>
                <a:chExt cx="46441" cy="147242"/>
              </a:xfrm>
              <a:grpFill/>
            </p:grpSpPr>
            <p:sp>
              <p:nvSpPr>
                <p:cNvPr id="4895" name="Freeform 4566">
                  <a:extLst>
                    <a:ext uri="{FF2B5EF4-FFF2-40B4-BE49-F238E27FC236}">
                      <a16:creationId xmlns:a16="http://schemas.microsoft.com/office/drawing/2014/main" id="{E067DA53-4DA9-39F8-C118-B6EF06E67B77}"/>
                    </a:ext>
                  </a:extLst>
                </p:cNvPr>
                <p:cNvSpPr/>
                <p:nvPr/>
              </p:nvSpPr>
              <p:spPr>
                <a:xfrm>
                  <a:off x="6387950" y="5731969"/>
                  <a:ext cx="8801" cy="51566"/>
                </a:xfrm>
                <a:custGeom>
                  <a:avLst/>
                  <a:gdLst>
                    <a:gd name="connsiteX0" fmla="*/ 488 w 8801"/>
                    <a:gd name="connsiteY0" fmla="*/ 0 h 51566"/>
                    <a:gd name="connsiteX1" fmla="*/ 1609 w 8801"/>
                    <a:gd name="connsiteY1" fmla="*/ 18808 h 51566"/>
                    <a:gd name="connsiteX2" fmla="*/ 7712 w 8801"/>
                    <a:gd name="connsiteY2" fmla="*/ 35125 h 51566"/>
                    <a:gd name="connsiteX3" fmla="*/ 8211 w 880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1" h="51566">
                      <a:moveTo>
                        <a:pt x="488" y="0"/>
                      </a:moveTo>
                      <a:cubicBezTo>
                        <a:pt x="-633" y="8345"/>
                        <a:pt x="363" y="14573"/>
                        <a:pt x="1609" y="18808"/>
                      </a:cubicBezTo>
                      <a:cubicBezTo>
                        <a:pt x="3477" y="25534"/>
                        <a:pt x="6093" y="28150"/>
                        <a:pt x="7712" y="35125"/>
                      </a:cubicBezTo>
                      <a:cubicBezTo>
                        <a:pt x="9331" y="41851"/>
                        <a:pt x="8833" y="47705"/>
                        <a:pt x="821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6" name="Freeform 4567">
                  <a:extLst>
                    <a:ext uri="{FF2B5EF4-FFF2-40B4-BE49-F238E27FC236}">
                      <a16:creationId xmlns:a16="http://schemas.microsoft.com/office/drawing/2014/main" id="{FFAA15C4-439F-4D00-6BC9-AB383ACA983E}"/>
                    </a:ext>
                  </a:extLst>
                </p:cNvPr>
                <p:cNvSpPr/>
                <p:nvPr/>
              </p:nvSpPr>
              <p:spPr>
                <a:xfrm>
                  <a:off x="6394542" y="5725617"/>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969"/>
                        <a:pt x="4359" y="37616"/>
                        <a:pt x="4111" y="33257"/>
                      </a:cubicBezTo>
                      <a:cubicBezTo>
                        <a:pt x="3737" y="26281"/>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7" name="Freeform 4568">
                  <a:extLst>
                    <a:ext uri="{FF2B5EF4-FFF2-40B4-BE49-F238E27FC236}">
                      <a16:creationId xmlns:a16="http://schemas.microsoft.com/office/drawing/2014/main" id="{D4A7E8F6-997C-06FA-6B7F-1DBB2004E65C}"/>
                    </a:ext>
                  </a:extLst>
                </p:cNvPr>
                <p:cNvSpPr/>
                <p:nvPr/>
              </p:nvSpPr>
              <p:spPr>
                <a:xfrm>
                  <a:off x="6377535" y="5711098"/>
                  <a:ext cx="26633" cy="26546"/>
                </a:xfrm>
                <a:custGeom>
                  <a:avLst/>
                  <a:gdLst>
                    <a:gd name="connsiteX0" fmla="*/ 26473 w 26633"/>
                    <a:gd name="connsiteY0" fmla="*/ 11031 h 26546"/>
                    <a:gd name="connsiteX1" fmla="*/ 15511 w 26633"/>
                    <a:gd name="connsiteY1" fmla="*/ 26352 h 26546"/>
                    <a:gd name="connsiteX2" fmla="*/ 191 w 26633"/>
                    <a:gd name="connsiteY2" fmla="*/ 15515 h 26546"/>
                    <a:gd name="connsiteX3" fmla="*/ 11152 w 26633"/>
                    <a:gd name="connsiteY3" fmla="*/ 195 h 26546"/>
                    <a:gd name="connsiteX4" fmla="*/ 26473 w 26633"/>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45">
                      <a:moveTo>
                        <a:pt x="26473" y="11031"/>
                      </a:moveTo>
                      <a:cubicBezTo>
                        <a:pt x="27593" y="18255"/>
                        <a:pt x="22736" y="25106"/>
                        <a:pt x="15511" y="26352"/>
                      </a:cubicBezTo>
                      <a:cubicBezTo>
                        <a:pt x="8287" y="27597"/>
                        <a:pt x="1436" y="22740"/>
                        <a:pt x="191" y="15515"/>
                      </a:cubicBezTo>
                      <a:cubicBezTo>
                        <a:pt x="-1055" y="8291"/>
                        <a:pt x="3928" y="1440"/>
                        <a:pt x="11152" y="195"/>
                      </a:cubicBezTo>
                      <a:cubicBezTo>
                        <a:pt x="18376" y="-1051"/>
                        <a:pt x="25227" y="3807"/>
                        <a:pt x="26473"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8" name="Freeform 4569">
                  <a:extLst>
                    <a:ext uri="{FF2B5EF4-FFF2-40B4-BE49-F238E27FC236}">
                      <a16:creationId xmlns:a16="http://schemas.microsoft.com/office/drawing/2014/main" id="{E9C6CE8F-32BE-1350-419B-5D44C4423CB2}"/>
                    </a:ext>
                  </a:extLst>
                </p:cNvPr>
                <p:cNvSpPr/>
                <p:nvPr/>
              </p:nvSpPr>
              <p:spPr>
                <a:xfrm>
                  <a:off x="6404786" y="5785778"/>
                  <a:ext cx="8802" cy="51691"/>
                </a:xfrm>
                <a:custGeom>
                  <a:avLst/>
                  <a:gdLst>
                    <a:gd name="connsiteX0" fmla="*/ 8314 w 8802"/>
                    <a:gd name="connsiteY0" fmla="*/ 51692 h 51691"/>
                    <a:gd name="connsiteX1" fmla="*/ 7194 w 8802"/>
                    <a:gd name="connsiteY1" fmla="*/ 32883 h 51691"/>
                    <a:gd name="connsiteX2" fmla="*/ 1090 w 8802"/>
                    <a:gd name="connsiteY2" fmla="*/ 16566 h 51691"/>
                    <a:gd name="connsiteX3" fmla="*/ 592 w 8802"/>
                    <a:gd name="connsiteY3" fmla="*/ 0 h 51691"/>
                  </a:gdLst>
                  <a:ahLst/>
                  <a:cxnLst>
                    <a:cxn ang="0">
                      <a:pos x="connsiteX0" y="connsiteY0"/>
                    </a:cxn>
                    <a:cxn ang="0">
                      <a:pos x="connsiteX1" y="connsiteY1"/>
                    </a:cxn>
                    <a:cxn ang="0">
                      <a:pos x="connsiteX2" y="connsiteY2"/>
                    </a:cxn>
                    <a:cxn ang="0">
                      <a:pos x="connsiteX3" y="connsiteY3"/>
                    </a:cxn>
                  </a:cxnLst>
                  <a:rect l="l" t="t" r="r" b="b"/>
                  <a:pathLst>
                    <a:path w="8802" h="51690">
                      <a:moveTo>
                        <a:pt x="8314" y="51692"/>
                      </a:moveTo>
                      <a:cubicBezTo>
                        <a:pt x="9436" y="43346"/>
                        <a:pt x="8439" y="37118"/>
                        <a:pt x="7194" y="32883"/>
                      </a:cubicBezTo>
                      <a:cubicBezTo>
                        <a:pt x="5325" y="26157"/>
                        <a:pt x="2709" y="23542"/>
                        <a:pt x="1090" y="16566"/>
                      </a:cubicBezTo>
                      <a:cubicBezTo>
                        <a:pt x="-530" y="9840"/>
                        <a:pt x="-31" y="3986"/>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9" name="Freeform 4570">
                  <a:extLst>
                    <a:ext uri="{FF2B5EF4-FFF2-40B4-BE49-F238E27FC236}">
                      <a16:creationId xmlns:a16="http://schemas.microsoft.com/office/drawing/2014/main" id="{1CAF02FB-7316-BE17-0490-B56700D15F13}"/>
                    </a:ext>
                  </a:extLst>
                </p:cNvPr>
                <p:cNvSpPr/>
                <p:nvPr/>
              </p:nvSpPr>
              <p:spPr>
                <a:xfrm>
                  <a:off x="6397905" y="5792255"/>
                  <a:ext cx="9092" cy="51442"/>
                </a:xfrm>
                <a:custGeom>
                  <a:avLst/>
                  <a:gdLst>
                    <a:gd name="connsiteX0" fmla="*/ 0 w 9092"/>
                    <a:gd name="connsiteY0" fmla="*/ 0 h 51442"/>
                    <a:gd name="connsiteX1" fmla="*/ 4982 w 9092"/>
                    <a:gd name="connsiteY1" fmla="*/ 18185 h 51442"/>
                    <a:gd name="connsiteX2" fmla="*/ 4359 w 9092"/>
                    <a:gd name="connsiteY2" fmla="*/ 35623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2" y="18185"/>
                      </a:cubicBezTo>
                      <a:cubicBezTo>
                        <a:pt x="5356" y="25161"/>
                        <a:pt x="3737" y="28523"/>
                        <a:pt x="4359" y="35623"/>
                      </a:cubicBezTo>
                      <a:cubicBezTo>
                        <a:pt x="4982" y="42474"/>
                        <a:pt x="7348"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0" name="Freeform 4571">
                  <a:extLst>
                    <a:ext uri="{FF2B5EF4-FFF2-40B4-BE49-F238E27FC236}">
                      <a16:creationId xmlns:a16="http://schemas.microsoft.com/office/drawing/2014/main" id="{268F72D8-16C6-DB18-A90F-9247F399E08A}"/>
                    </a:ext>
                  </a:extLst>
                </p:cNvPr>
                <p:cNvSpPr/>
                <p:nvPr/>
              </p:nvSpPr>
              <p:spPr>
                <a:xfrm>
                  <a:off x="6397585" y="5831794"/>
                  <a:ext cx="26391" cy="26546"/>
                </a:xfrm>
                <a:custGeom>
                  <a:avLst/>
                  <a:gdLst>
                    <a:gd name="connsiteX0" fmla="*/ 195 w 26391"/>
                    <a:gd name="connsiteY0" fmla="*/ 15515 h 26546"/>
                    <a:gd name="connsiteX1" fmla="*/ 11031 w 26391"/>
                    <a:gd name="connsiteY1" fmla="*/ 195 h 26546"/>
                    <a:gd name="connsiteX2" fmla="*/ 26227 w 26391"/>
                    <a:gd name="connsiteY2" fmla="*/ 11031 h 26546"/>
                    <a:gd name="connsiteX3" fmla="*/ 15391 w 26391"/>
                    <a:gd name="connsiteY3" fmla="*/ 26352 h 26546"/>
                    <a:gd name="connsiteX4" fmla="*/ 195 w 26391"/>
                    <a:gd name="connsiteY4" fmla="*/ 1551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45">
                      <a:moveTo>
                        <a:pt x="195" y="15515"/>
                      </a:moveTo>
                      <a:cubicBezTo>
                        <a:pt x="-1051" y="8291"/>
                        <a:pt x="3807" y="1440"/>
                        <a:pt x="11031" y="195"/>
                      </a:cubicBezTo>
                      <a:cubicBezTo>
                        <a:pt x="18256" y="-1051"/>
                        <a:pt x="24982" y="3807"/>
                        <a:pt x="26227" y="11031"/>
                      </a:cubicBezTo>
                      <a:cubicBezTo>
                        <a:pt x="27348" y="18255"/>
                        <a:pt x="22615" y="25106"/>
                        <a:pt x="15391" y="26352"/>
                      </a:cubicBezTo>
                      <a:cubicBezTo>
                        <a:pt x="8167" y="27597"/>
                        <a:pt x="1316" y="22740"/>
                        <a:pt x="195" y="1551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5" name="Graphic 2987">
                <a:extLst>
                  <a:ext uri="{FF2B5EF4-FFF2-40B4-BE49-F238E27FC236}">
                    <a16:creationId xmlns:a16="http://schemas.microsoft.com/office/drawing/2014/main" id="{37BE0382-3792-D62E-18EF-5256344E5FED}"/>
                  </a:ext>
                </a:extLst>
              </p:cNvPr>
              <p:cNvGrpSpPr/>
              <p:nvPr/>
            </p:nvGrpSpPr>
            <p:grpSpPr>
              <a:xfrm>
                <a:off x="6406837" y="5706119"/>
                <a:ext cx="46034" cy="147363"/>
                <a:chOff x="6406837" y="5706119"/>
                <a:chExt cx="46034" cy="147363"/>
              </a:xfrm>
              <a:grpFill/>
            </p:grpSpPr>
            <p:sp>
              <p:nvSpPr>
                <p:cNvPr id="4889" name="Freeform 4573">
                  <a:extLst>
                    <a:ext uri="{FF2B5EF4-FFF2-40B4-BE49-F238E27FC236}">
                      <a16:creationId xmlns:a16="http://schemas.microsoft.com/office/drawing/2014/main" id="{4AE91DDD-29DB-E41C-9BA7-43346DD1374E}"/>
                    </a:ext>
                  </a:extLst>
                </p:cNvPr>
                <p:cNvSpPr/>
                <p:nvPr/>
              </p:nvSpPr>
              <p:spPr>
                <a:xfrm>
                  <a:off x="6417218" y="5726987"/>
                  <a:ext cx="8681" cy="51691"/>
                </a:xfrm>
                <a:custGeom>
                  <a:avLst/>
                  <a:gdLst>
                    <a:gd name="connsiteX0" fmla="*/ 491 w 8681"/>
                    <a:gd name="connsiteY0" fmla="*/ 0 h 51691"/>
                    <a:gd name="connsiteX1" fmla="*/ 1488 w 8681"/>
                    <a:gd name="connsiteY1" fmla="*/ 18808 h 51691"/>
                    <a:gd name="connsiteX2" fmla="*/ 7591 w 8681"/>
                    <a:gd name="connsiteY2" fmla="*/ 35125 h 51691"/>
                    <a:gd name="connsiteX3" fmla="*/ 8089 w 868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681" h="51690">
                      <a:moveTo>
                        <a:pt x="491" y="0"/>
                      </a:moveTo>
                      <a:cubicBezTo>
                        <a:pt x="-629" y="8346"/>
                        <a:pt x="367" y="14573"/>
                        <a:pt x="1488" y="18808"/>
                      </a:cubicBezTo>
                      <a:cubicBezTo>
                        <a:pt x="3356" y="25535"/>
                        <a:pt x="5972" y="28150"/>
                        <a:pt x="7591" y="35125"/>
                      </a:cubicBezTo>
                      <a:cubicBezTo>
                        <a:pt x="9210" y="41852"/>
                        <a:pt x="8713" y="47706"/>
                        <a:pt x="8089"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0" name="Freeform 4574">
                  <a:extLst>
                    <a:ext uri="{FF2B5EF4-FFF2-40B4-BE49-F238E27FC236}">
                      <a16:creationId xmlns:a16="http://schemas.microsoft.com/office/drawing/2014/main" id="{8B5809E1-CDAF-B44B-AA3B-F08F45B464C7}"/>
                    </a:ext>
                  </a:extLst>
                </p:cNvPr>
                <p:cNvSpPr/>
                <p:nvPr/>
              </p:nvSpPr>
              <p:spPr>
                <a:xfrm>
                  <a:off x="6423812" y="5720759"/>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5"/>
                        <a:pt x="4360" y="37617"/>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1" name="Freeform 4575">
                  <a:extLst>
                    <a:ext uri="{FF2B5EF4-FFF2-40B4-BE49-F238E27FC236}">
                      <a16:creationId xmlns:a16="http://schemas.microsoft.com/office/drawing/2014/main" id="{51077C14-50BE-5500-D583-EE5530A785F8}"/>
                    </a:ext>
                  </a:extLst>
                </p:cNvPr>
                <p:cNvSpPr/>
                <p:nvPr/>
              </p:nvSpPr>
              <p:spPr>
                <a:xfrm>
                  <a:off x="6406837" y="5706119"/>
                  <a:ext cx="26603" cy="26542"/>
                </a:xfrm>
                <a:custGeom>
                  <a:avLst/>
                  <a:gdLst>
                    <a:gd name="connsiteX0" fmla="*/ 26442 w 26603"/>
                    <a:gd name="connsiteY0" fmla="*/ 11152 h 26542"/>
                    <a:gd name="connsiteX1" fmla="*/ 15357 w 26603"/>
                    <a:gd name="connsiteY1" fmla="*/ 26348 h 26542"/>
                    <a:gd name="connsiteX2" fmla="*/ 161 w 26603"/>
                    <a:gd name="connsiteY2" fmla="*/ 15511 h 26542"/>
                    <a:gd name="connsiteX3" fmla="*/ 11122 w 26603"/>
                    <a:gd name="connsiteY3" fmla="*/ 191 h 26542"/>
                    <a:gd name="connsiteX4" fmla="*/ 26442 w 26603"/>
                    <a:gd name="connsiteY4" fmla="*/ 11152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2">
                      <a:moveTo>
                        <a:pt x="26442" y="11152"/>
                      </a:moveTo>
                      <a:cubicBezTo>
                        <a:pt x="27564" y="18376"/>
                        <a:pt x="22706" y="25103"/>
                        <a:pt x="15357" y="26348"/>
                      </a:cubicBezTo>
                      <a:cubicBezTo>
                        <a:pt x="8133" y="27594"/>
                        <a:pt x="1281" y="22736"/>
                        <a:pt x="161" y="15511"/>
                      </a:cubicBezTo>
                      <a:cubicBezTo>
                        <a:pt x="-961" y="8287"/>
                        <a:pt x="3897" y="1436"/>
                        <a:pt x="11122" y="191"/>
                      </a:cubicBezTo>
                      <a:cubicBezTo>
                        <a:pt x="18470" y="-1055"/>
                        <a:pt x="25322" y="3928"/>
                        <a:pt x="2644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2" name="Freeform 4576">
                  <a:extLst>
                    <a:ext uri="{FF2B5EF4-FFF2-40B4-BE49-F238E27FC236}">
                      <a16:creationId xmlns:a16="http://schemas.microsoft.com/office/drawing/2014/main" id="{48C52964-7D09-EE58-474E-D6AC2C7AE95C}"/>
                    </a:ext>
                  </a:extLst>
                </p:cNvPr>
                <p:cNvSpPr/>
                <p:nvPr/>
              </p:nvSpPr>
              <p:spPr>
                <a:xfrm>
                  <a:off x="6433933" y="5781045"/>
                  <a:ext cx="8681" cy="51566"/>
                </a:xfrm>
                <a:custGeom>
                  <a:avLst/>
                  <a:gdLst>
                    <a:gd name="connsiteX0" fmla="*/ 8190 w 8681"/>
                    <a:gd name="connsiteY0" fmla="*/ 51567 h 51566"/>
                    <a:gd name="connsiteX1" fmla="*/ 7193 w 8681"/>
                    <a:gd name="connsiteY1" fmla="*/ 32758 h 51566"/>
                    <a:gd name="connsiteX2" fmla="*/ 1090 w 8681"/>
                    <a:gd name="connsiteY2" fmla="*/ 16441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0" y="43222"/>
                        <a:pt x="8315" y="36994"/>
                        <a:pt x="7193" y="32758"/>
                      </a:cubicBezTo>
                      <a:cubicBezTo>
                        <a:pt x="5325" y="26033"/>
                        <a:pt x="2709" y="23292"/>
                        <a:pt x="1090" y="16441"/>
                      </a:cubicBezTo>
                      <a:cubicBezTo>
                        <a:pt x="-529"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3" name="Freeform 4577">
                  <a:extLst>
                    <a:ext uri="{FF2B5EF4-FFF2-40B4-BE49-F238E27FC236}">
                      <a16:creationId xmlns:a16="http://schemas.microsoft.com/office/drawing/2014/main" id="{4FFF263B-AB7C-085D-6CD0-71CC329DBBC7}"/>
                    </a:ext>
                  </a:extLst>
                </p:cNvPr>
                <p:cNvSpPr/>
                <p:nvPr/>
              </p:nvSpPr>
              <p:spPr>
                <a:xfrm>
                  <a:off x="6427051" y="5787397"/>
                  <a:ext cx="9092" cy="51442"/>
                </a:xfrm>
                <a:custGeom>
                  <a:avLst/>
                  <a:gdLst>
                    <a:gd name="connsiteX0" fmla="*/ 0 w 9092"/>
                    <a:gd name="connsiteY0" fmla="*/ 0 h 51442"/>
                    <a:gd name="connsiteX1" fmla="*/ 4983 w 9092"/>
                    <a:gd name="connsiteY1" fmla="*/ 18186 h 51442"/>
                    <a:gd name="connsiteX2" fmla="*/ 4360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3" y="18186"/>
                      </a:cubicBezTo>
                      <a:cubicBezTo>
                        <a:pt x="5356" y="25161"/>
                        <a:pt x="3737" y="28524"/>
                        <a:pt x="4360" y="35624"/>
                      </a:cubicBezTo>
                      <a:cubicBezTo>
                        <a:pt x="4983" y="42474"/>
                        <a:pt x="7225"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4" name="Freeform 4578">
                  <a:extLst>
                    <a:ext uri="{FF2B5EF4-FFF2-40B4-BE49-F238E27FC236}">
                      <a16:creationId xmlns:a16="http://schemas.microsoft.com/office/drawing/2014/main" id="{6B019260-AA6B-2BAA-B044-168353708DBE}"/>
                    </a:ext>
                  </a:extLst>
                </p:cNvPr>
                <p:cNvSpPr/>
                <p:nvPr/>
              </p:nvSpPr>
              <p:spPr>
                <a:xfrm>
                  <a:off x="6426641" y="5826974"/>
                  <a:ext cx="26229" cy="26509"/>
                </a:xfrm>
                <a:custGeom>
                  <a:avLst/>
                  <a:gdLst>
                    <a:gd name="connsiteX0" fmla="*/ 161 w 26229"/>
                    <a:gd name="connsiteY0" fmla="*/ 15478 h 26509"/>
                    <a:gd name="connsiteX1" fmla="*/ 10998 w 26229"/>
                    <a:gd name="connsiteY1" fmla="*/ 158 h 26509"/>
                    <a:gd name="connsiteX2" fmla="*/ 26069 w 26229"/>
                    <a:gd name="connsiteY2" fmla="*/ 11243 h 26509"/>
                    <a:gd name="connsiteX3" fmla="*/ 15233 w 26229"/>
                    <a:gd name="connsiteY3" fmla="*/ 26315 h 26509"/>
                    <a:gd name="connsiteX4" fmla="*/ 161 w 26229"/>
                    <a:gd name="connsiteY4" fmla="*/ 15478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509">
                      <a:moveTo>
                        <a:pt x="161" y="15478"/>
                      </a:moveTo>
                      <a:cubicBezTo>
                        <a:pt x="-960" y="8254"/>
                        <a:pt x="3898" y="1403"/>
                        <a:pt x="10998" y="158"/>
                      </a:cubicBezTo>
                      <a:cubicBezTo>
                        <a:pt x="18222" y="-963"/>
                        <a:pt x="24948" y="4019"/>
                        <a:pt x="26069" y="11243"/>
                      </a:cubicBezTo>
                      <a:cubicBezTo>
                        <a:pt x="27190" y="18468"/>
                        <a:pt x="22332" y="25194"/>
                        <a:pt x="15233" y="26315"/>
                      </a:cubicBezTo>
                      <a:cubicBezTo>
                        <a:pt x="8008" y="27560"/>
                        <a:pt x="1282" y="22702"/>
                        <a:pt x="161" y="154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6" name="Graphic 2987">
                <a:extLst>
                  <a:ext uri="{FF2B5EF4-FFF2-40B4-BE49-F238E27FC236}">
                    <a16:creationId xmlns:a16="http://schemas.microsoft.com/office/drawing/2014/main" id="{1F45FD26-70C8-8174-1FAD-ADAC43888C15}"/>
                  </a:ext>
                </a:extLst>
              </p:cNvPr>
              <p:cNvGrpSpPr/>
              <p:nvPr/>
            </p:nvGrpSpPr>
            <p:grpSpPr>
              <a:xfrm>
                <a:off x="6436232" y="5701544"/>
                <a:ext cx="45785" cy="147417"/>
                <a:chOff x="6436232" y="5701544"/>
                <a:chExt cx="45785" cy="147417"/>
              </a:xfrm>
              <a:grpFill/>
            </p:grpSpPr>
            <p:sp>
              <p:nvSpPr>
                <p:cNvPr id="4883" name="Freeform 4580">
                  <a:extLst>
                    <a:ext uri="{FF2B5EF4-FFF2-40B4-BE49-F238E27FC236}">
                      <a16:creationId xmlns:a16="http://schemas.microsoft.com/office/drawing/2014/main" id="{B6F5FB97-3A04-776C-6D9B-36C3BE4C3E5B}"/>
                    </a:ext>
                  </a:extLst>
                </p:cNvPr>
                <p:cNvSpPr/>
                <p:nvPr/>
              </p:nvSpPr>
              <p:spPr>
                <a:xfrm>
                  <a:off x="6446558" y="5722378"/>
                  <a:ext cx="8736" cy="51567"/>
                </a:xfrm>
                <a:custGeom>
                  <a:avLst/>
                  <a:gdLst>
                    <a:gd name="connsiteX0" fmla="*/ 546 w 8736"/>
                    <a:gd name="connsiteY0" fmla="*/ 0 h 51567"/>
                    <a:gd name="connsiteX1" fmla="*/ 1543 w 8736"/>
                    <a:gd name="connsiteY1" fmla="*/ 18808 h 51567"/>
                    <a:gd name="connsiteX2" fmla="*/ 7646 w 8736"/>
                    <a:gd name="connsiteY2" fmla="*/ 35125 h 51567"/>
                    <a:gd name="connsiteX3" fmla="*/ 8145 w 8736"/>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736" h="51567">
                      <a:moveTo>
                        <a:pt x="546" y="0"/>
                      </a:moveTo>
                      <a:cubicBezTo>
                        <a:pt x="-699" y="8346"/>
                        <a:pt x="422" y="14573"/>
                        <a:pt x="1543" y="18808"/>
                      </a:cubicBezTo>
                      <a:cubicBezTo>
                        <a:pt x="3412" y="25535"/>
                        <a:pt x="6027" y="28275"/>
                        <a:pt x="7646" y="35125"/>
                      </a:cubicBezTo>
                      <a:cubicBezTo>
                        <a:pt x="9266" y="41852"/>
                        <a:pt x="8768" y="47706"/>
                        <a:pt x="81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4" name="Freeform 4581">
                  <a:extLst>
                    <a:ext uri="{FF2B5EF4-FFF2-40B4-BE49-F238E27FC236}">
                      <a16:creationId xmlns:a16="http://schemas.microsoft.com/office/drawing/2014/main" id="{A71C6DD7-C4DE-C389-AE3F-F2EE593A7F9D}"/>
                    </a:ext>
                  </a:extLst>
                </p:cNvPr>
                <p:cNvSpPr/>
                <p:nvPr/>
              </p:nvSpPr>
              <p:spPr>
                <a:xfrm>
                  <a:off x="6453332" y="5716275"/>
                  <a:ext cx="8843" cy="51442"/>
                </a:xfrm>
                <a:custGeom>
                  <a:avLst/>
                  <a:gdLst>
                    <a:gd name="connsiteX0" fmla="*/ 8844 w 8843"/>
                    <a:gd name="connsiteY0" fmla="*/ 51442 h 51442"/>
                    <a:gd name="connsiteX1" fmla="*/ 3986 w 8843"/>
                    <a:gd name="connsiteY1" fmla="*/ 33257 h 51442"/>
                    <a:gd name="connsiteX2" fmla="*/ 4733 w 8843"/>
                    <a:gd name="connsiteY2" fmla="*/ 15819 h 51442"/>
                    <a:gd name="connsiteX3" fmla="*/ 0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51442"/>
                      </a:moveTo>
                      <a:cubicBezTo>
                        <a:pt x="5107" y="43844"/>
                        <a:pt x="4111" y="37616"/>
                        <a:pt x="3986" y="33257"/>
                      </a:cubicBezTo>
                      <a:cubicBezTo>
                        <a:pt x="3613" y="26281"/>
                        <a:pt x="5232"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5" name="Freeform 4582">
                  <a:extLst>
                    <a:ext uri="{FF2B5EF4-FFF2-40B4-BE49-F238E27FC236}">
                      <a16:creationId xmlns:a16="http://schemas.microsoft.com/office/drawing/2014/main" id="{12BF9BE2-F16C-5F3B-BD2C-C58F163F3FF3}"/>
                    </a:ext>
                  </a:extLst>
                </p:cNvPr>
                <p:cNvSpPr/>
                <p:nvPr/>
              </p:nvSpPr>
              <p:spPr>
                <a:xfrm>
                  <a:off x="6436232" y="5701544"/>
                  <a:ext cx="26599" cy="26472"/>
                </a:xfrm>
                <a:custGeom>
                  <a:avLst/>
                  <a:gdLst>
                    <a:gd name="connsiteX0" fmla="*/ 26442 w 26599"/>
                    <a:gd name="connsiteY0" fmla="*/ 11243 h 26472"/>
                    <a:gd name="connsiteX1" fmla="*/ 15357 w 26599"/>
                    <a:gd name="connsiteY1" fmla="*/ 26315 h 26472"/>
                    <a:gd name="connsiteX2" fmla="*/ 161 w 26599"/>
                    <a:gd name="connsiteY2" fmla="*/ 15229 h 26472"/>
                    <a:gd name="connsiteX3" fmla="*/ 11246 w 26599"/>
                    <a:gd name="connsiteY3" fmla="*/ 158 h 26472"/>
                    <a:gd name="connsiteX4" fmla="*/ 26442 w 26599"/>
                    <a:gd name="connsiteY4" fmla="*/ 11243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2">
                      <a:moveTo>
                        <a:pt x="26442" y="11243"/>
                      </a:moveTo>
                      <a:cubicBezTo>
                        <a:pt x="27563" y="18468"/>
                        <a:pt x="22581" y="25194"/>
                        <a:pt x="15357" y="26315"/>
                      </a:cubicBezTo>
                      <a:cubicBezTo>
                        <a:pt x="8132" y="27436"/>
                        <a:pt x="1282" y="22453"/>
                        <a:pt x="161" y="15229"/>
                      </a:cubicBezTo>
                      <a:cubicBezTo>
                        <a:pt x="-960" y="8005"/>
                        <a:pt x="3897" y="1279"/>
                        <a:pt x="11246" y="158"/>
                      </a:cubicBezTo>
                      <a:cubicBezTo>
                        <a:pt x="18595" y="-963"/>
                        <a:pt x="25321" y="4019"/>
                        <a:pt x="26442"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6" name="Freeform 4583">
                  <a:extLst>
                    <a:ext uri="{FF2B5EF4-FFF2-40B4-BE49-F238E27FC236}">
                      <a16:creationId xmlns:a16="http://schemas.microsoft.com/office/drawing/2014/main" id="{652D77C5-E59E-2A86-A8BC-DD3ED9EF6533}"/>
                    </a:ext>
                  </a:extLst>
                </p:cNvPr>
                <p:cNvSpPr/>
                <p:nvPr/>
              </p:nvSpPr>
              <p:spPr>
                <a:xfrm>
                  <a:off x="6463079" y="5776561"/>
                  <a:ext cx="8680" cy="51567"/>
                </a:xfrm>
                <a:custGeom>
                  <a:avLst/>
                  <a:gdLst>
                    <a:gd name="connsiteX0" fmla="*/ 8189 w 8680"/>
                    <a:gd name="connsiteY0" fmla="*/ 51567 h 51567"/>
                    <a:gd name="connsiteX1" fmla="*/ 7193 w 8680"/>
                    <a:gd name="connsiteY1" fmla="*/ 32759 h 51567"/>
                    <a:gd name="connsiteX2" fmla="*/ 1089 w 8680"/>
                    <a:gd name="connsiteY2" fmla="*/ 16442 h 51567"/>
                    <a:gd name="connsiteX3" fmla="*/ 591 w 8680"/>
                    <a:gd name="connsiteY3" fmla="*/ 0 h 51567"/>
                  </a:gdLst>
                  <a:ahLst/>
                  <a:cxnLst>
                    <a:cxn ang="0">
                      <a:pos x="connsiteX0" y="connsiteY0"/>
                    </a:cxn>
                    <a:cxn ang="0">
                      <a:pos x="connsiteX1" y="connsiteY1"/>
                    </a:cxn>
                    <a:cxn ang="0">
                      <a:pos x="connsiteX2" y="connsiteY2"/>
                    </a:cxn>
                    <a:cxn ang="0">
                      <a:pos x="connsiteX3" y="connsiteY3"/>
                    </a:cxn>
                  </a:cxnLst>
                  <a:rect l="l" t="t" r="r" b="b"/>
                  <a:pathLst>
                    <a:path w="8680" h="51567">
                      <a:moveTo>
                        <a:pt x="8189" y="51567"/>
                      </a:moveTo>
                      <a:cubicBezTo>
                        <a:pt x="9311" y="43222"/>
                        <a:pt x="8314" y="36994"/>
                        <a:pt x="7193" y="32759"/>
                      </a:cubicBezTo>
                      <a:cubicBezTo>
                        <a:pt x="5325" y="26033"/>
                        <a:pt x="2709" y="23292"/>
                        <a:pt x="1089" y="16442"/>
                      </a:cubicBezTo>
                      <a:cubicBezTo>
                        <a:pt x="-529" y="9715"/>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7" name="Freeform 4584">
                  <a:extLst>
                    <a:ext uri="{FF2B5EF4-FFF2-40B4-BE49-F238E27FC236}">
                      <a16:creationId xmlns:a16="http://schemas.microsoft.com/office/drawing/2014/main" id="{02FD91D9-6CD5-D4E0-12A8-51E6D8EC1085}"/>
                    </a:ext>
                  </a:extLst>
                </p:cNvPr>
                <p:cNvSpPr/>
                <p:nvPr/>
              </p:nvSpPr>
              <p:spPr>
                <a:xfrm>
                  <a:off x="6456198" y="5782789"/>
                  <a:ext cx="8967" cy="51442"/>
                </a:xfrm>
                <a:custGeom>
                  <a:avLst/>
                  <a:gdLst>
                    <a:gd name="connsiteX0" fmla="*/ 0 w 8967"/>
                    <a:gd name="connsiteY0" fmla="*/ 0 h 51442"/>
                    <a:gd name="connsiteX1" fmla="*/ 4857 w 8967"/>
                    <a:gd name="connsiteY1" fmla="*/ 18185 h 51442"/>
                    <a:gd name="connsiteX2" fmla="*/ 4235 w 8967"/>
                    <a:gd name="connsiteY2" fmla="*/ 35624 h 51442"/>
                    <a:gd name="connsiteX3" fmla="*/ 8968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0" y="0"/>
                      </a:moveTo>
                      <a:cubicBezTo>
                        <a:pt x="3737" y="7598"/>
                        <a:pt x="4733" y="13826"/>
                        <a:pt x="4857" y="18185"/>
                      </a:cubicBezTo>
                      <a:cubicBezTo>
                        <a:pt x="5231" y="25161"/>
                        <a:pt x="3612" y="28524"/>
                        <a:pt x="4235" y="35624"/>
                      </a:cubicBezTo>
                      <a:cubicBezTo>
                        <a:pt x="4857" y="42474"/>
                        <a:pt x="7100" y="47955"/>
                        <a:pt x="896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8" name="Freeform 4585">
                  <a:extLst>
                    <a:ext uri="{FF2B5EF4-FFF2-40B4-BE49-F238E27FC236}">
                      <a16:creationId xmlns:a16="http://schemas.microsoft.com/office/drawing/2014/main" id="{6DC8A053-D5F0-C372-B7AF-551CF562A776}"/>
                    </a:ext>
                  </a:extLst>
                </p:cNvPr>
                <p:cNvSpPr/>
                <p:nvPr/>
              </p:nvSpPr>
              <p:spPr>
                <a:xfrm>
                  <a:off x="6455663" y="5822490"/>
                  <a:ext cx="26354" cy="26471"/>
                </a:xfrm>
                <a:custGeom>
                  <a:avLst/>
                  <a:gdLst>
                    <a:gd name="connsiteX0" fmla="*/ 161 w 26354"/>
                    <a:gd name="connsiteY0" fmla="*/ 15229 h 26471"/>
                    <a:gd name="connsiteX1" fmla="*/ 11122 w 26354"/>
                    <a:gd name="connsiteY1" fmla="*/ 158 h 26471"/>
                    <a:gd name="connsiteX2" fmla="*/ 26194 w 26354"/>
                    <a:gd name="connsiteY2" fmla="*/ 11243 h 26471"/>
                    <a:gd name="connsiteX3" fmla="*/ 15232 w 26354"/>
                    <a:gd name="connsiteY3" fmla="*/ 26314 h 26471"/>
                    <a:gd name="connsiteX4" fmla="*/ 161 w 26354"/>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470">
                      <a:moveTo>
                        <a:pt x="161" y="15229"/>
                      </a:moveTo>
                      <a:cubicBezTo>
                        <a:pt x="-960" y="8005"/>
                        <a:pt x="3897" y="1279"/>
                        <a:pt x="11122" y="158"/>
                      </a:cubicBezTo>
                      <a:cubicBezTo>
                        <a:pt x="18346" y="-963"/>
                        <a:pt x="25072" y="4019"/>
                        <a:pt x="26194" y="11243"/>
                      </a:cubicBezTo>
                      <a:cubicBezTo>
                        <a:pt x="27314" y="18468"/>
                        <a:pt x="22457" y="25193"/>
                        <a:pt x="15232" y="26314"/>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7" name="Graphic 2987">
                <a:extLst>
                  <a:ext uri="{FF2B5EF4-FFF2-40B4-BE49-F238E27FC236}">
                    <a16:creationId xmlns:a16="http://schemas.microsoft.com/office/drawing/2014/main" id="{1771B48E-8623-FEF7-D01D-DC8171A563E1}"/>
                  </a:ext>
                </a:extLst>
              </p:cNvPr>
              <p:cNvGrpSpPr/>
              <p:nvPr/>
            </p:nvGrpSpPr>
            <p:grpSpPr>
              <a:xfrm>
                <a:off x="6465631" y="5696935"/>
                <a:ext cx="45408" cy="147514"/>
                <a:chOff x="6465631" y="5696935"/>
                <a:chExt cx="45408" cy="147514"/>
              </a:xfrm>
              <a:grpFill/>
            </p:grpSpPr>
            <p:sp>
              <p:nvSpPr>
                <p:cNvPr id="4877" name="Freeform 4587">
                  <a:extLst>
                    <a:ext uri="{FF2B5EF4-FFF2-40B4-BE49-F238E27FC236}">
                      <a16:creationId xmlns:a16="http://schemas.microsoft.com/office/drawing/2014/main" id="{0066DC09-A735-D25A-6BC3-3C8168ED632E}"/>
                    </a:ext>
                  </a:extLst>
                </p:cNvPr>
                <p:cNvSpPr/>
                <p:nvPr/>
              </p:nvSpPr>
              <p:spPr>
                <a:xfrm>
                  <a:off x="6475803" y="5717770"/>
                  <a:ext cx="8575" cy="51567"/>
                </a:xfrm>
                <a:custGeom>
                  <a:avLst/>
                  <a:gdLst>
                    <a:gd name="connsiteX0" fmla="*/ 573 w 8575"/>
                    <a:gd name="connsiteY0" fmla="*/ 0 h 51567"/>
                    <a:gd name="connsiteX1" fmla="*/ 1569 w 8575"/>
                    <a:gd name="connsiteY1" fmla="*/ 18808 h 51567"/>
                    <a:gd name="connsiteX2" fmla="*/ 7548 w 8575"/>
                    <a:gd name="connsiteY2" fmla="*/ 35125 h 51567"/>
                    <a:gd name="connsiteX3" fmla="*/ 7921 w 85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575" h="51567">
                      <a:moveTo>
                        <a:pt x="573" y="0"/>
                      </a:moveTo>
                      <a:cubicBezTo>
                        <a:pt x="-673" y="8346"/>
                        <a:pt x="323" y="14573"/>
                        <a:pt x="1569" y="18808"/>
                      </a:cubicBezTo>
                      <a:cubicBezTo>
                        <a:pt x="3437" y="25535"/>
                        <a:pt x="6053" y="28274"/>
                        <a:pt x="7548" y="35125"/>
                      </a:cubicBezTo>
                      <a:cubicBezTo>
                        <a:pt x="9042" y="41852"/>
                        <a:pt x="8668" y="47706"/>
                        <a:pt x="79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8" name="Freeform 4588">
                  <a:extLst>
                    <a:ext uri="{FF2B5EF4-FFF2-40B4-BE49-F238E27FC236}">
                      <a16:creationId xmlns:a16="http://schemas.microsoft.com/office/drawing/2014/main" id="{1D9B328E-2BA1-A752-E05A-CA38807EADBB}"/>
                    </a:ext>
                  </a:extLst>
                </p:cNvPr>
                <p:cNvSpPr/>
                <p:nvPr/>
              </p:nvSpPr>
              <p:spPr>
                <a:xfrm>
                  <a:off x="6482729" y="5711666"/>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1"/>
                        <a:pt x="5231" y="22919"/>
                        <a:pt x="4609" y="15819"/>
                      </a:cubicBezTo>
                      <a:cubicBezTo>
                        <a:pt x="3986"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9" name="Freeform 4589">
                  <a:extLst>
                    <a:ext uri="{FF2B5EF4-FFF2-40B4-BE49-F238E27FC236}">
                      <a16:creationId xmlns:a16="http://schemas.microsoft.com/office/drawing/2014/main" id="{A22F07AD-3FBF-B9AB-6054-CD1B1440B2EC}"/>
                    </a:ext>
                  </a:extLst>
                </p:cNvPr>
                <p:cNvSpPr/>
                <p:nvPr/>
              </p:nvSpPr>
              <p:spPr>
                <a:xfrm>
                  <a:off x="6465631" y="5696935"/>
                  <a:ext cx="26597" cy="26596"/>
                </a:xfrm>
                <a:custGeom>
                  <a:avLst/>
                  <a:gdLst>
                    <a:gd name="connsiteX0" fmla="*/ 26440 w 26597"/>
                    <a:gd name="connsiteY0" fmla="*/ 11243 h 26596"/>
                    <a:gd name="connsiteX1" fmla="*/ 15354 w 26597"/>
                    <a:gd name="connsiteY1" fmla="*/ 26439 h 26596"/>
                    <a:gd name="connsiteX2" fmla="*/ 157 w 26597"/>
                    <a:gd name="connsiteY2" fmla="*/ 15354 h 26596"/>
                    <a:gd name="connsiteX3" fmla="*/ 11243 w 26597"/>
                    <a:gd name="connsiteY3" fmla="*/ 158 h 26596"/>
                    <a:gd name="connsiteX4" fmla="*/ 26440 w 26597"/>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7" h="26595">
                      <a:moveTo>
                        <a:pt x="26440" y="11243"/>
                      </a:moveTo>
                      <a:cubicBezTo>
                        <a:pt x="27560" y="18468"/>
                        <a:pt x="22578" y="25194"/>
                        <a:pt x="15354" y="26439"/>
                      </a:cubicBezTo>
                      <a:cubicBezTo>
                        <a:pt x="8129" y="27560"/>
                        <a:pt x="1279" y="22578"/>
                        <a:pt x="157" y="15354"/>
                      </a:cubicBezTo>
                      <a:cubicBezTo>
                        <a:pt x="-963" y="8129"/>
                        <a:pt x="4019" y="1403"/>
                        <a:pt x="11243" y="158"/>
                      </a:cubicBezTo>
                      <a:cubicBezTo>
                        <a:pt x="18468" y="-963"/>
                        <a:pt x="25318" y="4019"/>
                        <a:pt x="26440"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0" name="Freeform 4590">
                  <a:extLst>
                    <a:ext uri="{FF2B5EF4-FFF2-40B4-BE49-F238E27FC236}">
                      <a16:creationId xmlns:a16="http://schemas.microsoft.com/office/drawing/2014/main" id="{7EC59217-502B-1217-5570-7641FE20FFF0}"/>
                    </a:ext>
                  </a:extLst>
                </p:cNvPr>
                <p:cNvSpPr/>
                <p:nvPr/>
              </p:nvSpPr>
              <p:spPr>
                <a:xfrm>
                  <a:off x="6492459" y="5772077"/>
                  <a:ext cx="8529" cy="51566"/>
                </a:xfrm>
                <a:custGeom>
                  <a:avLst/>
                  <a:gdLst>
                    <a:gd name="connsiteX0" fmla="*/ 7957 w 8529"/>
                    <a:gd name="connsiteY0" fmla="*/ 51567 h 51566"/>
                    <a:gd name="connsiteX1" fmla="*/ 6960 w 8529"/>
                    <a:gd name="connsiteY1" fmla="*/ 32758 h 51566"/>
                    <a:gd name="connsiteX2" fmla="*/ 982 w 8529"/>
                    <a:gd name="connsiteY2" fmla="*/ 16441 h 51566"/>
                    <a:gd name="connsiteX3" fmla="*/ 608 w 8529"/>
                    <a:gd name="connsiteY3" fmla="*/ 0 h 51566"/>
                  </a:gdLst>
                  <a:ahLst/>
                  <a:cxnLst>
                    <a:cxn ang="0">
                      <a:pos x="connsiteX0" y="connsiteY0"/>
                    </a:cxn>
                    <a:cxn ang="0">
                      <a:pos x="connsiteX1" y="connsiteY1"/>
                    </a:cxn>
                    <a:cxn ang="0">
                      <a:pos x="connsiteX2" y="connsiteY2"/>
                    </a:cxn>
                    <a:cxn ang="0">
                      <a:pos x="connsiteX3" y="connsiteY3"/>
                    </a:cxn>
                  </a:cxnLst>
                  <a:rect l="l" t="t" r="r" b="b"/>
                  <a:pathLst>
                    <a:path w="8529" h="51566">
                      <a:moveTo>
                        <a:pt x="7957" y="51567"/>
                      </a:moveTo>
                      <a:cubicBezTo>
                        <a:pt x="9202" y="43222"/>
                        <a:pt x="8206" y="36994"/>
                        <a:pt x="6960" y="32758"/>
                      </a:cubicBezTo>
                      <a:cubicBezTo>
                        <a:pt x="5092" y="26033"/>
                        <a:pt x="2601" y="23292"/>
                        <a:pt x="982" y="16441"/>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1" name="Freeform 4591">
                  <a:extLst>
                    <a:ext uri="{FF2B5EF4-FFF2-40B4-BE49-F238E27FC236}">
                      <a16:creationId xmlns:a16="http://schemas.microsoft.com/office/drawing/2014/main" id="{7C25B013-E8AF-BEB8-BC8B-C2641B5F6EF3}"/>
                    </a:ext>
                  </a:extLst>
                </p:cNvPr>
                <p:cNvSpPr/>
                <p:nvPr/>
              </p:nvSpPr>
              <p:spPr>
                <a:xfrm>
                  <a:off x="6485469" y="5778305"/>
                  <a:ext cx="8719" cy="51442"/>
                </a:xfrm>
                <a:custGeom>
                  <a:avLst/>
                  <a:gdLst>
                    <a:gd name="connsiteX0" fmla="*/ 0 w 8719"/>
                    <a:gd name="connsiteY0" fmla="*/ 0 h 51442"/>
                    <a:gd name="connsiteX1" fmla="*/ 4858 w 8719"/>
                    <a:gd name="connsiteY1" fmla="*/ 18185 h 51442"/>
                    <a:gd name="connsiteX2" fmla="*/ 4111 w 8719"/>
                    <a:gd name="connsiteY2" fmla="*/ 35623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231" y="25161"/>
                        <a:pt x="3488" y="28523"/>
                        <a:pt x="4111" y="35623"/>
                      </a:cubicBezTo>
                      <a:cubicBezTo>
                        <a:pt x="4733" y="42474"/>
                        <a:pt x="6975" y="47954"/>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2" name="Freeform 4592">
                  <a:extLst>
                    <a:ext uri="{FF2B5EF4-FFF2-40B4-BE49-F238E27FC236}">
                      <a16:creationId xmlns:a16="http://schemas.microsoft.com/office/drawing/2014/main" id="{2CEA83DF-4D63-53C8-F3C1-513D08D2B574}"/>
                    </a:ext>
                  </a:extLst>
                </p:cNvPr>
                <p:cNvSpPr/>
                <p:nvPr/>
              </p:nvSpPr>
              <p:spPr>
                <a:xfrm>
                  <a:off x="6484685" y="5818005"/>
                  <a:ext cx="26353" cy="26444"/>
                </a:xfrm>
                <a:custGeom>
                  <a:avLst/>
                  <a:gdLst>
                    <a:gd name="connsiteX0" fmla="*/ 161 w 26353"/>
                    <a:gd name="connsiteY0" fmla="*/ 15229 h 26444"/>
                    <a:gd name="connsiteX1" fmla="*/ 11122 w 26353"/>
                    <a:gd name="connsiteY1" fmla="*/ 158 h 26444"/>
                    <a:gd name="connsiteX2" fmla="*/ 26193 w 26353"/>
                    <a:gd name="connsiteY2" fmla="*/ 11243 h 26444"/>
                    <a:gd name="connsiteX3" fmla="*/ 15233 w 26353"/>
                    <a:gd name="connsiteY3" fmla="*/ 26315 h 26444"/>
                    <a:gd name="connsiteX4" fmla="*/ 161 w 26353"/>
                    <a:gd name="connsiteY4" fmla="*/ 1522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444">
                      <a:moveTo>
                        <a:pt x="161" y="15229"/>
                      </a:moveTo>
                      <a:cubicBezTo>
                        <a:pt x="-961" y="8005"/>
                        <a:pt x="3897" y="1279"/>
                        <a:pt x="11122" y="158"/>
                      </a:cubicBezTo>
                      <a:cubicBezTo>
                        <a:pt x="18347" y="-963"/>
                        <a:pt x="25072" y="4019"/>
                        <a:pt x="26193" y="11243"/>
                      </a:cubicBezTo>
                      <a:cubicBezTo>
                        <a:pt x="27314" y="18468"/>
                        <a:pt x="22456" y="25194"/>
                        <a:pt x="15233" y="26315"/>
                      </a:cubicBezTo>
                      <a:cubicBezTo>
                        <a:pt x="8133" y="27311"/>
                        <a:pt x="1406"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8" name="Graphic 2987">
                <a:extLst>
                  <a:ext uri="{FF2B5EF4-FFF2-40B4-BE49-F238E27FC236}">
                    <a16:creationId xmlns:a16="http://schemas.microsoft.com/office/drawing/2014/main" id="{C66B9860-C7EB-8DAD-6F7F-87E439E3B20A}"/>
                  </a:ext>
                </a:extLst>
              </p:cNvPr>
              <p:cNvGrpSpPr/>
              <p:nvPr/>
            </p:nvGrpSpPr>
            <p:grpSpPr>
              <a:xfrm>
                <a:off x="6495027" y="5692448"/>
                <a:ext cx="45155" cy="147420"/>
                <a:chOff x="6495027" y="5692448"/>
                <a:chExt cx="45155" cy="147420"/>
              </a:xfrm>
              <a:grpFill/>
            </p:grpSpPr>
            <p:sp>
              <p:nvSpPr>
                <p:cNvPr id="4871" name="Freeform 4594">
                  <a:extLst>
                    <a:ext uri="{FF2B5EF4-FFF2-40B4-BE49-F238E27FC236}">
                      <a16:creationId xmlns:a16="http://schemas.microsoft.com/office/drawing/2014/main" id="{5BF332CE-9C59-6CBB-92F2-987A5B56209E}"/>
                    </a:ext>
                  </a:extLst>
                </p:cNvPr>
                <p:cNvSpPr/>
                <p:nvPr/>
              </p:nvSpPr>
              <p:spPr>
                <a:xfrm>
                  <a:off x="6505195" y="5713286"/>
                  <a:ext cx="8408" cy="51566"/>
                </a:xfrm>
                <a:custGeom>
                  <a:avLst/>
                  <a:gdLst>
                    <a:gd name="connsiteX0" fmla="*/ 577 w 8408"/>
                    <a:gd name="connsiteY0" fmla="*/ 0 h 51566"/>
                    <a:gd name="connsiteX1" fmla="*/ 1449 w 8408"/>
                    <a:gd name="connsiteY1" fmla="*/ 18808 h 51566"/>
                    <a:gd name="connsiteX2" fmla="*/ 7427 w 8408"/>
                    <a:gd name="connsiteY2" fmla="*/ 35125 h 51566"/>
                    <a:gd name="connsiteX3" fmla="*/ 7801 w 840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408" h="51566">
                      <a:moveTo>
                        <a:pt x="577" y="0"/>
                      </a:moveTo>
                      <a:cubicBezTo>
                        <a:pt x="-669" y="8345"/>
                        <a:pt x="327" y="14573"/>
                        <a:pt x="1449" y="18808"/>
                      </a:cubicBezTo>
                      <a:cubicBezTo>
                        <a:pt x="3317" y="25534"/>
                        <a:pt x="5808" y="28274"/>
                        <a:pt x="7427" y="35125"/>
                      </a:cubicBezTo>
                      <a:cubicBezTo>
                        <a:pt x="8922" y="41851"/>
                        <a:pt x="8424" y="47705"/>
                        <a:pt x="78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2" name="Freeform 4595">
                  <a:extLst>
                    <a:ext uri="{FF2B5EF4-FFF2-40B4-BE49-F238E27FC236}">
                      <a16:creationId xmlns:a16="http://schemas.microsoft.com/office/drawing/2014/main" id="{01605099-5E39-66B0-14BB-F6ED446559AD}"/>
                    </a:ext>
                  </a:extLst>
                </p:cNvPr>
                <p:cNvSpPr/>
                <p:nvPr/>
              </p:nvSpPr>
              <p:spPr>
                <a:xfrm>
                  <a:off x="6511875" y="5707182"/>
                  <a:ext cx="8719" cy="51442"/>
                </a:xfrm>
                <a:custGeom>
                  <a:avLst/>
                  <a:gdLst>
                    <a:gd name="connsiteX0" fmla="*/ 8719 w 8719"/>
                    <a:gd name="connsiteY0" fmla="*/ 51442 h 51442"/>
                    <a:gd name="connsiteX1" fmla="*/ 3861 w 8719"/>
                    <a:gd name="connsiteY1" fmla="*/ 33257 h 51442"/>
                    <a:gd name="connsiteX2" fmla="*/ 4609 w 8719"/>
                    <a:gd name="connsiteY2" fmla="*/ 15819 h 51442"/>
                    <a:gd name="connsiteX3" fmla="*/ 0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51442"/>
                      </a:moveTo>
                      <a:cubicBezTo>
                        <a:pt x="5107" y="43845"/>
                        <a:pt x="4111" y="37617"/>
                        <a:pt x="3861" y="33257"/>
                      </a:cubicBezTo>
                      <a:cubicBezTo>
                        <a:pt x="3613" y="26282"/>
                        <a:pt x="5231" y="22919"/>
                        <a:pt x="4609"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3" name="Freeform 4596">
                  <a:extLst>
                    <a:ext uri="{FF2B5EF4-FFF2-40B4-BE49-F238E27FC236}">
                      <a16:creationId xmlns:a16="http://schemas.microsoft.com/office/drawing/2014/main" id="{ABEBC704-084A-CC9A-6ED1-C463D55F166F}"/>
                    </a:ext>
                  </a:extLst>
                </p:cNvPr>
                <p:cNvSpPr/>
                <p:nvPr/>
              </p:nvSpPr>
              <p:spPr>
                <a:xfrm>
                  <a:off x="6495027" y="5692448"/>
                  <a:ext cx="26596" cy="26599"/>
                </a:xfrm>
                <a:custGeom>
                  <a:avLst/>
                  <a:gdLst>
                    <a:gd name="connsiteX0" fmla="*/ 26439 w 26596"/>
                    <a:gd name="connsiteY0" fmla="*/ 11246 h 26599"/>
                    <a:gd name="connsiteX1" fmla="*/ 15353 w 26596"/>
                    <a:gd name="connsiteY1" fmla="*/ 26442 h 26599"/>
                    <a:gd name="connsiteX2" fmla="*/ 158 w 26596"/>
                    <a:gd name="connsiteY2" fmla="*/ 15357 h 26599"/>
                    <a:gd name="connsiteX3" fmla="*/ 11243 w 26596"/>
                    <a:gd name="connsiteY3" fmla="*/ 161 h 26599"/>
                    <a:gd name="connsiteX4" fmla="*/ 26439 w 26596"/>
                    <a:gd name="connsiteY4" fmla="*/ 11246 h 2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99">
                      <a:moveTo>
                        <a:pt x="26439" y="11246"/>
                      </a:moveTo>
                      <a:cubicBezTo>
                        <a:pt x="27560" y="18471"/>
                        <a:pt x="22578" y="25321"/>
                        <a:pt x="15353" y="26442"/>
                      </a:cubicBezTo>
                      <a:cubicBezTo>
                        <a:pt x="8129" y="27563"/>
                        <a:pt x="1278" y="22581"/>
                        <a:pt x="158" y="15357"/>
                      </a:cubicBezTo>
                      <a:cubicBezTo>
                        <a:pt x="-964" y="8132"/>
                        <a:pt x="4019" y="1406"/>
                        <a:pt x="11243" y="161"/>
                      </a:cubicBezTo>
                      <a:cubicBezTo>
                        <a:pt x="18592" y="-960"/>
                        <a:pt x="25318" y="3897"/>
                        <a:pt x="26439" y="112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4" name="Freeform 4597">
                  <a:extLst>
                    <a:ext uri="{FF2B5EF4-FFF2-40B4-BE49-F238E27FC236}">
                      <a16:creationId xmlns:a16="http://schemas.microsoft.com/office/drawing/2014/main" id="{7FCF42A7-1C16-8381-7AF0-B9D2C998FFA6}"/>
                    </a:ext>
                  </a:extLst>
                </p:cNvPr>
                <p:cNvSpPr/>
                <p:nvPr/>
              </p:nvSpPr>
              <p:spPr>
                <a:xfrm>
                  <a:off x="6521605" y="5767593"/>
                  <a:ext cx="8409" cy="51567"/>
                </a:xfrm>
                <a:custGeom>
                  <a:avLst/>
                  <a:gdLst>
                    <a:gd name="connsiteX0" fmla="*/ 7833 w 8409"/>
                    <a:gd name="connsiteY0" fmla="*/ 51567 h 51567"/>
                    <a:gd name="connsiteX1" fmla="*/ 6961 w 8409"/>
                    <a:gd name="connsiteY1" fmla="*/ 32759 h 51567"/>
                    <a:gd name="connsiteX2" fmla="*/ 981 w 8409"/>
                    <a:gd name="connsiteY2" fmla="*/ 16442 h 51567"/>
                    <a:gd name="connsiteX3" fmla="*/ 608 w 8409"/>
                    <a:gd name="connsiteY3" fmla="*/ 0 h 51567"/>
                  </a:gdLst>
                  <a:ahLst/>
                  <a:cxnLst>
                    <a:cxn ang="0">
                      <a:pos x="connsiteX0" y="connsiteY0"/>
                    </a:cxn>
                    <a:cxn ang="0">
                      <a:pos x="connsiteX1" y="connsiteY1"/>
                    </a:cxn>
                    <a:cxn ang="0">
                      <a:pos x="connsiteX2" y="connsiteY2"/>
                    </a:cxn>
                    <a:cxn ang="0">
                      <a:pos x="connsiteX3" y="connsiteY3"/>
                    </a:cxn>
                  </a:cxnLst>
                  <a:rect l="l" t="t" r="r" b="b"/>
                  <a:pathLst>
                    <a:path w="8409" h="51567">
                      <a:moveTo>
                        <a:pt x="7833" y="51567"/>
                      </a:moveTo>
                      <a:cubicBezTo>
                        <a:pt x="9078" y="43222"/>
                        <a:pt x="8081" y="36994"/>
                        <a:pt x="6961" y="32759"/>
                      </a:cubicBezTo>
                      <a:cubicBezTo>
                        <a:pt x="5092" y="26033"/>
                        <a:pt x="2601" y="23292"/>
                        <a:pt x="981" y="16442"/>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5" name="Freeform 4598">
                  <a:extLst>
                    <a:ext uri="{FF2B5EF4-FFF2-40B4-BE49-F238E27FC236}">
                      <a16:creationId xmlns:a16="http://schemas.microsoft.com/office/drawing/2014/main" id="{6C8EDB52-D940-EAA5-5AF7-F7FB39285C33}"/>
                    </a:ext>
                  </a:extLst>
                </p:cNvPr>
                <p:cNvSpPr/>
                <p:nvPr/>
              </p:nvSpPr>
              <p:spPr>
                <a:xfrm>
                  <a:off x="6514740" y="5773696"/>
                  <a:ext cx="8718" cy="51442"/>
                </a:xfrm>
                <a:custGeom>
                  <a:avLst/>
                  <a:gdLst>
                    <a:gd name="connsiteX0" fmla="*/ 0 w 8718"/>
                    <a:gd name="connsiteY0" fmla="*/ 0 h 51442"/>
                    <a:gd name="connsiteX1" fmla="*/ 4857 w 8718"/>
                    <a:gd name="connsiteY1" fmla="*/ 18186 h 51442"/>
                    <a:gd name="connsiteX2" fmla="*/ 4110 w 8718"/>
                    <a:gd name="connsiteY2" fmla="*/ 35624 h 51442"/>
                    <a:gd name="connsiteX3" fmla="*/ 8718 w 8718"/>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8" h="51442">
                      <a:moveTo>
                        <a:pt x="0" y="0"/>
                      </a:moveTo>
                      <a:cubicBezTo>
                        <a:pt x="3737" y="7598"/>
                        <a:pt x="4609" y="13826"/>
                        <a:pt x="4857" y="18186"/>
                      </a:cubicBezTo>
                      <a:cubicBezTo>
                        <a:pt x="5107" y="25161"/>
                        <a:pt x="3487" y="28524"/>
                        <a:pt x="4110" y="35624"/>
                      </a:cubicBezTo>
                      <a:cubicBezTo>
                        <a:pt x="4732" y="42474"/>
                        <a:pt x="6975" y="47955"/>
                        <a:pt x="871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6" name="Freeform 4599">
                  <a:extLst>
                    <a:ext uri="{FF2B5EF4-FFF2-40B4-BE49-F238E27FC236}">
                      <a16:creationId xmlns:a16="http://schemas.microsoft.com/office/drawing/2014/main" id="{59D18526-F653-78C8-B828-5743F3289AA2}"/>
                    </a:ext>
                  </a:extLst>
                </p:cNvPr>
                <p:cNvSpPr/>
                <p:nvPr/>
              </p:nvSpPr>
              <p:spPr>
                <a:xfrm>
                  <a:off x="6513831" y="5813397"/>
                  <a:ext cx="26351" cy="26472"/>
                </a:xfrm>
                <a:custGeom>
                  <a:avLst/>
                  <a:gdLst>
                    <a:gd name="connsiteX0" fmla="*/ 161 w 26351"/>
                    <a:gd name="connsiteY0" fmla="*/ 15229 h 26472"/>
                    <a:gd name="connsiteX1" fmla="*/ 11122 w 26351"/>
                    <a:gd name="connsiteY1" fmla="*/ 158 h 26472"/>
                    <a:gd name="connsiteX2" fmla="*/ 26194 w 26351"/>
                    <a:gd name="connsiteY2" fmla="*/ 11243 h 26472"/>
                    <a:gd name="connsiteX3" fmla="*/ 15232 w 26351"/>
                    <a:gd name="connsiteY3" fmla="*/ 26315 h 26472"/>
                    <a:gd name="connsiteX4" fmla="*/ 161 w 26351"/>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472">
                      <a:moveTo>
                        <a:pt x="161" y="15229"/>
                      </a:moveTo>
                      <a:cubicBezTo>
                        <a:pt x="-960" y="8005"/>
                        <a:pt x="3898" y="1279"/>
                        <a:pt x="11122" y="158"/>
                      </a:cubicBezTo>
                      <a:cubicBezTo>
                        <a:pt x="18346" y="-963"/>
                        <a:pt x="25072" y="4019"/>
                        <a:pt x="26194" y="11243"/>
                      </a:cubicBezTo>
                      <a:cubicBezTo>
                        <a:pt x="27315" y="18468"/>
                        <a:pt x="22332" y="25194"/>
                        <a:pt x="15232" y="26315"/>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9" name="Graphic 2987">
                <a:extLst>
                  <a:ext uri="{FF2B5EF4-FFF2-40B4-BE49-F238E27FC236}">
                    <a16:creationId xmlns:a16="http://schemas.microsoft.com/office/drawing/2014/main" id="{0048636B-E421-5C8E-0FD7-24087AD132FF}"/>
                  </a:ext>
                </a:extLst>
              </p:cNvPr>
              <p:cNvGrpSpPr/>
              <p:nvPr/>
            </p:nvGrpSpPr>
            <p:grpSpPr>
              <a:xfrm>
                <a:off x="6524298" y="5687843"/>
                <a:ext cx="45031" cy="147542"/>
                <a:chOff x="6524298" y="5687843"/>
                <a:chExt cx="45031" cy="147542"/>
              </a:xfrm>
              <a:grpFill/>
            </p:grpSpPr>
            <p:sp>
              <p:nvSpPr>
                <p:cNvPr id="4865" name="Freeform 4601">
                  <a:extLst>
                    <a:ext uri="{FF2B5EF4-FFF2-40B4-BE49-F238E27FC236}">
                      <a16:creationId xmlns:a16="http://schemas.microsoft.com/office/drawing/2014/main" id="{1DA7B620-7322-5782-48B7-F3F32C839403}"/>
                    </a:ext>
                  </a:extLst>
                </p:cNvPr>
                <p:cNvSpPr/>
                <p:nvPr/>
              </p:nvSpPr>
              <p:spPr>
                <a:xfrm>
                  <a:off x="6534590" y="5708677"/>
                  <a:ext cx="8408" cy="51691"/>
                </a:xfrm>
                <a:custGeom>
                  <a:avLst/>
                  <a:gdLst>
                    <a:gd name="connsiteX0" fmla="*/ 576 w 8408"/>
                    <a:gd name="connsiteY0" fmla="*/ 0 h 51691"/>
                    <a:gd name="connsiteX1" fmla="*/ 1448 w 8408"/>
                    <a:gd name="connsiteY1" fmla="*/ 18808 h 51691"/>
                    <a:gd name="connsiteX2" fmla="*/ 7427 w 8408"/>
                    <a:gd name="connsiteY2" fmla="*/ 35125 h 51691"/>
                    <a:gd name="connsiteX3" fmla="*/ 7801 w 8408"/>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408" h="51690">
                      <a:moveTo>
                        <a:pt x="576" y="0"/>
                      </a:moveTo>
                      <a:cubicBezTo>
                        <a:pt x="-669" y="8346"/>
                        <a:pt x="328" y="14573"/>
                        <a:pt x="1448" y="18808"/>
                      </a:cubicBezTo>
                      <a:cubicBezTo>
                        <a:pt x="3317" y="25535"/>
                        <a:pt x="5808" y="28275"/>
                        <a:pt x="7427" y="35125"/>
                      </a:cubicBezTo>
                      <a:cubicBezTo>
                        <a:pt x="8922" y="41852"/>
                        <a:pt x="8424" y="47706"/>
                        <a:pt x="7801"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6" name="Freeform 4602">
                  <a:extLst>
                    <a:ext uri="{FF2B5EF4-FFF2-40B4-BE49-F238E27FC236}">
                      <a16:creationId xmlns:a16="http://schemas.microsoft.com/office/drawing/2014/main" id="{65643919-5E6B-660B-7056-636A7CF0B997}"/>
                    </a:ext>
                  </a:extLst>
                </p:cNvPr>
                <p:cNvSpPr/>
                <p:nvPr/>
              </p:nvSpPr>
              <p:spPr>
                <a:xfrm>
                  <a:off x="6541395" y="5702573"/>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8" y="43845"/>
                        <a:pt x="3861" y="37617"/>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7" name="Freeform 4603">
                  <a:extLst>
                    <a:ext uri="{FF2B5EF4-FFF2-40B4-BE49-F238E27FC236}">
                      <a16:creationId xmlns:a16="http://schemas.microsoft.com/office/drawing/2014/main" id="{9DEA06D8-89C5-5A96-BA69-879EEFC0245E}"/>
                    </a:ext>
                  </a:extLst>
                </p:cNvPr>
                <p:cNvSpPr/>
                <p:nvPr/>
              </p:nvSpPr>
              <p:spPr>
                <a:xfrm>
                  <a:off x="6524298" y="5687843"/>
                  <a:ext cx="26721" cy="26596"/>
                </a:xfrm>
                <a:custGeom>
                  <a:avLst/>
                  <a:gdLst>
                    <a:gd name="connsiteX0" fmla="*/ 26564 w 26721"/>
                    <a:gd name="connsiteY0" fmla="*/ 11243 h 26596"/>
                    <a:gd name="connsiteX1" fmla="*/ 15354 w 26721"/>
                    <a:gd name="connsiteY1" fmla="*/ 26439 h 26596"/>
                    <a:gd name="connsiteX2" fmla="*/ 158 w 26721"/>
                    <a:gd name="connsiteY2" fmla="*/ 15354 h 26596"/>
                    <a:gd name="connsiteX3" fmla="*/ 11368 w 26721"/>
                    <a:gd name="connsiteY3" fmla="*/ 158 h 26596"/>
                    <a:gd name="connsiteX4" fmla="*/ 26564 w 26721"/>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595">
                      <a:moveTo>
                        <a:pt x="26564" y="11243"/>
                      </a:moveTo>
                      <a:cubicBezTo>
                        <a:pt x="27685" y="18468"/>
                        <a:pt x="22702" y="25318"/>
                        <a:pt x="15354" y="26439"/>
                      </a:cubicBezTo>
                      <a:cubicBezTo>
                        <a:pt x="8005" y="27560"/>
                        <a:pt x="1279" y="22578"/>
                        <a:pt x="158" y="15354"/>
                      </a:cubicBezTo>
                      <a:cubicBezTo>
                        <a:pt x="-964" y="8129"/>
                        <a:pt x="4019" y="1279"/>
                        <a:pt x="11368" y="158"/>
                      </a:cubicBezTo>
                      <a:cubicBezTo>
                        <a:pt x="18717" y="-964"/>
                        <a:pt x="25443" y="4019"/>
                        <a:pt x="26564"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8" name="Freeform 4604">
                  <a:extLst>
                    <a:ext uri="{FF2B5EF4-FFF2-40B4-BE49-F238E27FC236}">
                      <a16:creationId xmlns:a16="http://schemas.microsoft.com/office/drawing/2014/main" id="{97B6CB86-499A-3FA8-7B74-6E9D8AC0D1BE}"/>
                    </a:ext>
                  </a:extLst>
                </p:cNvPr>
                <p:cNvSpPr/>
                <p:nvPr/>
              </p:nvSpPr>
              <p:spPr>
                <a:xfrm>
                  <a:off x="6550752" y="5762859"/>
                  <a:ext cx="8409" cy="51691"/>
                </a:xfrm>
                <a:custGeom>
                  <a:avLst/>
                  <a:gdLst>
                    <a:gd name="connsiteX0" fmla="*/ 7832 w 8409"/>
                    <a:gd name="connsiteY0" fmla="*/ 51691 h 51691"/>
                    <a:gd name="connsiteX1" fmla="*/ 6960 w 8409"/>
                    <a:gd name="connsiteY1" fmla="*/ 32883 h 51691"/>
                    <a:gd name="connsiteX2" fmla="*/ 982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51691"/>
                      </a:moveTo>
                      <a:cubicBezTo>
                        <a:pt x="9078" y="43346"/>
                        <a:pt x="8082" y="37118"/>
                        <a:pt x="6960" y="32883"/>
                      </a:cubicBezTo>
                      <a:cubicBezTo>
                        <a:pt x="5092" y="26157"/>
                        <a:pt x="2601"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9" name="Freeform 4605">
                  <a:extLst>
                    <a:ext uri="{FF2B5EF4-FFF2-40B4-BE49-F238E27FC236}">
                      <a16:creationId xmlns:a16="http://schemas.microsoft.com/office/drawing/2014/main" id="{F294627A-929C-B703-CA86-D7DFC7EDC264}"/>
                    </a:ext>
                  </a:extLst>
                </p:cNvPr>
                <p:cNvSpPr/>
                <p:nvPr/>
              </p:nvSpPr>
              <p:spPr>
                <a:xfrm>
                  <a:off x="6543886" y="5769212"/>
                  <a:ext cx="8594" cy="51442"/>
                </a:xfrm>
                <a:custGeom>
                  <a:avLst/>
                  <a:gdLst>
                    <a:gd name="connsiteX0" fmla="*/ 0 w 8594"/>
                    <a:gd name="connsiteY0" fmla="*/ 0 h 51442"/>
                    <a:gd name="connsiteX1" fmla="*/ 4733 w 8594"/>
                    <a:gd name="connsiteY1" fmla="*/ 18185 h 51442"/>
                    <a:gd name="connsiteX2" fmla="*/ 3986 w 8594"/>
                    <a:gd name="connsiteY2" fmla="*/ 35623 h 51442"/>
                    <a:gd name="connsiteX3" fmla="*/ 8595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0" y="0"/>
                      </a:moveTo>
                      <a:cubicBezTo>
                        <a:pt x="3612" y="7598"/>
                        <a:pt x="4609" y="13826"/>
                        <a:pt x="4733" y="18185"/>
                      </a:cubicBezTo>
                      <a:cubicBezTo>
                        <a:pt x="4983" y="25161"/>
                        <a:pt x="3363" y="28524"/>
                        <a:pt x="3986" y="35623"/>
                      </a:cubicBezTo>
                      <a:cubicBezTo>
                        <a:pt x="4484" y="42474"/>
                        <a:pt x="6726" y="47955"/>
                        <a:pt x="859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0" name="Freeform 4606">
                  <a:extLst>
                    <a:ext uri="{FF2B5EF4-FFF2-40B4-BE49-F238E27FC236}">
                      <a16:creationId xmlns:a16="http://schemas.microsoft.com/office/drawing/2014/main" id="{24D6159D-6E10-7687-EC8C-E8BB8851F72E}"/>
                    </a:ext>
                  </a:extLst>
                </p:cNvPr>
                <p:cNvSpPr/>
                <p:nvPr/>
              </p:nvSpPr>
              <p:spPr>
                <a:xfrm>
                  <a:off x="6542981" y="5808913"/>
                  <a:ext cx="26347" cy="26471"/>
                </a:xfrm>
                <a:custGeom>
                  <a:avLst/>
                  <a:gdLst>
                    <a:gd name="connsiteX0" fmla="*/ 158 w 26347"/>
                    <a:gd name="connsiteY0" fmla="*/ 15229 h 26471"/>
                    <a:gd name="connsiteX1" fmla="*/ 11243 w 26347"/>
                    <a:gd name="connsiteY1" fmla="*/ 158 h 26471"/>
                    <a:gd name="connsiteX2" fmla="*/ 26191 w 26347"/>
                    <a:gd name="connsiteY2" fmla="*/ 11243 h 26471"/>
                    <a:gd name="connsiteX3" fmla="*/ 15105 w 26347"/>
                    <a:gd name="connsiteY3" fmla="*/ 26314 h 26471"/>
                    <a:gd name="connsiteX4" fmla="*/ 158 w 26347"/>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0">
                      <a:moveTo>
                        <a:pt x="158" y="15229"/>
                      </a:moveTo>
                      <a:cubicBezTo>
                        <a:pt x="-964" y="8004"/>
                        <a:pt x="4019" y="1279"/>
                        <a:pt x="11243" y="158"/>
                      </a:cubicBezTo>
                      <a:cubicBezTo>
                        <a:pt x="18468" y="-964"/>
                        <a:pt x="25194" y="4019"/>
                        <a:pt x="26191" y="11243"/>
                      </a:cubicBezTo>
                      <a:cubicBezTo>
                        <a:pt x="27311" y="18468"/>
                        <a:pt x="22329" y="25193"/>
                        <a:pt x="15105" y="26314"/>
                      </a:cubicBezTo>
                      <a:cubicBezTo>
                        <a:pt x="7880" y="27435"/>
                        <a:pt x="1154"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0" name="Graphic 2987">
                <a:extLst>
                  <a:ext uri="{FF2B5EF4-FFF2-40B4-BE49-F238E27FC236}">
                    <a16:creationId xmlns:a16="http://schemas.microsoft.com/office/drawing/2014/main" id="{C5C85019-38E7-A27D-3575-737F1929885C}"/>
                  </a:ext>
                </a:extLst>
              </p:cNvPr>
              <p:cNvGrpSpPr/>
              <p:nvPr/>
            </p:nvGrpSpPr>
            <p:grpSpPr>
              <a:xfrm>
                <a:off x="6553818" y="5683237"/>
                <a:ext cx="44532" cy="147663"/>
                <a:chOff x="6553818" y="5683237"/>
                <a:chExt cx="44532" cy="147663"/>
              </a:xfrm>
              <a:grpFill/>
            </p:grpSpPr>
            <p:sp>
              <p:nvSpPr>
                <p:cNvPr id="4859" name="Freeform 4608">
                  <a:extLst>
                    <a:ext uri="{FF2B5EF4-FFF2-40B4-BE49-F238E27FC236}">
                      <a16:creationId xmlns:a16="http://schemas.microsoft.com/office/drawing/2014/main" id="{F7786DBB-C0BC-4F00-F593-EE7A52F571D6}"/>
                    </a:ext>
                  </a:extLst>
                </p:cNvPr>
                <p:cNvSpPr/>
                <p:nvPr/>
              </p:nvSpPr>
              <p:spPr>
                <a:xfrm>
                  <a:off x="6563986" y="5704068"/>
                  <a:ext cx="8270" cy="51691"/>
                </a:xfrm>
                <a:custGeom>
                  <a:avLst/>
                  <a:gdLst>
                    <a:gd name="connsiteX0" fmla="*/ 577 w 8270"/>
                    <a:gd name="connsiteY0" fmla="*/ 0 h 51691"/>
                    <a:gd name="connsiteX1" fmla="*/ 1448 w 8270"/>
                    <a:gd name="connsiteY1" fmla="*/ 18808 h 51691"/>
                    <a:gd name="connsiteX2" fmla="*/ 7303 w 8270"/>
                    <a:gd name="connsiteY2" fmla="*/ 35125 h 51691"/>
                    <a:gd name="connsiteX3" fmla="*/ 7552 w 8270"/>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270" h="51690">
                      <a:moveTo>
                        <a:pt x="577" y="0"/>
                      </a:moveTo>
                      <a:cubicBezTo>
                        <a:pt x="-669" y="8346"/>
                        <a:pt x="328" y="14573"/>
                        <a:pt x="1448" y="18808"/>
                      </a:cubicBezTo>
                      <a:cubicBezTo>
                        <a:pt x="3192" y="25535"/>
                        <a:pt x="5808" y="28275"/>
                        <a:pt x="7303" y="35125"/>
                      </a:cubicBezTo>
                      <a:cubicBezTo>
                        <a:pt x="8798" y="41852"/>
                        <a:pt x="8300" y="47706"/>
                        <a:pt x="7552"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0" name="Freeform 4609">
                  <a:extLst>
                    <a:ext uri="{FF2B5EF4-FFF2-40B4-BE49-F238E27FC236}">
                      <a16:creationId xmlns:a16="http://schemas.microsoft.com/office/drawing/2014/main" id="{0B58CC8A-8D9A-FCBB-7041-908ABC0C9FDE}"/>
                    </a:ext>
                  </a:extLst>
                </p:cNvPr>
                <p:cNvSpPr/>
                <p:nvPr/>
              </p:nvSpPr>
              <p:spPr>
                <a:xfrm>
                  <a:off x="6570666" y="5698090"/>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7" y="43844"/>
                        <a:pt x="3861" y="37616"/>
                        <a:pt x="3737" y="33257"/>
                      </a:cubicBezTo>
                      <a:cubicBezTo>
                        <a:pt x="3487" y="26281"/>
                        <a:pt x="5107" y="22919"/>
                        <a:pt x="4609" y="15819"/>
                      </a:cubicBezTo>
                      <a:cubicBezTo>
                        <a:pt x="4110"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1" name="Freeform 4610">
                  <a:extLst>
                    <a:ext uri="{FF2B5EF4-FFF2-40B4-BE49-F238E27FC236}">
                      <a16:creationId xmlns:a16="http://schemas.microsoft.com/office/drawing/2014/main" id="{2C32A08B-1DA4-FA4E-54E0-A7035090ADF8}"/>
                    </a:ext>
                  </a:extLst>
                </p:cNvPr>
                <p:cNvSpPr/>
                <p:nvPr/>
              </p:nvSpPr>
              <p:spPr>
                <a:xfrm>
                  <a:off x="6553818" y="5683237"/>
                  <a:ext cx="26593" cy="26593"/>
                </a:xfrm>
                <a:custGeom>
                  <a:avLst/>
                  <a:gdLst>
                    <a:gd name="connsiteX0" fmla="*/ 26439 w 26593"/>
                    <a:gd name="connsiteY0" fmla="*/ 11365 h 26593"/>
                    <a:gd name="connsiteX1" fmla="*/ 15229 w 26593"/>
                    <a:gd name="connsiteY1" fmla="*/ 26436 h 26593"/>
                    <a:gd name="connsiteX2" fmla="*/ 157 w 26593"/>
                    <a:gd name="connsiteY2" fmla="*/ 15351 h 26593"/>
                    <a:gd name="connsiteX3" fmla="*/ 11368 w 26593"/>
                    <a:gd name="connsiteY3" fmla="*/ 154 h 26593"/>
                    <a:gd name="connsiteX4" fmla="*/ 26439 w 26593"/>
                    <a:gd name="connsiteY4" fmla="*/ 11365 h 26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2">
                      <a:moveTo>
                        <a:pt x="26439" y="11365"/>
                      </a:moveTo>
                      <a:cubicBezTo>
                        <a:pt x="27560" y="18589"/>
                        <a:pt x="22453" y="25315"/>
                        <a:pt x="15229" y="26436"/>
                      </a:cubicBezTo>
                      <a:cubicBezTo>
                        <a:pt x="8005" y="27557"/>
                        <a:pt x="1154" y="22575"/>
                        <a:pt x="157" y="15351"/>
                      </a:cubicBezTo>
                      <a:cubicBezTo>
                        <a:pt x="-963" y="8126"/>
                        <a:pt x="4019" y="1276"/>
                        <a:pt x="11368" y="154"/>
                      </a:cubicBezTo>
                      <a:cubicBezTo>
                        <a:pt x="18592" y="-967"/>
                        <a:pt x="25318" y="4140"/>
                        <a:pt x="26439"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2" name="Freeform 4611">
                  <a:extLst>
                    <a:ext uri="{FF2B5EF4-FFF2-40B4-BE49-F238E27FC236}">
                      <a16:creationId xmlns:a16="http://schemas.microsoft.com/office/drawing/2014/main" id="{93875578-5384-FBFB-CD87-CC9BAB242AF5}"/>
                    </a:ext>
                  </a:extLst>
                </p:cNvPr>
                <p:cNvSpPr/>
                <p:nvPr/>
              </p:nvSpPr>
              <p:spPr>
                <a:xfrm>
                  <a:off x="6580036" y="5758375"/>
                  <a:ext cx="8270" cy="51691"/>
                </a:xfrm>
                <a:custGeom>
                  <a:avLst/>
                  <a:gdLst>
                    <a:gd name="connsiteX0" fmla="*/ 7694 w 8270"/>
                    <a:gd name="connsiteY0" fmla="*/ 51691 h 51691"/>
                    <a:gd name="connsiteX1" fmla="*/ 6822 w 8270"/>
                    <a:gd name="connsiteY1" fmla="*/ 32883 h 51691"/>
                    <a:gd name="connsiteX2" fmla="*/ 968 w 8270"/>
                    <a:gd name="connsiteY2" fmla="*/ 16566 h 51691"/>
                    <a:gd name="connsiteX3" fmla="*/ 719 w 8270"/>
                    <a:gd name="connsiteY3" fmla="*/ 0 h 51691"/>
                  </a:gdLst>
                  <a:ahLst/>
                  <a:cxnLst>
                    <a:cxn ang="0">
                      <a:pos x="connsiteX0" y="connsiteY0"/>
                    </a:cxn>
                    <a:cxn ang="0">
                      <a:pos x="connsiteX1" y="connsiteY1"/>
                    </a:cxn>
                    <a:cxn ang="0">
                      <a:pos x="connsiteX2" y="connsiteY2"/>
                    </a:cxn>
                    <a:cxn ang="0">
                      <a:pos x="connsiteX3" y="connsiteY3"/>
                    </a:cxn>
                  </a:cxnLst>
                  <a:rect l="l" t="t" r="r" b="b"/>
                  <a:pathLst>
                    <a:path w="8270" h="51690">
                      <a:moveTo>
                        <a:pt x="7694" y="51691"/>
                      </a:moveTo>
                      <a:cubicBezTo>
                        <a:pt x="8939" y="43346"/>
                        <a:pt x="7943" y="37118"/>
                        <a:pt x="6822" y="32883"/>
                      </a:cubicBezTo>
                      <a:cubicBezTo>
                        <a:pt x="5078" y="26157"/>
                        <a:pt x="2462"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3" name="Freeform 4612">
                  <a:extLst>
                    <a:ext uri="{FF2B5EF4-FFF2-40B4-BE49-F238E27FC236}">
                      <a16:creationId xmlns:a16="http://schemas.microsoft.com/office/drawing/2014/main" id="{255A29EE-DA66-D574-260C-07A92B87B1F5}"/>
                    </a:ext>
                  </a:extLst>
                </p:cNvPr>
                <p:cNvSpPr/>
                <p:nvPr/>
              </p:nvSpPr>
              <p:spPr>
                <a:xfrm>
                  <a:off x="6573157" y="5764603"/>
                  <a:ext cx="8345" cy="51442"/>
                </a:xfrm>
                <a:custGeom>
                  <a:avLst/>
                  <a:gdLst>
                    <a:gd name="connsiteX0" fmla="*/ 0 w 8345"/>
                    <a:gd name="connsiteY0" fmla="*/ 0 h 51442"/>
                    <a:gd name="connsiteX1" fmla="*/ 4733 w 8345"/>
                    <a:gd name="connsiteY1" fmla="*/ 18185 h 51442"/>
                    <a:gd name="connsiteX2" fmla="*/ 3862 w 8345"/>
                    <a:gd name="connsiteY2" fmla="*/ 35623 h 51442"/>
                    <a:gd name="connsiteX3" fmla="*/ 8346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3" y="7598"/>
                        <a:pt x="4609" y="13826"/>
                        <a:pt x="4733" y="18185"/>
                      </a:cubicBezTo>
                      <a:cubicBezTo>
                        <a:pt x="4983" y="25161"/>
                        <a:pt x="3363" y="28524"/>
                        <a:pt x="3862" y="35623"/>
                      </a:cubicBezTo>
                      <a:cubicBezTo>
                        <a:pt x="4360" y="42474"/>
                        <a:pt x="6602" y="47955"/>
                        <a:pt x="834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4" name="Freeform 4613">
                  <a:extLst>
                    <a:ext uri="{FF2B5EF4-FFF2-40B4-BE49-F238E27FC236}">
                      <a16:creationId xmlns:a16="http://schemas.microsoft.com/office/drawing/2014/main" id="{7474A621-9F93-8CA8-336A-2D935168D6AB}"/>
                    </a:ext>
                  </a:extLst>
                </p:cNvPr>
                <p:cNvSpPr/>
                <p:nvPr/>
              </p:nvSpPr>
              <p:spPr>
                <a:xfrm>
                  <a:off x="6572003" y="5804429"/>
                  <a:ext cx="26347" cy="26472"/>
                </a:xfrm>
                <a:custGeom>
                  <a:avLst/>
                  <a:gdLst>
                    <a:gd name="connsiteX0" fmla="*/ 158 w 26347"/>
                    <a:gd name="connsiteY0" fmla="*/ 15229 h 26472"/>
                    <a:gd name="connsiteX1" fmla="*/ 11243 w 26347"/>
                    <a:gd name="connsiteY1" fmla="*/ 158 h 26472"/>
                    <a:gd name="connsiteX2" fmla="*/ 26190 w 26347"/>
                    <a:gd name="connsiteY2" fmla="*/ 11243 h 26472"/>
                    <a:gd name="connsiteX3" fmla="*/ 15105 w 26347"/>
                    <a:gd name="connsiteY3" fmla="*/ 26315 h 26472"/>
                    <a:gd name="connsiteX4" fmla="*/ 158 w 26347"/>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2">
                      <a:moveTo>
                        <a:pt x="158" y="15229"/>
                      </a:moveTo>
                      <a:cubicBezTo>
                        <a:pt x="-964" y="8005"/>
                        <a:pt x="4019" y="1279"/>
                        <a:pt x="11243" y="158"/>
                      </a:cubicBezTo>
                      <a:cubicBezTo>
                        <a:pt x="18467" y="-963"/>
                        <a:pt x="25194" y="4019"/>
                        <a:pt x="26190" y="11243"/>
                      </a:cubicBezTo>
                      <a:cubicBezTo>
                        <a:pt x="27311" y="18468"/>
                        <a:pt x="22329" y="25194"/>
                        <a:pt x="15105" y="26315"/>
                      </a:cubicBezTo>
                      <a:cubicBezTo>
                        <a:pt x="8005" y="27436"/>
                        <a:pt x="1278"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1" name="Graphic 2987">
                <a:extLst>
                  <a:ext uri="{FF2B5EF4-FFF2-40B4-BE49-F238E27FC236}">
                    <a16:creationId xmlns:a16="http://schemas.microsoft.com/office/drawing/2014/main" id="{7022EEFF-58B0-B381-78D4-3EE3B769F2A5}"/>
                  </a:ext>
                </a:extLst>
              </p:cNvPr>
              <p:cNvGrpSpPr/>
              <p:nvPr/>
            </p:nvGrpSpPr>
            <p:grpSpPr>
              <a:xfrm>
                <a:off x="6583216" y="5679030"/>
                <a:ext cx="44253" cy="147511"/>
                <a:chOff x="6583216" y="5679030"/>
                <a:chExt cx="44253" cy="147511"/>
              </a:xfrm>
              <a:grpFill/>
            </p:grpSpPr>
            <p:sp>
              <p:nvSpPr>
                <p:cNvPr id="4853" name="Freeform 4615">
                  <a:extLst>
                    <a:ext uri="{FF2B5EF4-FFF2-40B4-BE49-F238E27FC236}">
                      <a16:creationId xmlns:a16="http://schemas.microsoft.com/office/drawing/2014/main" id="{EB77FE9F-5711-533E-EE6F-E271E196EBB5}"/>
                    </a:ext>
                  </a:extLst>
                </p:cNvPr>
                <p:cNvSpPr/>
                <p:nvPr/>
              </p:nvSpPr>
              <p:spPr>
                <a:xfrm>
                  <a:off x="6593348" y="5699833"/>
                  <a:ext cx="8179" cy="51691"/>
                </a:xfrm>
                <a:custGeom>
                  <a:avLst/>
                  <a:gdLst>
                    <a:gd name="connsiteX0" fmla="*/ 610 w 8179"/>
                    <a:gd name="connsiteY0" fmla="*/ 0 h 51691"/>
                    <a:gd name="connsiteX1" fmla="*/ 1357 w 8179"/>
                    <a:gd name="connsiteY1" fmla="*/ 18808 h 51691"/>
                    <a:gd name="connsiteX2" fmla="*/ 7211 w 8179"/>
                    <a:gd name="connsiteY2" fmla="*/ 35250 h 51691"/>
                    <a:gd name="connsiteX3" fmla="*/ 7461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610" y="0"/>
                      </a:moveTo>
                      <a:cubicBezTo>
                        <a:pt x="-636" y="8346"/>
                        <a:pt x="236" y="14573"/>
                        <a:pt x="1357" y="18808"/>
                      </a:cubicBezTo>
                      <a:cubicBezTo>
                        <a:pt x="3101" y="25535"/>
                        <a:pt x="5717" y="28275"/>
                        <a:pt x="7211" y="35250"/>
                      </a:cubicBezTo>
                      <a:cubicBezTo>
                        <a:pt x="8706" y="41976"/>
                        <a:pt x="8208"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4" name="Freeform 4616">
                  <a:extLst>
                    <a:ext uri="{FF2B5EF4-FFF2-40B4-BE49-F238E27FC236}">
                      <a16:creationId xmlns:a16="http://schemas.microsoft.com/office/drawing/2014/main" id="{59CCFF36-B382-80CD-53D7-EE4F857F49DB}"/>
                    </a:ext>
                  </a:extLst>
                </p:cNvPr>
                <p:cNvSpPr/>
                <p:nvPr/>
              </p:nvSpPr>
              <p:spPr>
                <a:xfrm>
                  <a:off x="6600062" y="5693730"/>
                  <a:ext cx="8345" cy="51566"/>
                </a:xfrm>
                <a:custGeom>
                  <a:avLst/>
                  <a:gdLst>
                    <a:gd name="connsiteX0" fmla="*/ 8345 w 8345"/>
                    <a:gd name="connsiteY0" fmla="*/ 51567 h 51566"/>
                    <a:gd name="connsiteX1" fmla="*/ 3612 w 8345"/>
                    <a:gd name="connsiteY1" fmla="*/ 33381 h 51566"/>
                    <a:gd name="connsiteX2" fmla="*/ 4484 w 8345"/>
                    <a:gd name="connsiteY2" fmla="*/ 15943 h 51566"/>
                    <a:gd name="connsiteX3" fmla="*/ 0 w 8345"/>
                    <a:gd name="connsiteY3" fmla="*/ 0 h 51566"/>
                  </a:gdLst>
                  <a:ahLst/>
                  <a:cxnLst>
                    <a:cxn ang="0">
                      <a:pos x="connsiteX0" y="connsiteY0"/>
                    </a:cxn>
                    <a:cxn ang="0">
                      <a:pos x="connsiteX1" y="connsiteY1"/>
                    </a:cxn>
                    <a:cxn ang="0">
                      <a:pos x="connsiteX2" y="connsiteY2"/>
                    </a:cxn>
                    <a:cxn ang="0">
                      <a:pos x="connsiteX3" y="connsiteY3"/>
                    </a:cxn>
                  </a:cxnLst>
                  <a:rect l="l" t="t" r="r" b="b"/>
                  <a:pathLst>
                    <a:path w="8345" h="51566">
                      <a:moveTo>
                        <a:pt x="8345" y="51567"/>
                      </a:moveTo>
                      <a:cubicBezTo>
                        <a:pt x="4733" y="43969"/>
                        <a:pt x="3861" y="37741"/>
                        <a:pt x="3612" y="33381"/>
                      </a:cubicBezTo>
                      <a:cubicBezTo>
                        <a:pt x="3363" y="26406"/>
                        <a:pt x="5107"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5" name="Freeform 4617">
                  <a:extLst>
                    <a:ext uri="{FF2B5EF4-FFF2-40B4-BE49-F238E27FC236}">
                      <a16:creationId xmlns:a16="http://schemas.microsoft.com/office/drawing/2014/main" id="{E37E0181-F2F5-4B55-41C2-977E6196216C}"/>
                    </a:ext>
                  </a:extLst>
                </p:cNvPr>
                <p:cNvSpPr/>
                <p:nvPr/>
              </p:nvSpPr>
              <p:spPr>
                <a:xfrm>
                  <a:off x="6583216" y="5679030"/>
                  <a:ext cx="26563" cy="26410"/>
                </a:xfrm>
                <a:custGeom>
                  <a:avLst/>
                  <a:gdLst>
                    <a:gd name="connsiteX0" fmla="*/ 26437 w 26563"/>
                    <a:gd name="connsiteY0" fmla="*/ 11337 h 26410"/>
                    <a:gd name="connsiteX1" fmla="*/ 15226 w 26563"/>
                    <a:gd name="connsiteY1" fmla="*/ 26284 h 26410"/>
                    <a:gd name="connsiteX2" fmla="*/ 154 w 26563"/>
                    <a:gd name="connsiteY2" fmla="*/ 15074 h 26410"/>
                    <a:gd name="connsiteX3" fmla="*/ 11365 w 26563"/>
                    <a:gd name="connsiteY3" fmla="*/ 127 h 26410"/>
                    <a:gd name="connsiteX4" fmla="*/ 26437 w 26563"/>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3" h="26410">
                      <a:moveTo>
                        <a:pt x="26437" y="11337"/>
                      </a:moveTo>
                      <a:cubicBezTo>
                        <a:pt x="27433" y="18561"/>
                        <a:pt x="22451" y="25288"/>
                        <a:pt x="15226" y="26284"/>
                      </a:cubicBezTo>
                      <a:cubicBezTo>
                        <a:pt x="8002" y="27281"/>
                        <a:pt x="1151" y="22298"/>
                        <a:pt x="154" y="15074"/>
                      </a:cubicBezTo>
                      <a:cubicBezTo>
                        <a:pt x="-966" y="7849"/>
                        <a:pt x="4140" y="1123"/>
                        <a:pt x="11365" y="127"/>
                      </a:cubicBezTo>
                      <a:cubicBezTo>
                        <a:pt x="18714" y="-870"/>
                        <a:pt x="25440" y="4113"/>
                        <a:pt x="26437"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6" name="Freeform 4618">
                  <a:extLst>
                    <a:ext uri="{FF2B5EF4-FFF2-40B4-BE49-F238E27FC236}">
                      <a16:creationId xmlns:a16="http://schemas.microsoft.com/office/drawing/2014/main" id="{DB0286CB-839C-0F4F-1F8B-00512B34D4E0}"/>
                    </a:ext>
                  </a:extLst>
                </p:cNvPr>
                <p:cNvSpPr/>
                <p:nvPr/>
              </p:nvSpPr>
              <p:spPr>
                <a:xfrm>
                  <a:off x="6609351" y="5754141"/>
                  <a:ext cx="8135" cy="51691"/>
                </a:xfrm>
                <a:custGeom>
                  <a:avLst/>
                  <a:gdLst>
                    <a:gd name="connsiteX0" fmla="*/ 7526 w 8135"/>
                    <a:gd name="connsiteY0" fmla="*/ 51691 h 51691"/>
                    <a:gd name="connsiteX1" fmla="*/ 6779 w 8135"/>
                    <a:gd name="connsiteY1" fmla="*/ 32883 h 51691"/>
                    <a:gd name="connsiteX2" fmla="*/ 925 w 8135"/>
                    <a:gd name="connsiteY2" fmla="*/ 16441 h 51691"/>
                    <a:gd name="connsiteX3" fmla="*/ 675 w 8135"/>
                    <a:gd name="connsiteY3" fmla="*/ 0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51691"/>
                      </a:moveTo>
                      <a:cubicBezTo>
                        <a:pt x="8772" y="43346"/>
                        <a:pt x="7900" y="37118"/>
                        <a:pt x="6779" y="32883"/>
                      </a:cubicBezTo>
                      <a:cubicBezTo>
                        <a:pt x="5035" y="26157"/>
                        <a:pt x="2419" y="23417"/>
                        <a:pt x="925" y="16441"/>
                      </a:cubicBezTo>
                      <a:cubicBezTo>
                        <a:pt x="-570" y="9715"/>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7" name="Freeform 4619">
                  <a:extLst>
                    <a:ext uri="{FF2B5EF4-FFF2-40B4-BE49-F238E27FC236}">
                      <a16:creationId xmlns:a16="http://schemas.microsoft.com/office/drawing/2014/main" id="{656ABE24-EAEE-3FB2-49E4-86CD26A2D555}"/>
                    </a:ext>
                  </a:extLst>
                </p:cNvPr>
                <p:cNvSpPr/>
                <p:nvPr/>
              </p:nvSpPr>
              <p:spPr>
                <a:xfrm>
                  <a:off x="6602428" y="5760368"/>
                  <a:ext cx="8345" cy="51566"/>
                </a:xfrm>
                <a:custGeom>
                  <a:avLst/>
                  <a:gdLst>
                    <a:gd name="connsiteX0" fmla="*/ 0 w 8345"/>
                    <a:gd name="connsiteY0" fmla="*/ 0 h 51566"/>
                    <a:gd name="connsiteX1" fmla="*/ 4733 w 8345"/>
                    <a:gd name="connsiteY1" fmla="*/ 18185 h 51566"/>
                    <a:gd name="connsiteX2" fmla="*/ 3861 w 8345"/>
                    <a:gd name="connsiteY2" fmla="*/ 35623 h 51566"/>
                    <a:gd name="connsiteX3" fmla="*/ 8345 w 834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345" h="51566">
                      <a:moveTo>
                        <a:pt x="0" y="0"/>
                      </a:moveTo>
                      <a:cubicBezTo>
                        <a:pt x="3612" y="7598"/>
                        <a:pt x="4484" y="13826"/>
                        <a:pt x="4733" y="18185"/>
                      </a:cubicBezTo>
                      <a:cubicBezTo>
                        <a:pt x="4982" y="25161"/>
                        <a:pt x="3363" y="28523"/>
                        <a:pt x="3861" y="35623"/>
                      </a:cubicBezTo>
                      <a:cubicBezTo>
                        <a:pt x="4359" y="42474"/>
                        <a:pt x="6601" y="47954"/>
                        <a:pt x="83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8" name="Freeform 4620">
                  <a:extLst>
                    <a:ext uri="{FF2B5EF4-FFF2-40B4-BE49-F238E27FC236}">
                      <a16:creationId xmlns:a16="http://schemas.microsoft.com/office/drawing/2014/main" id="{0CB58BEC-BAAB-47E7-6A3A-FE8E1B352F62}"/>
                    </a:ext>
                  </a:extLst>
                </p:cNvPr>
                <p:cNvSpPr/>
                <p:nvPr/>
              </p:nvSpPr>
              <p:spPr>
                <a:xfrm>
                  <a:off x="6601150" y="5800100"/>
                  <a:ext cx="26319" cy="26441"/>
                </a:xfrm>
                <a:custGeom>
                  <a:avLst/>
                  <a:gdLst>
                    <a:gd name="connsiteX0" fmla="*/ 157 w 26319"/>
                    <a:gd name="connsiteY0" fmla="*/ 15074 h 26441"/>
                    <a:gd name="connsiteX1" fmla="*/ 11243 w 26319"/>
                    <a:gd name="connsiteY1" fmla="*/ 127 h 26441"/>
                    <a:gd name="connsiteX2" fmla="*/ 26190 w 26319"/>
                    <a:gd name="connsiteY2" fmla="*/ 11337 h 26441"/>
                    <a:gd name="connsiteX3" fmla="*/ 15105 w 26319"/>
                    <a:gd name="connsiteY3" fmla="*/ 26284 h 26441"/>
                    <a:gd name="connsiteX4" fmla="*/ 157 w 26319"/>
                    <a:gd name="connsiteY4" fmla="*/ 15074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41">
                      <a:moveTo>
                        <a:pt x="157" y="15074"/>
                      </a:moveTo>
                      <a:cubicBezTo>
                        <a:pt x="-963" y="7849"/>
                        <a:pt x="4019" y="1123"/>
                        <a:pt x="11243" y="127"/>
                      </a:cubicBezTo>
                      <a:cubicBezTo>
                        <a:pt x="18468" y="-870"/>
                        <a:pt x="25194" y="4113"/>
                        <a:pt x="26190" y="11337"/>
                      </a:cubicBezTo>
                      <a:cubicBezTo>
                        <a:pt x="27187" y="18561"/>
                        <a:pt x="22329" y="25288"/>
                        <a:pt x="15105" y="26284"/>
                      </a:cubicBezTo>
                      <a:cubicBezTo>
                        <a:pt x="7880" y="27405"/>
                        <a:pt x="1154" y="22423"/>
                        <a:pt x="15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2" name="Graphic 2987">
                <a:extLst>
                  <a:ext uri="{FF2B5EF4-FFF2-40B4-BE49-F238E27FC236}">
                    <a16:creationId xmlns:a16="http://schemas.microsoft.com/office/drawing/2014/main" id="{4DB60867-3639-3CE8-DDAE-6116FF1F06EC}"/>
                  </a:ext>
                </a:extLst>
              </p:cNvPr>
              <p:cNvGrpSpPr/>
              <p:nvPr/>
            </p:nvGrpSpPr>
            <p:grpSpPr>
              <a:xfrm>
                <a:off x="6612640" y="5674889"/>
                <a:ext cx="43972" cy="147539"/>
                <a:chOff x="6612640" y="5674889"/>
                <a:chExt cx="43972" cy="147539"/>
              </a:xfrm>
              <a:grpFill/>
            </p:grpSpPr>
            <p:sp>
              <p:nvSpPr>
                <p:cNvPr id="4847" name="Freeform 4622">
                  <a:extLst>
                    <a:ext uri="{FF2B5EF4-FFF2-40B4-BE49-F238E27FC236}">
                      <a16:creationId xmlns:a16="http://schemas.microsoft.com/office/drawing/2014/main" id="{0F04BCA4-AB2C-FF19-FC58-21B5CC313B1C}"/>
                    </a:ext>
                  </a:extLst>
                </p:cNvPr>
                <p:cNvSpPr/>
                <p:nvPr/>
              </p:nvSpPr>
              <p:spPr>
                <a:xfrm>
                  <a:off x="6622689" y="5695598"/>
                  <a:ext cx="8191" cy="51691"/>
                </a:xfrm>
                <a:custGeom>
                  <a:avLst/>
                  <a:gdLst>
                    <a:gd name="connsiteX0" fmla="*/ 665 w 8191"/>
                    <a:gd name="connsiteY0" fmla="*/ 0 h 51691"/>
                    <a:gd name="connsiteX1" fmla="*/ 1412 w 8191"/>
                    <a:gd name="connsiteY1" fmla="*/ 18808 h 51691"/>
                    <a:gd name="connsiteX2" fmla="*/ 7267 w 8191"/>
                    <a:gd name="connsiteY2" fmla="*/ 35250 h 51691"/>
                    <a:gd name="connsiteX3" fmla="*/ 7516 w 819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90" h="51690">
                      <a:moveTo>
                        <a:pt x="665" y="0"/>
                      </a:moveTo>
                      <a:cubicBezTo>
                        <a:pt x="-705" y="8346"/>
                        <a:pt x="291" y="14573"/>
                        <a:pt x="1412" y="18808"/>
                      </a:cubicBezTo>
                      <a:cubicBezTo>
                        <a:pt x="3156" y="25534"/>
                        <a:pt x="5772" y="28274"/>
                        <a:pt x="7267" y="35250"/>
                      </a:cubicBezTo>
                      <a:cubicBezTo>
                        <a:pt x="8762" y="41976"/>
                        <a:pt x="8138" y="47830"/>
                        <a:pt x="751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8" name="Freeform 4623">
                  <a:extLst>
                    <a:ext uri="{FF2B5EF4-FFF2-40B4-BE49-F238E27FC236}">
                      <a16:creationId xmlns:a16="http://schemas.microsoft.com/office/drawing/2014/main" id="{22BBEB48-F17D-FB02-A489-27BAEFFFC944}"/>
                    </a:ext>
                  </a:extLst>
                </p:cNvPr>
                <p:cNvSpPr/>
                <p:nvPr/>
              </p:nvSpPr>
              <p:spPr>
                <a:xfrm>
                  <a:off x="6629707" y="5689619"/>
                  <a:ext cx="8095" cy="51567"/>
                </a:xfrm>
                <a:custGeom>
                  <a:avLst/>
                  <a:gdLst>
                    <a:gd name="connsiteX0" fmla="*/ 8096 w 8095"/>
                    <a:gd name="connsiteY0" fmla="*/ 51567 h 51567"/>
                    <a:gd name="connsiteX1" fmla="*/ 3487 w 8095"/>
                    <a:gd name="connsiteY1" fmla="*/ 33382 h 51567"/>
                    <a:gd name="connsiteX2" fmla="*/ 4484 w 8095"/>
                    <a:gd name="connsiteY2" fmla="*/ 15943 h 51567"/>
                    <a:gd name="connsiteX3" fmla="*/ 0 w 8095"/>
                    <a:gd name="connsiteY3" fmla="*/ 0 h 51567"/>
                  </a:gdLst>
                  <a:ahLst/>
                  <a:cxnLst>
                    <a:cxn ang="0">
                      <a:pos x="connsiteX0" y="connsiteY0"/>
                    </a:cxn>
                    <a:cxn ang="0">
                      <a:pos x="connsiteX1" y="connsiteY1"/>
                    </a:cxn>
                    <a:cxn ang="0">
                      <a:pos x="connsiteX2" y="connsiteY2"/>
                    </a:cxn>
                    <a:cxn ang="0">
                      <a:pos x="connsiteX3" y="connsiteY3"/>
                    </a:cxn>
                  </a:cxnLst>
                  <a:rect l="l" t="t" r="r" b="b"/>
                  <a:pathLst>
                    <a:path w="8095" h="51567">
                      <a:moveTo>
                        <a:pt x="8096" y="51567"/>
                      </a:moveTo>
                      <a:cubicBezTo>
                        <a:pt x="4484" y="43969"/>
                        <a:pt x="3612" y="37741"/>
                        <a:pt x="3487" y="33382"/>
                      </a:cubicBezTo>
                      <a:cubicBezTo>
                        <a:pt x="3239" y="26407"/>
                        <a:pt x="4982"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9" name="Freeform 4624">
                  <a:extLst>
                    <a:ext uri="{FF2B5EF4-FFF2-40B4-BE49-F238E27FC236}">
                      <a16:creationId xmlns:a16="http://schemas.microsoft.com/office/drawing/2014/main" id="{9789F8FA-1BD8-6F09-AA44-EF57E694C7F8}"/>
                    </a:ext>
                  </a:extLst>
                </p:cNvPr>
                <p:cNvSpPr/>
                <p:nvPr/>
              </p:nvSpPr>
              <p:spPr>
                <a:xfrm>
                  <a:off x="6612640" y="5674889"/>
                  <a:ext cx="26659" cy="26441"/>
                </a:xfrm>
                <a:custGeom>
                  <a:avLst/>
                  <a:gdLst>
                    <a:gd name="connsiteX0" fmla="*/ 26533 w 26659"/>
                    <a:gd name="connsiteY0" fmla="*/ 11368 h 26441"/>
                    <a:gd name="connsiteX1" fmla="*/ 15198 w 26659"/>
                    <a:gd name="connsiteY1" fmla="*/ 26315 h 26441"/>
                    <a:gd name="connsiteX2" fmla="*/ 127 w 26659"/>
                    <a:gd name="connsiteY2" fmla="*/ 15104 h 26441"/>
                    <a:gd name="connsiteX3" fmla="*/ 11461 w 26659"/>
                    <a:gd name="connsiteY3" fmla="*/ 157 h 26441"/>
                    <a:gd name="connsiteX4" fmla="*/ 26533 w 26659"/>
                    <a:gd name="connsiteY4" fmla="*/ 113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41">
                      <a:moveTo>
                        <a:pt x="26533" y="11368"/>
                      </a:moveTo>
                      <a:cubicBezTo>
                        <a:pt x="27529" y="18592"/>
                        <a:pt x="22547" y="25318"/>
                        <a:pt x="15198" y="26315"/>
                      </a:cubicBezTo>
                      <a:cubicBezTo>
                        <a:pt x="7974" y="27311"/>
                        <a:pt x="1247" y="22329"/>
                        <a:pt x="127" y="15104"/>
                      </a:cubicBezTo>
                      <a:cubicBezTo>
                        <a:pt x="-870" y="7880"/>
                        <a:pt x="4112" y="1154"/>
                        <a:pt x="11461" y="157"/>
                      </a:cubicBezTo>
                      <a:cubicBezTo>
                        <a:pt x="18686" y="-964"/>
                        <a:pt x="25412" y="4019"/>
                        <a:pt x="26533" y="113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0" name="Freeform 4625">
                  <a:extLst>
                    <a:ext uri="{FF2B5EF4-FFF2-40B4-BE49-F238E27FC236}">
                      <a16:creationId xmlns:a16="http://schemas.microsoft.com/office/drawing/2014/main" id="{77CAD702-290D-6A86-BBFC-FBAF6AFE4A10}"/>
                    </a:ext>
                  </a:extLst>
                </p:cNvPr>
                <p:cNvSpPr/>
                <p:nvPr/>
              </p:nvSpPr>
              <p:spPr>
                <a:xfrm>
                  <a:off x="6638497" y="5750030"/>
                  <a:ext cx="8136" cy="51691"/>
                </a:xfrm>
                <a:custGeom>
                  <a:avLst/>
                  <a:gdLst>
                    <a:gd name="connsiteX0" fmla="*/ 7527 w 8136"/>
                    <a:gd name="connsiteY0" fmla="*/ 51691 h 51691"/>
                    <a:gd name="connsiteX1" fmla="*/ 6779 w 8136"/>
                    <a:gd name="connsiteY1" fmla="*/ 32883 h 51691"/>
                    <a:gd name="connsiteX2" fmla="*/ 925 w 8136"/>
                    <a:gd name="connsiteY2" fmla="*/ 16442 h 51691"/>
                    <a:gd name="connsiteX3" fmla="*/ 676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7527" y="51691"/>
                      </a:moveTo>
                      <a:cubicBezTo>
                        <a:pt x="8772" y="43346"/>
                        <a:pt x="7900" y="37118"/>
                        <a:pt x="6779" y="32883"/>
                      </a:cubicBezTo>
                      <a:cubicBezTo>
                        <a:pt x="5035" y="26157"/>
                        <a:pt x="2544" y="23417"/>
                        <a:pt x="925" y="16442"/>
                      </a:cubicBezTo>
                      <a:cubicBezTo>
                        <a:pt x="-570" y="9715"/>
                        <a:pt x="53" y="3861"/>
                        <a:pt x="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1" name="Freeform 4626">
                  <a:extLst>
                    <a:ext uri="{FF2B5EF4-FFF2-40B4-BE49-F238E27FC236}">
                      <a16:creationId xmlns:a16="http://schemas.microsoft.com/office/drawing/2014/main" id="{E763004F-F9A0-0325-D96E-AE1D50804E22}"/>
                    </a:ext>
                  </a:extLst>
                </p:cNvPr>
                <p:cNvSpPr/>
                <p:nvPr/>
              </p:nvSpPr>
              <p:spPr>
                <a:xfrm>
                  <a:off x="6631699" y="5756134"/>
                  <a:ext cx="8221" cy="51566"/>
                </a:xfrm>
                <a:custGeom>
                  <a:avLst/>
                  <a:gdLst>
                    <a:gd name="connsiteX0" fmla="*/ 0 w 8221"/>
                    <a:gd name="connsiteY0" fmla="*/ 0 h 51566"/>
                    <a:gd name="connsiteX1" fmla="*/ 4609 w 8221"/>
                    <a:gd name="connsiteY1" fmla="*/ 18185 h 51566"/>
                    <a:gd name="connsiteX2" fmla="*/ 3737 w 8221"/>
                    <a:gd name="connsiteY2" fmla="*/ 35623 h 51566"/>
                    <a:gd name="connsiteX3" fmla="*/ 8221 w 82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221" h="51566">
                      <a:moveTo>
                        <a:pt x="0" y="0"/>
                      </a:moveTo>
                      <a:cubicBezTo>
                        <a:pt x="3613" y="7598"/>
                        <a:pt x="4485" y="13826"/>
                        <a:pt x="4609" y="18185"/>
                      </a:cubicBezTo>
                      <a:cubicBezTo>
                        <a:pt x="4858" y="25161"/>
                        <a:pt x="3114" y="28523"/>
                        <a:pt x="3737" y="35623"/>
                      </a:cubicBezTo>
                      <a:cubicBezTo>
                        <a:pt x="4235" y="42474"/>
                        <a:pt x="6477" y="47954"/>
                        <a:pt x="82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2" name="Freeform 4627">
                  <a:extLst>
                    <a:ext uri="{FF2B5EF4-FFF2-40B4-BE49-F238E27FC236}">
                      <a16:creationId xmlns:a16="http://schemas.microsoft.com/office/drawing/2014/main" id="{DFACDABE-48AF-0934-7B1D-851D0B98BC4C}"/>
                    </a:ext>
                  </a:extLst>
                </p:cNvPr>
                <p:cNvSpPr/>
                <p:nvPr/>
              </p:nvSpPr>
              <p:spPr>
                <a:xfrm>
                  <a:off x="6630327" y="5795990"/>
                  <a:ext cx="26286" cy="26438"/>
                </a:xfrm>
                <a:custGeom>
                  <a:avLst/>
                  <a:gdLst>
                    <a:gd name="connsiteX0" fmla="*/ 127 w 26286"/>
                    <a:gd name="connsiteY0" fmla="*/ 15074 h 26438"/>
                    <a:gd name="connsiteX1" fmla="*/ 11213 w 26286"/>
                    <a:gd name="connsiteY1" fmla="*/ 127 h 26438"/>
                    <a:gd name="connsiteX2" fmla="*/ 26159 w 26286"/>
                    <a:gd name="connsiteY2" fmla="*/ 11337 h 26438"/>
                    <a:gd name="connsiteX3" fmla="*/ 15074 w 26286"/>
                    <a:gd name="connsiteY3" fmla="*/ 26284 h 26438"/>
                    <a:gd name="connsiteX4" fmla="*/ 127 w 26286"/>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438">
                      <a:moveTo>
                        <a:pt x="127" y="15074"/>
                      </a:moveTo>
                      <a:cubicBezTo>
                        <a:pt x="-870" y="7849"/>
                        <a:pt x="4113" y="1123"/>
                        <a:pt x="11213" y="127"/>
                      </a:cubicBezTo>
                      <a:cubicBezTo>
                        <a:pt x="18437" y="-870"/>
                        <a:pt x="25163" y="4113"/>
                        <a:pt x="26159" y="11337"/>
                      </a:cubicBezTo>
                      <a:cubicBezTo>
                        <a:pt x="27156" y="18561"/>
                        <a:pt x="22174" y="25287"/>
                        <a:pt x="15074" y="26284"/>
                      </a:cubicBezTo>
                      <a:cubicBezTo>
                        <a:pt x="7849" y="27405"/>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3" name="Graphic 2987">
                <a:extLst>
                  <a:ext uri="{FF2B5EF4-FFF2-40B4-BE49-F238E27FC236}">
                    <a16:creationId xmlns:a16="http://schemas.microsoft.com/office/drawing/2014/main" id="{06787EDF-DAB1-496C-F1C7-9869BC2BC496}"/>
                  </a:ext>
                </a:extLst>
              </p:cNvPr>
              <p:cNvGrpSpPr/>
              <p:nvPr/>
            </p:nvGrpSpPr>
            <p:grpSpPr>
              <a:xfrm>
                <a:off x="6642036" y="5670657"/>
                <a:ext cx="43876" cy="147660"/>
                <a:chOff x="6642036" y="5670657"/>
                <a:chExt cx="43876" cy="147660"/>
              </a:xfrm>
              <a:grpFill/>
            </p:grpSpPr>
            <p:sp>
              <p:nvSpPr>
                <p:cNvPr id="4841" name="Freeform 4629">
                  <a:extLst>
                    <a:ext uri="{FF2B5EF4-FFF2-40B4-BE49-F238E27FC236}">
                      <a16:creationId xmlns:a16="http://schemas.microsoft.com/office/drawing/2014/main" id="{0DD076B0-7BAF-9B6A-53CB-213029418F13}"/>
                    </a:ext>
                  </a:extLst>
                </p:cNvPr>
                <p:cNvSpPr/>
                <p:nvPr/>
              </p:nvSpPr>
              <p:spPr>
                <a:xfrm>
                  <a:off x="6652079" y="5691363"/>
                  <a:ext cx="7935" cy="51691"/>
                </a:xfrm>
                <a:custGeom>
                  <a:avLst/>
                  <a:gdLst>
                    <a:gd name="connsiteX0" fmla="*/ 670 w 7935"/>
                    <a:gd name="connsiteY0" fmla="*/ 0 h 51691"/>
                    <a:gd name="connsiteX1" fmla="*/ 1293 w 7935"/>
                    <a:gd name="connsiteY1" fmla="*/ 18808 h 51691"/>
                    <a:gd name="connsiteX2" fmla="*/ 7023 w 7935"/>
                    <a:gd name="connsiteY2" fmla="*/ 35250 h 51691"/>
                    <a:gd name="connsiteX3" fmla="*/ 7147 w 79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5" h="51690">
                      <a:moveTo>
                        <a:pt x="670" y="0"/>
                      </a:moveTo>
                      <a:cubicBezTo>
                        <a:pt x="-700" y="8346"/>
                        <a:pt x="297" y="14573"/>
                        <a:pt x="1293" y="18808"/>
                      </a:cubicBezTo>
                      <a:cubicBezTo>
                        <a:pt x="3037" y="25534"/>
                        <a:pt x="5528" y="28274"/>
                        <a:pt x="7023" y="35250"/>
                      </a:cubicBezTo>
                      <a:cubicBezTo>
                        <a:pt x="8517" y="41976"/>
                        <a:pt x="7895" y="47830"/>
                        <a:pt x="71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2" name="Freeform 4630">
                  <a:extLst>
                    <a:ext uri="{FF2B5EF4-FFF2-40B4-BE49-F238E27FC236}">
                      <a16:creationId xmlns:a16="http://schemas.microsoft.com/office/drawing/2014/main" id="{9FB7C8D1-04B7-83D2-35E7-9F67D02E7626}"/>
                    </a:ext>
                  </a:extLst>
                </p:cNvPr>
                <p:cNvSpPr/>
                <p:nvPr/>
              </p:nvSpPr>
              <p:spPr>
                <a:xfrm>
                  <a:off x="6658977" y="5685384"/>
                  <a:ext cx="8096" cy="51567"/>
                </a:xfrm>
                <a:custGeom>
                  <a:avLst/>
                  <a:gdLst>
                    <a:gd name="connsiteX0" fmla="*/ 8097 w 8096"/>
                    <a:gd name="connsiteY0" fmla="*/ 51567 h 51567"/>
                    <a:gd name="connsiteX1" fmla="*/ 3488 w 8096"/>
                    <a:gd name="connsiteY1" fmla="*/ 33382 h 51567"/>
                    <a:gd name="connsiteX2" fmla="*/ 4484 w 8096"/>
                    <a:gd name="connsiteY2" fmla="*/ 15943 h 51567"/>
                    <a:gd name="connsiteX3" fmla="*/ 0 w 8096"/>
                    <a:gd name="connsiteY3" fmla="*/ 0 h 51567"/>
                  </a:gdLst>
                  <a:ahLst/>
                  <a:cxnLst>
                    <a:cxn ang="0">
                      <a:pos x="connsiteX0" y="connsiteY0"/>
                    </a:cxn>
                    <a:cxn ang="0">
                      <a:pos x="connsiteX1" y="connsiteY1"/>
                    </a:cxn>
                    <a:cxn ang="0">
                      <a:pos x="connsiteX2" y="connsiteY2"/>
                    </a:cxn>
                    <a:cxn ang="0">
                      <a:pos x="connsiteX3" y="connsiteY3"/>
                    </a:cxn>
                  </a:cxnLst>
                  <a:rect l="l" t="t" r="r" b="b"/>
                  <a:pathLst>
                    <a:path w="8096" h="51567">
                      <a:moveTo>
                        <a:pt x="8097" y="51567"/>
                      </a:moveTo>
                      <a:cubicBezTo>
                        <a:pt x="4484" y="43969"/>
                        <a:pt x="3613" y="37617"/>
                        <a:pt x="3488" y="33382"/>
                      </a:cubicBezTo>
                      <a:cubicBezTo>
                        <a:pt x="3239" y="26406"/>
                        <a:pt x="4983" y="23043"/>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3" name="Freeform 4631">
                  <a:extLst>
                    <a:ext uri="{FF2B5EF4-FFF2-40B4-BE49-F238E27FC236}">
                      <a16:creationId xmlns:a16="http://schemas.microsoft.com/office/drawing/2014/main" id="{91F8956F-961E-2A71-3AB9-085F7EC7F207}"/>
                    </a:ext>
                  </a:extLst>
                </p:cNvPr>
                <p:cNvSpPr/>
                <p:nvPr/>
              </p:nvSpPr>
              <p:spPr>
                <a:xfrm>
                  <a:off x="6642036" y="5670657"/>
                  <a:ext cx="26659" cy="26438"/>
                </a:xfrm>
                <a:custGeom>
                  <a:avLst/>
                  <a:gdLst>
                    <a:gd name="connsiteX0" fmla="*/ 26533 w 26659"/>
                    <a:gd name="connsiteY0" fmla="*/ 11365 h 26438"/>
                    <a:gd name="connsiteX1" fmla="*/ 15198 w 26659"/>
                    <a:gd name="connsiteY1" fmla="*/ 26312 h 26438"/>
                    <a:gd name="connsiteX2" fmla="*/ 127 w 26659"/>
                    <a:gd name="connsiteY2" fmla="*/ 15101 h 26438"/>
                    <a:gd name="connsiteX3" fmla="*/ 11461 w 26659"/>
                    <a:gd name="connsiteY3" fmla="*/ 154 h 26438"/>
                    <a:gd name="connsiteX4" fmla="*/ 26533 w 26659"/>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38">
                      <a:moveTo>
                        <a:pt x="26533" y="11365"/>
                      </a:moveTo>
                      <a:cubicBezTo>
                        <a:pt x="27530" y="18589"/>
                        <a:pt x="22547" y="25315"/>
                        <a:pt x="15198" y="26312"/>
                      </a:cubicBezTo>
                      <a:cubicBezTo>
                        <a:pt x="7849" y="27308"/>
                        <a:pt x="1247" y="22326"/>
                        <a:pt x="127" y="15101"/>
                      </a:cubicBezTo>
                      <a:cubicBezTo>
                        <a:pt x="-870" y="7877"/>
                        <a:pt x="4113" y="1151"/>
                        <a:pt x="11461" y="154"/>
                      </a:cubicBezTo>
                      <a:cubicBezTo>
                        <a:pt x="18810" y="-967"/>
                        <a:pt x="25536" y="4140"/>
                        <a:pt x="26533"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4" name="Freeform 4632">
                  <a:extLst>
                    <a:ext uri="{FF2B5EF4-FFF2-40B4-BE49-F238E27FC236}">
                      <a16:creationId xmlns:a16="http://schemas.microsoft.com/office/drawing/2014/main" id="{8E04584E-D562-3259-6662-C5B698891D61}"/>
                    </a:ext>
                  </a:extLst>
                </p:cNvPr>
                <p:cNvSpPr/>
                <p:nvPr/>
              </p:nvSpPr>
              <p:spPr>
                <a:xfrm>
                  <a:off x="6667905" y="5745795"/>
                  <a:ext cx="7935" cy="51816"/>
                </a:xfrm>
                <a:custGeom>
                  <a:avLst/>
                  <a:gdLst>
                    <a:gd name="connsiteX0" fmla="*/ 7265 w 7935"/>
                    <a:gd name="connsiteY0" fmla="*/ 51816 h 51816"/>
                    <a:gd name="connsiteX1" fmla="*/ 6642 w 7935"/>
                    <a:gd name="connsiteY1" fmla="*/ 33008 h 51816"/>
                    <a:gd name="connsiteX2" fmla="*/ 913 w 7935"/>
                    <a:gd name="connsiteY2" fmla="*/ 16566 h 51816"/>
                    <a:gd name="connsiteX3" fmla="*/ 788 w 7935"/>
                    <a:gd name="connsiteY3" fmla="*/ 0 h 51816"/>
                  </a:gdLst>
                  <a:ahLst/>
                  <a:cxnLst>
                    <a:cxn ang="0">
                      <a:pos x="connsiteX0" y="connsiteY0"/>
                    </a:cxn>
                    <a:cxn ang="0">
                      <a:pos x="connsiteX1" y="connsiteY1"/>
                    </a:cxn>
                    <a:cxn ang="0">
                      <a:pos x="connsiteX2" y="connsiteY2"/>
                    </a:cxn>
                    <a:cxn ang="0">
                      <a:pos x="connsiteX3" y="connsiteY3"/>
                    </a:cxn>
                  </a:cxnLst>
                  <a:rect l="l" t="t" r="r" b="b"/>
                  <a:pathLst>
                    <a:path w="7935" h="51816">
                      <a:moveTo>
                        <a:pt x="7265" y="51816"/>
                      </a:moveTo>
                      <a:cubicBezTo>
                        <a:pt x="8636" y="43471"/>
                        <a:pt x="7639" y="37243"/>
                        <a:pt x="6642" y="33008"/>
                      </a:cubicBezTo>
                      <a:cubicBezTo>
                        <a:pt x="4898" y="26282"/>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5" name="Freeform 4633">
                  <a:extLst>
                    <a:ext uri="{FF2B5EF4-FFF2-40B4-BE49-F238E27FC236}">
                      <a16:creationId xmlns:a16="http://schemas.microsoft.com/office/drawing/2014/main" id="{856B5F8E-FAAE-6F9F-137A-8912046273B1}"/>
                    </a:ext>
                  </a:extLst>
                </p:cNvPr>
                <p:cNvSpPr/>
                <p:nvPr/>
              </p:nvSpPr>
              <p:spPr>
                <a:xfrm>
                  <a:off x="6660971" y="5752023"/>
                  <a:ext cx="8095" cy="51567"/>
                </a:xfrm>
                <a:custGeom>
                  <a:avLst/>
                  <a:gdLst>
                    <a:gd name="connsiteX0" fmla="*/ 0 w 8095"/>
                    <a:gd name="connsiteY0" fmla="*/ 0 h 51567"/>
                    <a:gd name="connsiteX1" fmla="*/ 4609 w 8095"/>
                    <a:gd name="connsiteY1" fmla="*/ 18185 h 51567"/>
                    <a:gd name="connsiteX2" fmla="*/ 3612 w 8095"/>
                    <a:gd name="connsiteY2" fmla="*/ 35624 h 51567"/>
                    <a:gd name="connsiteX3" fmla="*/ 8096 w 809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095" h="51567">
                      <a:moveTo>
                        <a:pt x="0" y="0"/>
                      </a:moveTo>
                      <a:cubicBezTo>
                        <a:pt x="3612" y="7598"/>
                        <a:pt x="4484" y="13950"/>
                        <a:pt x="4609" y="18185"/>
                      </a:cubicBezTo>
                      <a:cubicBezTo>
                        <a:pt x="4857" y="25161"/>
                        <a:pt x="3114" y="28524"/>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6" name="Freeform 4634">
                  <a:extLst>
                    <a:ext uri="{FF2B5EF4-FFF2-40B4-BE49-F238E27FC236}">
                      <a16:creationId xmlns:a16="http://schemas.microsoft.com/office/drawing/2014/main" id="{E6F9A615-CA3D-59F8-23F0-0067A3DA964C}"/>
                    </a:ext>
                  </a:extLst>
                </p:cNvPr>
                <p:cNvSpPr/>
                <p:nvPr/>
              </p:nvSpPr>
              <p:spPr>
                <a:xfrm>
                  <a:off x="6659473" y="5791879"/>
                  <a:ext cx="26438" cy="26438"/>
                </a:xfrm>
                <a:custGeom>
                  <a:avLst/>
                  <a:gdLst>
                    <a:gd name="connsiteX0" fmla="*/ 127 w 26438"/>
                    <a:gd name="connsiteY0" fmla="*/ 15074 h 26438"/>
                    <a:gd name="connsiteX1" fmla="*/ 11337 w 26438"/>
                    <a:gd name="connsiteY1" fmla="*/ 127 h 26438"/>
                    <a:gd name="connsiteX2" fmla="*/ 26284 w 26438"/>
                    <a:gd name="connsiteY2" fmla="*/ 11337 h 26438"/>
                    <a:gd name="connsiteX3" fmla="*/ 15074 w 26438"/>
                    <a:gd name="connsiteY3" fmla="*/ 26284 h 26438"/>
                    <a:gd name="connsiteX4" fmla="*/ 127 w 26438"/>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438">
                      <a:moveTo>
                        <a:pt x="127" y="15074"/>
                      </a:moveTo>
                      <a:cubicBezTo>
                        <a:pt x="-869" y="7850"/>
                        <a:pt x="4113" y="1123"/>
                        <a:pt x="11337" y="127"/>
                      </a:cubicBezTo>
                      <a:cubicBezTo>
                        <a:pt x="18562" y="-870"/>
                        <a:pt x="25163" y="4113"/>
                        <a:pt x="26284" y="11337"/>
                      </a:cubicBezTo>
                      <a:cubicBezTo>
                        <a:pt x="27405" y="18561"/>
                        <a:pt x="22298" y="25288"/>
                        <a:pt x="15074" y="26284"/>
                      </a:cubicBezTo>
                      <a:cubicBezTo>
                        <a:pt x="7850" y="27405"/>
                        <a:pt x="1123"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4" name="Graphic 2987">
                <a:extLst>
                  <a:ext uri="{FF2B5EF4-FFF2-40B4-BE49-F238E27FC236}">
                    <a16:creationId xmlns:a16="http://schemas.microsoft.com/office/drawing/2014/main" id="{67516658-DE65-2066-A9E2-DEA1260D859B}"/>
                  </a:ext>
                </a:extLst>
              </p:cNvPr>
              <p:cNvGrpSpPr/>
              <p:nvPr/>
            </p:nvGrpSpPr>
            <p:grpSpPr>
              <a:xfrm>
                <a:off x="6671683" y="5666450"/>
                <a:ext cx="43223" cy="147826"/>
                <a:chOff x="6671683" y="5666450"/>
                <a:chExt cx="43223" cy="147826"/>
              </a:xfrm>
              <a:grpFill/>
            </p:grpSpPr>
            <p:sp>
              <p:nvSpPr>
                <p:cNvPr id="4835" name="Freeform 4636">
                  <a:extLst>
                    <a:ext uri="{FF2B5EF4-FFF2-40B4-BE49-F238E27FC236}">
                      <a16:creationId xmlns:a16="http://schemas.microsoft.com/office/drawing/2014/main" id="{81B63605-5DAB-E115-29F0-EBE5B652911F}"/>
                    </a:ext>
                  </a:extLst>
                </p:cNvPr>
                <p:cNvSpPr/>
                <p:nvPr/>
              </p:nvSpPr>
              <p:spPr>
                <a:xfrm>
                  <a:off x="6681569" y="5687253"/>
                  <a:ext cx="7966" cy="51815"/>
                </a:xfrm>
                <a:custGeom>
                  <a:avLst/>
                  <a:gdLst>
                    <a:gd name="connsiteX0" fmla="*/ 701 w 7966"/>
                    <a:gd name="connsiteY0" fmla="*/ 0 h 51815"/>
                    <a:gd name="connsiteX1" fmla="*/ 1324 w 7966"/>
                    <a:gd name="connsiteY1" fmla="*/ 18808 h 51815"/>
                    <a:gd name="connsiteX2" fmla="*/ 7054 w 7966"/>
                    <a:gd name="connsiteY2" fmla="*/ 35250 h 51815"/>
                    <a:gd name="connsiteX3" fmla="*/ 7178 w 7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966" h="51815">
                      <a:moveTo>
                        <a:pt x="701" y="0"/>
                      </a:moveTo>
                      <a:cubicBezTo>
                        <a:pt x="-669" y="8345"/>
                        <a:pt x="203" y="14573"/>
                        <a:pt x="1324" y="18808"/>
                      </a:cubicBezTo>
                      <a:cubicBezTo>
                        <a:pt x="3068" y="25534"/>
                        <a:pt x="5559" y="28274"/>
                        <a:pt x="7054" y="35250"/>
                      </a:cubicBezTo>
                      <a:cubicBezTo>
                        <a:pt x="8548" y="41976"/>
                        <a:pt x="7926"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6" name="Freeform 4637">
                  <a:extLst>
                    <a:ext uri="{FF2B5EF4-FFF2-40B4-BE49-F238E27FC236}">
                      <a16:creationId xmlns:a16="http://schemas.microsoft.com/office/drawing/2014/main" id="{4438C259-1ACD-575F-9EFE-FF04078558B7}"/>
                    </a:ext>
                  </a:extLst>
                </p:cNvPr>
                <p:cNvSpPr/>
                <p:nvPr/>
              </p:nvSpPr>
              <p:spPr>
                <a:xfrm>
                  <a:off x="6688497" y="5681274"/>
                  <a:ext cx="7847" cy="51566"/>
                </a:xfrm>
                <a:custGeom>
                  <a:avLst/>
                  <a:gdLst>
                    <a:gd name="connsiteX0" fmla="*/ 7847 w 7847"/>
                    <a:gd name="connsiteY0" fmla="*/ 51567 h 51566"/>
                    <a:gd name="connsiteX1" fmla="*/ 3363 w 7847"/>
                    <a:gd name="connsiteY1" fmla="*/ 33381 h 51566"/>
                    <a:gd name="connsiteX2" fmla="*/ 4360 w 7847"/>
                    <a:gd name="connsiteY2" fmla="*/ 15943 h 51566"/>
                    <a:gd name="connsiteX3" fmla="*/ 0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51567"/>
                      </a:moveTo>
                      <a:cubicBezTo>
                        <a:pt x="4235" y="43969"/>
                        <a:pt x="3488" y="37616"/>
                        <a:pt x="3363" y="33381"/>
                      </a:cubicBezTo>
                      <a:cubicBezTo>
                        <a:pt x="3114"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7" name="Freeform 4638">
                  <a:extLst>
                    <a:ext uri="{FF2B5EF4-FFF2-40B4-BE49-F238E27FC236}">
                      <a16:creationId xmlns:a16="http://schemas.microsoft.com/office/drawing/2014/main" id="{B6E0BD2B-EF9B-0626-0947-4B6BE50D6C68}"/>
                    </a:ext>
                  </a:extLst>
                </p:cNvPr>
                <p:cNvSpPr/>
                <p:nvPr/>
              </p:nvSpPr>
              <p:spPr>
                <a:xfrm>
                  <a:off x="6671683" y="5666450"/>
                  <a:ext cx="26530" cy="26410"/>
                </a:xfrm>
                <a:custGeom>
                  <a:avLst/>
                  <a:gdLst>
                    <a:gd name="connsiteX0" fmla="*/ 26406 w 26530"/>
                    <a:gd name="connsiteY0" fmla="*/ 11337 h 26410"/>
                    <a:gd name="connsiteX1" fmla="*/ 15071 w 26530"/>
                    <a:gd name="connsiteY1" fmla="*/ 26284 h 26410"/>
                    <a:gd name="connsiteX2" fmla="*/ 124 w 26530"/>
                    <a:gd name="connsiteY2" fmla="*/ 15074 h 26410"/>
                    <a:gd name="connsiteX3" fmla="*/ 11459 w 26530"/>
                    <a:gd name="connsiteY3" fmla="*/ 127 h 26410"/>
                    <a:gd name="connsiteX4" fmla="*/ 26406 w 26530"/>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10">
                      <a:moveTo>
                        <a:pt x="26406" y="11337"/>
                      </a:moveTo>
                      <a:cubicBezTo>
                        <a:pt x="27402" y="18561"/>
                        <a:pt x="22295" y="25287"/>
                        <a:pt x="15071" y="26284"/>
                      </a:cubicBezTo>
                      <a:cubicBezTo>
                        <a:pt x="7847" y="27280"/>
                        <a:pt x="1120" y="22298"/>
                        <a:pt x="124" y="15074"/>
                      </a:cubicBezTo>
                      <a:cubicBezTo>
                        <a:pt x="-872" y="7849"/>
                        <a:pt x="4234" y="1123"/>
                        <a:pt x="11459" y="127"/>
                      </a:cubicBezTo>
                      <a:cubicBezTo>
                        <a:pt x="18683" y="-870"/>
                        <a:pt x="25284" y="4112"/>
                        <a:pt x="26406"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8" name="Freeform 4639">
                  <a:extLst>
                    <a:ext uri="{FF2B5EF4-FFF2-40B4-BE49-F238E27FC236}">
                      <a16:creationId xmlns:a16="http://schemas.microsoft.com/office/drawing/2014/main" id="{3807EBCC-A00C-52F9-D5BC-CAD01C8209DC}"/>
                    </a:ext>
                  </a:extLst>
                </p:cNvPr>
                <p:cNvSpPr/>
                <p:nvPr/>
              </p:nvSpPr>
              <p:spPr>
                <a:xfrm>
                  <a:off x="6697051" y="5741560"/>
                  <a:ext cx="7966" cy="51816"/>
                </a:xfrm>
                <a:custGeom>
                  <a:avLst/>
                  <a:gdLst>
                    <a:gd name="connsiteX0" fmla="*/ 7266 w 7966"/>
                    <a:gd name="connsiteY0" fmla="*/ 51816 h 51816"/>
                    <a:gd name="connsiteX1" fmla="*/ 6643 w 7966"/>
                    <a:gd name="connsiteY1" fmla="*/ 33008 h 51816"/>
                    <a:gd name="connsiteX2" fmla="*/ 913 w 7966"/>
                    <a:gd name="connsiteY2" fmla="*/ 16566 h 51816"/>
                    <a:gd name="connsiteX3" fmla="*/ 78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266" y="51816"/>
                      </a:moveTo>
                      <a:cubicBezTo>
                        <a:pt x="8636" y="43471"/>
                        <a:pt x="7764" y="37243"/>
                        <a:pt x="6643" y="33008"/>
                      </a:cubicBezTo>
                      <a:cubicBezTo>
                        <a:pt x="4899" y="26281"/>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9" name="Freeform 4640">
                  <a:extLst>
                    <a:ext uri="{FF2B5EF4-FFF2-40B4-BE49-F238E27FC236}">
                      <a16:creationId xmlns:a16="http://schemas.microsoft.com/office/drawing/2014/main" id="{2CE69AD1-8546-B176-2EC4-C403D84805A8}"/>
                    </a:ext>
                  </a:extLst>
                </p:cNvPr>
                <p:cNvSpPr/>
                <p:nvPr/>
              </p:nvSpPr>
              <p:spPr>
                <a:xfrm>
                  <a:off x="6690241" y="5747788"/>
                  <a:ext cx="7847" cy="51567"/>
                </a:xfrm>
                <a:custGeom>
                  <a:avLst/>
                  <a:gdLst>
                    <a:gd name="connsiteX0" fmla="*/ 0 w 7847"/>
                    <a:gd name="connsiteY0" fmla="*/ 0 h 51567"/>
                    <a:gd name="connsiteX1" fmla="*/ 4484 w 7847"/>
                    <a:gd name="connsiteY1" fmla="*/ 18185 h 51567"/>
                    <a:gd name="connsiteX2" fmla="*/ 3488 w 7847"/>
                    <a:gd name="connsiteY2" fmla="*/ 35623 h 51567"/>
                    <a:gd name="connsiteX3" fmla="*/ 7847 w 784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847" h="51567">
                      <a:moveTo>
                        <a:pt x="0" y="0"/>
                      </a:moveTo>
                      <a:cubicBezTo>
                        <a:pt x="3612" y="7598"/>
                        <a:pt x="4359" y="13950"/>
                        <a:pt x="4484" y="18185"/>
                      </a:cubicBezTo>
                      <a:cubicBezTo>
                        <a:pt x="4733" y="25161"/>
                        <a:pt x="2989" y="28524"/>
                        <a:pt x="3488" y="35623"/>
                      </a:cubicBezTo>
                      <a:cubicBezTo>
                        <a:pt x="3986" y="42474"/>
                        <a:pt x="6103" y="47955"/>
                        <a:pt x="784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0" name="Freeform 4641">
                  <a:extLst>
                    <a:ext uri="{FF2B5EF4-FFF2-40B4-BE49-F238E27FC236}">
                      <a16:creationId xmlns:a16="http://schemas.microsoft.com/office/drawing/2014/main" id="{E743ED06-C0E0-16C4-9ED9-ADA3D0E22D67}"/>
                    </a:ext>
                  </a:extLst>
                </p:cNvPr>
                <p:cNvSpPr/>
                <p:nvPr/>
              </p:nvSpPr>
              <p:spPr>
                <a:xfrm>
                  <a:off x="6688620" y="5787769"/>
                  <a:ext cx="26286" cy="26507"/>
                </a:xfrm>
                <a:custGeom>
                  <a:avLst/>
                  <a:gdLst>
                    <a:gd name="connsiteX0" fmla="*/ 127 w 26286"/>
                    <a:gd name="connsiteY0" fmla="*/ 15074 h 26507"/>
                    <a:gd name="connsiteX1" fmla="*/ 11337 w 26286"/>
                    <a:gd name="connsiteY1" fmla="*/ 127 h 26507"/>
                    <a:gd name="connsiteX2" fmla="*/ 26160 w 26286"/>
                    <a:gd name="connsiteY2" fmla="*/ 11461 h 26507"/>
                    <a:gd name="connsiteX3" fmla="*/ 14949 w 26286"/>
                    <a:gd name="connsiteY3" fmla="*/ 26408 h 26507"/>
                    <a:gd name="connsiteX4" fmla="*/ 127 w 26286"/>
                    <a:gd name="connsiteY4" fmla="*/ 15074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06">
                      <a:moveTo>
                        <a:pt x="127" y="15074"/>
                      </a:moveTo>
                      <a:cubicBezTo>
                        <a:pt x="-870" y="7849"/>
                        <a:pt x="4113" y="1123"/>
                        <a:pt x="11337" y="127"/>
                      </a:cubicBezTo>
                      <a:cubicBezTo>
                        <a:pt x="18561" y="-870"/>
                        <a:pt x="25163" y="4113"/>
                        <a:pt x="26160" y="11461"/>
                      </a:cubicBezTo>
                      <a:cubicBezTo>
                        <a:pt x="27156" y="18686"/>
                        <a:pt x="22174" y="25412"/>
                        <a:pt x="14949" y="26408"/>
                      </a:cubicBezTo>
                      <a:cubicBezTo>
                        <a:pt x="7725" y="27280"/>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5" name="Graphic 2987">
                <a:extLst>
                  <a:ext uri="{FF2B5EF4-FFF2-40B4-BE49-F238E27FC236}">
                    <a16:creationId xmlns:a16="http://schemas.microsoft.com/office/drawing/2014/main" id="{8CA82B8A-4B25-B122-9370-DB18011F8F80}"/>
                  </a:ext>
                </a:extLst>
              </p:cNvPr>
              <p:cNvGrpSpPr/>
              <p:nvPr/>
            </p:nvGrpSpPr>
            <p:grpSpPr>
              <a:xfrm>
                <a:off x="6701078" y="5662311"/>
                <a:ext cx="42971" cy="147757"/>
                <a:chOff x="6701078" y="5662311"/>
                <a:chExt cx="42971" cy="147757"/>
              </a:xfrm>
              <a:grpFill/>
            </p:grpSpPr>
            <p:sp>
              <p:nvSpPr>
                <p:cNvPr id="4829" name="Freeform 4643">
                  <a:extLst>
                    <a:ext uri="{FF2B5EF4-FFF2-40B4-BE49-F238E27FC236}">
                      <a16:creationId xmlns:a16="http://schemas.microsoft.com/office/drawing/2014/main" id="{B94821E4-78D1-F1E8-7E50-E8340876506B}"/>
                    </a:ext>
                  </a:extLst>
                </p:cNvPr>
                <p:cNvSpPr/>
                <p:nvPr/>
              </p:nvSpPr>
              <p:spPr>
                <a:xfrm>
                  <a:off x="6710964" y="5683018"/>
                  <a:ext cx="7915" cy="51816"/>
                </a:xfrm>
                <a:custGeom>
                  <a:avLst/>
                  <a:gdLst>
                    <a:gd name="connsiteX0" fmla="*/ 702 w 7915"/>
                    <a:gd name="connsiteY0" fmla="*/ 0 h 51816"/>
                    <a:gd name="connsiteX1" fmla="*/ 1324 w 7915"/>
                    <a:gd name="connsiteY1" fmla="*/ 18808 h 51816"/>
                    <a:gd name="connsiteX2" fmla="*/ 7053 w 7915"/>
                    <a:gd name="connsiteY2" fmla="*/ 35250 h 51816"/>
                    <a:gd name="connsiteX3" fmla="*/ 717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02" y="0"/>
                      </a:moveTo>
                      <a:cubicBezTo>
                        <a:pt x="-669" y="8346"/>
                        <a:pt x="203" y="14573"/>
                        <a:pt x="1324" y="18808"/>
                      </a:cubicBezTo>
                      <a:cubicBezTo>
                        <a:pt x="3068" y="25535"/>
                        <a:pt x="5559" y="28275"/>
                        <a:pt x="7053" y="35250"/>
                      </a:cubicBezTo>
                      <a:cubicBezTo>
                        <a:pt x="8424" y="41976"/>
                        <a:pt x="7925"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0" name="Freeform 4644">
                  <a:extLst>
                    <a:ext uri="{FF2B5EF4-FFF2-40B4-BE49-F238E27FC236}">
                      <a16:creationId xmlns:a16="http://schemas.microsoft.com/office/drawing/2014/main" id="{64F52D6C-0C96-8DCD-0C78-019C3701E1DB}"/>
                    </a:ext>
                  </a:extLst>
                </p:cNvPr>
                <p:cNvSpPr/>
                <p:nvPr/>
              </p:nvSpPr>
              <p:spPr>
                <a:xfrm>
                  <a:off x="6718018" y="5676915"/>
                  <a:ext cx="7722" cy="51691"/>
                </a:xfrm>
                <a:custGeom>
                  <a:avLst/>
                  <a:gdLst>
                    <a:gd name="connsiteX0" fmla="*/ 7723 w 7722"/>
                    <a:gd name="connsiteY0" fmla="*/ 51691 h 51691"/>
                    <a:gd name="connsiteX1" fmla="*/ 3239 w 7722"/>
                    <a:gd name="connsiteY1" fmla="*/ 33381 h 51691"/>
                    <a:gd name="connsiteX2" fmla="*/ 4360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4"/>
                        <a:pt x="3363" y="37741"/>
                        <a:pt x="3239" y="33381"/>
                      </a:cubicBezTo>
                      <a:cubicBezTo>
                        <a:pt x="3114" y="26406"/>
                        <a:pt x="4733"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1" name="Freeform 4645">
                  <a:extLst>
                    <a:ext uri="{FF2B5EF4-FFF2-40B4-BE49-F238E27FC236}">
                      <a16:creationId xmlns:a16="http://schemas.microsoft.com/office/drawing/2014/main" id="{BE3A7162-33D4-7E10-84CD-0D3A257C3098}"/>
                    </a:ext>
                  </a:extLst>
                </p:cNvPr>
                <p:cNvSpPr/>
                <p:nvPr/>
              </p:nvSpPr>
              <p:spPr>
                <a:xfrm>
                  <a:off x="6701078" y="5662311"/>
                  <a:ext cx="26530" cy="26438"/>
                </a:xfrm>
                <a:custGeom>
                  <a:avLst/>
                  <a:gdLst>
                    <a:gd name="connsiteX0" fmla="*/ 26406 w 26530"/>
                    <a:gd name="connsiteY0" fmla="*/ 11365 h 26438"/>
                    <a:gd name="connsiteX1" fmla="*/ 15071 w 26530"/>
                    <a:gd name="connsiteY1" fmla="*/ 26312 h 26438"/>
                    <a:gd name="connsiteX2" fmla="*/ 124 w 26530"/>
                    <a:gd name="connsiteY2" fmla="*/ 15102 h 26438"/>
                    <a:gd name="connsiteX3" fmla="*/ 11459 w 26530"/>
                    <a:gd name="connsiteY3" fmla="*/ 154 h 26438"/>
                    <a:gd name="connsiteX4" fmla="*/ 26406 w 26530"/>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38">
                      <a:moveTo>
                        <a:pt x="26406" y="11365"/>
                      </a:moveTo>
                      <a:cubicBezTo>
                        <a:pt x="27402" y="18589"/>
                        <a:pt x="22296" y="25315"/>
                        <a:pt x="15071" y="26312"/>
                      </a:cubicBezTo>
                      <a:cubicBezTo>
                        <a:pt x="7847" y="27308"/>
                        <a:pt x="1121" y="22326"/>
                        <a:pt x="124" y="15102"/>
                      </a:cubicBezTo>
                      <a:cubicBezTo>
                        <a:pt x="-872" y="7877"/>
                        <a:pt x="4235" y="1151"/>
                        <a:pt x="11459" y="154"/>
                      </a:cubicBezTo>
                      <a:cubicBezTo>
                        <a:pt x="18683" y="-967"/>
                        <a:pt x="25410" y="4140"/>
                        <a:pt x="26406"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2" name="Freeform 4646">
                  <a:extLst>
                    <a:ext uri="{FF2B5EF4-FFF2-40B4-BE49-F238E27FC236}">
                      <a16:creationId xmlns:a16="http://schemas.microsoft.com/office/drawing/2014/main" id="{5F0B8754-E8AD-167C-80BE-21AB037C4608}"/>
                    </a:ext>
                  </a:extLst>
                </p:cNvPr>
                <p:cNvSpPr/>
                <p:nvPr/>
              </p:nvSpPr>
              <p:spPr>
                <a:xfrm>
                  <a:off x="6726373" y="5737450"/>
                  <a:ext cx="7915" cy="51815"/>
                </a:xfrm>
                <a:custGeom>
                  <a:avLst/>
                  <a:gdLst>
                    <a:gd name="connsiteX0" fmla="*/ 7214 w 7915"/>
                    <a:gd name="connsiteY0" fmla="*/ 51816 h 51815"/>
                    <a:gd name="connsiteX1" fmla="*/ 6592 w 7915"/>
                    <a:gd name="connsiteY1" fmla="*/ 33008 h 51815"/>
                    <a:gd name="connsiteX2" fmla="*/ 863 w 7915"/>
                    <a:gd name="connsiteY2" fmla="*/ 16566 h 51815"/>
                    <a:gd name="connsiteX3" fmla="*/ 738 w 7915"/>
                    <a:gd name="connsiteY3" fmla="*/ 0 h 51815"/>
                  </a:gdLst>
                  <a:ahLst/>
                  <a:cxnLst>
                    <a:cxn ang="0">
                      <a:pos x="connsiteX0" y="connsiteY0"/>
                    </a:cxn>
                    <a:cxn ang="0">
                      <a:pos x="connsiteX1" y="connsiteY1"/>
                    </a:cxn>
                    <a:cxn ang="0">
                      <a:pos x="connsiteX2" y="connsiteY2"/>
                    </a:cxn>
                    <a:cxn ang="0">
                      <a:pos x="connsiteX3" y="connsiteY3"/>
                    </a:cxn>
                  </a:cxnLst>
                  <a:rect l="l" t="t" r="r" b="b"/>
                  <a:pathLst>
                    <a:path w="7915" h="51815">
                      <a:moveTo>
                        <a:pt x="7214" y="51816"/>
                      </a:moveTo>
                      <a:cubicBezTo>
                        <a:pt x="8585" y="43471"/>
                        <a:pt x="7713" y="37243"/>
                        <a:pt x="6592" y="33008"/>
                      </a:cubicBezTo>
                      <a:cubicBezTo>
                        <a:pt x="4848" y="26281"/>
                        <a:pt x="2357" y="23541"/>
                        <a:pt x="863" y="16566"/>
                      </a:cubicBezTo>
                      <a:cubicBezTo>
                        <a:pt x="-508" y="9840"/>
                        <a:pt x="-9" y="3986"/>
                        <a:pt x="73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3" name="Freeform 4647">
                  <a:extLst>
                    <a:ext uri="{FF2B5EF4-FFF2-40B4-BE49-F238E27FC236}">
                      <a16:creationId xmlns:a16="http://schemas.microsoft.com/office/drawing/2014/main" id="{8AC20117-5768-9F02-1077-1672DF849849}"/>
                    </a:ext>
                  </a:extLst>
                </p:cNvPr>
                <p:cNvSpPr/>
                <p:nvPr/>
              </p:nvSpPr>
              <p:spPr>
                <a:xfrm>
                  <a:off x="6719512" y="5743678"/>
                  <a:ext cx="7847" cy="51691"/>
                </a:xfrm>
                <a:custGeom>
                  <a:avLst/>
                  <a:gdLst>
                    <a:gd name="connsiteX0" fmla="*/ 0 w 7847"/>
                    <a:gd name="connsiteY0" fmla="*/ 0 h 51691"/>
                    <a:gd name="connsiteX1" fmla="*/ 4485 w 7847"/>
                    <a:gd name="connsiteY1" fmla="*/ 18310 h 51691"/>
                    <a:gd name="connsiteX2" fmla="*/ 3488 w 7847"/>
                    <a:gd name="connsiteY2" fmla="*/ 35748 h 51691"/>
                    <a:gd name="connsiteX3" fmla="*/ 7847 w 7847"/>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847" h="51690">
                      <a:moveTo>
                        <a:pt x="0" y="0"/>
                      </a:moveTo>
                      <a:cubicBezTo>
                        <a:pt x="3488" y="7598"/>
                        <a:pt x="4360" y="13950"/>
                        <a:pt x="4485" y="18310"/>
                      </a:cubicBezTo>
                      <a:cubicBezTo>
                        <a:pt x="4609" y="25285"/>
                        <a:pt x="2990" y="28648"/>
                        <a:pt x="3488" y="35748"/>
                      </a:cubicBezTo>
                      <a:cubicBezTo>
                        <a:pt x="3986" y="42599"/>
                        <a:pt x="6104" y="48079"/>
                        <a:pt x="78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4" name="Freeform 4648">
                  <a:extLst>
                    <a:ext uri="{FF2B5EF4-FFF2-40B4-BE49-F238E27FC236}">
                      <a16:creationId xmlns:a16="http://schemas.microsoft.com/office/drawing/2014/main" id="{0AC05666-3AE5-EF6A-63F4-9B67E537116D}"/>
                    </a:ext>
                  </a:extLst>
                </p:cNvPr>
                <p:cNvSpPr/>
                <p:nvPr/>
              </p:nvSpPr>
              <p:spPr>
                <a:xfrm>
                  <a:off x="6717767" y="5783534"/>
                  <a:ext cx="26283" cy="26535"/>
                </a:xfrm>
                <a:custGeom>
                  <a:avLst/>
                  <a:gdLst>
                    <a:gd name="connsiteX0" fmla="*/ 127 w 26283"/>
                    <a:gd name="connsiteY0" fmla="*/ 15073 h 26535"/>
                    <a:gd name="connsiteX1" fmla="*/ 11337 w 26283"/>
                    <a:gd name="connsiteY1" fmla="*/ 127 h 26535"/>
                    <a:gd name="connsiteX2" fmla="*/ 26159 w 26283"/>
                    <a:gd name="connsiteY2" fmla="*/ 11462 h 26535"/>
                    <a:gd name="connsiteX3" fmla="*/ 14949 w 26283"/>
                    <a:gd name="connsiteY3" fmla="*/ 26408 h 26535"/>
                    <a:gd name="connsiteX4" fmla="*/ 127 w 26283"/>
                    <a:gd name="connsiteY4" fmla="*/ 15073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5">
                      <a:moveTo>
                        <a:pt x="127" y="15073"/>
                      </a:moveTo>
                      <a:cubicBezTo>
                        <a:pt x="-870" y="7849"/>
                        <a:pt x="4112" y="1123"/>
                        <a:pt x="11337" y="127"/>
                      </a:cubicBezTo>
                      <a:cubicBezTo>
                        <a:pt x="18561" y="-870"/>
                        <a:pt x="25162" y="4113"/>
                        <a:pt x="26159" y="11462"/>
                      </a:cubicBezTo>
                      <a:cubicBezTo>
                        <a:pt x="27156" y="18810"/>
                        <a:pt x="22048" y="25412"/>
                        <a:pt x="14949" y="26408"/>
                      </a:cubicBezTo>
                      <a:cubicBezTo>
                        <a:pt x="7725" y="27405"/>
                        <a:pt x="1123" y="22423"/>
                        <a:pt x="127" y="150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6" name="Graphic 2987">
                <a:extLst>
                  <a:ext uri="{FF2B5EF4-FFF2-40B4-BE49-F238E27FC236}">
                    <a16:creationId xmlns:a16="http://schemas.microsoft.com/office/drawing/2014/main" id="{D04C15D7-3C5B-FC6B-A18F-7A1257DC515B}"/>
                  </a:ext>
                </a:extLst>
              </p:cNvPr>
              <p:cNvGrpSpPr/>
              <p:nvPr/>
            </p:nvGrpSpPr>
            <p:grpSpPr>
              <a:xfrm>
                <a:off x="6730474" y="5658259"/>
                <a:ext cx="42847" cy="147819"/>
                <a:chOff x="6730474" y="5658259"/>
                <a:chExt cx="42847" cy="147819"/>
              </a:xfrm>
              <a:grpFill/>
            </p:grpSpPr>
            <p:sp>
              <p:nvSpPr>
                <p:cNvPr id="4823" name="Freeform 4650">
                  <a:extLst>
                    <a:ext uri="{FF2B5EF4-FFF2-40B4-BE49-F238E27FC236}">
                      <a16:creationId xmlns:a16="http://schemas.microsoft.com/office/drawing/2014/main" id="{301147D3-BDA5-B9E0-EA07-49A6F70F98AC}"/>
                    </a:ext>
                  </a:extLst>
                </p:cNvPr>
                <p:cNvSpPr/>
                <p:nvPr/>
              </p:nvSpPr>
              <p:spPr>
                <a:xfrm>
                  <a:off x="6740354" y="5679032"/>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1" y="28399"/>
                        <a:pt x="6935" y="35250"/>
                      </a:cubicBezTo>
                      <a:cubicBezTo>
                        <a:pt x="8305" y="41976"/>
                        <a:pt x="7683"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4" name="Freeform 4651">
                  <a:extLst>
                    <a:ext uri="{FF2B5EF4-FFF2-40B4-BE49-F238E27FC236}">
                      <a16:creationId xmlns:a16="http://schemas.microsoft.com/office/drawing/2014/main" id="{F20D8E85-0F19-A1BC-0880-D909670BAA52}"/>
                    </a:ext>
                  </a:extLst>
                </p:cNvPr>
                <p:cNvSpPr/>
                <p:nvPr/>
              </p:nvSpPr>
              <p:spPr>
                <a:xfrm>
                  <a:off x="6747289" y="5673178"/>
                  <a:ext cx="7722" cy="51566"/>
                </a:xfrm>
                <a:custGeom>
                  <a:avLst/>
                  <a:gdLst>
                    <a:gd name="connsiteX0" fmla="*/ 7723 w 7722"/>
                    <a:gd name="connsiteY0" fmla="*/ 51567 h 51566"/>
                    <a:gd name="connsiteX1" fmla="*/ 3239 w 7722"/>
                    <a:gd name="connsiteY1" fmla="*/ 33257 h 51566"/>
                    <a:gd name="connsiteX2" fmla="*/ 4359 w 7722"/>
                    <a:gd name="connsiteY2" fmla="*/ 15943 h 51566"/>
                    <a:gd name="connsiteX3" fmla="*/ 0 w 7722"/>
                    <a:gd name="connsiteY3" fmla="*/ 0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51567"/>
                      </a:moveTo>
                      <a:cubicBezTo>
                        <a:pt x="4235" y="43969"/>
                        <a:pt x="3363" y="37616"/>
                        <a:pt x="3239" y="33257"/>
                      </a:cubicBezTo>
                      <a:cubicBezTo>
                        <a:pt x="3114" y="26281"/>
                        <a:pt x="4858" y="22919"/>
                        <a:pt x="4359" y="15943"/>
                      </a:cubicBezTo>
                      <a:cubicBezTo>
                        <a:pt x="3986" y="9092"/>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5" name="Freeform 4652">
                  <a:extLst>
                    <a:ext uri="{FF2B5EF4-FFF2-40B4-BE49-F238E27FC236}">
                      <a16:creationId xmlns:a16="http://schemas.microsoft.com/office/drawing/2014/main" id="{03CB2265-C097-9F8B-9CFA-A9518F4D2265}"/>
                    </a:ext>
                  </a:extLst>
                </p:cNvPr>
                <p:cNvSpPr/>
                <p:nvPr/>
              </p:nvSpPr>
              <p:spPr>
                <a:xfrm>
                  <a:off x="6730474" y="5658259"/>
                  <a:ext cx="26654" cy="26500"/>
                </a:xfrm>
                <a:custGeom>
                  <a:avLst/>
                  <a:gdLst>
                    <a:gd name="connsiteX0" fmla="*/ 26530 w 26654"/>
                    <a:gd name="connsiteY0" fmla="*/ 11556 h 26500"/>
                    <a:gd name="connsiteX1" fmla="*/ 15071 w 26654"/>
                    <a:gd name="connsiteY1" fmla="*/ 26378 h 26500"/>
                    <a:gd name="connsiteX2" fmla="*/ 124 w 26654"/>
                    <a:gd name="connsiteY2" fmla="*/ 14919 h 26500"/>
                    <a:gd name="connsiteX3" fmla="*/ 11584 w 26654"/>
                    <a:gd name="connsiteY3" fmla="*/ 97 h 26500"/>
                    <a:gd name="connsiteX4" fmla="*/ 26530 w 26654"/>
                    <a:gd name="connsiteY4" fmla="*/ 11556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99">
                      <a:moveTo>
                        <a:pt x="26530" y="11556"/>
                      </a:moveTo>
                      <a:cubicBezTo>
                        <a:pt x="27527" y="18781"/>
                        <a:pt x="22420" y="25506"/>
                        <a:pt x="15071" y="26378"/>
                      </a:cubicBezTo>
                      <a:cubicBezTo>
                        <a:pt x="7847" y="27375"/>
                        <a:pt x="1121" y="22144"/>
                        <a:pt x="124" y="14919"/>
                      </a:cubicBezTo>
                      <a:cubicBezTo>
                        <a:pt x="-872" y="7695"/>
                        <a:pt x="4235" y="969"/>
                        <a:pt x="11584" y="97"/>
                      </a:cubicBezTo>
                      <a:cubicBezTo>
                        <a:pt x="18808" y="-775"/>
                        <a:pt x="25534" y="4332"/>
                        <a:pt x="26530"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6" name="Freeform 4653">
                  <a:extLst>
                    <a:ext uri="{FF2B5EF4-FFF2-40B4-BE49-F238E27FC236}">
                      <a16:creationId xmlns:a16="http://schemas.microsoft.com/office/drawing/2014/main" id="{55B996BF-694D-20D9-F436-7BED047DE9D9}"/>
                    </a:ext>
                  </a:extLst>
                </p:cNvPr>
                <p:cNvSpPr/>
                <p:nvPr/>
              </p:nvSpPr>
              <p:spPr>
                <a:xfrm>
                  <a:off x="6755820" y="5733713"/>
                  <a:ext cx="7620" cy="51691"/>
                </a:xfrm>
                <a:custGeom>
                  <a:avLst/>
                  <a:gdLst>
                    <a:gd name="connsiteX0" fmla="*/ 6914 w 7620"/>
                    <a:gd name="connsiteY0" fmla="*/ 51691 h 51691"/>
                    <a:gd name="connsiteX1" fmla="*/ 6416 w 7620"/>
                    <a:gd name="connsiteY1" fmla="*/ 32883 h 51691"/>
                    <a:gd name="connsiteX2" fmla="*/ 810 w 7620"/>
                    <a:gd name="connsiteY2" fmla="*/ 16442 h 51691"/>
                    <a:gd name="connsiteX3" fmla="*/ 810 w 7620"/>
                    <a:gd name="connsiteY3" fmla="*/ 0 h 51691"/>
                  </a:gdLst>
                  <a:ahLst/>
                  <a:cxnLst>
                    <a:cxn ang="0">
                      <a:pos x="connsiteX0" y="connsiteY0"/>
                    </a:cxn>
                    <a:cxn ang="0">
                      <a:pos x="connsiteX1" y="connsiteY1"/>
                    </a:cxn>
                    <a:cxn ang="0">
                      <a:pos x="connsiteX2" y="connsiteY2"/>
                    </a:cxn>
                    <a:cxn ang="0">
                      <a:pos x="connsiteX3" y="connsiteY3"/>
                    </a:cxn>
                  </a:cxnLst>
                  <a:rect l="l" t="t" r="r" b="b"/>
                  <a:pathLst>
                    <a:path w="7620" h="51690">
                      <a:moveTo>
                        <a:pt x="6914" y="51691"/>
                      </a:moveTo>
                      <a:cubicBezTo>
                        <a:pt x="8284" y="43346"/>
                        <a:pt x="7412" y="37118"/>
                        <a:pt x="6416" y="32883"/>
                      </a:cubicBezTo>
                      <a:cubicBezTo>
                        <a:pt x="4672" y="26033"/>
                        <a:pt x="2180"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7" name="Freeform 4654">
                  <a:extLst>
                    <a:ext uri="{FF2B5EF4-FFF2-40B4-BE49-F238E27FC236}">
                      <a16:creationId xmlns:a16="http://schemas.microsoft.com/office/drawing/2014/main" id="{439F7C32-4870-2C45-442B-1F33FB8DE51E}"/>
                    </a:ext>
                  </a:extLst>
                </p:cNvPr>
                <p:cNvSpPr/>
                <p:nvPr/>
              </p:nvSpPr>
              <p:spPr>
                <a:xfrm>
                  <a:off x="6748784" y="5739692"/>
                  <a:ext cx="7722" cy="51566"/>
                </a:xfrm>
                <a:custGeom>
                  <a:avLst/>
                  <a:gdLst>
                    <a:gd name="connsiteX0" fmla="*/ 0 w 7722"/>
                    <a:gd name="connsiteY0" fmla="*/ 0 h 51566"/>
                    <a:gd name="connsiteX1" fmla="*/ 4484 w 7722"/>
                    <a:gd name="connsiteY1" fmla="*/ 18310 h 51566"/>
                    <a:gd name="connsiteX2" fmla="*/ 3363 w 7722"/>
                    <a:gd name="connsiteY2" fmla="*/ 35623 h 51566"/>
                    <a:gd name="connsiteX3" fmla="*/ 7723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0" y="0"/>
                      </a:moveTo>
                      <a:cubicBezTo>
                        <a:pt x="3487" y="7598"/>
                        <a:pt x="4359" y="13950"/>
                        <a:pt x="4484" y="18310"/>
                      </a:cubicBezTo>
                      <a:cubicBezTo>
                        <a:pt x="4609" y="25285"/>
                        <a:pt x="2989" y="28648"/>
                        <a:pt x="3363" y="35623"/>
                      </a:cubicBezTo>
                      <a:cubicBezTo>
                        <a:pt x="3737" y="42474"/>
                        <a:pt x="5979" y="47955"/>
                        <a:pt x="772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8" name="Freeform 4655">
                  <a:extLst>
                    <a:ext uri="{FF2B5EF4-FFF2-40B4-BE49-F238E27FC236}">
                      <a16:creationId xmlns:a16="http://schemas.microsoft.com/office/drawing/2014/main" id="{E4D110E2-C36F-61DD-EF3D-BBE43E3CD80D}"/>
                    </a:ext>
                  </a:extLst>
                </p:cNvPr>
                <p:cNvSpPr/>
                <p:nvPr/>
              </p:nvSpPr>
              <p:spPr>
                <a:xfrm>
                  <a:off x="6746915" y="5779578"/>
                  <a:ext cx="26406" cy="26500"/>
                </a:xfrm>
                <a:custGeom>
                  <a:avLst/>
                  <a:gdLst>
                    <a:gd name="connsiteX0" fmla="*/ 124 w 26406"/>
                    <a:gd name="connsiteY0" fmla="*/ 14919 h 26500"/>
                    <a:gd name="connsiteX1" fmla="*/ 11459 w 26406"/>
                    <a:gd name="connsiteY1" fmla="*/ 97 h 26500"/>
                    <a:gd name="connsiteX2" fmla="*/ 26282 w 26406"/>
                    <a:gd name="connsiteY2" fmla="*/ 11556 h 26500"/>
                    <a:gd name="connsiteX3" fmla="*/ 14947 w 26406"/>
                    <a:gd name="connsiteY3" fmla="*/ 26379 h 26500"/>
                    <a:gd name="connsiteX4" fmla="*/ 124 w 26406"/>
                    <a:gd name="connsiteY4" fmla="*/ 149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499">
                      <a:moveTo>
                        <a:pt x="124" y="14919"/>
                      </a:moveTo>
                      <a:cubicBezTo>
                        <a:pt x="-872" y="7695"/>
                        <a:pt x="4235" y="969"/>
                        <a:pt x="11459" y="97"/>
                      </a:cubicBezTo>
                      <a:cubicBezTo>
                        <a:pt x="18683" y="-775"/>
                        <a:pt x="25285" y="4332"/>
                        <a:pt x="26282" y="11556"/>
                      </a:cubicBezTo>
                      <a:cubicBezTo>
                        <a:pt x="27278" y="18781"/>
                        <a:pt x="22171" y="25507"/>
                        <a:pt x="14947" y="26379"/>
                      </a:cubicBezTo>
                      <a:cubicBezTo>
                        <a:pt x="7722" y="27375"/>
                        <a:pt x="1121"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7" name="Graphic 2987">
                <a:extLst>
                  <a:ext uri="{FF2B5EF4-FFF2-40B4-BE49-F238E27FC236}">
                    <a16:creationId xmlns:a16="http://schemas.microsoft.com/office/drawing/2014/main" id="{16987D0E-D86D-BF65-4577-662D5BB51210}"/>
                  </a:ext>
                </a:extLst>
              </p:cNvPr>
              <p:cNvGrpSpPr/>
              <p:nvPr/>
            </p:nvGrpSpPr>
            <p:grpSpPr>
              <a:xfrm>
                <a:off x="6759869" y="5654397"/>
                <a:ext cx="42598" cy="147919"/>
                <a:chOff x="6759869" y="5654397"/>
                <a:chExt cx="42598" cy="147919"/>
              </a:xfrm>
              <a:grpFill/>
            </p:grpSpPr>
            <p:sp>
              <p:nvSpPr>
                <p:cNvPr id="4817" name="Freeform 4657">
                  <a:extLst>
                    <a:ext uri="{FF2B5EF4-FFF2-40B4-BE49-F238E27FC236}">
                      <a16:creationId xmlns:a16="http://schemas.microsoft.com/office/drawing/2014/main" id="{985DBB3F-113F-E595-2752-8844BA61FECF}"/>
                    </a:ext>
                  </a:extLst>
                </p:cNvPr>
                <p:cNvSpPr/>
                <p:nvPr/>
              </p:nvSpPr>
              <p:spPr>
                <a:xfrm>
                  <a:off x="6769874" y="5675171"/>
                  <a:ext cx="7620" cy="51691"/>
                </a:xfrm>
                <a:custGeom>
                  <a:avLst/>
                  <a:gdLst>
                    <a:gd name="connsiteX0" fmla="*/ 707 w 7620"/>
                    <a:gd name="connsiteY0" fmla="*/ 0 h 51691"/>
                    <a:gd name="connsiteX1" fmla="*/ 1205 w 7620"/>
                    <a:gd name="connsiteY1" fmla="*/ 18808 h 51691"/>
                    <a:gd name="connsiteX2" fmla="*/ 6810 w 7620"/>
                    <a:gd name="connsiteY2" fmla="*/ 35250 h 51691"/>
                    <a:gd name="connsiteX3" fmla="*/ 6810 w 762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0" h="51690">
                      <a:moveTo>
                        <a:pt x="707" y="0"/>
                      </a:moveTo>
                      <a:cubicBezTo>
                        <a:pt x="-663" y="8345"/>
                        <a:pt x="209" y="14573"/>
                        <a:pt x="1205" y="18808"/>
                      </a:cubicBezTo>
                      <a:cubicBezTo>
                        <a:pt x="2949" y="25659"/>
                        <a:pt x="5440" y="28399"/>
                        <a:pt x="6810" y="35250"/>
                      </a:cubicBezTo>
                      <a:cubicBezTo>
                        <a:pt x="8180" y="41976"/>
                        <a:pt x="7558" y="47830"/>
                        <a:pt x="6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8" name="Freeform 4658">
                  <a:extLst>
                    <a:ext uri="{FF2B5EF4-FFF2-40B4-BE49-F238E27FC236}">
                      <a16:creationId xmlns:a16="http://schemas.microsoft.com/office/drawing/2014/main" id="{87687592-EA18-2883-66D0-50BEE59AEE05}"/>
                    </a:ext>
                  </a:extLst>
                </p:cNvPr>
                <p:cNvSpPr/>
                <p:nvPr/>
              </p:nvSpPr>
              <p:spPr>
                <a:xfrm>
                  <a:off x="6776934" y="5669317"/>
                  <a:ext cx="7473" cy="51566"/>
                </a:xfrm>
                <a:custGeom>
                  <a:avLst/>
                  <a:gdLst>
                    <a:gd name="connsiteX0" fmla="*/ 7473 w 7473"/>
                    <a:gd name="connsiteY0" fmla="*/ 51567 h 51566"/>
                    <a:gd name="connsiteX1" fmla="*/ 3114 w 7473"/>
                    <a:gd name="connsiteY1" fmla="*/ 33257 h 51566"/>
                    <a:gd name="connsiteX2" fmla="*/ 4235 w 7473"/>
                    <a:gd name="connsiteY2" fmla="*/ 15943 h 51566"/>
                    <a:gd name="connsiteX3" fmla="*/ 0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7473" y="51567"/>
                      </a:moveTo>
                      <a:cubicBezTo>
                        <a:pt x="3986" y="43969"/>
                        <a:pt x="3114" y="37616"/>
                        <a:pt x="3114" y="33257"/>
                      </a:cubicBezTo>
                      <a:cubicBezTo>
                        <a:pt x="2989" y="26281"/>
                        <a:pt x="4733" y="22919"/>
                        <a:pt x="4235" y="15943"/>
                      </a:cubicBezTo>
                      <a:cubicBezTo>
                        <a:pt x="3861" y="9092"/>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9" name="Freeform 4659">
                  <a:extLst>
                    <a:ext uri="{FF2B5EF4-FFF2-40B4-BE49-F238E27FC236}">
                      <a16:creationId xmlns:a16="http://schemas.microsoft.com/office/drawing/2014/main" id="{5EDB6405-BFE8-8178-3D44-11256378EAE2}"/>
                    </a:ext>
                  </a:extLst>
                </p:cNvPr>
                <p:cNvSpPr/>
                <p:nvPr/>
              </p:nvSpPr>
              <p:spPr>
                <a:xfrm>
                  <a:off x="6759869" y="5654397"/>
                  <a:ext cx="26652" cy="26475"/>
                </a:xfrm>
                <a:custGeom>
                  <a:avLst/>
                  <a:gdLst>
                    <a:gd name="connsiteX0" fmla="*/ 26531 w 26652"/>
                    <a:gd name="connsiteY0" fmla="*/ 11556 h 26475"/>
                    <a:gd name="connsiteX1" fmla="*/ 15071 w 26652"/>
                    <a:gd name="connsiteY1" fmla="*/ 26378 h 26475"/>
                    <a:gd name="connsiteX2" fmla="*/ 124 w 26652"/>
                    <a:gd name="connsiteY2" fmla="*/ 14919 h 26475"/>
                    <a:gd name="connsiteX3" fmla="*/ 11584 w 26652"/>
                    <a:gd name="connsiteY3" fmla="*/ 97 h 26475"/>
                    <a:gd name="connsiteX4" fmla="*/ 26531 w 26652"/>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474">
                      <a:moveTo>
                        <a:pt x="26531" y="11556"/>
                      </a:moveTo>
                      <a:cubicBezTo>
                        <a:pt x="27527" y="18781"/>
                        <a:pt x="22296" y="25506"/>
                        <a:pt x="15071" y="26378"/>
                      </a:cubicBezTo>
                      <a:cubicBezTo>
                        <a:pt x="7847" y="27250"/>
                        <a:pt x="1121" y="22144"/>
                        <a:pt x="124" y="14919"/>
                      </a:cubicBezTo>
                      <a:cubicBezTo>
                        <a:pt x="-872" y="7695"/>
                        <a:pt x="4235" y="969"/>
                        <a:pt x="11584" y="97"/>
                      </a:cubicBezTo>
                      <a:cubicBezTo>
                        <a:pt x="18932" y="-775"/>
                        <a:pt x="25659" y="4332"/>
                        <a:pt x="26531"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0" name="Freeform 4660">
                  <a:extLst>
                    <a:ext uri="{FF2B5EF4-FFF2-40B4-BE49-F238E27FC236}">
                      <a16:creationId xmlns:a16="http://schemas.microsoft.com/office/drawing/2014/main" id="{FD150CAB-7EEB-CAFB-501F-2215F6975165}"/>
                    </a:ext>
                  </a:extLst>
                </p:cNvPr>
                <p:cNvSpPr/>
                <p:nvPr/>
              </p:nvSpPr>
              <p:spPr>
                <a:xfrm>
                  <a:off x="6784966" y="5729852"/>
                  <a:ext cx="7621" cy="51691"/>
                </a:xfrm>
                <a:custGeom>
                  <a:avLst/>
                  <a:gdLst>
                    <a:gd name="connsiteX0" fmla="*/ 6914 w 7621"/>
                    <a:gd name="connsiteY0" fmla="*/ 51691 h 51691"/>
                    <a:gd name="connsiteX1" fmla="*/ 6416 w 7621"/>
                    <a:gd name="connsiteY1" fmla="*/ 32883 h 51691"/>
                    <a:gd name="connsiteX2" fmla="*/ 810 w 7621"/>
                    <a:gd name="connsiteY2" fmla="*/ 16442 h 51691"/>
                    <a:gd name="connsiteX3" fmla="*/ 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51691"/>
                      </a:moveTo>
                      <a:cubicBezTo>
                        <a:pt x="8284" y="43346"/>
                        <a:pt x="7412" y="37118"/>
                        <a:pt x="6416" y="32883"/>
                      </a:cubicBezTo>
                      <a:cubicBezTo>
                        <a:pt x="4796" y="26033"/>
                        <a:pt x="2181"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1" name="Freeform 4661">
                  <a:extLst>
                    <a:ext uri="{FF2B5EF4-FFF2-40B4-BE49-F238E27FC236}">
                      <a16:creationId xmlns:a16="http://schemas.microsoft.com/office/drawing/2014/main" id="{C693FFD9-76AC-CC45-E6F0-DB1E2D1F3097}"/>
                    </a:ext>
                  </a:extLst>
                </p:cNvPr>
                <p:cNvSpPr/>
                <p:nvPr/>
              </p:nvSpPr>
              <p:spPr>
                <a:xfrm>
                  <a:off x="6778179" y="5735831"/>
                  <a:ext cx="7473" cy="51566"/>
                </a:xfrm>
                <a:custGeom>
                  <a:avLst/>
                  <a:gdLst>
                    <a:gd name="connsiteX0" fmla="*/ 0 w 7473"/>
                    <a:gd name="connsiteY0" fmla="*/ 0 h 51566"/>
                    <a:gd name="connsiteX1" fmla="*/ 4360 w 7473"/>
                    <a:gd name="connsiteY1" fmla="*/ 18310 h 51566"/>
                    <a:gd name="connsiteX2" fmla="*/ 3239 w 7473"/>
                    <a:gd name="connsiteY2" fmla="*/ 35623 h 51566"/>
                    <a:gd name="connsiteX3" fmla="*/ 7474 w 747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473" h="51566">
                      <a:moveTo>
                        <a:pt x="0" y="0"/>
                      </a:moveTo>
                      <a:cubicBezTo>
                        <a:pt x="3488" y="7598"/>
                        <a:pt x="4360" y="13950"/>
                        <a:pt x="4360" y="18310"/>
                      </a:cubicBezTo>
                      <a:cubicBezTo>
                        <a:pt x="4484" y="25285"/>
                        <a:pt x="2741" y="28648"/>
                        <a:pt x="3239" y="35623"/>
                      </a:cubicBezTo>
                      <a:cubicBezTo>
                        <a:pt x="3612" y="42474"/>
                        <a:pt x="5855" y="48079"/>
                        <a:pt x="7474"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2" name="Freeform 4662">
                  <a:extLst>
                    <a:ext uri="{FF2B5EF4-FFF2-40B4-BE49-F238E27FC236}">
                      <a16:creationId xmlns:a16="http://schemas.microsoft.com/office/drawing/2014/main" id="{7D2FEF8D-4F29-A66F-64F0-1C955A64BAF0}"/>
                    </a:ext>
                  </a:extLst>
                </p:cNvPr>
                <p:cNvSpPr/>
                <p:nvPr/>
              </p:nvSpPr>
              <p:spPr>
                <a:xfrm>
                  <a:off x="6776062" y="5775841"/>
                  <a:ext cx="26405" cy="26475"/>
                </a:xfrm>
                <a:custGeom>
                  <a:avLst/>
                  <a:gdLst>
                    <a:gd name="connsiteX0" fmla="*/ 124 w 26405"/>
                    <a:gd name="connsiteY0" fmla="*/ 14919 h 26475"/>
                    <a:gd name="connsiteX1" fmla="*/ 11459 w 26405"/>
                    <a:gd name="connsiteY1" fmla="*/ 97 h 26475"/>
                    <a:gd name="connsiteX2" fmla="*/ 26281 w 26405"/>
                    <a:gd name="connsiteY2" fmla="*/ 11556 h 26475"/>
                    <a:gd name="connsiteX3" fmla="*/ 14947 w 26405"/>
                    <a:gd name="connsiteY3" fmla="*/ 26378 h 26475"/>
                    <a:gd name="connsiteX4" fmla="*/ 124 w 26405"/>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74">
                      <a:moveTo>
                        <a:pt x="124" y="14919"/>
                      </a:moveTo>
                      <a:cubicBezTo>
                        <a:pt x="-872" y="7695"/>
                        <a:pt x="4234" y="969"/>
                        <a:pt x="11459" y="97"/>
                      </a:cubicBezTo>
                      <a:cubicBezTo>
                        <a:pt x="18683" y="-775"/>
                        <a:pt x="25284" y="4332"/>
                        <a:pt x="26281" y="11556"/>
                      </a:cubicBezTo>
                      <a:cubicBezTo>
                        <a:pt x="27278" y="18781"/>
                        <a:pt x="22171" y="25506"/>
                        <a:pt x="14947" y="26378"/>
                      </a:cubicBezTo>
                      <a:cubicBezTo>
                        <a:pt x="7722" y="27250"/>
                        <a:pt x="1120"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8" name="Graphic 2987">
                <a:extLst>
                  <a:ext uri="{FF2B5EF4-FFF2-40B4-BE49-F238E27FC236}">
                    <a16:creationId xmlns:a16="http://schemas.microsoft.com/office/drawing/2014/main" id="{45B79712-11AE-C067-592A-96E0344635B5}"/>
                  </a:ext>
                </a:extLst>
              </p:cNvPr>
              <p:cNvGrpSpPr/>
              <p:nvPr/>
            </p:nvGrpSpPr>
            <p:grpSpPr>
              <a:xfrm>
                <a:off x="6789392" y="5650633"/>
                <a:ext cx="42320" cy="147946"/>
                <a:chOff x="6789392" y="5650633"/>
                <a:chExt cx="42320" cy="147946"/>
              </a:xfrm>
              <a:grpFill/>
            </p:grpSpPr>
            <p:sp>
              <p:nvSpPr>
                <p:cNvPr id="4811" name="Freeform 4664">
                  <a:extLst>
                    <a:ext uri="{FF2B5EF4-FFF2-40B4-BE49-F238E27FC236}">
                      <a16:creationId xmlns:a16="http://schemas.microsoft.com/office/drawing/2014/main" id="{B1E864F2-9291-3D62-FE37-397C84F6331C}"/>
                    </a:ext>
                  </a:extLst>
                </p:cNvPr>
                <p:cNvSpPr/>
                <p:nvPr/>
              </p:nvSpPr>
              <p:spPr>
                <a:xfrm>
                  <a:off x="6799361" y="5671434"/>
                  <a:ext cx="7653" cy="51691"/>
                </a:xfrm>
                <a:custGeom>
                  <a:avLst/>
                  <a:gdLst>
                    <a:gd name="connsiteX0" fmla="*/ 740 w 7653"/>
                    <a:gd name="connsiteY0" fmla="*/ 0 h 51691"/>
                    <a:gd name="connsiteX1" fmla="*/ 1238 w 7653"/>
                    <a:gd name="connsiteY1" fmla="*/ 18808 h 51691"/>
                    <a:gd name="connsiteX2" fmla="*/ 6844 w 7653"/>
                    <a:gd name="connsiteY2" fmla="*/ 35250 h 51691"/>
                    <a:gd name="connsiteX3" fmla="*/ 6844 w 765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53" h="51690">
                      <a:moveTo>
                        <a:pt x="740" y="0"/>
                      </a:moveTo>
                      <a:cubicBezTo>
                        <a:pt x="-630" y="8346"/>
                        <a:pt x="118" y="14573"/>
                        <a:pt x="1238" y="18808"/>
                      </a:cubicBezTo>
                      <a:cubicBezTo>
                        <a:pt x="2858" y="25659"/>
                        <a:pt x="5474" y="28399"/>
                        <a:pt x="6844" y="35250"/>
                      </a:cubicBezTo>
                      <a:cubicBezTo>
                        <a:pt x="8213" y="41976"/>
                        <a:pt x="7591" y="47830"/>
                        <a:pt x="6844"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2" name="Freeform 4665">
                  <a:extLst>
                    <a:ext uri="{FF2B5EF4-FFF2-40B4-BE49-F238E27FC236}">
                      <a16:creationId xmlns:a16="http://schemas.microsoft.com/office/drawing/2014/main" id="{67DB00A0-6ABC-9EF5-1915-6D2C5DFCE2F9}"/>
                    </a:ext>
                  </a:extLst>
                </p:cNvPr>
                <p:cNvSpPr/>
                <p:nvPr/>
              </p:nvSpPr>
              <p:spPr>
                <a:xfrm>
                  <a:off x="6806454" y="5665456"/>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2"/>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3" name="Freeform 4666">
                  <a:extLst>
                    <a:ext uri="{FF2B5EF4-FFF2-40B4-BE49-F238E27FC236}">
                      <a16:creationId xmlns:a16="http://schemas.microsoft.com/office/drawing/2014/main" id="{30B67C3D-8ECB-6AB0-DDC6-B095197715CA}"/>
                    </a:ext>
                  </a:extLst>
                </p:cNvPr>
                <p:cNvSpPr/>
                <p:nvPr/>
              </p:nvSpPr>
              <p:spPr>
                <a:xfrm>
                  <a:off x="6789392" y="5650633"/>
                  <a:ext cx="26624" cy="26527"/>
                </a:xfrm>
                <a:custGeom>
                  <a:avLst/>
                  <a:gdLst>
                    <a:gd name="connsiteX0" fmla="*/ 26528 w 26624"/>
                    <a:gd name="connsiteY0" fmla="*/ 11584 h 26527"/>
                    <a:gd name="connsiteX1" fmla="*/ 15068 w 26624"/>
                    <a:gd name="connsiteY1" fmla="*/ 26406 h 26527"/>
                    <a:gd name="connsiteX2" fmla="*/ 122 w 26624"/>
                    <a:gd name="connsiteY2" fmla="*/ 14947 h 26527"/>
                    <a:gd name="connsiteX3" fmla="*/ 11581 w 26624"/>
                    <a:gd name="connsiteY3" fmla="*/ 124 h 26527"/>
                    <a:gd name="connsiteX4" fmla="*/ 26528 w 26624"/>
                    <a:gd name="connsiteY4" fmla="*/ 11584 h 26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27">
                      <a:moveTo>
                        <a:pt x="26528" y="11584"/>
                      </a:moveTo>
                      <a:cubicBezTo>
                        <a:pt x="27400" y="18808"/>
                        <a:pt x="22293" y="25534"/>
                        <a:pt x="15068" y="26406"/>
                      </a:cubicBezTo>
                      <a:cubicBezTo>
                        <a:pt x="7844" y="27402"/>
                        <a:pt x="1118" y="22171"/>
                        <a:pt x="122" y="14947"/>
                      </a:cubicBezTo>
                      <a:cubicBezTo>
                        <a:pt x="-875" y="7722"/>
                        <a:pt x="4356" y="996"/>
                        <a:pt x="11581" y="124"/>
                      </a:cubicBezTo>
                      <a:cubicBezTo>
                        <a:pt x="18929" y="-872"/>
                        <a:pt x="25656" y="4235"/>
                        <a:pt x="26528" y="11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4" name="Freeform 4667">
                  <a:extLst>
                    <a:ext uri="{FF2B5EF4-FFF2-40B4-BE49-F238E27FC236}">
                      <a16:creationId xmlns:a16="http://schemas.microsoft.com/office/drawing/2014/main" id="{068B7D2A-2378-1CB8-DF8C-58D019288847}"/>
                    </a:ext>
                  </a:extLst>
                </p:cNvPr>
                <p:cNvSpPr/>
                <p:nvPr/>
              </p:nvSpPr>
              <p:spPr>
                <a:xfrm>
                  <a:off x="6814238" y="5725990"/>
                  <a:ext cx="7653" cy="51816"/>
                </a:xfrm>
                <a:custGeom>
                  <a:avLst/>
                  <a:gdLst>
                    <a:gd name="connsiteX0" fmla="*/ 6914 w 7653"/>
                    <a:gd name="connsiteY0" fmla="*/ 51816 h 51816"/>
                    <a:gd name="connsiteX1" fmla="*/ 6416 w 7653"/>
                    <a:gd name="connsiteY1" fmla="*/ 33008 h 51816"/>
                    <a:gd name="connsiteX2" fmla="*/ 810 w 7653"/>
                    <a:gd name="connsiteY2" fmla="*/ 16442 h 51816"/>
                    <a:gd name="connsiteX3" fmla="*/ 810 w 7653"/>
                    <a:gd name="connsiteY3" fmla="*/ 0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51816"/>
                      </a:moveTo>
                      <a:cubicBezTo>
                        <a:pt x="8284" y="43471"/>
                        <a:pt x="7536" y="37243"/>
                        <a:pt x="6416" y="33008"/>
                      </a:cubicBezTo>
                      <a:cubicBezTo>
                        <a:pt x="4796" y="26157"/>
                        <a:pt x="2305" y="23417"/>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5" name="Freeform 4668">
                  <a:extLst>
                    <a:ext uri="{FF2B5EF4-FFF2-40B4-BE49-F238E27FC236}">
                      <a16:creationId xmlns:a16="http://schemas.microsoft.com/office/drawing/2014/main" id="{AD042E2A-4A95-1D11-ABB9-F3ABA4C77C56}"/>
                    </a:ext>
                  </a:extLst>
                </p:cNvPr>
                <p:cNvSpPr/>
                <p:nvPr/>
              </p:nvSpPr>
              <p:spPr>
                <a:xfrm>
                  <a:off x="6807451" y="5732094"/>
                  <a:ext cx="7473" cy="51567"/>
                </a:xfrm>
                <a:custGeom>
                  <a:avLst/>
                  <a:gdLst>
                    <a:gd name="connsiteX0" fmla="*/ 0 w 7473"/>
                    <a:gd name="connsiteY0" fmla="*/ 0 h 51567"/>
                    <a:gd name="connsiteX1" fmla="*/ 4359 w 7473"/>
                    <a:gd name="connsiteY1" fmla="*/ 18310 h 51567"/>
                    <a:gd name="connsiteX2" fmla="*/ 3238 w 7473"/>
                    <a:gd name="connsiteY2" fmla="*/ 35624 h 51567"/>
                    <a:gd name="connsiteX3" fmla="*/ 7473 w 7473"/>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473" h="51567">
                      <a:moveTo>
                        <a:pt x="0" y="0"/>
                      </a:moveTo>
                      <a:cubicBezTo>
                        <a:pt x="3487" y="7598"/>
                        <a:pt x="4235" y="13950"/>
                        <a:pt x="4359" y="18310"/>
                      </a:cubicBezTo>
                      <a:cubicBezTo>
                        <a:pt x="4484" y="25285"/>
                        <a:pt x="2740" y="28648"/>
                        <a:pt x="3238" y="35624"/>
                      </a:cubicBezTo>
                      <a:cubicBezTo>
                        <a:pt x="3612" y="42474"/>
                        <a:pt x="5729" y="48079"/>
                        <a:pt x="747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6" name="Freeform 4669">
                  <a:extLst>
                    <a:ext uri="{FF2B5EF4-FFF2-40B4-BE49-F238E27FC236}">
                      <a16:creationId xmlns:a16="http://schemas.microsoft.com/office/drawing/2014/main" id="{83D67596-95F8-8B1A-96B5-D4A7B155648E}"/>
                    </a:ext>
                  </a:extLst>
                </p:cNvPr>
                <p:cNvSpPr/>
                <p:nvPr/>
              </p:nvSpPr>
              <p:spPr>
                <a:xfrm>
                  <a:off x="6805333" y="5772104"/>
                  <a:ext cx="26380" cy="26475"/>
                </a:xfrm>
                <a:custGeom>
                  <a:avLst/>
                  <a:gdLst>
                    <a:gd name="connsiteX0" fmla="*/ 124 w 26380"/>
                    <a:gd name="connsiteY0" fmla="*/ 14919 h 26475"/>
                    <a:gd name="connsiteX1" fmla="*/ 11459 w 26380"/>
                    <a:gd name="connsiteY1" fmla="*/ 97 h 26475"/>
                    <a:gd name="connsiteX2" fmla="*/ 26281 w 26380"/>
                    <a:gd name="connsiteY2" fmla="*/ 11556 h 26475"/>
                    <a:gd name="connsiteX3" fmla="*/ 14947 w 26380"/>
                    <a:gd name="connsiteY3" fmla="*/ 26379 h 26475"/>
                    <a:gd name="connsiteX4" fmla="*/ 124 w 2638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4919"/>
                      </a:moveTo>
                      <a:cubicBezTo>
                        <a:pt x="-872" y="7695"/>
                        <a:pt x="4235" y="969"/>
                        <a:pt x="11459" y="97"/>
                      </a:cubicBezTo>
                      <a:cubicBezTo>
                        <a:pt x="18683" y="-775"/>
                        <a:pt x="25285" y="4332"/>
                        <a:pt x="26281" y="11556"/>
                      </a:cubicBezTo>
                      <a:cubicBezTo>
                        <a:pt x="27153" y="18781"/>
                        <a:pt x="22171" y="25507"/>
                        <a:pt x="14947" y="26379"/>
                      </a:cubicBezTo>
                      <a:cubicBezTo>
                        <a:pt x="7597" y="27251"/>
                        <a:pt x="996"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9" name="Graphic 2987">
                <a:extLst>
                  <a:ext uri="{FF2B5EF4-FFF2-40B4-BE49-F238E27FC236}">
                    <a16:creationId xmlns:a16="http://schemas.microsoft.com/office/drawing/2014/main" id="{EF47AC3C-2312-6110-791F-EAD81009D1E3}"/>
                  </a:ext>
                </a:extLst>
              </p:cNvPr>
              <p:cNvGrpSpPr/>
              <p:nvPr/>
            </p:nvGrpSpPr>
            <p:grpSpPr>
              <a:xfrm>
                <a:off x="6818937" y="5646799"/>
                <a:ext cx="41795" cy="147946"/>
                <a:chOff x="6818937" y="5646799"/>
                <a:chExt cx="41795" cy="147946"/>
              </a:xfrm>
              <a:grpFill/>
            </p:grpSpPr>
            <p:sp>
              <p:nvSpPr>
                <p:cNvPr id="4805" name="Freeform 4671">
                  <a:extLst>
                    <a:ext uri="{FF2B5EF4-FFF2-40B4-BE49-F238E27FC236}">
                      <a16:creationId xmlns:a16="http://schemas.microsoft.com/office/drawing/2014/main" id="{6FB0A30D-B35B-BF6C-E44C-B6D0B1F557E9}"/>
                    </a:ext>
                  </a:extLst>
                </p:cNvPr>
                <p:cNvSpPr/>
                <p:nvPr/>
              </p:nvSpPr>
              <p:spPr>
                <a:xfrm>
                  <a:off x="6828695" y="5667573"/>
                  <a:ext cx="7581" cy="51940"/>
                </a:xfrm>
                <a:custGeom>
                  <a:avLst/>
                  <a:gdLst>
                    <a:gd name="connsiteX0" fmla="*/ 802 w 7581"/>
                    <a:gd name="connsiteY0" fmla="*/ 0 h 51940"/>
                    <a:gd name="connsiteX1" fmla="*/ 1176 w 7581"/>
                    <a:gd name="connsiteY1" fmla="*/ 18808 h 51940"/>
                    <a:gd name="connsiteX2" fmla="*/ 6781 w 7581"/>
                    <a:gd name="connsiteY2" fmla="*/ 35374 h 51940"/>
                    <a:gd name="connsiteX3" fmla="*/ 6656 w 758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581" h="51940">
                      <a:moveTo>
                        <a:pt x="802" y="0"/>
                      </a:moveTo>
                      <a:cubicBezTo>
                        <a:pt x="-693" y="8346"/>
                        <a:pt x="179" y="14573"/>
                        <a:pt x="1176" y="18808"/>
                      </a:cubicBezTo>
                      <a:cubicBezTo>
                        <a:pt x="2795" y="25659"/>
                        <a:pt x="5286" y="28399"/>
                        <a:pt x="6781" y="35374"/>
                      </a:cubicBezTo>
                      <a:cubicBezTo>
                        <a:pt x="8151" y="42101"/>
                        <a:pt x="7528" y="47955"/>
                        <a:pt x="665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6" name="Freeform 4672">
                  <a:extLst>
                    <a:ext uri="{FF2B5EF4-FFF2-40B4-BE49-F238E27FC236}">
                      <a16:creationId xmlns:a16="http://schemas.microsoft.com/office/drawing/2014/main" id="{AA3739B6-8E58-32BC-C113-9315414DFEC6}"/>
                    </a:ext>
                  </a:extLst>
                </p:cNvPr>
                <p:cNvSpPr/>
                <p:nvPr/>
              </p:nvSpPr>
              <p:spPr>
                <a:xfrm>
                  <a:off x="6835849" y="5661594"/>
                  <a:ext cx="7349" cy="51691"/>
                </a:xfrm>
                <a:custGeom>
                  <a:avLst/>
                  <a:gdLst>
                    <a:gd name="connsiteX0" fmla="*/ 7349 w 7349"/>
                    <a:gd name="connsiteY0" fmla="*/ 51692 h 51691"/>
                    <a:gd name="connsiteX1" fmla="*/ 2989 w 7349"/>
                    <a:gd name="connsiteY1" fmla="*/ 33382 h 51691"/>
                    <a:gd name="connsiteX2" fmla="*/ 4235 w 7349"/>
                    <a:gd name="connsiteY2" fmla="*/ 15943 h 51691"/>
                    <a:gd name="connsiteX3" fmla="*/ 0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51692"/>
                      </a:moveTo>
                      <a:cubicBezTo>
                        <a:pt x="3861" y="43969"/>
                        <a:pt x="3114" y="37741"/>
                        <a:pt x="2989" y="33382"/>
                      </a:cubicBezTo>
                      <a:cubicBezTo>
                        <a:pt x="2865" y="26407"/>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7" name="Freeform 4673">
                  <a:extLst>
                    <a:ext uri="{FF2B5EF4-FFF2-40B4-BE49-F238E27FC236}">
                      <a16:creationId xmlns:a16="http://schemas.microsoft.com/office/drawing/2014/main" id="{DFEDB2C5-8C74-6280-4BB7-9AF840779674}"/>
                    </a:ext>
                  </a:extLst>
                </p:cNvPr>
                <p:cNvSpPr/>
                <p:nvPr/>
              </p:nvSpPr>
              <p:spPr>
                <a:xfrm>
                  <a:off x="6818937" y="5646799"/>
                  <a:ext cx="26599" cy="26475"/>
                </a:xfrm>
                <a:custGeom>
                  <a:avLst/>
                  <a:gdLst>
                    <a:gd name="connsiteX0" fmla="*/ 26503 w 26599"/>
                    <a:gd name="connsiteY0" fmla="*/ 11556 h 26475"/>
                    <a:gd name="connsiteX1" fmla="*/ 14919 w 26599"/>
                    <a:gd name="connsiteY1" fmla="*/ 26379 h 26475"/>
                    <a:gd name="connsiteX2" fmla="*/ 97 w 26599"/>
                    <a:gd name="connsiteY2" fmla="*/ 14919 h 26475"/>
                    <a:gd name="connsiteX3" fmla="*/ 11681 w 26599"/>
                    <a:gd name="connsiteY3" fmla="*/ 97 h 26475"/>
                    <a:gd name="connsiteX4" fmla="*/ 26503 w 26599"/>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4">
                      <a:moveTo>
                        <a:pt x="26503" y="11556"/>
                      </a:moveTo>
                      <a:cubicBezTo>
                        <a:pt x="27375" y="18781"/>
                        <a:pt x="22268" y="25507"/>
                        <a:pt x="14919" y="26379"/>
                      </a:cubicBezTo>
                      <a:cubicBezTo>
                        <a:pt x="7570" y="27250"/>
                        <a:pt x="969" y="22144"/>
                        <a:pt x="97" y="14919"/>
                      </a:cubicBezTo>
                      <a:cubicBezTo>
                        <a:pt x="-775" y="7695"/>
                        <a:pt x="4331" y="969"/>
                        <a:pt x="11681" y="97"/>
                      </a:cubicBezTo>
                      <a:cubicBezTo>
                        <a:pt x="18904" y="-775"/>
                        <a:pt x="25631" y="4332"/>
                        <a:pt x="26503"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8" name="Freeform 4674">
                  <a:extLst>
                    <a:ext uri="{FF2B5EF4-FFF2-40B4-BE49-F238E27FC236}">
                      <a16:creationId xmlns:a16="http://schemas.microsoft.com/office/drawing/2014/main" id="{8708B920-C677-FF2A-5B50-451233E536E3}"/>
                    </a:ext>
                  </a:extLst>
                </p:cNvPr>
                <p:cNvSpPr/>
                <p:nvPr/>
              </p:nvSpPr>
              <p:spPr>
                <a:xfrm>
                  <a:off x="6843768" y="5722129"/>
                  <a:ext cx="7456" cy="51940"/>
                </a:xfrm>
                <a:custGeom>
                  <a:avLst/>
                  <a:gdLst>
                    <a:gd name="connsiteX0" fmla="*/ 6655 w 7456"/>
                    <a:gd name="connsiteY0" fmla="*/ 51940 h 51940"/>
                    <a:gd name="connsiteX1" fmla="*/ 6281 w 7456"/>
                    <a:gd name="connsiteY1" fmla="*/ 33132 h 51940"/>
                    <a:gd name="connsiteX2" fmla="*/ 801 w 7456"/>
                    <a:gd name="connsiteY2" fmla="*/ 16566 h 51940"/>
                    <a:gd name="connsiteX3" fmla="*/ 926 w 7456"/>
                    <a:gd name="connsiteY3" fmla="*/ 0 h 51940"/>
                  </a:gdLst>
                  <a:ahLst/>
                  <a:cxnLst>
                    <a:cxn ang="0">
                      <a:pos x="connsiteX0" y="connsiteY0"/>
                    </a:cxn>
                    <a:cxn ang="0">
                      <a:pos x="connsiteX1" y="connsiteY1"/>
                    </a:cxn>
                    <a:cxn ang="0">
                      <a:pos x="connsiteX2" y="connsiteY2"/>
                    </a:cxn>
                    <a:cxn ang="0">
                      <a:pos x="connsiteX3" y="connsiteY3"/>
                    </a:cxn>
                  </a:cxnLst>
                  <a:rect l="l" t="t" r="r" b="b"/>
                  <a:pathLst>
                    <a:path w="7456" h="51940">
                      <a:moveTo>
                        <a:pt x="6655" y="51940"/>
                      </a:moveTo>
                      <a:cubicBezTo>
                        <a:pt x="8149" y="43595"/>
                        <a:pt x="7278" y="37367"/>
                        <a:pt x="6281" y="33132"/>
                      </a:cubicBezTo>
                      <a:cubicBezTo>
                        <a:pt x="4662" y="26281"/>
                        <a:pt x="2171" y="23541"/>
                        <a:pt x="801" y="16566"/>
                      </a:cubicBezTo>
                      <a:cubicBezTo>
                        <a:pt x="-569" y="9840"/>
                        <a:pt x="54" y="3986"/>
                        <a:pt x="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9" name="Freeform 4675">
                  <a:extLst>
                    <a:ext uri="{FF2B5EF4-FFF2-40B4-BE49-F238E27FC236}">
                      <a16:creationId xmlns:a16="http://schemas.microsoft.com/office/drawing/2014/main" id="{24890ED2-CF10-BBF4-036D-D3FFE8DC3398}"/>
                    </a:ext>
                  </a:extLst>
                </p:cNvPr>
                <p:cNvSpPr/>
                <p:nvPr/>
              </p:nvSpPr>
              <p:spPr>
                <a:xfrm>
                  <a:off x="6836846" y="572823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723"/>
                        <a:pt x="4235" y="13950"/>
                        <a:pt x="4359" y="18310"/>
                      </a:cubicBezTo>
                      <a:cubicBezTo>
                        <a:pt x="4484" y="25285"/>
                        <a:pt x="2740" y="28648"/>
                        <a:pt x="3114" y="35748"/>
                      </a:cubicBezTo>
                      <a:cubicBezTo>
                        <a:pt x="3487" y="42599"/>
                        <a:pt x="5605" y="48204"/>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0" name="Freeform 4676">
                  <a:extLst>
                    <a:ext uri="{FF2B5EF4-FFF2-40B4-BE49-F238E27FC236}">
                      <a16:creationId xmlns:a16="http://schemas.microsoft.com/office/drawing/2014/main" id="{86CCA840-AE18-5BFD-CA4A-5DE4D4F3AAE0}"/>
                    </a:ext>
                  </a:extLst>
                </p:cNvPr>
                <p:cNvSpPr/>
                <p:nvPr/>
              </p:nvSpPr>
              <p:spPr>
                <a:xfrm>
                  <a:off x="6834505" y="5768243"/>
                  <a:ext cx="26228" cy="26502"/>
                </a:xfrm>
                <a:custGeom>
                  <a:avLst/>
                  <a:gdLst>
                    <a:gd name="connsiteX0" fmla="*/ 99 w 26228"/>
                    <a:gd name="connsiteY0" fmla="*/ 14919 h 26502"/>
                    <a:gd name="connsiteX1" fmla="*/ 11433 w 26228"/>
                    <a:gd name="connsiteY1" fmla="*/ 97 h 26502"/>
                    <a:gd name="connsiteX2" fmla="*/ 26131 w 26228"/>
                    <a:gd name="connsiteY2" fmla="*/ 11556 h 26502"/>
                    <a:gd name="connsiteX3" fmla="*/ 14797 w 26228"/>
                    <a:gd name="connsiteY3" fmla="*/ 26379 h 26502"/>
                    <a:gd name="connsiteX4" fmla="*/ 99 w 26228"/>
                    <a:gd name="connsiteY4" fmla="*/ 14919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7" h="26502">
                      <a:moveTo>
                        <a:pt x="99" y="14919"/>
                      </a:moveTo>
                      <a:cubicBezTo>
                        <a:pt x="-773" y="7695"/>
                        <a:pt x="4209" y="969"/>
                        <a:pt x="11433" y="97"/>
                      </a:cubicBezTo>
                      <a:cubicBezTo>
                        <a:pt x="18658" y="-775"/>
                        <a:pt x="25259" y="4332"/>
                        <a:pt x="26131" y="11556"/>
                      </a:cubicBezTo>
                      <a:cubicBezTo>
                        <a:pt x="27003" y="18781"/>
                        <a:pt x="21897" y="25507"/>
                        <a:pt x="14797" y="26379"/>
                      </a:cubicBezTo>
                      <a:cubicBezTo>
                        <a:pt x="7697" y="27375"/>
                        <a:pt x="1095" y="22268"/>
                        <a:pt x="99"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0" name="Graphic 2987">
                <a:extLst>
                  <a:ext uri="{FF2B5EF4-FFF2-40B4-BE49-F238E27FC236}">
                    <a16:creationId xmlns:a16="http://schemas.microsoft.com/office/drawing/2014/main" id="{306EB24D-CD07-B5E9-B271-BF930551A710}"/>
                  </a:ext>
                </a:extLst>
              </p:cNvPr>
              <p:cNvGrpSpPr/>
              <p:nvPr/>
            </p:nvGrpSpPr>
            <p:grpSpPr>
              <a:xfrm>
                <a:off x="6848458" y="5643035"/>
                <a:ext cx="41670" cy="147946"/>
                <a:chOff x="6848458" y="5643035"/>
                <a:chExt cx="41670" cy="147946"/>
              </a:xfrm>
              <a:grpFill/>
            </p:grpSpPr>
            <p:sp>
              <p:nvSpPr>
                <p:cNvPr id="4799" name="Freeform 4678">
                  <a:extLst>
                    <a:ext uri="{FF2B5EF4-FFF2-40B4-BE49-F238E27FC236}">
                      <a16:creationId xmlns:a16="http://schemas.microsoft.com/office/drawing/2014/main" id="{9050707F-1830-98E5-FB81-11732E047B82}"/>
                    </a:ext>
                  </a:extLst>
                </p:cNvPr>
                <p:cNvSpPr/>
                <p:nvPr/>
              </p:nvSpPr>
              <p:spPr>
                <a:xfrm>
                  <a:off x="6858215" y="5663712"/>
                  <a:ext cx="7419" cy="51940"/>
                </a:xfrm>
                <a:custGeom>
                  <a:avLst/>
                  <a:gdLst>
                    <a:gd name="connsiteX0" fmla="*/ 802 w 7419"/>
                    <a:gd name="connsiteY0" fmla="*/ 0 h 51940"/>
                    <a:gd name="connsiteX1" fmla="*/ 1176 w 7419"/>
                    <a:gd name="connsiteY1" fmla="*/ 18808 h 51940"/>
                    <a:gd name="connsiteX2" fmla="*/ 6656 w 7419"/>
                    <a:gd name="connsiteY2" fmla="*/ 35374 h 51940"/>
                    <a:gd name="connsiteX3" fmla="*/ 6532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802" y="0"/>
                      </a:moveTo>
                      <a:cubicBezTo>
                        <a:pt x="-693" y="8346"/>
                        <a:pt x="179" y="14573"/>
                        <a:pt x="1176" y="18808"/>
                      </a:cubicBezTo>
                      <a:cubicBezTo>
                        <a:pt x="2795" y="25659"/>
                        <a:pt x="5287" y="28399"/>
                        <a:pt x="6656" y="35374"/>
                      </a:cubicBezTo>
                      <a:cubicBezTo>
                        <a:pt x="8026" y="42101"/>
                        <a:pt x="7279" y="47955"/>
                        <a:pt x="653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0" name="Freeform 4679">
                  <a:extLst>
                    <a:ext uri="{FF2B5EF4-FFF2-40B4-BE49-F238E27FC236}">
                      <a16:creationId xmlns:a16="http://schemas.microsoft.com/office/drawing/2014/main" id="{C09A17A7-D988-2A99-BD5F-1F07182FA5F1}"/>
                    </a:ext>
                  </a:extLst>
                </p:cNvPr>
                <p:cNvSpPr/>
                <p:nvPr/>
              </p:nvSpPr>
              <p:spPr>
                <a:xfrm>
                  <a:off x="6865369" y="5657857"/>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2" y="43969"/>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1" name="Freeform 4680">
                  <a:extLst>
                    <a:ext uri="{FF2B5EF4-FFF2-40B4-BE49-F238E27FC236}">
                      <a16:creationId xmlns:a16="http://schemas.microsoft.com/office/drawing/2014/main" id="{73BF5C3D-E464-2248-D31C-1721E597A9AA}"/>
                    </a:ext>
                  </a:extLst>
                </p:cNvPr>
                <p:cNvSpPr/>
                <p:nvPr/>
              </p:nvSpPr>
              <p:spPr>
                <a:xfrm>
                  <a:off x="6848458" y="5643035"/>
                  <a:ext cx="26599" cy="26502"/>
                </a:xfrm>
                <a:custGeom>
                  <a:avLst/>
                  <a:gdLst>
                    <a:gd name="connsiteX0" fmla="*/ 26503 w 26599"/>
                    <a:gd name="connsiteY0" fmla="*/ 11583 h 26502"/>
                    <a:gd name="connsiteX1" fmla="*/ 14919 w 26599"/>
                    <a:gd name="connsiteY1" fmla="*/ 26406 h 26502"/>
                    <a:gd name="connsiteX2" fmla="*/ 97 w 26599"/>
                    <a:gd name="connsiteY2" fmla="*/ 14947 h 26502"/>
                    <a:gd name="connsiteX3" fmla="*/ 11681 w 26599"/>
                    <a:gd name="connsiteY3" fmla="*/ 124 h 26502"/>
                    <a:gd name="connsiteX4" fmla="*/ 26503 w 26599"/>
                    <a:gd name="connsiteY4" fmla="*/ 11583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02">
                      <a:moveTo>
                        <a:pt x="26503" y="11583"/>
                      </a:moveTo>
                      <a:cubicBezTo>
                        <a:pt x="27375" y="18808"/>
                        <a:pt x="22268" y="25534"/>
                        <a:pt x="14919" y="26406"/>
                      </a:cubicBezTo>
                      <a:cubicBezTo>
                        <a:pt x="7570" y="27278"/>
                        <a:pt x="969" y="22171"/>
                        <a:pt x="97" y="14947"/>
                      </a:cubicBezTo>
                      <a:cubicBezTo>
                        <a:pt x="-775" y="7722"/>
                        <a:pt x="4331" y="996"/>
                        <a:pt x="11681" y="124"/>
                      </a:cubicBezTo>
                      <a:cubicBezTo>
                        <a:pt x="18905" y="-872"/>
                        <a:pt x="25631" y="4234"/>
                        <a:pt x="26503" y="115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2" name="Freeform 4681">
                  <a:extLst>
                    <a:ext uri="{FF2B5EF4-FFF2-40B4-BE49-F238E27FC236}">
                      <a16:creationId xmlns:a16="http://schemas.microsoft.com/office/drawing/2014/main" id="{CCED01A4-C2B2-9397-2835-E4E81684158A}"/>
                    </a:ext>
                  </a:extLst>
                </p:cNvPr>
                <p:cNvSpPr/>
                <p:nvPr/>
              </p:nvSpPr>
              <p:spPr>
                <a:xfrm>
                  <a:off x="6872951" y="5718268"/>
                  <a:ext cx="7419" cy="51940"/>
                </a:xfrm>
                <a:custGeom>
                  <a:avLst/>
                  <a:gdLst>
                    <a:gd name="connsiteX0" fmla="*/ 6618 w 7419"/>
                    <a:gd name="connsiteY0" fmla="*/ 51940 h 51940"/>
                    <a:gd name="connsiteX1" fmla="*/ 6244 w 7419"/>
                    <a:gd name="connsiteY1" fmla="*/ 33132 h 51940"/>
                    <a:gd name="connsiteX2" fmla="*/ 763 w 7419"/>
                    <a:gd name="connsiteY2" fmla="*/ 16566 h 51940"/>
                    <a:gd name="connsiteX3" fmla="*/ 888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6618" y="51940"/>
                      </a:moveTo>
                      <a:cubicBezTo>
                        <a:pt x="8113" y="43595"/>
                        <a:pt x="7241" y="37367"/>
                        <a:pt x="6244" y="33132"/>
                      </a:cubicBezTo>
                      <a:cubicBezTo>
                        <a:pt x="4625" y="26281"/>
                        <a:pt x="2134" y="23541"/>
                        <a:pt x="763" y="16566"/>
                      </a:cubicBezTo>
                      <a:cubicBezTo>
                        <a:pt x="-607" y="9840"/>
                        <a:pt x="141" y="3986"/>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3" name="Freeform 4682">
                  <a:extLst>
                    <a:ext uri="{FF2B5EF4-FFF2-40B4-BE49-F238E27FC236}">
                      <a16:creationId xmlns:a16="http://schemas.microsoft.com/office/drawing/2014/main" id="{49DEE8E6-E903-8C9C-42AE-8C536E0A27AF}"/>
                    </a:ext>
                  </a:extLst>
                </p:cNvPr>
                <p:cNvSpPr/>
                <p:nvPr/>
              </p:nvSpPr>
              <p:spPr>
                <a:xfrm>
                  <a:off x="6866117" y="5724496"/>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723"/>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4" name="Freeform 4683">
                  <a:extLst>
                    <a:ext uri="{FF2B5EF4-FFF2-40B4-BE49-F238E27FC236}">
                      <a16:creationId xmlns:a16="http://schemas.microsoft.com/office/drawing/2014/main" id="{54E6F19D-CFF8-C516-E21B-95A9744C4E52}"/>
                    </a:ext>
                  </a:extLst>
                </p:cNvPr>
                <p:cNvSpPr/>
                <p:nvPr/>
              </p:nvSpPr>
              <p:spPr>
                <a:xfrm>
                  <a:off x="6863778" y="5764506"/>
                  <a:ext cx="26350" cy="26475"/>
                </a:xfrm>
                <a:custGeom>
                  <a:avLst/>
                  <a:gdLst>
                    <a:gd name="connsiteX0" fmla="*/ 97 w 26350"/>
                    <a:gd name="connsiteY0" fmla="*/ 14919 h 26475"/>
                    <a:gd name="connsiteX1" fmla="*/ 11556 w 26350"/>
                    <a:gd name="connsiteY1" fmla="*/ 97 h 26475"/>
                    <a:gd name="connsiteX2" fmla="*/ 26254 w 26350"/>
                    <a:gd name="connsiteY2" fmla="*/ 11556 h 26475"/>
                    <a:gd name="connsiteX3" fmla="*/ 14795 w 26350"/>
                    <a:gd name="connsiteY3" fmla="*/ 26378 h 26475"/>
                    <a:gd name="connsiteX4" fmla="*/ 97 w 2635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4919"/>
                      </a:moveTo>
                      <a:cubicBezTo>
                        <a:pt x="-775" y="7695"/>
                        <a:pt x="4332" y="969"/>
                        <a:pt x="11556" y="97"/>
                      </a:cubicBezTo>
                      <a:cubicBezTo>
                        <a:pt x="18781" y="-775"/>
                        <a:pt x="25383" y="4332"/>
                        <a:pt x="26254" y="11556"/>
                      </a:cubicBezTo>
                      <a:cubicBezTo>
                        <a:pt x="27126" y="18781"/>
                        <a:pt x="22019" y="25507"/>
                        <a:pt x="14795" y="26378"/>
                      </a:cubicBezTo>
                      <a:cubicBezTo>
                        <a:pt x="7570" y="27250"/>
                        <a:pt x="969" y="22144"/>
                        <a:pt x="97"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1" name="Graphic 2987">
                <a:extLst>
                  <a:ext uri="{FF2B5EF4-FFF2-40B4-BE49-F238E27FC236}">
                    <a16:creationId xmlns:a16="http://schemas.microsoft.com/office/drawing/2014/main" id="{CC6C4995-7C3F-CE88-C6EE-F917490C3402}"/>
                  </a:ext>
                </a:extLst>
              </p:cNvPr>
              <p:cNvGrpSpPr/>
              <p:nvPr/>
            </p:nvGrpSpPr>
            <p:grpSpPr>
              <a:xfrm>
                <a:off x="6877978" y="5639326"/>
                <a:ext cx="41297" cy="147919"/>
                <a:chOff x="6877978" y="5639326"/>
                <a:chExt cx="41297" cy="147919"/>
              </a:xfrm>
              <a:grpFill/>
            </p:grpSpPr>
            <p:sp>
              <p:nvSpPr>
                <p:cNvPr id="4793" name="Freeform 4685">
                  <a:extLst>
                    <a:ext uri="{FF2B5EF4-FFF2-40B4-BE49-F238E27FC236}">
                      <a16:creationId xmlns:a16="http://schemas.microsoft.com/office/drawing/2014/main" id="{601424DE-6E9D-222D-BA15-CE5643BA9EFA}"/>
                    </a:ext>
                  </a:extLst>
                </p:cNvPr>
                <p:cNvSpPr/>
                <p:nvPr/>
              </p:nvSpPr>
              <p:spPr>
                <a:xfrm>
                  <a:off x="6887576" y="5659975"/>
                  <a:ext cx="7454" cy="51815"/>
                </a:xfrm>
                <a:custGeom>
                  <a:avLst/>
                  <a:gdLst>
                    <a:gd name="connsiteX0" fmla="*/ 838 w 7454"/>
                    <a:gd name="connsiteY0" fmla="*/ 0 h 51815"/>
                    <a:gd name="connsiteX1" fmla="*/ 1211 w 7454"/>
                    <a:gd name="connsiteY1" fmla="*/ 18808 h 51815"/>
                    <a:gd name="connsiteX2" fmla="*/ 6691 w 7454"/>
                    <a:gd name="connsiteY2" fmla="*/ 35374 h 51815"/>
                    <a:gd name="connsiteX3" fmla="*/ 6567 w 74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4" h="51815">
                      <a:moveTo>
                        <a:pt x="838" y="0"/>
                      </a:moveTo>
                      <a:cubicBezTo>
                        <a:pt x="-658" y="8345"/>
                        <a:pt x="89" y="14573"/>
                        <a:pt x="1211" y="18808"/>
                      </a:cubicBezTo>
                      <a:cubicBezTo>
                        <a:pt x="2830" y="25659"/>
                        <a:pt x="5321" y="28399"/>
                        <a:pt x="6691" y="35374"/>
                      </a:cubicBezTo>
                      <a:cubicBezTo>
                        <a:pt x="8061" y="42100"/>
                        <a:pt x="7314" y="47954"/>
                        <a:pt x="656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4" name="Freeform 4686">
                  <a:extLst>
                    <a:ext uri="{FF2B5EF4-FFF2-40B4-BE49-F238E27FC236}">
                      <a16:creationId xmlns:a16="http://schemas.microsoft.com/office/drawing/2014/main" id="{BA9634CD-BAD6-21D2-77A3-65C7D281A43D}"/>
                    </a:ext>
                  </a:extLst>
                </p:cNvPr>
                <p:cNvSpPr/>
                <p:nvPr/>
              </p:nvSpPr>
              <p:spPr>
                <a:xfrm>
                  <a:off x="6894890" y="5654245"/>
                  <a:ext cx="6975" cy="51567"/>
                </a:xfrm>
                <a:custGeom>
                  <a:avLst/>
                  <a:gdLst>
                    <a:gd name="connsiteX0" fmla="*/ 6975 w 6975"/>
                    <a:gd name="connsiteY0" fmla="*/ 51567 h 51567"/>
                    <a:gd name="connsiteX1" fmla="*/ 2741 w 6975"/>
                    <a:gd name="connsiteY1" fmla="*/ 33257 h 51567"/>
                    <a:gd name="connsiteX2" fmla="*/ 4111 w 6975"/>
                    <a:gd name="connsiteY2" fmla="*/ 15943 h 51567"/>
                    <a:gd name="connsiteX3" fmla="*/ 0 w 6975"/>
                    <a:gd name="connsiteY3" fmla="*/ 0 h 51567"/>
                  </a:gdLst>
                  <a:ahLst/>
                  <a:cxnLst>
                    <a:cxn ang="0">
                      <a:pos x="connsiteX0" y="connsiteY0"/>
                    </a:cxn>
                    <a:cxn ang="0">
                      <a:pos x="connsiteX1" y="connsiteY1"/>
                    </a:cxn>
                    <a:cxn ang="0">
                      <a:pos x="connsiteX2" y="connsiteY2"/>
                    </a:cxn>
                    <a:cxn ang="0">
                      <a:pos x="connsiteX3" y="connsiteY3"/>
                    </a:cxn>
                  </a:cxnLst>
                  <a:rect l="l" t="t" r="r" b="b"/>
                  <a:pathLst>
                    <a:path w="6975" h="51567">
                      <a:moveTo>
                        <a:pt x="6975" y="51567"/>
                      </a:moveTo>
                      <a:cubicBezTo>
                        <a:pt x="3488" y="43845"/>
                        <a:pt x="2741" y="37617"/>
                        <a:pt x="2741" y="33257"/>
                      </a:cubicBezTo>
                      <a:cubicBezTo>
                        <a:pt x="2616" y="26282"/>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5" name="Freeform 4687">
                  <a:extLst>
                    <a:ext uri="{FF2B5EF4-FFF2-40B4-BE49-F238E27FC236}">
                      <a16:creationId xmlns:a16="http://schemas.microsoft.com/office/drawing/2014/main" id="{599B767F-A6B4-0293-F221-F889038CCE81}"/>
                    </a:ext>
                  </a:extLst>
                </p:cNvPr>
                <p:cNvSpPr/>
                <p:nvPr/>
              </p:nvSpPr>
              <p:spPr>
                <a:xfrm>
                  <a:off x="6877978" y="5639326"/>
                  <a:ext cx="26598" cy="26475"/>
                </a:xfrm>
                <a:custGeom>
                  <a:avLst/>
                  <a:gdLst>
                    <a:gd name="connsiteX0" fmla="*/ 26503 w 26598"/>
                    <a:gd name="connsiteY0" fmla="*/ 11681 h 26475"/>
                    <a:gd name="connsiteX1" fmla="*/ 14919 w 26598"/>
                    <a:gd name="connsiteY1" fmla="*/ 26379 h 26475"/>
                    <a:gd name="connsiteX2" fmla="*/ 97 w 26598"/>
                    <a:gd name="connsiteY2" fmla="*/ 14919 h 26475"/>
                    <a:gd name="connsiteX3" fmla="*/ 11681 w 26598"/>
                    <a:gd name="connsiteY3" fmla="*/ 97 h 26475"/>
                    <a:gd name="connsiteX4" fmla="*/ 26503 w 26598"/>
                    <a:gd name="connsiteY4" fmla="*/ 11681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8" h="26474">
                      <a:moveTo>
                        <a:pt x="26503" y="11681"/>
                      </a:moveTo>
                      <a:cubicBezTo>
                        <a:pt x="27375" y="18905"/>
                        <a:pt x="22143" y="25507"/>
                        <a:pt x="14919" y="26379"/>
                      </a:cubicBezTo>
                      <a:cubicBezTo>
                        <a:pt x="7570" y="27251"/>
                        <a:pt x="969" y="22144"/>
                        <a:pt x="97" y="14919"/>
                      </a:cubicBezTo>
                      <a:cubicBezTo>
                        <a:pt x="-775" y="7695"/>
                        <a:pt x="4331" y="969"/>
                        <a:pt x="11681" y="97"/>
                      </a:cubicBezTo>
                      <a:cubicBezTo>
                        <a:pt x="18905" y="-775"/>
                        <a:pt x="25631" y="4332"/>
                        <a:pt x="26503"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6" name="Freeform 4688">
                  <a:extLst>
                    <a:ext uri="{FF2B5EF4-FFF2-40B4-BE49-F238E27FC236}">
                      <a16:creationId xmlns:a16="http://schemas.microsoft.com/office/drawing/2014/main" id="{8AE3FF98-E326-119F-777C-530A47990015}"/>
                    </a:ext>
                  </a:extLst>
                </p:cNvPr>
                <p:cNvSpPr/>
                <p:nvPr/>
              </p:nvSpPr>
              <p:spPr>
                <a:xfrm>
                  <a:off x="6902347" y="5714780"/>
                  <a:ext cx="7338" cy="51816"/>
                </a:xfrm>
                <a:custGeom>
                  <a:avLst/>
                  <a:gdLst>
                    <a:gd name="connsiteX0" fmla="*/ 6493 w 7338"/>
                    <a:gd name="connsiteY0" fmla="*/ 51816 h 51816"/>
                    <a:gd name="connsiteX1" fmla="*/ 6244 w 7338"/>
                    <a:gd name="connsiteY1" fmla="*/ 33008 h 51816"/>
                    <a:gd name="connsiteX2" fmla="*/ 764 w 7338"/>
                    <a:gd name="connsiteY2" fmla="*/ 16442 h 51816"/>
                    <a:gd name="connsiteX3" fmla="*/ 888 w 7338"/>
                    <a:gd name="connsiteY3" fmla="*/ 0 h 51816"/>
                  </a:gdLst>
                  <a:ahLst/>
                  <a:cxnLst>
                    <a:cxn ang="0">
                      <a:pos x="connsiteX0" y="connsiteY0"/>
                    </a:cxn>
                    <a:cxn ang="0">
                      <a:pos x="connsiteX1" y="connsiteY1"/>
                    </a:cxn>
                    <a:cxn ang="0">
                      <a:pos x="connsiteX2" y="connsiteY2"/>
                    </a:cxn>
                    <a:cxn ang="0">
                      <a:pos x="connsiteX3" y="connsiteY3"/>
                    </a:cxn>
                  </a:cxnLst>
                  <a:rect l="l" t="t" r="r" b="b"/>
                  <a:pathLst>
                    <a:path w="7338" h="51816">
                      <a:moveTo>
                        <a:pt x="6493" y="51816"/>
                      </a:moveTo>
                      <a:cubicBezTo>
                        <a:pt x="7988" y="43595"/>
                        <a:pt x="7240" y="37243"/>
                        <a:pt x="6244" y="33008"/>
                      </a:cubicBezTo>
                      <a:cubicBezTo>
                        <a:pt x="4625" y="26157"/>
                        <a:pt x="2134" y="23417"/>
                        <a:pt x="764" y="16442"/>
                      </a:cubicBezTo>
                      <a:cubicBezTo>
                        <a:pt x="-607" y="9715"/>
                        <a:pt x="140"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7" name="Freeform 4689">
                  <a:extLst>
                    <a:ext uri="{FF2B5EF4-FFF2-40B4-BE49-F238E27FC236}">
                      <a16:creationId xmlns:a16="http://schemas.microsoft.com/office/drawing/2014/main" id="{DA3A054F-2EA5-83AB-F2FC-9269CA8880FF}"/>
                    </a:ext>
                  </a:extLst>
                </p:cNvPr>
                <p:cNvSpPr/>
                <p:nvPr/>
              </p:nvSpPr>
              <p:spPr>
                <a:xfrm>
                  <a:off x="6895388" y="5720759"/>
                  <a:ext cx="7099" cy="51567"/>
                </a:xfrm>
                <a:custGeom>
                  <a:avLst/>
                  <a:gdLst>
                    <a:gd name="connsiteX0" fmla="*/ 0 w 7099"/>
                    <a:gd name="connsiteY0" fmla="*/ 0 h 51567"/>
                    <a:gd name="connsiteX1" fmla="*/ 4235 w 7099"/>
                    <a:gd name="connsiteY1" fmla="*/ 18310 h 51567"/>
                    <a:gd name="connsiteX2" fmla="*/ 2989 w 7099"/>
                    <a:gd name="connsiteY2" fmla="*/ 35624 h 51567"/>
                    <a:gd name="connsiteX3" fmla="*/ 7099 w 7099"/>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099" h="51567">
                      <a:moveTo>
                        <a:pt x="0" y="0"/>
                      </a:moveTo>
                      <a:cubicBezTo>
                        <a:pt x="3487" y="7723"/>
                        <a:pt x="4235" y="13951"/>
                        <a:pt x="4235" y="18310"/>
                      </a:cubicBezTo>
                      <a:cubicBezTo>
                        <a:pt x="4359" y="25285"/>
                        <a:pt x="2615" y="28524"/>
                        <a:pt x="2989" y="35624"/>
                      </a:cubicBezTo>
                      <a:cubicBezTo>
                        <a:pt x="3363" y="42474"/>
                        <a:pt x="5481" y="48079"/>
                        <a:pt x="709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8" name="Freeform 4690">
                  <a:extLst>
                    <a:ext uri="{FF2B5EF4-FFF2-40B4-BE49-F238E27FC236}">
                      <a16:creationId xmlns:a16="http://schemas.microsoft.com/office/drawing/2014/main" id="{543FA602-2438-CB07-7B58-1D5E2C195783}"/>
                    </a:ext>
                  </a:extLst>
                </p:cNvPr>
                <p:cNvSpPr/>
                <p:nvPr/>
              </p:nvSpPr>
              <p:spPr>
                <a:xfrm>
                  <a:off x="6892925" y="5760771"/>
                  <a:ext cx="26350" cy="26473"/>
                </a:xfrm>
                <a:custGeom>
                  <a:avLst/>
                  <a:gdLst>
                    <a:gd name="connsiteX0" fmla="*/ 97 w 26350"/>
                    <a:gd name="connsiteY0" fmla="*/ 14917 h 26473"/>
                    <a:gd name="connsiteX1" fmla="*/ 11556 w 26350"/>
                    <a:gd name="connsiteY1" fmla="*/ 95 h 26473"/>
                    <a:gd name="connsiteX2" fmla="*/ 26254 w 26350"/>
                    <a:gd name="connsiteY2" fmla="*/ 11679 h 26473"/>
                    <a:gd name="connsiteX3" fmla="*/ 14795 w 26350"/>
                    <a:gd name="connsiteY3" fmla="*/ 26377 h 26473"/>
                    <a:gd name="connsiteX4" fmla="*/ 97 w 26350"/>
                    <a:gd name="connsiteY4" fmla="*/ 14917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3">
                      <a:moveTo>
                        <a:pt x="97" y="14917"/>
                      </a:moveTo>
                      <a:cubicBezTo>
                        <a:pt x="-775" y="7693"/>
                        <a:pt x="4331" y="967"/>
                        <a:pt x="11556" y="95"/>
                      </a:cubicBezTo>
                      <a:cubicBezTo>
                        <a:pt x="18781" y="-777"/>
                        <a:pt x="25382" y="4455"/>
                        <a:pt x="26254" y="11679"/>
                      </a:cubicBezTo>
                      <a:cubicBezTo>
                        <a:pt x="27126" y="18903"/>
                        <a:pt x="22018" y="25505"/>
                        <a:pt x="14795" y="26377"/>
                      </a:cubicBezTo>
                      <a:cubicBezTo>
                        <a:pt x="7570" y="27249"/>
                        <a:pt x="968" y="22142"/>
                        <a:pt x="97" y="149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2" name="Graphic 2987">
                <a:extLst>
                  <a:ext uri="{FF2B5EF4-FFF2-40B4-BE49-F238E27FC236}">
                    <a16:creationId xmlns:a16="http://schemas.microsoft.com/office/drawing/2014/main" id="{9C2FE355-659C-7C8F-6E3C-ED2D4D4625CF}"/>
                  </a:ext>
                </a:extLst>
              </p:cNvPr>
              <p:cNvGrpSpPr/>
              <p:nvPr/>
            </p:nvGrpSpPr>
            <p:grpSpPr>
              <a:xfrm>
                <a:off x="6907500" y="5635840"/>
                <a:ext cx="41046" cy="148040"/>
                <a:chOff x="6907500" y="5635840"/>
                <a:chExt cx="41046" cy="148040"/>
              </a:xfrm>
              <a:grpFill/>
            </p:grpSpPr>
            <p:sp>
              <p:nvSpPr>
                <p:cNvPr id="4787" name="Freeform 4692">
                  <a:extLst>
                    <a:ext uri="{FF2B5EF4-FFF2-40B4-BE49-F238E27FC236}">
                      <a16:creationId xmlns:a16="http://schemas.microsoft.com/office/drawing/2014/main" id="{F6648B5F-D8DD-1CA7-91EA-21F9A457C5BD}"/>
                    </a:ext>
                  </a:extLst>
                </p:cNvPr>
                <p:cNvSpPr/>
                <p:nvPr/>
              </p:nvSpPr>
              <p:spPr>
                <a:xfrm>
                  <a:off x="6917088" y="5656487"/>
                  <a:ext cx="7329" cy="51815"/>
                </a:xfrm>
                <a:custGeom>
                  <a:avLst/>
                  <a:gdLst>
                    <a:gd name="connsiteX0" fmla="*/ 845 w 7329"/>
                    <a:gd name="connsiteY0" fmla="*/ 0 h 51815"/>
                    <a:gd name="connsiteX1" fmla="*/ 1094 w 7329"/>
                    <a:gd name="connsiteY1" fmla="*/ 18808 h 51815"/>
                    <a:gd name="connsiteX2" fmla="*/ 6574 w 7329"/>
                    <a:gd name="connsiteY2" fmla="*/ 35374 h 51815"/>
                    <a:gd name="connsiteX3" fmla="*/ 6326 w 73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29" h="51815">
                      <a:moveTo>
                        <a:pt x="845" y="0"/>
                      </a:moveTo>
                      <a:cubicBezTo>
                        <a:pt x="-649" y="8220"/>
                        <a:pt x="98" y="14573"/>
                        <a:pt x="1094" y="18808"/>
                      </a:cubicBezTo>
                      <a:cubicBezTo>
                        <a:pt x="2713" y="25659"/>
                        <a:pt x="5204" y="28399"/>
                        <a:pt x="6574" y="35374"/>
                      </a:cubicBezTo>
                      <a:cubicBezTo>
                        <a:pt x="7944" y="42100"/>
                        <a:pt x="7197" y="47954"/>
                        <a:pt x="632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8" name="Freeform 4693">
                  <a:extLst>
                    <a:ext uri="{FF2B5EF4-FFF2-40B4-BE49-F238E27FC236}">
                      <a16:creationId xmlns:a16="http://schemas.microsoft.com/office/drawing/2014/main" id="{33C25A89-B07E-4A29-61D0-AC5640015E2C}"/>
                    </a:ext>
                  </a:extLst>
                </p:cNvPr>
                <p:cNvSpPr/>
                <p:nvPr/>
              </p:nvSpPr>
              <p:spPr>
                <a:xfrm>
                  <a:off x="6924285" y="5650882"/>
                  <a:ext cx="6975" cy="51566"/>
                </a:xfrm>
                <a:custGeom>
                  <a:avLst/>
                  <a:gdLst>
                    <a:gd name="connsiteX0" fmla="*/ 6975 w 6975"/>
                    <a:gd name="connsiteY0" fmla="*/ 51567 h 51566"/>
                    <a:gd name="connsiteX1" fmla="*/ 2741 w 6975"/>
                    <a:gd name="connsiteY1" fmla="*/ 33257 h 51566"/>
                    <a:gd name="connsiteX2" fmla="*/ 4111 w 6975"/>
                    <a:gd name="connsiteY2" fmla="*/ 15943 h 51566"/>
                    <a:gd name="connsiteX3" fmla="*/ 0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6975" y="51567"/>
                      </a:moveTo>
                      <a:cubicBezTo>
                        <a:pt x="3613" y="43844"/>
                        <a:pt x="2865" y="37616"/>
                        <a:pt x="2741" y="33257"/>
                      </a:cubicBezTo>
                      <a:cubicBezTo>
                        <a:pt x="2741" y="26281"/>
                        <a:pt x="4485" y="23043"/>
                        <a:pt x="4111" y="15943"/>
                      </a:cubicBezTo>
                      <a:cubicBezTo>
                        <a:pt x="3737"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9" name="Freeform 4694">
                  <a:extLst>
                    <a:ext uri="{FF2B5EF4-FFF2-40B4-BE49-F238E27FC236}">
                      <a16:creationId xmlns:a16="http://schemas.microsoft.com/office/drawing/2014/main" id="{15E9A37E-B60B-AD3F-1DDB-120D6AE074FE}"/>
                    </a:ext>
                  </a:extLst>
                </p:cNvPr>
                <p:cNvSpPr/>
                <p:nvPr/>
              </p:nvSpPr>
              <p:spPr>
                <a:xfrm>
                  <a:off x="6907500" y="5635840"/>
                  <a:ext cx="26596" cy="26471"/>
                </a:xfrm>
                <a:custGeom>
                  <a:avLst/>
                  <a:gdLst>
                    <a:gd name="connsiteX0" fmla="*/ 26501 w 26596"/>
                    <a:gd name="connsiteY0" fmla="*/ 11679 h 26471"/>
                    <a:gd name="connsiteX1" fmla="*/ 14917 w 26596"/>
                    <a:gd name="connsiteY1" fmla="*/ 26377 h 26471"/>
                    <a:gd name="connsiteX2" fmla="*/ 95 w 26596"/>
                    <a:gd name="connsiteY2" fmla="*/ 14793 h 26471"/>
                    <a:gd name="connsiteX3" fmla="*/ 11679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917" y="26377"/>
                      </a:cubicBezTo>
                      <a:cubicBezTo>
                        <a:pt x="7693" y="27249"/>
                        <a:pt x="967" y="22017"/>
                        <a:pt x="95" y="14793"/>
                      </a:cubicBezTo>
                      <a:cubicBezTo>
                        <a:pt x="-777" y="7568"/>
                        <a:pt x="4454" y="967"/>
                        <a:pt x="11679" y="95"/>
                      </a:cubicBezTo>
                      <a:cubicBezTo>
                        <a:pt x="19028"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0" name="Freeform 4695">
                  <a:extLst>
                    <a:ext uri="{FF2B5EF4-FFF2-40B4-BE49-F238E27FC236}">
                      <a16:creationId xmlns:a16="http://schemas.microsoft.com/office/drawing/2014/main" id="{BBD4134A-E648-2D3C-C548-59E4573CC9FF}"/>
                    </a:ext>
                  </a:extLst>
                </p:cNvPr>
                <p:cNvSpPr/>
                <p:nvPr/>
              </p:nvSpPr>
              <p:spPr>
                <a:xfrm>
                  <a:off x="6931805" y="5711417"/>
                  <a:ext cx="7152" cy="51816"/>
                </a:xfrm>
                <a:custGeom>
                  <a:avLst/>
                  <a:gdLst>
                    <a:gd name="connsiteX0" fmla="*/ 6307 w 7152"/>
                    <a:gd name="connsiteY0" fmla="*/ 51816 h 51816"/>
                    <a:gd name="connsiteX1" fmla="*/ 6058 w 7152"/>
                    <a:gd name="connsiteY1" fmla="*/ 33008 h 51816"/>
                    <a:gd name="connsiteX2" fmla="*/ 702 w 7152"/>
                    <a:gd name="connsiteY2" fmla="*/ 16442 h 51816"/>
                    <a:gd name="connsiteX3" fmla="*/ 951 w 7152"/>
                    <a:gd name="connsiteY3" fmla="*/ 0 h 51816"/>
                  </a:gdLst>
                  <a:ahLst/>
                  <a:cxnLst>
                    <a:cxn ang="0">
                      <a:pos x="connsiteX0" y="connsiteY0"/>
                    </a:cxn>
                    <a:cxn ang="0">
                      <a:pos x="connsiteX1" y="connsiteY1"/>
                    </a:cxn>
                    <a:cxn ang="0">
                      <a:pos x="connsiteX2" y="connsiteY2"/>
                    </a:cxn>
                    <a:cxn ang="0">
                      <a:pos x="connsiteX3" y="connsiteY3"/>
                    </a:cxn>
                  </a:cxnLst>
                  <a:rect l="l" t="t" r="r" b="b"/>
                  <a:pathLst>
                    <a:path w="7152" h="51816">
                      <a:moveTo>
                        <a:pt x="6307" y="51816"/>
                      </a:moveTo>
                      <a:cubicBezTo>
                        <a:pt x="7802" y="43595"/>
                        <a:pt x="7054" y="37243"/>
                        <a:pt x="6058" y="33008"/>
                      </a:cubicBezTo>
                      <a:cubicBezTo>
                        <a:pt x="4438" y="26157"/>
                        <a:pt x="1947" y="23417"/>
                        <a:pt x="702" y="16442"/>
                      </a:cubicBezTo>
                      <a:cubicBezTo>
                        <a:pt x="-544" y="9715"/>
                        <a:pt x="79" y="3862"/>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1" name="Freeform 4696">
                  <a:extLst>
                    <a:ext uri="{FF2B5EF4-FFF2-40B4-BE49-F238E27FC236}">
                      <a16:creationId xmlns:a16="http://schemas.microsoft.com/office/drawing/2014/main" id="{D49EFE6F-E1BD-7D42-853D-DFBD054BCB45}"/>
                    </a:ext>
                  </a:extLst>
                </p:cNvPr>
                <p:cNvSpPr/>
                <p:nvPr/>
              </p:nvSpPr>
              <p:spPr>
                <a:xfrm>
                  <a:off x="6924784" y="5717271"/>
                  <a:ext cx="6975" cy="51567"/>
                </a:xfrm>
                <a:custGeom>
                  <a:avLst/>
                  <a:gdLst>
                    <a:gd name="connsiteX0" fmla="*/ 0 w 6975"/>
                    <a:gd name="connsiteY0" fmla="*/ 0 h 51567"/>
                    <a:gd name="connsiteX1" fmla="*/ 4235 w 6975"/>
                    <a:gd name="connsiteY1" fmla="*/ 18310 h 51567"/>
                    <a:gd name="connsiteX2" fmla="*/ 2865 w 6975"/>
                    <a:gd name="connsiteY2" fmla="*/ 35624 h 51567"/>
                    <a:gd name="connsiteX3" fmla="*/ 6975 w 69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975" h="51567">
                      <a:moveTo>
                        <a:pt x="0" y="0"/>
                      </a:moveTo>
                      <a:cubicBezTo>
                        <a:pt x="3363" y="7723"/>
                        <a:pt x="4111" y="13951"/>
                        <a:pt x="4235" y="18310"/>
                      </a:cubicBezTo>
                      <a:cubicBezTo>
                        <a:pt x="4235" y="25285"/>
                        <a:pt x="2491" y="28524"/>
                        <a:pt x="2865" y="35624"/>
                      </a:cubicBezTo>
                      <a:cubicBezTo>
                        <a:pt x="3239" y="42474"/>
                        <a:pt x="5231" y="48079"/>
                        <a:pt x="697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2" name="Freeform 4697">
                  <a:extLst>
                    <a:ext uri="{FF2B5EF4-FFF2-40B4-BE49-F238E27FC236}">
                      <a16:creationId xmlns:a16="http://schemas.microsoft.com/office/drawing/2014/main" id="{4CCCAE6C-6C8D-AF1A-9FB7-F25BD0134E22}"/>
                    </a:ext>
                  </a:extLst>
                </p:cNvPr>
                <p:cNvSpPr/>
                <p:nvPr/>
              </p:nvSpPr>
              <p:spPr>
                <a:xfrm>
                  <a:off x="6922195" y="5757408"/>
                  <a:ext cx="26350" cy="26471"/>
                </a:xfrm>
                <a:custGeom>
                  <a:avLst/>
                  <a:gdLst>
                    <a:gd name="connsiteX0" fmla="*/ 97 w 26350"/>
                    <a:gd name="connsiteY0" fmla="*/ 14793 h 26471"/>
                    <a:gd name="connsiteX1" fmla="*/ 11556 w 26350"/>
                    <a:gd name="connsiteY1" fmla="*/ 95 h 26471"/>
                    <a:gd name="connsiteX2" fmla="*/ 26254 w 26350"/>
                    <a:gd name="connsiteY2" fmla="*/ 11679 h 26471"/>
                    <a:gd name="connsiteX3" fmla="*/ 14795 w 26350"/>
                    <a:gd name="connsiteY3" fmla="*/ 26377 h 26471"/>
                    <a:gd name="connsiteX4" fmla="*/ 97 w 26350"/>
                    <a:gd name="connsiteY4" fmla="*/ 1479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0">
                      <a:moveTo>
                        <a:pt x="97" y="14793"/>
                      </a:moveTo>
                      <a:cubicBezTo>
                        <a:pt x="-775" y="7569"/>
                        <a:pt x="4332" y="967"/>
                        <a:pt x="11556" y="95"/>
                      </a:cubicBezTo>
                      <a:cubicBezTo>
                        <a:pt x="18781" y="-777"/>
                        <a:pt x="25383" y="4455"/>
                        <a:pt x="26254" y="11679"/>
                      </a:cubicBezTo>
                      <a:cubicBezTo>
                        <a:pt x="27126" y="18903"/>
                        <a:pt x="22019" y="25505"/>
                        <a:pt x="14795" y="26377"/>
                      </a:cubicBezTo>
                      <a:cubicBezTo>
                        <a:pt x="7570" y="27248"/>
                        <a:pt x="969" y="22017"/>
                        <a:pt x="97"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3" name="Graphic 2987">
                <a:extLst>
                  <a:ext uri="{FF2B5EF4-FFF2-40B4-BE49-F238E27FC236}">
                    <a16:creationId xmlns:a16="http://schemas.microsoft.com/office/drawing/2014/main" id="{E44A3F39-DF33-AC05-5445-A1A984833CC7}"/>
                  </a:ext>
                </a:extLst>
              </p:cNvPr>
              <p:cNvGrpSpPr/>
              <p:nvPr/>
            </p:nvGrpSpPr>
            <p:grpSpPr>
              <a:xfrm>
                <a:off x="6936895" y="5632475"/>
                <a:ext cx="40795" cy="147943"/>
                <a:chOff x="6936895" y="5632475"/>
                <a:chExt cx="40795" cy="147943"/>
              </a:xfrm>
              <a:grpFill/>
            </p:grpSpPr>
            <p:sp>
              <p:nvSpPr>
                <p:cNvPr id="4781" name="Freeform 4699">
                  <a:extLst>
                    <a:ext uri="{FF2B5EF4-FFF2-40B4-BE49-F238E27FC236}">
                      <a16:creationId xmlns:a16="http://schemas.microsoft.com/office/drawing/2014/main" id="{7738F567-3FB2-B91D-4EC3-C664C6E93D40}"/>
                    </a:ext>
                  </a:extLst>
                </p:cNvPr>
                <p:cNvSpPr/>
                <p:nvPr/>
              </p:nvSpPr>
              <p:spPr>
                <a:xfrm>
                  <a:off x="6946608" y="5653124"/>
                  <a:ext cx="7151" cy="51816"/>
                </a:xfrm>
                <a:custGeom>
                  <a:avLst/>
                  <a:gdLst>
                    <a:gd name="connsiteX0" fmla="*/ 845 w 7151"/>
                    <a:gd name="connsiteY0" fmla="*/ 0 h 51816"/>
                    <a:gd name="connsiteX1" fmla="*/ 1094 w 7151"/>
                    <a:gd name="connsiteY1" fmla="*/ 18808 h 51816"/>
                    <a:gd name="connsiteX2" fmla="*/ 6450 w 7151"/>
                    <a:gd name="connsiteY2" fmla="*/ 35374 h 51816"/>
                    <a:gd name="connsiteX3" fmla="*/ 6201 w 715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51" h="51816">
                      <a:moveTo>
                        <a:pt x="845" y="0"/>
                      </a:moveTo>
                      <a:cubicBezTo>
                        <a:pt x="-649" y="8221"/>
                        <a:pt x="98" y="14573"/>
                        <a:pt x="1094" y="18808"/>
                      </a:cubicBezTo>
                      <a:cubicBezTo>
                        <a:pt x="2713" y="25659"/>
                        <a:pt x="5204"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2" name="Freeform 4700">
                  <a:extLst>
                    <a:ext uri="{FF2B5EF4-FFF2-40B4-BE49-F238E27FC236}">
                      <a16:creationId xmlns:a16="http://schemas.microsoft.com/office/drawing/2014/main" id="{8FC6008A-A65F-7D74-FCC8-728ECE97C38F}"/>
                    </a:ext>
                  </a:extLst>
                </p:cNvPr>
                <p:cNvSpPr/>
                <p:nvPr/>
              </p:nvSpPr>
              <p:spPr>
                <a:xfrm>
                  <a:off x="6953806" y="5647395"/>
                  <a:ext cx="6850" cy="51566"/>
                </a:xfrm>
                <a:custGeom>
                  <a:avLst/>
                  <a:gdLst>
                    <a:gd name="connsiteX0" fmla="*/ 6851 w 6850"/>
                    <a:gd name="connsiteY0" fmla="*/ 51567 h 51566"/>
                    <a:gd name="connsiteX1" fmla="*/ 2740 w 6850"/>
                    <a:gd name="connsiteY1" fmla="*/ 33257 h 51566"/>
                    <a:gd name="connsiteX2" fmla="*/ 4110 w 6850"/>
                    <a:gd name="connsiteY2" fmla="*/ 15943 h 51566"/>
                    <a:gd name="connsiteX3" fmla="*/ 0 w 6850"/>
                    <a:gd name="connsiteY3" fmla="*/ 0 h 51566"/>
                  </a:gdLst>
                  <a:ahLst/>
                  <a:cxnLst>
                    <a:cxn ang="0">
                      <a:pos x="connsiteX0" y="connsiteY0"/>
                    </a:cxn>
                    <a:cxn ang="0">
                      <a:pos x="connsiteX1" y="connsiteY1"/>
                    </a:cxn>
                    <a:cxn ang="0">
                      <a:pos x="connsiteX2" y="connsiteY2"/>
                    </a:cxn>
                    <a:cxn ang="0">
                      <a:pos x="connsiteX3" y="connsiteY3"/>
                    </a:cxn>
                  </a:cxnLst>
                  <a:rect l="l" t="t" r="r" b="b"/>
                  <a:pathLst>
                    <a:path w="6850" h="51566">
                      <a:moveTo>
                        <a:pt x="6851" y="51567"/>
                      </a:moveTo>
                      <a:cubicBezTo>
                        <a:pt x="3487" y="43844"/>
                        <a:pt x="2740" y="37616"/>
                        <a:pt x="2740" y="33257"/>
                      </a:cubicBezTo>
                      <a:cubicBezTo>
                        <a:pt x="2740" y="26281"/>
                        <a:pt x="4484" y="23043"/>
                        <a:pt x="4110" y="15943"/>
                      </a:cubicBezTo>
                      <a:cubicBezTo>
                        <a:pt x="3861" y="9093"/>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3" name="Freeform 4701">
                  <a:extLst>
                    <a:ext uri="{FF2B5EF4-FFF2-40B4-BE49-F238E27FC236}">
                      <a16:creationId xmlns:a16="http://schemas.microsoft.com/office/drawing/2014/main" id="{0ACAFC79-8401-D0BE-E7C3-97C0C93A5377}"/>
                    </a:ext>
                  </a:extLst>
                </p:cNvPr>
                <p:cNvSpPr/>
                <p:nvPr/>
              </p:nvSpPr>
              <p:spPr>
                <a:xfrm>
                  <a:off x="6936895" y="5632475"/>
                  <a:ext cx="26720" cy="26473"/>
                </a:xfrm>
                <a:custGeom>
                  <a:avLst/>
                  <a:gdLst>
                    <a:gd name="connsiteX0" fmla="*/ 26626 w 26720"/>
                    <a:gd name="connsiteY0" fmla="*/ 11681 h 26473"/>
                    <a:gd name="connsiteX1" fmla="*/ 14917 w 26720"/>
                    <a:gd name="connsiteY1" fmla="*/ 26378 h 26473"/>
                    <a:gd name="connsiteX2" fmla="*/ 95 w 26720"/>
                    <a:gd name="connsiteY2" fmla="*/ 14795 h 26473"/>
                    <a:gd name="connsiteX3" fmla="*/ 11803 w 26720"/>
                    <a:gd name="connsiteY3" fmla="*/ 97 h 26473"/>
                    <a:gd name="connsiteX4" fmla="*/ 26626 w 26720"/>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73">
                      <a:moveTo>
                        <a:pt x="26626" y="11681"/>
                      </a:moveTo>
                      <a:cubicBezTo>
                        <a:pt x="27498" y="18905"/>
                        <a:pt x="22267" y="25507"/>
                        <a:pt x="14917" y="26378"/>
                      </a:cubicBezTo>
                      <a:cubicBezTo>
                        <a:pt x="7569" y="27250"/>
                        <a:pt x="967" y="22019"/>
                        <a:pt x="95" y="14795"/>
                      </a:cubicBezTo>
                      <a:cubicBezTo>
                        <a:pt x="-777" y="7570"/>
                        <a:pt x="4455" y="969"/>
                        <a:pt x="11803" y="97"/>
                      </a:cubicBezTo>
                      <a:cubicBezTo>
                        <a:pt x="19153" y="-775"/>
                        <a:pt x="25754" y="4332"/>
                        <a:pt x="26626"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4" name="Freeform 4702">
                  <a:extLst>
                    <a:ext uri="{FF2B5EF4-FFF2-40B4-BE49-F238E27FC236}">
                      <a16:creationId xmlns:a16="http://schemas.microsoft.com/office/drawing/2014/main" id="{0B3AACAD-B817-3335-1084-296261D9A184}"/>
                    </a:ext>
                  </a:extLst>
                </p:cNvPr>
                <p:cNvSpPr/>
                <p:nvPr/>
              </p:nvSpPr>
              <p:spPr>
                <a:xfrm>
                  <a:off x="6961076" y="5707929"/>
                  <a:ext cx="7151" cy="51816"/>
                </a:xfrm>
                <a:custGeom>
                  <a:avLst/>
                  <a:gdLst>
                    <a:gd name="connsiteX0" fmla="*/ 6307 w 7151"/>
                    <a:gd name="connsiteY0" fmla="*/ 51816 h 51816"/>
                    <a:gd name="connsiteX1" fmla="*/ 6057 w 7151"/>
                    <a:gd name="connsiteY1" fmla="*/ 33008 h 51816"/>
                    <a:gd name="connsiteX2" fmla="*/ 701 w 7151"/>
                    <a:gd name="connsiteY2" fmla="*/ 16442 h 51816"/>
                    <a:gd name="connsiteX3" fmla="*/ 951 w 7151"/>
                    <a:gd name="connsiteY3" fmla="*/ 0 h 51816"/>
                  </a:gdLst>
                  <a:ahLst/>
                  <a:cxnLst>
                    <a:cxn ang="0">
                      <a:pos x="connsiteX0" y="connsiteY0"/>
                    </a:cxn>
                    <a:cxn ang="0">
                      <a:pos x="connsiteX1" y="connsiteY1"/>
                    </a:cxn>
                    <a:cxn ang="0">
                      <a:pos x="connsiteX2" y="connsiteY2"/>
                    </a:cxn>
                    <a:cxn ang="0">
                      <a:pos x="connsiteX3" y="connsiteY3"/>
                    </a:cxn>
                  </a:cxnLst>
                  <a:rect l="l" t="t" r="r" b="b"/>
                  <a:pathLst>
                    <a:path w="7151" h="51816">
                      <a:moveTo>
                        <a:pt x="6307" y="51816"/>
                      </a:moveTo>
                      <a:cubicBezTo>
                        <a:pt x="7801" y="43595"/>
                        <a:pt x="7054" y="37243"/>
                        <a:pt x="6057" y="33008"/>
                      </a:cubicBezTo>
                      <a:cubicBezTo>
                        <a:pt x="4438" y="26157"/>
                        <a:pt x="2072" y="23417"/>
                        <a:pt x="701" y="16442"/>
                      </a:cubicBezTo>
                      <a:cubicBezTo>
                        <a:pt x="-544" y="9715"/>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5" name="Freeform 4703">
                  <a:extLst>
                    <a:ext uri="{FF2B5EF4-FFF2-40B4-BE49-F238E27FC236}">
                      <a16:creationId xmlns:a16="http://schemas.microsoft.com/office/drawing/2014/main" id="{AE559443-F2BC-9788-815F-4BECB9F2CCC7}"/>
                    </a:ext>
                  </a:extLst>
                </p:cNvPr>
                <p:cNvSpPr/>
                <p:nvPr/>
              </p:nvSpPr>
              <p:spPr>
                <a:xfrm>
                  <a:off x="6954179" y="5713908"/>
                  <a:ext cx="6725" cy="51567"/>
                </a:xfrm>
                <a:custGeom>
                  <a:avLst/>
                  <a:gdLst>
                    <a:gd name="connsiteX0" fmla="*/ 0 w 6725"/>
                    <a:gd name="connsiteY0" fmla="*/ 0 h 51567"/>
                    <a:gd name="connsiteX1" fmla="*/ 4111 w 6725"/>
                    <a:gd name="connsiteY1" fmla="*/ 18310 h 51567"/>
                    <a:gd name="connsiteX2" fmla="*/ 2741 w 6725"/>
                    <a:gd name="connsiteY2" fmla="*/ 35624 h 51567"/>
                    <a:gd name="connsiteX3" fmla="*/ 6726 w 672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724" h="51567">
                      <a:moveTo>
                        <a:pt x="0" y="0"/>
                      </a:moveTo>
                      <a:cubicBezTo>
                        <a:pt x="3363" y="7723"/>
                        <a:pt x="4111" y="13950"/>
                        <a:pt x="4111" y="18310"/>
                      </a:cubicBezTo>
                      <a:cubicBezTo>
                        <a:pt x="4111" y="25285"/>
                        <a:pt x="2367" y="28524"/>
                        <a:pt x="2741" y="35624"/>
                      </a:cubicBezTo>
                      <a:cubicBezTo>
                        <a:pt x="3114" y="42474"/>
                        <a:pt x="5107" y="48079"/>
                        <a:pt x="672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6" name="Freeform 4704">
                  <a:extLst>
                    <a:ext uri="{FF2B5EF4-FFF2-40B4-BE49-F238E27FC236}">
                      <a16:creationId xmlns:a16="http://schemas.microsoft.com/office/drawing/2014/main" id="{481F3D20-79D8-74EF-F009-ABBF6157C9E7}"/>
                    </a:ext>
                  </a:extLst>
                </p:cNvPr>
                <p:cNvSpPr/>
                <p:nvPr/>
              </p:nvSpPr>
              <p:spPr>
                <a:xfrm>
                  <a:off x="6951344" y="5753921"/>
                  <a:ext cx="26346" cy="26498"/>
                </a:xfrm>
                <a:custGeom>
                  <a:avLst/>
                  <a:gdLst>
                    <a:gd name="connsiteX0" fmla="*/ 95 w 26346"/>
                    <a:gd name="connsiteY0" fmla="*/ 14793 h 26498"/>
                    <a:gd name="connsiteX1" fmla="*/ 11679 w 26346"/>
                    <a:gd name="connsiteY1" fmla="*/ 95 h 26498"/>
                    <a:gd name="connsiteX2" fmla="*/ 26252 w 26346"/>
                    <a:gd name="connsiteY2" fmla="*/ 11679 h 26498"/>
                    <a:gd name="connsiteX3" fmla="*/ 14668 w 26346"/>
                    <a:gd name="connsiteY3" fmla="*/ 26376 h 26498"/>
                    <a:gd name="connsiteX4" fmla="*/ 95 w 26346"/>
                    <a:gd name="connsiteY4" fmla="*/ 14793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98">
                      <a:moveTo>
                        <a:pt x="95" y="14793"/>
                      </a:moveTo>
                      <a:cubicBezTo>
                        <a:pt x="-777" y="7569"/>
                        <a:pt x="4454" y="967"/>
                        <a:pt x="11679" y="95"/>
                      </a:cubicBezTo>
                      <a:cubicBezTo>
                        <a:pt x="18903" y="-777"/>
                        <a:pt x="25504" y="4455"/>
                        <a:pt x="26252" y="11679"/>
                      </a:cubicBezTo>
                      <a:cubicBezTo>
                        <a:pt x="27124" y="18903"/>
                        <a:pt x="21893" y="25505"/>
                        <a:pt x="14668" y="26376"/>
                      </a:cubicBezTo>
                      <a:cubicBezTo>
                        <a:pt x="7568" y="27373"/>
                        <a:pt x="966" y="22142"/>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4" name="Graphic 2987">
                <a:extLst>
                  <a:ext uri="{FF2B5EF4-FFF2-40B4-BE49-F238E27FC236}">
                    <a16:creationId xmlns:a16="http://schemas.microsoft.com/office/drawing/2014/main" id="{31EB74CB-849C-623F-E0BB-4A52F966366B}"/>
                  </a:ext>
                </a:extLst>
              </p:cNvPr>
              <p:cNvGrpSpPr/>
              <p:nvPr/>
            </p:nvGrpSpPr>
            <p:grpSpPr>
              <a:xfrm>
                <a:off x="6966540" y="5628990"/>
                <a:ext cx="40421" cy="148140"/>
                <a:chOff x="6966540" y="5628990"/>
                <a:chExt cx="40421" cy="148140"/>
              </a:xfrm>
              <a:grpFill/>
            </p:grpSpPr>
            <p:sp>
              <p:nvSpPr>
                <p:cNvPr id="4775" name="Freeform 4706">
                  <a:extLst>
                    <a:ext uri="{FF2B5EF4-FFF2-40B4-BE49-F238E27FC236}">
                      <a16:creationId xmlns:a16="http://schemas.microsoft.com/office/drawing/2014/main" id="{DAFA1AAC-A10C-D856-1B2F-B956846A0331}"/>
                    </a:ext>
                  </a:extLst>
                </p:cNvPr>
                <p:cNvSpPr/>
                <p:nvPr/>
              </p:nvSpPr>
              <p:spPr>
                <a:xfrm>
                  <a:off x="6976120" y="5649636"/>
                  <a:ext cx="7000" cy="51940"/>
                </a:xfrm>
                <a:custGeom>
                  <a:avLst/>
                  <a:gdLst>
                    <a:gd name="connsiteX0" fmla="*/ 854 w 7000"/>
                    <a:gd name="connsiteY0" fmla="*/ 0 h 51940"/>
                    <a:gd name="connsiteX1" fmla="*/ 978 w 7000"/>
                    <a:gd name="connsiteY1" fmla="*/ 18808 h 51940"/>
                    <a:gd name="connsiteX2" fmla="*/ 6334 w 7000"/>
                    <a:gd name="connsiteY2" fmla="*/ 35374 h 51940"/>
                    <a:gd name="connsiteX3" fmla="*/ 6085 w 700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000" h="51940">
                      <a:moveTo>
                        <a:pt x="854" y="0"/>
                      </a:moveTo>
                      <a:cubicBezTo>
                        <a:pt x="-641" y="8221"/>
                        <a:pt x="106" y="14573"/>
                        <a:pt x="978" y="18808"/>
                      </a:cubicBezTo>
                      <a:cubicBezTo>
                        <a:pt x="2598" y="25659"/>
                        <a:pt x="4964" y="28399"/>
                        <a:pt x="6334" y="35374"/>
                      </a:cubicBezTo>
                      <a:cubicBezTo>
                        <a:pt x="7580" y="42101"/>
                        <a:pt x="6832" y="47955"/>
                        <a:pt x="608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6" name="Freeform 4707">
                  <a:extLst>
                    <a:ext uri="{FF2B5EF4-FFF2-40B4-BE49-F238E27FC236}">
                      <a16:creationId xmlns:a16="http://schemas.microsoft.com/office/drawing/2014/main" id="{31E0847B-E80C-4F78-8DAE-DFE539DB31FF}"/>
                    </a:ext>
                  </a:extLst>
                </p:cNvPr>
                <p:cNvSpPr/>
                <p:nvPr/>
              </p:nvSpPr>
              <p:spPr>
                <a:xfrm>
                  <a:off x="6983450" y="5643907"/>
                  <a:ext cx="6601" cy="51691"/>
                </a:xfrm>
                <a:custGeom>
                  <a:avLst/>
                  <a:gdLst>
                    <a:gd name="connsiteX0" fmla="*/ 6602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7" name="Freeform 4708">
                  <a:extLst>
                    <a:ext uri="{FF2B5EF4-FFF2-40B4-BE49-F238E27FC236}">
                      <a16:creationId xmlns:a16="http://schemas.microsoft.com/office/drawing/2014/main" id="{F1C4593D-622F-2118-22FD-ED28AF16B9A9}"/>
                    </a:ext>
                  </a:extLst>
                </p:cNvPr>
                <p:cNvSpPr/>
                <p:nvPr/>
              </p:nvSpPr>
              <p:spPr>
                <a:xfrm>
                  <a:off x="6966540" y="5628990"/>
                  <a:ext cx="26596" cy="26471"/>
                </a:xfrm>
                <a:custGeom>
                  <a:avLst/>
                  <a:gdLst>
                    <a:gd name="connsiteX0" fmla="*/ 26501 w 26596"/>
                    <a:gd name="connsiteY0" fmla="*/ 11679 h 26471"/>
                    <a:gd name="connsiteX1" fmla="*/ 14793 w 26596"/>
                    <a:gd name="connsiteY1" fmla="*/ 26376 h 26471"/>
                    <a:gd name="connsiteX2" fmla="*/ 95 w 26596"/>
                    <a:gd name="connsiteY2" fmla="*/ 14793 h 26471"/>
                    <a:gd name="connsiteX3" fmla="*/ 11803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793" y="26376"/>
                      </a:cubicBezTo>
                      <a:cubicBezTo>
                        <a:pt x="7444" y="27248"/>
                        <a:pt x="967" y="22017"/>
                        <a:pt x="95" y="14793"/>
                      </a:cubicBezTo>
                      <a:cubicBezTo>
                        <a:pt x="-777" y="7569"/>
                        <a:pt x="4454" y="967"/>
                        <a:pt x="11803" y="95"/>
                      </a:cubicBezTo>
                      <a:cubicBezTo>
                        <a:pt x="19153"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8" name="Freeform 4709">
                  <a:extLst>
                    <a:ext uri="{FF2B5EF4-FFF2-40B4-BE49-F238E27FC236}">
                      <a16:creationId xmlns:a16="http://schemas.microsoft.com/office/drawing/2014/main" id="{4E5EE4DC-DFED-F60C-9EDA-863A591A1A37}"/>
                    </a:ext>
                  </a:extLst>
                </p:cNvPr>
                <p:cNvSpPr/>
                <p:nvPr/>
              </p:nvSpPr>
              <p:spPr>
                <a:xfrm>
                  <a:off x="6990507" y="5704442"/>
                  <a:ext cx="7000" cy="51940"/>
                </a:xfrm>
                <a:custGeom>
                  <a:avLst/>
                  <a:gdLst>
                    <a:gd name="connsiteX0" fmla="*/ 6146 w 7000"/>
                    <a:gd name="connsiteY0" fmla="*/ 51941 h 51940"/>
                    <a:gd name="connsiteX1" fmla="*/ 6022 w 7000"/>
                    <a:gd name="connsiteY1" fmla="*/ 33132 h 51940"/>
                    <a:gd name="connsiteX2" fmla="*/ 667 w 7000"/>
                    <a:gd name="connsiteY2" fmla="*/ 16566 h 51940"/>
                    <a:gd name="connsiteX3" fmla="*/ 915 w 7000"/>
                    <a:gd name="connsiteY3" fmla="*/ 0 h 51940"/>
                  </a:gdLst>
                  <a:ahLst/>
                  <a:cxnLst>
                    <a:cxn ang="0">
                      <a:pos x="connsiteX0" y="connsiteY0"/>
                    </a:cxn>
                    <a:cxn ang="0">
                      <a:pos x="connsiteX1" y="connsiteY1"/>
                    </a:cxn>
                    <a:cxn ang="0">
                      <a:pos x="connsiteX2" y="connsiteY2"/>
                    </a:cxn>
                    <a:cxn ang="0">
                      <a:pos x="connsiteX3" y="connsiteY3"/>
                    </a:cxn>
                  </a:cxnLst>
                  <a:rect l="l" t="t" r="r" b="b"/>
                  <a:pathLst>
                    <a:path w="7000" h="51940">
                      <a:moveTo>
                        <a:pt x="6146" y="51941"/>
                      </a:moveTo>
                      <a:cubicBezTo>
                        <a:pt x="7642" y="43720"/>
                        <a:pt x="6894" y="37367"/>
                        <a:pt x="6022" y="33132"/>
                      </a:cubicBezTo>
                      <a:cubicBezTo>
                        <a:pt x="4403" y="26282"/>
                        <a:pt x="2037" y="23542"/>
                        <a:pt x="667" y="16566"/>
                      </a:cubicBezTo>
                      <a:cubicBezTo>
                        <a:pt x="-579" y="9840"/>
                        <a:pt x="168" y="3986"/>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9" name="Freeform 4710">
                  <a:extLst>
                    <a:ext uri="{FF2B5EF4-FFF2-40B4-BE49-F238E27FC236}">
                      <a16:creationId xmlns:a16="http://schemas.microsoft.com/office/drawing/2014/main" id="{2478D4A3-7385-A63C-1E68-C9ED194B912E}"/>
                    </a:ext>
                  </a:extLst>
                </p:cNvPr>
                <p:cNvSpPr/>
                <p:nvPr/>
              </p:nvSpPr>
              <p:spPr>
                <a:xfrm>
                  <a:off x="6983575" y="5710421"/>
                  <a:ext cx="6726" cy="51691"/>
                </a:xfrm>
                <a:custGeom>
                  <a:avLst/>
                  <a:gdLst>
                    <a:gd name="connsiteX0" fmla="*/ 0 w 6726"/>
                    <a:gd name="connsiteY0" fmla="*/ 0 h 51691"/>
                    <a:gd name="connsiteX1" fmla="*/ 4111 w 6726"/>
                    <a:gd name="connsiteY1" fmla="*/ 18310 h 51691"/>
                    <a:gd name="connsiteX2" fmla="*/ 2741 w 6726"/>
                    <a:gd name="connsiteY2" fmla="*/ 35623 h 51691"/>
                    <a:gd name="connsiteX3" fmla="*/ 6727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0" y="0"/>
                      </a:moveTo>
                      <a:cubicBezTo>
                        <a:pt x="3363" y="7723"/>
                        <a:pt x="4111" y="13950"/>
                        <a:pt x="4111" y="18310"/>
                      </a:cubicBezTo>
                      <a:cubicBezTo>
                        <a:pt x="4111" y="25285"/>
                        <a:pt x="2367" y="28524"/>
                        <a:pt x="2741" y="35623"/>
                      </a:cubicBezTo>
                      <a:cubicBezTo>
                        <a:pt x="2989" y="42474"/>
                        <a:pt x="5107" y="48079"/>
                        <a:pt x="672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0" name="Freeform 4711">
                  <a:extLst>
                    <a:ext uri="{FF2B5EF4-FFF2-40B4-BE49-F238E27FC236}">
                      <a16:creationId xmlns:a16="http://schemas.microsoft.com/office/drawing/2014/main" id="{106D1F7E-5ECC-90AA-9375-4B0C4D183468}"/>
                    </a:ext>
                  </a:extLst>
                </p:cNvPr>
                <p:cNvSpPr/>
                <p:nvPr/>
              </p:nvSpPr>
              <p:spPr>
                <a:xfrm>
                  <a:off x="6980615" y="5750558"/>
                  <a:ext cx="26346" cy="26572"/>
                </a:xfrm>
                <a:custGeom>
                  <a:avLst/>
                  <a:gdLst>
                    <a:gd name="connsiteX0" fmla="*/ 95 w 26346"/>
                    <a:gd name="connsiteY0" fmla="*/ 14793 h 26572"/>
                    <a:gd name="connsiteX1" fmla="*/ 11679 w 26346"/>
                    <a:gd name="connsiteY1" fmla="*/ 95 h 26572"/>
                    <a:gd name="connsiteX2" fmla="*/ 26252 w 26346"/>
                    <a:gd name="connsiteY2" fmla="*/ 11803 h 26572"/>
                    <a:gd name="connsiteX3" fmla="*/ 14668 w 26346"/>
                    <a:gd name="connsiteY3" fmla="*/ 26501 h 26572"/>
                    <a:gd name="connsiteX4" fmla="*/ 95 w 26346"/>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72">
                      <a:moveTo>
                        <a:pt x="95" y="14793"/>
                      </a:moveTo>
                      <a:cubicBezTo>
                        <a:pt x="-777" y="7568"/>
                        <a:pt x="4454" y="967"/>
                        <a:pt x="11679" y="95"/>
                      </a:cubicBezTo>
                      <a:cubicBezTo>
                        <a:pt x="18903" y="-777"/>
                        <a:pt x="25504" y="4454"/>
                        <a:pt x="26252" y="11803"/>
                      </a:cubicBezTo>
                      <a:cubicBezTo>
                        <a:pt x="27124" y="19028"/>
                        <a:pt x="21893" y="25629"/>
                        <a:pt x="14668" y="26501"/>
                      </a:cubicBezTo>
                      <a:cubicBezTo>
                        <a:pt x="7568" y="27248"/>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5" name="Graphic 2987">
                <a:extLst>
                  <a:ext uri="{FF2B5EF4-FFF2-40B4-BE49-F238E27FC236}">
                    <a16:creationId xmlns:a16="http://schemas.microsoft.com/office/drawing/2014/main" id="{D5176C80-C05C-4419-A356-59290DB9122C}"/>
                  </a:ext>
                </a:extLst>
              </p:cNvPr>
              <p:cNvGrpSpPr/>
              <p:nvPr/>
            </p:nvGrpSpPr>
            <p:grpSpPr>
              <a:xfrm>
                <a:off x="6996062" y="5625625"/>
                <a:ext cx="40171" cy="148142"/>
                <a:chOff x="6996062" y="5625625"/>
                <a:chExt cx="40171" cy="148142"/>
              </a:xfrm>
              <a:grpFill/>
            </p:grpSpPr>
            <p:sp>
              <p:nvSpPr>
                <p:cNvPr id="4769" name="Freeform 4713">
                  <a:extLst>
                    <a:ext uri="{FF2B5EF4-FFF2-40B4-BE49-F238E27FC236}">
                      <a16:creationId xmlns:a16="http://schemas.microsoft.com/office/drawing/2014/main" id="{F3525DF3-2DE0-A212-048A-E6DC9A864ABB}"/>
                    </a:ext>
                  </a:extLst>
                </p:cNvPr>
                <p:cNvSpPr/>
                <p:nvPr/>
              </p:nvSpPr>
              <p:spPr>
                <a:xfrm>
                  <a:off x="7005549" y="5646274"/>
                  <a:ext cx="7091" cy="51940"/>
                </a:xfrm>
                <a:custGeom>
                  <a:avLst/>
                  <a:gdLst>
                    <a:gd name="connsiteX0" fmla="*/ 945 w 7091"/>
                    <a:gd name="connsiteY0" fmla="*/ 0 h 51940"/>
                    <a:gd name="connsiteX1" fmla="*/ 1069 w 7091"/>
                    <a:gd name="connsiteY1" fmla="*/ 18808 h 51940"/>
                    <a:gd name="connsiteX2" fmla="*/ 6425 w 7091"/>
                    <a:gd name="connsiteY2" fmla="*/ 35374 h 51940"/>
                    <a:gd name="connsiteX3" fmla="*/ 6176 w 709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7091" h="51940">
                      <a:moveTo>
                        <a:pt x="945" y="0"/>
                      </a:moveTo>
                      <a:cubicBezTo>
                        <a:pt x="-675" y="8221"/>
                        <a:pt x="73" y="14573"/>
                        <a:pt x="1069" y="18808"/>
                      </a:cubicBezTo>
                      <a:cubicBezTo>
                        <a:pt x="2564" y="25659"/>
                        <a:pt x="5055" y="28399"/>
                        <a:pt x="6425" y="35374"/>
                      </a:cubicBezTo>
                      <a:cubicBezTo>
                        <a:pt x="7671" y="42101"/>
                        <a:pt x="6923" y="48079"/>
                        <a:pt x="617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0" name="Freeform 4714">
                  <a:extLst>
                    <a:ext uri="{FF2B5EF4-FFF2-40B4-BE49-F238E27FC236}">
                      <a16:creationId xmlns:a16="http://schemas.microsoft.com/office/drawing/2014/main" id="{F855D489-9ED9-38AA-975D-111920209BCE}"/>
                    </a:ext>
                  </a:extLst>
                </p:cNvPr>
                <p:cNvSpPr/>
                <p:nvPr/>
              </p:nvSpPr>
              <p:spPr>
                <a:xfrm>
                  <a:off x="7012846" y="5640419"/>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1" name="Freeform 4715">
                  <a:extLst>
                    <a:ext uri="{FF2B5EF4-FFF2-40B4-BE49-F238E27FC236}">
                      <a16:creationId xmlns:a16="http://schemas.microsoft.com/office/drawing/2014/main" id="{17306896-BCAB-BA08-107D-18255E8F1A40}"/>
                    </a:ext>
                  </a:extLst>
                </p:cNvPr>
                <p:cNvSpPr/>
                <p:nvPr/>
              </p:nvSpPr>
              <p:spPr>
                <a:xfrm>
                  <a:off x="6996062" y="5625625"/>
                  <a:ext cx="26592" cy="26473"/>
                </a:xfrm>
                <a:custGeom>
                  <a:avLst/>
                  <a:gdLst>
                    <a:gd name="connsiteX0" fmla="*/ 26499 w 26592"/>
                    <a:gd name="connsiteY0" fmla="*/ 11681 h 26473"/>
                    <a:gd name="connsiteX1" fmla="*/ 14791 w 26592"/>
                    <a:gd name="connsiteY1" fmla="*/ 26378 h 26473"/>
                    <a:gd name="connsiteX2" fmla="*/ 93 w 26592"/>
                    <a:gd name="connsiteY2" fmla="*/ 14795 h 26473"/>
                    <a:gd name="connsiteX3" fmla="*/ 11802 w 26592"/>
                    <a:gd name="connsiteY3" fmla="*/ 97 h 26473"/>
                    <a:gd name="connsiteX4" fmla="*/ 26499 w 26592"/>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73">
                      <a:moveTo>
                        <a:pt x="26499" y="11681"/>
                      </a:moveTo>
                      <a:cubicBezTo>
                        <a:pt x="27371" y="18905"/>
                        <a:pt x="22015" y="25506"/>
                        <a:pt x="14791" y="26378"/>
                      </a:cubicBezTo>
                      <a:cubicBezTo>
                        <a:pt x="7442" y="27250"/>
                        <a:pt x="965" y="22019"/>
                        <a:pt x="93" y="14795"/>
                      </a:cubicBezTo>
                      <a:cubicBezTo>
                        <a:pt x="-779" y="7570"/>
                        <a:pt x="4577" y="968"/>
                        <a:pt x="11802" y="97"/>
                      </a:cubicBezTo>
                      <a:cubicBezTo>
                        <a:pt x="19026" y="-775"/>
                        <a:pt x="25752" y="4332"/>
                        <a:pt x="26499"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2" name="Freeform 4716">
                  <a:extLst>
                    <a:ext uri="{FF2B5EF4-FFF2-40B4-BE49-F238E27FC236}">
                      <a16:creationId xmlns:a16="http://schemas.microsoft.com/office/drawing/2014/main" id="{E5884D52-D654-913A-2CB7-4AFBDC9C8147}"/>
                    </a:ext>
                  </a:extLst>
                </p:cNvPr>
                <p:cNvSpPr/>
                <p:nvPr/>
              </p:nvSpPr>
              <p:spPr>
                <a:xfrm>
                  <a:off x="7019902" y="5701079"/>
                  <a:ext cx="6914" cy="51940"/>
                </a:xfrm>
                <a:custGeom>
                  <a:avLst/>
                  <a:gdLst>
                    <a:gd name="connsiteX0" fmla="*/ 6022 w 6914"/>
                    <a:gd name="connsiteY0" fmla="*/ 51941 h 51940"/>
                    <a:gd name="connsiteX1" fmla="*/ 5898 w 6914"/>
                    <a:gd name="connsiteY1" fmla="*/ 33132 h 51940"/>
                    <a:gd name="connsiteX2" fmla="*/ 667 w 6914"/>
                    <a:gd name="connsiteY2" fmla="*/ 16566 h 51940"/>
                    <a:gd name="connsiteX3" fmla="*/ 915 w 6914"/>
                    <a:gd name="connsiteY3" fmla="*/ 0 h 51940"/>
                  </a:gdLst>
                  <a:ahLst/>
                  <a:cxnLst>
                    <a:cxn ang="0">
                      <a:pos x="connsiteX0" y="connsiteY0"/>
                    </a:cxn>
                    <a:cxn ang="0">
                      <a:pos x="connsiteX1" y="connsiteY1"/>
                    </a:cxn>
                    <a:cxn ang="0">
                      <a:pos x="connsiteX2" y="connsiteY2"/>
                    </a:cxn>
                    <a:cxn ang="0">
                      <a:pos x="connsiteX3" y="connsiteY3"/>
                    </a:cxn>
                  </a:cxnLst>
                  <a:rect l="l" t="t" r="r" b="b"/>
                  <a:pathLst>
                    <a:path w="6914" h="51940">
                      <a:moveTo>
                        <a:pt x="6022" y="51941"/>
                      </a:moveTo>
                      <a:cubicBezTo>
                        <a:pt x="7517" y="43720"/>
                        <a:pt x="6894" y="37367"/>
                        <a:pt x="5898" y="33132"/>
                      </a:cubicBezTo>
                      <a:cubicBezTo>
                        <a:pt x="4403" y="26281"/>
                        <a:pt x="1912" y="23542"/>
                        <a:pt x="667" y="16566"/>
                      </a:cubicBezTo>
                      <a:cubicBezTo>
                        <a:pt x="-579" y="9840"/>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3" name="Freeform 4717">
                  <a:extLst>
                    <a:ext uri="{FF2B5EF4-FFF2-40B4-BE49-F238E27FC236}">
                      <a16:creationId xmlns:a16="http://schemas.microsoft.com/office/drawing/2014/main" id="{15519707-1011-4A18-7AEB-442A17239FE0}"/>
                    </a:ext>
                  </a:extLst>
                </p:cNvPr>
                <p:cNvSpPr/>
                <p:nvPr/>
              </p:nvSpPr>
              <p:spPr>
                <a:xfrm>
                  <a:off x="7012971" y="5707058"/>
                  <a:ext cx="6601" cy="51691"/>
                </a:xfrm>
                <a:custGeom>
                  <a:avLst/>
                  <a:gdLst>
                    <a:gd name="connsiteX0" fmla="*/ 0 w 6601"/>
                    <a:gd name="connsiteY0" fmla="*/ 0 h 51691"/>
                    <a:gd name="connsiteX1" fmla="*/ 4110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3950"/>
                        <a:pt x="4110" y="18310"/>
                      </a:cubicBezTo>
                      <a:cubicBezTo>
                        <a:pt x="4110" y="25285"/>
                        <a:pt x="2366" y="28523"/>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4" name="Freeform 4718">
                  <a:extLst>
                    <a:ext uri="{FF2B5EF4-FFF2-40B4-BE49-F238E27FC236}">
                      <a16:creationId xmlns:a16="http://schemas.microsoft.com/office/drawing/2014/main" id="{B0E8E1E0-5683-A8CB-9602-14384103474C}"/>
                    </a:ext>
                  </a:extLst>
                </p:cNvPr>
                <p:cNvSpPr/>
                <p:nvPr/>
              </p:nvSpPr>
              <p:spPr>
                <a:xfrm>
                  <a:off x="7009886" y="5747195"/>
                  <a:ext cx="26347" cy="26572"/>
                </a:xfrm>
                <a:custGeom>
                  <a:avLst/>
                  <a:gdLst>
                    <a:gd name="connsiteX0" fmla="*/ 95 w 26347"/>
                    <a:gd name="connsiteY0" fmla="*/ 14793 h 26572"/>
                    <a:gd name="connsiteX1" fmla="*/ 11679 w 26347"/>
                    <a:gd name="connsiteY1" fmla="*/ 95 h 26572"/>
                    <a:gd name="connsiteX2" fmla="*/ 26253 w 26347"/>
                    <a:gd name="connsiteY2" fmla="*/ 11803 h 26572"/>
                    <a:gd name="connsiteX3" fmla="*/ 14669 w 26347"/>
                    <a:gd name="connsiteY3" fmla="*/ 26501 h 26572"/>
                    <a:gd name="connsiteX4" fmla="*/ 95 w 26347"/>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72">
                      <a:moveTo>
                        <a:pt x="95" y="14793"/>
                      </a:moveTo>
                      <a:cubicBezTo>
                        <a:pt x="-777" y="7568"/>
                        <a:pt x="4455" y="967"/>
                        <a:pt x="11679" y="95"/>
                      </a:cubicBezTo>
                      <a:cubicBezTo>
                        <a:pt x="18903" y="-777"/>
                        <a:pt x="25381" y="4454"/>
                        <a:pt x="26253" y="11803"/>
                      </a:cubicBezTo>
                      <a:cubicBezTo>
                        <a:pt x="27125" y="19028"/>
                        <a:pt x="21893" y="25629"/>
                        <a:pt x="14669" y="26501"/>
                      </a:cubicBezTo>
                      <a:cubicBezTo>
                        <a:pt x="7444" y="27249"/>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6" name="Graphic 2987">
                <a:extLst>
                  <a:ext uri="{FF2B5EF4-FFF2-40B4-BE49-F238E27FC236}">
                    <a16:creationId xmlns:a16="http://schemas.microsoft.com/office/drawing/2014/main" id="{8C892E68-4802-6D82-ACCF-2D1CD9521874}"/>
                  </a:ext>
                </a:extLst>
              </p:cNvPr>
              <p:cNvGrpSpPr/>
              <p:nvPr/>
            </p:nvGrpSpPr>
            <p:grpSpPr>
              <a:xfrm>
                <a:off x="7025457" y="5622139"/>
                <a:ext cx="40022" cy="148066"/>
                <a:chOff x="7025457" y="5622139"/>
                <a:chExt cx="40022" cy="148066"/>
              </a:xfrm>
              <a:grpFill/>
            </p:grpSpPr>
            <p:sp>
              <p:nvSpPr>
                <p:cNvPr id="4763" name="Freeform 4720">
                  <a:extLst>
                    <a:ext uri="{FF2B5EF4-FFF2-40B4-BE49-F238E27FC236}">
                      <a16:creationId xmlns:a16="http://schemas.microsoft.com/office/drawing/2014/main" id="{6C4CE02F-0037-00A7-C1B0-72C9E816F586}"/>
                    </a:ext>
                  </a:extLst>
                </p:cNvPr>
                <p:cNvSpPr/>
                <p:nvPr/>
              </p:nvSpPr>
              <p:spPr>
                <a:xfrm>
                  <a:off x="7035069" y="5642786"/>
                  <a:ext cx="6959" cy="51940"/>
                </a:xfrm>
                <a:custGeom>
                  <a:avLst/>
                  <a:gdLst>
                    <a:gd name="connsiteX0" fmla="*/ 945 w 6959"/>
                    <a:gd name="connsiteY0" fmla="*/ 0 h 51940"/>
                    <a:gd name="connsiteX1" fmla="*/ 1069 w 6959"/>
                    <a:gd name="connsiteY1" fmla="*/ 18808 h 51940"/>
                    <a:gd name="connsiteX2" fmla="*/ 6301 w 6959"/>
                    <a:gd name="connsiteY2" fmla="*/ 35374 h 51940"/>
                    <a:gd name="connsiteX3" fmla="*/ 5927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0"/>
                      </a:moveTo>
                      <a:cubicBezTo>
                        <a:pt x="-675" y="8221"/>
                        <a:pt x="73" y="14573"/>
                        <a:pt x="1069" y="18808"/>
                      </a:cubicBezTo>
                      <a:cubicBezTo>
                        <a:pt x="2564" y="25659"/>
                        <a:pt x="5055" y="28399"/>
                        <a:pt x="6301" y="35374"/>
                      </a:cubicBezTo>
                      <a:cubicBezTo>
                        <a:pt x="7546" y="42225"/>
                        <a:pt x="6799" y="48079"/>
                        <a:pt x="5927"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4" name="Freeform 4721">
                  <a:extLst>
                    <a:ext uri="{FF2B5EF4-FFF2-40B4-BE49-F238E27FC236}">
                      <a16:creationId xmlns:a16="http://schemas.microsoft.com/office/drawing/2014/main" id="{5A003461-8EE7-CC45-45F6-AAAC364B0CBA}"/>
                    </a:ext>
                  </a:extLst>
                </p:cNvPr>
                <p:cNvSpPr/>
                <p:nvPr/>
              </p:nvSpPr>
              <p:spPr>
                <a:xfrm>
                  <a:off x="7042491" y="5637056"/>
                  <a:ext cx="6476" cy="51691"/>
                </a:xfrm>
                <a:custGeom>
                  <a:avLst/>
                  <a:gdLst>
                    <a:gd name="connsiteX0" fmla="*/ 6476 w 6476"/>
                    <a:gd name="connsiteY0" fmla="*/ 51692 h 51691"/>
                    <a:gd name="connsiteX1" fmla="*/ 2491 w 6476"/>
                    <a:gd name="connsiteY1" fmla="*/ 33382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2"/>
                      </a:moveTo>
                      <a:cubicBezTo>
                        <a:pt x="3114" y="43969"/>
                        <a:pt x="2491" y="37741"/>
                        <a:pt x="2491" y="33382"/>
                      </a:cubicBezTo>
                      <a:cubicBezTo>
                        <a:pt x="2491" y="26407"/>
                        <a:pt x="4235" y="23043"/>
                        <a:pt x="3985" y="16068"/>
                      </a:cubicBezTo>
                      <a:cubicBezTo>
                        <a:pt x="3737" y="9218"/>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5" name="Freeform 4722">
                  <a:extLst>
                    <a:ext uri="{FF2B5EF4-FFF2-40B4-BE49-F238E27FC236}">
                      <a16:creationId xmlns:a16="http://schemas.microsoft.com/office/drawing/2014/main" id="{B7593801-ED63-2673-0C50-AACFA37DE7FC}"/>
                    </a:ext>
                  </a:extLst>
                </p:cNvPr>
                <p:cNvSpPr/>
                <p:nvPr/>
              </p:nvSpPr>
              <p:spPr>
                <a:xfrm>
                  <a:off x="7025457" y="5622139"/>
                  <a:ext cx="26694" cy="26471"/>
                </a:xfrm>
                <a:custGeom>
                  <a:avLst/>
                  <a:gdLst>
                    <a:gd name="connsiteX0" fmla="*/ 26624 w 26694"/>
                    <a:gd name="connsiteY0" fmla="*/ 11803 h 26471"/>
                    <a:gd name="connsiteX1" fmla="*/ 14791 w 26694"/>
                    <a:gd name="connsiteY1" fmla="*/ 26376 h 26471"/>
                    <a:gd name="connsiteX2" fmla="*/ 93 w 26694"/>
                    <a:gd name="connsiteY2" fmla="*/ 14793 h 26471"/>
                    <a:gd name="connsiteX3" fmla="*/ 11802 w 26694"/>
                    <a:gd name="connsiteY3" fmla="*/ 95 h 26471"/>
                    <a:gd name="connsiteX4" fmla="*/ 26624 w 26694"/>
                    <a:gd name="connsiteY4" fmla="*/ 1180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70">
                      <a:moveTo>
                        <a:pt x="26624" y="11803"/>
                      </a:moveTo>
                      <a:cubicBezTo>
                        <a:pt x="27371" y="19152"/>
                        <a:pt x="22140" y="25504"/>
                        <a:pt x="14791" y="26376"/>
                      </a:cubicBezTo>
                      <a:cubicBezTo>
                        <a:pt x="7442" y="27248"/>
                        <a:pt x="965" y="22017"/>
                        <a:pt x="93" y="14793"/>
                      </a:cubicBezTo>
                      <a:cubicBezTo>
                        <a:pt x="-779" y="7568"/>
                        <a:pt x="4578" y="967"/>
                        <a:pt x="11802" y="95"/>
                      </a:cubicBezTo>
                      <a:cubicBezTo>
                        <a:pt x="19275" y="-777"/>
                        <a:pt x="25877" y="4454"/>
                        <a:pt x="26624"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6" name="Freeform 4723">
                  <a:extLst>
                    <a:ext uri="{FF2B5EF4-FFF2-40B4-BE49-F238E27FC236}">
                      <a16:creationId xmlns:a16="http://schemas.microsoft.com/office/drawing/2014/main" id="{88D03354-A0BE-7B3A-AE0F-F38E445F3ED2}"/>
                    </a:ext>
                  </a:extLst>
                </p:cNvPr>
                <p:cNvSpPr/>
                <p:nvPr/>
              </p:nvSpPr>
              <p:spPr>
                <a:xfrm>
                  <a:off x="7049180" y="5697591"/>
                  <a:ext cx="6959" cy="51940"/>
                </a:xfrm>
                <a:custGeom>
                  <a:avLst/>
                  <a:gdLst>
                    <a:gd name="connsiteX0" fmla="*/ 6015 w 6959"/>
                    <a:gd name="connsiteY0" fmla="*/ 51941 h 51940"/>
                    <a:gd name="connsiteX1" fmla="*/ 5890 w 6959"/>
                    <a:gd name="connsiteY1" fmla="*/ 33132 h 51940"/>
                    <a:gd name="connsiteX2" fmla="*/ 659 w 6959"/>
                    <a:gd name="connsiteY2" fmla="*/ 16566 h 51940"/>
                    <a:gd name="connsiteX3" fmla="*/ 1033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51941"/>
                      </a:moveTo>
                      <a:cubicBezTo>
                        <a:pt x="7634" y="43720"/>
                        <a:pt x="6887" y="37367"/>
                        <a:pt x="5890" y="33132"/>
                      </a:cubicBezTo>
                      <a:cubicBezTo>
                        <a:pt x="4395" y="26281"/>
                        <a:pt x="1905" y="23541"/>
                        <a:pt x="659" y="16566"/>
                      </a:cubicBezTo>
                      <a:cubicBezTo>
                        <a:pt x="-586" y="9715"/>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7" name="Freeform 4724">
                  <a:extLst>
                    <a:ext uri="{FF2B5EF4-FFF2-40B4-BE49-F238E27FC236}">
                      <a16:creationId xmlns:a16="http://schemas.microsoft.com/office/drawing/2014/main" id="{91D8083D-E23F-DD7E-8AC2-ED6B94F7ED42}"/>
                    </a:ext>
                  </a:extLst>
                </p:cNvPr>
                <p:cNvSpPr/>
                <p:nvPr/>
              </p:nvSpPr>
              <p:spPr>
                <a:xfrm>
                  <a:off x="7042366" y="5703694"/>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3950"/>
                        <a:pt x="3986" y="18310"/>
                      </a:cubicBezTo>
                      <a:cubicBezTo>
                        <a:pt x="3986" y="25285"/>
                        <a:pt x="2242"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8" name="Freeform 4725">
                  <a:extLst>
                    <a:ext uri="{FF2B5EF4-FFF2-40B4-BE49-F238E27FC236}">
                      <a16:creationId xmlns:a16="http://schemas.microsoft.com/office/drawing/2014/main" id="{F66D4BA2-01B0-927D-A643-2B286BE7F9C7}"/>
                    </a:ext>
                  </a:extLst>
                </p:cNvPr>
                <p:cNvSpPr/>
                <p:nvPr/>
              </p:nvSpPr>
              <p:spPr>
                <a:xfrm>
                  <a:off x="7039157" y="5743709"/>
                  <a:ext cx="26322" cy="26496"/>
                </a:xfrm>
                <a:custGeom>
                  <a:avLst/>
                  <a:gdLst>
                    <a:gd name="connsiteX0" fmla="*/ 95 w 26322"/>
                    <a:gd name="connsiteY0" fmla="*/ 14791 h 26496"/>
                    <a:gd name="connsiteX1" fmla="*/ 11679 w 26322"/>
                    <a:gd name="connsiteY1" fmla="*/ 93 h 26496"/>
                    <a:gd name="connsiteX2" fmla="*/ 26252 w 26322"/>
                    <a:gd name="connsiteY2" fmla="*/ 11802 h 26496"/>
                    <a:gd name="connsiteX3" fmla="*/ 14668 w 26322"/>
                    <a:gd name="connsiteY3" fmla="*/ 26375 h 26496"/>
                    <a:gd name="connsiteX4" fmla="*/ 95 w 26322"/>
                    <a:gd name="connsiteY4" fmla="*/ 14791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2" h="26495">
                      <a:moveTo>
                        <a:pt x="95" y="14791"/>
                      </a:moveTo>
                      <a:cubicBezTo>
                        <a:pt x="-777" y="7567"/>
                        <a:pt x="4454" y="965"/>
                        <a:pt x="11679" y="93"/>
                      </a:cubicBezTo>
                      <a:cubicBezTo>
                        <a:pt x="18903" y="-779"/>
                        <a:pt x="25380" y="4577"/>
                        <a:pt x="26252" y="11802"/>
                      </a:cubicBezTo>
                      <a:cubicBezTo>
                        <a:pt x="26999" y="19150"/>
                        <a:pt x="21768" y="25503"/>
                        <a:pt x="14668" y="26375"/>
                      </a:cubicBezTo>
                      <a:cubicBezTo>
                        <a:pt x="7443" y="27371"/>
                        <a:pt x="842" y="22140"/>
                        <a:pt x="95" y="147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7" name="Graphic 2987">
                <a:extLst>
                  <a:ext uri="{FF2B5EF4-FFF2-40B4-BE49-F238E27FC236}">
                    <a16:creationId xmlns:a16="http://schemas.microsoft.com/office/drawing/2014/main" id="{2E5B2C83-CD65-C102-320E-4F2116304CDB}"/>
                  </a:ext>
                </a:extLst>
              </p:cNvPr>
              <p:cNvGrpSpPr/>
              <p:nvPr/>
            </p:nvGrpSpPr>
            <p:grpSpPr>
              <a:xfrm>
                <a:off x="7055124" y="5618926"/>
                <a:ext cx="39751" cy="148239"/>
                <a:chOff x="7055124" y="5618926"/>
                <a:chExt cx="39751" cy="148239"/>
              </a:xfrm>
              <a:grpFill/>
            </p:grpSpPr>
            <p:sp>
              <p:nvSpPr>
                <p:cNvPr id="4757" name="Freeform 4727">
                  <a:extLst>
                    <a:ext uri="{FF2B5EF4-FFF2-40B4-BE49-F238E27FC236}">
                      <a16:creationId xmlns:a16="http://schemas.microsoft.com/office/drawing/2014/main" id="{898850AF-5AA9-0D71-C811-3E030887E9D2}"/>
                    </a:ext>
                  </a:extLst>
                </p:cNvPr>
                <p:cNvSpPr/>
                <p:nvPr/>
              </p:nvSpPr>
              <p:spPr>
                <a:xfrm>
                  <a:off x="7064704" y="5639672"/>
                  <a:ext cx="6844" cy="51940"/>
                </a:xfrm>
                <a:custGeom>
                  <a:avLst/>
                  <a:gdLst>
                    <a:gd name="connsiteX0" fmla="*/ 954 w 6844"/>
                    <a:gd name="connsiteY0" fmla="*/ 0 h 51940"/>
                    <a:gd name="connsiteX1" fmla="*/ 954 w 6844"/>
                    <a:gd name="connsiteY1" fmla="*/ 18808 h 51940"/>
                    <a:gd name="connsiteX2" fmla="*/ 6186 w 6844"/>
                    <a:gd name="connsiteY2" fmla="*/ 35499 h 51940"/>
                    <a:gd name="connsiteX3" fmla="*/ 5812 w 684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43" h="51940">
                      <a:moveTo>
                        <a:pt x="954" y="0"/>
                      </a:moveTo>
                      <a:cubicBezTo>
                        <a:pt x="-665" y="8221"/>
                        <a:pt x="82" y="14573"/>
                        <a:pt x="954" y="18808"/>
                      </a:cubicBezTo>
                      <a:cubicBezTo>
                        <a:pt x="2449" y="25659"/>
                        <a:pt x="4940" y="28399"/>
                        <a:pt x="6186" y="35499"/>
                      </a:cubicBezTo>
                      <a:cubicBezTo>
                        <a:pt x="7432" y="42350"/>
                        <a:pt x="6684" y="48079"/>
                        <a:pt x="581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8" name="Freeform 4728">
                  <a:extLst>
                    <a:ext uri="{FF2B5EF4-FFF2-40B4-BE49-F238E27FC236}">
                      <a16:creationId xmlns:a16="http://schemas.microsoft.com/office/drawing/2014/main" id="{9E8AFDB2-427D-89B1-B717-9E67A2BD204A}"/>
                    </a:ext>
                  </a:extLst>
                </p:cNvPr>
                <p:cNvSpPr/>
                <p:nvPr/>
              </p:nvSpPr>
              <p:spPr>
                <a:xfrm>
                  <a:off x="7072136" y="5633818"/>
                  <a:ext cx="6227" cy="51816"/>
                </a:xfrm>
                <a:custGeom>
                  <a:avLst/>
                  <a:gdLst>
                    <a:gd name="connsiteX0" fmla="*/ 6228 w 6227"/>
                    <a:gd name="connsiteY0" fmla="*/ 51816 h 51816"/>
                    <a:gd name="connsiteX1" fmla="*/ 2242 w 6227"/>
                    <a:gd name="connsiteY1" fmla="*/ 33381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1"/>
                      </a:cubicBezTo>
                      <a:cubicBezTo>
                        <a:pt x="2242"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9" name="Freeform 4729">
                  <a:extLst>
                    <a:ext uri="{FF2B5EF4-FFF2-40B4-BE49-F238E27FC236}">
                      <a16:creationId xmlns:a16="http://schemas.microsoft.com/office/drawing/2014/main" id="{6610DD6C-FBD5-9C7A-6CE2-BAFF9B50B8C1}"/>
                    </a:ext>
                  </a:extLst>
                </p:cNvPr>
                <p:cNvSpPr/>
                <p:nvPr/>
              </p:nvSpPr>
              <p:spPr>
                <a:xfrm>
                  <a:off x="7055124" y="5618926"/>
                  <a:ext cx="26672" cy="26546"/>
                </a:xfrm>
                <a:custGeom>
                  <a:avLst/>
                  <a:gdLst>
                    <a:gd name="connsiteX0" fmla="*/ 26602 w 26672"/>
                    <a:gd name="connsiteY0" fmla="*/ 11902 h 26546"/>
                    <a:gd name="connsiteX1" fmla="*/ 14769 w 26672"/>
                    <a:gd name="connsiteY1" fmla="*/ 26476 h 26546"/>
                    <a:gd name="connsiteX2" fmla="*/ 71 w 26672"/>
                    <a:gd name="connsiteY2" fmla="*/ 14643 h 26546"/>
                    <a:gd name="connsiteX3" fmla="*/ 11904 w 26672"/>
                    <a:gd name="connsiteY3" fmla="*/ 70 h 26546"/>
                    <a:gd name="connsiteX4" fmla="*/ 26602 w 26672"/>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5">
                      <a:moveTo>
                        <a:pt x="26602" y="11902"/>
                      </a:moveTo>
                      <a:cubicBezTo>
                        <a:pt x="27349" y="19127"/>
                        <a:pt x="22118" y="25728"/>
                        <a:pt x="14769" y="26476"/>
                      </a:cubicBezTo>
                      <a:cubicBezTo>
                        <a:pt x="7420" y="27223"/>
                        <a:pt x="943" y="21992"/>
                        <a:pt x="71" y="14643"/>
                      </a:cubicBezTo>
                      <a:cubicBezTo>
                        <a:pt x="-676" y="7418"/>
                        <a:pt x="4556" y="817"/>
                        <a:pt x="11904" y="70"/>
                      </a:cubicBezTo>
                      <a:cubicBezTo>
                        <a:pt x="19253" y="-678"/>
                        <a:pt x="25855" y="4678"/>
                        <a:pt x="26602"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0" name="Freeform 4730">
                  <a:extLst>
                    <a:ext uri="{FF2B5EF4-FFF2-40B4-BE49-F238E27FC236}">
                      <a16:creationId xmlns:a16="http://schemas.microsoft.com/office/drawing/2014/main" id="{B00C47AE-76CE-F404-8B2D-B58612D217EB}"/>
                    </a:ext>
                  </a:extLst>
                </p:cNvPr>
                <p:cNvSpPr/>
                <p:nvPr/>
              </p:nvSpPr>
              <p:spPr>
                <a:xfrm>
                  <a:off x="7078576" y="5694602"/>
                  <a:ext cx="6845" cy="51940"/>
                </a:xfrm>
                <a:custGeom>
                  <a:avLst/>
                  <a:gdLst>
                    <a:gd name="connsiteX0" fmla="*/ 5891 w 6845"/>
                    <a:gd name="connsiteY0" fmla="*/ 51940 h 51940"/>
                    <a:gd name="connsiteX1" fmla="*/ 5891 w 6845"/>
                    <a:gd name="connsiteY1" fmla="*/ 33132 h 51940"/>
                    <a:gd name="connsiteX2" fmla="*/ 659 w 6845"/>
                    <a:gd name="connsiteY2" fmla="*/ 16441 h 51940"/>
                    <a:gd name="connsiteX3" fmla="*/ 1033 w 6845"/>
                    <a:gd name="connsiteY3" fmla="*/ 0 h 51940"/>
                  </a:gdLst>
                  <a:ahLst/>
                  <a:cxnLst>
                    <a:cxn ang="0">
                      <a:pos x="connsiteX0" y="connsiteY0"/>
                    </a:cxn>
                    <a:cxn ang="0">
                      <a:pos x="connsiteX1" y="connsiteY1"/>
                    </a:cxn>
                    <a:cxn ang="0">
                      <a:pos x="connsiteX2" y="connsiteY2"/>
                    </a:cxn>
                    <a:cxn ang="0">
                      <a:pos x="connsiteX3" y="connsiteY3"/>
                    </a:cxn>
                  </a:cxnLst>
                  <a:rect l="l" t="t" r="r" b="b"/>
                  <a:pathLst>
                    <a:path w="6845" h="51940">
                      <a:moveTo>
                        <a:pt x="5891" y="51940"/>
                      </a:moveTo>
                      <a:cubicBezTo>
                        <a:pt x="7510" y="43719"/>
                        <a:pt x="6763" y="37367"/>
                        <a:pt x="5891" y="33132"/>
                      </a:cubicBezTo>
                      <a:cubicBezTo>
                        <a:pt x="4396" y="26281"/>
                        <a:pt x="1905" y="23541"/>
                        <a:pt x="659" y="16441"/>
                      </a:cubicBezTo>
                      <a:cubicBezTo>
                        <a:pt x="-586" y="9591"/>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1" name="Freeform 4731">
                  <a:extLst>
                    <a:ext uri="{FF2B5EF4-FFF2-40B4-BE49-F238E27FC236}">
                      <a16:creationId xmlns:a16="http://schemas.microsoft.com/office/drawing/2014/main" id="{51E6F195-7EF9-5E8E-6746-A165C2F81B30}"/>
                    </a:ext>
                  </a:extLst>
                </p:cNvPr>
                <p:cNvSpPr/>
                <p:nvPr/>
              </p:nvSpPr>
              <p:spPr>
                <a:xfrm>
                  <a:off x="7071762" y="5700456"/>
                  <a:ext cx="6352" cy="51815"/>
                </a:xfrm>
                <a:custGeom>
                  <a:avLst/>
                  <a:gdLst>
                    <a:gd name="connsiteX0" fmla="*/ 0 w 6352"/>
                    <a:gd name="connsiteY0" fmla="*/ 0 h 51815"/>
                    <a:gd name="connsiteX1" fmla="*/ 3986 w 6352"/>
                    <a:gd name="connsiteY1" fmla="*/ 18434 h 51815"/>
                    <a:gd name="connsiteX2" fmla="*/ 2491 w 6352"/>
                    <a:gd name="connsiteY2" fmla="*/ 35748 h 51815"/>
                    <a:gd name="connsiteX3" fmla="*/ 6353 w 635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352" h="51815">
                      <a:moveTo>
                        <a:pt x="0" y="0"/>
                      </a:moveTo>
                      <a:cubicBezTo>
                        <a:pt x="3363" y="7723"/>
                        <a:pt x="3986" y="14075"/>
                        <a:pt x="3986" y="18434"/>
                      </a:cubicBezTo>
                      <a:cubicBezTo>
                        <a:pt x="3986" y="25409"/>
                        <a:pt x="2117" y="28648"/>
                        <a:pt x="2491" y="35748"/>
                      </a:cubicBezTo>
                      <a:cubicBezTo>
                        <a:pt x="2740" y="42599"/>
                        <a:pt x="4733" y="48204"/>
                        <a:pt x="635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2" name="Freeform 4732">
                  <a:extLst>
                    <a:ext uri="{FF2B5EF4-FFF2-40B4-BE49-F238E27FC236}">
                      <a16:creationId xmlns:a16="http://schemas.microsoft.com/office/drawing/2014/main" id="{FE405B00-03FE-B2C8-8FA7-882690D54D8A}"/>
                    </a:ext>
                  </a:extLst>
                </p:cNvPr>
                <p:cNvSpPr/>
                <p:nvPr/>
              </p:nvSpPr>
              <p:spPr>
                <a:xfrm>
                  <a:off x="7068452" y="5740618"/>
                  <a:ext cx="26423" cy="26546"/>
                </a:xfrm>
                <a:custGeom>
                  <a:avLst/>
                  <a:gdLst>
                    <a:gd name="connsiteX0" fmla="*/ 71 w 26423"/>
                    <a:gd name="connsiteY0" fmla="*/ 14643 h 26546"/>
                    <a:gd name="connsiteX1" fmla="*/ 11780 w 26423"/>
                    <a:gd name="connsiteY1" fmla="*/ 70 h 26546"/>
                    <a:gd name="connsiteX2" fmla="*/ 26353 w 26423"/>
                    <a:gd name="connsiteY2" fmla="*/ 11903 h 26546"/>
                    <a:gd name="connsiteX3" fmla="*/ 14644 w 26423"/>
                    <a:gd name="connsiteY3" fmla="*/ 26476 h 26546"/>
                    <a:gd name="connsiteX4" fmla="*/ 71 w 26423"/>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545">
                      <a:moveTo>
                        <a:pt x="71" y="14643"/>
                      </a:moveTo>
                      <a:cubicBezTo>
                        <a:pt x="-676" y="7418"/>
                        <a:pt x="4555" y="817"/>
                        <a:pt x="11780" y="70"/>
                      </a:cubicBezTo>
                      <a:cubicBezTo>
                        <a:pt x="19004" y="-678"/>
                        <a:pt x="25481" y="4678"/>
                        <a:pt x="26353" y="11903"/>
                      </a:cubicBezTo>
                      <a:cubicBezTo>
                        <a:pt x="27100" y="19127"/>
                        <a:pt x="21869" y="25728"/>
                        <a:pt x="14644" y="26476"/>
                      </a:cubicBezTo>
                      <a:cubicBezTo>
                        <a:pt x="7296" y="27223"/>
                        <a:pt x="818" y="21992"/>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8" name="Graphic 2987">
                <a:extLst>
                  <a:ext uri="{FF2B5EF4-FFF2-40B4-BE49-F238E27FC236}">
                    <a16:creationId xmlns:a16="http://schemas.microsoft.com/office/drawing/2014/main" id="{E4D42F23-42A1-79CE-8379-DAC4122C1F53}"/>
                  </a:ext>
                </a:extLst>
              </p:cNvPr>
              <p:cNvGrpSpPr/>
              <p:nvPr/>
            </p:nvGrpSpPr>
            <p:grpSpPr>
              <a:xfrm>
                <a:off x="7084769" y="5615935"/>
                <a:ext cx="39253" cy="148239"/>
                <a:chOff x="7084769" y="5615935"/>
                <a:chExt cx="39253" cy="148239"/>
              </a:xfrm>
              <a:grpFill/>
            </p:grpSpPr>
            <p:sp>
              <p:nvSpPr>
                <p:cNvPr id="4751" name="Freeform 4734">
                  <a:extLst>
                    <a:ext uri="{FF2B5EF4-FFF2-40B4-BE49-F238E27FC236}">
                      <a16:creationId xmlns:a16="http://schemas.microsoft.com/office/drawing/2014/main" id="{B351E727-B3C9-CB60-4637-C636E0724616}"/>
                    </a:ext>
                  </a:extLst>
                </p:cNvPr>
                <p:cNvSpPr/>
                <p:nvPr/>
              </p:nvSpPr>
              <p:spPr>
                <a:xfrm>
                  <a:off x="7094184" y="5636558"/>
                  <a:ext cx="6852" cy="51940"/>
                </a:xfrm>
                <a:custGeom>
                  <a:avLst/>
                  <a:gdLst>
                    <a:gd name="connsiteX0" fmla="*/ 995 w 6852"/>
                    <a:gd name="connsiteY0" fmla="*/ 0 h 51940"/>
                    <a:gd name="connsiteX1" fmla="*/ 995 w 6852"/>
                    <a:gd name="connsiteY1" fmla="*/ 18808 h 51940"/>
                    <a:gd name="connsiteX2" fmla="*/ 6226 w 6852"/>
                    <a:gd name="connsiteY2" fmla="*/ 35499 h 51940"/>
                    <a:gd name="connsiteX3" fmla="*/ 5852 w 685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51" h="51940">
                      <a:moveTo>
                        <a:pt x="995" y="0"/>
                      </a:moveTo>
                      <a:cubicBezTo>
                        <a:pt x="-625" y="8221"/>
                        <a:pt x="-2" y="14573"/>
                        <a:pt x="995" y="18808"/>
                      </a:cubicBezTo>
                      <a:cubicBezTo>
                        <a:pt x="2489" y="25659"/>
                        <a:pt x="4980" y="28399"/>
                        <a:pt x="6226" y="35499"/>
                      </a:cubicBezTo>
                      <a:cubicBezTo>
                        <a:pt x="7472" y="42350"/>
                        <a:pt x="6600" y="48079"/>
                        <a:pt x="585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2" name="Freeform 4735">
                  <a:extLst>
                    <a:ext uri="{FF2B5EF4-FFF2-40B4-BE49-F238E27FC236}">
                      <a16:creationId xmlns:a16="http://schemas.microsoft.com/office/drawing/2014/main" id="{76A09D9D-E093-F15D-715C-94ACA17D0514}"/>
                    </a:ext>
                  </a:extLst>
                </p:cNvPr>
                <p:cNvSpPr/>
                <p:nvPr/>
              </p:nvSpPr>
              <p:spPr>
                <a:xfrm>
                  <a:off x="7101531" y="5630828"/>
                  <a:ext cx="6227" cy="51816"/>
                </a:xfrm>
                <a:custGeom>
                  <a:avLst/>
                  <a:gdLst>
                    <a:gd name="connsiteX0" fmla="*/ 6228 w 6227"/>
                    <a:gd name="connsiteY0" fmla="*/ 51816 h 51816"/>
                    <a:gd name="connsiteX1" fmla="*/ 2242 w 6227"/>
                    <a:gd name="connsiteY1" fmla="*/ 33382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2"/>
                      </a:cubicBezTo>
                      <a:cubicBezTo>
                        <a:pt x="2242" y="26407"/>
                        <a:pt x="4110" y="23168"/>
                        <a:pt x="3861"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3" name="Freeform 4736">
                  <a:extLst>
                    <a:ext uri="{FF2B5EF4-FFF2-40B4-BE49-F238E27FC236}">
                      <a16:creationId xmlns:a16="http://schemas.microsoft.com/office/drawing/2014/main" id="{79065BA3-7337-FBE2-13D6-438FF62C1772}"/>
                    </a:ext>
                  </a:extLst>
                </p:cNvPr>
                <p:cNvSpPr/>
                <p:nvPr/>
              </p:nvSpPr>
              <p:spPr>
                <a:xfrm>
                  <a:off x="7084769" y="5615935"/>
                  <a:ext cx="26548" cy="26548"/>
                </a:xfrm>
                <a:custGeom>
                  <a:avLst/>
                  <a:gdLst>
                    <a:gd name="connsiteX0" fmla="*/ 26477 w 26548"/>
                    <a:gd name="connsiteY0" fmla="*/ 11904 h 26548"/>
                    <a:gd name="connsiteX1" fmla="*/ 14644 w 26548"/>
                    <a:gd name="connsiteY1" fmla="*/ 26477 h 26548"/>
                    <a:gd name="connsiteX2" fmla="*/ 71 w 26548"/>
                    <a:gd name="connsiteY2" fmla="*/ 14644 h 26548"/>
                    <a:gd name="connsiteX3" fmla="*/ 11904 w 26548"/>
                    <a:gd name="connsiteY3" fmla="*/ 71 h 26548"/>
                    <a:gd name="connsiteX4" fmla="*/ 26477 w 26548"/>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8" h="26548">
                      <a:moveTo>
                        <a:pt x="26477" y="11904"/>
                      </a:moveTo>
                      <a:cubicBezTo>
                        <a:pt x="27225" y="19128"/>
                        <a:pt x="21993" y="25730"/>
                        <a:pt x="14644" y="26477"/>
                      </a:cubicBezTo>
                      <a:cubicBezTo>
                        <a:pt x="7296" y="27225"/>
                        <a:pt x="818" y="21993"/>
                        <a:pt x="71" y="14644"/>
                      </a:cubicBezTo>
                      <a:cubicBezTo>
                        <a:pt x="-676" y="7420"/>
                        <a:pt x="4555" y="818"/>
                        <a:pt x="11904" y="71"/>
                      </a:cubicBezTo>
                      <a:cubicBezTo>
                        <a:pt x="19253" y="-677"/>
                        <a:pt x="25730" y="4555"/>
                        <a:pt x="26477"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4" name="Freeform 4737">
                  <a:extLst>
                    <a:ext uri="{FF2B5EF4-FFF2-40B4-BE49-F238E27FC236}">
                      <a16:creationId xmlns:a16="http://schemas.microsoft.com/office/drawing/2014/main" id="{7A36A312-E79B-7E31-8894-C1E3FF33E2D7}"/>
                    </a:ext>
                  </a:extLst>
                </p:cNvPr>
                <p:cNvSpPr/>
                <p:nvPr/>
              </p:nvSpPr>
              <p:spPr>
                <a:xfrm>
                  <a:off x="7107879" y="5691612"/>
                  <a:ext cx="6812" cy="51940"/>
                </a:xfrm>
                <a:custGeom>
                  <a:avLst/>
                  <a:gdLst>
                    <a:gd name="connsiteX0" fmla="*/ 5858 w 6812"/>
                    <a:gd name="connsiteY0" fmla="*/ 51941 h 51940"/>
                    <a:gd name="connsiteX1" fmla="*/ 5858 w 6812"/>
                    <a:gd name="connsiteY1" fmla="*/ 33132 h 51940"/>
                    <a:gd name="connsiteX2" fmla="*/ 627 w 6812"/>
                    <a:gd name="connsiteY2" fmla="*/ 16442 h 51940"/>
                    <a:gd name="connsiteX3" fmla="*/ 1000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51941"/>
                      </a:moveTo>
                      <a:cubicBezTo>
                        <a:pt x="7477" y="43720"/>
                        <a:pt x="6730" y="37367"/>
                        <a:pt x="5858" y="33132"/>
                      </a:cubicBezTo>
                      <a:cubicBezTo>
                        <a:pt x="4364" y="26282"/>
                        <a:pt x="1872" y="23542"/>
                        <a:pt x="627" y="16442"/>
                      </a:cubicBezTo>
                      <a:cubicBezTo>
                        <a:pt x="-619" y="9591"/>
                        <a:pt x="253" y="3737"/>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5" name="Freeform 4738">
                  <a:extLst>
                    <a:ext uri="{FF2B5EF4-FFF2-40B4-BE49-F238E27FC236}">
                      <a16:creationId xmlns:a16="http://schemas.microsoft.com/office/drawing/2014/main" id="{B3672193-6ED6-A42D-B56D-DF0D59D3D6C0}"/>
                    </a:ext>
                  </a:extLst>
                </p:cNvPr>
                <p:cNvSpPr/>
                <p:nvPr/>
              </p:nvSpPr>
              <p:spPr>
                <a:xfrm>
                  <a:off x="7101157" y="5697467"/>
                  <a:ext cx="6227" cy="51816"/>
                </a:xfrm>
                <a:custGeom>
                  <a:avLst/>
                  <a:gdLst>
                    <a:gd name="connsiteX0" fmla="*/ 0 w 6227"/>
                    <a:gd name="connsiteY0" fmla="*/ 0 h 51816"/>
                    <a:gd name="connsiteX1" fmla="*/ 3986 w 6227"/>
                    <a:gd name="connsiteY1" fmla="*/ 18435 h 51816"/>
                    <a:gd name="connsiteX2" fmla="*/ 2367 w 6227"/>
                    <a:gd name="connsiteY2" fmla="*/ 35748 h 51816"/>
                    <a:gd name="connsiteX3" fmla="*/ 6228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6" name="Freeform 4739">
                  <a:extLst>
                    <a:ext uri="{FF2B5EF4-FFF2-40B4-BE49-F238E27FC236}">
                      <a16:creationId xmlns:a16="http://schemas.microsoft.com/office/drawing/2014/main" id="{5628CFE8-EDB9-D4DC-CAC8-47D5F791A49F}"/>
                    </a:ext>
                  </a:extLst>
                </p:cNvPr>
                <p:cNvSpPr/>
                <p:nvPr/>
              </p:nvSpPr>
              <p:spPr>
                <a:xfrm>
                  <a:off x="7097723" y="5737629"/>
                  <a:ext cx="26298" cy="26545"/>
                </a:xfrm>
                <a:custGeom>
                  <a:avLst/>
                  <a:gdLst>
                    <a:gd name="connsiteX0" fmla="*/ 71 w 26298"/>
                    <a:gd name="connsiteY0" fmla="*/ 14643 h 26545"/>
                    <a:gd name="connsiteX1" fmla="*/ 11780 w 26298"/>
                    <a:gd name="connsiteY1" fmla="*/ 70 h 26545"/>
                    <a:gd name="connsiteX2" fmla="*/ 26228 w 26298"/>
                    <a:gd name="connsiteY2" fmla="*/ 11903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3" y="-678"/>
                        <a:pt x="25481" y="4678"/>
                        <a:pt x="26228" y="11903"/>
                      </a:cubicBezTo>
                      <a:cubicBezTo>
                        <a:pt x="26975" y="19127"/>
                        <a:pt x="21744" y="25728"/>
                        <a:pt x="14519" y="26476"/>
                      </a:cubicBezTo>
                      <a:cubicBezTo>
                        <a:pt x="7295"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9" name="Graphic 2987">
                <a:extLst>
                  <a:ext uri="{FF2B5EF4-FFF2-40B4-BE49-F238E27FC236}">
                    <a16:creationId xmlns:a16="http://schemas.microsoft.com/office/drawing/2014/main" id="{6C981F73-E2A1-C6EB-BD4B-810C9A646395}"/>
                  </a:ext>
                </a:extLst>
              </p:cNvPr>
              <p:cNvGrpSpPr/>
              <p:nvPr/>
            </p:nvGrpSpPr>
            <p:grpSpPr>
              <a:xfrm>
                <a:off x="7114415" y="5612822"/>
                <a:ext cx="38877" cy="148362"/>
                <a:chOff x="7114415" y="5612822"/>
                <a:chExt cx="38877" cy="148362"/>
              </a:xfrm>
              <a:grpFill/>
            </p:grpSpPr>
            <p:sp>
              <p:nvSpPr>
                <p:cNvPr id="4745" name="Freeform 4741">
                  <a:extLst>
                    <a:ext uri="{FF2B5EF4-FFF2-40B4-BE49-F238E27FC236}">
                      <a16:creationId xmlns:a16="http://schemas.microsoft.com/office/drawing/2014/main" id="{C18E7554-E35C-5BB4-6F37-DDE9D4F802CB}"/>
                    </a:ext>
                  </a:extLst>
                </p:cNvPr>
                <p:cNvSpPr/>
                <p:nvPr/>
              </p:nvSpPr>
              <p:spPr>
                <a:xfrm>
                  <a:off x="7123704" y="5633568"/>
                  <a:ext cx="6722" cy="51940"/>
                </a:xfrm>
                <a:custGeom>
                  <a:avLst/>
                  <a:gdLst>
                    <a:gd name="connsiteX0" fmla="*/ 995 w 6722"/>
                    <a:gd name="connsiteY0" fmla="*/ 0 h 51940"/>
                    <a:gd name="connsiteX1" fmla="*/ 995 w 6722"/>
                    <a:gd name="connsiteY1" fmla="*/ 18808 h 51940"/>
                    <a:gd name="connsiteX2" fmla="*/ 6101 w 6722"/>
                    <a:gd name="connsiteY2" fmla="*/ 35499 h 51940"/>
                    <a:gd name="connsiteX3" fmla="*/ 5603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995" y="0"/>
                      </a:moveTo>
                      <a:cubicBezTo>
                        <a:pt x="-625" y="8221"/>
                        <a:pt x="-2" y="14573"/>
                        <a:pt x="995" y="18808"/>
                      </a:cubicBezTo>
                      <a:cubicBezTo>
                        <a:pt x="2489" y="25659"/>
                        <a:pt x="4980" y="28399"/>
                        <a:pt x="6101" y="35499"/>
                      </a:cubicBezTo>
                      <a:cubicBezTo>
                        <a:pt x="7347" y="42350"/>
                        <a:pt x="6475" y="48204"/>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6" name="Freeform 4742">
                  <a:extLst>
                    <a:ext uri="{FF2B5EF4-FFF2-40B4-BE49-F238E27FC236}">
                      <a16:creationId xmlns:a16="http://schemas.microsoft.com/office/drawing/2014/main" id="{D5BF9381-5237-D4F0-4303-A07FB18CA5E5}"/>
                    </a:ext>
                  </a:extLst>
                </p:cNvPr>
                <p:cNvSpPr/>
                <p:nvPr/>
              </p:nvSpPr>
              <p:spPr>
                <a:xfrm>
                  <a:off x="7131176" y="5627839"/>
                  <a:ext cx="6103" cy="51816"/>
                </a:xfrm>
                <a:custGeom>
                  <a:avLst/>
                  <a:gdLst>
                    <a:gd name="connsiteX0" fmla="*/ 6103 w 6103"/>
                    <a:gd name="connsiteY0" fmla="*/ 51816 h 51816"/>
                    <a:gd name="connsiteX1" fmla="*/ 2242 w 6103"/>
                    <a:gd name="connsiteY1" fmla="*/ 33381 h 51816"/>
                    <a:gd name="connsiteX2" fmla="*/ 3861 w 6103"/>
                    <a:gd name="connsiteY2" fmla="*/ 16068 h 51816"/>
                    <a:gd name="connsiteX3" fmla="*/ 0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51816"/>
                      </a:moveTo>
                      <a:cubicBezTo>
                        <a:pt x="2865" y="44094"/>
                        <a:pt x="2242" y="37741"/>
                        <a:pt x="2242" y="33381"/>
                      </a:cubicBezTo>
                      <a:cubicBezTo>
                        <a:pt x="2367"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7" name="Freeform 4743">
                  <a:extLst>
                    <a:ext uri="{FF2B5EF4-FFF2-40B4-BE49-F238E27FC236}">
                      <a16:creationId xmlns:a16="http://schemas.microsoft.com/office/drawing/2014/main" id="{5DDD8D29-1C20-285C-B204-3C6CBC50FCE5}"/>
                    </a:ext>
                  </a:extLst>
                </p:cNvPr>
                <p:cNvSpPr/>
                <p:nvPr/>
              </p:nvSpPr>
              <p:spPr>
                <a:xfrm>
                  <a:off x="7114415" y="5612822"/>
                  <a:ext cx="26545" cy="26546"/>
                </a:xfrm>
                <a:custGeom>
                  <a:avLst/>
                  <a:gdLst>
                    <a:gd name="connsiteX0" fmla="*/ 26476 w 26545"/>
                    <a:gd name="connsiteY0" fmla="*/ 11902 h 26546"/>
                    <a:gd name="connsiteX1" fmla="*/ 14643 w 26545"/>
                    <a:gd name="connsiteY1" fmla="*/ 26476 h 26546"/>
                    <a:gd name="connsiteX2" fmla="*/ 70 w 26545"/>
                    <a:gd name="connsiteY2" fmla="*/ 14643 h 26546"/>
                    <a:gd name="connsiteX3" fmla="*/ 11903 w 26545"/>
                    <a:gd name="connsiteY3" fmla="*/ 70 h 26546"/>
                    <a:gd name="connsiteX4" fmla="*/ 26476 w 26545"/>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476" y="11902"/>
                      </a:moveTo>
                      <a:cubicBezTo>
                        <a:pt x="27223" y="19127"/>
                        <a:pt x="21867" y="25729"/>
                        <a:pt x="14643" y="26476"/>
                      </a:cubicBezTo>
                      <a:cubicBezTo>
                        <a:pt x="7294" y="27223"/>
                        <a:pt x="817" y="21992"/>
                        <a:pt x="70" y="14643"/>
                      </a:cubicBezTo>
                      <a:cubicBezTo>
                        <a:pt x="-678" y="7294"/>
                        <a:pt x="4678" y="817"/>
                        <a:pt x="11903" y="70"/>
                      </a:cubicBezTo>
                      <a:cubicBezTo>
                        <a:pt x="19127" y="-678"/>
                        <a:pt x="25728" y="4678"/>
                        <a:pt x="26476"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8" name="Freeform 4744">
                  <a:extLst>
                    <a:ext uri="{FF2B5EF4-FFF2-40B4-BE49-F238E27FC236}">
                      <a16:creationId xmlns:a16="http://schemas.microsoft.com/office/drawing/2014/main" id="{5EA7BA0E-1F75-0D91-FD43-5FA40F6CF683}"/>
                    </a:ext>
                  </a:extLst>
                </p:cNvPr>
                <p:cNvSpPr/>
                <p:nvPr/>
              </p:nvSpPr>
              <p:spPr>
                <a:xfrm>
                  <a:off x="7137281" y="5688498"/>
                  <a:ext cx="6721" cy="51940"/>
                </a:xfrm>
                <a:custGeom>
                  <a:avLst/>
                  <a:gdLst>
                    <a:gd name="connsiteX0" fmla="*/ 5727 w 6721"/>
                    <a:gd name="connsiteY0" fmla="*/ 51941 h 51940"/>
                    <a:gd name="connsiteX1" fmla="*/ 5727 w 6721"/>
                    <a:gd name="connsiteY1" fmla="*/ 33132 h 51940"/>
                    <a:gd name="connsiteX2" fmla="*/ 621 w 6721"/>
                    <a:gd name="connsiteY2" fmla="*/ 16442 h 51940"/>
                    <a:gd name="connsiteX3" fmla="*/ 1118 w 6721"/>
                    <a:gd name="connsiteY3" fmla="*/ 0 h 51940"/>
                  </a:gdLst>
                  <a:ahLst/>
                  <a:cxnLst>
                    <a:cxn ang="0">
                      <a:pos x="connsiteX0" y="connsiteY0"/>
                    </a:cxn>
                    <a:cxn ang="0">
                      <a:pos x="connsiteX1" y="connsiteY1"/>
                    </a:cxn>
                    <a:cxn ang="0">
                      <a:pos x="connsiteX2" y="connsiteY2"/>
                    </a:cxn>
                    <a:cxn ang="0">
                      <a:pos x="connsiteX3" y="connsiteY3"/>
                    </a:cxn>
                  </a:cxnLst>
                  <a:rect l="l" t="t" r="r" b="b"/>
                  <a:pathLst>
                    <a:path w="6721" h="51940">
                      <a:moveTo>
                        <a:pt x="5727" y="51941"/>
                      </a:moveTo>
                      <a:cubicBezTo>
                        <a:pt x="7346" y="43720"/>
                        <a:pt x="6724" y="37367"/>
                        <a:pt x="5727" y="33132"/>
                      </a:cubicBezTo>
                      <a:cubicBezTo>
                        <a:pt x="4232" y="26282"/>
                        <a:pt x="1866" y="23542"/>
                        <a:pt x="621" y="16442"/>
                      </a:cubicBezTo>
                      <a:cubicBezTo>
                        <a:pt x="-625" y="9591"/>
                        <a:pt x="247" y="3737"/>
                        <a:pt x="11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9" name="Freeform 4745">
                  <a:extLst>
                    <a:ext uri="{FF2B5EF4-FFF2-40B4-BE49-F238E27FC236}">
                      <a16:creationId xmlns:a16="http://schemas.microsoft.com/office/drawing/2014/main" id="{F72CDDBE-8BBD-DC41-56CC-3FA72A4DD7CB}"/>
                    </a:ext>
                  </a:extLst>
                </p:cNvPr>
                <p:cNvSpPr/>
                <p:nvPr/>
              </p:nvSpPr>
              <p:spPr>
                <a:xfrm>
                  <a:off x="7130552" y="5694477"/>
                  <a:ext cx="6103" cy="51816"/>
                </a:xfrm>
                <a:custGeom>
                  <a:avLst/>
                  <a:gdLst>
                    <a:gd name="connsiteX0" fmla="*/ 0 w 6103"/>
                    <a:gd name="connsiteY0" fmla="*/ 0 h 51816"/>
                    <a:gd name="connsiteX1" fmla="*/ 3862 w 6103"/>
                    <a:gd name="connsiteY1" fmla="*/ 18435 h 51816"/>
                    <a:gd name="connsiteX2" fmla="*/ 2243 w 6103"/>
                    <a:gd name="connsiteY2" fmla="*/ 35748 h 51816"/>
                    <a:gd name="connsiteX3" fmla="*/ 6104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0" y="0"/>
                      </a:moveTo>
                      <a:cubicBezTo>
                        <a:pt x="3239" y="7723"/>
                        <a:pt x="3862" y="14075"/>
                        <a:pt x="3862" y="18435"/>
                      </a:cubicBezTo>
                      <a:cubicBezTo>
                        <a:pt x="3862" y="25410"/>
                        <a:pt x="1993" y="28648"/>
                        <a:pt x="2243" y="35748"/>
                      </a:cubicBezTo>
                      <a:cubicBezTo>
                        <a:pt x="2491" y="42599"/>
                        <a:pt x="4485" y="48204"/>
                        <a:pt x="6104"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0" name="Freeform 4746">
                  <a:extLst>
                    <a:ext uri="{FF2B5EF4-FFF2-40B4-BE49-F238E27FC236}">
                      <a16:creationId xmlns:a16="http://schemas.microsoft.com/office/drawing/2014/main" id="{86403CB3-BEF2-D671-33D5-70CBB3D41B63}"/>
                    </a:ext>
                  </a:extLst>
                </p:cNvPr>
                <p:cNvSpPr/>
                <p:nvPr/>
              </p:nvSpPr>
              <p:spPr>
                <a:xfrm>
                  <a:off x="7126994" y="5734640"/>
                  <a:ext cx="26298" cy="26545"/>
                </a:xfrm>
                <a:custGeom>
                  <a:avLst/>
                  <a:gdLst>
                    <a:gd name="connsiteX0" fmla="*/ 71 w 26298"/>
                    <a:gd name="connsiteY0" fmla="*/ 14643 h 26545"/>
                    <a:gd name="connsiteX1" fmla="*/ 11780 w 26298"/>
                    <a:gd name="connsiteY1" fmla="*/ 70 h 26545"/>
                    <a:gd name="connsiteX2" fmla="*/ 26228 w 26298"/>
                    <a:gd name="connsiteY2" fmla="*/ 11902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4" y="-678"/>
                        <a:pt x="25481" y="4678"/>
                        <a:pt x="26228" y="11902"/>
                      </a:cubicBezTo>
                      <a:cubicBezTo>
                        <a:pt x="26975" y="19127"/>
                        <a:pt x="21744" y="25728"/>
                        <a:pt x="14519"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0" name="Graphic 2987">
                <a:extLst>
                  <a:ext uri="{FF2B5EF4-FFF2-40B4-BE49-F238E27FC236}">
                    <a16:creationId xmlns:a16="http://schemas.microsoft.com/office/drawing/2014/main" id="{EE413127-49EE-3BA2-C940-60E0695B378E}"/>
                  </a:ext>
                </a:extLst>
              </p:cNvPr>
              <p:cNvGrpSpPr/>
              <p:nvPr/>
            </p:nvGrpSpPr>
            <p:grpSpPr>
              <a:xfrm>
                <a:off x="7143811" y="5609833"/>
                <a:ext cx="38877" cy="148362"/>
                <a:chOff x="7143811" y="5609833"/>
                <a:chExt cx="38877" cy="148362"/>
              </a:xfrm>
              <a:grpFill/>
            </p:grpSpPr>
            <p:sp>
              <p:nvSpPr>
                <p:cNvPr id="4739" name="Freeform 4748">
                  <a:extLst>
                    <a:ext uri="{FF2B5EF4-FFF2-40B4-BE49-F238E27FC236}">
                      <a16:creationId xmlns:a16="http://schemas.microsoft.com/office/drawing/2014/main" id="{8710AAC3-02D8-B124-0027-B9882789C18A}"/>
                    </a:ext>
                  </a:extLst>
                </p:cNvPr>
                <p:cNvSpPr/>
                <p:nvPr/>
              </p:nvSpPr>
              <p:spPr>
                <a:xfrm>
                  <a:off x="7153338" y="5630454"/>
                  <a:ext cx="6553" cy="51940"/>
                </a:xfrm>
                <a:custGeom>
                  <a:avLst/>
                  <a:gdLst>
                    <a:gd name="connsiteX0" fmla="*/ 1006 w 6553"/>
                    <a:gd name="connsiteY0" fmla="*/ 0 h 51940"/>
                    <a:gd name="connsiteX1" fmla="*/ 881 w 6553"/>
                    <a:gd name="connsiteY1" fmla="*/ 18808 h 51940"/>
                    <a:gd name="connsiteX2" fmla="*/ 5988 w 6553"/>
                    <a:gd name="connsiteY2" fmla="*/ 35499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0"/>
                      </a:moveTo>
                      <a:cubicBezTo>
                        <a:pt x="-614" y="8221"/>
                        <a:pt x="9" y="14573"/>
                        <a:pt x="881" y="18808"/>
                      </a:cubicBezTo>
                      <a:cubicBezTo>
                        <a:pt x="2376" y="25659"/>
                        <a:pt x="4742" y="28399"/>
                        <a:pt x="5988" y="35499"/>
                      </a:cubicBezTo>
                      <a:cubicBezTo>
                        <a:pt x="7109" y="42350"/>
                        <a:pt x="6362" y="48204"/>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0" name="Freeform 4749">
                  <a:extLst>
                    <a:ext uri="{FF2B5EF4-FFF2-40B4-BE49-F238E27FC236}">
                      <a16:creationId xmlns:a16="http://schemas.microsoft.com/office/drawing/2014/main" id="{0CE53B6C-C97C-5F45-8D4B-D2AC646D6692}"/>
                    </a:ext>
                  </a:extLst>
                </p:cNvPr>
                <p:cNvSpPr/>
                <p:nvPr/>
              </p:nvSpPr>
              <p:spPr>
                <a:xfrm>
                  <a:off x="7160821" y="5624725"/>
                  <a:ext cx="5853" cy="51816"/>
                </a:xfrm>
                <a:custGeom>
                  <a:avLst/>
                  <a:gdLst>
                    <a:gd name="connsiteX0" fmla="*/ 5854 w 5853"/>
                    <a:gd name="connsiteY0" fmla="*/ 51816 h 51816"/>
                    <a:gd name="connsiteX1" fmla="*/ 1993 w 5853"/>
                    <a:gd name="connsiteY1" fmla="*/ 33381 h 51816"/>
                    <a:gd name="connsiteX2" fmla="*/ 3737 w 5853"/>
                    <a:gd name="connsiteY2" fmla="*/ 16068 h 51816"/>
                    <a:gd name="connsiteX3" fmla="*/ 0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51816"/>
                      </a:moveTo>
                      <a:cubicBezTo>
                        <a:pt x="2615" y="44094"/>
                        <a:pt x="1993" y="37741"/>
                        <a:pt x="1993" y="33381"/>
                      </a:cubicBezTo>
                      <a:cubicBezTo>
                        <a:pt x="2117" y="26406"/>
                        <a:pt x="3861" y="23168"/>
                        <a:pt x="3737"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1" name="Freeform 4750">
                  <a:extLst>
                    <a:ext uri="{FF2B5EF4-FFF2-40B4-BE49-F238E27FC236}">
                      <a16:creationId xmlns:a16="http://schemas.microsoft.com/office/drawing/2014/main" id="{2A70F4F4-1CF8-0807-37C9-F099FFFEB00C}"/>
                    </a:ext>
                  </a:extLst>
                </p:cNvPr>
                <p:cNvSpPr/>
                <p:nvPr/>
              </p:nvSpPr>
              <p:spPr>
                <a:xfrm>
                  <a:off x="7143811" y="5609833"/>
                  <a:ext cx="26670" cy="26546"/>
                </a:xfrm>
                <a:custGeom>
                  <a:avLst/>
                  <a:gdLst>
                    <a:gd name="connsiteX0" fmla="*/ 26600 w 26670"/>
                    <a:gd name="connsiteY0" fmla="*/ 11903 h 26546"/>
                    <a:gd name="connsiteX1" fmla="*/ 14643 w 26670"/>
                    <a:gd name="connsiteY1" fmla="*/ 26476 h 26546"/>
                    <a:gd name="connsiteX2" fmla="*/ 70 w 26670"/>
                    <a:gd name="connsiteY2" fmla="*/ 14643 h 26546"/>
                    <a:gd name="connsiteX3" fmla="*/ 12027 w 26670"/>
                    <a:gd name="connsiteY3" fmla="*/ 70 h 26546"/>
                    <a:gd name="connsiteX4" fmla="*/ 26600 w 26670"/>
                    <a:gd name="connsiteY4" fmla="*/ 1190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00" y="11903"/>
                      </a:moveTo>
                      <a:cubicBezTo>
                        <a:pt x="27348" y="19127"/>
                        <a:pt x="21992" y="25728"/>
                        <a:pt x="14643" y="26476"/>
                      </a:cubicBezTo>
                      <a:cubicBezTo>
                        <a:pt x="7294" y="27223"/>
                        <a:pt x="817" y="21992"/>
                        <a:pt x="70" y="14643"/>
                      </a:cubicBezTo>
                      <a:cubicBezTo>
                        <a:pt x="-678" y="7418"/>
                        <a:pt x="4678" y="817"/>
                        <a:pt x="12027" y="70"/>
                      </a:cubicBezTo>
                      <a:cubicBezTo>
                        <a:pt x="19377" y="-678"/>
                        <a:pt x="25853" y="4678"/>
                        <a:pt x="26600" y="119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2" name="Freeform 4751">
                  <a:extLst>
                    <a:ext uri="{FF2B5EF4-FFF2-40B4-BE49-F238E27FC236}">
                      <a16:creationId xmlns:a16="http://schemas.microsoft.com/office/drawing/2014/main" id="{4D1BFDFF-DBB1-7605-CA17-70718F59D623}"/>
                    </a:ext>
                  </a:extLst>
                </p:cNvPr>
                <p:cNvSpPr/>
                <p:nvPr/>
              </p:nvSpPr>
              <p:spPr>
                <a:xfrm>
                  <a:off x="7166856" y="5685509"/>
                  <a:ext cx="6553" cy="51940"/>
                </a:xfrm>
                <a:custGeom>
                  <a:avLst/>
                  <a:gdLst>
                    <a:gd name="connsiteX0" fmla="*/ 5548 w 6553"/>
                    <a:gd name="connsiteY0" fmla="*/ 51941 h 51940"/>
                    <a:gd name="connsiteX1" fmla="*/ 5673 w 6553"/>
                    <a:gd name="connsiteY1" fmla="*/ 33132 h 51940"/>
                    <a:gd name="connsiteX2" fmla="*/ 565 w 6553"/>
                    <a:gd name="connsiteY2" fmla="*/ 16442 h 51940"/>
                    <a:gd name="connsiteX3" fmla="*/ 1063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3" y="33132"/>
                      </a:cubicBezTo>
                      <a:cubicBezTo>
                        <a:pt x="4177" y="26281"/>
                        <a:pt x="1811" y="23417"/>
                        <a:pt x="565" y="16442"/>
                      </a:cubicBezTo>
                      <a:cubicBezTo>
                        <a:pt x="-555" y="9591"/>
                        <a:pt x="192" y="3737"/>
                        <a:pt x="10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3" name="Freeform 4752">
                  <a:extLst>
                    <a:ext uri="{FF2B5EF4-FFF2-40B4-BE49-F238E27FC236}">
                      <a16:creationId xmlns:a16="http://schemas.microsoft.com/office/drawing/2014/main" id="{45DA9E47-4488-8208-0349-F42A8FBA0C1F}"/>
                    </a:ext>
                  </a:extLst>
                </p:cNvPr>
                <p:cNvSpPr/>
                <p:nvPr/>
              </p:nvSpPr>
              <p:spPr>
                <a:xfrm>
                  <a:off x="7159949" y="5691363"/>
                  <a:ext cx="5978" cy="51816"/>
                </a:xfrm>
                <a:custGeom>
                  <a:avLst/>
                  <a:gdLst>
                    <a:gd name="connsiteX0" fmla="*/ 0 w 5978"/>
                    <a:gd name="connsiteY0" fmla="*/ 0 h 51816"/>
                    <a:gd name="connsiteX1" fmla="*/ 3861 w 5978"/>
                    <a:gd name="connsiteY1" fmla="*/ 18435 h 51816"/>
                    <a:gd name="connsiteX2" fmla="*/ 2242 w 5978"/>
                    <a:gd name="connsiteY2" fmla="*/ 35748 h 51816"/>
                    <a:gd name="connsiteX3" fmla="*/ 5979 w 5978"/>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978" h="51816">
                      <a:moveTo>
                        <a:pt x="0" y="0"/>
                      </a:moveTo>
                      <a:cubicBezTo>
                        <a:pt x="3239" y="7723"/>
                        <a:pt x="3861" y="14075"/>
                        <a:pt x="3861" y="18435"/>
                      </a:cubicBezTo>
                      <a:cubicBezTo>
                        <a:pt x="3737" y="25410"/>
                        <a:pt x="1993" y="28648"/>
                        <a:pt x="2242" y="35748"/>
                      </a:cubicBezTo>
                      <a:cubicBezTo>
                        <a:pt x="2491" y="42599"/>
                        <a:pt x="4359" y="48204"/>
                        <a:pt x="5979"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4" name="Freeform 4753">
                  <a:extLst>
                    <a:ext uri="{FF2B5EF4-FFF2-40B4-BE49-F238E27FC236}">
                      <a16:creationId xmlns:a16="http://schemas.microsoft.com/office/drawing/2014/main" id="{55F297B8-0542-51F8-8EF5-8171D5135CF3}"/>
                    </a:ext>
                  </a:extLst>
                </p:cNvPr>
                <p:cNvSpPr/>
                <p:nvPr/>
              </p:nvSpPr>
              <p:spPr>
                <a:xfrm>
                  <a:off x="7156265" y="5731650"/>
                  <a:ext cx="26422" cy="26545"/>
                </a:xfrm>
                <a:custGeom>
                  <a:avLst/>
                  <a:gdLst>
                    <a:gd name="connsiteX0" fmla="*/ 71 w 26422"/>
                    <a:gd name="connsiteY0" fmla="*/ 14643 h 26545"/>
                    <a:gd name="connsiteX1" fmla="*/ 11904 w 26422"/>
                    <a:gd name="connsiteY1" fmla="*/ 70 h 26545"/>
                    <a:gd name="connsiteX2" fmla="*/ 26353 w 26422"/>
                    <a:gd name="connsiteY2" fmla="*/ 11903 h 26545"/>
                    <a:gd name="connsiteX3" fmla="*/ 14520 w 26422"/>
                    <a:gd name="connsiteY3" fmla="*/ 26476 h 26545"/>
                    <a:gd name="connsiteX4" fmla="*/ 71 w 26422"/>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71" y="14643"/>
                      </a:moveTo>
                      <a:cubicBezTo>
                        <a:pt x="-676" y="7418"/>
                        <a:pt x="4556" y="817"/>
                        <a:pt x="11904" y="70"/>
                      </a:cubicBezTo>
                      <a:cubicBezTo>
                        <a:pt x="19129" y="-678"/>
                        <a:pt x="25606" y="4678"/>
                        <a:pt x="26353" y="11903"/>
                      </a:cubicBezTo>
                      <a:cubicBezTo>
                        <a:pt x="27101" y="19127"/>
                        <a:pt x="21745" y="25728"/>
                        <a:pt x="14520"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1" name="Graphic 2987">
                <a:extLst>
                  <a:ext uri="{FF2B5EF4-FFF2-40B4-BE49-F238E27FC236}">
                    <a16:creationId xmlns:a16="http://schemas.microsoft.com/office/drawing/2014/main" id="{8BB14749-EF66-C96E-D503-B2FC255ABF4A}"/>
                  </a:ext>
                </a:extLst>
              </p:cNvPr>
              <p:cNvGrpSpPr/>
              <p:nvPr/>
            </p:nvGrpSpPr>
            <p:grpSpPr>
              <a:xfrm>
                <a:off x="7173455" y="5606842"/>
                <a:ext cx="38503" cy="148241"/>
                <a:chOff x="7173455" y="5606842"/>
                <a:chExt cx="38503" cy="148241"/>
              </a:xfrm>
              <a:grpFill/>
            </p:grpSpPr>
            <p:sp>
              <p:nvSpPr>
                <p:cNvPr id="4733" name="Freeform 4755">
                  <a:extLst>
                    <a:ext uri="{FF2B5EF4-FFF2-40B4-BE49-F238E27FC236}">
                      <a16:creationId xmlns:a16="http://schemas.microsoft.com/office/drawing/2014/main" id="{A2DB376F-12B7-0048-DCF8-D48F34A7B8B8}"/>
                    </a:ext>
                  </a:extLst>
                </p:cNvPr>
                <p:cNvSpPr/>
                <p:nvPr/>
              </p:nvSpPr>
              <p:spPr>
                <a:xfrm>
                  <a:off x="7182807" y="5627465"/>
                  <a:ext cx="6604" cy="52065"/>
                </a:xfrm>
                <a:custGeom>
                  <a:avLst/>
                  <a:gdLst>
                    <a:gd name="connsiteX0" fmla="*/ 1057 w 6604"/>
                    <a:gd name="connsiteY0" fmla="*/ 0 h 52065"/>
                    <a:gd name="connsiteX1" fmla="*/ 932 w 6604"/>
                    <a:gd name="connsiteY1" fmla="*/ 18808 h 52065"/>
                    <a:gd name="connsiteX2" fmla="*/ 6039 w 6604"/>
                    <a:gd name="connsiteY2" fmla="*/ 35499 h 52065"/>
                    <a:gd name="connsiteX3" fmla="*/ 5541 w 660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04" h="52065">
                      <a:moveTo>
                        <a:pt x="1057" y="0"/>
                      </a:moveTo>
                      <a:cubicBezTo>
                        <a:pt x="-687" y="8221"/>
                        <a:pt x="60" y="14573"/>
                        <a:pt x="932" y="18808"/>
                      </a:cubicBezTo>
                      <a:cubicBezTo>
                        <a:pt x="2427" y="25659"/>
                        <a:pt x="4793" y="28524"/>
                        <a:pt x="6039" y="35499"/>
                      </a:cubicBezTo>
                      <a:cubicBezTo>
                        <a:pt x="7160" y="42350"/>
                        <a:pt x="6413" y="48204"/>
                        <a:pt x="554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4" name="Freeform 4756">
                  <a:extLst>
                    <a:ext uri="{FF2B5EF4-FFF2-40B4-BE49-F238E27FC236}">
                      <a16:creationId xmlns:a16="http://schemas.microsoft.com/office/drawing/2014/main" id="{BEA17D82-1B24-3904-64B3-21C75745E326}"/>
                    </a:ext>
                  </a:extLst>
                </p:cNvPr>
                <p:cNvSpPr/>
                <p:nvPr/>
              </p:nvSpPr>
              <p:spPr>
                <a:xfrm>
                  <a:off x="7190465" y="5621736"/>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4094"/>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5" name="Freeform 4757">
                  <a:extLst>
                    <a:ext uri="{FF2B5EF4-FFF2-40B4-BE49-F238E27FC236}">
                      <a16:creationId xmlns:a16="http://schemas.microsoft.com/office/drawing/2014/main" id="{00F85F73-B57C-5EB9-8212-6515BC54F4B4}"/>
                    </a:ext>
                  </a:extLst>
                </p:cNvPr>
                <p:cNvSpPr/>
                <p:nvPr/>
              </p:nvSpPr>
              <p:spPr>
                <a:xfrm>
                  <a:off x="7173455" y="5606842"/>
                  <a:ext cx="26670" cy="26548"/>
                </a:xfrm>
                <a:custGeom>
                  <a:avLst/>
                  <a:gdLst>
                    <a:gd name="connsiteX0" fmla="*/ 26600 w 26670"/>
                    <a:gd name="connsiteY0" fmla="*/ 11904 h 26548"/>
                    <a:gd name="connsiteX1" fmla="*/ 14643 w 26670"/>
                    <a:gd name="connsiteY1" fmla="*/ 26477 h 26548"/>
                    <a:gd name="connsiteX2" fmla="*/ 70 w 26670"/>
                    <a:gd name="connsiteY2" fmla="*/ 14644 h 26548"/>
                    <a:gd name="connsiteX3" fmla="*/ 12027 w 26670"/>
                    <a:gd name="connsiteY3" fmla="*/ 71 h 26548"/>
                    <a:gd name="connsiteX4" fmla="*/ 26600 w 26670"/>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8">
                      <a:moveTo>
                        <a:pt x="26600" y="11904"/>
                      </a:moveTo>
                      <a:cubicBezTo>
                        <a:pt x="27348" y="19128"/>
                        <a:pt x="21992" y="25730"/>
                        <a:pt x="14643" y="26477"/>
                      </a:cubicBezTo>
                      <a:cubicBezTo>
                        <a:pt x="7294" y="27225"/>
                        <a:pt x="817" y="21993"/>
                        <a:pt x="70" y="14644"/>
                      </a:cubicBezTo>
                      <a:cubicBezTo>
                        <a:pt x="-678" y="7420"/>
                        <a:pt x="4678" y="818"/>
                        <a:pt x="12027" y="71"/>
                      </a:cubicBezTo>
                      <a:cubicBezTo>
                        <a:pt x="19376" y="-676"/>
                        <a:pt x="25853" y="4555"/>
                        <a:pt x="26600"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6" name="Freeform 4758">
                  <a:extLst>
                    <a:ext uri="{FF2B5EF4-FFF2-40B4-BE49-F238E27FC236}">
                      <a16:creationId xmlns:a16="http://schemas.microsoft.com/office/drawing/2014/main" id="{98B283AF-60AE-F38E-6C1E-E721DEC66C07}"/>
                    </a:ext>
                  </a:extLst>
                </p:cNvPr>
                <p:cNvSpPr/>
                <p:nvPr/>
              </p:nvSpPr>
              <p:spPr>
                <a:xfrm>
                  <a:off x="7196127" y="5682395"/>
                  <a:ext cx="6553" cy="52065"/>
                </a:xfrm>
                <a:custGeom>
                  <a:avLst/>
                  <a:gdLst>
                    <a:gd name="connsiteX0" fmla="*/ 5548 w 6553"/>
                    <a:gd name="connsiteY0" fmla="*/ 52065 h 52065"/>
                    <a:gd name="connsiteX1" fmla="*/ 5672 w 6553"/>
                    <a:gd name="connsiteY1" fmla="*/ 33257 h 52065"/>
                    <a:gd name="connsiteX2" fmla="*/ 566 w 6553"/>
                    <a:gd name="connsiteY2" fmla="*/ 16566 h 52065"/>
                    <a:gd name="connsiteX3" fmla="*/ 1064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52065"/>
                      </a:moveTo>
                      <a:cubicBezTo>
                        <a:pt x="7167" y="43844"/>
                        <a:pt x="6544" y="37492"/>
                        <a:pt x="5672" y="33257"/>
                      </a:cubicBezTo>
                      <a:cubicBezTo>
                        <a:pt x="4178" y="26406"/>
                        <a:pt x="1811" y="23542"/>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7" name="Freeform 4759">
                  <a:extLst>
                    <a:ext uri="{FF2B5EF4-FFF2-40B4-BE49-F238E27FC236}">
                      <a16:creationId xmlns:a16="http://schemas.microsoft.com/office/drawing/2014/main" id="{A76D3BAC-7B2E-DA05-5533-2F0872B99216}"/>
                    </a:ext>
                  </a:extLst>
                </p:cNvPr>
                <p:cNvSpPr/>
                <p:nvPr/>
              </p:nvSpPr>
              <p:spPr>
                <a:xfrm>
                  <a:off x="7189344" y="5688374"/>
                  <a:ext cx="5729" cy="51816"/>
                </a:xfrm>
                <a:custGeom>
                  <a:avLst/>
                  <a:gdLst>
                    <a:gd name="connsiteX0" fmla="*/ 0 w 5729"/>
                    <a:gd name="connsiteY0" fmla="*/ 0 h 51816"/>
                    <a:gd name="connsiteX1" fmla="*/ 3737 w 5729"/>
                    <a:gd name="connsiteY1" fmla="*/ 18434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4"/>
                      </a:cubicBezTo>
                      <a:cubicBezTo>
                        <a:pt x="3612" y="25409"/>
                        <a:pt x="1869" y="28648"/>
                        <a:pt x="1993" y="35748"/>
                      </a:cubicBezTo>
                      <a:cubicBezTo>
                        <a:pt x="2242"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8" name="Freeform 4760">
                  <a:extLst>
                    <a:ext uri="{FF2B5EF4-FFF2-40B4-BE49-F238E27FC236}">
                      <a16:creationId xmlns:a16="http://schemas.microsoft.com/office/drawing/2014/main" id="{69B22C79-5FF5-C7CA-F345-A8BD5977B2D4}"/>
                    </a:ext>
                  </a:extLst>
                </p:cNvPr>
                <p:cNvSpPr/>
                <p:nvPr/>
              </p:nvSpPr>
              <p:spPr>
                <a:xfrm>
                  <a:off x="7185538" y="5728536"/>
                  <a:ext cx="26420" cy="26546"/>
                </a:xfrm>
                <a:custGeom>
                  <a:avLst/>
                  <a:gdLst>
                    <a:gd name="connsiteX0" fmla="*/ 70 w 26420"/>
                    <a:gd name="connsiteY0" fmla="*/ 14643 h 26546"/>
                    <a:gd name="connsiteX1" fmla="*/ 11903 w 26420"/>
                    <a:gd name="connsiteY1" fmla="*/ 70 h 26546"/>
                    <a:gd name="connsiteX2" fmla="*/ 26351 w 26420"/>
                    <a:gd name="connsiteY2" fmla="*/ 11903 h 26546"/>
                    <a:gd name="connsiteX3" fmla="*/ 14518 w 26420"/>
                    <a:gd name="connsiteY3" fmla="*/ 26476 h 26546"/>
                    <a:gd name="connsiteX4" fmla="*/ 70 w 26420"/>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70" y="14643"/>
                      </a:moveTo>
                      <a:cubicBezTo>
                        <a:pt x="-678" y="7418"/>
                        <a:pt x="4678" y="817"/>
                        <a:pt x="11903" y="70"/>
                      </a:cubicBezTo>
                      <a:cubicBezTo>
                        <a:pt x="19127" y="-678"/>
                        <a:pt x="25604" y="4678"/>
                        <a:pt x="26351" y="11903"/>
                      </a:cubicBezTo>
                      <a:cubicBezTo>
                        <a:pt x="27098" y="19127"/>
                        <a:pt x="21743" y="25728"/>
                        <a:pt x="14518" y="26476"/>
                      </a:cubicBezTo>
                      <a:cubicBezTo>
                        <a:pt x="7293" y="27223"/>
                        <a:pt x="817" y="21992"/>
                        <a:pt x="70"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2" name="Graphic 2987">
                <a:extLst>
                  <a:ext uri="{FF2B5EF4-FFF2-40B4-BE49-F238E27FC236}">
                    <a16:creationId xmlns:a16="http://schemas.microsoft.com/office/drawing/2014/main" id="{691E0ACD-F463-DB05-D53B-3866C8382F3A}"/>
                  </a:ext>
                </a:extLst>
              </p:cNvPr>
              <p:cNvGrpSpPr/>
              <p:nvPr/>
            </p:nvGrpSpPr>
            <p:grpSpPr>
              <a:xfrm>
                <a:off x="7203100" y="5603854"/>
                <a:ext cx="38129" cy="148343"/>
                <a:chOff x="7203100" y="5603854"/>
                <a:chExt cx="38129" cy="148343"/>
              </a:xfrm>
              <a:grpFill/>
            </p:grpSpPr>
            <p:sp>
              <p:nvSpPr>
                <p:cNvPr id="4727" name="Freeform 4762">
                  <a:extLst>
                    <a:ext uri="{FF2B5EF4-FFF2-40B4-BE49-F238E27FC236}">
                      <a16:creationId xmlns:a16="http://schemas.microsoft.com/office/drawing/2014/main" id="{25F7B49B-B203-00A2-8DFF-D502B59ABE56}"/>
                    </a:ext>
                  </a:extLst>
                </p:cNvPr>
                <p:cNvSpPr/>
                <p:nvPr/>
              </p:nvSpPr>
              <p:spPr>
                <a:xfrm>
                  <a:off x="7212285" y="5624476"/>
                  <a:ext cx="6486" cy="51940"/>
                </a:xfrm>
                <a:custGeom>
                  <a:avLst/>
                  <a:gdLst>
                    <a:gd name="connsiteX0" fmla="*/ 1098 w 6486"/>
                    <a:gd name="connsiteY0" fmla="*/ 0 h 51940"/>
                    <a:gd name="connsiteX1" fmla="*/ 973 w 6486"/>
                    <a:gd name="connsiteY1" fmla="*/ 18808 h 51940"/>
                    <a:gd name="connsiteX2" fmla="*/ 5956 w 6486"/>
                    <a:gd name="connsiteY2" fmla="*/ 35499 h 51940"/>
                    <a:gd name="connsiteX3" fmla="*/ 5333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1098" y="0"/>
                      </a:moveTo>
                      <a:cubicBezTo>
                        <a:pt x="-646" y="8221"/>
                        <a:pt x="-22" y="14573"/>
                        <a:pt x="973" y="18808"/>
                      </a:cubicBezTo>
                      <a:cubicBezTo>
                        <a:pt x="2468" y="25659"/>
                        <a:pt x="4835" y="28524"/>
                        <a:pt x="5956" y="35499"/>
                      </a:cubicBezTo>
                      <a:cubicBezTo>
                        <a:pt x="7077" y="42350"/>
                        <a:pt x="6205" y="48079"/>
                        <a:pt x="53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8" name="Freeform 4763">
                  <a:extLst>
                    <a:ext uri="{FF2B5EF4-FFF2-40B4-BE49-F238E27FC236}">
                      <a16:creationId xmlns:a16="http://schemas.microsoft.com/office/drawing/2014/main" id="{3A91F584-D51B-8F5E-C9D5-D3167269203E}"/>
                    </a:ext>
                  </a:extLst>
                </p:cNvPr>
                <p:cNvSpPr/>
                <p:nvPr/>
              </p:nvSpPr>
              <p:spPr>
                <a:xfrm>
                  <a:off x="7219861" y="5618871"/>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3969"/>
                        <a:pt x="1868" y="37741"/>
                        <a:pt x="1993" y="33381"/>
                      </a:cubicBezTo>
                      <a:cubicBezTo>
                        <a:pt x="2117" y="26406"/>
                        <a:pt x="3986" y="23168"/>
                        <a:pt x="3737"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9" name="Freeform 4764">
                  <a:extLst>
                    <a:ext uri="{FF2B5EF4-FFF2-40B4-BE49-F238E27FC236}">
                      <a16:creationId xmlns:a16="http://schemas.microsoft.com/office/drawing/2014/main" id="{CB729925-92C0-489C-DA6C-6A4C01917CE3}"/>
                    </a:ext>
                  </a:extLst>
                </p:cNvPr>
                <p:cNvSpPr/>
                <p:nvPr/>
              </p:nvSpPr>
              <p:spPr>
                <a:xfrm>
                  <a:off x="7203100" y="5603854"/>
                  <a:ext cx="26544" cy="26401"/>
                </a:xfrm>
                <a:custGeom>
                  <a:avLst/>
                  <a:gdLst>
                    <a:gd name="connsiteX0" fmla="*/ 26476 w 26544"/>
                    <a:gd name="connsiteY0" fmla="*/ 12027 h 26401"/>
                    <a:gd name="connsiteX1" fmla="*/ 14519 w 26544"/>
                    <a:gd name="connsiteY1" fmla="*/ 26351 h 26401"/>
                    <a:gd name="connsiteX2" fmla="*/ 70 w 26544"/>
                    <a:gd name="connsiteY2" fmla="*/ 14518 h 26401"/>
                    <a:gd name="connsiteX3" fmla="*/ 12027 w 26544"/>
                    <a:gd name="connsiteY3" fmla="*/ 70 h 26401"/>
                    <a:gd name="connsiteX4" fmla="*/ 26476 w 26544"/>
                    <a:gd name="connsiteY4" fmla="*/ 12027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4" h="26401">
                      <a:moveTo>
                        <a:pt x="26476" y="12027"/>
                      </a:moveTo>
                      <a:cubicBezTo>
                        <a:pt x="27223" y="19376"/>
                        <a:pt x="21743" y="25728"/>
                        <a:pt x="14519" y="26351"/>
                      </a:cubicBezTo>
                      <a:cubicBezTo>
                        <a:pt x="7169" y="26974"/>
                        <a:pt x="692" y="21743"/>
                        <a:pt x="70" y="14518"/>
                      </a:cubicBezTo>
                      <a:cubicBezTo>
                        <a:pt x="-678" y="7294"/>
                        <a:pt x="4678" y="692"/>
                        <a:pt x="12027" y="70"/>
                      </a:cubicBezTo>
                      <a:cubicBezTo>
                        <a:pt x="19376" y="-678"/>
                        <a:pt x="25853" y="4678"/>
                        <a:pt x="26476"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0" name="Freeform 4765">
                  <a:extLst>
                    <a:ext uri="{FF2B5EF4-FFF2-40B4-BE49-F238E27FC236}">
                      <a16:creationId xmlns:a16="http://schemas.microsoft.com/office/drawing/2014/main" id="{9C09CFA4-5451-13A6-BFF3-FD2F232CB5DD}"/>
                    </a:ext>
                  </a:extLst>
                </p:cNvPr>
                <p:cNvSpPr/>
                <p:nvPr/>
              </p:nvSpPr>
              <p:spPr>
                <a:xfrm>
                  <a:off x="7225558" y="5679655"/>
                  <a:ext cx="6486" cy="51940"/>
                </a:xfrm>
                <a:custGeom>
                  <a:avLst/>
                  <a:gdLst>
                    <a:gd name="connsiteX0" fmla="*/ 5389 w 6486"/>
                    <a:gd name="connsiteY0" fmla="*/ 51941 h 51940"/>
                    <a:gd name="connsiteX1" fmla="*/ 5513 w 6486"/>
                    <a:gd name="connsiteY1" fmla="*/ 33132 h 51940"/>
                    <a:gd name="connsiteX2" fmla="*/ 531 w 6486"/>
                    <a:gd name="connsiteY2" fmla="*/ 16442 h 51940"/>
                    <a:gd name="connsiteX3" fmla="*/ 1153 w 6486"/>
                    <a:gd name="connsiteY3" fmla="*/ 0 h 51940"/>
                  </a:gdLst>
                  <a:ahLst/>
                  <a:cxnLst>
                    <a:cxn ang="0">
                      <a:pos x="connsiteX0" y="connsiteY0"/>
                    </a:cxn>
                    <a:cxn ang="0">
                      <a:pos x="connsiteX1" y="connsiteY1"/>
                    </a:cxn>
                    <a:cxn ang="0">
                      <a:pos x="connsiteX2" y="connsiteY2"/>
                    </a:cxn>
                    <a:cxn ang="0">
                      <a:pos x="connsiteX3" y="connsiteY3"/>
                    </a:cxn>
                  </a:cxnLst>
                  <a:rect l="l" t="t" r="r" b="b"/>
                  <a:pathLst>
                    <a:path w="6486" h="51940">
                      <a:moveTo>
                        <a:pt x="5389" y="51941"/>
                      </a:moveTo>
                      <a:cubicBezTo>
                        <a:pt x="7132" y="43720"/>
                        <a:pt x="6509" y="37367"/>
                        <a:pt x="5513" y="33132"/>
                      </a:cubicBezTo>
                      <a:cubicBezTo>
                        <a:pt x="4143" y="26282"/>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1" name="Freeform 4766">
                  <a:extLst>
                    <a:ext uri="{FF2B5EF4-FFF2-40B4-BE49-F238E27FC236}">
                      <a16:creationId xmlns:a16="http://schemas.microsoft.com/office/drawing/2014/main" id="{65CCEF1C-5C77-A310-EFE7-CE2A73AB09B3}"/>
                    </a:ext>
                  </a:extLst>
                </p:cNvPr>
                <p:cNvSpPr/>
                <p:nvPr/>
              </p:nvSpPr>
              <p:spPr>
                <a:xfrm>
                  <a:off x="7218864" y="5685384"/>
                  <a:ext cx="5729" cy="51816"/>
                </a:xfrm>
                <a:custGeom>
                  <a:avLst/>
                  <a:gdLst>
                    <a:gd name="connsiteX0" fmla="*/ 0 w 5729"/>
                    <a:gd name="connsiteY0" fmla="*/ 0 h 51816"/>
                    <a:gd name="connsiteX1" fmla="*/ 3737 w 5729"/>
                    <a:gd name="connsiteY1" fmla="*/ 18435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5"/>
                      </a:cubicBezTo>
                      <a:cubicBezTo>
                        <a:pt x="3612" y="25410"/>
                        <a:pt x="1869"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2" name="Freeform 4767">
                  <a:extLst>
                    <a:ext uri="{FF2B5EF4-FFF2-40B4-BE49-F238E27FC236}">
                      <a16:creationId xmlns:a16="http://schemas.microsoft.com/office/drawing/2014/main" id="{6B59BA07-B139-46B8-DAE4-B023F2D4D3FC}"/>
                    </a:ext>
                  </a:extLst>
                </p:cNvPr>
                <p:cNvSpPr/>
                <p:nvPr/>
              </p:nvSpPr>
              <p:spPr>
                <a:xfrm>
                  <a:off x="7214933" y="5725692"/>
                  <a:ext cx="26296" cy="26505"/>
                </a:xfrm>
                <a:custGeom>
                  <a:avLst/>
                  <a:gdLst>
                    <a:gd name="connsiteX0" fmla="*/ 70 w 26296"/>
                    <a:gd name="connsiteY0" fmla="*/ 14498 h 26505"/>
                    <a:gd name="connsiteX1" fmla="*/ 11903 w 26296"/>
                    <a:gd name="connsiteY1" fmla="*/ 49 h 26505"/>
                    <a:gd name="connsiteX2" fmla="*/ 26226 w 26296"/>
                    <a:gd name="connsiteY2" fmla="*/ 12131 h 26505"/>
                    <a:gd name="connsiteX3" fmla="*/ 14394 w 26296"/>
                    <a:gd name="connsiteY3" fmla="*/ 26455 h 26505"/>
                    <a:gd name="connsiteX4" fmla="*/ 70 w 26296"/>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4498"/>
                      </a:moveTo>
                      <a:cubicBezTo>
                        <a:pt x="-678" y="7273"/>
                        <a:pt x="4678" y="672"/>
                        <a:pt x="11903" y="49"/>
                      </a:cubicBezTo>
                      <a:cubicBezTo>
                        <a:pt x="19127" y="-574"/>
                        <a:pt x="25604" y="4782"/>
                        <a:pt x="26226" y="12131"/>
                      </a:cubicBezTo>
                      <a:cubicBezTo>
                        <a:pt x="26974" y="19480"/>
                        <a:pt x="21618" y="25832"/>
                        <a:pt x="14394" y="26455"/>
                      </a:cubicBezTo>
                      <a:cubicBezTo>
                        <a:pt x="7170" y="27078"/>
                        <a:pt x="692" y="21847"/>
                        <a:pt x="7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3" name="Graphic 2987">
                <a:extLst>
                  <a:ext uri="{FF2B5EF4-FFF2-40B4-BE49-F238E27FC236}">
                    <a16:creationId xmlns:a16="http://schemas.microsoft.com/office/drawing/2014/main" id="{174552E7-28B6-C21E-1FFB-F5EB2C40F22C}"/>
                  </a:ext>
                </a:extLst>
              </p:cNvPr>
              <p:cNvGrpSpPr/>
              <p:nvPr/>
            </p:nvGrpSpPr>
            <p:grpSpPr>
              <a:xfrm>
                <a:off x="7232622" y="5601238"/>
                <a:ext cx="37859" cy="148342"/>
                <a:chOff x="7232622" y="5601238"/>
                <a:chExt cx="37859" cy="148342"/>
              </a:xfrm>
              <a:grpFill/>
            </p:grpSpPr>
            <p:sp>
              <p:nvSpPr>
                <p:cNvPr id="4721" name="Freeform 4769">
                  <a:extLst>
                    <a:ext uri="{FF2B5EF4-FFF2-40B4-BE49-F238E27FC236}">
                      <a16:creationId xmlns:a16="http://schemas.microsoft.com/office/drawing/2014/main" id="{F2646B29-063A-D077-8047-84E2126DED09}"/>
                    </a:ext>
                  </a:extLst>
                </p:cNvPr>
                <p:cNvSpPr/>
                <p:nvPr/>
              </p:nvSpPr>
              <p:spPr>
                <a:xfrm>
                  <a:off x="7241918" y="562173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2" y="25659"/>
                        <a:pt x="4722" y="28524"/>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2" name="Freeform 4770">
                  <a:extLst>
                    <a:ext uri="{FF2B5EF4-FFF2-40B4-BE49-F238E27FC236}">
                      <a16:creationId xmlns:a16="http://schemas.microsoft.com/office/drawing/2014/main" id="{3BE97DB4-94F3-814A-40FB-B81CE266940F}"/>
                    </a:ext>
                  </a:extLst>
                </p:cNvPr>
                <p:cNvSpPr/>
                <p:nvPr/>
              </p:nvSpPr>
              <p:spPr>
                <a:xfrm>
                  <a:off x="7249630" y="5616130"/>
                  <a:ext cx="5479" cy="51816"/>
                </a:xfrm>
                <a:custGeom>
                  <a:avLst/>
                  <a:gdLst>
                    <a:gd name="connsiteX0" fmla="*/ 5480 w 5479"/>
                    <a:gd name="connsiteY0" fmla="*/ 51816 h 51816"/>
                    <a:gd name="connsiteX1" fmla="*/ 1743 w 5479"/>
                    <a:gd name="connsiteY1" fmla="*/ 33381 h 51816"/>
                    <a:gd name="connsiteX2" fmla="*/ 3612 w 5479"/>
                    <a:gd name="connsiteY2" fmla="*/ 16068 h 51816"/>
                    <a:gd name="connsiteX3" fmla="*/ 0 w 5479"/>
                    <a:gd name="connsiteY3" fmla="*/ 0 h 51816"/>
                  </a:gdLst>
                  <a:ahLst/>
                  <a:cxnLst>
                    <a:cxn ang="0">
                      <a:pos x="connsiteX0" y="connsiteY0"/>
                    </a:cxn>
                    <a:cxn ang="0">
                      <a:pos x="connsiteX1" y="connsiteY1"/>
                    </a:cxn>
                    <a:cxn ang="0">
                      <a:pos x="connsiteX2" y="connsiteY2"/>
                    </a:cxn>
                    <a:cxn ang="0">
                      <a:pos x="connsiteX3" y="connsiteY3"/>
                    </a:cxn>
                  </a:cxnLst>
                  <a:rect l="l" t="t" r="r" b="b"/>
                  <a:pathLst>
                    <a:path w="5479" h="51816">
                      <a:moveTo>
                        <a:pt x="5480" y="51816"/>
                      </a:moveTo>
                      <a:cubicBezTo>
                        <a:pt x="2242" y="43969"/>
                        <a:pt x="1743" y="37741"/>
                        <a:pt x="1743" y="33381"/>
                      </a:cubicBezTo>
                      <a:cubicBezTo>
                        <a:pt x="1868" y="26406"/>
                        <a:pt x="3737" y="23168"/>
                        <a:pt x="3612" y="16068"/>
                      </a:cubicBezTo>
                      <a:cubicBezTo>
                        <a:pt x="3487" y="9218"/>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3" name="Freeform 4771">
                  <a:extLst>
                    <a:ext uri="{FF2B5EF4-FFF2-40B4-BE49-F238E27FC236}">
                      <a16:creationId xmlns:a16="http://schemas.microsoft.com/office/drawing/2014/main" id="{ED4574E2-1AC5-834F-9E2C-569CBFB72048}"/>
                    </a:ext>
                  </a:extLst>
                </p:cNvPr>
                <p:cNvSpPr/>
                <p:nvPr/>
              </p:nvSpPr>
              <p:spPr>
                <a:xfrm>
                  <a:off x="7232622" y="5601238"/>
                  <a:ext cx="26648" cy="26400"/>
                </a:xfrm>
                <a:custGeom>
                  <a:avLst/>
                  <a:gdLst>
                    <a:gd name="connsiteX0" fmla="*/ 26599 w 26648"/>
                    <a:gd name="connsiteY0" fmla="*/ 12027 h 26400"/>
                    <a:gd name="connsiteX1" fmla="*/ 14517 w 26648"/>
                    <a:gd name="connsiteY1" fmla="*/ 26351 h 26400"/>
                    <a:gd name="connsiteX2" fmla="*/ 68 w 26648"/>
                    <a:gd name="connsiteY2" fmla="*/ 14394 h 26400"/>
                    <a:gd name="connsiteX3" fmla="*/ 12026 w 26648"/>
                    <a:gd name="connsiteY3" fmla="*/ 70 h 26400"/>
                    <a:gd name="connsiteX4" fmla="*/ 26599 w 26648"/>
                    <a:gd name="connsiteY4" fmla="*/ 12027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400">
                      <a:moveTo>
                        <a:pt x="26599" y="12027"/>
                      </a:moveTo>
                      <a:cubicBezTo>
                        <a:pt x="27222" y="19376"/>
                        <a:pt x="21866" y="25728"/>
                        <a:pt x="14517" y="26351"/>
                      </a:cubicBezTo>
                      <a:cubicBezTo>
                        <a:pt x="7168" y="26974"/>
                        <a:pt x="691" y="21618"/>
                        <a:pt x="68" y="14394"/>
                      </a:cubicBezTo>
                      <a:cubicBezTo>
                        <a:pt x="-679" y="7045"/>
                        <a:pt x="4802" y="693"/>
                        <a:pt x="12026" y="70"/>
                      </a:cubicBezTo>
                      <a:cubicBezTo>
                        <a:pt x="19499" y="-678"/>
                        <a:pt x="25976" y="4678"/>
                        <a:pt x="26599"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4" name="Freeform 4772">
                  <a:extLst>
                    <a:ext uri="{FF2B5EF4-FFF2-40B4-BE49-F238E27FC236}">
                      <a16:creationId xmlns:a16="http://schemas.microsoft.com/office/drawing/2014/main" id="{667FAAA2-5755-3116-8CED-33EA0A9C8D17}"/>
                    </a:ext>
                  </a:extLst>
                </p:cNvPr>
                <p:cNvSpPr/>
                <p:nvPr/>
              </p:nvSpPr>
              <p:spPr>
                <a:xfrm>
                  <a:off x="7255078" y="5677039"/>
                  <a:ext cx="6374" cy="51940"/>
                </a:xfrm>
                <a:custGeom>
                  <a:avLst/>
                  <a:gdLst>
                    <a:gd name="connsiteX0" fmla="*/ 5264 w 6374"/>
                    <a:gd name="connsiteY0" fmla="*/ 51940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5" name="Freeform 4773">
                  <a:extLst>
                    <a:ext uri="{FF2B5EF4-FFF2-40B4-BE49-F238E27FC236}">
                      <a16:creationId xmlns:a16="http://schemas.microsoft.com/office/drawing/2014/main" id="{4C6E4D20-6F15-5583-E921-E13B1B8441EC}"/>
                    </a:ext>
                  </a:extLst>
                </p:cNvPr>
                <p:cNvSpPr/>
                <p:nvPr/>
              </p:nvSpPr>
              <p:spPr>
                <a:xfrm>
                  <a:off x="7248260" y="5682644"/>
                  <a:ext cx="5605" cy="51816"/>
                </a:xfrm>
                <a:custGeom>
                  <a:avLst/>
                  <a:gdLst>
                    <a:gd name="connsiteX0" fmla="*/ 0 w 5605"/>
                    <a:gd name="connsiteY0" fmla="*/ 0 h 51816"/>
                    <a:gd name="connsiteX1" fmla="*/ 3737 w 5605"/>
                    <a:gd name="connsiteY1" fmla="*/ 18435 h 51816"/>
                    <a:gd name="connsiteX2" fmla="*/ 1993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737" y="14075"/>
                        <a:pt x="3737" y="18435"/>
                      </a:cubicBezTo>
                      <a:cubicBezTo>
                        <a:pt x="3613" y="25410"/>
                        <a:pt x="1744" y="28648"/>
                        <a:pt x="1993" y="35748"/>
                      </a:cubicBezTo>
                      <a:cubicBezTo>
                        <a:pt x="2118" y="42599"/>
                        <a:pt x="4111"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6" name="Freeform 4774">
                  <a:extLst>
                    <a:ext uri="{FF2B5EF4-FFF2-40B4-BE49-F238E27FC236}">
                      <a16:creationId xmlns:a16="http://schemas.microsoft.com/office/drawing/2014/main" id="{079E9C44-6DD3-A88D-0486-9564AAC1CB8F}"/>
                    </a:ext>
                  </a:extLst>
                </p:cNvPr>
                <p:cNvSpPr/>
                <p:nvPr/>
              </p:nvSpPr>
              <p:spPr>
                <a:xfrm>
                  <a:off x="7244204" y="5723076"/>
                  <a:ext cx="26277" cy="26504"/>
                </a:xfrm>
                <a:custGeom>
                  <a:avLst/>
                  <a:gdLst>
                    <a:gd name="connsiteX0" fmla="*/ 70 w 26277"/>
                    <a:gd name="connsiteY0" fmla="*/ 14374 h 26504"/>
                    <a:gd name="connsiteX1" fmla="*/ 11903 w 26277"/>
                    <a:gd name="connsiteY1" fmla="*/ 49 h 26504"/>
                    <a:gd name="connsiteX2" fmla="*/ 26227 w 26277"/>
                    <a:gd name="connsiteY2" fmla="*/ 12131 h 26504"/>
                    <a:gd name="connsiteX3" fmla="*/ 14394 w 26277"/>
                    <a:gd name="connsiteY3" fmla="*/ 26456 h 26504"/>
                    <a:gd name="connsiteX4" fmla="*/ 70 w 26277"/>
                    <a:gd name="connsiteY4" fmla="*/ 1437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504">
                      <a:moveTo>
                        <a:pt x="70" y="14374"/>
                      </a:moveTo>
                      <a:cubicBezTo>
                        <a:pt x="-678" y="7024"/>
                        <a:pt x="4678" y="672"/>
                        <a:pt x="11903" y="49"/>
                      </a:cubicBezTo>
                      <a:cubicBezTo>
                        <a:pt x="19127" y="-573"/>
                        <a:pt x="25605" y="4782"/>
                        <a:pt x="26227" y="12131"/>
                      </a:cubicBezTo>
                      <a:cubicBezTo>
                        <a:pt x="26850" y="19480"/>
                        <a:pt x="21619" y="25833"/>
                        <a:pt x="14394" y="26456"/>
                      </a:cubicBezTo>
                      <a:cubicBezTo>
                        <a:pt x="7170" y="27078"/>
                        <a:pt x="693" y="21723"/>
                        <a:pt x="70" y="143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4" name="Graphic 2987">
                <a:extLst>
                  <a:ext uri="{FF2B5EF4-FFF2-40B4-BE49-F238E27FC236}">
                    <a16:creationId xmlns:a16="http://schemas.microsoft.com/office/drawing/2014/main" id="{714143AA-B9A6-7F5C-74DE-901A0006855E}"/>
                  </a:ext>
                </a:extLst>
              </p:cNvPr>
              <p:cNvGrpSpPr/>
              <p:nvPr/>
            </p:nvGrpSpPr>
            <p:grpSpPr>
              <a:xfrm>
                <a:off x="7262285" y="5598519"/>
                <a:ext cx="37590" cy="148446"/>
                <a:chOff x="7262285" y="5598519"/>
                <a:chExt cx="37590" cy="148446"/>
              </a:xfrm>
              <a:grpFill/>
            </p:grpSpPr>
            <p:sp>
              <p:nvSpPr>
                <p:cNvPr id="4715" name="Freeform 4776">
                  <a:extLst>
                    <a:ext uri="{FF2B5EF4-FFF2-40B4-BE49-F238E27FC236}">
                      <a16:creationId xmlns:a16="http://schemas.microsoft.com/office/drawing/2014/main" id="{B64D1CFC-CC5F-1E61-4279-E131A5508DC6}"/>
                    </a:ext>
                  </a:extLst>
                </p:cNvPr>
                <p:cNvSpPr/>
                <p:nvPr/>
              </p:nvSpPr>
              <p:spPr>
                <a:xfrm>
                  <a:off x="7271563" y="5619120"/>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0"/>
                        <a:pt x="-11" y="14573"/>
                        <a:pt x="861" y="18808"/>
                      </a:cubicBezTo>
                      <a:cubicBezTo>
                        <a:pt x="2231" y="25659"/>
                        <a:pt x="4722" y="28523"/>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6" name="Freeform 4777">
                  <a:extLst>
                    <a:ext uri="{FF2B5EF4-FFF2-40B4-BE49-F238E27FC236}">
                      <a16:creationId xmlns:a16="http://schemas.microsoft.com/office/drawing/2014/main" id="{DDBACB17-DB69-2BF6-CA54-FBECB954EA8A}"/>
                    </a:ext>
                  </a:extLst>
                </p:cNvPr>
                <p:cNvSpPr/>
                <p:nvPr/>
              </p:nvSpPr>
              <p:spPr>
                <a:xfrm>
                  <a:off x="7279274" y="5613515"/>
                  <a:ext cx="5356" cy="51816"/>
                </a:xfrm>
                <a:custGeom>
                  <a:avLst/>
                  <a:gdLst>
                    <a:gd name="connsiteX0" fmla="*/ 5357 w 5356"/>
                    <a:gd name="connsiteY0" fmla="*/ 51816 h 51816"/>
                    <a:gd name="connsiteX1" fmla="*/ 1744 w 5356"/>
                    <a:gd name="connsiteY1" fmla="*/ 33381 h 51816"/>
                    <a:gd name="connsiteX2" fmla="*/ 3613 w 5356"/>
                    <a:gd name="connsiteY2" fmla="*/ 16068 h 51816"/>
                    <a:gd name="connsiteX3" fmla="*/ 0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5357" y="51816"/>
                      </a:moveTo>
                      <a:cubicBezTo>
                        <a:pt x="2118" y="43969"/>
                        <a:pt x="1619" y="37741"/>
                        <a:pt x="1744" y="33381"/>
                      </a:cubicBezTo>
                      <a:cubicBezTo>
                        <a:pt x="1869" y="26406"/>
                        <a:pt x="3737" y="23168"/>
                        <a:pt x="3613"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7" name="Freeform 4778">
                  <a:extLst>
                    <a:ext uri="{FF2B5EF4-FFF2-40B4-BE49-F238E27FC236}">
                      <a16:creationId xmlns:a16="http://schemas.microsoft.com/office/drawing/2014/main" id="{9118F058-D3D1-9010-68B3-07928A262004}"/>
                    </a:ext>
                  </a:extLst>
                </p:cNvPr>
                <p:cNvSpPr/>
                <p:nvPr/>
              </p:nvSpPr>
              <p:spPr>
                <a:xfrm>
                  <a:off x="7262285" y="5598519"/>
                  <a:ext cx="26629" cy="26380"/>
                </a:xfrm>
                <a:custGeom>
                  <a:avLst/>
                  <a:gdLst>
                    <a:gd name="connsiteX0" fmla="*/ 26580 w 26629"/>
                    <a:gd name="connsiteY0" fmla="*/ 12007 h 26380"/>
                    <a:gd name="connsiteX1" fmla="*/ 14498 w 26629"/>
                    <a:gd name="connsiteY1" fmla="*/ 26331 h 26380"/>
                    <a:gd name="connsiteX2" fmla="*/ 49 w 26629"/>
                    <a:gd name="connsiteY2" fmla="*/ 14374 h 26380"/>
                    <a:gd name="connsiteX3" fmla="*/ 12132 w 26629"/>
                    <a:gd name="connsiteY3" fmla="*/ 49 h 26380"/>
                    <a:gd name="connsiteX4" fmla="*/ 26580 w 26629"/>
                    <a:gd name="connsiteY4" fmla="*/ 12007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380">
                      <a:moveTo>
                        <a:pt x="26580" y="12007"/>
                      </a:moveTo>
                      <a:cubicBezTo>
                        <a:pt x="27203" y="19356"/>
                        <a:pt x="21847" y="25708"/>
                        <a:pt x="14498" y="26331"/>
                      </a:cubicBezTo>
                      <a:cubicBezTo>
                        <a:pt x="7149" y="26954"/>
                        <a:pt x="672" y="21598"/>
                        <a:pt x="49" y="14374"/>
                      </a:cubicBezTo>
                      <a:cubicBezTo>
                        <a:pt x="-573" y="7024"/>
                        <a:pt x="4782" y="672"/>
                        <a:pt x="12132" y="49"/>
                      </a:cubicBezTo>
                      <a:cubicBezTo>
                        <a:pt x="19480" y="-573"/>
                        <a:pt x="25957" y="4782"/>
                        <a:pt x="2658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8" name="Freeform 4779">
                  <a:extLst>
                    <a:ext uri="{FF2B5EF4-FFF2-40B4-BE49-F238E27FC236}">
                      <a16:creationId xmlns:a16="http://schemas.microsoft.com/office/drawing/2014/main" id="{2D39A902-4D74-3C0A-1CD7-653582146A91}"/>
                    </a:ext>
                  </a:extLst>
                </p:cNvPr>
                <p:cNvSpPr/>
                <p:nvPr/>
              </p:nvSpPr>
              <p:spPr>
                <a:xfrm>
                  <a:off x="7284349" y="5674299"/>
                  <a:ext cx="6374" cy="51940"/>
                </a:xfrm>
                <a:custGeom>
                  <a:avLst/>
                  <a:gdLst>
                    <a:gd name="connsiteX0" fmla="*/ 5264 w 6374"/>
                    <a:gd name="connsiteY0" fmla="*/ 51940 h 51940"/>
                    <a:gd name="connsiteX1" fmla="*/ 5513 w 6374"/>
                    <a:gd name="connsiteY1" fmla="*/ 33132 h 51940"/>
                    <a:gd name="connsiteX2" fmla="*/ 530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776" y="23417"/>
                        <a:pt x="530" y="16442"/>
                      </a:cubicBezTo>
                      <a:cubicBezTo>
                        <a:pt x="-590" y="9591"/>
                        <a:pt x="282"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9" name="Freeform 4780">
                  <a:extLst>
                    <a:ext uri="{FF2B5EF4-FFF2-40B4-BE49-F238E27FC236}">
                      <a16:creationId xmlns:a16="http://schemas.microsoft.com/office/drawing/2014/main" id="{A970C273-DEB9-E8BF-E7C8-962E61A461B2}"/>
                    </a:ext>
                  </a:extLst>
                </p:cNvPr>
                <p:cNvSpPr/>
                <p:nvPr/>
              </p:nvSpPr>
              <p:spPr>
                <a:xfrm>
                  <a:off x="7277656" y="5680029"/>
                  <a:ext cx="5355" cy="51816"/>
                </a:xfrm>
                <a:custGeom>
                  <a:avLst/>
                  <a:gdLst>
                    <a:gd name="connsiteX0" fmla="*/ 0 w 5355"/>
                    <a:gd name="connsiteY0" fmla="*/ 0 h 51816"/>
                    <a:gd name="connsiteX1" fmla="*/ 3612 w 5355"/>
                    <a:gd name="connsiteY1" fmla="*/ 18435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5"/>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0" name="Freeform 4781">
                  <a:extLst>
                    <a:ext uri="{FF2B5EF4-FFF2-40B4-BE49-F238E27FC236}">
                      <a16:creationId xmlns:a16="http://schemas.microsoft.com/office/drawing/2014/main" id="{7BFDD8BF-9E50-76A1-C98C-B9F8F455E2A5}"/>
                    </a:ext>
                  </a:extLst>
                </p:cNvPr>
                <p:cNvSpPr/>
                <p:nvPr/>
              </p:nvSpPr>
              <p:spPr>
                <a:xfrm>
                  <a:off x="7273495" y="5720461"/>
                  <a:ext cx="26380" cy="26504"/>
                </a:xfrm>
                <a:custGeom>
                  <a:avLst/>
                  <a:gdLst>
                    <a:gd name="connsiteX0" fmla="*/ 50 w 26380"/>
                    <a:gd name="connsiteY0" fmla="*/ 14373 h 26504"/>
                    <a:gd name="connsiteX1" fmla="*/ 12007 w 26380"/>
                    <a:gd name="connsiteY1" fmla="*/ 49 h 26504"/>
                    <a:gd name="connsiteX2" fmla="*/ 26332 w 26380"/>
                    <a:gd name="connsiteY2" fmla="*/ 12131 h 26504"/>
                    <a:gd name="connsiteX3" fmla="*/ 14374 w 26380"/>
                    <a:gd name="connsiteY3" fmla="*/ 26455 h 26504"/>
                    <a:gd name="connsiteX4" fmla="*/ 50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50" y="14373"/>
                      </a:moveTo>
                      <a:cubicBezTo>
                        <a:pt x="-572" y="7024"/>
                        <a:pt x="4659" y="672"/>
                        <a:pt x="12007" y="49"/>
                      </a:cubicBezTo>
                      <a:cubicBezTo>
                        <a:pt x="19232" y="-573"/>
                        <a:pt x="25709" y="4782"/>
                        <a:pt x="26332" y="12131"/>
                      </a:cubicBezTo>
                      <a:cubicBezTo>
                        <a:pt x="26954" y="19480"/>
                        <a:pt x="21598" y="25833"/>
                        <a:pt x="14374" y="26455"/>
                      </a:cubicBezTo>
                      <a:cubicBezTo>
                        <a:pt x="7150" y="27078"/>
                        <a:pt x="798" y="21722"/>
                        <a:pt x="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5" name="Graphic 2987">
                <a:extLst>
                  <a:ext uri="{FF2B5EF4-FFF2-40B4-BE49-F238E27FC236}">
                    <a16:creationId xmlns:a16="http://schemas.microsoft.com/office/drawing/2014/main" id="{7232CA3B-F297-F50F-9C3F-8C61E036DA7E}"/>
                  </a:ext>
                </a:extLst>
              </p:cNvPr>
              <p:cNvGrpSpPr/>
              <p:nvPr/>
            </p:nvGrpSpPr>
            <p:grpSpPr>
              <a:xfrm>
                <a:off x="7291930" y="5595884"/>
                <a:ext cx="37341" cy="148465"/>
                <a:chOff x="7291930" y="5595884"/>
                <a:chExt cx="37341" cy="148465"/>
              </a:xfrm>
              <a:grpFill/>
            </p:grpSpPr>
            <p:sp>
              <p:nvSpPr>
                <p:cNvPr id="4709" name="Freeform 4783">
                  <a:extLst>
                    <a:ext uri="{FF2B5EF4-FFF2-40B4-BE49-F238E27FC236}">
                      <a16:creationId xmlns:a16="http://schemas.microsoft.com/office/drawing/2014/main" id="{FDE0EA65-D0B5-F3A4-701D-9E19939EDD6F}"/>
                    </a:ext>
                  </a:extLst>
                </p:cNvPr>
                <p:cNvSpPr/>
                <p:nvPr/>
              </p:nvSpPr>
              <p:spPr>
                <a:xfrm>
                  <a:off x="7301070" y="5616504"/>
                  <a:ext cx="6133" cy="51940"/>
                </a:xfrm>
                <a:custGeom>
                  <a:avLst/>
                  <a:gdLst>
                    <a:gd name="connsiteX0" fmla="*/ 1124 w 6133"/>
                    <a:gd name="connsiteY0" fmla="*/ 0 h 51940"/>
                    <a:gd name="connsiteX1" fmla="*/ 750 w 6133"/>
                    <a:gd name="connsiteY1" fmla="*/ 18808 h 51940"/>
                    <a:gd name="connsiteX2" fmla="*/ 5607 w 6133"/>
                    <a:gd name="connsiteY2" fmla="*/ 35499 h 51940"/>
                    <a:gd name="connsiteX3" fmla="*/ 4860 w 613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33" h="51940">
                      <a:moveTo>
                        <a:pt x="1124" y="0"/>
                      </a:moveTo>
                      <a:cubicBezTo>
                        <a:pt x="-620" y="8221"/>
                        <a:pt x="2" y="14573"/>
                        <a:pt x="750" y="18808"/>
                      </a:cubicBezTo>
                      <a:cubicBezTo>
                        <a:pt x="2120" y="25659"/>
                        <a:pt x="4487" y="28524"/>
                        <a:pt x="5607" y="35499"/>
                      </a:cubicBezTo>
                      <a:cubicBezTo>
                        <a:pt x="6729" y="42350"/>
                        <a:pt x="5857" y="48204"/>
                        <a:pt x="486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0" name="Freeform 4784">
                  <a:extLst>
                    <a:ext uri="{FF2B5EF4-FFF2-40B4-BE49-F238E27FC236}">
                      <a16:creationId xmlns:a16="http://schemas.microsoft.com/office/drawing/2014/main" id="{72F17D29-3800-54E4-7CF2-7537D8946BA0}"/>
                    </a:ext>
                  </a:extLst>
                </p:cNvPr>
                <p:cNvSpPr/>
                <p:nvPr/>
              </p:nvSpPr>
              <p:spPr>
                <a:xfrm>
                  <a:off x="7308795" y="5610899"/>
                  <a:ext cx="5355" cy="51816"/>
                </a:xfrm>
                <a:custGeom>
                  <a:avLst/>
                  <a:gdLst>
                    <a:gd name="connsiteX0" fmla="*/ 5356 w 5355"/>
                    <a:gd name="connsiteY0" fmla="*/ 51816 h 51816"/>
                    <a:gd name="connsiteX1" fmla="*/ 1743 w 5355"/>
                    <a:gd name="connsiteY1" fmla="*/ 33381 h 51816"/>
                    <a:gd name="connsiteX2" fmla="*/ 3612 w 5355"/>
                    <a:gd name="connsiteY2" fmla="*/ 16068 h 51816"/>
                    <a:gd name="connsiteX3" fmla="*/ 0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51816"/>
                      </a:moveTo>
                      <a:cubicBezTo>
                        <a:pt x="2242" y="43969"/>
                        <a:pt x="1619" y="37741"/>
                        <a:pt x="1743" y="33381"/>
                      </a:cubicBezTo>
                      <a:cubicBezTo>
                        <a:pt x="1868"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1" name="Freeform 4785">
                  <a:extLst>
                    <a:ext uri="{FF2B5EF4-FFF2-40B4-BE49-F238E27FC236}">
                      <a16:creationId xmlns:a16="http://schemas.microsoft.com/office/drawing/2014/main" id="{52F313B1-88A4-868E-26E0-EEF760BEE123}"/>
                    </a:ext>
                  </a:extLst>
                </p:cNvPr>
                <p:cNvSpPr/>
                <p:nvPr/>
              </p:nvSpPr>
              <p:spPr>
                <a:xfrm>
                  <a:off x="7291930" y="5595884"/>
                  <a:ext cx="26629" cy="26523"/>
                </a:xfrm>
                <a:custGeom>
                  <a:avLst/>
                  <a:gdLst>
                    <a:gd name="connsiteX0" fmla="*/ 26580 w 26629"/>
                    <a:gd name="connsiteY0" fmla="*/ 12026 h 26523"/>
                    <a:gd name="connsiteX1" fmla="*/ 14498 w 26629"/>
                    <a:gd name="connsiteY1" fmla="*/ 26474 h 26523"/>
                    <a:gd name="connsiteX2" fmla="*/ 49 w 26629"/>
                    <a:gd name="connsiteY2" fmla="*/ 14517 h 26523"/>
                    <a:gd name="connsiteX3" fmla="*/ 12132 w 26629"/>
                    <a:gd name="connsiteY3" fmla="*/ 68 h 26523"/>
                    <a:gd name="connsiteX4" fmla="*/ 26580 w 26629"/>
                    <a:gd name="connsiteY4" fmla="*/ 12026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23">
                      <a:moveTo>
                        <a:pt x="26580" y="12026"/>
                      </a:moveTo>
                      <a:cubicBezTo>
                        <a:pt x="27203" y="19375"/>
                        <a:pt x="21847" y="25727"/>
                        <a:pt x="14498" y="26474"/>
                      </a:cubicBezTo>
                      <a:cubicBezTo>
                        <a:pt x="7149" y="27097"/>
                        <a:pt x="672" y="21741"/>
                        <a:pt x="49" y="14517"/>
                      </a:cubicBezTo>
                      <a:cubicBezTo>
                        <a:pt x="-573" y="7168"/>
                        <a:pt x="4782" y="816"/>
                        <a:pt x="12132" y="68"/>
                      </a:cubicBezTo>
                      <a:cubicBezTo>
                        <a:pt x="19480" y="-679"/>
                        <a:pt x="25957" y="4802"/>
                        <a:pt x="26580" y="120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2" name="Freeform 4786">
                  <a:extLst>
                    <a:ext uri="{FF2B5EF4-FFF2-40B4-BE49-F238E27FC236}">
                      <a16:creationId xmlns:a16="http://schemas.microsoft.com/office/drawing/2014/main" id="{FD04D791-BAA3-18A2-36D1-07211EE4B82C}"/>
                    </a:ext>
                  </a:extLst>
                </p:cNvPr>
                <p:cNvSpPr/>
                <p:nvPr/>
              </p:nvSpPr>
              <p:spPr>
                <a:xfrm>
                  <a:off x="7313999" y="5671683"/>
                  <a:ext cx="6133" cy="51940"/>
                </a:xfrm>
                <a:custGeom>
                  <a:avLst/>
                  <a:gdLst>
                    <a:gd name="connsiteX0" fmla="*/ 5010 w 6133"/>
                    <a:gd name="connsiteY0" fmla="*/ 51940 h 51940"/>
                    <a:gd name="connsiteX1" fmla="*/ 5384 w 6133"/>
                    <a:gd name="connsiteY1" fmla="*/ 33132 h 51940"/>
                    <a:gd name="connsiteX2" fmla="*/ 526 w 6133"/>
                    <a:gd name="connsiteY2" fmla="*/ 16441 h 51940"/>
                    <a:gd name="connsiteX3" fmla="*/ 1273 w 6133"/>
                    <a:gd name="connsiteY3" fmla="*/ 0 h 51940"/>
                  </a:gdLst>
                  <a:ahLst/>
                  <a:cxnLst>
                    <a:cxn ang="0">
                      <a:pos x="connsiteX0" y="connsiteY0"/>
                    </a:cxn>
                    <a:cxn ang="0">
                      <a:pos x="connsiteX1" y="connsiteY1"/>
                    </a:cxn>
                    <a:cxn ang="0">
                      <a:pos x="connsiteX2" y="connsiteY2"/>
                    </a:cxn>
                    <a:cxn ang="0">
                      <a:pos x="connsiteX3" y="connsiteY3"/>
                    </a:cxn>
                  </a:cxnLst>
                  <a:rect l="l" t="t" r="r" b="b"/>
                  <a:pathLst>
                    <a:path w="6133" h="51940">
                      <a:moveTo>
                        <a:pt x="5010" y="51940"/>
                      </a:moveTo>
                      <a:cubicBezTo>
                        <a:pt x="6754" y="43719"/>
                        <a:pt x="6131" y="37367"/>
                        <a:pt x="5384" y="33132"/>
                      </a:cubicBezTo>
                      <a:cubicBezTo>
                        <a:pt x="4014" y="26281"/>
                        <a:pt x="1647" y="23417"/>
                        <a:pt x="526" y="16441"/>
                      </a:cubicBezTo>
                      <a:cubicBezTo>
                        <a:pt x="-595" y="9591"/>
                        <a:pt x="276"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3" name="Freeform 4787">
                  <a:extLst>
                    <a:ext uri="{FF2B5EF4-FFF2-40B4-BE49-F238E27FC236}">
                      <a16:creationId xmlns:a16="http://schemas.microsoft.com/office/drawing/2014/main" id="{A6A41F06-6025-8413-3428-16446B00BFD8}"/>
                    </a:ext>
                  </a:extLst>
                </p:cNvPr>
                <p:cNvSpPr/>
                <p:nvPr/>
              </p:nvSpPr>
              <p:spPr>
                <a:xfrm>
                  <a:off x="7307176" y="5677413"/>
                  <a:ext cx="5355" cy="51816"/>
                </a:xfrm>
                <a:custGeom>
                  <a:avLst/>
                  <a:gdLst>
                    <a:gd name="connsiteX0" fmla="*/ 0 w 5355"/>
                    <a:gd name="connsiteY0" fmla="*/ 0 h 51816"/>
                    <a:gd name="connsiteX1" fmla="*/ 3612 w 5355"/>
                    <a:gd name="connsiteY1" fmla="*/ 18434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4"/>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4" name="Freeform 4788">
                  <a:extLst>
                    <a:ext uri="{FF2B5EF4-FFF2-40B4-BE49-F238E27FC236}">
                      <a16:creationId xmlns:a16="http://schemas.microsoft.com/office/drawing/2014/main" id="{1C6D8CA5-DD3A-4EF2-DF70-201459B918CB}"/>
                    </a:ext>
                  </a:extLst>
                </p:cNvPr>
                <p:cNvSpPr/>
                <p:nvPr/>
              </p:nvSpPr>
              <p:spPr>
                <a:xfrm>
                  <a:off x="7302891" y="5717845"/>
                  <a:ext cx="26379" cy="26504"/>
                </a:xfrm>
                <a:custGeom>
                  <a:avLst/>
                  <a:gdLst>
                    <a:gd name="connsiteX0" fmla="*/ 49 w 26379"/>
                    <a:gd name="connsiteY0" fmla="*/ 14373 h 26504"/>
                    <a:gd name="connsiteX1" fmla="*/ 12007 w 26379"/>
                    <a:gd name="connsiteY1" fmla="*/ 49 h 26504"/>
                    <a:gd name="connsiteX2" fmla="*/ 26331 w 26379"/>
                    <a:gd name="connsiteY2" fmla="*/ 12131 h 26504"/>
                    <a:gd name="connsiteX3" fmla="*/ 14374 w 26379"/>
                    <a:gd name="connsiteY3" fmla="*/ 26455 h 26504"/>
                    <a:gd name="connsiteX4" fmla="*/ 49 w 2637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9" h="26504">
                      <a:moveTo>
                        <a:pt x="49" y="14373"/>
                      </a:moveTo>
                      <a:cubicBezTo>
                        <a:pt x="-573" y="7024"/>
                        <a:pt x="4782" y="672"/>
                        <a:pt x="12007" y="49"/>
                      </a:cubicBezTo>
                      <a:cubicBezTo>
                        <a:pt x="19231" y="-574"/>
                        <a:pt x="25708" y="4783"/>
                        <a:pt x="26331" y="12131"/>
                      </a:cubicBezTo>
                      <a:cubicBezTo>
                        <a:pt x="26953" y="19480"/>
                        <a:pt x="21597" y="25833"/>
                        <a:pt x="14374"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6" name="Graphic 2987">
                <a:extLst>
                  <a:ext uri="{FF2B5EF4-FFF2-40B4-BE49-F238E27FC236}">
                    <a16:creationId xmlns:a16="http://schemas.microsoft.com/office/drawing/2014/main" id="{4389D734-AE42-7AE3-7C4D-E46215DC3BCF}"/>
                  </a:ext>
                </a:extLst>
              </p:cNvPr>
              <p:cNvGrpSpPr/>
              <p:nvPr/>
            </p:nvGrpSpPr>
            <p:grpSpPr>
              <a:xfrm>
                <a:off x="7321575" y="5593163"/>
                <a:ext cx="36826" cy="148571"/>
                <a:chOff x="7321575" y="5593163"/>
                <a:chExt cx="36826" cy="148571"/>
              </a:xfrm>
              <a:grpFill/>
            </p:grpSpPr>
            <p:sp>
              <p:nvSpPr>
                <p:cNvPr id="4703" name="Freeform 4790">
                  <a:extLst>
                    <a:ext uri="{FF2B5EF4-FFF2-40B4-BE49-F238E27FC236}">
                      <a16:creationId xmlns:a16="http://schemas.microsoft.com/office/drawing/2014/main" id="{EAD5FA40-7E41-AC42-5BFD-46891D0E4A05}"/>
                    </a:ext>
                  </a:extLst>
                </p:cNvPr>
                <p:cNvSpPr/>
                <p:nvPr/>
              </p:nvSpPr>
              <p:spPr>
                <a:xfrm>
                  <a:off x="7330670" y="5613888"/>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4" name="Freeform 4791">
                  <a:extLst>
                    <a:ext uri="{FF2B5EF4-FFF2-40B4-BE49-F238E27FC236}">
                      <a16:creationId xmlns:a16="http://schemas.microsoft.com/office/drawing/2014/main" id="{D18155A5-5FE0-B21E-52A2-243AACF8767B}"/>
                    </a:ext>
                  </a:extLst>
                </p:cNvPr>
                <p:cNvSpPr/>
                <p:nvPr/>
              </p:nvSpPr>
              <p:spPr>
                <a:xfrm>
                  <a:off x="7338315" y="5608283"/>
                  <a:ext cx="5231" cy="51816"/>
                </a:xfrm>
                <a:custGeom>
                  <a:avLst/>
                  <a:gdLst>
                    <a:gd name="connsiteX0" fmla="*/ 5231 w 5231"/>
                    <a:gd name="connsiteY0" fmla="*/ 51816 h 51816"/>
                    <a:gd name="connsiteX1" fmla="*/ 1619 w 5231"/>
                    <a:gd name="connsiteY1" fmla="*/ 33382 h 51816"/>
                    <a:gd name="connsiteX2" fmla="*/ 3612 w 5231"/>
                    <a:gd name="connsiteY2" fmla="*/ 16068 h 51816"/>
                    <a:gd name="connsiteX3" fmla="*/ 0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51816"/>
                      </a:moveTo>
                      <a:cubicBezTo>
                        <a:pt x="2117" y="43969"/>
                        <a:pt x="1495" y="37741"/>
                        <a:pt x="1619" y="33382"/>
                      </a:cubicBezTo>
                      <a:cubicBezTo>
                        <a:pt x="1743" y="26407"/>
                        <a:pt x="3612" y="23168"/>
                        <a:pt x="3612" y="16068"/>
                      </a:cubicBezTo>
                      <a:cubicBezTo>
                        <a:pt x="3487"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5" name="Freeform 4792">
                  <a:extLst>
                    <a:ext uri="{FF2B5EF4-FFF2-40B4-BE49-F238E27FC236}">
                      <a16:creationId xmlns:a16="http://schemas.microsoft.com/office/drawing/2014/main" id="{CC40D268-A2DD-3867-C98D-C23786705719}"/>
                    </a:ext>
                  </a:extLst>
                </p:cNvPr>
                <p:cNvSpPr/>
                <p:nvPr/>
              </p:nvSpPr>
              <p:spPr>
                <a:xfrm>
                  <a:off x="7321575" y="5593163"/>
                  <a:ext cx="26628" cy="26629"/>
                </a:xfrm>
                <a:custGeom>
                  <a:avLst/>
                  <a:gdLst>
                    <a:gd name="connsiteX0" fmla="*/ 26580 w 26628"/>
                    <a:gd name="connsiteY0" fmla="*/ 12131 h 26629"/>
                    <a:gd name="connsiteX1" fmla="*/ 14498 w 26628"/>
                    <a:gd name="connsiteY1" fmla="*/ 26580 h 26629"/>
                    <a:gd name="connsiteX2" fmla="*/ 49 w 26628"/>
                    <a:gd name="connsiteY2" fmla="*/ 14498 h 26629"/>
                    <a:gd name="connsiteX3" fmla="*/ 12132 w 26628"/>
                    <a:gd name="connsiteY3" fmla="*/ 49 h 26629"/>
                    <a:gd name="connsiteX4" fmla="*/ 26580 w 26628"/>
                    <a:gd name="connsiteY4" fmla="*/ 12131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29">
                      <a:moveTo>
                        <a:pt x="26580" y="12131"/>
                      </a:moveTo>
                      <a:cubicBezTo>
                        <a:pt x="27203" y="19480"/>
                        <a:pt x="21722" y="25833"/>
                        <a:pt x="14498" y="26580"/>
                      </a:cubicBezTo>
                      <a:cubicBezTo>
                        <a:pt x="7149" y="27203"/>
                        <a:pt x="797" y="21847"/>
                        <a:pt x="49" y="14498"/>
                      </a:cubicBezTo>
                      <a:cubicBezTo>
                        <a:pt x="-573" y="7149"/>
                        <a:pt x="4782" y="797"/>
                        <a:pt x="12132" y="49"/>
                      </a:cubicBezTo>
                      <a:cubicBezTo>
                        <a:pt x="19480" y="-573"/>
                        <a:pt x="25957" y="4782"/>
                        <a:pt x="26580"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6" name="Freeform 4793">
                  <a:extLst>
                    <a:ext uri="{FF2B5EF4-FFF2-40B4-BE49-F238E27FC236}">
                      <a16:creationId xmlns:a16="http://schemas.microsoft.com/office/drawing/2014/main" id="{AB86D068-E234-4B11-CFDB-3E2EDC90566F}"/>
                    </a:ext>
                  </a:extLst>
                </p:cNvPr>
                <p:cNvSpPr/>
                <p:nvPr/>
              </p:nvSpPr>
              <p:spPr>
                <a:xfrm>
                  <a:off x="7343421" y="5669067"/>
                  <a:ext cx="6151" cy="51940"/>
                </a:xfrm>
                <a:custGeom>
                  <a:avLst/>
                  <a:gdLst>
                    <a:gd name="connsiteX0" fmla="*/ 4984 w 6151"/>
                    <a:gd name="connsiteY0" fmla="*/ 51941 h 51940"/>
                    <a:gd name="connsiteX1" fmla="*/ 5357 w 6151"/>
                    <a:gd name="connsiteY1" fmla="*/ 33132 h 51940"/>
                    <a:gd name="connsiteX2" fmla="*/ 499 w 6151"/>
                    <a:gd name="connsiteY2" fmla="*/ 16442 h 51940"/>
                    <a:gd name="connsiteX3" fmla="*/ 1246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51941"/>
                      </a:moveTo>
                      <a:cubicBezTo>
                        <a:pt x="6727" y="43720"/>
                        <a:pt x="6229" y="37367"/>
                        <a:pt x="5357" y="33132"/>
                      </a:cubicBezTo>
                      <a:cubicBezTo>
                        <a:pt x="3987" y="26282"/>
                        <a:pt x="1620" y="23417"/>
                        <a:pt x="499" y="16442"/>
                      </a:cubicBezTo>
                      <a:cubicBezTo>
                        <a:pt x="-622" y="9591"/>
                        <a:pt x="375" y="3737"/>
                        <a:pt x="12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7" name="Freeform 4794">
                  <a:extLst>
                    <a:ext uri="{FF2B5EF4-FFF2-40B4-BE49-F238E27FC236}">
                      <a16:creationId xmlns:a16="http://schemas.microsoft.com/office/drawing/2014/main" id="{74E44064-C01E-4643-29E1-86973C9F75A3}"/>
                    </a:ext>
                  </a:extLst>
                </p:cNvPr>
                <p:cNvSpPr/>
                <p:nvPr/>
              </p:nvSpPr>
              <p:spPr>
                <a:xfrm>
                  <a:off x="7336571" y="5674797"/>
                  <a:ext cx="5231" cy="51815"/>
                </a:xfrm>
                <a:custGeom>
                  <a:avLst/>
                  <a:gdLst>
                    <a:gd name="connsiteX0" fmla="*/ 0 w 5231"/>
                    <a:gd name="connsiteY0" fmla="*/ 0 h 51815"/>
                    <a:gd name="connsiteX1" fmla="*/ 3612 w 5231"/>
                    <a:gd name="connsiteY1" fmla="*/ 18434 h 51815"/>
                    <a:gd name="connsiteX2" fmla="*/ 1744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4"/>
                      </a:cubicBezTo>
                      <a:cubicBezTo>
                        <a:pt x="3487" y="25409"/>
                        <a:pt x="1619" y="28648"/>
                        <a:pt x="1744" y="35748"/>
                      </a:cubicBezTo>
                      <a:cubicBezTo>
                        <a:pt x="1868" y="42599"/>
                        <a:pt x="3737"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8" name="Freeform 4795">
                  <a:extLst>
                    <a:ext uri="{FF2B5EF4-FFF2-40B4-BE49-F238E27FC236}">
                      <a16:creationId xmlns:a16="http://schemas.microsoft.com/office/drawing/2014/main" id="{870E2F51-D0AB-4AE6-9A6B-FEC974FD2E30}"/>
                    </a:ext>
                  </a:extLst>
                </p:cNvPr>
                <p:cNvSpPr/>
                <p:nvPr/>
              </p:nvSpPr>
              <p:spPr>
                <a:xfrm>
                  <a:off x="7332162" y="5715229"/>
                  <a:ext cx="26239" cy="26504"/>
                </a:xfrm>
                <a:custGeom>
                  <a:avLst/>
                  <a:gdLst>
                    <a:gd name="connsiteX0" fmla="*/ 49 w 26239"/>
                    <a:gd name="connsiteY0" fmla="*/ 14373 h 26504"/>
                    <a:gd name="connsiteX1" fmla="*/ 12007 w 26239"/>
                    <a:gd name="connsiteY1" fmla="*/ 49 h 26504"/>
                    <a:gd name="connsiteX2" fmla="*/ 26207 w 26239"/>
                    <a:gd name="connsiteY2" fmla="*/ 12131 h 26504"/>
                    <a:gd name="connsiteX3" fmla="*/ 14249 w 26239"/>
                    <a:gd name="connsiteY3" fmla="*/ 26455 h 26504"/>
                    <a:gd name="connsiteX4" fmla="*/ 49 w 2623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504">
                      <a:moveTo>
                        <a:pt x="49" y="14373"/>
                      </a:moveTo>
                      <a:cubicBezTo>
                        <a:pt x="-573" y="7024"/>
                        <a:pt x="4782" y="672"/>
                        <a:pt x="12007" y="49"/>
                      </a:cubicBezTo>
                      <a:cubicBezTo>
                        <a:pt x="19232" y="-574"/>
                        <a:pt x="25708" y="4782"/>
                        <a:pt x="26207" y="12131"/>
                      </a:cubicBezTo>
                      <a:cubicBezTo>
                        <a:pt x="26705" y="19480"/>
                        <a:pt x="21474" y="25832"/>
                        <a:pt x="14249" y="26455"/>
                      </a:cubicBezTo>
                      <a:cubicBezTo>
                        <a:pt x="7149"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7" name="Graphic 2987">
                <a:extLst>
                  <a:ext uri="{FF2B5EF4-FFF2-40B4-BE49-F238E27FC236}">
                    <a16:creationId xmlns:a16="http://schemas.microsoft.com/office/drawing/2014/main" id="{07455128-4473-170A-BF27-2F969207F4C8}"/>
                  </a:ext>
                </a:extLst>
              </p:cNvPr>
              <p:cNvGrpSpPr/>
              <p:nvPr/>
            </p:nvGrpSpPr>
            <p:grpSpPr>
              <a:xfrm>
                <a:off x="7351096" y="5590547"/>
                <a:ext cx="36717" cy="148571"/>
                <a:chOff x="7351096" y="5590547"/>
                <a:chExt cx="36717" cy="148571"/>
              </a:xfrm>
              <a:grpFill/>
            </p:grpSpPr>
            <p:sp>
              <p:nvSpPr>
                <p:cNvPr id="4697" name="Freeform 4797">
                  <a:extLst>
                    <a:ext uri="{FF2B5EF4-FFF2-40B4-BE49-F238E27FC236}">
                      <a16:creationId xmlns:a16="http://schemas.microsoft.com/office/drawing/2014/main" id="{077B4FF2-DE95-ABF1-FFAD-E32776812D7D}"/>
                    </a:ext>
                  </a:extLst>
                </p:cNvPr>
                <p:cNvSpPr/>
                <p:nvPr/>
              </p:nvSpPr>
              <p:spPr>
                <a:xfrm>
                  <a:off x="7360314" y="5611148"/>
                  <a:ext cx="6151" cy="51940"/>
                </a:xfrm>
                <a:custGeom>
                  <a:avLst/>
                  <a:gdLst>
                    <a:gd name="connsiteX0" fmla="*/ 1169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0"/>
                      </a:moveTo>
                      <a:cubicBezTo>
                        <a:pt x="-575" y="8221"/>
                        <a:pt x="-77" y="14573"/>
                        <a:pt x="795"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8" name="Freeform 4798">
                  <a:extLst>
                    <a:ext uri="{FF2B5EF4-FFF2-40B4-BE49-F238E27FC236}">
                      <a16:creationId xmlns:a16="http://schemas.microsoft.com/office/drawing/2014/main" id="{6C1258F5-9877-D5C4-2A38-13100C229E97}"/>
                    </a:ext>
                  </a:extLst>
                </p:cNvPr>
                <p:cNvSpPr/>
                <p:nvPr/>
              </p:nvSpPr>
              <p:spPr>
                <a:xfrm>
                  <a:off x="7368084" y="5605668"/>
                  <a:ext cx="4982" cy="51816"/>
                </a:xfrm>
                <a:custGeom>
                  <a:avLst/>
                  <a:gdLst>
                    <a:gd name="connsiteX0" fmla="*/ 4983 w 4982"/>
                    <a:gd name="connsiteY0" fmla="*/ 51816 h 51816"/>
                    <a:gd name="connsiteX1" fmla="*/ 1495 w 4982"/>
                    <a:gd name="connsiteY1" fmla="*/ 33381 h 51816"/>
                    <a:gd name="connsiteX2" fmla="*/ 3488 w 4982"/>
                    <a:gd name="connsiteY2" fmla="*/ 16068 h 51816"/>
                    <a:gd name="connsiteX3" fmla="*/ 0 w 4982"/>
                    <a:gd name="connsiteY3" fmla="*/ 0 h 51816"/>
                  </a:gdLst>
                  <a:ahLst/>
                  <a:cxnLst>
                    <a:cxn ang="0">
                      <a:pos x="connsiteX0" y="connsiteY0"/>
                    </a:cxn>
                    <a:cxn ang="0">
                      <a:pos x="connsiteX1" y="connsiteY1"/>
                    </a:cxn>
                    <a:cxn ang="0">
                      <a:pos x="connsiteX2" y="connsiteY2"/>
                    </a:cxn>
                    <a:cxn ang="0">
                      <a:pos x="connsiteX3" y="connsiteY3"/>
                    </a:cxn>
                  </a:cxnLst>
                  <a:rect l="l" t="t" r="r" b="b"/>
                  <a:pathLst>
                    <a:path w="4982" h="51816">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9" name="Freeform 4799">
                  <a:extLst>
                    <a:ext uri="{FF2B5EF4-FFF2-40B4-BE49-F238E27FC236}">
                      <a16:creationId xmlns:a16="http://schemas.microsoft.com/office/drawing/2014/main" id="{D9EA6066-E726-6891-CB76-8B681A6065AB}"/>
                    </a:ext>
                  </a:extLst>
                </p:cNvPr>
                <p:cNvSpPr/>
                <p:nvPr/>
              </p:nvSpPr>
              <p:spPr>
                <a:xfrm>
                  <a:off x="7351096" y="5590547"/>
                  <a:ext cx="26627" cy="26648"/>
                </a:xfrm>
                <a:custGeom>
                  <a:avLst/>
                  <a:gdLst>
                    <a:gd name="connsiteX0" fmla="*/ 26579 w 26627"/>
                    <a:gd name="connsiteY0" fmla="*/ 12131 h 26648"/>
                    <a:gd name="connsiteX1" fmla="*/ 14373 w 26627"/>
                    <a:gd name="connsiteY1" fmla="*/ 26580 h 26648"/>
                    <a:gd name="connsiteX2" fmla="*/ 48 w 26627"/>
                    <a:gd name="connsiteY2" fmla="*/ 14498 h 26648"/>
                    <a:gd name="connsiteX3" fmla="*/ 12255 w 26627"/>
                    <a:gd name="connsiteY3" fmla="*/ 49 h 26648"/>
                    <a:gd name="connsiteX4" fmla="*/ 26579 w 26627"/>
                    <a:gd name="connsiteY4" fmla="*/ 12131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48">
                      <a:moveTo>
                        <a:pt x="26579" y="12131"/>
                      </a:moveTo>
                      <a:cubicBezTo>
                        <a:pt x="27202" y="19480"/>
                        <a:pt x="21721" y="25833"/>
                        <a:pt x="14373" y="26580"/>
                      </a:cubicBezTo>
                      <a:cubicBezTo>
                        <a:pt x="7023" y="27327"/>
                        <a:pt x="671" y="21847"/>
                        <a:pt x="48" y="14498"/>
                      </a:cubicBezTo>
                      <a:cubicBezTo>
                        <a:pt x="-574" y="7149"/>
                        <a:pt x="4906" y="797"/>
                        <a:pt x="12255" y="49"/>
                      </a:cubicBezTo>
                      <a:cubicBezTo>
                        <a:pt x="19604" y="-574"/>
                        <a:pt x="26081" y="4783"/>
                        <a:pt x="2657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0" name="Freeform 4800">
                  <a:extLst>
                    <a:ext uri="{FF2B5EF4-FFF2-40B4-BE49-F238E27FC236}">
                      <a16:creationId xmlns:a16="http://schemas.microsoft.com/office/drawing/2014/main" id="{2135B7FB-22D0-790B-D909-2BB64982ADF5}"/>
                    </a:ext>
                  </a:extLst>
                </p:cNvPr>
                <p:cNvSpPr/>
                <p:nvPr/>
              </p:nvSpPr>
              <p:spPr>
                <a:xfrm>
                  <a:off x="7372692" y="5666452"/>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1"/>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1" name="Freeform 4801">
                  <a:extLst>
                    <a:ext uri="{FF2B5EF4-FFF2-40B4-BE49-F238E27FC236}">
                      <a16:creationId xmlns:a16="http://schemas.microsoft.com/office/drawing/2014/main" id="{125B78D6-34E9-5F72-8385-2C2211939B55}"/>
                    </a:ext>
                  </a:extLst>
                </p:cNvPr>
                <p:cNvSpPr/>
                <p:nvPr/>
              </p:nvSpPr>
              <p:spPr>
                <a:xfrm>
                  <a:off x="7366091" y="5672181"/>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495"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2" name="Freeform 4802">
                  <a:extLst>
                    <a:ext uri="{FF2B5EF4-FFF2-40B4-BE49-F238E27FC236}">
                      <a16:creationId xmlns:a16="http://schemas.microsoft.com/office/drawing/2014/main" id="{299F2D86-B576-5061-A6FC-4F5D68FC471A}"/>
                    </a:ext>
                  </a:extLst>
                </p:cNvPr>
                <p:cNvSpPr/>
                <p:nvPr/>
              </p:nvSpPr>
              <p:spPr>
                <a:xfrm>
                  <a:off x="7361558" y="5712613"/>
                  <a:ext cx="26255" cy="26504"/>
                </a:xfrm>
                <a:custGeom>
                  <a:avLst/>
                  <a:gdLst>
                    <a:gd name="connsiteX0" fmla="*/ 49 w 26255"/>
                    <a:gd name="connsiteY0" fmla="*/ 14373 h 26504"/>
                    <a:gd name="connsiteX1" fmla="*/ 12006 w 26255"/>
                    <a:gd name="connsiteY1" fmla="*/ 49 h 26504"/>
                    <a:gd name="connsiteX2" fmla="*/ 26206 w 26255"/>
                    <a:gd name="connsiteY2" fmla="*/ 12131 h 26504"/>
                    <a:gd name="connsiteX3" fmla="*/ 14248 w 26255"/>
                    <a:gd name="connsiteY3" fmla="*/ 26455 h 26504"/>
                    <a:gd name="connsiteX4" fmla="*/ 49 w 2625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04">
                      <a:moveTo>
                        <a:pt x="49" y="14373"/>
                      </a:moveTo>
                      <a:cubicBezTo>
                        <a:pt x="-574" y="7024"/>
                        <a:pt x="4783" y="672"/>
                        <a:pt x="12006" y="49"/>
                      </a:cubicBezTo>
                      <a:cubicBezTo>
                        <a:pt x="19231" y="-573"/>
                        <a:pt x="25584" y="4782"/>
                        <a:pt x="26206" y="12131"/>
                      </a:cubicBezTo>
                      <a:cubicBezTo>
                        <a:pt x="26829" y="19480"/>
                        <a:pt x="21473" y="25833"/>
                        <a:pt x="14248" y="26455"/>
                      </a:cubicBezTo>
                      <a:cubicBezTo>
                        <a:pt x="7025" y="27078"/>
                        <a:pt x="672" y="21723"/>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8" name="Graphic 2987">
                <a:extLst>
                  <a:ext uri="{FF2B5EF4-FFF2-40B4-BE49-F238E27FC236}">
                    <a16:creationId xmlns:a16="http://schemas.microsoft.com/office/drawing/2014/main" id="{F5911EEB-B734-AE91-0CF5-BAAD244B1970}"/>
                  </a:ext>
                </a:extLst>
              </p:cNvPr>
              <p:cNvGrpSpPr/>
              <p:nvPr/>
            </p:nvGrpSpPr>
            <p:grpSpPr>
              <a:xfrm>
                <a:off x="7380741" y="5588198"/>
                <a:ext cx="36467" cy="148428"/>
                <a:chOff x="7380741" y="5588198"/>
                <a:chExt cx="36467" cy="148428"/>
              </a:xfrm>
              <a:grpFill/>
            </p:grpSpPr>
            <p:sp>
              <p:nvSpPr>
                <p:cNvPr id="4691" name="Freeform 4804">
                  <a:extLst>
                    <a:ext uri="{FF2B5EF4-FFF2-40B4-BE49-F238E27FC236}">
                      <a16:creationId xmlns:a16="http://schemas.microsoft.com/office/drawing/2014/main" id="{EE7FD3CF-0CD7-EBD2-98F9-41513C7E674E}"/>
                    </a:ext>
                  </a:extLst>
                </p:cNvPr>
                <p:cNvSpPr/>
                <p:nvPr/>
              </p:nvSpPr>
              <p:spPr>
                <a:xfrm>
                  <a:off x="7389772" y="5608782"/>
                  <a:ext cx="6029" cy="52065"/>
                </a:xfrm>
                <a:custGeom>
                  <a:avLst/>
                  <a:gdLst>
                    <a:gd name="connsiteX0" fmla="*/ 1231 w 6029"/>
                    <a:gd name="connsiteY0" fmla="*/ 0 h 52065"/>
                    <a:gd name="connsiteX1" fmla="*/ 733 w 6029"/>
                    <a:gd name="connsiteY1" fmla="*/ 18808 h 52065"/>
                    <a:gd name="connsiteX2" fmla="*/ 5590 w 6029"/>
                    <a:gd name="connsiteY2" fmla="*/ 35624 h 52065"/>
                    <a:gd name="connsiteX3" fmla="*/ 4718 w 602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029" h="52065">
                      <a:moveTo>
                        <a:pt x="1231" y="0"/>
                      </a:moveTo>
                      <a:cubicBezTo>
                        <a:pt x="-638" y="8221"/>
                        <a:pt x="-15" y="14573"/>
                        <a:pt x="733" y="18808"/>
                      </a:cubicBezTo>
                      <a:cubicBezTo>
                        <a:pt x="2103" y="25659"/>
                        <a:pt x="4469" y="28524"/>
                        <a:pt x="5590" y="35624"/>
                      </a:cubicBezTo>
                      <a:cubicBezTo>
                        <a:pt x="6586" y="42474"/>
                        <a:pt x="5714" y="48328"/>
                        <a:pt x="471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2" name="Freeform 4805">
                  <a:extLst>
                    <a:ext uri="{FF2B5EF4-FFF2-40B4-BE49-F238E27FC236}">
                      <a16:creationId xmlns:a16="http://schemas.microsoft.com/office/drawing/2014/main" id="{19270FBA-C8A4-3027-0765-9C9080657008}"/>
                    </a:ext>
                  </a:extLst>
                </p:cNvPr>
                <p:cNvSpPr/>
                <p:nvPr/>
              </p:nvSpPr>
              <p:spPr>
                <a:xfrm>
                  <a:off x="7397604" y="5603177"/>
                  <a:ext cx="4982" cy="51940"/>
                </a:xfrm>
                <a:custGeom>
                  <a:avLst/>
                  <a:gdLst>
                    <a:gd name="connsiteX0" fmla="*/ 4983 w 4982"/>
                    <a:gd name="connsiteY0" fmla="*/ 51940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0"/>
                      </a:moveTo>
                      <a:cubicBezTo>
                        <a:pt x="1869" y="44093"/>
                        <a:pt x="1371" y="37741"/>
                        <a:pt x="1495" y="33506"/>
                      </a:cubicBezTo>
                      <a:cubicBezTo>
                        <a:pt x="1744" y="26530"/>
                        <a:pt x="3613" y="23292"/>
                        <a:pt x="3488" y="16192"/>
                      </a:cubicBezTo>
                      <a:cubicBezTo>
                        <a:pt x="3363"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3" name="Freeform 4806">
                  <a:extLst>
                    <a:ext uri="{FF2B5EF4-FFF2-40B4-BE49-F238E27FC236}">
                      <a16:creationId xmlns:a16="http://schemas.microsoft.com/office/drawing/2014/main" id="{970AE808-D11C-F6DB-5DE8-E3AE0C04E936}"/>
                    </a:ext>
                  </a:extLst>
                </p:cNvPr>
                <p:cNvSpPr/>
                <p:nvPr/>
              </p:nvSpPr>
              <p:spPr>
                <a:xfrm>
                  <a:off x="7380741" y="5588198"/>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8"/>
                        <a:pt x="21721" y="25940"/>
                        <a:pt x="14373" y="26438"/>
                      </a:cubicBezTo>
                      <a:cubicBezTo>
                        <a:pt x="7023" y="26937"/>
                        <a:pt x="671" y="21581"/>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4" name="Freeform 4807">
                  <a:extLst>
                    <a:ext uri="{FF2B5EF4-FFF2-40B4-BE49-F238E27FC236}">
                      <a16:creationId xmlns:a16="http://schemas.microsoft.com/office/drawing/2014/main" id="{E02098E3-70DC-378C-E5F3-6ECCF8AF9780}"/>
                    </a:ext>
                  </a:extLst>
                </p:cNvPr>
                <p:cNvSpPr/>
                <p:nvPr/>
              </p:nvSpPr>
              <p:spPr>
                <a:xfrm>
                  <a:off x="7402396" y="5663961"/>
                  <a:ext cx="5905" cy="52065"/>
                </a:xfrm>
                <a:custGeom>
                  <a:avLst/>
                  <a:gdLst>
                    <a:gd name="connsiteX0" fmla="*/ 4675 w 5905"/>
                    <a:gd name="connsiteY0" fmla="*/ 52065 h 52065"/>
                    <a:gd name="connsiteX1" fmla="*/ 5173 w 5905"/>
                    <a:gd name="connsiteY1" fmla="*/ 33257 h 52065"/>
                    <a:gd name="connsiteX2" fmla="*/ 440 w 5905"/>
                    <a:gd name="connsiteY2" fmla="*/ 16442 h 52065"/>
                    <a:gd name="connsiteX3" fmla="*/ 1312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52065"/>
                      </a:moveTo>
                      <a:cubicBezTo>
                        <a:pt x="6543" y="43845"/>
                        <a:pt x="5921" y="37492"/>
                        <a:pt x="5173" y="33257"/>
                      </a:cubicBezTo>
                      <a:cubicBezTo>
                        <a:pt x="3803" y="26407"/>
                        <a:pt x="1436"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5" name="Freeform 4808">
                  <a:extLst>
                    <a:ext uri="{FF2B5EF4-FFF2-40B4-BE49-F238E27FC236}">
                      <a16:creationId xmlns:a16="http://schemas.microsoft.com/office/drawing/2014/main" id="{53ECE052-4158-EA4D-852A-609730F75AA2}"/>
                    </a:ext>
                  </a:extLst>
                </p:cNvPr>
                <p:cNvSpPr/>
                <p:nvPr/>
              </p:nvSpPr>
              <p:spPr>
                <a:xfrm>
                  <a:off x="7395612" y="5669690"/>
                  <a:ext cx="4982" cy="51940"/>
                </a:xfrm>
                <a:custGeom>
                  <a:avLst/>
                  <a:gdLst>
                    <a:gd name="connsiteX0" fmla="*/ 0 w 4982"/>
                    <a:gd name="connsiteY0" fmla="*/ 0 h 51940"/>
                    <a:gd name="connsiteX1" fmla="*/ 3488 w 4982"/>
                    <a:gd name="connsiteY1" fmla="*/ 18434 h 51940"/>
                    <a:gd name="connsiteX2" fmla="*/ 1495 w 4982"/>
                    <a:gd name="connsiteY2" fmla="*/ 35748 h 51940"/>
                    <a:gd name="connsiteX3" fmla="*/ 4983 w 498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2" y="14199"/>
                        <a:pt x="3488" y="18434"/>
                      </a:cubicBezTo>
                      <a:cubicBezTo>
                        <a:pt x="3239" y="25409"/>
                        <a:pt x="1370" y="28648"/>
                        <a:pt x="1495" y="35748"/>
                      </a:cubicBezTo>
                      <a:cubicBezTo>
                        <a:pt x="1619" y="42599"/>
                        <a:pt x="3363" y="48204"/>
                        <a:pt x="498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6" name="Freeform 4809">
                  <a:extLst>
                    <a:ext uri="{FF2B5EF4-FFF2-40B4-BE49-F238E27FC236}">
                      <a16:creationId xmlns:a16="http://schemas.microsoft.com/office/drawing/2014/main" id="{279DF887-DDE2-BC2C-1007-8DA815A596B7}"/>
                    </a:ext>
                  </a:extLst>
                </p:cNvPr>
                <p:cNvSpPr/>
                <p:nvPr/>
              </p:nvSpPr>
              <p:spPr>
                <a:xfrm>
                  <a:off x="7390830" y="5710140"/>
                  <a:ext cx="26378" cy="26486"/>
                </a:xfrm>
                <a:custGeom>
                  <a:avLst/>
                  <a:gdLst>
                    <a:gd name="connsiteX0" fmla="*/ 48 w 26378"/>
                    <a:gd name="connsiteY0" fmla="*/ 14231 h 26486"/>
                    <a:gd name="connsiteX1" fmla="*/ 12131 w 26378"/>
                    <a:gd name="connsiteY1" fmla="*/ 32 h 26486"/>
                    <a:gd name="connsiteX2" fmla="*/ 26330 w 26378"/>
                    <a:gd name="connsiteY2" fmla="*/ 12239 h 26486"/>
                    <a:gd name="connsiteX3" fmla="*/ 14248 w 26378"/>
                    <a:gd name="connsiteY3" fmla="*/ 26438 h 26486"/>
                    <a:gd name="connsiteX4" fmla="*/ 48 w 26378"/>
                    <a:gd name="connsiteY4" fmla="*/ 14231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86">
                      <a:moveTo>
                        <a:pt x="48" y="14231"/>
                      </a:moveTo>
                      <a:cubicBezTo>
                        <a:pt x="-574" y="6883"/>
                        <a:pt x="4906" y="530"/>
                        <a:pt x="12131" y="32"/>
                      </a:cubicBezTo>
                      <a:cubicBezTo>
                        <a:pt x="19355" y="-466"/>
                        <a:pt x="25707" y="4890"/>
                        <a:pt x="26330" y="12239"/>
                      </a:cubicBezTo>
                      <a:cubicBezTo>
                        <a:pt x="26953" y="19587"/>
                        <a:pt x="21473" y="25940"/>
                        <a:pt x="14248" y="26438"/>
                      </a:cubicBezTo>
                      <a:cubicBezTo>
                        <a:pt x="7023" y="27061"/>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9" name="Graphic 2987">
                <a:extLst>
                  <a:ext uri="{FF2B5EF4-FFF2-40B4-BE49-F238E27FC236}">
                    <a16:creationId xmlns:a16="http://schemas.microsoft.com/office/drawing/2014/main" id="{CB41B02D-40CB-8654-52AF-78A89011AA2C}"/>
                  </a:ext>
                </a:extLst>
              </p:cNvPr>
              <p:cNvGrpSpPr/>
              <p:nvPr/>
            </p:nvGrpSpPr>
            <p:grpSpPr>
              <a:xfrm>
                <a:off x="7410386" y="5585956"/>
                <a:ext cx="36218" cy="148412"/>
                <a:chOff x="7410386" y="5585956"/>
                <a:chExt cx="36218" cy="148412"/>
              </a:xfrm>
              <a:grpFill/>
            </p:grpSpPr>
            <p:sp>
              <p:nvSpPr>
                <p:cNvPr id="4685" name="Freeform 4811">
                  <a:extLst>
                    <a:ext uri="{FF2B5EF4-FFF2-40B4-BE49-F238E27FC236}">
                      <a16:creationId xmlns:a16="http://schemas.microsoft.com/office/drawing/2014/main" id="{2B51BF1E-7878-CF37-FB91-0E6C581D4EB8}"/>
                    </a:ext>
                  </a:extLst>
                </p:cNvPr>
                <p:cNvSpPr/>
                <p:nvPr/>
              </p:nvSpPr>
              <p:spPr>
                <a:xfrm>
                  <a:off x="7419371" y="5606415"/>
                  <a:ext cx="5951" cy="52065"/>
                </a:xfrm>
                <a:custGeom>
                  <a:avLst/>
                  <a:gdLst>
                    <a:gd name="connsiteX0" fmla="*/ 1277 w 5951"/>
                    <a:gd name="connsiteY0" fmla="*/ 0 h 52065"/>
                    <a:gd name="connsiteX1" fmla="*/ 778 w 5951"/>
                    <a:gd name="connsiteY1" fmla="*/ 18808 h 52065"/>
                    <a:gd name="connsiteX2" fmla="*/ 5511 w 5951"/>
                    <a:gd name="connsiteY2" fmla="*/ 35624 h 52065"/>
                    <a:gd name="connsiteX3" fmla="*/ 4640 w 595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51" h="52065">
                      <a:moveTo>
                        <a:pt x="1277" y="0"/>
                      </a:moveTo>
                      <a:cubicBezTo>
                        <a:pt x="-592" y="8221"/>
                        <a:pt x="-93" y="14573"/>
                        <a:pt x="778" y="18808"/>
                      </a:cubicBezTo>
                      <a:cubicBezTo>
                        <a:pt x="2149" y="25659"/>
                        <a:pt x="4515" y="28524"/>
                        <a:pt x="5511" y="35624"/>
                      </a:cubicBezTo>
                      <a:cubicBezTo>
                        <a:pt x="6508" y="42474"/>
                        <a:pt x="5636" y="48328"/>
                        <a:pt x="46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6" name="Freeform 4812">
                  <a:extLst>
                    <a:ext uri="{FF2B5EF4-FFF2-40B4-BE49-F238E27FC236}">
                      <a16:creationId xmlns:a16="http://schemas.microsoft.com/office/drawing/2014/main" id="{75AD7C70-5AC2-4CEF-EC0E-ADDEA9151037}"/>
                    </a:ext>
                  </a:extLst>
                </p:cNvPr>
                <p:cNvSpPr/>
                <p:nvPr/>
              </p:nvSpPr>
              <p:spPr>
                <a:xfrm>
                  <a:off x="7427249" y="5600934"/>
                  <a:ext cx="4857" cy="51940"/>
                </a:xfrm>
                <a:custGeom>
                  <a:avLst/>
                  <a:gdLst>
                    <a:gd name="connsiteX0" fmla="*/ 4858 w 4857"/>
                    <a:gd name="connsiteY0" fmla="*/ 51941 h 51940"/>
                    <a:gd name="connsiteX1" fmla="*/ 1371 w 4857"/>
                    <a:gd name="connsiteY1" fmla="*/ 33506 h 51940"/>
                    <a:gd name="connsiteX2" fmla="*/ 3488 w 4857"/>
                    <a:gd name="connsiteY2" fmla="*/ 16193 h 51940"/>
                    <a:gd name="connsiteX3" fmla="*/ 0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51941"/>
                      </a:moveTo>
                      <a:cubicBezTo>
                        <a:pt x="1744" y="44094"/>
                        <a:pt x="1246" y="37741"/>
                        <a:pt x="1371" y="33506"/>
                      </a:cubicBezTo>
                      <a:cubicBezTo>
                        <a:pt x="1619" y="26531"/>
                        <a:pt x="3488" y="23292"/>
                        <a:pt x="3488" y="16193"/>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7" name="Freeform 4813">
                  <a:extLst>
                    <a:ext uri="{FF2B5EF4-FFF2-40B4-BE49-F238E27FC236}">
                      <a16:creationId xmlns:a16="http://schemas.microsoft.com/office/drawing/2014/main" id="{05CEB21E-82A3-8165-3D5D-7943937C5D41}"/>
                    </a:ext>
                  </a:extLst>
                </p:cNvPr>
                <p:cNvSpPr/>
                <p:nvPr/>
              </p:nvSpPr>
              <p:spPr>
                <a:xfrm>
                  <a:off x="7410386" y="5585956"/>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7"/>
                        <a:pt x="21721" y="25940"/>
                        <a:pt x="14373" y="26438"/>
                      </a:cubicBezTo>
                      <a:cubicBezTo>
                        <a:pt x="7023" y="26937"/>
                        <a:pt x="671" y="21580"/>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8" name="Freeform 4814">
                  <a:extLst>
                    <a:ext uri="{FF2B5EF4-FFF2-40B4-BE49-F238E27FC236}">
                      <a16:creationId xmlns:a16="http://schemas.microsoft.com/office/drawing/2014/main" id="{A2519138-73FB-6444-D597-5077B5261E4E}"/>
                    </a:ext>
                  </a:extLst>
                </p:cNvPr>
                <p:cNvSpPr/>
                <p:nvPr/>
              </p:nvSpPr>
              <p:spPr>
                <a:xfrm>
                  <a:off x="7431791" y="5661719"/>
                  <a:ext cx="5951" cy="52065"/>
                </a:xfrm>
                <a:custGeom>
                  <a:avLst/>
                  <a:gdLst>
                    <a:gd name="connsiteX0" fmla="*/ 4675 w 5951"/>
                    <a:gd name="connsiteY0" fmla="*/ 52065 h 52065"/>
                    <a:gd name="connsiteX1" fmla="*/ 5173 w 5951"/>
                    <a:gd name="connsiteY1" fmla="*/ 33257 h 52065"/>
                    <a:gd name="connsiteX2" fmla="*/ 440 w 5951"/>
                    <a:gd name="connsiteY2" fmla="*/ 16442 h 52065"/>
                    <a:gd name="connsiteX3" fmla="*/ 1312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4675" y="52065"/>
                      </a:moveTo>
                      <a:cubicBezTo>
                        <a:pt x="6543" y="43844"/>
                        <a:pt x="6045" y="37492"/>
                        <a:pt x="5173" y="33257"/>
                      </a:cubicBezTo>
                      <a:cubicBezTo>
                        <a:pt x="3803" y="26406"/>
                        <a:pt x="1561"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9" name="Freeform 4815">
                  <a:extLst>
                    <a:ext uri="{FF2B5EF4-FFF2-40B4-BE49-F238E27FC236}">
                      <a16:creationId xmlns:a16="http://schemas.microsoft.com/office/drawing/2014/main" id="{7F66EB88-E97C-1704-5D62-4B87763C3B87}"/>
                    </a:ext>
                  </a:extLst>
                </p:cNvPr>
                <p:cNvSpPr/>
                <p:nvPr/>
              </p:nvSpPr>
              <p:spPr>
                <a:xfrm>
                  <a:off x="7425007" y="5667448"/>
                  <a:ext cx="4982" cy="51940"/>
                </a:xfrm>
                <a:custGeom>
                  <a:avLst/>
                  <a:gdLst>
                    <a:gd name="connsiteX0" fmla="*/ 0 w 4982"/>
                    <a:gd name="connsiteY0" fmla="*/ 0 h 51940"/>
                    <a:gd name="connsiteX1" fmla="*/ 3488 w 4982"/>
                    <a:gd name="connsiteY1" fmla="*/ 18435 h 51940"/>
                    <a:gd name="connsiteX2" fmla="*/ 1495 w 4982"/>
                    <a:gd name="connsiteY2" fmla="*/ 35748 h 51940"/>
                    <a:gd name="connsiteX3" fmla="*/ 4983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3" y="14200"/>
                        <a:pt x="3488" y="18435"/>
                      </a:cubicBezTo>
                      <a:cubicBezTo>
                        <a:pt x="3239" y="25410"/>
                        <a:pt x="1370" y="28648"/>
                        <a:pt x="1495" y="35748"/>
                      </a:cubicBezTo>
                      <a:cubicBezTo>
                        <a:pt x="1495" y="42599"/>
                        <a:pt x="3363" y="48204"/>
                        <a:pt x="498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0" name="Freeform 4816">
                  <a:extLst>
                    <a:ext uri="{FF2B5EF4-FFF2-40B4-BE49-F238E27FC236}">
                      <a16:creationId xmlns:a16="http://schemas.microsoft.com/office/drawing/2014/main" id="{13B3776B-3DD9-6FF2-F2B9-616B9D2F1E67}"/>
                    </a:ext>
                  </a:extLst>
                </p:cNvPr>
                <p:cNvSpPr/>
                <p:nvPr/>
              </p:nvSpPr>
              <p:spPr>
                <a:xfrm>
                  <a:off x="7420226" y="5707897"/>
                  <a:ext cx="26378" cy="26470"/>
                </a:xfrm>
                <a:custGeom>
                  <a:avLst/>
                  <a:gdLst>
                    <a:gd name="connsiteX0" fmla="*/ 48 w 26378"/>
                    <a:gd name="connsiteY0" fmla="*/ 14232 h 26470"/>
                    <a:gd name="connsiteX1" fmla="*/ 12131 w 26378"/>
                    <a:gd name="connsiteY1" fmla="*/ 32 h 26470"/>
                    <a:gd name="connsiteX2" fmla="*/ 26330 w 26378"/>
                    <a:gd name="connsiteY2" fmla="*/ 12239 h 26470"/>
                    <a:gd name="connsiteX3" fmla="*/ 14248 w 26378"/>
                    <a:gd name="connsiteY3" fmla="*/ 26439 h 26470"/>
                    <a:gd name="connsiteX4" fmla="*/ 48 w 26378"/>
                    <a:gd name="connsiteY4" fmla="*/ 14232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70">
                      <a:moveTo>
                        <a:pt x="48" y="14232"/>
                      </a:moveTo>
                      <a:cubicBezTo>
                        <a:pt x="-574" y="6883"/>
                        <a:pt x="4906" y="530"/>
                        <a:pt x="12131" y="32"/>
                      </a:cubicBezTo>
                      <a:cubicBezTo>
                        <a:pt x="19355" y="-466"/>
                        <a:pt x="25707" y="4890"/>
                        <a:pt x="26330" y="12239"/>
                      </a:cubicBezTo>
                      <a:cubicBezTo>
                        <a:pt x="26953" y="19588"/>
                        <a:pt x="21473" y="25940"/>
                        <a:pt x="14248" y="26439"/>
                      </a:cubicBezTo>
                      <a:cubicBezTo>
                        <a:pt x="7023" y="26937"/>
                        <a:pt x="547" y="21581"/>
                        <a:pt x="48" y="14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0" name="Graphic 2987">
                <a:extLst>
                  <a:ext uri="{FF2B5EF4-FFF2-40B4-BE49-F238E27FC236}">
                    <a16:creationId xmlns:a16="http://schemas.microsoft.com/office/drawing/2014/main" id="{4B855206-9E5D-4EC4-DC2A-6BFB5D4CE33D}"/>
                  </a:ext>
                </a:extLst>
              </p:cNvPr>
              <p:cNvGrpSpPr/>
              <p:nvPr/>
            </p:nvGrpSpPr>
            <p:grpSpPr>
              <a:xfrm>
                <a:off x="7440156" y="5583590"/>
                <a:ext cx="35702" cy="148536"/>
                <a:chOff x="7440156" y="5583590"/>
                <a:chExt cx="35702" cy="148536"/>
              </a:xfrm>
              <a:grpFill/>
            </p:grpSpPr>
            <p:sp>
              <p:nvSpPr>
                <p:cNvPr id="4679" name="Freeform 4818">
                  <a:extLst>
                    <a:ext uri="{FF2B5EF4-FFF2-40B4-BE49-F238E27FC236}">
                      <a16:creationId xmlns:a16="http://schemas.microsoft.com/office/drawing/2014/main" id="{0289893B-5E5A-CA2F-F375-51B2752AF23E}"/>
                    </a:ext>
                  </a:extLst>
                </p:cNvPr>
                <p:cNvSpPr/>
                <p:nvPr/>
              </p:nvSpPr>
              <p:spPr>
                <a:xfrm>
                  <a:off x="7449016" y="5604173"/>
                  <a:ext cx="5927" cy="52065"/>
                </a:xfrm>
                <a:custGeom>
                  <a:avLst/>
                  <a:gdLst>
                    <a:gd name="connsiteX0" fmla="*/ 1277 w 5927"/>
                    <a:gd name="connsiteY0" fmla="*/ 0 h 52065"/>
                    <a:gd name="connsiteX1" fmla="*/ 778 w 5927"/>
                    <a:gd name="connsiteY1" fmla="*/ 18808 h 52065"/>
                    <a:gd name="connsiteX2" fmla="*/ 5511 w 5927"/>
                    <a:gd name="connsiteY2" fmla="*/ 35623 h 52065"/>
                    <a:gd name="connsiteX3" fmla="*/ 4639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1277" y="0"/>
                      </a:moveTo>
                      <a:cubicBezTo>
                        <a:pt x="-592" y="8221"/>
                        <a:pt x="-93" y="14573"/>
                        <a:pt x="778" y="18808"/>
                      </a:cubicBezTo>
                      <a:cubicBezTo>
                        <a:pt x="2149" y="25659"/>
                        <a:pt x="4391" y="28524"/>
                        <a:pt x="5511" y="35623"/>
                      </a:cubicBezTo>
                      <a:cubicBezTo>
                        <a:pt x="6508" y="42474"/>
                        <a:pt x="5511" y="48328"/>
                        <a:pt x="463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0" name="Freeform 4819">
                  <a:extLst>
                    <a:ext uri="{FF2B5EF4-FFF2-40B4-BE49-F238E27FC236}">
                      <a16:creationId xmlns:a16="http://schemas.microsoft.com/office/drawing/2014/main" id="{97450D1C-34E4-0C8C-07CF-50FA5E879921}"/>
                    </a:ext>
                  </a:extLst>
                </p:cNvPr>
                <p:cNvSpPr/>
                <p:nvPr/>
              </p:nvSpPr>
              <p:spPr>
                <a:xfrm>
                  <a:off x="7457018" y="5598568"/>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3"/>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1" name="Freeform 4820">
                  <a:extLst>
                    <a:ext uri="{FF2B5EF4-FFF2-40B4-BE49-F238E27FC236}">
                      <a16:creationId xmlns:a16="http://schemas.microsoft.com/office/drawing/2014/main" id="{E748BD41-8E7E-CC4F-17DA-1087D41C39CF}"/>
                    </a:ext>
                  </a:extLst>
                </p:cNvPr>
                <p:cNvSpPr/>
                <p:nvPr/>
              </p:nvSpPr>
              <p:spPr>
                <a:xfrm>
                  <a:off x="7440156" y="5583590"/>
                  <a:ext cx="26609" cy="26469"/>
                </a:xfrm>
                <a:custGeom>
                  <a:avLst/>
                  <a:gdLst>
                    <a:gd name="connsiteX0" fmla="*/ 26578 w 26609"/>
                    <a:gd name="connsiteY0" fmla="*/ 12238 h 26469"/>
                    <a:gd name="connsiteX1" fmla="*/ 14371 w 26609"/>
                    <a:gd name="connsiteY1" fmla="*/ 26438 h 26469"/>
                    <a:gd name="connsiteX2" fmla="*/ 47 w 26609"/>
                    <a:gd name="connsiteY2" fmla="*/ 14231 h 26469"/>
                    <a:gd name="connsiteX3" fmla="*/ 12254 w 26609"/>
                    <a:gd name="connsiteY3" fmla="*/ 31 h 26469"/>
                    <a:gd name="connsiteX4" fmla="*/ 26578 w 26609"/>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9" h="26469">
                      <a:moveTo>
                        <a:pt x="26578" y="12238"/>
                      </a:moveTo>
                      <a:cubicBezTo>
                        <a:pt x="27076" y="19587"/>
                        <a:pt x="21596" y="25939"/>
                        <a:pt x="14371" y="26438"/>
                      </a:cubicBezTo>
                      <a:cubicBezTo>
                        <a:pt x="7022" y="26936"/>
                        <a:pt x="670" y="21580"/>
                        <a:pt x="47" y="14231"/>
                      </a:cubicBezTo>
                      <a:cubicBezTo>
                        <a:pt x="-575" y="6882"/>
                        <a:pt x="5029" y="529"/>
                        <a:pt x="12254" y="31"/>
                      </a:cubicBezTo>
                      <a:cubicBezTo>
                        <a:pt x="19603" y="-467"/>
                        <a:pt x="25955" y="5014"/>
                        <a:pt x="26578"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2" name="Freeform 4821">
                  <a:extLst>
                    <a:ext uri="{FF2B5EF4-FFF2-40B4-BE49-F238E27FC236}">
                      <a16:creationId xmlns:a16="http://schemas.microsoft.com/office/drawing/2014/main" id="{5158BC1F-AD20-D16D-D0A6-296B5C3195A4}"/>
                    </a:ext>
                  </a:extLst>
                </p:cNvPr>
                <p:cNvSpPr/>
                <p:nvPr/>
              </p:nvSpPr>
              <p:spPr>
                <a:xfrm>
                  <a:off x="7461087" y="5659601"/>
                  <a:ext cx="5927" cy="52065"/>
                </a:xfrm>
                <a:custGeom>
                  <a:avLst/>
                  <a:gdLst>
                    <a:gd name="connsiteX0" fmla="*/ 4651 w 5927"/>
                    <a:gd name="connsiteY0" fmla="*/ 52065 h 52065"/>
                    <a:gd name="connsiteX1" fmla="*/ 5149 w 5927"/>
                    <a:gd name="connsiteY1" fmla="*/ 33257 h 52065"/>
                    <a:gd name="connsiteX2" fmla="*/ 416 w 5927"/>
                    <a:gd name="connsiteY2" fmla="*/ 16441 h 52065"/>
                    <a:gd name="connsiteX3" fmla="*/ 1288 w 5927"/>
                    <a:gd name="connsiteY3" fmla="*/ 0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52065"/>
                      </a:moveTo>
                      <a:cubicBezTo>
                        <a:pt x="6520" y="43844"/>
                        <a:pt x="6021" y="37492"/>
                        <a:pt x="5149" y="33257"/>
                      </a:cubicBezTo>
                      <a:cubicBezTo>
                        <a:pt x="3904" y="26406"/>
                        <a:pt x="1537" y="23541"/>
                        <a:pt x="416" y="16441"/>
                      </a:cubicBezTo>
                      <a:cubicBezTo>
                        <a:pt x="-580"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3" name="Freeform 4822">
                  <a:extLst>
                    <a:ext uri="{FF2B5EF4-FFF2-40B4-BE49-F238E27FC236}">
                      <a16:creationId xmlns:a16="http://schemas.microsoft.com/office/drawing/2014/main" id="{3B051937-8FB0-4515-7B33-56B868B8C60E}"/>
                    </a:ext>
                  </a:extLst>
                </p:cNvPr>
                <p:cNvSpPr/>
                <p:nvPr/>
              </p:nvSpPr>
              <p:spPr>
                <a:xfrm>
                  <a:off x="7454527" y="5665206"/>
                  <a:ext cx="4608" cy="51940"/>
                </a:xfrm>
                <a:custGeom>
                  <a:avLst/>
                  <a:gdLst>
                    <a:gd name="connsiteX0" fmla="*/ 0 w 4608"/>
                    <a:gd name="connsiteY0" fmla="*/ 0 h 51940"/>
                    <a:gd name="connsiteX1" fmla="*/ 3363 w 4608"/>
                    <a:gd name="connsiteY1" fmla="*/ 18435 h 51940"/>
                    <a:gd name="connsiteX2" fmla="*/ 1246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200"/>
                        <a:pt x="3363" y="18435"/>
                      </a:cubicBezTo>
                      <a:cubicBezTo>
                        <a:pt x="3114" y="25410"/>
                        <a:pt x="1246" y="28648"/>
                        <a:pt x="1246" y="35748"/>
                      </a:cubicBezTo>
                      <a:cubicBezTo>
                        <a:pt x="1246"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4" name="Freeform 4823">
                  <a:extLst>
                    <a:ext uri="{FF2B5EF4-FFF2-40B4-BE49-F238E27FC236}">
                      <a16:creationId xmlns:a16="http://schemas.microsoft.com/office/drawing/2014/main" id="{EC5480A2-5828-8ED2-7D2D-6BCBB3EBDE1D}"/>
                    </a:ext>
                  </a:extLst>
                </p:cNvPr>
                <p:cNvSpPr/>
                <p:nvPr/>
              </p:nvSpPr>
              <p:spPr>
                <a:xfrm>
                  <a:off x="7449497" y="5705656"/>
                  <a:ext cx="26361" cy="26469"/>
                </a:xfrm>
                <a:custGeom>
                  <a:avLst/>
                  <a:gdLst>
                    <a:gd name="connsiteX0" fmla="*/ 48 w 26361"/>
                    <a:gd name="connsiteY0" fmla="*/ 14231 h 26469"/>
                    <a:gd name="connsiteX1" fmla="*/ 12130 w 26361"/>
                    <a:gd name="connsiteY1" fmla="*/ 31 h 26469"/>
                    <a:gd name="connsiteX2" fmla="*/ 26330 w 26361"/>
                    <a:gd name="connsiteY2" fmla="*/ 12238 h 26469"/>
                    <a:gd name="connsiteX3" fmla="*/ 14247 w 26361"/>
                    <a:gd name="connsiteY3" fmla="*/ 26438 h 26469"/>
                    <a:gd name="connsiteX4" fmla="*/ 48 w 26361"/>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469">
                      <a:moveTo>
                        <a:pt x="48" y="14231"/>
                      </a:moveTo>
                      <a:cubicBezTo>
                        <a:pt x="-574" y="6882"/>
                        <a:pt x="4905" y="530"/>
                        <a:pt x="12130" y="31"/>
                      </a:cubicBezTo>
                      <a:cubicBezTo>
                        <a:pt x="19355" y="-467"/>
                        <a:pt x="25707" y="5014"/>
                        <a:pt x="26330" y="12238"/>
                      </a:cubicBezTo>
                      <a:cubicBezTo>
                        <a:pt x="26828" y="19587"/>
                        <a:pt x="21472" y="25940"/>
                        <a:pt x="14247" y="26438"/>
                      </a:cubicBezTo>
                      <a:cubicBezTo>
                        <a:pt x="7023" y="26936"/>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1" name="Graphic 2987">
                <a:extLst>
                  <a:ext uri="{FF2B5EF4-FFF2-40B4-BE49-F238E27FC236}">
                    <a16:creationId xmlns:a16="http://schemas.microsoft.com/office/drawing/2014/main" id="{D12AC9A9-66FC-67B9-058E-C18ED4D890DA}"/>
                  </a:ext>
                </a:extLst>
              </p:cNvPr>
              <p:cNvGrpSpPr/>
              <p:nvPr/>
            </p:nvGrpSpPr>
            <p:grpSpPr>
              <a:xfrm>
                <a:off x="7469817" y="5581348"/>
                <a:ext cx="35437" cy="148660"/>
                <a:chOff x="7469817" y="5581348"/>
                <a:chExt cx="35437" cy="148660"/>
              </a:xfrm>
              <a:grpFill/>
            </p:grpSpPr>
            <p:sp>
              <p:nvSpPr>
                <p:cNvPr id="4673" name="Freeform 4825">
                  <a:extLst>
                    <a:ext uri="{FF2B5EF4-FFF2-40B4-BE49-F238E27FC236}">
                      <a16:creationId xmlns:a16="http://schemas.microsoft.com/office/drawing/2014/main" id="{D0EC4C6C-0B8F-FCE7-8BD3-601287986353}"/>
                    </a:ext>
                  </a:extLst>
                </p:cNvPr>
                <p:cNvSpPr/>
                <p:nvPr/>
              </p:nvSpPr>
              <p:spPr>
                <a:xfrm>
                  <a:off x="7478644" y="5601931"/>
                  <a:ext cx="5815" cy="52065"/>
                </a:xfrm>
                <a:custGeom>
                  <a:avLst/>
                  <a:gdLst>
                    <a:gd name="connsiteX0" fmla="*/ 1293 w 5815"/>
                    <a:gd name="connsiteY0" fmla="*/ 0 h 52065"/>
                    <a:gd name="connsiteX1" fmla="*/ 670 w 5815"/>
                    <a:gd name="connsiteY1" fmla="*/ 18808 h 52065"/>
                    <a:gd name="connsiteX2" fmla="*/ 5403 w 5815"/>
                    <a:gd name="connsiteY2" fmla="*/ 35623 h 52065"/>
                    <a:gd name="connsiteX3" fmla="*/ 4407 w 581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815" h="52065">
                      <a:moveTo>
                        <a:pt x="1293" y="0"/>
                      </a:moveTo>
                      <a:cubicBezTo>
                        <a:pt x="-575" y="8221"/>
                        <a:pt x="-77" y="14573"/>
                        <a:pt x="670" y="18808"/>
                      </a:cubicBezTo>
                      <a:cubicBezTo>
                        <a:pt x="1916" y="25659"/>
                        <a:pt x="4283" y="28523"/>
                        <a:pt x="5403" y="35623"/>
                      </a:cubicBezTo>
                      <a:cubicBezTo>
                        <a:pt x="6400" y="42474"/>
                        <a:pt x="5403" y="48328"/>
                        <a:pt x="440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4" name="Freeform 4826">
                  <a:extLst>
                    <a:ext uri="{FF2B5EF4-FFF2-40B4-BE49-F238E27FC236}">
                      <a16:creationId xmlns:a16="http://schemas.microsoft.com/office/drawing/2014/main" id="{87A3E296-9CB5-B0CD-7AEE-27EA2481104F}"/>
                    </a:ext>
                  </a:extLst>
                </p:cNvPr>
                <p:cNvSpPr/>
                <p:nvPr/>
              </p:nvSpPr>
              <p:spPr>
                <a:xfrm>
                  <a:off x="7486539" y="5596326"/>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5" name="Freeform 4827">
                  <a:extLst>
                    <a:ext uri="{FF2B5EF4-FFF2-40B4-BE49-F238E27FC236}">
                      <a16:creationId xmlns:a16="http://schemas.microsoft.com/office/drawing/2014/main" id="{27109BC0-159B-DF16-E229-1D4C111E2EC8}"/>
                    </a:ext>
                  </a:extLst>
                </p:cNvPr>
                <p:cNvSpPr/>
                <p:nvPr/>
              </p:nvSpPr>
              <p:spPr>
                <a:xfrm>
                  <a:off x="7469817" y="5581348"/>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39"/>
                        <a:pt x="14231" y="26438"/>
                      </a:cubicBezTo>
                      <a:cubicBezTo>
                        <a:pt x="6882" y="26936"/>
                        <a:pt x="529" y="21580"/>
                        <a:pt x="32" y="14231"/>
                      </a:cubicBezTo>
                      <a:cubicBezTo>
                        <a:pt x="-467" y="6882"/>
                        <a:pt x="5013" y="529"/>
                        <a:pt x="12363" y="31"/>
                      </a:cubicBezTo>
                      <a:cubicBezTo>
                        <a:pt x="19711" y="-467"/>
                        <a:pt x="25939"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6" name="Freeform 4828">
                  <a:extLst>
                    <a:ext uri="{FF2B5EF4-FFF2-40B4-BE49-F238E27FC236}">
                      <a16:creationId xmlns:a16="http://schemas.microsoft.com/office/drawing/2014/main" id="{E7B59D73-D186-4407-9C2A-E3E94006EF87}"/>
                    </a:ext>
                  </a:extLst>
                </p:cNvPr>
                <p:cNvSpPr/>
                <p:nvPr/>
              </p:nvSpPr>
              <p:spPr>
                <a:xfrm>
                  <a:off x="7490735" y="5657359"/>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5"/>
                        <a:pt x="5768" y="37492"/>
                        <a:pt x="5021" y="33257"/>
                      </a:cubicBezTo>
                      <a:cubicBezTo>
                        <a:pt x="3776" y="26406"/>
                        <a:pt x="1409" y="23542"/>
                        <a:pt x="413" y="16442"/>
                      </a:cubicBezTo>
                      <a:cubicBezTo>
                        <a:pt x="-583"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7" name="Freeform 4829">
                  <a:extLst>
                    <a:ext uri="{FF2B5EF4-FFF2-40B4-BE49-F238E27FC236}">
                      <a16:creationId xmlns:a16="http://schemas.microsoft.com/office/drawing/2014/main" id="{1836CAF1-0222-BCFB-DEC3-7376D62490FA}"/>
                    </a:ext>
                  </a:extLst>
                </p:cNvPr>
                <p:cNvSpPr/>
                <p:nvPr/>
              </p:nvSpPr>
              <p:spPr>
                <a:xfrm>
                  <a:off x="7484047" y="5662964"/>
                  <a:ext cx="4608" cy="52065"/>
                </a:xfrm>
                <a:custGeom>
                  <a:avLst/>
                  <a:gdLst>
                    <a:gd name="connsiteX0" fmla="*/ 0 w 4608"/>
                    <a:gd name="connsiteY0" fmla="*/ 0 h 52065"/>
                    <a:gd name="connsiteX1" fmla="*/ 3363 w 4608"/>
                    <a:gd name="connsiteY1" fmla="*/ 18559 h 52065"/>
                    <a:gd name="connsiteX2" fmla="*/ 1246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3114" y="7847"/>
                        <a:pt x="3488" y="14199"/>
                        <a:pt x="3363" y="18559"/>
                      </a:cubicBezTo>
                      <a:cubicBezTo>
                        <a:pt x="3114" y="25534"/>
                        <a:pt x="1246" y="28773"/>
                        <a:pt x="1246" y="35873"/>
                      </a:cubicBezTo>
                      <a:cubicBezTo>
                        <a:pt x="1246" y="42723"/>
                        <a:pt x="3114" y="48328"/>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8" name="Freeform 4830">
                  <a:extLst>
                    <a:ext uri="{FF2B5EF4-FFF2-40B4-BE49-F238E27FC236}">
                      <a16:creationId xmlns:a16="http://schemas.microsoft.com/office/drawing/2014/main" id="{9E96946D-83B1-0576-C733-97275637DC77}"/>
                    </a:ext>
                  </a:extLst>
                </p:cNvPr>
                <p:cNvSpPr/>
                <p:nvPr/>
              </p:nvSpPr>
              <p:spPr>
                <a:xfrm>
                  <a:off x="7478909" y="5703539"/>
                  <a:ext cx="26345" cy="26469"/>
                </a:xfrm>
                <a:custGeom>
                  <a:avLst/>
                  <a:gdLst>
                    <a:gd name="connsiteX0" fmla="*/ 32 w 26345"/>
                    <a:gd name="connsiteY0" fmla="*/ 14231 h 26469"/>
                    <a:gd name="connsiteX1" fmla="*/ 12238 w 26345"/>
                    <a:gd name="connsiteY1" fmla="*/ 31 h 26469"/>
                    <a:gd name="connsiteX2" fmla="*/ 26314 w 26345"/>
                    <a:gd name="connsiteY2" fmla="*/ 12238 h 26469"/>
                    <a:gd name="connsiteX3" fmla="*/ 14107 w 26345"/>
                    <a:gd name="connsiteY3" fmla="*/ 26438 h 26469"/>
                    <a:gd name="connsiteX4" fmla="*/ 32 w 26345"/>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2" y="14231"/>
                      </a:moveTo>
                      <a:cubicBezTo>
                        <a:pt x="-466" y="6882"/>
                        <a:pt x="4890" y="529"/>
                        <a:pt x="12238" y="31"/>
                      </a:cubicBezTo>
                      <a:cubicBezTo>
                        <a:pt x="19588" y="-467"/>
                        <a:pt x="25816" y="5014"/>
                        <a:pt x="26314" y="12238"/>
                      </a:cubicBezTo>
                      <a:cubicBezTo>
                        <a:pt x="26812" y="19587"/>
                        <a:pt x="21456" y="25939"/>
                        <a:pt x="14107" y="26438"/>
                      </a:cubicBezTo>
                      <a:cubicBezTo>
                        <a:pt x="6883" y="26936"/>
                        <a:pt x="655"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2" name="Graphic 2987">
                <a:extLst>
                  <a:ext uri="{FF2B5EF4-FFF2-40B4-BE49-F238E27FC236}">
                    <a16:creationId xmlns:a16="http://schemas.microsoft.com/office/drawing/2014/main" id="{E8C64CB5-C401-67DC-2CC6-2BDA520A8894}"/>
                  </a:ext>
                </a:extLst>
              </p:cNvPr>
              <p:cNvGrpSpPr/>
              <p:nvPr/>
            </p:nvGrpSpPr>
            <p:grpSpPr>
              <a:xfrm>
                <a:off x="7499462" y="5579105"/>
                <a:ext cx="35187" cy="148660"/>
                <a:chOff x="7499462" y="5579105"/>
                <a:chExt cx="35187" cy="148660"/>
              </a:xfrm>
              <a:grpFill/>
            </p:grpSpPr>
            <p:sp>
              <p:nvSpPr>
                <p:cNvPr id="4667" name="Freeform 4832">
                  <a:extLst>
                    <a:ext uri="{FF2B5EF4-FFF2-40B4-BE49-F238E27FC236}">
                      <a16:creationId xmlns:a16="http://schemas.microsoft.com/office/drawing/2014/main" id="{18FD8974-5F96-D731-54E6-FDE0723DFE6A}"/>
                    </a:ext>
                  </a:extLst>
                </p:cNvPr>
                <p:cNvSpPr/>
                <p:nvPr/>
              </p:nvSpPr>
              <p:spPr>
                <a:xfrm>
                  <a:off x="7508289" y="5599689"/>
                  <a:ext cx="5691" cy="52065"/>
                </a:xfrm>
                <a:custGeom>
                  <a:avLst/>
                  <a:gdLst>
                    <a:gd name="connsiteX0" fmla="*/ 1293 w 5691"/>
                    <a:gd name="connsiteY0" fmla="*/ 0 h 52065"/>
                    <a:gd name="connsiteX1" fmla="*/ 670 w 5691"/>
                    <a:gd name="connsiteY1" fmla="*/ 18808 h 52065"/>
                    <a:gd name="connsiteX2" fmla="*/ 5278 w 5691"/>
                    <a:gd name="connsiteY2" fmla="*/ 35624 h 52065"/>
                    <a:gd name="connsiteX3" fmla="*/ 4283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0"/>
                      </a:moveTo>
                      <a:cubicBezTo>
                        <a:pt x="-575" y="8221"/>
                        <a:pt x="-77" y="14573"/>
                        <a:pt x="670" y="18808"/>
                      </a:cubicBezTo>
                      <a:cubicBezTo>
                        <a:pt x="1916" y="25659"/>
                        <a:pt x="4283" y="28524"/>
                        <a:pt x="5278" y="35624"/>
                      </a:cubicBezTo>
                      <a:cubicBezTo>
                        <a:pt x="6275" y="42474"/>
                        <a:pt x="5278" y="48328"/>
                        <a:pt x="42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8" name="Freeform 4833">
                  <a:extLst>
                    <a:ext uri="{FF2B5EF4-FFF2-40B4-BE49-F238E27FC236}">
                      <a16:creationId xmlns:a16="http://schemas.microsoft.com/office/drawing/2014/main" id="{4E345849-032F-0BFF-475C-6E36C20828CD}"/>
                    </a:ext>
                  </a:extLst>
                </p:cNvPr>
                <p:cNvSpPr/>
                <p:nvPr/>
              </p:nvSpPr>
              <p:spPr>
                <a:xfrm>
                  <a:off x="7516183" y="5594084"/>
                  <a:ext cx="4483" cy="52065"/>
                </a:xfrm>
                <a:custGeom>
                  <a:avLst/>
                  <a:gdLst>
                    <a:gd name="connsiteX0" fmla="*/ 4484 w 4483"/>
                    <a:gd name="connsiteY0" fmla="*/ 52065 h 52065"/>
                    <a:gd name="connsiteX1" fmla="*/ 1121 w 4483"/>
                    <a:gd name="connsiteY1" fmla="*/ 33506 h 52065"/>
                    <a:gd name="connsiteX2" fmla="*/ 3363 w 4483"/>
                    <a:gd name="connsiteY2" fmla="*/ 16192 h 52065"/>
                    <a:gd name="connsiteX3" fmla="*/ 0 w 4483"/>
                    <a:gd name="connsiteY3" fmla="*/ 0 h 52065"/>
                  </a:gdLst>
                  <a:ahLst/>
                  <a:cxnLst>
                    <a:cxn ang="0">
                      <a:pos x="connsiteX0" y="connsiteY0"/>
                    </a:cxn>
                    <a:cxn ang="0">
                      <a:pos x="connsiteX1" y="connsiteY1"/>
                    </a:cxn>
                    <a:cxn ang="0">
                      <a:pos x="connsiteX2" y="connsiteY2"/>
                    </a:cxn>
                    <a:cxn ang="0">
                      <a:pos x="connsiteX3" y="connsiteY3"/>
                    </a:cxn>
                  </a:cxnLst>
                  <a:rect l="l" t="t" r="r" b="b"/>
                  <a:pathLst>
                    <a:path w="4483" h="52065">
                      <a:moveTo>
                        <a:pt x="4484" y="52065"/>
                      </a:moveTo>
                      <a:cubicBezTo>
                        <a:pt x="1495" y="44218"/>
                        <a:pt x="997" y="37866"/>
                        <a:pt x="1121" y="33506"/>
                      </a:cubicBezTo>
                      <a:cubicBezTo>
                        <a:pt x="1370" y="26531"/>
                        <a:pt x="3363" y="23292"/>
                        <a:pt x="3363" y="16192"/>
                      </a:cubicBezTo>
                      <a:cubicBezTo>
                        <a:pt x="3363" y="9342"/>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9" name="Freeform 4834">
                  <a:extLst>
                    <a:ext uri="{FF2B5EF4-FFF2-40B4-BE49-F238E27FC236}">
                      <a16:creationId xmlns:a16="http://schemas.microsoft.com/office/drawing/2014/main" id="{D65B2840-C381-DBEC-4402-E5DF09086FE2}"/>
                    </a:ext>
                  </a:extLst>
                </p:cNvPr>
                <p:cNvSpPr/>
                <p:nvPr/>
              </p:nvSpPr>
              <p:spPr>
                <a:xfrm>
                  <a:off x="7499462" y="5579105"/>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40"/>
                        <a:pt x="14231" y="26438"/>
                      </a:cubicBezTo>
                      <a:cubicBezTo>
                        <a:pt x="6882" y="26936"/>
                        <a:pt x="529" y="21580"/>
                        <a:pt x="32" y="14231"/>
                      </a:cubicBezTo>
                      <a:cubicBezTo>
                        <a:pt x="-467" y="6882"/>
                        <a:pt x="5013" y="530"/>
                        <a:pt x="12363" y="31"/>
                      </a:cubicBezTo>
                      <a:cubicBezTo>
                        <a:pt x="19711" y="-467"/>
                        <a:pt x="26064"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0" name="Freeform 4835">
                  <a:extLst>
                    <a:ext uri="{FF2B5EF4-FFF2-40B4-BE49-F238E27FC236}">
                      <a16:creationId xmlns:a16="http://schemas.microsoft.com/office/drawing/2014/main" id="{1A086E05-1E03-3707-8B67-12C32459CDEC}"/>
                    </a:ext>
                  </a:extLst>
                </p:cNvPr>
                <p:cNvSpPr/>
                <p:nvPr/>
              </p:nvSpPr>
              <p:spPr>
                <a:xfrm>
                  <a:off x="7520130" y="5655117"/>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4"/>
                        <a:pt x="5769" y="37492"/>
                        <a:pt x="5021" y="33257"/>
                      </a:cubicBezTo>
                      <a:cubicBezTo>
                        <a:pt x="3775" y="26406"/>
                        <a:pt x="1409" y="23542"/>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1" name="Freeform 4836">
                  <a:extLst>
                    <a:ext uri="{FF2B5EF4-FFF2-40B4-BE49-F238E27FC236}">
                      <a16:creationId xmlns:a16="http://schemas.microsoft.com/office/drawing/2014/main" id="{237D7A65-421F-77A8-9A0C-DD180BA2DB76}"/>
                    </a:ext>
                  </a:extLst>
                </p:cNvPr>
                <p:cNvSpPr/>
                <p:nvPr/>
              </p:nvSpPr>
              <p:spPr>
                <a:xfrm>
                  <a:off x="7513443" y="5660722"/>
                  <a:ext cx="4608" cy="52065"/>
                </a:xfrm>
                <a:custGeom>
                  <a:avLst/>
                  <a:gdLst>
                    <a:gd name="connsiteX0" fmla="*/ 0 w 4608"/>
                    <a:gd name="connsiteY0" fmla="*/ 0 h 52065"/>
                    <a:gd name="connsiteX1" fmla="*/ 3363 w 4608"/>
                    <a:gd name="connsiteY1" fmla="*/ 18559 h 52065"/>
                    <a:gd name="connsiteX2" fmla="*/ 1245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2989" y="7847"/>
                        <a:pt x="3487" y="14199"/>
                        <a:pt x="3363" y="18559"/>
                      </a:cubicBezTo>
                      <a:cubicBezTo>
                        <a:pt x="3114" y="25534"/>
                        <a:pt x="1245" y="28773"/>
                        <a:pt x="1245" y="35873"/>
                      </a:cubicBezTo>
                      <a:cubicBezTo>
                        <a:pt x="1245" y="42723"/>
                        <a:pt x="3114" y="48453"/>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2" name="Freeform 4837">
                  <a:extLst>
                    <a:ext uri="{FF2B5EF4-FFF2-40B4-BE49-F238E27FC236}">
                      <a16:creationId xmlns:a16="http://schemas.microsoft.com/office/drawing/2014/main" id="{A274C57D-1AA8-7062-9B65-45A8E82241B2}"/>
                    </a:ext>
                  </a:extLst>
                </p:cNvPr>
                <p:cNvSpPr/>
                <p:nvPr/>
              </p:nvSpPr>
              <p:spPr>
                <a:xfrm>
                  <a:off x="7508305" y="5701296"/>
                  <a:ext cx="26344" cy="26469"/>
                </a:xfrm>
                <a:custGeom>
                  <a:avLst/>
                  <a:gdLst>
                    <a:gd name="connsiteX0" fmla="*/ 31 w 26344"/>
                    <a:gd name="connsiteY0" fmla="*/ 14231 h 26469"/>
                    <a:gd name="connsiteX1" fmla="*/ 12239 w 26344"/>
                    <a:gd name="connsiteY1" fmla="*/ 31 h 26469"/>
                    <a:gd name="connsiteX2" fmla="*/ 26313 w 26344"/>
                    <a:gd name="connsiteY2" fmla="*/ 12238 h 26469"/>
                    <a:gd name="connsiteX3" fmla="*/ 14106 w 26344"/>
                    <a:gd name="connsiteY3" fmla="*/ 26438 h 26469"/>
                    <a:gd name="connsiteX4" fmla="*/ 31 w 26344"/>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1" y="14231"/>
                      </a:moveTo>
                      <a:cubicBezTo>
                        <a:pt x="-467" y="6882"/>
                        <a:pt x="5014" y="530"/>
                        <a:pt x="12239" y="31"/>
                      </a:cubicBezTo>
                      <a:cubicBezTo>
                        <a:pt x="19462" y="-467"/>
                        <a:pt x="25815" y="5014"/>
                        <a:pt x="26313" y="12238"/>
                      </a:cubicBezTo>
                      <a:cubicBezTo>
                        <a:pt x="26812" y="19587"/>
                        <a:pt x="21331" y="25940"/>
                        <a:pt x="14106" y="26438"/>
                      </a:cubicBezTo>
                      <a:cubicBezTo>
                        <a:pt x="6882" y="26936"/>
                        <a:pt x="530" y="21455"/>
                        <a:pt x="31"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3" name="Graphic 2987">
                <a:extLst>
                  <a:ext uri="{FF2B5EF4-FFF2-40B4-BE49-F238E27FC236}">
                    <a16:creationId xmlns:a16="http://schemas.microsoft.com/office/drawing/2014/main" id="{71A9DECC-60CD-6526-3B50-0FC14B9DC6F4}"/>
                  </a:ext>
                </a:extLst>
              </p:cNvPr>
              <p:cNvGrpSpPr/>
              <p:nvPr/>
            </p:nvGrpSpPr>
            <p:grpSpPr>
              <a:xfrm>
                <a:off x="7529106" y="5576972"/>
                <a:ext cx="34814" cy="148551"/>
                <a:chOff x="7529106" y="5576972"/>
                <a:chExt cx="34814" cy="148551"/>
              </a:xfrm>
              <a:grpFill/>
            </p:grpSpPr>
            <p:sp>
              <p:nvSpPr>
                <p:cNvPr id="4661" name="Freeform 4839">
                  <a:extLst>
                    <a:ext uri="{FF2B5EF4-FFF2-40B4-BE49-F238E27FC236}">
                      <a16:creationId xmlns:a16="http://schemas.microsoft.com/office/drawing/2014/main" id="{B6C7E6CA-4108-CD29-C3EA-B5330AEA5EE3}"/>
                    </a:ext>
                  </a:extLst>
                </p:cNvPr>
                <p:cNvSpPr/>
                <p:nvPr/>
              </p:nvSpPr>
              <p:spPr>
                <a:xfrm>
                  <a:off x="7537885" y="5597447"/>
                  <a:ext cx="5739" cy="52065"/>
                </a:xfrm>
                <a:custGeom>
                  <a:avLst/>
                  <a:gdLst>
                    <a:gd name="connsiteX0" fmla="*/ 1342 w 5739"/>
                    <a:gd name="connsiteY0" fmla="*/ 0 h 52065"/>
                    <a:gd name="connsiteX1" fmla="*/ 718 w 5739"/>
                    <a:gd name="connsiteY1" fmla="*/ 18808 h 52065"/>
                    <a:gd name="connsiteX2" fmla="*/ 5327 w 5739"/>
                    <a:gd name="connsiteY2" fmla="*/ 35624 h 52065"/>
                    <a:gd name="connsiteX3" fmla="*/ 4331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2" y="0"/>
                      </a:moveTo>
                      <a:cubicBezTo>
                        <a:pt x="-527" y="8221"/>
                        <a:pt x="-154" y="14573"/>
                        <a:pt x="718" y="18808"/>
                      </a:cubicBezTo>
                      <a:cubicBezTo>
                        <a:pt x="1964" y="25659"/>
                        <a:pt x="4331" y="28524"/>
                        <a:pt x="5327" y="35624"/>
                      </a:cubicBezTo>
                      <a:cubicBezTo>
                        <a:pt x="6323" y="42474"/>
                        <a:pt x="5327" y="48328"/>
                        <a:pt x="43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2" name="Freeform 4840">
                  <a:extLst>
                    <a:ext uri="{FF2B5EF4-FFF2-40B4-BE49-F238E27FC236}">
                      <a16:creationId xmlns:a16="http://schemas.microsoft.com/office/drawing/2014/main" id="{DAF89C54-477C-D6EA-B394-1B5DED04192F}"/>
                    </a:ext>
                  </a:extLst>
                </p:cNvPr>
                <p:cNvSpPr/>
                <p:nvPr/>
              </p:nvSpPr>
              <p:spPr>
                <a:xfrm>
                  <a:off x="7545953" y="5591842"/>
                  <a:ext cx="4234" cy="52065"/>
                </a:xfrm>
                <a:custGeom>
                  <a:avLst/>
                  <a:gdLst>
                    <a:gd name="connsiteX0" fmla="*/ 4235 w 4234"/>
                    <a:gd name="connsiteY0" fmla="*/ 52065 h 52065"/>
                    <a:gd name="connsiteX1" fmla="*/ 997 w 4234"/>
                    <a:gd name="connsiteY1" fmla="*/ 33506 h 52065"/>
                    <a:gd name="connsiteX2" fmla="*/ 3239 w 4234"/>
                    <a:gd name="connsiteY2" fmla="*/ 16192 h 52065"/>
                    <a:gd name="connsiteX3" fmla="*/ 0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52065"/>
                      </a:moveTo>
                      <a:cubicBezTo>
                        <a:pt x="1245" y="44218"/>
                        <a:pt x="747" y="37865"/>
                        <a:pt x="997" y="33506"/>
                      </a:cubicBezTo>
                      <a:cubicBezTo>
                        <a:pt x="1245" y="26530"/>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3" name="Freeform 4841">
                  <a:extLst>
                    <a:ext uri="{FF2B5EF4-FFF2-40B4-BE49-F238E27FC236}">
                      <a16:creationId xmlns:a16="http://schemas.microsoft.com/office/drawing/2014/main" id="{AE1BE654-29D1-93F6-5106-86A098C75FE4}"/>
                    </a:ext>
                  </a:extLst>
                </p:cNvPr>
                <p:cNvSpPr/>
                <p:nvPr/>
              </p:nvSpPr>
              <p:spPr>
                <a:xfrm>
                  <a:off x="7529106" y="5576972"/>
                  <a:ext cx="26593" cy="26485"/>
                </a:xfrm>
                <a:custGeom>
                  <a:avLst/>
                  <a:gdLst>
                    <a:gd name="connsiteX0" fmla="*/ 26562 w 26593"/>
                    <a:gd name="connsiteY0" fmla="*/ 12378 h 26485"/>
                    <a:gd name="connsiteX1" fmla="*/ 14231 w 26593"/>
                    <a:gd name="connsiteY1" fmla="*/ 26453 h 26485"/>
                    <a:gd name="connsiteX2" fmla="*/ 31 w 26593"/>
                    <a:gd name="connsiteY2" fmla="*/ 14247 h 26485"/>
                    <a:gd name="connsiteX3" fmla="*/ 12363 w 26593"/>
                    <a:gd name="connsiteY3" fmla="*/ 47 h 26485"/>
                    <a:gd name="connsiteX4" fmla="*/ 26562 w 26593"/>
                    <a:gd name="connsiteY4" fmla="*/ 12378 h 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85">
                      <a:moveTo>
                        <a:pt x="26562" y="12378"/>
                      </a:moveTo>
                      <a:cubicBezTo>
                        <a:pt x="27061" y="19727"/>
                        <a:pt x="21580" y="25955"/>
                        <a:pt x="14231" y="26453"/>
                      </a:cubicBezTo>
                      <a:cubicBezTo>
                        <a:pt x="6883" y="26952"/>
                        <a:pt x="530" y="21596"/>
                        <a:pt x="31" y="14247"/>
                      </a:cubicBezTo>
                      <a:cubicBezTo>
                        <a:pt x="-467" y="6898"/>
                        <a:pt x="5014" y="545"/>
                        <a:pt x="12363" y="47"/>
                      </a:cubicBezTo>
                      <a:cubicBezTo>
                        <a:pt x="19712" y="-576"/>
                        <a:pt x="26064" y="5030"/>
                        <a:pt x="26562" y="123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4" name="Freeform 4842">
                  <a:extLst>
                    <a:ext uri="{FF2B5EF4-FFF2-40B4-BE49-F238E27FC236}">
                      <a16:creationId xmlns:a16="http://schemas.microsoft.com/office/drawing/2014/main" id="{5566A774-118D-2E76-5EB0-A52A80B08B87}"/>
                    </a:ext>
                  </a:extLst>
                </p:cNvPr>
                <p:cNvSpPr/>
                <p:nvPr/>
              </p:nvSpPr>
              <p:spPr>
                <a:xfrm>
                  <a:off x="7549526" y="5652875"/>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09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5" y="26406"/>
                        <a:pt x="1409" y="23417"/>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5" name="Freeform 4843">
                  <a:extLst>
                    <a:ext uri="{FF2B5EF4-FFF2-40B4-BE49-F238E27FC236}">
                      <a16:creationId xmlns:a16="http://schemas.microsoft.com/office/drawing/2014/main" id="{AB8E9F97-0F73-87E2-CC64-660EDD482B29}"/>
                    </a:ext>
                  </a:extLst>
                </p:cNvPr>
                <p:cNvSpPr/>
                <p:nvPr/>
              </p:nvSpPr>
              <p:spPr>
                <a:xfrm>
                  <a:off x="7542964" y="5658480"/>
                  <a:ext cx="4234" cy="52065"/>
                </a:xfrm>
                <a:custGeom>
                  <a:avLst/>
                  <a:gdLst>
                    <a:gd name="connsiteX0" fmla="*/ 0 w 4234"/>
                    <a:gd name="connsiteY0" fmla="*/ 0 h 52065"/>
                    <a:gd name="connsiteX1" fmla="*/ 3239 w 4234"/>
                    <a:gd name="connsiteY1" fmla="*/ 18559 h 52065"/>
                    <a:gd name="connsiteX2" fmla="*/ 996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487" y="14200"/>
                        <a:pt x="3239" y="18559"/>
                      </a:cubicBezTo>
                      <a:cubicBezTo>
                        <a:pt x="2989" y="25535"/>
                        <a:pt x="996" y="28773"/>
                        <a:pt x="996" y="35873"/>
                      </a:cubicBezTo>
                      <a:cubicBezTo>
                        <a:pt x="996" y="42724"/>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6" name="Freeform 4844">
                  <a:extLst>
                    <a:ext uri="{FF2B5EF4-FFF2-40B4-BE49-F238E27FC236}">
                      <a16:creationId xmlns:a16="http://schemas.microsoft.com/office/drawing/2014/main" id="{E8B9F294-2D16-42EF-CBAA-B08BAAC2C2A4}"/>
                    </a:ext>
                  </a:extLst>
                </p:cNvPr>
                <p:cNvSpPr/>
                <p:nvPr/>
              </p:nvSpPr>
              <p:spPr>
                <a:xfrm>
                  <a:off x="7537576" y="5699055"/>
                  <a:ext cx="26344" cy="26468"/>
                </a:xfrm>
                <a:custGeom>
                  <a:avLst/>
                  <a:gdLst>
                    <a:gd name="connsiteX0" fmla="*/ 32 w 26344"/>
                    <a:gd name="connsiteY0" fmla="*/ 14231 h 26468"/>
                    <a:gd name="connsiteX1" fmla="*/ 12238 w 26344"/>
                    <a:gd name="connsiteY1" fmla="*/ 31 h 26468"/>
                    <a:gd name="connsiteX2" fmla="*/ 26313 w 26344"/>
                    <a:gd name="connsiteY2" fmla="*/ 12362 h 26468"/>
                    <a:gd name="connsiteX3" fmla="*/ 14107 w 26344"/>
                    <a:gd name="connsiteY3" fmla="*/ 26437 h 26468"/>
                    <a:gd name="connsiteX4" fmla="*/ 32 w 26344"/>
                    <a:gd name="connsiteY4" fmla="*/ 14231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8">
                      <a:moveTo>
                        <a:pt x="32" y="14231"/>
                      </a:moveTo>
                      <a:cubicBezTo>
                        <a:pt x="-467" y="6882"/>
                        <a:pt x="5013" y="529"/>
                        <a:pt x="12238" y="31"/>
                      </a:cubicBezTo>
                      <a:cubicBezTo>
                        <a:pt x="19462" y="-468"/>
                        <a:pt x="25814" y="5138"/>
                        <a:pt x="26313" y="12362"/>
                      </a:cubicBezTo>
                      <a:cubicBezTo>
                        <a:pt x="26811" y="19711"/>
                        <a:pt x="21330" y="25939"/>
                        <a:pt x="14107" y="26437"/>
                      </a:cubicBezTo>
                      <a:cubicBezTo>
                        <a:pt x="6882" y="26935"/>
                        <a:pt x="654"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4" name="Graphic 2987">
                <a:extLst>
                  <a:ext uri="{FF2B5EF4-FFF2-40B4-BE49-F238E27FC236}">
                    <a16:creationId xmlns:a16="http://schemas.microsoft.com/office/drawing/2014/main" id="{57AC5C84-05B2-A63B-28B2-33E02988BBFE}"/>
                  </a:ext>
                </a:extLst>
              </p:cNvPr>
              <p:cNvGrpSpPr/>
              <p:nvPr/>
            </p:nvGrpSpPr>
            <p:grpSpPr>
              <a:xfrm>
                <a:off x="7558627" y="5574996"/>
                <a:ext cx="34688" cy="148770"/>
                <a:chOff x="7558627" y="5574996"/>
                <a:chExt cx="34688" cy="148770"/>
              </a:xfrm>
              <a:grpFill/>
            </p:grpSpPr>
            <p:sp>
              <p:nvSpPr>
                <p:cNvPr id="4655" name="Freeform 4846">
                  <a:extLst>
                    <a:ext uri="{FF2B5EF4-FFF2-40B4-BE49-F238E27FC236}">
                      <a16:creationId xmlns:a16="http://schemas.microsoft.com/office/drawing/2014/main" id="{4F2524D1-60E2-185E-C0CE-7262D12FAD3A}"/>
                    </a:ext>
                  </a:extLst>
                </p:cNvPr>
                <p:cNvSpPr/>
                <p:nvPr/>
              </p:nvSpPr>
              <p:spPr>
                <a:xfrm>
                  <a:off x="7567468" y="5595578"/>
                  <a:ext cx="5653" cy="52065"/>
                </a:xfrm>
                <a:custGeom>
                  <a:avLst/>
                  <a:gdLst>
                    <a:gd name="connsiteX0" fmla="*/ 1403 w 5653"/>
                    <a:gd name="connsiteY0" fmla="*/ 0 h 52065"/>
                    <a:gd name="connsiteX1" fmla="*/ 656 w 5653"/>
                    <a:gd name="connsiteY1" fmla="*/ 18808 h 52065"/>
                    <a:gd name="connsiteX2" fmla="*/ 5265 w 5653"/>
                    <a:gd name="connsiteY2" fmla="*/ 35624 h 52065"/>
                    <a:gd name="connsiteX3" fmla="*/ 4144 w 56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3" h="52065">
                      <a:moveTo>
                        <a:pt x="1403" y="0"/>
                      </a:moveTo>
                      <a:cubicBezTo>
                        <a:pt x="-589" y="8221"/>
                        <a:pt x="-91" y="14449"/>
                        <a:pt x="656" y="18808"/>
                      </a:cubicBezTo>
                      <a:cubicBezTo>
                        <a:pt x="1902" y="25659"/>
                        <a:pt x="4269" y="28648"/>
                        <a:pt x="5265" y="35624"/>
                      </a:cubicBezTo>
                      <a:cubicBezTo>
                        <a:pt x="6261" y="42474"/>
                        <a:pt x="5141" y="48328"/>
                        <a:pt x="414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6" name="Freeform 4847">
                  <a:extLst>
                    <a:ext uri="{FF2B5EF4-FFF2-40B4-BE49-F238E27FC236}">
                      <a16:creationId xmlns:a16="http://schemas.microsoft.com/office/drawing/2014/main" id="{ACAD4521-DEAD-2101-B4E5-7CC6A397F551}"/>
                    </a:ext>
                  </a:extLst>
                </p:cNvPr>
                <p:cNvSpPr/>
                <p:nvPr/>
              </p:nvSpPr>
              <p:spPr>
                <a:xfrm>
                  <a:off x="7575473" y="5590098"/>
                  <a:ext cx="4235" cy="52065"/>
                </a:xfrm>
                <a:custGeom>
                  <a:avLst/>
                  <a:gdLst>
                    <a:gd name="connsiteX0" fmla="*/ 4235 w 4235"/>
                    <a:gd name="connsiteY0" fmla="*/ 52065 h 52065"/>
                    <a:gd name="connsiteX1" fmla="*/ 997 w 4235"/>
                    <a:gd name="connsiteY1" fmla="*/ 33506 h 52065"/>
                    <a:gd name="connsiteX2" fmla="*/ 3239 w 4235"/>
                    <a:gd name="connsiteY2" fmla="*/ 16193 h 52065"/>
                    <a:gd name="connsiteX3" fmla="*/ 0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4235" y="52065"/>
                      </a:moveTo>
                      <a:cubicBezTo>
                        <a:pt x="1245" y="44218"/>
                        <a:pt x="872" y="37866"/>
                        <a:pt x="997" y="33506"/>
                      </a:cubicBezTo>
                      <a:cubicBezTo>
                        <a:pt x="1370" y="26531"/>
                        <a:pt x="3239"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7" name="Freeform 4848">
                  <a:extLst>
                    <a:ext uri="{FF2B5EF4-FFF2-40B4-BE49-F238E27FC236}">
                      <a16:creationId xmlns:a16="http://schemas.microsoft.com/office/drawing/2014/main" id="{5C4DA3CF-2EC3-F7B3-BEEE-95152C642123}"/>
                    </a:ext>
                  </a:extLst>
                </p:cNvPr>
                <p:cNvSpPr/>
                <p:nvPr/>
              </p:nvSpPr>
              <p:spPr>
                <a:xfrm>
                  <a:off x="7558627" y="5574996"/>
                  <a:ext cx="26716" cy="26592"/>
                </a:xfrm>
                <a:custGeom>
                  <a:avLst/>
                  <a:gdLst>
                    <a:gd name="connsiteX0" fmla="*/ 26686 w 26716"/>
                    <a:gd name="connsiteY0" fmla="*/ 12487 h 26592"/>
                    <a:gd name="connsiteX1" fmla="*/ 14230 w 26716"/>
                    <a:gd name="connsiteY1" fmla="*/ 26562 h 26592"/>
                    <a:gd name="connsiteX2" fmla="*/ 31 w 26716"/>
                    <a:gd name="connsiteY2" fmla="*/ 14106 h 26592"/>
                    <a:gd name="connsiteX3" fmla="*/ 12487 w 26716"/>
                    <a:gd name="connsiteY3" fmla="*/ 31 h 26592"/>
                    <a:gd name="connsiteX4" fmla="*/ 26686 w 26716"/>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92">
                      <a:moveTo>
                        <a:pt x="26686" y="12487"/>
                      </a:moveTo>
                      <a:cubicBezTo>
                        <a:pt x="27184" y="19835"/>
                        <a:pt x="21579" y="26063"/>
                        <a:pt x="14230" y="26562"/>
                      </a:cubicBezTo>
                      <a:cubicBezTo>
                        <a:pt x="6881" y="27060"/>
                        <a:pt x="529" y="21455"/>
                        <a:pt x="31" y="14106"/>
                      </a:cubicBezTo>
                      <a:cubicBezTo>
                        <a:pt x="-468" y="6757"/>
                        <a:pt x="5137" y="529"/>
                        <a:pt x="12487" y="31"/>
                      </a:cubicBezTo>
                      <a:cubicBezTo>
                        <a:pt x="19835" y="-468"/>
                        <a:pt x="26188" y="5138"/>
                        <a:pt x="26686"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8" name="Freeform 4849">
                  <a:extLst>
                    <a:ext uri="{FF2B5EF4-FFF2-40B4-BE49-F238E27FC236}">
                      <a16:creationId xmlns:a16="http://schemas.microsoft.com/office/drawing/2014/main" id="{03455506-01C8-0957-075C-1AB00E389D56}"/>
                    </a:ext>
                  </a:extLst>
                </p:cNvPr>
                <p:cNvSpPr/>
                <p:nvPr/>
              </p:nvSpPr>
              <p:spPr>
                <a:xfrm>
                  <a:off x="7579195" y="5651131"/>
                  <a:ext cx="5484" cy="52065"/>
                </a:xfrm>
                <a:custGeom>
                  <a:avLst/>
                  <a:gdLst>
                    <a:gd name="connsiteX0" fmla="*/ 4125 w 5484"/>
                    <a:gd name="connsiteY0" fmla="*/ 52065 h 52065"/>
                    <a:gd name="connsiteX1" fmla="*/ 4872 w 5484"/>
                    <a:gd name="connsiteY1" fmla="*/ 33257 h 52065"/>
                    <a:gd name="connsiteX2" fmla="*/ 388 w 5484"/>
                    <a:gd name="connsiteY2" fmla="*/ 16442 h 52065"/>
                    <a:gd name="connsiteX3" fmla="*/ 1509 w 5484"/>
                    <a:gd name="connsiteY3" fmla="*/ 0 h 52065"/>
                  </a:gdLst>
                  <a:ahLst/>
                  <a:cxnLst>
                    <a:cxn ang="0">
                      <a:pos x="connsiteX0" y="connsiteY0"/>
                    </a:cxn>
                    <a:cxn ang="0">
                      <a:pos x="connsiteX1" y="connsiteY1"/>
                    </a:cxn>
                    <a:cxn ang="0">
                      <a:pos x="connsiteX2" y="connsiteY2"/>
                    </a:cxn>
                    <a:cxn ang="0">
                      <a:pos x="connsiteX3" y="connsiteY3"/>
                    </a:cxn>
                  </a:cxnLst>
                  <a:rect l="l" t="t" r="r" b="b"/>
                  <a:pathLst>
                    <a:path w="5484" h="52065">
                      <a:moveTo>
                        <a:pt x="4125" y="52065"/>
                      </a:moveTo>
                      <a:cubicBezTo>
                        <a:pt x="5993" y="43845"/>
                        <a:pt x="5620" y="37617"/>
                        <a:pt x="4872" y="33257"/>
                      </a:cubicBezTo>
                      <a:cubicBezTo>
                        <a:pt x="3627" y="26406"/>
                        <a:pt x="1260" y="23417"/>
                        <a:pt x="388" y="16442"/>
                      </a:cubicBezTo>
                      <a:cubicBezTo>
                        <a:pt x="-608" y="9591"/>
                        <a:pt x="513" y="3737"/>
                        <a:pt x="1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9" name="Freeform 4850">
                  <a:extLst>
                    <a:ext uri="{FF2B5EF4-FFF2-40B4-BE49-F238E27FC236}">
                      <a16:creationId xmlns:a16="http://schemas.microsoft.com/office/drawing/2014/main" id="{2200E8AB-E815-FDF4-8A77-EF4FA054B7B9}"/>
                    </a:ext>
                  </a:extLst>
                </p:cNvPr>
                <p:cNvSpPr/>
                <p:nvPr/>
              </p:nvSpPr>
              <p:spPr>
                <a:xfrm>
                  <a:off x="7572484" y="5656612"/>
                  <a:ext cx="4234" cy="52065"/>
                </a:xfrm>
                <a:custGeom>
                  <a:avLst/>
                  <a:gdLst>
                    <a:gd name="connsiteX0" fmla="*/ 0 w 4234"/>
                    <a:gd name="connsiteY0" fmla="*/ 0 h 52065"/>
                    <a:gd name="connsiteX1" fmla="*/ 3239 w 4234"/>
                    <a:gd name="connsiteY1" fmla="*/ 18559 h 52065"/>
                    <a:gd name="connsiteX2" fmla="*/ 997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363" y="14200"/>
                        <a:pt x="3239" y="18559"/>
                      </a:cubicBezTo>
                      <a:cubicBezTo>
                        <a:pt x="2989" y="25535"/>
                        <a:pt x="997" y="28773"/>
                        <a:pt x="997" y="35873"/>
                      </a:cubicBezTo>
                      <a:cubicBezTo>
                        <a:pt x="997" y="42723"/>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0" name="Freeform 4851">
                  <a:extLst>
                    <a:ext uri="{FF2B5EF4-FFF2-40B4-BE49-F238E27FC236}">
                      <a16:creationId xmlns:a16="http://schemas.microsoft.com/office/drawing/2014/main" id="{C26EB9DC-7369-5423-EF45-D1E368A68BBC}"/>
                    </a:ext>
                  </a:extLst>
                </p:cNvPr>
                <p:cNvSpPr/>
                <p:nvPr/>
              </p:nvSpPr>
              <p:spPr>
                <a:xfrm>
                  <a:off x="7566972" y="5697187"/>
                  <a:ext cx="26344" cy="26579"/>
                </a:xfrm>
                <a:custGeom>
                  <a:avLst/>
                  <a:gdLst>
                    <a:gd name="connsiteX0" fmla="*/ 32 w 26344"/>
                    <a:gd name="connsiteY0" fmla="*/ 14106 h 26579"/>
                    <a:gd name="connsiteX1" fmla="*/ 12238 w 26344"/>
                    <a:gd name="connsiteY1" fmla="*/ 31 h 26579"/>
                    <a:gd name="connsiteX2" fmla="*/ 26313 w 26344"/>
                    <a:gd name="connsiteY2" fmla="*/ 12487 h 26579"/>
                    <a:gd name="connsiteX3" fmla="*/ 14107 w 26344"/>
                    <a:gd name="connsiteY3" fmla="*/ 26562 h 26579"/>
                    <a:gd name="connsiteX4" fmla="*/ 32 w 26344"/>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79">
                      <a:moveTo>
                        <a:pt x="32" y="14106"/>
                      </a:moveTo>
                      <a:cubicBezTo>
                        <a:pt x="-467" y="6757"/>
                        <a:pt x="5013" y="529"/>
                        <a:pt x="12238" y="31"/>
                      </a:cubicBezTo>
                      <a:cubicBezTo>
                        <a:pt x="19462" y="-468"/>
                        <a:pt x="25815" y="5138"/>
                        <a:pt x="26313" y="12487"/>
                      </a:cubicBezTo>
                      <a:cubicBezTo>
                        <a:pt x="26811" y="19835"/>
                        <a:pt x="21330" y="26063"/>
                        <a:pt x="14107" y="26562"/>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5" name="Graphic 2987">
                <a:extLst>
                  <a:ext uri="{FF2B5EF4-FFF2-40B4-BE49-F238E27FC236}">
                    <a16:creationId xmlns:a16="http://schemas.microsoft.com/office/drawing/2014/main" id="{C96DDBCA-7DAC-A332-1582-1052B731C490}"/>
                  </a:ext>
                </a:extLst>
              </p:cNvPr>
              <p:cNvGrpSpPr/>
              <p:nvPr/>
            </p:nvGrpSpPr>
            <p:grpSpPr>
              <a:xfrm>
                <a:off x="7588396" y="5573140"/>
                <a:ext cx="34302" cy="148770"/>
                <a:chOff x="7588396" y="5573140"/>
                <a:chExt cx="34302" cy="148770"/>
              </a:xfrm>
              <a:grpFill/>
            </p:grpSpPr>
            <p:sp>
              <p:nvSpPr>
                <p:cNvPr id="4649" name="Freeform 4853">
                  <a:extLst>
                    <a:ext uri="{FF2B5EF4-FFF2-40B4-BE49-F238E27FC236}">
                      <a16:creationId xmlns:a16="http://schemas.microsoft.com/office/drawing/2014/main" id="{1AB66F04-C81C-5C34-3233-E637A1A173C3}"/>
                    </a:ext>
                  </a:extLst>
                </p:cNvPr>
                <p:cNvSpPr/>
                <p:nvPr/>
              </p:nvSpPr>
              <p:spPr>
                <a:xfrm>
                  <a:off x="7597112" y="5593710"/>
                  <a:ext cx="5474" cy="52065"/>
                </a:xfrm>
                <a:custGeom>
                  <a:avLst/>
                  <a:gdLst>
                    <a:gd name="connsiteX0" fmla="*/ 1403 w 5474"/>
                    <a:gd name="connsiteY0" fmla="*/ 0 h 52065"/>
                    <a:gd name="connsiteX1" fmla="*/ 656 w 5474"/>
                    <a:gd name="connsiteY1" fmla="*/ 18808 h 52065"/>
                    <a:gd name="connsiteX2" fmla="*/ 5141 w 5474"/>
                    <a:gd name="connsiteY2" fmla="*/ 35623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3" y="0"/>
                      </a:moveTo>
                      <a:cubicBezTo>
                        <a:pt x="-589" y="8221"/>
                        <a:pt x="-91" y="14449"/>
                        <a:pt x="656" y="18808"/>
                      </a:cubicBezTo>
                      <a:cubicBezTo>
                        <a:pt x="1902" y="25659"/>
                        <a:pt x="4269" y="28648"/>
                        <a:pt x="5141" y="35623"/>
                      </a:cubicBezTo>
                      <a:cubicBezTo>
                        <a:pt x="6012"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0" name="Freeform 4854">
                  <a:extLst>
                    <a:ext uri="{FF2B5EF4-FFF2-40B4-BE49-F238E27FC236}">
                      <a16:creationId xmlns:a16="http://schemas.microsoft.com/office/drawing/2014/main" id="{4AFBFDBB-EE58-0B16-874C-B7D8E33A65D0}"/>
                    </a:ext>
                  </a:extLst>
                </p:cNvPr>
                <p:cNvSpPr/>
                <p:nvPr/>
              </p:nvSpPr>
              <p:spPr>
                <a:xfrm>
                  <a:off x="7605367" y="5588230"/>
                  <a:ext cx="3985" cy="52065"/>
                </a:xfrm>
                <a:custGeom>
                  <a:avLst/>
                  <a:gdLst>
                    <a:gd name="connsiteX0" fmla="*/ 3985 w 3985"/>
                    <a:gd name="connsiteY0" fmla="*/ 52065 h 52065"/>
                    <a:gd name="connsiteX1" fmla="*/ 871 w 3985"/>
                    <a:gd name="connsiteY1" fmla="*/ 33506 h 52065"/>
                    <a:gd name="connsiteX2" fmla="*/ 3238 w 3985"/>
                    <a:gd name="connsiteY2" fmla="*/ 16192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5" y="52065"/>
                      </a:moveTo>
                      <a:cubicBezTo>
                        <a:pt x="996" y="44218"/>
                        <a:pt x="623" y="37866"/>
                        <a:pt x="871" y="33506"/>
                      </a:cubicBezTo>
                      <a:cubicBezTo>
                        <a:pt x="1245" y="26531"/>
                        <a:pt x="3114" y="23292"/>
                        <a:pt x="3238"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1" name="Freeform 4855">
                  <a:extLst>
                    <a:ext uri="{FF2B5EF4-FFF2-40B4-BE49-F238E27FC236}">
                      <a16:creationId xmlns:a16="http://schemas.microsoft.com/office/drawing/2014/main" id="{7F6F5479-44D2-247D-2AA1-164FE0298C1A}"/>
                    </a:ext>
                  </a:extLst>
                </p:cNvPr>
                <p:cNvSpPr/>
                <p:nvPr/>
              </p:nvSpPr>
              <p:spPr>
                <a:xfrm>
                  <a:off x="7588396" y="5573140"/>
                  <a:ext cx="26592" cy="26579"/>
                </a:xfrm>
                <a:custGeom>
                  <a:avLst/>
                  <a:gdLst>
                    <a:gd name="connsiteX0" fmla="*/ 26562 w 26592"/>
                    <a:gd name="connsiteY0" fmla="*/ 12474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4"/>
                      </a:moveTo>
                      <a:cubicBezTo>
                        <a:pt x="27060" y="19823"/>
                        <a:pt x="21455" y="26051"/>
                        <a:pt x="14106" y="26548"/>
                      </a:cubicBezTo>
                      <a:cubicBezTo>
                        <a:pt x="6757" y="27047"/>
                        <a:pt x="405" y="21442"/>
                        <a:pt x="31" y="14093"/>
                      </a:cubicBezTo>
                      <a:cubicBezTo>
                        <a:pt x="-467" y="6744"/>
                        <a:pt x="5138" y="516"/>
                        <a:pt x="12487" y="18"/>
                      </a:cubicBezTo>
                      <a:cubicBezTo>
                        <a:pt x="19836" y="-356"/>
                        <a:pt x="26188" y="5125"/>
                        <a:pt x="26562"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2" name="Freeform 4856">
                  <a:extLst>
                    <a:ext uri="{FF2B5EF4-FFF2-40B4-BE49-F238E27FC236}">
                      <a16:creationId xmlns:a16="http://schemas.microsoft.com/office/drawing/2014/main" id="{401B39A5-F9B3-3C2E-2383-4BE81F696E46}"/>
                    </a:ext>
                  </a:extLst>
                </p:cNvPr>
                <p:cNvSpPr/>
                <p:nvPr/>
              </p:nvSpPr>
              <p:spPr>
                <a:xfrm>
                  <a:off x="7608645" y="5649263"/>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5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331" y="23417"/>
                        <a:pt x="334" y="16442"/>
                      </a:cubicBezTo>
                      <a:cubicBezTo>
                        <a:pt x="-538" y="9591"/>
                        <a:pt x="459" y="3737"/>
                        <a:pt x="1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3" name="Freeform 4857">
                  <a:extLst>
                    <a:ext uri="{FF2B5EF4-FFF2-40B4-BE49-F238E27FC236}">
                      <a16:creationId xmlns:a16="http://schemas.microsoft.com/office/drawing/2014/main" id="{A35E26EE-AF1B-0D28-3B39-82E26B1410EB}"/>
                    </a:ext>
                  </a:extLst>
                </p:cNvPr>
                <p:cNvSpPr/>
                <p:nvPr/>
              </p:nvSpPr>
              <p:spPr>
                <a:xfrm>
                  <a:off x="7602004" y="5654743"/>
                  <a:ext cx="4110" cy="52065"/>
                </a:xfrm>
                <a:custGeom>
                  <a:avLst/>
                  <a:gdLst>
                    <a:gd name="connsiteX0" fmla="*/ 0 w 4110"/>
                    <a:gd name="connsiteY0" fmla="*/ 0 h 52065"/>
                    <a:gd name="connsiteX1" fmla="*/ 3114 w 4110"/>
                    <a:gd name="connsiteY1" fmla="*/ 18559 h 52065"/>
                    <a:gd name="connsiteX2" fmla="*/ 872 w 4110"/>
                    <a:gd name="connsiteY2" fmla="*/ 35873 h 52065"/>
                    <a:gd name="connsiteX3" fmla="*/ 4111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0" y="0"/>
                      </a:moveTo>
                      <a:cubicBezTo>
                        <a:pt x="2989" y="7847"/>
                        <a:pt x="3363" y="14200"/>
                        <a:pt x="3114" y="18559"/>
                      </a:cubicBezTo>
                      <a:cubicBezTo>
                        <a:pt x="2740" y="25534"/>
                        <a:pt x="872" y="28773"/>
                        <a:pt x="872" y="35873"/>
                      </a:cubicBezTo>
                      <a:cubicBezTo>
                        <a:pt x="872" y="42723"/>
                        <a:pt x="2616" y="48453"/>
                        <a:pt x="411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4" name="Freeform 4858">
                  <a:extLst>
                    <a:ext uri="{FF2B5EF4-FFF2-40B4-BE49-F238E27FC236}">
                      <a16:creationId xmlns:a16="http://schemas.microsoft.com/office/drawing/2014/main" id="{E526618B-0944-0E69-2FB7-28DF2C419FFB}"/>
                    </a:ext>
                  </a:extLst>
                </p:cNvPr>
                <p:cNvSpPr/>
                <p:nvPr/>
              </p:nvSpPr>
              <p:spPr>
                <a:xfrm>
                  <a:off x="7596367" y="5695318"/>
                  <a:ext cx="26330" cy="26592"/>
                </a:xfrm>
                <a:custGeom>
                  <a:avLst/>
                  <a:gdLst>
                    <a:gd name="connsiteX0" fmla="*/ 31 w 26330"/>
                    <a:gd name="connsiteY0" fmla="*/ 14106 h 26592"/>
                    <a:gd name="connsiteX1" fmla="*/ 12362 w 26330"/>
                    <a:gd name="connsiteY1" fmla="*/ 31 h 26592"/>
                    <a:gd name="connsiteX2" fmla="*/ 26313 w 26330"/>
                    <a:gd name="connsiteY2" fmla="*/ 12487 h 26592"/>
                    <a:gd name="connsiteX3" fmla="*/ 13982 w 26330"/>
                    <a:gd name="connsiteY3" fmla="*/ 26562 h 26592"/>
                    <a:gd name="connsiteX4" fmla="*/ 31 w 26330"/>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92">
                      <a:moveTo>
                        <a:pt x="31" y="14106"/>
                      </a:moveTo>
                      <a:cubicBezTo>
                        <a:pt x="-467" y="6757"/>
                        <a:pt x="5014" y="529"/>
                        <a:pt x="12362" y="31"/>
                      </a:cubicBezTo>
                      <a:cubicBezTo>
                        <a:pt x="19587" y="-468"/>
                        <a:pt x="25940" y="5138"/>
                        <a:pt x="26313" y="12487"/>
                      </a:cubicBezTo>
                      <a:cubicBezTo>
                        <a:pt x="26687" y="19835"/>
                        <a:pt x="21206" y="26063"/>
                        <a:pt x="13982" y="26562"/>
                      </a:cubicBezTo>
                      <a:cubicBezTo>
                        <a:pt x="6757"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6" name="Graphic 2987">
                <a:extLst>
                  <a:ext uri="{FF2B5EF4-FFF2-40B4-BE49-F238E27FC236}">
                    <a16:creationId xmlns:a16="http://schemas.microsoft.com/office/drawing/2014/main" id="{3711F662-BE24-B6DA-C37A-56F3435480CA}"/>
                  </a:ext>
                </a:extLst>
              </p:cNvPr>
              <p:cNvGrpSpPr/>
              <p:nvPr/>
            </p:nvGrpSpPr>
            <p:grpSpPr>
              <a:xfrm>
                <a:off x="7618165" y="5571272"/>
                <a:ext cx="33941" cy="148770"/>
                <a:chOff x="7618165" y="5571272"/>
                <a:chExt cx="33941" cy="148770"/>
              </a:xfrm>
              <a:grpFill/>
            </p:grpSpPr>
            <p:sp>
              <p:nvSpPr>
                <p:cNvPr id="4643" name="Freeform 4860">
                  <a:extLst>
                    <a:ext uri="{FF2B5EF4-FFF2-40B4-BE49-F238E27FC236}">
                      <a16:creationId xmlns:a16="http://schemas.microsoft.com/office/drawing/2014/main" id="{DBCD4538-DF55-C146-D4B5-83299539E525}"/>
                    </a:ext>
                  </a:extLst>
                </p:cNvPr>
                <p:cNvSpPr/>
                <p:nvPr/>
              </p:nvSpPr>
              <p:spPr>
                <a:xfrm>
                  <a:off x="7626688" y="5591842"/>
                  <a:ext cx="5419" cy="52065"/>
                </a:xfrm>
                <a:custGeom>
                  <a:avLst/>
                  <a:gdLst>
                    <a:gd name="connsiteX0" fmla="*/ 1472 w 5419"/>
                    <a:gd name="connsiteY0" fmla="*/ 0 h 52065"/>
                    <a:gd name="connsiteX1" fmla="*/ 600 w 5419"/>
                    <a:gd name="connsiteY1" fmla="*/ 18808 h 52065"/>
                    <a:gd name="connsiteX2" fmla="*/ 5085 w 5419"/>
                    <a:gd name="connsiteY2" fmla="*/ 35623 h 52065"/>
                    <a:gd name="connsiteX3" fmla="*/ 3963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1472" y="0"/>
                      </a:moveTo>
                      <a:cubicBezTo>
                        <a:pt x="-520" y="8221"/>
                        <a:pt x="-147" y="14449"/>
                        <a:pt x="600" y="18808"/>
                      </a:cubicBezTo>
                      <a:cubicBezTo>
                        <a:pt x="1846" y="25659"/>
                        <a:pt x="4088" y="28648"/>
                        <a:pt x="5085" y="35623"/>
                      </a:cubicBezTo>
                      <a:cubicBezTo>
                        <a:pt x="5957"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4" name="Freeform 4861">
                  <a:extLst>
                    <a:ext uri="{FF2B5EF4-FFF2-40B4-BE49-F238E27FC236}">
                      <a16:creationId xmlns:a16="http://schemas.microsoft.com/office/drawing/2014/main" id="{910890C7-F62C-D871-B200-7951807EC826}"/>
                    </a:ext>
                  </a:extLst>
                </p:cNvPr>
                <p:cNvSpPr/>
                <p:nvPr/>
              </p:nvSpPr>
              <p:spPr>
                <a:xfrm>
                  <a:off x="7635011" y="5586361"/>
                  <a:ext cx="3862" cy="52065"/>
                </a:xfrm>
                <a:custGeom>
                  <a:avLst/>
                  <a:gdLst>
                    <a:gd name="connsiteX0" fmla="*/ 3862 w 3862"/>
                    <a:gd name="connsiteY0" fmla="*/ 52065 h 52065"/>
                    <a:gd name="connsiteX1" fmla="*/ 748 w 3862"/>
                    <a:gd name="connsiteY1" fmla="*/ 33506 h 52065"/>
                    <a:gd name="connsiteX2" fmla="*/ 3114 w 3862"/>
                    <a:gd name="connsiteY2" fmla="*/ 16192 h 52065"/>
                    <a:gd name="connsiteX3" fmla="*/ 0 w 3862"/>
                    <a:gd name="connsiteY3" fmla="*/ 0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52065"/>
                      </a:moveTo>
                      <a:cubicBezTo>
                        <a:pt x="872" y="44218"/>
                        <a:pt x="499" y="37865"/>
                        <a:pt x="748" y="33506"/>
                      </a:cubicBezTo>
                      <a:cubicBezTo>
                        <a:pt x="1121"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5" name="Freeform 4862">
                  <a:extLst>
                    <a:ext uri="{FF2B5EF4-FFF2-40B4-BE49-F238E27FC236}">
                      <a16:creationId xmlns:a16="http://schemas.microsoft.com/office/drawing/2014/main" id="{67993D45-E2A3-547A-E50C-B569314AAB7F}"/>
                    </a:ext>
                  </a:extLst>
                </p:cNvPr>
                <p:cNvSpPr/>
                <p:nvPr/>
              </p:nvSpPr>
              <p:spPr>
                <a:xfrm>
                  <a:off x="7618165" y="5571272"/>
                  <a:ext cx="26592" cy="26579"/>
                </a:xfrm>
                <a:custGeom>
                  <a:avLst/>
                  <a:gdLst>
                    <a:gd name="connsiteX0" fmla="*/ 26562 w 26592"/>
                    <a:gd name="connsiteY0" fmla="*/ 12473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3"/>
                      </a:moveTo>
                      <a:cubicBezTo>
                        <a:pt x="27060" y="19823"/>
                        <a:pt x="21455" y="26051"/>
                        <a:pt x="14106" y="26548"/>
                      </a:cubicBezTo>
                      <a:cubicBezTo>
                        <a:pt x="6757" y="27047"/>
                        <a:pt x="529" y="21442"/>
                        <a:pt x="31" y="14093"/>
                      </a:cubicBezTo>
                      <a:cubicBezTo>
                        <a:pt x="-467" y="6744"/>
                        <a:pt x="5138" y="516"/>
                        <a:pt x="12487" y="18"/>
                      </a:cubicBezTo>
                      <a:cubicBezTo>
                        <a:pt x="19836" y="-356"/>
                        <a:pt x="26064"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6" name="Freeform 4863">
                  <a:extLst>
                    <a:ext uri="{FF2B5EF4-FFF2-40B4-BE49-F238E27FC236}">
                      <a16:creationId xmlns:a16="http://schemas.microsoft.com/office/drawing/2014/main" id="{94228A6A-3945-32DB-7CA9-CBA6859E3CBE}"/>
                    </a:ext>
                  </a:extLst>
                </p:cNvPr>
                <p:cNvSpPr/>
                <p:nvPr/>
              </p:nvSpPr>
              <p:spPr>
                <a:xfrm>
                  <a:off x="7638165" y="5647395"/>
                  <a:ext cx="5418" cy="52065"/>
                </a:xfrm>
                <a:custGeom>
                  <a:avLst/>
                  <a:gdLst>
                    <a:gd name="connsiteX0" fmla="*/ 3946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6"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7" name="Freeform 4864">
                  <a:extLst>
                    <a:ext uri="{FF2B5EF4-FFF2-40B4-BE49-F238E27FC236}">
                      <a16:creationId xmlns:a16="http://schemas.microsoft.com/office/drawing/2014/main" id="{E3B697A4-957A-0FEC-DBF0-DE8BF3794DA4}"/>
                    </a:ext>
                  </a:extLst>
                </p:cNvPr>
                <p:cNvSpPr/>
                <p:nvPr/>
              </p:nvSpPr>
              <p:spPr>
                <a:xfrm>
                  <a:off x="7631524" y="5653000"/>
                  <a:ext cx="3861" cy="52065"/>
                </a:xfrm>
                <a:custGeom>
                  <a:avLst/>
                  <a:gdLst>
                    <a:gd name="connsiteX0" fmla="*/ 0 w 3861"/>
                    <a:gd name="connsiteY0" fmla="*/ 0 h 52065"/>
                    <a:gd name="connsiteX1" fmla="*/ 3114 w 3861"/>
                    <a:gd name="connsiteY1" fmla="*/ 18559 h 52065"/>
                    <a:gd name="connsiteX2" fmla="*/ 747 w 3861"/>
                    <a:gd name="connsiteY2" fmla="*/ 35872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199"/>
                        <a:pt x="3114" y="18559"/>
                      </a:cubicBezTo>
                      <a:cubicBezTo>
                        <a:pt x="2740" y="25534"/>
                        <a:pt x="872" y="28773"/>
                        <a:pt x="747" y="35872"/>
                      </a:cubicBezTo>
                      <a:cubicBezTo>
                        <a:pt x="747" y="42723"/>
                        <a:pt x="2491"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8" name="Freeform 4865">
                  <a:extLst>
                    <a:ext uri="{FF2B5EF4-FFF2-40B4-BE49-F238E27FC236}">
                      <a16:creationId xmlns:a16="http://schemas.microsoft.com/office/drawing/2014/main" id="{84717B50-4279-F3DB-6999-416F39B4056C}"/>
                    </a:ext>
                  </a:extLst>
                </p:cNvPr>
                <p:cNvSpPr/>
                <p:nvPr/>
              </p:nvSpPr>
              <p:spPr>
                <a:xfrm>
                  <a:off x="7625763" y="5693450"/>
                  <a:ext cx="26343" cy="26592"/>
                </a:xfrm>
                <a:custGeom>
                  <a:avLst/>
                  <a:gdLst>
                    <a:gd name="connsiteX0" fmla="*/ 31 w 26343"/>
                    <a:gd name="connsiteY0" fmla="*/ 14106 h 26592"/>
                    <a:gd name="connsiteX1" fmla="*/ 12362 w 26343"/>
                    <a:gd name="connsiteY1" fmla="*/ 31 h 26592"/>
                    <a:gd name="connsiteX2" fmla="*/ 26313 w 26343"/>
                    <a:gd name="connsiteY2" fmla="*/ 12487 h 26592"/>
                    <a:gd name="connsiteX3" fmla="*/ 13981 w 26343"/>
                    <a:gd name="connsiteY3" fmla="*/ 26561 h 26592"/>
                    <a:gd name="connsiteX4" fmla="*/ 31 w 2634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92">
                      <a:moveTo>
                        <a:pt x="31" y="14106"/>
                      </a:moveTo>
                      <a:cubicBezTo>
                        <a:pt x="-467" y="6757"/>
                        <a:pt x="5138" y="529"/>
                        <a:pt x="12362" y="31"/>
                      </a:cubicBezTo>
                      <a:cubicBezTo>
                        <a:pt x="19586" y="-468"/>
                        <a:pt x="25939" y="5137"/>
                        <a:pt x="26313" y="12487"/>
                      </a:cubicBezTo>
                      <a:cubicBezTo>
                        <a:pt x="26811" y="19835"/>
                        <a:pt x="21206" y="26063"/>
                        <a:pt x="13981" y="26561"/>
                      </a:cubicBezTo>
                      <a:cubicBezTo>
                        <a:pt x="6757" y="27060"/>
                        <a:pt x="529" y="21454"/>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7" name="Graphic 2987">
                <a:extLst>
                  <a:ext uri="{FF2B5EF4-FFF2-40B4-BE49-F238E27FC236}">
                    <a16:creationId xmlns:a16="http://schemas.microsoft.com/office/drawing/2014/main" id="{A77EB43E-C2A8-64AA-7662-3BC6C7C66221}"/>
                  </a:ext>
                </a:extLst>
              </p:cNvPr>
              <p:cNvGrpSpPr/>
              <p:nvPr/>
            </p:nvGrpSpPr>
            <p:grpSpPr>
              <a:xfrm>
                <a:off x="7647810" y="5569404"/>
                <a:ext cx="33679" cy="148881"/>
                <a:chOff x="7647810" y="5569404"/>
                <a:chExt cx="33679" cy="148881"/>
              </a:xfrm>
              <a:grpFill/>
            </p:grpSpPr>
            <p:sp>
              <p:nvSpPr>
                <p:cNvPr id="4637" name="Freeform 4867">
                  <a:extLst>
                    <a:ext uri="{FF2B5EF4-FFF2-40B4-BE49-F238E27FC236}">
                      <a16:creationId xmlns:a16="http://schemas.microsoft.com/office/drawing/2014/main" id="{DB8E9EED-9AF1-4035-7E5A-DF76622069BE}"/>
                    </a:ext>
                  </a:extLst>
                </p:cNvPr>
                <p:cNvSpPr/>
                <p:nvPr/>
              </p:nvSpPr>
              <p:spPr>
                <a:xfrm>
                  <a:off x="7656458" y="5590098"/>
                  <a:ext cx="5418" cy="52065"/>
                </a:xfrm>
                <a:custGeom>
                  <a:avLst/>
                  <a:gdLst>
                    <a:gd name="connsiteX0" fmla="*/ 1472 w 5418"/>
                    <a:gd name="connsiteY0" fmla="*/ 0 h 52065"/>
                    <a:gd name="connsiteX1" fmla="*/ 600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0" y="8221"/>
                        <a:pt x="-147" y="14449"/>
                        <a:pt x="600"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8" name="Freeform 4868">
                  <a:extLst>
                    <a:ext uri="{FF2B5EF4-FFF2-40B4-BE49-F238E27FC236}">
                      <a16:creationId xmlns:a16="http://schemas.microsoft.com/office/drawing/2014/main" id="{25C39473-4455-D85E-8A96-E4A3563A2642}"/>
                    </a:ext>
                  </a:extLst>
                </p:cNvPr>
                <p:cNvSpPr/>
                <p:nvPr/>
              </p:nvSpPr>
              <p:spPr>
                <a:xfrm>
                  <a:off x="7664532" y="5584493"/>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1" y="44218"/>
                        <a:pt x="498" y="37865"/>
                        <a:pt x="747" y="33506"/>
                      </a:cubicBezTo>
                      <a:cubicBezTo>
                        <a:pt x="1121" y="26530"/>
                        <a:pt x="3114" y="23292"/>
                        <a:pt x="3114"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9" name="Freeform 4869">
                  <a:extLst>
                    <a:ext uri="{FF2B5EF4-FFF2-40B4-BE49-F238E27FC236}">
                      <a16:creationId xmlns:a16="http://schemas.microsoft.com/office/drawing/2014/main" id="{516ED61E-CBE4-BA02-402F-6C46FDF45BAF}"/>
                    </a:ext>
                  </a:extLst>
                </p:cNvPr>
                <p:cNvSpPr/>
                <p:nvPr/>
              </p:nvSpPr>
              <p:spPr>
                <a:xfrm>
                  <a:off x="7647810" y="5569404"/>
                  <a:ext cx="26579" cy="26579"/>
                </a:xfrm>
                <a:custGeom>
                  <a:avLst/>
                  <a:gdLst>
                    <a:gd name="connsiteX0" fmla="*/ 26562 w 26579"/>
                    <a:gd name="connsiteY0" fmla="*/ 12473 h 26579"/>
                    <a:gd name="connsiteX1" fmla="*/ 14106 w 26579"/>
                    <a:gd name="connsiteY1" fmla="*/ 26548 h 26579"/>
                    <a:gd name="connsiteX2" fmla="*/ 31 w 26579"/>
                    <a:gd name="connsiteY2" fmla="*/ 14093 h 26579"/>
                    <a:gd name="connsiteX3" fmla="*/ 12487 w 26579"/>
                    <a:gd name="connsiteY3" fmla="*/ 18 h 26579"/>
                    <a:gd name="connsiteX4" fmla="*/ 26562 w 26579"/>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9" h="26579">
                      <a:moveTo>
                        <a:pt x="26562" y="12473"/>
                      </a:moveTo>
                      <a:cubicBezTo>
                        <a:pt x="26935" y="19822"/>
                        <a:pt x="21330" y="26050"/>
                        <a:pt x="14106" y="26548"/>
                      </a:cubicBezTo>
                      <a:cubicBezTo>
                        <a:pt x="6881" y="27047"/>
                        <a:pt x="529" y="21442"/>
                        <a:pt x="31" y="14093"/>
                      </a:cubicBezTo>
                      <a:cubicBezTo>
                        <a:pt x="-467" y="6744"/>
                        <a:pt x="5137" y="516"/>
                        <a:pt x="12487" y="18"/>
                      </a:cubicBezTo>
                      <a:cubicBezTo>
                        <a:pt x="19836" y="-356"/>
                        <a:pt x="26188"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0" name="Freeform 4870">
                  <a:extLst>
                    <a:ext uri="{FF2B5EF4-FFF2-40B4-BE49-F238E27FC236}">
                      <a16:creationId xmlns:a16="http://schemas.microsoft.com/office/drawing/2014/main" id="{1095678F-C16B-095C-59EE-44DAA93CC1D2}"/>
                    </a:ext>
                  </a:extLst>
                </p:cNvPr>
                <p:cNvSpPr/>
                <p:nvPr/>
              </p:nvSpPr>
              <p:spPr>
                <a:xfrm>
                  <a:off x="7667687" y="5645651"/>
                  <a:ext cx="5292" cy="52065"/>
                </a:xfrm>
                <a:custGeom>
                  <a:avLst/>
                  <a:gdLst>
                    <a:gd name="connsiteX0" fmla="*/ 3820 w 5292"/>
                    <a:gd name="connsiteY0" fmla="*/ 52065 h 52065"/>
                    <a:gd name="connsiteX1" fmla="*/ 4691 w 5292"/>
                    <a:gd name="connsiteY1" fmla="*/ 33257 h 52065"/>
                    <a:gd name="connsiteX2" fmla="*/ 332 w 5292"/>
                    <a:gd name="connsiteY2" fmla="*/ 16442 h 52065"/>
                    <a:gd name="connsiteX3" fmla="*/ 1577 w 5292"/>
                    <a:gd name="connsiteY3" fmla="*/ 0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52065"/>
                      </a:moveTo>
                      <a:cubicBezTo>
                        <a:pt x="5813" y="43845"/>
                        <a:pt x="5439" y="37617"/>
                        <a:pt x="4691" y="33257"/>
                      </a:cubicBezTo>
                      <a:cubicBezTo>
                        <a:pt x="3571" y="26407"/>
                        <a:pt x="1204" y="23417"/>
                        <a:pt x="332" y="16442"/>
                      </a:cubicBezTo>
                      <a:cubicBezTo>
                        <a:pt x="-540" y="9591"/>
                        <a:pt x="457" y="3737"/>
                        <a:pt x="1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1" name="Freeform 4871">
                  <a:extLst>
                    <a:ext uri="{FF2B5EF4-FFF2-40B4-BE49-F238E27FC236}">
                      <a16:creationId xmlns:a16="http://schemas.microsoft.com/office/drawing/2014/main" id="{D32157C7-3A09-81F4-82B5-276C517E902E}"/>
                    </a:ext>
                  </a:extLst>
                </p:cNvPr>
                <p:cNvSpPr/>
                <p:nvPr/>
              </p:nvSpPr>
              <p:spPr>
                <a:xfrm>
                  <a:off x="7661044" y="5651131"/>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5"/>
                        <a:pt x="872" y="28773"/>
                        <a:pt x="747" y="35873"/>
                      </a:cubicBezTo>
                      <a:cubicBezTo>
                        <a:pt x="623" y="42724"/>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2" name="Freeform 4872">
                  <a:extLst>
                    <a:ext uri="{FF2B5EF4-FFF2-40B4-BE49-F238E27FC236}">
                      <a16:creationId xmlns:a16="http://schemas.microsoft.com/office/drawing/2014/main" id="{C77F147A-8BF7-6386-9A7F-F5C2E4B7E4DA}"/>
                    </a:ext>
                  </a:extLst>
                </p:cNvPr>
                <p:cNvSpPr/>
                <p:nvPr/>
              </p:nvSpPr>
              <p:spPr>
                <a:xfrm>
                  <a:off x="7655159" y="5691706"/>
                  <a:ext cx="26330" cy="26579"/>
                </a:xfrm>
                <a:custGeom>
                  <a:avLst/>
                  <a:gdLst>
                    <a:gd name="connsiteX0" fmla="*/ 31 w 26330"/>
                    <a:gd name="connsiteY0" fmla="*/ 14106 h 26579"/>
                    <a:gd name="connsiteX1" fmla="*/ 12362 w 26330"/>
                    <a:gd name="connsiteY1" fmla="*/ 31 h 26579"/>
                    <a:gd name="connsiteX2" fmla="*/ 26312 w 26330"/>
                    <a:gd name="connsiteY2" fmla="*/ 12487 h 26579"/>
                    <a:gd name="connsiteX3" fmla="*/ 13981 w 26330"/>
                    <a:gd name="connsiteY3" fmla="*/ 26562 h 26579"/>
                    <a:gd name="connsiteX4" fmla="*/ 31 w 2633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79">
                      <a:moveTo>
                        <a:pt x="31" y="14106"/>
                      </a:moveTo>
                      <a:cubicBezTo>
                        <a:pt x="-468" y="6757"/>
                        <a:pt x="5137" y="529"/>
                        <a:pt x="12362" y="31"/>
                      </a:cubicBezTo>
                      <a:cubicBezTo>
                        <a:pt x="19586" y="-468"/>
                        <a:pt x="25814" y="5138"/>
                        <a:pt x="26312" y="12487"/>
                      </a:cubicBezTo>
                      <a:cubicBezTo>
                        <a:pt x="26686" y="19835"/>
                        <a:pt x="21205" y="26063"/>
                        <a:pt x="13981" y="26562"/>
                      </a:cubicBezTo>
                      <a:cubicBezTo>
                        <a:pt x="6757"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8" name="Graphic 2987">
                <a:extLst>
                  <a:ext uri="{FF2B5EF4-FFF2-40B4-BE49-F238E27FC236}">
                    <a16:creationId xmlns:a16="http://schemas.microsoft.com/office/drawing/2014/main" id="{97FE90F3-5CD5-0108-FD28-D894B4489D55}"/>
                  </a:ext>
                </a:extLst>
              </p:cNvPr>
              <p:cNvGrpSpPr/>
              <p:nvPr/>
            </p:nvGrpSpPr>
            <p:grpSpPr>
              <a:xfrm>
                <a:off x="7677343" y="5567647"/>
                <a:ext cx="33666" cy="148770"/>
                <a:chOff x="7677343" y="5567647"/>
                <a:chExt cx="33666" cy="148770"/>
              </a:xfrm>
              <a:grpFill/>
            </p:grpSpPr>
            <p:sp>
              <p:nvSpPr>
                <p:cNvPr id="4631" name="Freeform 4874">
                  <a:extLst>
                    <a:ext uri="{FF2B5EF4-FFF2-40B4-BE49-F238E27FC236}">
                      <a16:creationId xmlns:a16="http://schemas.microsoft.com/office/drawing/2014/main" id="{059232F9-E2E8-61AA-9FA4-61A9993DD2F7}"/>
                    </a:ext>
                  </a:extLst>
                </p:cNvPr>
                <p:cNvSpPr/>
                <p:nvPr/>
              </p:nvSpPr>
              <p:spPr>
                <a:xfrm>
                  <a:off x="7686103" y="5588230"/>
                  <a:ext cx="5272" cy="52065"/>
                </a:xfrm>
                <a:custGeom>
                  <a:avLst/>
                  <a:gdLst>
                    <a:gd name="connsiteX0" fmla="*/ 1472 w 5272"/>
                    <a:gd name="connsiteY0" fmla="*/ 0 h 52065"/>
                    <a:gd name="connsiteX1" fmla="*/ 600 w 5272"/>
                    <a:gd name="connsiteY1" fmla="*/ 18808 h 52065"/>
                    <a:gd name="connsiteX2" fmla="*/ 4959 w 5272"/>
                    <a:gd name="connsiteY2" fmla="*/ 35623 h 52065"/>
                    <a:gd name="connsiteX3" fmla="*/ 3714 w 527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2" h="52065">
                      <a:moveTo>
                        <a:pt x="1472" y="0"/>
                      </a:moveTo>
                      <a:cubicBezTo>
                        <a:pt x="-520" y="8221"/>
                        <a:pt x="-147" y="14573"/>
                        <a:pt x="600" y="18808"/>
                      </a:cubicBezTo>
                      <a:cubicBezTo>
                        <a:pt x="1722" y="25659"/>
                        <a:pt x="4088" y="28648"/>
                        <a:pt x="4959" y="35623"/>
                      </a:cubicBezTo>
                      <a:cubicBezTo>
                        <a:pt x="5831"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2" name="Freeform 4875">
                  <a:extLst>
                    <a:ext uri="{FF2B5EF4-FFF2-40B4-BE49-F238E27FC236}">
                      <a16:creationId xmlns:a16="http://schemas.microsoft.com/office/drawing/2014/main" id="{84D91A56-286B-547C-C3A1-360F54545EA0}"/>
                    </a:ext>
                  </a:extLst>
                </p:cNvPr>
                <p:cNvSpPr/>
                <p:nvPr/>
              </p:nvSpPr>
              <p:spPr>
                <a:xfrm>
                  <a:off x="7694301" y="5582749"/>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747" y="44218"/>
                        <a:pt x="374" y="37866"/>
                        <a:pt x="623" y="33506"/>
                      </a:cubicBezTo>
                      <a:cubicBezTo>
                        <a:pt x="997" y="26531"/>
                        <a:pt x="2989"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3" name="Freeform 4876">
                  <a:extLst>
                    <a:ext uri="{FF2B5EF4-FFF2-40B4-BE49-F238E27FC236}">
                      <a16:creationId xmlns:a16="http://schemas.microsoft.com/office/drawing/2014/main" id="{3887CB4D-D2E8-B498-427C-8D20077F47F9}"/>
                    </a:ext>
                  </a:extLst>
                </p:cNvPr>
                <p:cNvSpPr/>
                <p:nvPr/>
              </p:nvSpPr>
              <p:spPr>
                <a:xfrm>
                  <a:off x="7677343" y="5567647"/>
                  <a:ext cx="26690" cy="26592"/>
                </a:xfrm>
                <a:custGeom>
                  <a:avLst/>
                  <a:gdLst>
                    <a:gd name="connsiteX0" fmla="*/ 26673 w 26690"/>
                    <a:gd name="connsiteY0" fmla="*/ 12487 h 26592"/>
                    <a:gd name="connsiteX1" fmla="*/ 14093 w 26690"/>
                    <a:gd name="connsiteY1" fmla="*/ 26562 h 26592"/>
                    <a:gd name="connsiteX2" fmla="*/ 18 w 26690"/>
                    <a:gd name="connsiteY2" fmla="*/ 14106 h 26592"/>
                    <a:gd name="connsiteX3" fmla="*/ 12598 w 26690"/>
                    <a:gd name="connsiteY3" fmla="*/ 31 h 26592"/>
                    <a:gd name="connsiteX4" fmla="*/ 26673 w 26690"/>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2">
                      <a:moveTo>
                        <a:pt x="26673" y="12487"/>
                      </a:moveTo>
                      <a:cubicBezTo>
                        <a:pt x="27046" y="19835"/>
                        <a:pt x="21442" y="26063"/>
                        <a:pt x="14093" y="26562"/>
                      </a:cubicBezTo>
                      <a:cubicBezTo>
                        <a:pt x="6743" y="27060"/>
                        <a:pt x="516" y="21455"/>
                        <a:pt x="18" y="14106"/>
                      </a:cubicBezTo>
                      <a:cubicBezTo>
                        <a:pt x="-356" y="6757"/>
                        <a:pt x="5249" y="529"/>
                        <a:pt x="12598" y="31"/>
                      </a:cubicBezTo>
                      <a:cubicBezTo>
                        <a:pt x="19947" y="-468"/>
                        <a:pt x="26299" y="5138"/>
                        <a:pt x="2667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4" name="Freeform 4877">
                  <a:extLst>
                    <a:ext uri="{FF2B5EF4-FFF2-40B4-BE49-F238E27FC236}">
                      <a16:creationId xmlns:a16="http://schemas.microsoft.com/office/drawing/2014/main" id="{A3B6DE8B-6984-0AA1-5577-CF30911F3BB0}"/>
                    </a:ext>
                  </a:extLst>
                </p:cNvPr>
                <p:cNvSpPr/>
                <p:nvPr/>
              </p:nvSpPr>
              <p:spPr>
                <a:xfrm>
                  <a:off x="7697101" y="5643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5"/>
                        <a:pt x="5421" y="37492"/>
                        <a:pt x="4673" y="33257"/>
                      </a:cubicBezTo>
                      <a:cubicBezTo>
                        <a:pt x="3552" y="26406"/>
                        <a:pt x="1185" y="23417"/>
                        <a:pt x="313" y="16442"/>
                      </a:cubicBezTo>
                      <a:cubicBezTo>
                        <a:pt x="-559" y="9591"/>
                        <a:pt x="563"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5" name="Freeform 4878">
                  <a:extLst>
                    <a:ext uri="{FF2B5EF4-FFF2-40B4-BE49-F238E27FC236}">
                      <a16:creationId xmlns:a16="http://schemas.microsoft.com/office/drawing/2014/main" id="{84327C64-B14E-7608-D981-CCD8831068B6}"/>
                    </a:ext>
                  </a:extLst>
                </p:cNvPr>
                <p:cNvSpPr/>
                <p:nvPr/>
              </p:nvSpPr>
              <p:spPr>
                <a:xfrm>
                  <a:off x="7690564" y="5649263"/>
                  <a:ext cx="3736" cy="52065"/>
                </a:xfrm>
                <a:custGeom>
                  <a:avLst/>
                  <a:gdLst>
                    <a:gd name="connsiteX0" fmla="*/ 0 w 3736"/>
                    <a:gd name="connsiteY0" fmla="*/ 0 h 52065"/>
                    <a:gd name="connsiteX1" fmla="*/ 2989 w 3736"/>
                    <a:gd name="connsiteY1" fmla="*/ 18559 h 52065"/>
                    <a:gd name="connsiteX2" fmla="*/ 623 w 3736"/>
                    <a:gd name="connsiteY2" fmla="*/ 35873 h 52065"/>
                    <a:gd name="connsiteX3" fmla="*/ 3737 w 373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36" h="52065">
                      <a:moveTo>
                        <a:pt x="0" y="0"/>
                      </a:moveTo>
                      <a:cubicBezTo>
                        <a:pt x="2989" y="7847"/>
                        <a:pt x="3239" y="14200"/>
                        <a:pt x="2989" y="18559"/>
                      </a:cubicBezTo>
                      <a:cubicBezTo>
                        <a:pt x="2616" y="25535"/>
                        <a:pt x="623" y="28773"/>
                        <a:pt x="623" y="35873"/>
                      </a:cubicBezTo>
                      <a:cubicBezTo>
                        <a:pt x="498" y="42723"/>
                        <a:pt x="2242" y="48453"/>
                        <a:pt x="373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6" name="Freeform 4879">
                  <a:extLst>
                    <a:ext uri="{FF2B5EF4-FFF2-40B4-BE49-F238E27FC236}">
                      <a16:creationId xmlns:a16="http://schemas.microsoft.com/office/drawing/2014/main" id="{AC292791-7E65-EAB3-326C-6F34807FAB99}"/>
                    </a:ext>
                  </a:extLst>
                </p:cNvPr>
                <p:cNvSpPr/>
                <p:nvPr/>
              </p:nvSpPr>
              <p:spPr>
                <a:xfrm>
                  <a:off x="7684567" y="5689838"/>
                  <a:ext cx="26442" cy="26579"/>
                </a:xfrm>
                <a:custGeom>
                  <a:avLst/>
                  <a:gdLst>
                    <a:gd name="connsiteX0" fmla="*/ 18 w 26442"/>
                    <a:gd name="connsiteY0" fmla="*/ 14106 h 26579"/>
                    <a:gd name="connsiteX1" fmla="*/ 12474 w 26442"/>
                    <a:gd name="connsiteY1" fmla="*/ 31 h 26579"/>
                    <a:gd name="connsiteX2" fmla="*/ 26424 w 26442"/>
                    <a:gd name="connsiteY2" fmla="*/ 12487 h 26579"/>
                    <a:gd name="connsiteX3" fmla="*/ 13968 w 26442"/>
                    <a:gd name="connsiteY3" fmla="*/ 26562 h 26579"/>
                    <a:gd name="connsiteX4" fmla="*/ 18 w 2644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79">
                      <a:moveTo>
                        <a:pt x="18" y="14106"/>
                      </a:moveTo>
                      <a:cubicBezTo>
                        <a:pt x="-356" y="6757"/>
                        <a:pt x="5125" y="529"/>
                        <a:pt x="12474" y="31"/>
                      </a:cubicBezTo>
                      <a:cubicBezTo>
                        <a:pt x="19822" y="-468"/>
                        <a:pt x="25926" y="5138"/>
                        <a:pt x="26424" y="12487"/>
                      </a:cubicBezTo>
                      <a:cubicBezTo>
                        <a:pt x="26797" y="19835"/>
                        <a:pt x="21317" y="26063"/>
                        <a:pt x="13968" y="26562"/>
                      </a:cubicBezTo>
                      <a:cubicBezTo>
                        <a:pt x="6619"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9" name="Graphic 2987">
                <a:extLst>
                  <a:ext uri="{FF2B5EF4-FFF2-40B4-BE49-F238E27FC236}">
                    <a16:creationId xmlns:a16="http://schemas.microsoft.com/office/drawing/2014/main" id="{87CCFEB5-3BE1-096A-8DCF-EF2C621B6C61}"/>
                  </a:ext>
                </a:extLst>
              </p:cNvPr>
              <p:cNvGrpSpPr/>
              <p:nvPr/>
            </p:nvGrpSpPr>
            <p:grpSpPr>
              <a:xfrm>
                <a:off x="7707237" y="5566041"/>
                <a:ext cx="33042" cy="148632"/>
                <a:chOff x="7707237" y="5566041"/>
                <a:chExt cx="33042" cy="148632"/>
              </a:xfrm>
              <a:grpFill/>
            </p:grpSpPr>
            <p:sp>
              <p:nvSpPr>
                <p:cNvPr id="4625" name="Freeform 4881">
                  <a:extLst>
                    <a:ext uri="{FF2B5EF4-FFF2-40B4-BE49-F238E27FC236}">
                      <a16:creationId xmlns:a16="http://schemas.microsoft.com/office/drawing/2014/main" id="{2BC4E6E1-F7A0-F89B-BF40-485BCB655322}"/>
                    </a:ext>
                  </a:extLst>
                </p:cNvPr>
                <p:cNvSpPr/>
                <p:nvPr/>
              </p:nvSpPr>
              <p:spPr>
                <a:xfrm>
                  <a:off x="7715726" y="5586486"/>
                  <a:ext cx="5170" cy="52189"/>
                </a:xfrm>
                <a:custGeom>
                  <a:avLst/>
                  <a:gdLst>
                    <a:gd name="connsiteX0" fmla="*/ 1494 w 5170"/>
                    <a:gd name="connsiteY0" fmla="*/ 0 h 52189"/>
                    <a:gd name="connsiteX1" fmla="*/ 497 w 5170"/>
                    <a:gd name="connsiteY1" fmla="*/ 18808 h 52189"/>
                    <a:gd name="connsiteX2" fmla="*/ 4857 w 5170"/>
                    <a:gd name="connsiteY2" fmla="*/ 35748 h 52189"/>
                    <a:gd name="connsiteX3" fmla="*/ 3611 w 5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70" h="52189">
                      <a:moveTo>
                        <a:pt x="1494" y="0"/>
                      </a:moveTo>
                      <a:cubicBezTo>
                        <a:pt x="-500" y="8097"/>
                        <a:pt x="-126" y="14449"/>
                        <a:pt x="497" y="18808"/>
                      </a:cubicBezTo>
                      <a:cubicBezTo>
                        <a:pt x="1618" y="25659"/>
                        <a:pt x="3985" y="28648"/>
                        <a:pt x="4857" y="35748"/>
                      </a:cubicBezTo>
                      <a:cubicBezTo>
                        <a:pt x="5728" y="42599"/>
                        <a:pt x="4608" y="48453"/>
                        <a:pt x="361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6" name="Freeform 4882">
                  <a:extLst>
                    <a:ext uri="{FF2B5EF4-FFF2-40B4-BE49-F238E27FC236}">
                      <a16:creationId xmlns:a16="http://schemas.microsoft.com/office/drawing/2014/main" id="{530D6769-804E-4CEE-7BE7-6114DFE99B08}"/>
                    </a:ext>
                  </a:extLst>
                </p:cNvPr>
                <p:cNvSpPr/>
                <p:nvPr/>
              </p:nvSpPr>
              <p:spPr>
                <a:xfrm>
                  <a:off x="7724070" y="5581254"/>
                  <a:ext cx="3487" cy="51940"/>
                </a:xfrm>
                <a:custGeom>
                  <a:avLst/>
                  <a:gdLst>
                    <a:gd name="connsiteX0" fmla="*/ 3488 w 3487"/>
                    <a:gd name="connsiteY0" fmla="*/ 51940 h 51940"/>
                    <a:gd name="connsiteX1" fmla="*/ 498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8" y="33381"/>
                      </a:cubicBezTo>
                      <a:cubicBezTo>
                        <a:pt x="872" y="26406"/>
                        <a:pt x="2865" y="23292"/>
                        <a:pt x="2989"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7" name="Freeform 4883">
                  <a:extLst>
                    <a:ext uri="{FF2B5EF4-FFF2-40B4-BE49-F238E27FC236}">
                      <a16:creationId xmlns:a16="http://schemas.microsoft.com/office/drawing/2014/main" id="{8DD17C9A-69A7-C6B3-99AA-589050B240C6}"/>
                    </a:ext>
                  </a:extLst>
                </p:cNvPr>
                <p:cNvSpPr/>
                <p:nvPr/>
              </p:nvSpPr>
              <p:spPr>
                <a:xfrm>
                  <a:off x="7707237" y="5566041"/>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8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8" y="18"/>
                      </a:cubicBezTo>
                      <a:cubicBezTo>
                        <a:pt x="19822"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8" name="Freeform 4884">
                  <a:extLst>
                    <a:ext uri="{FF2B5EF4-FFF2-40B4-BE49-F238E27FC236}">
                      <a16:creationId xmlns:a16="http://schemas.microsoft.com/office/drawing/2014/main" id="{6AF16189-24BD-AAB8-269D-626FEA0CBD5D}"/>
                    </a:ext>
                  </a:extLst>
                </p:cNvPr>
                <p:cNvSpPr/>
                <p:nvPr/>
              </p:nvSpPr>
              <p:spPr>
                <a:xfrm>
                  <a:off x="7726622" y="5642039"/>
                  <a:ext cx="5170" cy="52189"/>
                </a:xfrm>
                <a:custGeom>
                  <a:avLst/>
                  <a:gdLst>
                    <a:gd name="connsiteX0" fmla="*/ 3676 w 5170"/>
                    <a:gd name="connsiteY0" fmla="*/ 52190 h 52189"/>
                    <a:gd name="connsiteX1" fmla="*/ 4673 w 5170"/>
                    <a:gd name="connsiteY1" fmla="*/ 33381 h 52189"/>
                    <a:gd name="connsiteX2" fmla="*/ 313 w 5170"/>
                    <a:gd name="connsiteY2" fmla="*/ 16441 h 52189"/>
                    <a:gd name="connsiteX3" fmla="*/ 1559 w 5170"/>
                    <a:gd name="connsiteY3" fmla="*/ 0 h 52189"/>
                  </a:gdLst>
                  <a:ahLst/>
                  <a:cxnLst>
                    <a:cxn ang="0">
                      <a:pos x="connsiteX0" y="connsiteY0"/>
                    </a:cxn>
                    <a:cxn ang="0">
                      <a:pos x="connsiteX1" y="connsiteY1"/>
                    </a:cxn>
                    <a:cxn ang="0">
                      <a:pos x="connsiteX2" y="connsiteY2"/>
                    </a:cxn>
                    <a:cxn ang="0">
                      <a:pos x="connsiteX3" y="connsiteY3"/>
                    </a:cxn>
                  </a:cxnLst>
                  <a:rect l="l" t="t" r="r" b="b"/>
                  <a:pathLst>
                    <a:path w="5170" h="52189">
                      <a:moveTo>
                        <a:pt x="3676" y="52190"/>
                      </a:moveTo>
                      <a:cubicBezTo>
                        <a:pt x="5670" y="44093"/>
                        <a:pt x="5296" y="37741"/>
                        <a:pt x="4673" y="33381"/>
                      </a:cubicBezTo>
                      <a:cubicBezTo>
                        <a:pt x="3552" y="26531"/>
                        <a:pt x="1185" y="23541"/>
                        <a:pt x="313" y="16441"/>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9" name="Freeform 4885">
                  <a:extLst>
                    <a:ext uri="{FF2B5EF4-FFF2-40B4-BE49-F238E27FC236}">
                      <a16:creationId xmlns:a16="http://schemas.microsoft.com/office/drawing/2014/main" id="{2F78B77B-B37A-E64C-4D68-CCDA2BF6BCD3}"/>
                    </a:ext>
                  </a:extLst>
                </p:cNvPr>
                <p:cNvSpPr/>
                <p:nvPr/>
              </p:nvSpPr>
              <p:spPr>
                <a:xfrm>
                  <a:off x="7720084" y="564751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1"/>
                        <a:pt x="3239" y="14199"/>
                        <a:pt x="2989" y="18559"/>
                      </a:cubicBezTo>
                      <a:cubicBezTo>
                        <a:pt x="2616" y="25534"/>
                        <a:pt x="623" y="28648"/>
                        <a:pt x="499" y="35748"/>
                      </a:cubicBezTo>
                      <a:cubicBezTo>
                        <a:pt x="374" y="42599"/>
                        <a:pt x="2117" y="48328"/>
                        <a:pt x="3488"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0" name="Freeform 4886">
                  <a:extLst>
                    <a:ext uri="{FF2B5EF4-FFF2-40B4-BE49-F238E27FC236}">
                      <a16:creationId xmlns:a16="http://schemas.microsoft.com/office/drawing/2014/main" id="{4DD62181-87B9-0B24-977D-D8C8B62C0D95}"/>
                    </a:ext>
                  </a:extLst>
                </p:cNvPr>
                <p:cNvSpPr/>
                <p:nvPr/>
              </p:nvSpPr>
              <p:spPr>
                <a:xfrm>
                  <a:off x="7713963" y="5688241"/>
                  <a:ext cx="26317" cy="26431"/>
                </a:xfrm>
                <a:custGeom>
                  <a:avLst/>
                  <a:gdLst>
                    <a:gd name="connsiteX0" fmla="*/ 18 w 26317"/>
                    <a:gd name="connsiteY0" fmla="*/ 13834 h 26431"/>
                    <a:gd name="connsiteX1" fmla="*/ 12474 w 26317"/>
                    <a:gd name="connsiteY1" fmla="*/ 8 h 26431"/>
                    <a:gd name="connsiteX2" fmla="*/ 26299 w 26317"/>
                    <a:gd name="connsiteY2" fmla="*/ 12589 h 26431"/>
                    <a:gd name="connsiteX3" fmla="*/ 13844 w 26317"/>
                    <a:gd name="connsiteY3" fmla="*/ 26414 h 26431"/>
                    <a:gd name="connsiteX4" fmla="*/ 18 w 26317"/>
                    <a:gd name="connsiteY4" fmla="*/ 1383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5" y="6485"/>
                        <a:pt x="5125" y="257"/>
                        <a:pt x="12474" y="8"/>
                      </a:cubicBezTo>
                      <a:cubicBezTo>
                        <a:pt x="19823" y="-241"/>
                        <a:pt x="25926" y="5240"/>
                        <a:pt x="26299" y="12589"/>
                      </a:cubicBezTo>
                      <a:cubicBezTo>
                        <a:pt x="26674" y="19937"/>
                        <a:pt x="21068" y="26165"/>
                        <a:pt x="13844" y="26414"/>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0" name="Graphic 2987">
                <a:extLst>
                  <a:ext uri="{FF2B5EF4-FFF2-40B4-BE49-F238E27FC236}">
                    <a16:creationId xmlns:a16="http://schemas.microsoft.com/office/drawing/2014/main" id="{54A3D3DE-F1E1-CBF7-F528-D47472AE22C7}"/>
                  </a:ext>
                </a:extLst>
              </p:cNvPr>
              <p:cNvGrpSpPr/>
              <p:nvPr/>
            </p:nvGrpSpPr>
            <p:grpSpPr>
              <a:xfrm>
                <a:off x="7736882" y="5564546"/>
                <a:ext cx="32794" cy="148757"/>
                <a:chOff x="7736882" y="5564546"/>
                <a:chExt cx="32794" cy="148757"/>
              </a:xfrm>
              <a:grpFill/>
            </p:grpSpPr>
            <p:sp>
              <p:nvSpPr>
                <p:cNvPr id="4619" name="Freeform 4888">
                  <a:extLst>
                    <a:ext uri="{FF2B5EF4-FFF2-40B4-BE49-F238E27FC236}">
                      <a16:creationId xmlns:a16="http://schemas.microsoft.com/office/drawing/2014/main" id="{E1A2837D-7CEF-9049-63A7-2BD5009A7996}"/>
                    </a:ext>
                  </a:extLst>
                </p:cNvPr>
                <p:cNvSpPr/>
                <p:nvPr/>
              </p:nvSpPr>
              <p:spPr>
                <a:xfrm>
                  <a:off x="7745279" y="5584991"/>
                  <a:ext cx="5261" cy="52189"/>
                </a:xfrm>
                <a:custGeom>
                  <a:avLst/>
                  <a:gdLst>
                    <a:gd name="connsiteX0" fmla="*/ 1586 w 5261"/>
                    <a:gd name="connsiteY0" fmla="*/ 0 h 52189"/>
                    <a:gd name="connsiteX1" fmla="*/ 589 w 5261"/>
                    <a:gd name="connsiteY1" fmla="*/ 18808 h 52189"/>
                    <a:gd name="connsiteX2" fmla="*/ 4948 w 5261"/>
                    <a:gd name="connsiteY2" fmla="*/ 35748 h 52189"/>
                    <a:gd name="connsiteX3" fmla="*/ 3703 w 526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261" h="52189">
                      <a:moveTo>
                        <a:pt x="1586" y="0"/>
                      </a:moveTo>
                      <a:cubicBezTo>
                        <a:pt x="-532" y="8096"/>
                        <a:pt x="-158" y="14449"/>
                        <a:pt x="589" y="18808"/>
                      </a:cubicBezTo>
                      <a:cubicBezTo>
                        <a:pt x="1710" y="25659"/>
                        <a:pt x="4077" y="28648"/>
                        <a:pt x="4948" y="35748"/>
                      </a:cubicBezTo>
                      <a:cubicBezTo>
                        <a:pt x="5820" y="42599"/>
                        <a:pt x="4700" y="48453"/>
                        <a:pt x="37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0" name="Freeform 4889">
                  <a:extLst>
                    <a:ext uri="{FF2B5EF4-FFF2-40B4-BE49-F238E27FC236}">
                      <a16:creationId xmlns:a16="http://schemas.microsoft.com/office/drawing/2014/main" id="{8F44EB81-95B9-6E0D-9F44-68996A7D4DDD}"/>
                    </a:ext>
                  </a:extLst>
                </p:cNvPr>
                <p:cNvSpPr/>
                <p:nvPr/>
              </p:nvSpPr>
              <p:spPr>
                <a:xfrm>
                  <a:off x="7753590" y="5579760"/>
                  <a:ext cx="3487" cy="51940"/>
                </a:xfrm>
                <a:custGeom>
                  <a:avLst/>
                  <a:gdLst>
                    <a:gd name="connsiteX0" fmla="*/ 3488 w 3487"/>
                    <a:gd name="connsiteY0" fmla="*/ 51940 h 51940"/>
                    <a:gd name="connsiteX1" fmla="*/ 499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9" y="33381"/>
                      </a:cubicBezTo>
                      <a:cubicBezTo>
                        <a:pt x="872" y="26406"/>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1" name="Freeform 4890">
                  <a:extLst>
                    <a:ext uri="{FF2B5EF4-FFF2-40B4-BE49-F238E27FC236}">
                      <a16:creationId xmlns:a16="http://schemas.microsoft.com/office/drawing/2014/main" id="{7F83D55D-04C2-7C41-8CD9-AF7FD6DC6BA4}"/>
                    </a:ext>
                  </a:extLst>
                </p:cNvPr>
                <p:cNvSpPr/>
                <p:nvPr/>
              </p:nvSpPr>
              <p:spPr>
                <a:xfrm>
                  <a:off x="7736882" y="5564546"/>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7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7" y="18"/>
                      </a:cubicBezTo>
                      <a:cubicBezTo>
                        <a:pt x="19947"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2" name="Freeform 4891">
                  <a:extLst>
                    <a:ext uri="{FF2B5EF4-FFF2-40B4-BE49-F238E27FC236}">
                      <a16:creationId xmlns:a16="http://schemas.microsoft.com/office/drawing/2014/main" id="{632C2E41-18AA-DCF8-C680-9D35EEF29DFD}"/>
                    </a:ext>
                  </a:extLst>
                </p:cNvPr>
                <p:cNvSpPr/>
                <p:nvPr/>
              </p:nvSpPr>
              <p:spPr>
                <a:xfrm>
                  <a:off x="7756144" y="5640668"/>
                  <a:ext cx="5095" cy="52189"/>
                </a:xfrm>
                <a:custGeom>
                  <a:avLst/>
                  <a:gdLst>
                    <a:gd name="connsiteX0" fmla="*/ 3550 w 5095"/>
                    <a:gd name="connsiteY0" fmla="*/ 52190 h 52189"/>
                    <a:gd name="connsiteX1" fmla="*/ 4546 w 5095"/>
                    <a:gd name="connsiteY1" fmla="*/ 33381 h 52189"/>
                    <a:gd name="connsiteX2" fmla="*/ 311 w 5095"/>
                    <a:gd name="connsiteY2" fmla="*/ 16442 h 52189"/>
                    <a:gd name="connsiteX3" fmla="*/ 1682 w 5095"/>
                    <a:gd name="connsiteY3" fmla="*/ 0 h 52189"/>
                  </a:gdLst>
                  <a:ahLst/>
                  <a:cxnLst>
                    <a:cxn ang="0">
                      <a:pos x="connsiteX0" y="connsiteY0"/>
                    </a:cxn>
                    <a:cxn ang="0">
                      <a:pos x="connsiteX1" y="connsiteY1"/>
                    </a:cxn>
                    <a:cxn ang="0">
                      <a:pos x="connsiteX2" y="connsiteY2"/>
                    </a:cxn>
                    <a:cxn ang="0">
                      <a:pos x="connsiteX3" y="connsiteY3"/>
                    </a:cxn>
                  </a:cxnLst>
                  <a:rect l="l" t="t" r="r" b="b"/>
                  <a:pathLst>
                    <a:path w="5095" h="52189">
                      <a:moveTo>
                        <a:pt x="3550" y="52190"/>
                      </a:moveTo>
                      <a:cubicBezTo>
                        <a:pt x="5543" y="44094"/>
                        <a:pt x="5294" y="37741"/>
                        <a:pt x="4546" y="33381"/>
                      </a:cubicBezTo>
                      <a:cubicBezTo>
                        <a:pt x="3425" y="26531"/>
                        <a:pt x="1183" y="23542"/>
                        <a:pt x="311" y="16442"/>
                      </a:cubicBezTo>
                      <a:cubicBezTo>
                        <a:pt x="-560" y="9591"/>
                        <a:pt x="560" y="3737"/>
                        <a:pt x="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3" name="Freeform 4892">
                  <a:extLst>
                    <a:ext uri="{FF2B5EF4-FFF2-40B4-BE49-F238E27FC236}">
                      <a16:creationId xmlns:a16="http://schemas.microsoft.com/office/drawing/2014/main" id="{53173B24-431B-49EB-15AE-0F1D9DC9C6A8}"/>
                    </a:ext>
                  </a:extLst>
                </p:cNvPr>
                <p:cNvSpPr/>
                <p:nvPr/>
              </p:nvSpPr>
              <p:spPr>
                <a:xfrm>
                  <a:off x="7749604" y="564614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2"/>
                        <a:pt x="3239" y="14200"/>
                        <a:pt x="2989" y="18559"/>
                      </a:cubicBezTo>
                      <a:cubicBezTo>
                        <a:pt x="2616" y="25535"/>
                        <a:pt x="623" y="28648"/>
                        <a:pt x="499" y="35748"/>
                      </a:cubicBezTo>
                      <a:cubicBezTo>
                        <a:pt x="374" y="42599"/>
                        <a:pt x="2118" y="48328"/>
                        <a:pt x="34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4" name="Freeform 4893">
                  <a:extLst>
                    <a:ext uri="{FF2B5EF4-FFF2-40B4-BE49-F238E27FC236}">
                      <a16:creationId xmlns:a16="http://schemas.microsoft.com/office/drawing/2014/main" id="{23270D88-0A19-0BA4-7B57-F3F32BFE4D45}"/>
                    </a:ext>
                  </a:extLst>
                </p:cNvPr>
                <p:cNvSpPr/>
                <p:nvPr/>
              </p:nvSpPr>
              <p:spPr>
                <a:xfrm>
                  <a:off x="7743359" y="5686871"/>
                  <a:ext cx="26317" cy="26432"/>
                </a:xfrm>
                <a:custGeom>
                  <a:avLst/>
                  <a:gdLst>
                    <a:gd name="connsiteX0" fmla="*/ 18 w 26317"/>
                    <a:gd name="connsiteY0" fmla="*/ 13834 h 26432"/>
                    <a:gd name="connsiteX1" fmla="*/ 12473 w 26317"/>
                    <a:gd name="connsiteY1" fmla="*/ 8 h 26432"/>
                    <a:gd name="connsiteX2" fmla="*/ 26300 w 26317"/>
                    <a:gd name="connsiteY2" fmla="*/ 12589 h 26432"/>
                    <a:gd name="connsiteX3" fmla="*/ 13844 w 26317"/>
                    <a:gd name="connsiteY3" fmla="*/ 26415 h 26432"/>
                    <a:gd name="connsiteX4" fmla="*/ 18 w 26317"/>
                    <a:gd name="connsiteY4" fmla="*/ 1383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6" y="6485"/>
                        <a:pt x="5250" y="258"/>
                        <a:pt x="12473" y="8"/>
                      </a:cubicBezTo>
                      <a:cubicBezTo>
                        <a:pt x="19698" y="-241"/>
                        <a:pt x="25926" y="5240"/>
                        <a:pt x="26300" y="12589"/>
                      </a:cubicBezTo>
                      <a:cubicBezTo>
                        <a:pt x="26673" y="19937"/>
                        <a:pt x="21068" y="26165"/>
                        <a:pt x="13844" y="26415"/>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1" name="Graphic 2987">
                <a:extLst>
                  <a:ext uri="{FF2B5EF4-FFF2-40B4-BE49-F238E27FC236}">
                    <a16:creationId xmlns:a16="http://schemas.microsoft.com/office/drawing/2014/main" id="{00E7EEDD-12A9-7536-CB6F-219352847CEE}"/>
                  </a:ext>
                </a:extLst>
              </p:cNvPr>
              <p:cNvGrpSpPr/>
              <p:nvPr/>
            </p:nvGrpSpPr>
            <p:grpSpPr>
              <a:xfrm>
                <a:off x="7766651" y="5563061"/>
                <a:ext cx="32420" cy="148737"/>
                <a:chOff x="7766651" y="5563061"/>
                <a:chExt cx="32420" cy="148737"/>
              </a:xfrm>
              <a:grpFill/>
            </p:grpSpPr>
            <p:sp>
              <p:nvSpPr>
                <p:cNvPr id="4613" name="Freeform 4895">
                  <a:extLst>
                    <a:ext uri="{FF2B5EF4-FFF2-40B4-BE49-F238E27FC236}">
                      <a16:creationId xmlns:a16="http://schemas.microsoft.com/office/drawing/2014/main" id="{DD1EFDBC-A5FF-3487-0F21-FD4A6E5E4F6A}"/>
                    </a:ext>
                  </a:extLst>
                </p:cNvPr>
                <p:cNvSpPr/>
                <p:nvPr/>
              </p:nvSpPr>
              <p:spPr>
                <a:xfrm>
                  <a:off x="7775048" y="5583621"/>
                  <a:ext cx="5135" cy="52189"/>
                </a:xfrm>
                <a:custGeom>
                  <a:avLst/>
                  <a:gdLst>
                    <a:gd name="connsiteX0" fmla="*/ 1586 w 5135"/>
                    <a:gd name="connsiteY0" fmla="*/ 0 h 52189"/>
                    <a:gd name="connsiteX1" fmla="*/ 589 w 5135"/>
                    <a:gd name="connsiteY1" fmla="*/ 18808 h 52189"/>
                    <a:gd name="connsiteX2" fmla="*/ 4824 w 5135"/>
                    <a:gd name="connsiteY2" fmla="*/ 35748 h 52189"/>
                    <a:gd name="connsiteX3" fmla="*/ 3454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0"/>
                      </a:moveTo>
                      <a:cubicBezTo>
                        <a:pt x="-532" y="8096"/>
                        <a:pt x="-158" y="14449"/>
                        <a:pt x="589" y="18808"/>
                      </a:cubicBezTo>
                      <a:cubicBezTo>
                        <a:pt x="1710" y="25659"/>
                        <a:pt x="3953" y="28648"/>
                        <a:pt x="4824" y="35748"/>
                      </a:cubicBezTo>
                      <a:cubicBezTo>
                        <a:pt x="5696" y="42599"/>
                        <a:pt x="4575" y="48453"/>
                        <a:pt x="34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4" name="Freeform 4896">
                  <a:extLst>
                    <a:ext uri="{FF2B5EF4-FFF2-40B4-BE49-F238E27FC236}">
                      <a16:creationId xmlns:a16="http://schemas.microsoft.com/office/drawing/2014/main" id="{B652524E-3DC1-00F8-E7CA-97EB381B7E3D}"/>
                    </a:ext>
                  </a:extLst>
                </p:cNvPr>
                <p:cNvSpPr/>
                <p:nvPr/>
              </p:nvSpPr>
              <p:spPr>
                <a:xfrm>
                  <a:off x="7783360" y="5578389"/>
                  <a:ext cx="3238" cy="51940"/>
                </a:xfrm>
                <a:custGeom>
                  <a:avLst/>
                  <a:gdLst>
                    <a:gd name="connsiteX0" fmla="*/ 3239 w 3238"/>
                    <a:gd name="connsiteY0" fmla="*/ 51941 h 51940"/>
                    <a:gd name="connsiteX1" fmla="*/ 373 w 3238"/>
                    <a:gd name="connsiteY1" fmla="*/ 33381 h 51940"/>
                    <a:gd name="connsiteX2" fmla="*/ 2989 w 3238"/>
                    <a:gd name="connsiteY2" fmla="*/ 16193 h 51940"/>
                    <a:gd name="connsiteX3" fmla="*/ 0 w 3238"/>
                    <a:gd name="connsiteY3" fmla="*/ 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51941"/>
                      </a:moveTo>
                      <a:cubicBezTo>
                        <a:pt x="373" y="43969"/>
                        <a:pt x="125" y="37741"/>
                        <a:pt x="373" y="33381"/>
                      </a:cubicBezTo>
                      <a:cubicBezTo>
                        <a:pt x="872" y="26406"/>
                        <a:pt x="2740" y="23292"/>
                        <a:pt x="2989" y="16193"/>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5" name="Freeform 4897">
                  <a:extLst>
                    <a:ext uri="{FF2B5EF4-FFF2-40B4-BE49-F238E27FC236}">
                      <a16:creationId xmlns:a16="http://schemas.microsoft.com/office/drawing/2014/main" id="{3C731432-7018-80FD-B6BD-62A0F39E3F4F}"/>
                    </a:ext>
                  </a:extLst>
                </p:cNvPr>
                <p:cNvSpPr/>
                <p:nvPr/>
              </p:nvSpPr>
              <p:spPr>
                <a:xfrm>
                  <a:off x="7766651" y="5563061"/>
                  <a:ext cx="26565" cy="26431"/>
                </a:xfrm>
                <a:custGeom>
                  <a:avLst/>
                  <a:gdLst>
                    <a:gd name="connsiteX0" fmla="*/ 26548 w 26565"/>
                    <a:gd name="connsiteY0" fmla="*/ 12588 h 26431"/>
                    <a:gd name="connsiteX1" fmla="*/ 13968 w 26565"/>
                    <a:gd name="connsiteY1" fmla="*/ 26414 h 26431"/>
                    <a:gd name="connsiteX2" fmla="*/ 18 w 26565"/>
                    <a:gd name="connsiteY2" fmla="*/ 13834 h 26431"/>
                    <a:gd name="connsiteX3" fmla="*/ 12598 w 26565"/>
                    <a:gd name="connsiteY3" fmla="*/ 8 h 26431"/>
                    <a:gd name="connsiteX4" fmla="*/ 26548 w 26565"/>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431">
                      <a:moveTo>
                        <a:pt x="26548" y="12588"/>
                      </a:moveTo>
                      <a:cubicBezTo>
                        <a:pt x="26922" y="19937"/>
                        <a:pt x="21193" y="26165"/>
                        <a:pt x="13968" y="26414"/>
                      </a:cubicBezTo>
                      <a:cubicBezTo>
                        <a:pt x="6620" y="26788"/>
                        <a:pt x="392" y="21183"/>
                        <a:pt x="18" y="13834"/>
                      </a:cubicBezTo>
                      <a:cubicBezTo>
                        <a:pt x="-356" y="6485"/>
                        <a:pt x="5250" y="257"/>
                        <a:pt x="12598" y="8"/>
                      </a:cubicBezTo>
                      <a:cubicBezTo>
                        <a:pt x="19947" y="-241"/>
                        <a:pt x="26175" y="5364"/>
                        <a:pt x="26548"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6" name="Freeform 4898">
                  <a:extLst>
                    <a:ext uri="{FF2B5EF4-FFF2-40B4-BE49-F238E27FC236}">
                      <a16:creationId xmlns:a16="http://schemas.microsoft.com/office/drawing/2014/main" id="{579D4586-75C7-FC32-7C49-B429D3B9B9BC}"/>
                    </a:ext>
                  </a:extLst>
                </p:cNvPr>
                <p:cNvSpPr/>
                <p:nvPr/>
              </p:nvSpPr>
              <p:spPr>
                <a:xfrm>
                  <a:off x="7785664" y="5639174"/>
                  <a:ext cx="5135" cy="52189"/>
                </a:xfrm>
                <a:custGeom>
                  <a:avLst/>
                  <a:gdLst>
                    <a:gd name="connsiteX0" fmla="*/ 3549 w 5135"/>
                    <a:gd name="connsiteY0" fmla="*/ 52190 h 52189"/>
                    <a:gd name="connsiteX1" fmla="*/ 4546 w 5135"/>
                    <a:gd name="connsiteY1" fmla="*/ 33381 h 52189"/>
                    <a:gd name="connsiteX2" fmla="*/ 312 w 5135"/>
                    <a:gd name="connsiteY2" fmla="*/ 16442 h 52189"/>
                    <a:gd name="connsiteX3" fmla="*/ 1681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52190"/>
                      </a:moveTo>
                      <a:cubicBezTo>
                        <a:pt x="5667" y="44094"/>
                        <a:pt x="5293" y="37741"/>
                        <a:pt x="4546" y="33381"/>
                      </a:cubicBezTo>
                      <a:cubicBezTo>
                        <a:pt x="3425" y="26531"/>
                        <a:pt x="1183" y="23542"/>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7" name="Freeform 4899">
                  <a:extLst>
                    <a:ext uri="{FF2B5EF4-FFF2-40B4-BE49-F238E27FC236}">
                      <a16:creationId xmlns:a16="http://schemas.microsoft.com/office/drawing/2014/main" id="{D2392C4B-D4E4-F014-BC62-7A0B95511FE7}"/>
                    </a:ext>
                  </a:extLst>
                </p:cNvPr>
                <p:cNvSpPr/>
                <p:nvPr/>
              </p:nvSpPr>
              <p:spPr>
                <a:xfrm>
                  <a:off x="7779124" y="5644654"/>
                  <a:ext cx="3363" cy="51940"/>
                </a:xfrm>
                <a:custGeom>
                  <a:avLst/>
                  <a:gdLst>
                    <a:gd name="connsiteX0" fmla="*/ 0 w 3363"/>
                    <a:gd name="connsiteY0" fmla="*/ 0 h 51940"/>
                    <a:gd name="connsiteX1" fmla="*/ 2865 w 3363"/>
                    <a:gd name="connsiteY1" fmla="*/ 18559 h 51940"/>
                    <a:gd name="connsiteX2" fmla="*/ 374 w 3363"/>
                    <a:gd name="connsiteY2" fmla="*/ 35748 h 51940"/>
                    <a:gd name="connsiteX3" fmla="*/ 3363 w 336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362" h="51940">
                      <a:moveTo>
                        <a:pt x="0" y="0"/>
                      </a:moveTo>
                      <a:cubicBezTo>
                        <a:pt x="2865" y="7971"/>
                        <a:pt x="3114" y="14199"/>
                        <a:pt x="2865" y="18559"/>
                      </a:cubicBezTo>
                      <a:cubicBezTo>
                        <a:pt x="2491" y="25534"/>
                        <a:pt x="499" y="28648"/>
                        <a:pt x="374" y="35748"/>
                      </a:cubicBezTo>
                      <a:cubicBezTo>
                        <a:pt x="249" y="42599"/>
                        <a:pt x="1869" y="48328"/>
                        <a:pt x="336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8" name="Freeform 4900">
                  <a:extLst>
                    <a:ext uri="{FF2B5EF4-FFF2-40B4-BE49-F238E27FC236}">
                      <a16:creationId xmlns:a16="http://schemas.microsoft.com/office/drawing/2014/main" id="{C1F429CC-08D2-82B4-6E7B-C4D6E01F86E4}"/>
                    </a:ext>
                  </a:extLst>
                </p:cNvPr>
                <p:cNvSpPr/>
                <p:nvPr/>
              </p:nvSpPr>
              <p:spPr>
                <a:xfrm>
                  <a:off x="7772755" y="5685367"/>
                  <a:ext cx="26316" cy="26431"/>
                </a:xfrm>
                <a:custGeom>
                  <a:avLst/>
                  <a:gdLst>
                    <a:gd name="connsiteX0" fmla="*/ 18 w 26316"/>
                    <a:gd name="connsiteY0" fmla="*/ 13844 h 26431"/>
                    <a:gd name="connsiteX1" fmla="*/ 12473 w 26316"/>
                    <a:gd name="connsiteY1" fmla="*/ 18 h 26431"/>
                    <a:gd name="connsiteX2" fmla="*/ 26299 w 26316"/>
                    <a:gd name="connsiteY2" fmla="*/ 12598 h 26431"/>
                    <a:gd name="connsiteX3" fmla="*/ 13843 w 26316"/>
                    <a:gd name="connsiteY3" fmla="*/ 26424 h 26431"/>
                    <a:gd name="connsiteX4" fmla="*/ 18 w 26316"/>
                    <a:gd name="connsiteY4" fmla="*/ 1384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31">
                      <a:moveTo>
                        <a:pt x="18" y="13844"/>
                      </a:moveTo>
                      <a:cubicBezTo>
                        <a:pt x="-356" y="6495"/>
                        <a:pt x="5249" y="267"/>
                        <a:pt x="12473" y="18"/>
                      </a:cubicBezTo>
                      <a:cubicBezTo>
                        <a:pt x="19697" y="-356"/>
                        <a:pt x="25925" y="5249"/>
                        <a:pt x="26299" y="12598"/>
                      </a:cubicBezTo>
                      <a:cubicBezTo>
                        <a:pt x="26672" y="19947"/>
                        <a:pt x="21067" y="26175"/>
                        <a:pt x="13843" y="26424"/>
                      </a:cubicBezTo>
                      <a:cubicBezTo>
                        <a:pt x="6619" y="26673"/>
                        <a:pt x="391" y="21193"/>
                        <a:pt x="18" y="138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2" name="Graphic 2987">
                <a:extLst>
                  <a:ext uri="{FF2B5EF4-FFF2-40B4-BE49-F238E27FC236}">
                    <a16:creationId xmlns:a16="http://schemas.microsoft.com/office/drawing/2014/main" id="{CDB507FD-2A65-B724-F6FB-CD92D56E7784}"/>
                  </a:ext>
                </a:extLst>
              </p:cNvPr>
              <p:cNvGrpSpPr/>
              <p:nvPr/>
            </p:nvGrpSpPr>
            <p:grpSpPr>
              <a:xfrm>
                <a:off x="7796171" y="5561681"/>
                <a:ext cx="32420" cy="148747"/>
                <a:chOff x="7796171" y="5561681"/>
                <a:chExt cx="32420" cy="148747"/>
              </a:xfrm>
              <a:grpFill/>
            </p:grpSpPr>
            <p:sp>
              <p:nvSpPr>
                <p:cNvPr id="4607" name="Freeform 4902">
                  <a:extLst>
                    <a:ext uri="{FF2B5EF4-FFF2-40B4-BE49-F238E27FC236}">
                      <a16:creationId xmlns:a16="http://schemas.microsoft.com/office/drawing/2014/main" id="{FD8EC17A-4E7C-0AC9-4622-CC3ED93EF662}"/>
                    </a:ext>
                  </a:extLst>
                </p:cNvPr>
                <p:cNvSpPr/>
                <p:nvPr/>
              </p:nvSpPr>
              <p:spPr>
                <a:xfrm>
                  <a:off x="7804670" y="5582126"/>
                  <a:ext cx="5016" cy="52189"/>
                </a:xfrm>
                <a:custGeom>
                  <a:avLst/>
                  <a:gdLst>
                    <a:gd name="connsiteX0" fmla="*/ 1608 w 5016"/>
                    <a:gd name="connsiteY0" fmla="*/ 0 h 52189"/>
                    <a:gd name="connsiteX1" fmla="*/ 487 w 5016"/>
                    <a:gd name="connsiteY1" fmla="*/ 18808 h 52189"/>
                    <a:gd name="connsiteX2" fmla="*/ 4722 w 5016"/>
                    <a:gd name="connsiteY2" fmla="*/ 35748 h 52189"/>
                    <a:gd name="connsiteX3" fmla="*/ 3352 w 501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0"/>
                      </a:moveTo>
                      <a:cubicBezTo>
                        <a:pt x="-510" y="8096"/>
                        <a:pt x="-136" y="14448"/>
                        <a:pt x="487" y="18808"/>
                      </a:cubicBezTo>
                      <a:cubicBezTo>
                        <a:pt x="1608" y="25783"/>
                        <a:pt x="3850" y="28648"/>
                        <a:pt x="4722" y="35748"/>
                      </a:cubicBezTo>
                      <a:cubicBezTo>
                        <a:pt x="5594" y="42599"/>
                        <a:pt x="4348" y="48453"/>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8" name="Freeform 4903">
                  <a:extLst>
                    <a:ext uri="{FF2B5EF4-FFF2-40B4-BE49-F238E27FC236}">
                      <a16:creationId xmlns:a16="http://schemas.microsoft.com/office/drawing/2014/main" id="{1695BE97-DC97-FA40-7B8D-2EE339767B0F}"/>
                    </a:ext>
                  </a:extLst>
                </p:cNvPr>
                <p:cNvSpPr/>
                <p:nvPr/>
              </p:nvSpPr>
              <p:spPr>
                <a:xfrm>
                  <a:off x="7813129" y="5576895"/>
                  <a:ext cx="3113" cy="51940"/>
                </a:xfrm>
                <a:custGeom>
                  <a:avLst/>
                  <a:gdLst>
                    <a:gd name="connsiteX0" fmla="*/ 3114 w 3113"/>
                    <a:gd name="connsiteY0" fmla="*/ 51941 h 51940"/>
                    <a:gd name="connsiteX1" fmla="*/ 249 w 3113"/>
                    <a:gd name="connsiteY1" fmla="*/ 33381 h 51940"/>
                    <a:gd name="connsiteX2" fmla="*/ 2865 w 3113"/>
                    <a:gd name="connsiteY2" fmla="*/ 16192 h 51940"/>
                    <a:gd name="connsiteX3" fmla="*/ 0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51941"/>
                      </a:moveTo>
                      <a:cubicBezTo>
                        <a:pt x="249" y="43969"/>
                        <a:pt x="0" y="37741"/>
                        <a:pt x="249" y="33381"/>
                      </a:cubicBezTo>
                      <a:cubicBezTo>
                        <a:pt x="747" y="26406"/>
                        <a:pt x="2740" y="23292"/>
                        <a:pt x="2865" y="16192"/>
                      </a:cubicBezTo>
                      <a:cubicBezTo>
                        <a:pt x="298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9" name="Freeform 4904">
                  <a:extLst>
                    <a:ext uri="{FF2B5EF4-FFF2-40B4-BE49-F238E27FC236}">
                      <a16:creationId xmlns:a16="http://schemas.microsoft.com/office/drawing/2014/main" id="{BC67F916-2E10-C8E4-308D-26926497D803}"/>
                    </a:ext>
                  </a:extLst>
                </p:cNvPr>
                <p:cNvSpPr/>
                <p:nvPr/>
              </p:nvSpPr>
              <p:spPr>
                <a:xfrm>
                  <a:off x="7796171" y="5561681"/>
                  <a:ext cx="26690" cy="26441"/>
                </a:xfrm>
                <a:custGeom>
                  <a:avLst/>
                  <a:gdLst>
                    <a:gd name="connsiteX0" fmla="*/ 26673 w 26690"/>
                    <a:gd name="connsiteY0" fmla="*/ 12598 h 26441"/>
                    <a:gd name="connsiteX1" fmla="*/ 13968 w 26690"/>
                    <a:gd name="connsiteY1" fmla="*/ 26424 h 26441"/>
                    <a:gd name="connsiteX2" fmla="*/ 17 w 26690"/>
                    <a:gd name="connsiteY2" fmla="*/ 13844 h 26441"/>
                    <a:gd name="connsiteX3" fmla="*/ 12722 w 26690"/>
                    <a:gd name="connsiteY3" fmla="*/ 18 h 26441"/>
                    <a:gd name="connsiteX4" fmla="*/ 26673 w 26690"/>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41">
                      <a:moveTo>
                        <a:pt x="26673" y="12598"/>
                      </a:moveTo>
                      <a:cubicBezTo>
                        <a:pt x="27047" y="19947"/>
                        <a:pt x="21317" y="26175"/>
                        <a:pt x="13968" y="26424"/>
                      </a:cubicBezTo>
                      <a:cubicBezTo>
                        <a:pt x="6619" y="26797"/>
                        <a:pt x="391" y="21193"/>
                        <a:pt x="17" y="13844"/>
                      </a:cubicBezTo>
                      <a:cubicBezTo>
                        <a:pt x="-356" y="6495"/>
                        <a:pt x="5374" y="267"/>
                        <a:pt x="12722" y="18"/>
                      </a:cubicBezTo>
                      <a:cubicBezTo>
                        <a:pt x="20196" y="-356"/>
                        <a:pt x="26424" y="5249"/>
                        <a:pt x="26673"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0" name="Freeform 4905">
                  <a:extLst>
                    <a:ext uri="{FF2B5EF4-FFF2-40B4-BE49-F238E27FC236}">
                      <a16:creationId xmlns:a16="http://schemas.microsoft.com/office/drawing/2014/main" id="{3042D78F-4891-0025-8744-E178917B4D92}"/>
                    </a:ext>
                  </a:extLst>
                </p:cNvPr>
                <p:cNvSpPr/>
                <p:nvPr/>
              </p:nvSpPr>
              <p:spPr>
                <a:xfrm>
                  <a:off x="7815201" y="5637804"/>
                  <a:ext cx="5016" cy="52189"/>
                </a:xfrm>
                <a:custGeom>
                  <a:avLst/>
                  <a:gdLst>
                    <a:gd name="connsiteX0" fmla="*/ 3409 w 5016"/>
                    <a:gd name="connsiteY0" fmla="*/ 52189 h 52189"/>
                    <a:gd name="connsiteX1" fmla="*/ 4529 w 5016"/>
                    <a:gd name="connsiteY1" fmla="*/ 33381 h 52189"/>
                    <a:gd name="connsiteX2" fmla="*/ 295 w 5016"/>
                    <a:gd name="connsiteY2" fmla="*/ 16441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89"/>
                      </a:moveTo>
                      <a:cubicBezTo>
                        <a:pt x="5526" y="44093"/>
                        <a:pt x="5152" y="37741"/>
                        <a:pt x="4529" y="33381"/>
                      </a:cubicBezTo>
                      <a:cubicBezTo>
                        <a:pt x="3409" y="26406"/>
                        <a:pt x="1167" y="23541"/>
                        <a:pt x="295" y="16441"/>
                      </a:cubicBezTo>
                      <a:cubicBezTo>
                        <a:pt x="-577" y="9591"/>
                        <a:pt x="668" y="3737"/>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1" name="Freeform 4906">
                  <a:extLst>
                    <a:ext uri="{FF2B5EF4-FFF2-40B4-BE49-F238E27FC236}">
                      <a16:creationId xmlns:a16="http://schemas.microsoft.com/office/drawing/2014/main" id="{73C6B4F4-0189-F41A-4130-2C9FCBE5EABE}"/>
                    </a:ext>
                  </a:extLst>
                </p:cNvPr>
                <p:cNvSpPr/>
                <p:nvPr/>
              </p:nvSpPr>
              <p:spPr>
                <a:xfrm>
                  <a:off x="7808644" y="5643284"/>
                  <a:ext cx="3113" cy="51940"/>
                </a:xfrm>
                <a:custGeom>
                  <a:avLst/>
                  <a:gdLst>
                    <a:gd name="connsiteX0" fmla="*/ 0 w 3113"/>
                    <a:gd name="connsiteY0" fmla="*/ 0 h 51940"/>
                    <a:gd name="connsiteX1" fmla="*/ 2865 w 3113"/>
                    <a:gd name="connsiteY1" fmla="*/ 18559 h 51940"/>
                    <a:gd name="connsiteX2" fmla="*/ 249 w 3113"/>
                    <a:gd name="connsiteY2" fmla="*/ 35748 h 51940"/>
                    <a:gd name="connsiteX3" fmla="*/ 3114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0" y="0"/>
                      </a:moveTo>
                      <a:cubicBezTo>
                        <a:pt x="2865" y="7972"/>
                        <a:pt x="3114" y="14200"/>
                        <a:pt x="2865" y="18559"/>
                      </a:cubicBezTo>
                      <a:cubicBezTo>
                        <a:pt x="2367" y="25535"/>
                        <a:pt x="499" y="28648"/>
                        <a:pt x="249" y="35748"/>
                      </a:cubicBezTo>
                      <a:cubicBezTo>
                        <a:pt x="125" y="42599"/>
                        <a:pt x="1744" y="48328"/>
                        <a:pt x="311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2" name="Freeform 4907">
                  <a:extLst>
                    <a:ext uri="{FF2B5EF4-FFF2-40B4-BE49-F238E27FC236}">
                      <a16:creationId xmlns:a16="http://schemas.microsoft.com/office/drawing/2014/main" id="{924F5B6D-3187-8402-E97A-4A71BB8A9749}"/>
                    </a:ext>
                  </a:extLst>
                </p:cNvPr>
                <p:cNvSpPr/>
                <p:nvPr/>
              </p:nvSpPr>
              <p:spPr>
                <a:xfrm>
                  <a:off x="7802150" y="5683997"/>
                  <a:ext cx="26441" cy="26431"/>
                </a:xfrm>
                <a:custGeom>
                  <a:avLst/>
                  <a:gdLst>
                    <a:gd name="connsiteX0" fmla="*/ 18 w 26441"/>
                    <a:gd name="connsiteY0" fmla="*/ 13843 h 26431"/>
                    <a:gd name="connsiteX1" fmla="*/ 12598 w 26441"/>
                    <a:gd name="connsiteY1" fmla="*/ 18 h 26431"/>
                    <a:gd name="connsiteX2" fmla="*/ 26424 w 26441"/>
                    <a:gd name="connsiteY2" fmla="*/ 12598 h 26431"/>
                    <a:gd name="connsiteX3" fmla="*/ 13843 w 26441"/>
                    <a:gd name="connsiteY3" fmla="*/ 26424 h 26431"/>
                    <a:gd name="connsiteX4" fmla="*/ 18 w 26441"/>
                    <a:gd name="connsiteY4" fmla="*/ 13843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431">
                      <a:moveTo>
                        <a:pt x="18" y="13843"/>
                      </a:moveTo>
                      <a:cubicBezTo>
                        <a:pt x="-356" y="6495"/>
                        <a:pt x="5249" y="267"/>
                        <a:pt x="12598" y="18"/>
                      </a:cubicBezTo>
                      <a:cubicBezTo>
                        <a:pt x="19822" y="-356"/>
                        <a:pt x="26050" y="5249"/>
                        <a:pt x="26424" y="12598"/>
                      </a:cubicBezTo>
                      <a:cubicBezTo>
                        <a:pt x="26797" y="19947"/>
                        <a:pt x="21193" y="26175"/>
                        <a:pt x="13843" y="26424"/>
                      </a:cubicBezTo>
                      <a:cubicBezTo>
                        <a:pt x="6494" y="26673"/>
                        <a:pt x="391" y="21192"/>
                        <a:pt x="18"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3" name="Graphic 2987">
                <a:extLst>
                  <a:ext uri="{FF2B5EF4-FFF2-40B4-BE49-F238E27FC236}">
                    <a16:creationId xmlns:a16="http://schemas.microsoft.com/office/drawing/2014/main" id="{E720A6FC-0F41-3B91-C9E4-8E18F2C2E1EB}"/>
                  </a:ext>
                </a:extLst>
              </p:cNvPr>
              <p:cNvGrpSpPr/>
              <p:nvPr/>
            </p:nvGrpSpPr>
            <p:grpSpPr>
              <a:xfrm>
                <a:off x="7826075" y="5560196"/>
                <a:ext cx="31787" cy="148747"/>
                <a:chOff x="7826075" y="5560196"/>
                <a:chExt cx="31787" cy="148747"/>
              </a:xfrm>
              <a:grpFill/>
            </p:grpSpPr>
            <p:sp>
              <p:nvSpPr>
                <p:cNvPr id="4601" name="Freeform 4909">
                  <a:extLst>
                    <a:ext uri="{FF2B5EF4-FFF2-40B4-BE49-F238E27FC236}">
                      <a16:creationId xmlns:a16="http://schemas.microsoft.com/office/drawing/2014/main" id="{F83E6CEA-B1C9-93BA-6C27-07E299FD71B1}"/>
                    </a:ext>
                  </a:extLst>
                </p:cNvPr>
                <p:cNvSpPr/>
                <p:nvPr/>
              </p:nvSpPr>
              <p:spPr>
                <a:xfrm>
                  <a:off x="7834262" y="5580756"/>
                  <a:ext cx="5017" cy="52189"/>
                </a:xfrm>
                <a:custGeom>
                  <a:avLst/>
                  <a:gdLst>
                    <a:gd name="connsiteX0" fmla="*/ 1660 w 5017"/>
                    <a:gd name="connsiteY0" fmla="*/ 0 h 52189"/>
                    <a:gd name="connsiteX1" fmla="*/ 540 w 5017"/>
                    <a:gd name="connsiteY1" fmla="*/ 18808 h 52189"/>
                    <a:gd name="connsiteX2" fmla="*/ 4774 w 5017"/>
                    <a:gd name="connsiteY2" fmla="*/ 35748 h 52189"/>
                    <a:gd name="connsiteX3" fmla="*/ 3404 w 501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7" h="52189">
                      <a:moveTo>
                        <a:pt x="1660" y="0"/>
                      </a:moveTo>
                      <a:cubicBezTo>
                        <a:pt x="-457" y="8096"/>
                        <a:pt x="-208" y="14449"/>
                        <a:pt x="540" y="18808"/>
                      </a:cubicBezTo>
                      <a:cubicBezTo>
                        <a:pt x="1660" y="25784"/>
                        <a:pt x="3903" y="28648"/>
                        <a:pt x="4774" y="35748"/>
                      </a:cubicBezTo>
                      <a:cubicBezTo>
                        <a:pt x="5522" y="42599"/>
                        <a:pt x="4401" y="48453"/>
                        <a:pt x="340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2" name="Freeform 4910">
                  <a:extLst>
                    <a:ext uri="{FF2B5EF4-FFF2-40B4-BE49-F238E27FC236}">
                      <a16:creationId xmlns:a16="http://schemas.microsoft.com/office/drawing/2014/main" id="{D45A60A0-2957-6C6A-4DAF-069C0B95CE66}"/>
                    </a:ext>
                  </a:extLst>
                </p:cNvPr>
                <p:cNvSpPr/>
                <p:nvPr/>
              </p:nvSpPr>
              <p:spPr>
                <a:xfrm>
                  <a:off x="7842774" y="5575525"/>
                  <a:ext cx="2989" cy="51940"/>
                </a:xfrm>
                <a:custGeom>
                  <a:avLst/>
                  <a:gdLst>
                    <a:gd name="connsiteX0" fmla="*/ 2989 w 2989"/>
                    <a:gd name="connsiteY0" fmla="*/ 51940 h 51940"/>
                    <a:gd name="connsiteX1" fmla="*/ 249 w 2989"/>
                    <a:gd name="connsiteY1" fmla="*/ 33381 h 51940"/>
                    <a:gd name="connsiteX2" fmla="*/ 2865 w 2989"/>
                    <a:gd name="connsiteY2" fmla="*/ 16192 h 51940"/>
                    <a:gd name="connsiteX3" fmla="*/ 0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51940"/>
                      </a:moveTo>
                      <a:cubicBezTo>
                        <a:pt x="124" y="43969"/>
                        <a:pt x="-125" y="37741"/>
                        <a:pt x="249" y="33381"/>
                      </a:cubicBezTo>
                      <a:cubicBezTo>
                        <a:pt x="747" y="26406"/>
                        <a:pt x="2740" y="23292"/>
                        <a:pt x="2865"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3" name="Freeform 4911">
                  <a:extLst>
                    <a:ext uri="{FF2B5EF4-FFF2-40B4-BE49-F238E27FC236}">
                      <a16:creationId xmlns:a16="http://schemas.microsoft.com/office/drawing/2014/main" id="{A8B54543-8F27-B880-8FCC-70E41F6844AD}"/>
                    </a:ext>
                  </a:extLst>
                </p:cNvPr>
                <p:cNvSpPr/>
                <p:nvPr/>
              </p:nvSpPr>
              <p:spPr>
                <a:xfrm>
                  <a:off x="7826075" y="5560196"/>
                  <a:ext cx="26556" cy="26431"/>
                </a:xfrm>
                <a:custGeom>
                  <a:avLst/>
                  <a:gdLst>
                    <a:gd name="connsiteX0" fmla="*/ 26539 w 26556"/>
                    <a:gd name="connsiteY0" fmla="*/ 12588 h 26431"/>
                    <a:gd name="connsiteX1" fmla="*/ 13834 w 26556"/>
                    <a:gd name="connsiteY1" fmla="*/ 26414 h 26431"/>
                    <a:gd name="connsiteX2" fmla="*/ 8 w 26556"/>
                    <a:gd name="connsiteY2" fmla="*/ 13834 h 26431"/>
                    <a:gd name="connsiteX3" fmla="*/ 12713 w 26556"/>
                    <a:gd name="connsiteY3" fmla="*/ 8 h 26431"/>
                    <a:gd name="connsiteX4" fmla="*/ 26539 w 26556"/>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431">
                      <a:moveTo>
                        <a:pt x="26539" y="12588"/>
                      </a:moveTo>
                      <a:cubicBezTo>
                        <a:pt x="26912" y="19937"/>
                        <a:pt x="21183" y="26165"/>
                        <a:pt x="13834" y="26414"/>
                      </a:cubicBezTo>
                      <a:cubicBezTo>
                        <a:pt x="6485" y="26788"/>
                        <a:pt x="257" y="21183"/>
                        <a:pt x="8" y="13834"/>
                      </a:cubicBezTo>
                      <a:cubicBezTo>
                        <a:pt x="-241" y="6485"/>
                        <a:pt x="5364" y="257"/>
                        <a:pt x="12713" y="8"/>
                      </a:cubicBezTo>
                      <a:cubicBezTo>
                        <a:pt x="20062" y="-241"/>
                        <a:pt x="26165" y="5364"/>
                        <a:pt x="26539"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4" name="Freeform 4912">
                  <a:extLst>
                    <a:ext uri="{FF2B5EF4-FFF2-40B4-BE49-F238E27FC236}">
                      <a16:creationId xmlns:a16="http://schemas.microsoft.com/office/drawing/2014/main" id="{B743B50A-24E6-3779-D953-E52814127CA0}"/>
                    </a:ext>
                  </a:extLst>
                </p:cNvPr>
                <p:cNvSpPr/>
                <p:nvPr/>
              </p:nvSpPr>
              <p:spPr>
                <a:xfrm>
                  <a:off x="7844774" y="5636309"/>
                  <a:ext cx="4891" cy="52189"/>
                </a:xfrm>
                <a:custGeom>
                  <a:avLst/>
                  <a:gdLst>
                    <a:gd name="connsiteX0" fmla="*/ 3231 w 4891"/>
                    <a:gd name="connsiteY0" fmla="*/ 52190 h 52189"/>
                    <a:gd name="connsiteX1" fmla="*/ 4352 w 4891"/>
                    <a:gd name="connsiteY1" fmla="*/ 33382 h 52189"/>
                    <a:gd name="connsiteX2" fmla="*/ 242 w 4891"/>
                    <a:gd name="connsiteY2" fmla="*/ 16442 h 52189"/>
                    <a:gd name="connsiteX3" fmla="*/ 1737 w 4891"/>
                    <a:gd name="connsiteY3" fmla="*/ 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52190"/>
                      </a:moveTo>
                      <a:cubicBezTo>
                        <a:pt x="5349" y="44094"/>
                        <a:pt x="5099" y="37741"/>
                        <a:pt x="4352" y="33382"/>
                      </a:cubicBezTo>
                      <a:cubicBezTo>
                        <a:pt x="3231" y="26407"/>
                        <a:pt x="989" y="23542"/>
                        <a:pt x="242" y="16442"/>
                      </a:cubicBezTo>
                      <a:cubicBezTo>
                        <a:pt x="-505" y="9591"/>
                        <a:pt x="615" y="3737"/>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5" name="Freeform 4913">
                  <a:extLst>
                    <a:ext uri="{FF2B5EF4-FFF2-40B4-BE49-F238E27FC236}">
                      <a16:creationId xmlns:a16="http://schemas.microsoft.com/office/drawing/2014/main" id="{D9070B40-4DA3-A9A7-AB8B-FE45AC1F38A1}"/>
                    </a:ext>
                  </a:extLst>
                </p:cNvPr>
                <p:cNvSpPr/>
                <p:nvPr/>
              </p:nvSpPr>
              <p:spPr>
                <a:xfrm>
                  <a:off x="7838289" y="5641789"/>
                  <a:ext cx="2990" cy="51940"/>
                </a:xfrm>
                <a:custGeom>
                  <a:avLst/>
                  <a:gdLst>
                    <a:gd name="connsiteX0" fmla="*/ 0 w 2990"/>
                    <a:gd name="connsiteY0" fmla="*/ 0 h 51940"/>
                    <a:gd name="connsiteX1" fmla="*/ 2741 w 2990"/>
                    <a:gd name="connsiteY1" fmla="*/ 18559 h 51940"/>
                    <a:gd name="connsiteX2" fmla="*/ 125 w 2990"/>
                    <a:gd name="connsiteY2" fmla="*/ 35748 h 51940"/>
                    <a:gd name="connsiteX3" fmla="*/ 2990 w 299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90" h="51940">
                      <a:moveTo>
                        <a:pt x="0" y="0"/>
                      </a:moveTo>
                      <a:cubicBezTo>
                        <a:pt x="2865" y="7972"/>
                        <a:pt x="3114" y="14200"/>
                        <a:pt x="2741" y="18559"/>
                      </a:cubicBezTo>
                      <a:cubicBezTo>
                        <a:pt x="2242" y="25535"/>
                        <a:pt x="249" y="28648"/>
                        <a:pt x="125" y="35748"/>
                      </a:cubicBezTo>
                      <a:cubicBezTo>
                        <a:pt x="0" y="42599"/>
                        <a:pt x="1619" y="48328"/>
                        <a:pt x="29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6" name="Freeform 4914">
                  <a:extLst>
                    <a:ext uri="{FF2B5EF4-FFF2-40B4-BE49-F238E27FC236}">
                      <a16:creationId xmlns:a16="http://schemas.microsoft.com/office/drawing/2014/main" id="{EA8C371A-6E5C-A035-D456-D3573ADDBE59}"/>
                    </a:ext>
                  </a:extLst>
                </p:cNvPr>
                <p:cNvSpPr/>
                <p:nvPr/>
              </p:nvSpPr>
              <p:spPr>
                <a:xfrm>
                  <a:off x="7831546" y="5682502"/>
                  <a:ext cx="26316" cy="26441"/>
                </a:xfrm>
                <a:custGeom>
                  <a:avLst/>
                  <a:gdLst>
                    <a:gd name="connsiteX0" fmla="*/ 17 w 26316"/>
                    <a:gd name="connsiteY0" fmla="*/ 13843 h 26441"/>
                    <a:gd name="connsiteX1" fmla="*/ 12598 w 26316"/>
                    <a:gd name="connsiteY1" fmla="*/ 18 h 26441"/>
                    <a:gd name="connsiteX2" fmla="*/ 26299 w 26316"/>
                    <a:gd name="connsiteY2" fmla="*/ 12598 h 26441"/>
                    <a:gd name="connsiteX3" fmla="*/ 13718 w 26316"/>
                    <a:gd name="connsiteY3" fmla="*/ 26424 h 26441"/>
                    <a:gd name="connsiteX4" fmla="*/ 17 w 26316"/>
                    <a:gd name="connsiteY4" fmla="*/ 13843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41">
                      <a:moveTo>
                        <a:pt x="17" y="13843"/>
                      </a:moveTo>
                      <a:cubicBezTo>
                        <a:pt x="-357" y="6495"/>
                        <a:pt x="5373" y="267"/>
                        <a:pt x="12598" y="18"/>
                      </a:cubicBezTo>
                      <a:cubicBezTo>
                        <a:pt x="19822" y="-356"/>
                        <a:pt x="26050" y="5249"/>
                        <a:pt x="26299" y="12598"/>
                      </a:cubicBezTo>
                      <a:cubicBezTo>
                        <a:pt x="26673" y="19947"/>
                        <a:pt x="20943" y="26174"/>
                        <a:pt x="13718" y="26424"/>
                      </a:cubicBezTo>
                      <a:cubicBezTo>
                        <a:pt x="6495" y="26797"/>
                        <a:pt x="391" y="21192"/>
                        <a:pt x="17"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4" name="Graphic 2987">
                <a:extLst>
                  <a:ext uri="{FF2B5EF4-FFF2-40B4-BE49-F238E27FC236}">
                    <a16:creationId xmlns:a16="http://schemas.microsoft.com/office/drawing/2014/main" id="{65F1021F-8E12-480F-6692-1B599CC1E186}"/>
                  </a:ext>
                </a:extLst>
              </p:cNvPr>
              <p:cNvGrpSpPr/>
              <p:nvPr/>
            </p:nvGrpSpPr>
            <p:grpSpPr>
              <a:xfrm>
                <a:off x="7855720" y="5558826"/>
                <a:ext cx="31528" cy="148862"/>
                <a:chOff x="7855720" y="5558826"/>
                <a:chExt cx="31528" cy="148862"/>
              </a:xfrm>
              <a:grpFill/>
            </p:grpSpPr>
            <p:sp>
              <p:nvSpPr>
                <p:cNvPr id="4595" name="Freeform 4916">
                  <a:extLst>
                    <a:ext uri="{FF2B5EF4-FFF2-40B4-BE49-F238E27FC236}">
                      <a16:creationId xmlns:a16="http://schemas.microsoft.com/office/drawing/2014/main" id="{BDE8B97A-88BA-0DE2-469E-7BEA1117F6A3}"/>
                    </a:ext>
                  </a:extLst>
                </p:cNvPr>
                <p:cNvSpPr/>
                <p:nvPr/>
              </p:nvSpPr>
              <p:spPr>
                <a:xfrm>
                  <a:off x="7864006" y="5579261"/>
                  <a:ext cx="4792" cy="52189"/>
                </a:xfrm>
                <a:custGeom>
                  <a:avLst/>
                  <a:gdLst>
                    <a:gd name="connsiteX0" fmla="*/ 1686 w 4792"/>
                    <a:gd name="connsiteY0" fmla="*/ 0 h 52189"/>
                    <a:gd name="connsiteX1" fmla="*/ 440 w 4792"/>
                    <a:gd name="connsiteY1" fmla="*/ 18808 h 52189"/>
                    <a:gd name="connsiteX2" fmla="*/ 4550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4"/>
                        <a:pt x="3803" y="28648"/>
                        <a:pt x="4550" y="35748"/>
                      </a:cubicBezTo>
                      <a:cubicBezTo>
                        <a:pt x="5298" y="42599"/>
                        <a:pt x="4177" y="48453"/>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6" name="Freeform 4917">
                  <a:extLst>
                    <a:ext uri="{FF2B5EF4-FFF2-40B4-BE49-F238E27FC236}">
                      <a16:creationId xmlns:a16="http://schemas.microsoft.com/office/drawing/2014/main" id="{9A091856-361F-5B0F-F4F6-16B7093A0B9F}"/>
                    </a:ext>
                  </a:extLst>
                </p:cNvPr>
                <p:cNvSpPr/>
                <p:nvPr/>
              </p:nvSpPr>
              <p:spPr>
                <a:xfrm>
                  <a:off x="7872532" y="5573906"/>
                  <a:ext cx="2900" cy="52065"/>
                </a:xfrm>
                <a:custGeom>
                  <a:avLst/>
                  <a:gdLst>
                    <a:gd name="connsiteX0" fmla="*/ 2875 w 2900"/>
                    <a:gd name="connsiteY0" fmla="*/ 52065 h 52065"/>
                    <a:gd name="connsiteX1" fmla="*/ 135 w 2900"/>
                    <a:gd name="connsiteY1" fmla="*/ 33506 h 52065"/>
                    <a:gd name="connsiteX2" fmla="*/ 2875 w 2900"/>
                    <a:gd name="connsiteY2" fmla="*/ 16317 h 52065"/>
                    <a:gd name="connsiteX3" fmla="*/ 10 w 2900"/>
                    <a:gd name="connsiteY3" fmla="*/ 0 h 52065"/>
                  </a:gdLst>
                  <a:ahLst/>
                  <a:cxnLst>
                    <a:cxn ang="0">
                      <a:pos x="connsiteX0" y="connsiteY0"/>
                    </a:cxn>
                    <a:cxn ang="0">
                      <a:pos x="connsiteX1" y="connsiteY1"/>
                    </a:cxn>
                    <a:cxn ang="0">
                      <a:pos x="connsiteX2" y="connsiteY2"/>
                    </a:cxn>
                    <a:cxn ang="0">
                      <a:pos x="connsiteX3" y="connsiteY3"/>
                    </a:cxn>
                  </a:cxnLst>
                  <a:rect l="l" t="t" r="r" b="b"/>
                  <a:pathLst>
                    <a:path w="2900" h="52065">
                      <a:moveTo>
                        <a:pt x="2875" y="52065"/>
                      </a:moveTo>
                      <a:cubicBezTo>
                        <a:pt x="10" y="44093"/>
                        <a:pt x="-238" y="37741"/>
                        <a:pt x="135" y="33506"/>
                      </a:cubicBezTo>
                      <a:cubicBezTo>
                        <a:pt x="634" y="26531"/>
                        <a:pt x="2626" y="23417"/>
                        <a:pt x="2875" y="16317"/>
                      </a:cubicBezTo>
                      <a:cubicBezTo>
                        <a:pt x="3124" y="9466"/>
                        <a:pt x="1505"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7" name="Freeform 4918">
                  <a:extLst>
                    <a:ext uri="{FF2B5EF4-FFF2-40B4-BE49-F238E27FC236}">
                      <a16:creationId xmlns:a16="http://schemas.microsoft.com/office/drawing/2014/main" id="{524FEE68-1343-B3AB-4981-5216D30DCBA8}"/>
                    </a:ext>
                  </a:extLst>
                </p:cNvPr>
                <p:cNvSpPr/>
                <p:nvPr/>
              </p:nvSpPr>
              <p:spPr>
                <a:xfrm>
                  <a:off x="7855720" y="5558826"/>
                  <a:ext cx="26546" cy="26432"/>
                </a:xfrm>
                <a:custGeom>
                  <a:avLst/>
                  <a:gdLst>
                    <a:gd name="connsiteX0" fmla="*/ 26539 w 26546"/>
                    <a:gd name="connsiteY0" fmla="*/ 12713 h 26432"/>
                    <a:gd name="connsiteX1" fmla="*/ 13834 w 26546"/>
                    <a:gd name="connsiteY1" fmla="*/ 26415 h 26432"/>
                    <a:gd name="connsiteX2" fmla="*/ 8 w 26546"/>
                    <a:gd name="connsiteY2" fmla="*/ 13834 h 26432"/>
                    <a:gd name="connsiteX3" fmla="*/ 12713 w 26546"/>
                    <a:gd name="connsiteY3" fmla="*/ 8 h 26432"/>
                    <a:gd name="connsiteX4" fmla="*/ 26539 w 26546"/>
                    <a:gd name="connsiteY4" fmla="*/ 12713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431">
                      <a:moveTo>
                        <a:pt x="26539" y="12713"/>
                      </a:moveTo>
                      <a:cubicBezTo>
                        <a:pt x="26788" y="20062"/>
                        <a:pt x="21183" y="26165"/>
                        <a:pt x="13834" y="26415"/>
                      </a:cubicBezTo>
                      <a:cubicBezTo>
                        <a:pt x="6485" y="26788"/>
                        <a:pt x="257" y="21183"/>
                        <a:pt x="8" y="13834"/>
                      </a:cubicBezTo>
                      <a:cubicBezTo>
                        <a:pt x="-241" y="6485"/>
                        <a:pt x="5364" y="257"/>
                        <a:pt x="12713" y="8"/>
                      </a:cubicBezTo>
                      <a:cubicBezTo>
                        <a:pt x="20062" y="-241"/>
                        <a:pt x="26289" y="5364"/>
                        <a:pt x="26539" y="12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8" name="Freeform 4919">
                  <a:extLst>
                    <a:ext uri="{FF2B5EF4-FFF2-40B4-BE49-F238E27FC236}">
                      <a16:creationId xmlns:a16="http://schemas.microsoft.com/office/drawing/2014/main" id="{45CE8048-A2F3-04B9-A342-B4A57AD0ACE7}"/>
                    </a:ext>
                  </a:extLst>
                </p:cNvPr>
                <p:cNvSpPr/>
                <p:nvPr/>
              </p:nvSpPr>
              <p:spPr>
                <a:xfrm>
                  <a:off x="7874294" y="5634939"/>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9" name="Freeform 4920">
                  <a:extLst>
                    <a:ext uri="{FF2B5EF4-FFF2-40B4-BE49-F238E27FC236}">
                      <a16:creationId xmlns:a16="http://schemas.microsoft.com/office/drawing/2014/main" id="{981DF2C8-EFDB-4487-E346-B13770575036}"/>
                    </a:ext>
                  </a:extLst>
                </p:cNvPr>
                <p:cNvSpPr/>
                <p:nvPr/>
              </p:nvSpPr>
              <p:spPr>
                <a:xfrm>
                  <a:off x="7867786" y="5640419"/>
                  <a:ext cx="2899" cy="51940"/>
                </a:xfrm>
                <a:custGeom>
                  <a:avLst/>
                  <a:gdLst>
                    <a:gd name="connsiteX0" fmla="*/ 24 w 2899"/>
                    <a:gd name="connsiteY0" fmla="*/ 0 h 51940"/>
                    <a:gd name="connsiteX1" fmla="*/ 2765 w 2899"/>
                    <a:gd name="connsiteY1" fmla="*/ 18559 h 51940"/>
                    <a:gd name="connsiteX2" fmla="*/ 24 w 2899"/>
                    <a:gd name="connsiteY2" fmla="*/ 35748 h 51940"/>
                    <a:gd name="connsiteX3" fmla="*/ 2889 w 289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2899" h="51940">
                      <a:moveTo>
                        <a:pt x="24" y="0"/>
                      </a:moveTo>
                      <a:cubicBezTo>
                        <a:pt x="2889" y="7971"/>
                        <a:pt x="3138" y="14199"/>
                        <a:pt x="2765" y="18559"/>
                      </a:cubicBezTo>
                      <a:cubicBezTo>
                        <a:pt x="2267" y="25534"/>
                        <a:pt x="273" y="28648"/>
                        <a:pt x="24" y="35748"/>
                      </a:cubicBezTo>
                      <a:cubicBezTo>
                        <a:pt x="-225" y="42599"/>
                        <a:pt x="1519" y="48328"/>
                        <a:pt x="2889"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0" name="Freeform 4921">
                  <a:extLst>
                    <a:ext uri="{FF2B5EF4-FFF2-40B4-BE49-F238E27FC236}">
                      <a16:creationId xmlns:a16="http://schemas.microsoft.com/office/drawing/2014/main" id="{4836DA61-E80E-346C-6FA7-FCC4B5A5100F}"/>
                    </a:ext>
                  </a:extLst>
                </p:cNvPr>
                <p:cNvSpPr/>
                <p:nvPr/>
              </p:nvSpPr>
              <p:spPr>
                <a:xfrm>
                  <a:off x="7860942" y="5681142"/>
                  <a:ext cx="26306" cy="26546"/>
                </a:xfrm>
                <a:custGeom>
                  <a:avLst/>
                  <a:gdLst>
                    <a:gd name="connsiteX0" fmla="*/ 17 w 26306"/>
                    <a:gd name="connsiteY0" fmla="*/ 13834 h 26546"/>
                    <a:gd name="connsiteX1" fmla="*/ 12598 w 26306"/>
                    <a:gd name="connsiteY1" fmla="*/ 8 h 26546"/>
                    <a:gd name="connsiteX2" fmla="*/ 26299 w 26306"/>
                    <a:gd name="connsiteY2" fmla="*/ 12837 h 26546"/>
                    <a:gd name="connsiteX3" fmla="*/ 13719 w 26306"/>
                    <a:gd name="connsiteY3" fmla="*/ 26539 h 26546"/>
                    <a:gd name="connsiteX4" fmla="*/ 17 w 26306"/>
                    <a:gd name="connsiteY4" fmla="*/ 13834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17" y="13834"/>
                      </a:moveTo>
                      <a:cubicBezTo>
                        <a:pt x="-356" y="6485"/>
                        <a:pt x="5373" y="257"/>
                        <a:pt x="12598" y="8"/>
                      </a:cubicBezTo>
                      <a:cubicBezTo>
                        <a:pt x="19822" y="-241"/>
                        <a:pt x="26050" y="5488"/>
                        <a:pt x="26299" y="12837"/>
                      </a:cubicBezTo>
                      <a:cubicBezTo>
                        <a:pt x="26548" y="20186"/>
                        <a:pt x="20943" y="26290"/>
                        <a:pt x="13719" y="26539"/>
                      </a:cubicBezTo>
                      <a:cubicBezTo>
                        <a:pt x="6495" y="26788"/>
                        <a:pt x="391" y="21183"/>
                        <a:pt x="17"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5" name="Graphic 2987">
                <a:extLst>
                  <a:ext uri="{FF2B5EF4-FFF2-40B4-BE49-F238E27FC236}">
                    <a16:creationId xmlns:a16="http://schemas.microsoft.com/office/drawing/2014/main" id="{FDFB093A-E1BD-1A02-5E50-417A2738BBBF}"/>
                  </a:ext>
                </a:extLst>
              </p:cNvPr>
              <p:cNvGrpSpPr/>
              <p:nvPr/>
            </p:nvGrpSpPr>
            <p:grpSpPr>
              <a:xfrm>
                <a:off x="7885365" y="5557705"/>
                <a:ext cx="31404" cy="148862"/>
                <a:chOff x="7885365" y="5557705"/>
                <a:chExt cx="31404" cy="148862"/>
              </a:xfrm>
              <a:grpFill/>
            </p:grpSpPr>
            <p:sp>
              <p:nvSpPr>
                <p:cNvPr id="4589" name="Freeform 4923">
                  <a:extLst>
                    <a:ext uri="{FF2B5EF4-FFF2-40B4-BE49-F238E27FC236}">
                      <a16:creationId xmlns:a16="http://schemas.microsoft.com/office/drawing/2014/main" id="{FC698D14-69E3-012A-1FA5-782A08940E5B}"/>
                    </a:ext>
                  </a:extLst>
                </p:cNvPr>
                <p:cNvSpPr/>
                <p:nvPr/>
              </p:nvSpPr>
              <p:spPr>
                <a:xfrm>
                  <a:off x="7893651" y="5578140"/>
                  <a:ext cx="4792" cy="52189"/>
                </a:xfrm>
                <a:custGeom>
                  <a:avLst/>
                  <a:gdLst>
                    <a:gd name="connsiteX0" fmla="*/ 1686 w 4792"/>
                    <a:gd name="connsiteY0" fmla="*/ 0 h 52189"/>
                    <a:gd name="connsiteX1" fmla="*/ 441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1" y="8096"/>
                        <a:pt x="-183" y="14449"/>
                        <a:pt x="441" y="18808"/>
                      </a:cubicBezTo>
                      <a:cubicBezTo>
                        <a:pt x="1437" y="25784"/>
                        <a:pt x="3803"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0" name="Freeform 4924">
                  <a:extLst>
                    <a:ext uri="{FF2B5EF4-FFF2-40B4-BE49-F238E27FC236}">
                      <a16:creationId xmlns:a16="http://schemas.microsoft.com/office/drawing/2014/main" id="{0AA293D9-8F9B-E807-D995-0AB5884EA398}"/>
                    </a:ext>
                  </a:extLst>
                </p:cNvPr>
                <p:cNvSpPr/>
                <p:nvPr/>
              </p:nvSpPr>
              <p:spPr>
                <a:xfrm>
                  <a:off x="7902113" y="5572909"/>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4"/>
                        <a:pt x="-174" y="37741"/>
                        <a:pt x="74" y="33506"/>
                      </a:cubicBezTo>
                      <a:cubicBezTo>
                        <a:pt x="573" y="26531"/>
                        <a:pt x="2566" y="23417"/>
                        <a:pt x="2815" y="16317"/>
                      </a:cubicBezTo>
                      <a:cubicBezTo>
                        <a:pt x="3064" y="9467"/>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1" name="Freeform 4925">
                  <a:extLst>
                    <a:ext uri="{FF2B5EF4-FFF2-40B4-BE49-F238E27FC236}">
                      <a16:creationId xmlns:a16="http://schemas.microsoft.com/office/drawing/2014/main" id="{05FCC8AE-1428-7C39-180D-A01866956634}"/>
                    </a:ext>
                  </a:extLst>
                </p:cNvPr>
                <p:cNvSpPr/>
                <p:nvPr/>
              </p:nvSpPr>
              <p:spPr>
                <a:xfrm>
                  <a:off x="7885365" y="5557705"/>
                  <a:ext cx="26671" cy="26546"/>
                </a:xfrm>
                <a:custGeom>
                  <a:avLst/>
                  <a:gdLst>
                    <a:gd name="connsiteX0" fmla="*/ 26663 w 26671"/>
                    <a:gd name="connsiteY0" fmla="*/ 12837 h 26546"/>
                    <a:gd name="connsiteX1" fmla="*/ 13834 w 26671"/>
                    <a:gd name="connsiteY1" fmla="*/ 26539 h 26546"/>
                    <a:gd name="connsiteX2" fmla="*/ 8 w 26671"/>
                    <a:gd name="connsiteY2" fmla="*/ 13709 h 26546"/>
                    <a:gd name="connsiteX3" fmla="*/ 12837 w 26671"/>
                    <a:gd name="connsiteY3" fmla="*/ 8 h 26546"/>
                    <a:gd name="connsiteX4" fmla="*/ 26663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2837"/>
                      </a:moveTo>
                      <a:cubicBezTo>
                        <a:pt x="26912" y="20186"/>
                        <a:pt x="21183" y="26290"/>
                        <a:pt x="13834" y="26539"/>
                      </a:cubicBezTo>
                      <a:cubicBezTo>
                        <a:pt x="6485" y="26788"/>
                        <a:pt x="257"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2" name="Freeform 4926">
                  <a:extLst>
                    <a:ext uri="{FF2B5EF4-FFF2-40B4-BE49-F238E27FC236}">
                      <a16:creationId xmlns:a16="http://schemas.microsoft.com/office/drawing/2014/main" id="{CCF20ADE-E018-EE49-70A6-75423C04E4BB}"/>
                    </a:ext>
                  </a:extLst>
                </p:cNvPr>
                <p:cNvSpPr/>
                <p:nvPr/>
              </p:nvSpPr>
              <p:spPr>
                <a:xfrm>
                  <a:off x="7903814" y="5633942"/>
                  <a:ext cx="4792" cy="52189"/>
                </a:xfrm>
                <a:custGeom>
                  <a:avLst/>
                  <a:gdLst>
                    <a:gd name="connsiteX0" fmla="*/ 3107 w 4792"/>
                    <a:gd name="connsiteY0" fmla="*/ 52190 h 52189"/>
                    <a:gd name="connsiteX1" fmla="*/ 4353 w 4792"/>
                    <a:gd name="connsiteY1" fmla="*/ 33382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2"/>
                      </a:cubicBezTo>
                      <a:cubicBezTo>
                        <a:pt x="3356" y="26407"/>
                        <a:pt x="1114" y="23542"/>
                        <a:pt x="242" y="16442"/>
                      </a:cubicBezTo>
                      <a:cubicBezTo>
                        <a:pt x="-505" y="9591"/>
                        <a:pt x="615" y="3862"/>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3" name="Freeform 4927">
                  <a:extLst>
                    <a:ext uri="{FF2B5EF4-FFF2-40B4-BE49-F238E27FC236}">
                      <a16:creationId xmlns:a16="http://schemas.microsoft.com/office/drawing/2014/main" id="{D5CDD9FC-F82D-A338-2791-FE4CBCDD393E}"/>
                    </a:ext>
                  </a:extLst>
                </p:cNvPr>
                <p:cNvSpPr/>
                <p:nvPr/>
              </p:nvSpPr>
              <p:spPr>
                <a:xfrm>
                  <a:off x="7897305" y="563929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1"/>
                        <a:pt x="3015" y="14324"/>
                        <a:pt x="2766" y="18559"/>
                      </a:cubicBezTo>
                      <a:cubicBezTo>
                        <a:pt x="2268" y="25534"/>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4" name="Freeform 4928">
                  <a:extLst>
                    <a:ext uri="{FF2B5EF4-FFF2-40B4-BE49-F238E27FC236}">
                      <a16:creationId xmlns:a16="http://schemas.microsoft.com/office/drawing/2014/main" id="{917A161C-BD12-4A4D-AF54-EBE332C0E9EB}"/>
                    </a:ext>
                  </a:extLst>
                </p:cNvPr>
                <p:cNvSpPr/>
                <p:nvPr/>
              </p:nvSpPr>
              <p:spPr>
                <a:xfrm>
                  <a:off x="7890346" y="5680021"/>
                  <a:ext cx="26422" cy="26546"/>
                </a:xfrm>
                <a:custGeom>
                  <a:avLst/>
                  <a:gdLst>
                    <a:gd name="connsiteX0" fmla="*/ 8 w 26422"/>
                    <a:gd name="connsiteY0" fmla="*/ 13709 h 26546"/>
                    <a:gd name="connsiteX1" fmla="*/ 12713 w 26422"/>
                    <a:gd name="connsiteY1" fmla="*/ 8 h 26546"/>
                    <a:gd name="connsiteX2" fmla="*/ 26415 w 26422"/>
                    <a:gd name="connsiteY2" fmla="*/ 12837 h 26546"/>
                    <a:gd name="connsiteX3" fmla="*/ 13710 w 26422"/>
                    <a:gd name="connsiteY3" fmla="*/ 26539 h 26546"/>
                    <a:gd name="connsiteX4" fmla="*/ 8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3709"/>
                      </a:moveTo>
                      <a:cubicBezTo>
                        <a:pt x="-241" y="6360"/>
                        <a:pt x="5365" y="257"/>
                        <a:pt x="12713" y="8"/>
                      </a:cubicBezTo>
                      <a:cubicBezTo>
                        <a:pt x="19938" y="-241"/>
                        <a:pt x="26166" y="5488"/>
                        <a:pt x="26415" y="12837"/>
                      </a:cubicBezTo>
                      <a:cubicBezTo>
                        <a:pt x="26663" y="20186"/>
                        <a:pt x="21058" y="26290"/>
                        <a:pt x="13710"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6" name="Graphic 2987">
                <a:extLst>
                  <a:ext uri="{FF2B5EF4-FFF2-40B4-BE49-F238E27FC236}">
                    <a16:creationId xmlns:a16="http://schemas.microsoft.com/office/drawing/2014/main" id="{F3E0FAB3-6BDE-D4A0-42C3-FCDAEFD51FB8}"/>
                  </a:ext>
                </a:extLst>
              </p:cNvPr>
              <p:cNvGrpSpPr/>
              <p:nvPr/>
            </p:nvGrpSpPr>
            <p:grpSpPr>
              <a:xfrm>
                <a:off x="7915134" y="5556709"/>
                <a:ext cx="31039" cy="148861"/>
                <a:chOff x="7915134" y="5556709"/>
                <a:chExt cx="31039" cy="148861"/>
              </a:xfrm>
              <a:grpFill/>
            </p:grpSpPr>
            <p:sp>
              <p:nvSpPr>
                <p:cNvPr id="4583" name="Freeform 4930">
                  <a:extLst>
                    <a:ext uri="{FF2B5EF4-FFF2-40B4-BE49-F238E27FC236}">
                      <a16:creationId xmlns:a16="http://schemas.microsoft.com/office/drawing/2014/main" id="{3184EE5B-FECD-D735-1469-A93138560590}"/>
                    </a:ext>
                  </a:extLst>
                </p:cNvPr>
                <p:cNvSpPr/>
                <p:nvPr/>
              </p:nvSpPr>
              <p:spPr>
                <a:xfrm>
                  <a:off x="7923330" y="5577144"/>
                  <a:ext cx="4869" cy="52189"/>
                </a:xfrm>
                <a:custGeom>
                  <a:avLst/>
                  <a:gdLst>
                    <a:gd name="connsiteX0" fmla="*/ 1776 w 4869"/>
                    <a:gd name="connsiteY0" fmla="*/ 0 h 52189"/>
                    <a:gd name="connsiteX1" fmla="*/ 530 w 4869"/>
                    <a:gd name="connsiteY1" fmla="*/ 18808 h 52189"/>
                    <a:gd name="connsiteX2" fmla="*/ 4641 w 4869"/>
                    <a:gd name="connsiteY2" fmla="*/ 35748 h 52189"/>
                    <a:gd name="connsiteX3" fmla="*/ 3146 w 48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69" h="52189">
                      <a:moveTo>
                        <a:pt x="1776" y="0"/>
                      </a:moveTo>
                      <a:cubicBezTo>
                        <a:pt x="-465" y="8097"/>
                        <a:pt x="-217" y="14449"/>
                        <a:pt x="530" y="18808"/>
                      </a:cubicBezTo>
                      <a:cubicBezTo>
                        <a:pt x="1527" y="25784"/>
                        <a:pt x="3769" y="28648"/>
                        <a:pt x="4641" y="35748"/>
                      </a:cubicBezTo>
                      <a:cubicBezTo>
                        <a:pt x="5388" y="42599"/>
                        <a:pt x="4143" y="48328"/>
                        <a:pt x="31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4" name="Freeform 4931">
                  <a:extLst>
                    <a:ext uri="{FF2B5EF4-FFF2-40B4-BE49-F238E27FC236}">
                      <a16:creationId xmlns:a16="http://schemas.microsoft.com/office/drawing/2014/main" id="{012F6367-6EB1-B2D3-1E05-01B6E3BC5CE3}"/>
                    </a:ext>
                  </a:extLst>
                </p:cNvPr>
                <p:cNvSpPr/>
                <p:nvPr/>
              </p:nvSpPr>
              <p:spPr>
                <a:xfrm>
                  <a:off x="7931821" y="5571913"/>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4"/>
                        <a:pt x="-237" y="37741"/>
                        <a:pt x="136" y="33506"/>
                      </a:cubicBezTo>
                      <a:cubicBezTo>
                        <a:pt x="634" y="26531"/>
                        <a:pt x="2628" y="23417"/>
                        <a:pt x="2877" y="16317"/>
                      </a:cubicBezTo>
                      <a:cubicBezTo>
                        <a:pt x="3125" y="9467"/>
                        <a:pt x="1506"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5" name="Freeform 4932">
                  <a:extLst>
                    <a:ext uri="{FF2B5EF4-FFF2-40B4-BE49-F238E27FC236}">
                      <a16:creationId xmlns:a16="http://schemas.microsoft.com/office/drawing/2014/main" id="{971C45AD-A30F-B9C6-B852-EA945CEB8142}"/>
                    </a:ext>
                  </a:extLst>
                </p:cNvPr>
                <p:cNvSpPr/>
                <p:nvPr/>
              </p:nvSpPr>
              <p:spPr>
                <a:xfrm>
                  <a:off x="7915134" y="5556709"/>
                  <a:ext cx="26670" cy="26546"/>
                </a:xfrm>
                <a:custGeom>
                  <a:avLst/>
                  <a:gdLst>
                    <a:gd name="connsiteX0" fmla="*/ 26663 w 26670"/>
                    <a:gd name="connsiteY0" fmla="*/ 12837 h 26546"/>
                    <a:gd name="connsiteX1" fmla="*/ 13834 w 26670"/>
                    <a:gd name="connsiteY1" fmla="*/ 26539 h 26546"/>
                    <a:gd name="connsiteX2" fmla="*/ 8 w 26670"/>
                    <a:gd name="connsiteY2" fmla="*/ 13709 h 26546"/>
                    <a:gd name="connsiteX3" fmla="*/ 12837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2" y="20186"/>
                        <a:pt x="21182" y="26289"/>
                        <a:pt x="13834" y="26539"/>
                      </a:cubicBezTo>
                      <a:cubicBezTo>
                        <a:pt x="6484" y="26788"/>
                        <a:pt x="381"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6" name="Freeform 4933">
                  <a:extLst>
                    <a:ext uri="{FF2B5EF4-FFF2-40B4-BE49-F238E27FC236}">
                      <a16:creationId xmlns:a16="http://schemas.microsoft.com/office/drawing/2014/main" id="{0657F68E-0EF3-4A17-3337-48108E5EDABB}"/>
                    </a:ext>
                  </a:extLst>
                </p:cNvPr>
                <p:cNvSpPr/>
                <p:nvPr/>
              </p:nvSpPr>
              <p:spPr>
                <a:xfrm>
                  <a:off x="7933348" y="5632946"/>
                  <a:ext cx="4654" cy="52189"/>
                </a:xfrm>
                <a:custGeom>
                  <a:avLst/>
                  <a:gdLst>
                    <a:gd name="connsiteX0" fmla="*/ 2968 w 4654"/>
                    <a:gd name="connsiteY0" fmla="*/ 52190 h 52189"/>
                    <a:gd name="connsiteX1" fmla="*/ 4214 w 4654"/>
                    <a:gd name="connsiteY1" fmla="*/ 33381 h 52189"/>
                    <a:gd name="connsiteX2" fmla="*/ 228 w 4654"/>
                    <a:gd name="connsiteY2" fmla="*/ 16442 h 52189"/>
                    <a:gd name="connsiteX3" fmla="*/ 1723 w 4654"/>
                    <a:gd name="connsiteY3" fmla="*/ 0 h 52189"/>
                  </a:gdLst>
                  <a:ahLst/>
                  <a:cxnLst>
                    <a:cxn ang="0">
                      <a:pos x="connsiteX0" y="connsiteY0"/>
                    </a:cxn>
                    <a:cxn ang="0">
                      <a:pos x="connsiteX1" y="connsiteY1"/>
                    </a:cxn>
                    <a:cxn ang="0">
                      <a:pos x="connsiteX2" y="connsiteY2"/>
                    </a:cxn>
                    <a:cxn ang="0">
                      <a:pos x="connsiteX3" y="connsiteY3"/>
                    </a:cxn>
                  </a:cxnLst>
                  <a:rect l="l" t="t" r="r" b="b"/>
                  <a:pathLst>
                    <a:path w="4654" h="52189">
                      <a:moveTo>
                        <a:pt x="2968" y="52190"/>
                      </a:moveTo>
                      <a:cubicBezTo>
                        <a:pt x="5086" y="44094"/>
                        <a:pt x="4837" y="37741"/>
                        <a:pt x="4214" y="33381"/>
                      </a:cubicBezTo>
                      <a:cubicBezTo>
                        <a:pt x="3217" y="26406"/>
                        <a:pt x="975" y="23542"/>
                        <a:pt x="228" y="16442"/>
                      </a:cubicBezTo>
                      <a:cubicBezTo>
                        <a:pt x="-519" y="9591"/>
                        <a:pt x="726" y="3861"/>
                        <a:pt x="1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7" name="Freeform 4934">
                  <a:extLst>
                    <a:ext uri="{FF2B5EF4-FFF2-40B4-BE49-F238E27FC236}">
                      <a16:creationId xmlns:a16="http://schemas.microsoft.com/office/drawing/2014/main" id="{4C1A8705-8496-ECDD-D73B-8C46E09CEE80}"/>
                    </a:ext>
                  </a:extLst>
                </p:cNvPr>
                <p:cNvSpPr/>
                <p:nvPr/>
              </p:nvSpPr>
              <p:spPr>
                <a:xfrm>
                  <a:off x="7926700" y="5638302"/>
                  <a:ext cx="2902" cy="52065"/>
                </a:xfrm>
                <a:custGeom>
                  <a:avLst/>
                  <a:gdLst>
                    <a:gd name="connsiteX0" fmla="*/ 150 w 2902"/>
                    <a:gd name="connsiteY0" fmla="*/ 0 h 52065"/>
                    <a:gd name="connsiteX1" fmla="*/ 2766 w 2902"/>
                    <a:gd name="connsiteY1" fmla="*/ 18559 h 52065"/>
                    <a:gd name="connsiteX2" fmla="*/ 26 w 2902"/>
                    <a:gd name="connsiteY2" fmla="*/ 35748 h 52065"/>
                    <a:gd name="connsiteX3" fmla="*/ 276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150" y="0"/>
                      </a:moveTo>
                      <a:cubicBezTo>
                        <a:pt x="2890" y="7972"/>
                        <a:pt x="3140" y="14324"/>
                        <a:pt x="2766" y="18559"/>
                      </a:cubicBezTo>
                      <a:cubicBezTo>
                        <a:pt x="2268" y="25535"/>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8" name="Freeform 4935">
                  <a:extLst>
                    <a:ext uri="{FF2B5EF4-FFF2-40B4-BE49-F238E27FC236}">
                      <a16:creationId xmlns:a16="http://schemas.microsoft.com/office/drawing/2014/main" id="{7437DB7E-284A-D6EE-4751-F2CEE477978B}"/>
                    </a:ext>
                  </a:extLst>
                </p:cNvPr>
                <p:cNvSpPr/>
                <p:nvPr/>
              </p:nvSpPr>
              <p:spPr>
                <a:xfrm>
                  <a:off x="7919742" y="5679024"/>
                  <a:ext cx="26431" cy="26546"/>
                </a:xfrm>
                <a:custGeom>
                  <a:avLst/>
                  <a:gdLst>
                    <a:gd name="connsiteX0" fmla="*/ 8 w 26431"/>
                    <a:gd name="connsiteY0" fmla="*/ 13709 h 26546"/>
                    <a:gd name="connsiteX1" fmla="*/ 12712 w 26431"/>
                    <a:gd name="connsiteY1" fmla="*/ 8 h 26546"/>
                    <a:gd name="connsiteX2" fmla="*/ 26414 w 26431"/>
                    <a:gd name="connsiteY2" fmla="*/ 12837 h 26546"/>
                    <a:gd name="connsiteX3" fmla="*/ 13709 w 26431"/>
                    <a:gd name="connsiteY3" fmla="*/ 26538 h 26546"/>
                    <a:gd name="connsiteX4" fmla="*/ 8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8" y="13709"/>
                      </a:moveTo>
                      <a:cubicBezTo>
                        <a:pt x="-241" y="6360"/>
                        <a:pt x="5364" y="257"/>
                        <a:pt x="12712" y="8"/>
                      </a:cubicBezTo>
                      <a:cubicBezTo>
                        <a:pt x="19937" y="-242"/>
                        <a:pt x="26040" y="5488"/>
                        <a:pt x="26414" y="12837"/>
                      </a:cubicBezTo>
                      <a:cubicBezTo>
                        <a:pt x="26787" y="20186"/>
                        <a:pt x="21058" y="26289"/>
                        <a:pt x="13709" y="26538"/>
                      </a:cubicBezTo>
                      <a:cubicBezTo>
                        <a:pt x="6484"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7" name="Graphic 2987">
                <a:extLst>
                  <a:ext uri="{FF2B5EF4-FFF2-40B4-BE49-F238E27FC236}">
                    <a16:creationId xmlns:a16="http://schemas.microsoft.com/office/drawing/2014/main" id="{E8D08EFB-F511-0AEA-B4FA-CE784EF01F99}"/>
                  </a:ext>
                </a:extLst>
              </p:cNvPr>
              <p:cNvGrpSpPr/>
              <p:nvPr/>
            </p:nvGrpSpPr>
            <p:grpSpPr>
              <a:xfrm>
                <a:off x="7944903" y="5555594"/>
                <a:ext cx="30532" cy="148980"/>
                <a:chOff x="7944903" y="5555594"/>
                <a:chExt cx="30532" cy="148980"/>
              </a:xfrm>
              <a:grpFill/>
            </p:grpSpPr>
            <p:sp>
              <p:nvSpPr>
                <p:cNvPr id="4577" name="Freeform 4937">
                  <a:extLst>
                    <a:ext uri="{FF2B5EF4-FFF2-40B4-BE49-F238E27FC236}">
                      <a16:creationId xmlns:a16="http://schemas.microsoft.com/office/drawing/2014/main" id="{AF3F6161-9F62-9818-C43D-41B77C897AF9}"/>
                    </a:ext>
                  </a:extLst>
                </p:cNvPr>
                <p:cNvSpPr/>
                <p:nvPr/>
              </p:nvSpPr>
              <p:spPr>
                <a:xfrm>
                  <a:off x="7952948" y="5576148"/>
                  <a:ext cx="4644" cy="52189"/>
                </a:xfrm>
                <a:custGeom>
                  <a:avLst/>
                  <a:gdLst>
                    <a:gd name="connsiteX0" fmla="*/ 1803 w 4644"/>
                    <a:gd name="connsiteY0" fmla="*/ 0 h 52189"/>
                    <a:gd name="connsiteX1" fmla="*/ 433 w 4644"/>
                    <a:gd name="connsiteY1" fmla="*/ 18808 h 52189"/>
                    <a:gd name="connsiteX2" fmla="*/ 4418 w 4644"/>
                    <a:gd name="connsiteY2" fmla="*/ 35748 h 52189"/>
                    <a:gd name="connsiteX3" fmla="*/ 2799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1803" y="0"/>
                      </a:moveTo>
                      <a:cubicBezTo>
                        <a:pt x="-439" y="8096"/>
                        <a:pt x="-190" y="14449"/>
                        <a:pt x="433" y="18808"/>
                      </a:cubicBezTo>
                      <a:cubicBezTo>
                        <a:pt x="1429" y="25784"/>
                        <a:pt x="3671" y="28648"/>
                        <a:pt x="4418" y="35748"/>
                      </a:cubicBezTo>
                      <a:cubicBezTo>
                        <a:pt x="5165"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8" name="Freeform 4938">
                  <a:extLst>
                    <a:ext uri="{FF2B5EF4-FFF2-40B4-BE49-F238E27FC236}">
                      <a16:creationId xmlns:a16="http://schemas.microsoft.com/office/drawing/2014/main" id="{FB96671B-35CF-0AD5-F38F-194B95CFD21D}"/>
                    </a:ext>
                  </a:extLst>
                </p:cNvPr>
                <p:cNvSpPr/>
                <p:nvPr/>
              </p:nvSpPr>
              <p:spPr>
                <a:xfrm>
                  <a:off x="7961341" y="557091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4"/>
                        <a:pt x="-237" y="37741"/>
                        <a:pt x="136" y="33506"/>
                      </a:cubicBezTo>
                      <a:cubicBezTo>
                        <a:pt x="634" y="26531"/>
                        <a:pt x="2752" y="23417"/>
                        <a:pt x="3001" y="16317"/>
                      </a:cubicBezTo>
                      <a:cubicBezTo>
                        <a:pt x="3250" y="9467"/>
                        <a:pt x="1631"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9" name="Freeform 4939">
                  <a:extLst>
                    <a:ext uri="{FF2B5EF4-FFF2-40B4-BE49-F238E27FC236}">
                      <a16:creationId xmlns:a16="http://schemas.microsoft.com/office/drawing/2014/main" id="{B7013333-BA3B-2530-0B12-1F651BCAEF2E}"/>
                    </a:ext>
                  </a:extLst>
                </p:cNvPr>
                <p:cNvSpPr/>
                <p:nvPr/>
              </p:nvSpPr>
              <p:spPr>
                <a:xfrm>
                  <a:off x="7944903" y="5555594"/>
                  <a:ext cx="26546" cy="26540"/>
                </a:xfrm>
                <a:custGeom>
                  <a:avLst/>
                  <a:gdLst>
                    <a:gd name="connsiteX0" fmla="*/ 26539 w 26546"/>
                    <a:gd name="connsiteY0" fmla="*/ 12831 h 26540"/>
                    <a:gd name="connsiteX1" fmla="*/ 13710 w 26546"/>
                    <a:gd name="connsiteY1" fmla="*/ 26533 h 26540"/>
                    <a:gd name="connsiteX2" fmla="*/ 8 w 26546"/>
                    <a:gd name="connsiteY2" fmla="*/ 13703 h 26540"/>
                    <a:gd name="connsiteX3" fmla="*/ 12838 w 26546"/>
                    <a:gd name="connsiteY3" fmla="*/ 2 h 26540"/>
                    <a:gd name="connsiteX4" fmla="*/ 26539 w 26546"/>
                    <a:gd name="connsiteY4" fmla="*/ 1283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0">
                      <a:moveTo>
                        <a:pt x="26539" y="12831"/>
                      </a:moveTo>
                      <a:cubicBezTo>
                        <a:pt x="26788" y="20180"/>
                        <a:pt x="21058" y="26284"/>
                        <a:pt x="13710" y="26533"/>
                      </a:cubicBezTo>
                      <a:cubicBezTo>
                        <a:pt x="6360" y="26782"/>
                        <a:pt x="257" y="21052"/>
                        <a:pt x="8" y="13703"/>
                      </a:cubicBezTo>
                      <a:cubicBezTo>
                        <a:pt x="-241" y="6354"/>
                        <a:pt x="5488" y="251"/>
                        <a:pt x="12838" y="2"/>
                      </a:cubicBezTo>
                      <a:cubicBezTo>
                        <a:pt x="20186" y="-123"/>
                        <a:pt x="26290" y="5483"/>
                        <a:pt x="26539" y="128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0" name="Freeform 4940">
                  <a:extLst>
                    <a:ext uri="{FF2B5EF4-FFF2-40B4-BE49-F238E27FC236}">
                      <a16:creationId xmlns:a16="http://schemas.microsoft.com/office/drawing/2014/main" id="{C34E76B3-7BAC-67F3-2764-AEAB59FF0D7F}"/>
                    </a:ext>
                  </a:extLst>
                </p:cNvPr>
                <p:cNvSpPr/>
                <p:nvPr/>
              </p:nvSpPr>
              <p:spPr>
                <a:xfrm>
                  <a:off x="7962870" y="5631825"/>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1" name="Freeform 4941">
                  <a:extLst>
                    <a:ext uri="{FF2B5EF4-FFF2-40B4-BE49-F238E27FC236}">
                      <a16:creationId xmlns:a16="http://schemas.microsoft.com/office/drawing/2014/main" id="{067FDA4A-519C-6A65-9F60-49456E7BD1DE}"/>
                    </a:ext>
                  </a:extLst>
                </p:cNvPr>
                <p:cNvSpPr/>
                <p:nvPr/>
              </p:nvSpPr>
              <p:spPr>
                <a:xfrm>
                  <a:off x="7956095" y="5637181"/>
                  <a:ext cx="3026" cy="52065"/>
                </a:xfrm>
                <a:custGeom>
                  <a:avLst/>
                  <a:gdLst>
                    <a:gd name="connsiteX0" fmla="*/ 275 w 3026"/>
                    <a:gd name="connsiteY0" fmla="*/ 0 h 52065"/>
                    <a:gd name="connsiteX1" fmla="*/ 2890 w 3026"/>
                    <a:gd name="connsiteY1" fmla="*/ 18559 h 52065"/>
                    <a:gd name="connsiteX2" fmla="*/ 26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0" y="18559"/>
                      </a:cubicBezTo>
                      <a:cubicBezTo>
                        <a:pt x="2392" y="25535"/>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2" name="Freeform 4942">
                  <a:extLst>
                    <a:ext uri="{FF2B5EF4-FFF2-40B4-BE49-F238E27FC236}">
                      <a16:creationId xmlns:a16="http://schemas.microsoft.com/office/drawing/2014/main" id="{CF30F242-E2D7-5910-BEDB-B722133620AF}"/>
                    </a:ext>
                  </a:extLst>
                </p:cNvPr>
                <p:cNvSpPr/>
                <p:nvPr/>
              </p:nvSpPr>
              <p:spPr>
                <a:xfrm>
                  <a:off x="7949138" y="5678028"/>
                  <a:ext cx="26297" cy="26546"/>
                </a:xfrm>
                <a:custGeom>
                  <a:avLst/>
                  <a:gdLst>
                    <a:gd name="connsiteX0" fmla="*/ 8 w 26297"/>
                    <a:gd name="connsiteY0" fmla="*/ 13709 h 26546"/>
                    <a:gd name="connsiteX1" fmla="*/ 12713 w 26297"/>
                    <a:gd name="connsiteY1" fmla="*/ 8 h 26546"/>
                    <a:gd name="connsiteX2" fmla="*/ 26289 w 26297"/>
                    <a:gd name="connsiteY2" fmla="*/ 12837 h 26546"/>
                    <a:gd name="connsiteX3" fmla="*/ 13585 w 26297"/>
                    <a:gd name="connsiteY3" fmla="*/ 26539 h 26546"/>
                    <a:gd name="connsiteX4" fmla="*/ 8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3709"/>
                      </a:moveTo>
                      <a:cubicBezTo>
                        <a:pt x="-242" y="6360"/>
                        <a:pt x="5488" y="257"/>
                        <a:pt x="12713" y="8"/>
                      </a:cubicBezTo>
                      <a:cubicBezTo>
                        <a:pt x="19937" y="-241"/>
                        <a:pt x="26041" y="5488"/>
                        <a:pt x="26289" y="12837"/>
                      </a:cubicBezTo>
                      <a:cubicBezTo>
                        <a:pt x="26539" y="20186"/>
                        <a:pt x="20809" y="26290"/>
                        <a:pt x="13585" y="26539"/>
                      </a:cubicBezTo>
                      <a:cubicBezTo>
                        <a:pt x="6360"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8" name="Graphic 2987">
                <a:extLst>
                  <a:ext uri="{FF2B5EF4-FFF2-40B4-BE49-F238E27FC236}">
                    <a16:creationId xmlns:a16="http://schemas.microsoft.com/office/drawing/2014/main" id="{2C2DBF08-1B4C-4850-D6C8-7C606FBAAE81}"/>
                  </a:ext>
                </a:extLst>
              </p:cNvPr>
              <p:cNvGrpSpPr/>
              <p:nvPr/>
            </p:nvGrpSpPr>
            <p:grpSpPr>
              <a:xfrm>
                <a:off x="7974672" y="5554591"/>
                <a:ext cx="30283" cy="148981"/>
                <a:chOff x="7974672" y="5554591"/>
                <a:chExt cx="30283" cy="148981"/>
              </a:xfrm>
              <a:grpFill/>
            </p:grpSpPr>
            <p:sp>
              <p:nvSpPr>
                <p:cNvPr id="4571" name="Freeform 4944">
                  <a:extLst>
                    <a:ext uri="{FF2B5EF4-FFF2-40B4-BE49-F238E27FC236}">
                      <a16:creationId xmlns:a16="http://schemas.microsoft.com/office/drawing/2014/main" id="{10817F26-AAD6-0CA6-3769-E670B6780B88}"/>
                    </a:ext>
                  </a:extLst>
                </p:cNvPr>
                <p:cNvSpPr/>
                <p:nvPr/>
              </p:nvSpPr>
              <p:spPr>
                <a:xfrm>
                  <a:off x="7982717" y="5575027"/>
                  <a:ext cx="4645" cy="52189"/>
                </a:xfrm>
                <a:custGeom>
                  <a:avLst/>
                  <a:gdLst>
                    <a:gd name="connsiteX0" fmla="*/ 1803 w 4645"/>
                    <a:gd name="connsiteY0" fmla="*/ 0 h 52189"/>
                    <a:gd name="connsiteX1" fmla="*/ 433 w 4645"/>
                    <a:gd name="connsiteY1" fmla="*/ 18808 h 52189"/>
                    <a:gd name="connsiteX2" fmla="*/ 4418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4"/>
                        <a:pt x="3671" y="28648"/>
                        <a:pt x="4418" y="35748"/>
                      </a:cubicBezTo>
                      <a:cubicBezTo>
                        <a:pt x="5166" y="42599"/>
                        <a:pt x="3921"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2" name="Freeform 4945">
                  <a:extLst>
                    <a:ext uri="{FF2B5EF4-FFF2-40B4-BE49-F238E27FC236}">
                      <a16:creationId xmlns:a16="http://schemas.microsoft.com/office/drawing/2014/main" id="{97C64500-E667-F338-9303-10724E80EDDA}"/>
                    </a:ext>
                  </a:extLst>
                </p:cNvPr>
                <p:cNvSpPr/>
                <p:nvPr/>
              </p:nvSpPr>
              <p:spPr>
                <a:xfrm>
                  <a:off x="7991035" y="5569671"/>
                  <a:ext cx="2978" cy="52189"/>
                </a:xfrm>
                <a:custGeom>
                  <a:avLst/>
                  <a:gdLst>
                    <a:gd name="connsiteX0" fmla="*/ 2703 w 2978"/>
                    <a:gd name="connsiteY0" fmla="*/ 52190 h 52189"/>
                    <a:gd name="connsiteX1" fmla="*/ 87 w 2978"/>
                    <a:gd name="connsiteY1" fmla="*/ 33506 h 52189"/>
                    <a:gd name="connsiteX2" fmla="*/ 2951 w 2978"/>
                    <a:gd name="connsiteY2" fmla="*/ 16317 h 52189"/>
                    <a:gd name="connsiteX3" fmla="*/ 336 w 2978"/>
                    <a:gd name="connsiteY3" fmla="*/ 0 h 52189"/>
                  </a:gdLst>
                  <a:ahLst/>
                  <a:cxnLst>
                    <a:cxn ang="0">
                      <a:pos x="connsiteX0" y="connsiteY0"/>
                    </a:cxn>
                    <a:cxn ang="0">
                      <a:pos x="connsiteX1" y="connsiteY1"/>
                    </a:cxn>
                    <a:cxn ang="0">
                      <a:pos x="connsiteX2" y="connsiteY2"/>
                    </a:cxn>
                    <a:cxn ang="0">
                      <a:pos x="connsiteX3" y="connsiteY3"/>
                    </a:cxn>
                  </a:cxnLst>
                  <a:rect l="l" t="t" r="r" b="b"/>
                  <a:pathLst>
                    <a:path w="2978" h="52189">
                      <a:moveTo>
                        <a:pt x="2703" y="52190"/>
                      </a:moveTo>
                      <a:cubicBezTo>
                        <a:pt x="-38" y="44218"/>
                        <a:pt x="-162" y="37865"/>
                        <a:pt x="87" y="33506"/>
                      </a:cubicBezTo>
                      <a:cubicBezTo>
                        <a:pt x="585" y="26530"/>
                        <a:pt x="2703" y="23417"/>
                        <a:pt x="2951" y="16317"/>
                      </a:cubicBezTo>
                      <a:cubicBezTo>
                        <a:pt x="3201" y="9466"/>
                        <a:pt x="1706" y="3737"/>
                        <a:pt x="3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3" name="Freeform 4946">
                  <a:extLst>
                    <a:ext uri="{FF2B5EF4-FFF2-40B4-BE49-F238E27FC236}">
                      <a16:creationId xmlns:a16="http://schemas.microsoft.com/office/drawing/2014/main" id="{AE2D2119-81CF-CADE-88AD-A806BE3A725F}"/>
                    </a:ext>
                  </a:extLst>
                </p:cNvPr>
                <p:cNvSpPr/>
                <p:nvPr/>
              </p:nvSpPr>
              <p:spPr>
                <a:xfrm>
                  <a:off x="7974672" y="5554591"/>
                  <a:ext cx="26546" cy="26546"/>
                </a:xfrm>
                <a:custGeom>
                  <a:avLst/>
                  <a:gdLst>
                    <a:gd name="connsiteX0" fmla="*/ 26539 w 26546"/>
                    <a:gd name="connsiteY0" fmla="*/ 12837 h 26546"/>
                    <a:gd name="connsiteX1" fmla="*/ 13710 w 26546"/>
                    <a:gd name="connsiteY1" fmla="*/ 26539 h 26546"/>
                    <a:gd name="connsiteX2" fmla="*/ 8 w 26546"/>
                    <a:gd name="connsiteY2" fmla="*/ 13709 h 26546"/>
                    <a:gd name="connsiteX3" fmla="*/ 12838 w 26546"/>
                    <a:gd name="connsiteY3" fmla="*/ 8 h 26546"/>
                    <a:gd name="connsiteX4" fmla="*/ 26539 w 2654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2837"/>
                      </a:moveTo>
                      <a:cubicBezTo>
                        <a:pt x="26788" y="20186"/>
                        <a:pt x="20933" y="26290"/>
                        <a:pt x="13710" y="26539"/>
                      </a:cubicBezTo>
                      <a:cubicBezTo>
                        <a:pt x="6360" y="26788"/>
                        <a:pt x="257" y="21058"/>
                        <a:pt x="8" y="13709"/>
                      </a:cubicBezTo>
                      <a:cubicBezTo>
                        <a:pt x="-242" y="6360"/>
                        <a:pt x="5488" y="257"/>
                        <a:pt x="12838" y="8"/>
                      </a:cubicBezTo>
                      <a:cubicBezTo>
                        <a:pt x="20186" y="-241"/>
                        <a:pt x="26289" y="5488"/>
                        <a:pt x="26539"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4" name="Freeform 4947">
                  <a:extLst>
                    <a:ext uri="{FF2B5EF4-FFF2-40B4-BE49-F238E27FC236}">
                      <a16:creationId xmlns:a16="http://schemas.microsoft.com/office/drawing/2014/main" id="{852304EE-EB96-83A2-0259-05F2A5BC9848}"/>
                    </a:ext>
                  </a:extLst>
                </p:cNvPr>
                <p:cNvSpPr/>
                <p:nvPr/>
              </p:nvSpPr>
              <p:spPr>
                <a:xfrm>
                  <a:off x="7992265" y="5630828"/>
                  <a:ext cx="4645" cy="52189"/>
                </a:xfrm>
                <a:custGeom>
                  <a:avLst/>
                  <a:gdLst>
                    <a:gd name="connsiteX0" fmla="*/ 2843 w 4645"/>
                    <a:gd name="connsiteY0" fmla="*/ 52190 h 52189"/>
                    <a:gd name="connsiteX1" fmla="*/ 4213 w 4645"/>
                    <a:gd name="connsiteY1" fmla="*/ 33382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2"/>
                      </a:cubicBezTo>
                      <a:cubicBezTo>
                        <a:pt x="3216" y="26407"/>
                        <a:pt x="974" y="23542"/>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5" name="Freeform 4948">
                  <a:extLst>
                    <a:ext uri="{FF2B5EF4-FFF2-40B4-BE49-F238E27FC236}">
                      <a16:creationId xmlns:a16="http://schemas.microsoft.com/office/drawing/2014/main" id="{A5A19732-801C-FE58-7E8B-4002D7E624CF}"/>
                    </a:ext>
                  </a:extLst>
                </p:cNvPr>
                <p:cNvSpPr/>
                <p:nvPr/>
              </p:nvSpPr>
              <p:spPr>
                <a:xfrm>
                  <a:off x="7985738" y="5636184"/>
                  <a:ext cx="2978" cy="52189"/>
                </a:xfrm>
                <a:custGeom>
                  <a:avLst/>
                  <a:gdLst>
                    <a:gd name="connsiteX0" fmla="*/ 277 w 2978"/>
                    <a:gd name="connsiteY0" fmla="*/ 0 h 52189"/>
                    <a:gd name="connsiteX1" fmla="*/ 2892 w 2978"/>
                    <a:gd name="connsiteY1" fmla="*/ 18684 h 52189"/>
                    <a:gd name="connsiteX2" fmla="*/ 27 w 2978"/>
                    <a:gd name="connsiteY2" fmla="*/ 35873 h 52189"/>
                    <a:gd name="connsiteX3" fmla="*/ 2643 w 29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2978" h="52189">
                      <a:moveTo>
                        <a:pt x="277" y="0"/>
                      </a:moveTo>
                      <a:cubicBezTo>
                        <a:pt x="3017" y="7971"/>
                        <a:pt x="3141" y="14324"/>
                        <a:pt x="2892" y="18684"/>
                      </a:cubicBezTo>
                      <a:cubicBezTo>
                        <a:pt x="2394" y="25659"/>
                        <a:pt x="277"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6" name="Freeform 4949">
                  <a:extLst>
                    <a:ext uri="{FF2B5EF4-FFF2-40B4-BE49-F238E27FC236}">
                      <a16:creationId xmlns:a16="http://schemas.microsoft.com/office/drawing/2014/main" id="{23BBB97D-8B50-DB70-3F38-2FFCEAC33248}"/>
                    </a:ext>
                  </a:extLst>
                </p:cNvPr>
                <p:cNvSpPr/>
                <p:nvPr/>
              </p:nvSpPr>
              <p:spPr>
                <a:xfrm>
                  <a:off x="7978658" y="5677031"/>
                  <a:ext cx="26297" cy="26540"/>
                </a:xfrm>
                <a:custGeom>
                  <a:avLst/>
                  <a:gdLst>
                    <a:gd name="connsiteX0" fmla="*/ 8 w 26297"/>
                    <a:gd name="connsiteY0" fmla="*/ 13709 h 26540"/>
                    <a:gd name="connsiteX1" fmla="*/ 12713 w 26297"/>
                    <a:gd name="connsiteY1" fmla="*/ 8 h 26540"/>
                    <a:gd name="connsiteX2" fmla="*/ 26289 w 26297"/>
                    <a:gd name="connsiteY2" fmla="*/ 12837 h 26540"/>
                    <a:gd name="connsiteX3" fmla="*/ 13585 w 26297"/>
                    <a:gd name="connsiteY3" fmla="*/ 26539 h 26540"/>
                    <a:gd name="connsiteX4" fmla="*/ 8 w 26297"/>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0">
                      <a:moveTo>
                        <a:pt x="8" y="13709"/>
                      </a:moveTo>
                      <a:cubicBezTo>
                        <a:pt x="-242" y="6360"/>
                        <a:pt x="5488" y="257"/>
                        <a:pt x="12713" y="8"/>
                      </a:cubicBezTo>
                      <a:cubicBezTo>
                        <a:pt x="19937" y="-242"/>
                        <a:pt x="26041" y="5488"/>
                        <a:pt x="26289" y="12837"/>
                      </a:cubicBezTo>
                      <a:cubicBezTo>
                        <a:pt x="26539" y="20186"/>
                        <a:pt x="20809" y="26289"/>
                        <a:pt x="13585" y="26539"/>
                      </a:cubicBezTo>
                      <a:cubicBezTo>
                        <a:pt x="6236" y="26663"/>
                        <a:pt x="257" y="20933"/>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9" name="Graphic 2987">
                <a:extLst>
                  <a:ext uri="{FF2B5EF4-FFF2-40B4-BE49-F238E27FC236}">
                    <a16:creationId xmlns:a16="http://schemas.microsoft.com/office/drawing/2014/main" id="{FE15B3DD-0058-6739-A5A2-38ED8EC217D8}"/>
                  </a:ext>
                </a:extLst>
              </p:cNvPr>
              <p:cNvGrpSpPr/>
              <p:nvPr/>
            </p:nvGrpSpPr>
            <p:grpSpPr>
              <a:xfrm>
                <a:off x="8004317" y="5553595"/>
                <a:ext cx="30158" cy="148861"/>
                <a:chOff x="8004317" y="5553595"/>
                <a:chExt cx="30158" cy="148861"/>
              </a:xfrm>
              <a:grpFill/>
            </p:grpSpPr>
            <p:sp>
              <p:nvSpPr>
                <p:cNvPr id="4565" name="Freeform 4951">
                  <a:extLst>
                    <a:ext uri="{FF2B5EF4-FFF2-40B4-BE49-F238E27FC236}">
                      <a16:creationId xmlns:a16="http://schemas.microsoft.com/office/drawing/2014/main" id="{44A9F61C-990C-736C-BFF3-1271B45C8ED3}"/>
                    </a:ext>
                  </a:extLst>
                </p:cNvPr>
                <p:cNvSpPr/>
                <p:nvPr/>
              </p:nvSpPr>
              <p:spPr>
                <a:xfrm>
                  <a:off x="8012362" y="5574030"/>
                  <a:ext cx="4520" cy="52189"/>
                </a:xfrm>
                <a:custGeom>
                  <a:avLst/>
                  <a:gdLst>
                    <a:gd name="connsiteX0" fmla="*/ 1803 w 4520"/>
                    <a:gd name="connsiteY0" fmla="*/ 0 h 52189"/>
                    <a:gd name="connsiteX1" fmla="*/ 433 w 4520"/>
                    <a:gd name="connsiteY1" fmla="*/ 18808 h 52189"/>
                    <a:gd name="connsiteX2" fmla="*/ 4294 w 4520"/>
                    <a:gd name="connsiteY2" fmla="*/ 35748 h 52189"/>
                    <a:gd name="connsiteX3" fmla="*/ 2675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1803" y="0"/>
                      </a:moveTo>
                      <a:cubicBezTo>
                        <a:pt x="-439" y="8097"/>
                        <a:pt x="-190" y="14449"/>
                        <a:pt x="433" y="18808"/>
                      </a:cubicBezTo>
                      <a:cubicBezTo>
                        <a:pt x="1429" y="25784"/>
                        <a:pt x="3671" y="28648"/>
                        <a:pt x="4294" y="35748"/>
                      </a:cubicBezTo>
                      <a:cubicBezTo>
                        <a:pt x="5041" y="42599"/>
                        <a:pt x="3796" y="48453"/>
                        <a:pt x="267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6" name="Freeform 4952">
                  <a:extLst>
                    <a:ext uri="{FF2B5EF4-FFF2-40B4-BE49-F238E27FC236}">
                      <a16:creationId xmlns:a16="http://schemas.microsoft.com/office/drawing/2014/main" id="{34684011-B239-F49D-768D-645841400889}"/>
                    </a:ext>
                  </a:extLst>
                </p:cNvPr>
                <p:cNvSpPr/>
                <p:nvPr/>
              </p:nvSpPr>
              <p:spPr>
                <a:xfrm>
                  <a:off x="8020613" y="5568674"/>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5" y="44218"/>
                        <a:pt x="-220" y="37866"/>
                        <a:pt x="154" y="33506"/>
                      </a:cubicBezTo>
                      <a:cubicBezTo>
                        <a:pt x="777" y="26531"/>
                        <a:pt x="2770" y="23417"/>
                        <a:pt x="3143" y="16317"/>
                      </a:cubicBezTo>
                      <a:cubicBezTo>
                        <a:pt x="3393"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7" name="Freeform 4953">
                  <a:extLst>
                    <a:ext uri="{FF2B5EF4-FFF2-40B4-BE49-F238E27FC236}">
                      <a16:creationId xmlns:a16="http://schemas.microsoft.com/office/drawing/2014/main" id="{6C55FABD-E569-029D-D7DE-D7071A0D5964}"/>
                    </a:ext>
                  </a:extLst>
                </p:cNvPr>
                <p:cNvSpPr/>
                <p:nvPr/>
              </p:nvSpPr>
              <p:spPr>
                <a:xfrm>
                  <a:off x="8004317" y="5553595"/>
                  <a:ext cx="26670" cy="26546"/>
                </a:xfrm>
                <a:custGeom>
                  <a:avLst/>
                  <a:gdLst>
                    <a:gd name="connsiteX0" fmla="*/ 26663 w 26670"/>
                    <a:gd name="connsiteY0" fmla="*/ 12837 h 26546"/>
                    <a:gd name="connsiteX1" fmla="*/ 13709 w 26670"/>
                    <a:gd name="connsiteY1" fmla="*/ 26539 h 26546"/>
                    <a:gd name="connsiteX2" fmla="*/ 8 w 26670"/>
                    <a:gd name="connsiteY2" fmla="*/ 13709 h 26546"/>
                    <a:gd name="connsiteX3" fmla="*/ 12961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3" y="20186"/>
                        <a:pt x="21058" y="26289"/>
                        <a:pt x="13709" y="26539"/>
                      </a:cubicBezTo>
                      <a:cubicBezTo>
                        <a:pt x="6360" y="26788"/>
                        <a:pt x="257" y="21058"/>
                        <a:pt x="8" y="13709"/>
                      </a:cubicBezTo>
                      <a:cubicBezTo>
                        <a:pt x="-242" y="6360"/>
                        <a:pt x="5613" y="257"/>
                        <a:pt x="12961" y="8"/>
                      </a:cubicBezTo>
                      <a:cubicBezTo>
                        <a:pt x="20311"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8" name="Freeform 4954">
                  <a:extLst>
                    <a:ext uri="{FF2B5EF4-FFF2-40B4-BE49-F238E27FC236}">
                      <a16:creationId xmlns:a16="http://schemas.microsoft.com/office/drawing/2014/main" id="{5989BB4E-924F-FE0F-3DD3-40A9B5E9DBF2}"/>
                    </a:ext>
                  </a:extLst>
                </p:cNvPr>
                <p:cNvSpPr/>
                <p:nvPr/>
              </p:nvSpPr>
              <p:spPr>
                <a:xfrm>
                  <a:off x="8021911" y="5629832"/>
                  <a:ext cx="4519" cy="52189"/>
                </a:xfrm>
                <a:custGeom>
                  <a:avLst/>
                  <a:gdLst>
                    <a:gd name="connsiteX0" fmla="*/ 2717 w 4519"/>
                    <a:gd name="connsiteY0" fmla="*/ 52190 h 52189"/>
                    <a:gd name="connsiteX1" fmla="*/ 4087 w 4519"/>
                    <a:gd name="connsiteY1" fmla="*/ 33381 h 52189"/>
                    <a:gd name="connsiteX2" fmla="*/ 226 w 4519"/>
                    <a:gd name="connsiteY2" fmla="*/ 16442 h 52189"/>
                    <a:gd name="connsiteX3" fmla="*/ 1970 w 4519"/>
                    <a:gd name="connsiteY3" fmla="*/ 0 h 52189"/>
                  </a:gdLst>
                  <a:ahLst/>
                  <a:cxnLst>
                    <a:cxn ang="0">
                      <a:pos x="connsiteX0" y="connsiteY0"/>
                    </a:cxn>
                    <a:cxn ang="0">
                      <a:pos x="connsiteX1" y="connsiteY1"/>
                    </a:cxn>
                    <a:cxn ang="0">
                      <a:pos x="connsiteX2" y="connsiteY2"/>
                    </a:cxn>
                    <a:cxn ang="0">
                      <a:pos x="connsiteX3" y="connsiteY3"/>
                    </a:cxn>
                  </a:cxnLst>
                  <a:rect l="l" t="t" r="r" b="b"/>
                  <a:pathLst>
                    <a:path w="4519" h="52189">
                      <a:moveTo>
                        <a:pt x="2717" y="52190"/>
                      </a:moveTo>
                      <a:cubicBezTo>
                        <a:pt x="4959" y="44094"/>
                        <a:pt x="4709" y="37741"/>
                        <a:pt x="4087" y="33381"/>
                      </a:cubicBezTo>
                      <a:cubicBezTo>
                        <a:pt x="3091" y="26406"/>
                        <a:pt x="848" y="23542"/>
                        <a:pt x="226" y="16442"/>
                      </a:cubicBezTo>
                      <a:cubicBezTo>
                        <a:pt x="-522" y="9591"/>
                        <a:pt x="724"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9" name="Freeform 4955">
                  <a:extLst>
                    <a:ext uri="{FF2B5EF4-FFF2-40B4-BE49-F238E27FC236}">
                      <a16:creationId xmlns:a16="http://schemas.microsoft.com/office/drawing/2014/main" id="{E89E69B7-453C-EAD2-4F06-EA895C31EA2F}"/>
                    </a:ext>
                  </a:extLst>
                </p:cNvPr>
                <p:cNvSpPr/>
                <p:nvPr/>
              </p:nvSpPr>
              <p:spPr>
                <a:xfrm>
                  <a:off x="8015134" y="5635188"/>
                  <a:ext cx="3046" cy="52189"/>
                </a:xfrm>
                <a:custGeom>
                  <a:avLst/>
                  <a:gdLst>
                    <a:gd name="connsiteX0" fmla="*/ 401 w 3046"/>
                    <a:gd name="connsiteY0" fmla="*/ 0 h 52189"/>
                    <a:gd name="connsiteX1" fmla="*/ 2892 w 3046"/>
                    <a:gd name="connsiteY1" fmla="*/ 18684 h 52189"/>
                    <a:gd name="connsiteX2" fmla="*/ 27 w 3046"/>
                    <a:gd name="connsiteY2" fmla="*/ 35873 h 52189"/>
                    <a:gd name="connsiteX3" fmla="*/ 264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0"/>
                      </a:moveTo>
                      <a:cubicBezTo>
                        <a:pt x="3141" y="7972"/>
                        <a:pt x="3266" y="14324"/>
                        <a:pt x="2892" y="18684"/>
                      </a:cubicBezTo>
                      <a:cubicBezTo>
                        <a:pt x="2269" y="25659"/>
                        <a:pt x="277" y="28773"/>
                        <a:pt x="27" y="35873"/>
                      </a:cubicBezTo>
                      <a:cubicBezTo>
                        <a:pt x="-222" y="42724"/>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0" name="Freeform 4956">
                  <a:extLst>
                    <a:ext uri="{FF2B5EF4-FFF2-40B4-BE49-F238E27FC236}">
                      <a16:creationId xmlns:a16="http://schemas.microsoft.com/office/drawing/2014/main" id="{51F9979F-9C1D-9D1A-2734-2016BE487382}"/>
                    </a:ext>
                  </a:extLst>
                </p:cNvPr>
                <p:cNvSpPr/>
                <p:nvPr/>
              </p:nvSpPr>
              <p:spPr>
                <a:xfrm>
                  <a:off x="8008054" y="5675911"/>
                  <a:ext cx="26421" cy="26546"/>
                </a:xfrm>
                <a:custGeom>
                  <a:avLst/>
                  <a:gdLst>
                    <a:gd name="connsiteX0" fmla="*/ 8 w 26421"/>
                    <a:gd name="connsiteY0" fmla="*/ 13709 h 26546"/>
                    <a:gd name="connsiteX1" fmla="*/ 12838 w 26421"/>
                    <a:gd name="connsiteY1" fmla="*/ 8 h 26546"/>
                    <a:gd name="connsiteX2" fmla="*/ 26414 w 26421"/>
                    <a:gd name="connsiteY2" fmla="*/ 12837 h 26546"/>
                    <a:gd name="connsiteX3" fmla="*/ 13585 w 26421"/>
                    <a:gd name="connsiteY3" fmla="*/ 26538 h 26546"/>
                    <a:gd name="connsiteX4" fmla="*/ 8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8" y="13709"/>
                      </a:moveTo>
                      <a:cubicBezTo>
                        <a:pt x="-241" y="6360"/>
                        <a:pt x="5488" y="257"/>
                        <a:pt x="12838" y="8"/>
                      </a:cubicBezTo>
                      <a:cubicBezTo>
                        <a:pt x="20062" y="-242"/>
                        <a:pt x="26165" y="5488"/>
                        <a:pt x="26414" y="12837"/>
                      </a:cubicBezTo>
                      <a:cubicBezTo>
                        <a:pt x="26663" y="20186"/>
                        <a:pt x="20933" y="26289"/>
                        <a:pt x="13585" y="26538"/>
                      </a:cubicBezTo>
                      <a:cubicBezTo>
                        <a:pt x="6236"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0" name="Graphic 2987">
                <a:extLst>
                  <a:ext uri="{FF2B5EF4-FFF2-40B4-BE49-F238E27FC236}">
                    <a16:creationId xmlns:a16="http://schemas.microsoft.com/office/drawing/2014/main" id="{A4185512-9E26-48AD-8C52-00F7CCD754BD}"/>
                  </a:ext>
                </a:extLst>
              </p:cNvPr>
              <p:cNvGrpSpPr/>
              <p:nvPr/>
            </p:nvGrpSpPr>
            <p:grpSpPr>
              <a:xfrm>
                <a:off x="8033962" y="5552848"/>
                <a:ext cx="29903" cy="148855"/>
                <a:chOff x="8033962" y="5552848"/>
                <a:chExt cx="29903" cy="148855"/>
              </a:xfrm>
              <a:grpFill/>
            </p:grpSpPr>
            <p:sp>
              <p:nvSpPr>
                <p:cNvPr id="4559" name="Freeform 4958">
                  <a:extLst>
                    <a:ext uri="{FF2B5EF4-FFF2-40B4-BE49-F238E27FC236}">
                      <a16:creationId xmlns:a16="http://schemas.microsoft.com/office/drawing/2014/main" id="{B724C43B-F5EA-91B5-D20B-41DA036C9974}"/>
                    </a:ext>
                  </a:extLst>
                </p:cNvPr>
                <p:cNvSpPr/>
                <p:nvPr/>
              </p:nvSpPr>
              <p:spPr>
                <a:xfrm>
                  <a:off x="8042048" y="5573158"/>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631"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0" name="Freeform 4959">
                  <a:extLst>
                    <a:ext uri="{FF2B5EF4-FFF2-40B4-BE49-F238E27FC236}">
                      <a16:creationId xmlns:a16="http://schemas.microsoft.com/office/drawing/2014/main" id="{0AC972AD-DE26-CC66-8044-AD260CABB16C}"/>
                    </a:ext>
                  </a:extLst>
                </p:cNvPr>
                <p:cNvSpPr/>
                <p:nvPr/>
              </p:nvSpPr>
              <p:spPr>
                <a:xfrm>
                  <a:off x="8050257" y="5567927"/>
                  <a:ext cx="3197" cy="52189"/>
                </a:xfrm>
                <a:custGeom>
                  <a:avLst/>
                  <a:gdLst>
                    <a:gd name="connsiteX0" fmla="*/ 2645 w 3197"/>
                    <a:gd name="connsiteY0" fmla="*/ 52190 h 52189"/>
                    <a:gd name="connsiteX1" fmla="*/ 154 w 3197"/>
                    <a:gd name="connsiteY1" fmla="*/ 33506 h 52189"/>
                    <a:gd name="connsiteX2" fmla="*/ 3143 w 3197"/>
                    <a:gd name="connsiteY2" fmla="*/ 16317 h 52189"/>
                    <a:gd name="connsiteX3" fmla="*/ 527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2645" y="52190"/>
                      </a:moveTo>
                      <a:cubicBezTo>
                        <a:pt x="-95" y="44218"/>
                        <a:pt x="-220" y="37866"/>
                        <a:pt x="154" y="33506"/>
                      </a:cubicBezTo>
                      <a:cubicBezTo>
                        <a:pt x="777" y="26531"/>
                        <a:pt x="2770" y="23417"/>
                        <a:pt x="3143" y="16317"/>
                      </a:cubicBezTo>
                      <a:cubicBezTo>
                        <a:pt x="3517"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1" name="Freeform 4960">
                  <a:extLst>
                    <a:ext uri="{FF2B5EF4-FFF2-40B4-BE49-F238E27FC236}">
                      <a16:creationId xmlns:a16="http://schemas.microsoft.com/office/drawing/2014/main" id="{760D1673-CB37-3E35-D65C-65916489D496}"/>
                    </a:ext>
                  </a:extLst>
                </p:cNvPr>
                <p:cNvSpPr/>
                <p:nvPr/>
              </p:nvSpPr>
              <p:spPr>
                <a:xfrm>
                  <a:off x="8033962" y="5552848"/>
                  <a:ext cx="26665" cy="26546"/>
                </a:xfrm>
                <a:custGeom>
                  <a:avLst/>
                  <a:gdLst>
                    <a:gd name="connsiteX0" fmla="*/ 26663 w 26665"/>
                    <a:gd name="connsiteY0" fmla="*/ 12962 h 26546"/>
                    <a:gd name="connsiteX1" fmla="*/ 13709 w 26665"/>
                    <a:gd name="connsiteY1" fmla="*/ 26539 h 26546"/>
                    <a:gd name="connsiteX2" fmla="*/ 8 w 26665"/>
                    <a:gd name="connsiteY2" fmla="*/ 13584 h 26546"/>
                    <a:gd name="connsiteX3" fmla="*/ 12961 w 26665"/>
                    <a:gd name="connsiteY3" fmla="*/ 8 h 26546"/>
                    <a:gd name="connsiteX4" fmla="*/ 26663 w 26665"/>
                    <a:gd name="connsiteY4" fmla="*/ 1296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63" y="12962"/>
                      </a:moveTo>
                      <a:cubicBezTo>
                        <a:pt x="26788" y="20311"/>
                        <a:pt x="21058" y="26289"/>
                        <a:pt x="13709" y="26539"/>
                      </a:cubicBezTo>
                      <a:cubicBezTo>
                        <a:pt x="6360" y="26788"/>
                        <a:pt x="257" y="20933"/>
                        <a:pt x="8" y="13584"/>
                      </a:cubicBezTo>
                      <a:cubicBezTo>
                        <a:pt x="-242" y="6236"/>
                        <a:pt x="5613" y="257"/>
                        <a:pt x="12961" y="8"/>
                      </a:cubicBezTo>
                      <a:cubicBezTo>
                        <a:pt x="20435" y="-242"/>
                        <a:pt x="26539" y="5613"/>
                        <a:pt x="2666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2" name="Freeform 4961">
                  <a:extLst>
                    <a:ext uri="{FF2B5EF4-FFF2-40B4-BE49-F238E27FC236}">
                      <a16:creationId xmlns:a16="http://schemas.microsoft.com/office/drawing/2014/main" id="{78412652-4F85-B9D4-B324-5AE27B39EF64}"/>
                    </a:ext>
                  </a:extLst>
                </p:cNvPr>
                <p:cNvSpPr/>
                <p:nvPr/>
              </p:nvSpPr>
              <p:spPr>
                <a:xfrm>
                  <a:off x="8051490" y="5629085"/>
                  <a:ext cx="4419" cy="52189"/>
                </a:xfrm>
                <a:custGeom>
                  <a:avLst/>
                  <a:gdLst>
                    <a:gd name="connsiteX0" fmla="*/ 2533 w 4419"/>
                    <a:gd name="connsiteY0" fmla="*/ 52190 h 52189"/>
                    <a:gd name="connsiteX1" fmla="*/ 4028 w 4419"/>
                    <a:gd name="connsiteY1" fmla="*/ 33506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4"/>
                        <a:pt x="4651" y="37741"/>
                        <a:pt x="4028" y="33506"/>
                      </a:cubicBezTo>
                      <a:cubicBezTo>
                        <a:pt x="3032"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3" name="Freeform 4962">
                  <a:extLst>
                    <a:ext uri="{FF2B5EF4-FFF2-40B4-BE49-F238E27FC236}">
                      <a16:creationId xmlns:a16="http://schemas.microsoft.com/office/drawing/2014/main" id="{E6C88C00-508D-1305-0024-8C8CC294D479}"/>
                    </a:ext>
                  </a:extLst>
                </p:cNvPr>
                <p:cNvSpPr/>
                <p:nvPr/>
              </p:nvSpPr>
              <p:spPr>
                <a:xfrm>
                  <a:off x="8044529" y="5634316"/>
                  <a:ext cx="3170" cy="52189"/>
                </a:xfrm>
                <a:custGeom>
                  <a:avLst/>
                  <a:gdLst>
                    <a:gd name="connsiteX0" fmla="*/ 526 w 3170"/>
                    <a:gd name="connsiteY0" fmla="*/ 0 h 52189"/>
                    <a:gd name="connsiteX1" fmla="*/ 3017 w 3170"/>
                    <a:gd name="connsiteY1" fmla="*/ 18684 h 52189"/>
                    <a:gd name="connsiteX2" fmla="*/ 27 w 3170"/>
                    <a:gd name="connsiteY2" fmla="*/ 35872 h 52189"/>
                    <a:gd name="connsiteX3" fmla="*/ 2643 w 3170"/>
                    <a:gd name="connsiteY3" fmla="*/ 52189 h 52189"/>
                  </a:gdLst>
                  <a:ahLst/>
                  <a:cxnLst>
                    <a:cxn ang="0">
                      <a:pos x="connsiteX0" y="connsiteY0"/>
                    </a:cxn>
                    <a:cxn ang="0">
                      <a:pos x="connsiteX1" y="connsiteY1"/>
                    </a:cxn>
                    <a:cxn ang="0">
                      <a:pos x="connsiteX2" y="connsiteY2"/>
                    </a:cxn>
                    <a:cxn ang="0">
                      <a:pos x="connsiteX3" y="connsiteY3"/>
                    </a:cxn>
                  </a:cxnLst>
                  <a:rect l="l" t="t" r="r" b="b"/>
                  <a:pathLst>
                    <a:path w="3170" h="52189">
                      <a:moveTo>
                        <a:pt x="526" y="0"/>
                      </a:moveTo>
                      <a:cubicBezTo>
                        <a:pt x="3266" y="7971"/>
                        <a:pt x="3391" y="14324"/>
                        <a:pt x="3017" y="18684"/>
                      </a:cubicBezTo>
                      <a:cubicBezTo>
                        <a:pt x="2394" y="25659"/>
                        <a:pt x="401" y="28773"/>
                        <a:pt x="27" y="35872"/>
                      </a:cubicBezTo>
                      <a:cubicBezTo>
                        <a:pt x="-221" y="42723"/>
                        <a:pt x="1273" y="48453"/>
                        <a:pt x="2643"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4" name="Freeform 4963">
                  <a:extLst>
                    <a:ext uri="{FF2B5EF4-FFF2-40B4-BE49-F238E27FC236}">
                      <a16:creationId xmlns:a16="http://schemas.microsoft.com/office/drawing/2014/main" id="{F89EAC0A-85C8-C36E-73D6-97FED2EA11C8}"/>
                    </a:ext>
                  </a:extLst>
                </p:cNvPr>
                <p:cNvSpPr/>
                <p:nvPr/>
              </p:nvSpPr>
              <p:spPr>
                <a:xfrm>
                  <a:off x="8037450" y="5675169"/>
                  <a:ext cx="26415" cy="26534"/>
                </a:xfrm>
                <a:custGeom>
                  <a:avLst/>
                  <a:gdLst>
                    <a:gd name="connsiteX0" fmla="*/ 8 w 26415"/>
                    <a:gd name="connsiteY0" fmla="*/ 13579 h 26534"/>
                    <a:gd name="connsiteX1" fmla="*/ 12837 w 26415"/>
                    <a:gd name="connsiteY1" fmla="*/ 2 h 26534"/>
                    <a:gd name="connsiteX2" fmla="*/ 26414 w 26415"/>
                    <a:gd name="connsiteY2" fmla="*/ 12956 h 26534"/>
                    <a:gd name="connsiteX3" fmla="*/ 13584 w 26415"/>
                    <a:gd name="connsiteY3" fmla="*/ 26532 h 26534"/>
                    <a:gd name="connsiteX4" fmla="*/ 8 w 2641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4">
                      <a:moveTo>
                        <a:pt x="8" y="13579"/>
                      </a:moveTo>
                      <a:cubicBezTo>
                        <a:pt x="-242" y="6230"/>
                        <a:pt x="5488" y="251"/>
                        <a:pt x="12837" y="2"/>
                      </a:cubicBezTo>
                      <a:cubicBezTo>
                        <a:pt x="20061" y="-123"/>
                        <a:pt x="26165" y="5607"/>
                        <a:pt x="26414" y="12956"/>
                      </a:cubicBezTo>
                      <a:cubicBezTo>
                        <a:pt x="26538" y="20305"/>
                        <a:pt x="20809" y="26283"/>
                        <a:pt x="13584" y="26532"/>
                      </a:cubicBezTo>
                      <a:cubicBezTo>
                        <a:pt x="6236" y="26657"/>
                        <a:pt x="256" y="20803"/>
                        <a:pt x="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1" name="Graphic 2987">
                <a:extLst>
                  <a:ext uri="{FF2B5EF4-FFF2-40B4-BE49-F238E27FC236}">
                    <a16:creationId xmlns:a16="http://schemas.microsoft.com/office/drawing/2014/main" id="{AD64E0B2-AF09-84AA-3B83-33030AB6270A}"/>
                  </a:ext>
                </a:extLst>
              </p:cNvPr>
              <p:cNvGrpSpPr/>
              <p:nvPr/>
            </p:nvGrpSpPr>
            <p:grpSpPr>
              <a:xfrm>
                <a:off x="8063862" y="5552225"/>
                <a:ext cx="29274" cy="148856"/>
                <a:chOff x="8063862" y="5552225"/>
                <a:chExt cx="29274" cy="148856"/>
              </a:xfrm>
              <a:grpFill/>
            </p:grpSpPr>
            <p:sp>
              <p:nvSpPr>
                <p:cNvPr id="4553" name="Freeform 4965">
                  <a:extLst>
                    <a:ext uri="{FF2B5EF4-FFF2-40B4-BE49-F238E27FC236}">
                      <a16:creationId xmlns:a16="http://schemas.microsoft.com/office/drawing/2014/main" id="{73154339-AA6C-6995-0CB0-36A263BDB504}"/>
                    </a:ext>
                  </a:extLst>
                </p:cNvPr>
                <p:cNvSpPr/>
                <p:nvPr/>
              </p:nvSpPr>
              <p:spPr>
                <a:xfrm>
                  <a:off x="8071817" y="5572535"/>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506"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4" name="Freeform 4966">
                  <a:extLst>
                    <a:ext uri="{FF2B5EF4-FFF2-40B4-BE49-F238E27FC236}">
                      <a16:creationId xmlns:a16="http://schemas.microsoft.com/office/drawing/2014/main" id="{A1C54B68-8248-13BC-AAF9-FA7E8CA5B59F}"/>
                    </a:ext>
                  </a:extLst>
                </p:cNvPr>
                <p:cNvSpPr/>
                <p:nvPr/>
              </p:nvSpPr>
              <p:spPr>
                <a:xfrm>
                  <a:off x="8080025" y="5567304"/>
                  <a:ext cx="3199" cy="52189"/>
                </a:xfrm>
                <a:custGeom>
                  <a:avLst/>
                  <a:gdLst>
                    <a:gd name="connsiteX0" fmla="*/ 2523 w 3199"/>
                    <a:gd name="connsiteY0" fmla="*/ 52190 h 52189"/>
                    <a:gd name="connsiteX1" fmla="*/ 156 w 3199"/>
                    <a:gd name="connsiteY1" fmla="*/ 33506 h 52189"/>
                    <a:gd name="connsiteX2" fmla="*/ 3145 w 3199"/>
                    <a:gd name="connsiteY2" fmla="*/ 16317 h 52189"/>
                    <a:gd name="connsiteX3" fmla="*/ 654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2523" y="52190"/>
                      </a:moveTo>
                      <a:cubicBezTo>
                        <a:pt x="-93" y="44218"/>
                        <a:pt x="-218" y="37865"/>
                        <a:pt x="156" y="33506"/>
                      </a:cubicBezTo>
                      <a:cubicBezTo>
                        <a:pt x="779" y="26531"/>
                        <a:pt x="2896" y="23417"/>
                        <a:pt x="3145" y="16317"/>
                      </a:cubicBezTo>
                      <a:cubicBezTo>
                        <a:pt x="3518"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5" name="Freeform 4967">
                  <a:extLst>
                    <a:ext uri="{FF2B5EF4-FFF2-40B4-BE49-F238E27FC236}">
                      <a16:creationId xmlns:a16="http://schemas.microsoft.com/office/drawing/2014/main" id="{746E5FFE-C3C6-2454-1007-228B3CEB4796}"/>
                    </a:ext>
                  </a:extLst>
                </p:cNvPr>
                <p:cNvSpPr/>
                <p:nvPr/>
              </p:nvSpPr>
              <p:spPr>
                <a:xfrm>
                  <a:off x="8063862" y="5552225"/>
                  <a:ext cx="26534" cy="26540"/>
                </a:xfrm>
                <a:custGeom>
                  <a:avLst/>
                  <a:gdLst>
                    <a:gd name="connsiteX0" fmla="*/ 26533 w 26534"/>
                    <a:gd name="connsiteY0" fmla="*/ 12962 h 26540"/>
                    <a:gd name="connsiteX1" fmla="*/ 13578 w 26534"/>
                    <a:gd name="connsiteY1" fmla="*/ 26539 h 26540"/>
                    <a:gd name="connsiteX2" fmla="*/ 2 w 26534"/>
                    <a:gd name="connsiteY2" fmla="*/ 13585 h 26540"/>
                    <a:gd name="connsiteX3" fmla="*/ 12956 w 26534"/>
                    <a:gd name="connsiteY3" fmla="*/ 8 h 26540"/>
                    <a:gd name="connsiteX4" fmla="*/ 26533 w 26534"/>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40">
                      <a:moveTo>
                        <a:pt x="26533" y="12962"/>
                      </a:moveTo>
                      <a:cubicBezTo>
                        <a:pt x="26657" y="20311"/>
                        <a:pt x="20928" y="26290"/>
                        <a:pt x="13578" y="26539"/>
                      </a:cubicBezTo>
                      <a:cubicBezTo>
                        <a:pt x="6230" y="26663"/>
                        <a:pt x="126" y="20934"/>
                        <a:pt x="2" y="13585"/>
                      </a:cubicBezTo>
                      <a:cubicBezTo>
                        <a:pt x="-123" y="6236"/>
                        <a:pt x="5606" y="257"/>
                        <a:pt x="12956" y="8"/>
                      </a:cubicBezTo>
                      <a:cubicBezTo>
                        <a:pt x="20305" y="-241"/>
                        <a:pt x="26408" y="5613"/>
                        <a:pt x="2653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6" name="Freeform 4968">
                  <a:extLst>
                    <a:ext uri="{FF2B5EF4-FFF2-40B4-BE49-F238E27FC236}">
                      <a16:creationId xmlns:a16="http://schemas.microsoft.com/office/drawing/2014/main" id="{87A1E80D-EE9A-F654-B0B6-34B7B26D836F}"/>
                    </a:ext>
                  </a:extLst>
                </p:cNvPr>
                <p:cNvSpPr/>
                <p:nvPr/>
              </p:nvSpPr>
              <p:spPr>
                <a:xfrm>
                  <a:off x="8081010" y="5628462"/>
                  <a:ext cx="4419" cy="52189"/>
                </a:xfrm>
                <a:custGeom>
                  <a:avLst/>
                  <a:gdLst>
                    <a:gd name="connsiteX0" fmla="*/ 2533 w 4419"/>
                    <a:gd name="connsiteY0" fmla="*/ 52189 h 52189"/>
                    <a:gd name="connsiteX1" fmla="*/ 4028 w 4419"/>
                    <a:gd name="connsiteY1" fmla="*/ 33506 h 52189"/>
                    <a:gd name="connsiteX2" fmla="*/ 166 w 4419"/>
                    <a:gd name="connsiteY2" fmla="*/ 16441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89"/>
                      </a:moveTo>
                      <a:cubicBezTo>
                        <a:pt x="4775" y="44093"/>
                        <a:pt x="4651" y="37741"/>
                        <a:pt x="4028" y="33506"/>
                      </a:cubicBezTo>
                      <a:cubicBezTo>
                        <a:pt x="3032" y="26530"/>
                        <a:pt x="914" y="23541"/>
                        <a:pt x="166" y="16441"/>
                      </a:cubicBezTo>
                      <a:cubicBezTo>
                        <a:pt x="-456" y="9591"/>
                        <a:pt x="790"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7" name="Freeform 4969">
                  <a:extLst>
                    <a:ext uri="{FF2B5EF4-FFF2-40B4-BE49-F238E27FC236}">
                      <a16:creationId xmlns:a16="http://schemas.microsoft.com/office/drawing/2014/main" id="{CD0C25AC-4340-9BB7-1AD1-CF55A5432138}"/>
                    </a:ext>
                  </a:extLst>
                </p:cNvPr>
                <p:cNvSpPr/>
                <p:nvPr/>
              </p:nvSpPr>
              <p:spPr>
                <a:xfrm>
                  <a:off x="8074022" y="5633693"/>
                  <a:ext cx="3200" cy="52189"/>
                </a:xfrm>
                <a:custGeom>
                  <a:avLst/>
                  <a:gdLst>
                    <a:gd name="connsiteX0" fmla="*/ 678 w 3200"/>
                    <a:gd name="connsiteY0" fmla="*/ 0 h 52189"/>
                    <a:gd name="connsiteX1" fmla="*/ 3045 w 3200"/>
                    <a:gd name="connsiteY1" fmla="*/ 18684 h 52189"/>
                    <a:gd name="connsiteX2" fmla="*/ 55 w 3200"/>
                    <a:gd name="connsiteY2" fmla="*/ 35873 h 52189"/>
                    <a:gd name="connsiteX3" fmla="*/ 2546 w 320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0" h="52189">
                      <a:moveTo>
                        <a:pt x="678" y="0"/>
                      </a:moveTo>
                      <a:cubicBezTo>
                        <a:pt x="3293" y="7972"/>
                        <a:pt x="3418" y="14324"/>
                        <a:pt x="3045" y="18684"/>
                      </a:cubicBezTo>
                      <a:cubicBezTo>
                        <a:pt x="2421" y="25659"/>
                        <a:pt x="429" y="28773"/>
                        <a:pt x="55" y="35873"/>
                      </a:cubicBezTo>
                      <a:cubicBezTo>
                        <a:pt x="-319" y="42723"/>
                        <a:pt x="1301" y="48453"/>
                        <a:pt x="25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8" name="Freeform 4970">
                  <a:extLst>
                    <a:ext uri="{FF2B5EF4-FFF2-40B4-BE49-F238E27FC236}">
                      <a16:creationId xmlns:a16="http://schemas.microsoft.com/office/drawing/2014/main" id="{59B48053-A775-1EF4-367E-27128294D57A}"/>
                    </a:ext>
                  </a:extLst>
                </p:cNvPr>
                <p:cNvSpPr/>
                <p:nvPr/>
              </p:nvSpPr>
              <p:spPr>
                <a:xfrm>
                  <a:off x="8066851" y="5674546"/>
                  <a:ext cx="26285" cy="26534"/>
                </a:xfrm>
                <a:custGeom>
                  <a:avLst/>
                  <a:gdLst>
                    <a:gd name="connsiteX0" fmla="*/ 2 w 26285"/>
                    <a:gd name="connsiteY0" fmla="*/ 13579 h 26534"/>
                    <a:gd name="connsiteX1" fmla="*/ 12831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1" y="2"/>
                      </a:cubicBezTo>
                      <a:cubicBezTo>
                        <a:pt x="20056" y="-123"/>
                        <a:pt x="26159" y="5607"/>
                        <a:pt x="26283" y="12956"/>
                      </a:cubicBezTo>
                      <a:cubicBezTo>
                        <a:pt x="26408" y="20305"/>
                        <a:pt x="20678" y="26284"/>
                        <a:pt x="13454" y="26533"/>
                      </a:cubicBezTo>
                      <a:cubicBezTo>
                        <a:pt x="6230" y="26658"/>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2" name="Graphic 2987">
                <a:extLst>
                  <a:ext uri="{FF2B5EF4-FFF2-40B4-BE49-F238E27FC236}">
                    <a16:creationId xmlns:a16="http://schemas.microsoft.com/office/drawing/2014/main" id="{845DD2BF-F82A-9A67-89E1-C7E1AABDE6D7}"/>
                  </a:ext>
                </a:extLst>
              </p:cNvPr>
              <p:cNvGrpSpPr/>
              <p:nvPr/>
            </p:nvGrpSpPr>
            <p:grpSpPr>
              <a:xfrm>
                <a:off x="8093507" y="5551602"/>
                <a:ext cx="29025" cy="148856"/>
                <a:chOff x="8093507" y="5551602"/>
                <a:chExt cx="29025" cy="148856"/>
              </a:xfrm>
              <a:grpFill/>
            </p:grpSpPr>
            <p:sp>
              <p:nvSpPr>
                <p:cNvPr id="4547" name="Freeform 4972">
                  <a:extLst>
                    <a:ext uri="{FF2B5EF4-FFF2-40B4-BE49-F238E27FC236}">
                      <a16:creationId xmlns:a16="http://schemas.microsoft.com/office/drawing/2014/main" id="{CD24DC48-E0AA-9A9E-637E-C789B7041036}"/>
                    </a:ext>
                  </a:extLst>
                </p:cNvPr>
                <p:cNvSpPr/>
                <p:nvPr/>
              </p:nvSpPr>
              <p:spPr>
                <a:xfrm>
                  <a:off x="8101398" y="5571913"/>
                  <a:ext cx="4233" cy="52189"/>
                </a:xfrm>
                <a:custGeom>
                  <a:avLst/>
                  <a:gdLst>
                    <a:gd name="connsiteX0" fmla="*/ 1950 w 4233"/>
                    <a:gd name="connsiteY0" fmla="*/ 0 h 52189"/>
                    <a:gd name="connsiteX1" fmla="*/ 331 w 4233"/>
                    <a:gd name="connsiteY1" fmla="*/ 18684 h 52189"/>
                    <a:gd name="connsiteX2" fmla="*/ 4067 w 4233"/>
                    <a:gd name="connsiteY2" fmla="*/ 35748 h 52189"/>
                    <a:gd name="connsiteX3" fmla="*/ 2323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0"/>
                      </a:moveTo>
                      <a:cubicBezTo>
                        <a:pt x="-417" y="8096"/>
                        <a:pt x="-167" y="14449"/>
                        <a:pt x="331" y="18684"/>
                      </a:cubicBezTo>
                      <a:cubicBezTo>
                        <a:pt x="1203" y="25659"/>
                        <a:pt x="3445" y="28648"/>
                        <a:pt x="4067" y="35748"/>
                      </a:cubicBezTo>
                      <a:cubicBezTo>
                        <a:pt x="4690" y="42599"/>
                        <a:pt x="3445" y="48328"/>
                        <a:pt x="23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8" name="Freeform 4973">
                  <a:extLst>
                    <a:ext uri="{FF2B5EF4-FFF2-40B4-BE49-F238E27FC236}">
                      <a16:creationId xmlns:a16="http://schemas.microsoft.com/office/drawing/2014/main" id="{25C4A707-ECB4-4BE7-86B1-0F8611FC6D41}"/>
                    </a:ext>
                  </a:extLst>
                </p:cNvPr>
                <p:cNvSpPr/>
                <p:nvPr/>
              </p:nvSpPr>
              <p:spPr>
                <a:xfrm>
                  <a:off x="8109545" y="5566681"/>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9" name="Freeform 4974">
                  <a:extLst>
                    <a:ext uri="{FF2B5EF4-FFF2-40B4-BE49-F238E27FC236}">
                      <a16:creationId xmlns:a16="http://schemas.microsoft.com/office/drawing/2014/main" id="{358F1402-8AE8-C59D-E3A7-BC9C7D558D85}"/>
                    </a:ext>
                  </a:extLst>
                </p:cNvPr>
                <p:cNvSpPr/>
                <p:nvPr/>
              </p:nvSpPr>
              <p:spPr>
                <a:xfrm>
                  <a:off x="8093507" y="5551602"/>
                  <a:ext cx="26658" cy="26540"/>
                </a:xfrm>
                <a:custGeom>
                  <a:avLst/>
                  <a:gdLst>
                    <a:gd name="connsiteX0" fmla="*/ 26657 w 26658"/>
                    <a:gd name="connsiteY0" fmla="*/ 12962 h 26540"/>
                    <a:gd name="connsiteX1" fmla="*/ 13578 w 26658"/>
                    <a:gd name="connsiteY1" fmla="*/ 26539 h 26540"/>
                    <a:gd name="connsiteX2" fmla="*/ 2 w 26658"/>
                    <a:gd name="connsiteY2" fmla="*/ 13584 h 26540"/>
                    <a:gd name="connsiteX3" fmla="*/ 13080 w 26658"/>
                    <a:gd name="connsiteY3" fmla="*/ 8 h 26540"/>
                    <a:gd name="connsiteX4" fmla="*/ 26657 w 26658"/>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40">
                      <a:moveTo>
                        <a:pt x="26657" y="12962"/>
                      </a:moveTo>
                      <a:cubicBezTo>
                        <a:pt x="26781" y="20311"/>
                        <a:pt x="20928" y="26289"/>
                        <a:pt x="13578" y="26539"/>
                      </a:cubicBezTo>
                      <a:cubicBezTo>
                        <a:pt x="6230" y="26663"/>
                        <a:pt x="126" y="20933"/>
                        <a:pt x="2" y="13584"/>
                      </a:cubicBezTo>
                      <a:cubicBezTo>
                        <a:pt x="-123" y="6236"/>
                        <a:pt x="5606" y="257"/>
                        <a:pt x="13080" y="8"/>
                      </a:cubicBezTo>
                      <a:cubicBezTo>
                        <a:pt x="20429" y="-241"/>
                        <a:pt x="26532"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0" name="Freeform 4975">
                  <a:extLst>
                    <a:ext uri="{FF2B5EF4-FFF2-40B4-BE49-F238E27FC236}">
                      <a16:creationId xmlns:a16="http://schemas.microsoft.com/office/drawing/2014/main" id="{64E30293-177B-9620-30C5-56DFE859C9F5}"/>
                    </a:ext>
                  </a:extLst>
                </p:cNvPr>
                <p:cNvSpPr/>
                <p:nvPr/>
              </p:nvSpPr>
              <p:spPr>
                <a:xfrm>
                  <a:off x="8110656" y="5627839"/>
                  <a:ext cx="4202" cy="52189"/>
                </a:xfrm>
                <a:custGeom>
                  <a:avLst/>
                  <a:gdLst>
                    <a:gd name="connsiteX0" fmla="*/ 2284 w 4202"/>
                    <a:gd name="connsiteY0" fmla="*/ 52190 h 52189"/>
                    <a:gd name="connsiteX1" fmla="*/ 3902 w 4202"/>
                    <a:gd name="connsiteY1" fmla="*/ 33506 h 52189"/>
                    <a:gd name="connsiteX2" fmla="*/ 166 w 4202"/>
                    <a:gd name="connsiteY2" fmla="*/ 16442 h 52189"/>
                    <a:gd name="connsiteX3" fmla="*/ 2034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2284" y="52190"/>
                      </a:moveTo>
                      <a:cubicBezTo>
                        <a:pt x="4526" y="44094"/>
                        <a:pt x="4401" y="37741"/>
                        <a:pt x="3902" y="33506"/>
                      </a:cubicBezTo>
                      <a:cubicBezTo>
                        <a:pt x="3031" y="26531"/>
                        <a:pt x="788" y="23542"/>
                        <a:pt x="166" y="16442"/>
                      </a:cubicBezTo>
                      <a:cubicBezTo>
                        <a:pt x="-457" y="9591"/>
                        <a:pt x="788"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1" name="Freeform 4976">
                  <a:extLst>
                    <a:ext uri="{FF2B5EF4-FFF2-40B4-BE49-F238E27FC236}">
                      <a16:creationId xmlns:a16="http://schemas.microsoft.com/office/drawing/2014/main" id="{608EC29A-26D2-C794-F73C-2C668C99C83B}"/>
                    </a:ext>
                  </a:extLst>
                </p:cNvPr>
                <p:cNvSpPr/>
                <p:nvPr/>
              </p:nvSpPr>
              <p:spPr>
                <a:xfrm>
                  <a:off x="8103539" y="5633070"/>
                  <a:ext cx="3203" cy="52189"/>
                </a:xfrm>
                <a:custGeom>
                  <a:avLst/>
                  <a:gdLst>
                    <a:gd name="connsiteX0" fmla="*/ 681 w 3203"/>
                    <a:gd name="connsiteY0" fmla="*/ 0 h 52189"/>
                    <a:gd name="connsiteX1" fmla="*/ 3048 w 3203"/>
                    <a:gd name="connsiteY1" fmla="*/ 18684 h 52189"/>
                    <a:gd name="connsiteX2" fmla="*/ 58 w 3203"/>
                    <a:gd name="connsiteY2" fmla="*/ 35873 h 52189"/>
                    <a:gd name="connsiteX3" fmla="*/ 2549 w 3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0"/>
                      </a:moveTo>
                      <a:cubicBezTo>
                        <a:pt x="3296" y="7971"/>
                        <a:pt x="3421" y="14324"/>
                        <a:pt x="3048" y="18684"/>
                      </a:cubicBezTo>
                      <a:cubicBezTo>
                        <a:pt x="2425" y="25659"/>
                        <a:pt x="307" y="28773"/>
                        <a:pt x="58" y="35873"/>
                      </a:cubicBezTo>
                      <a:cubicBezTo>
                        <a:pt x="-316" y="42723"/>
                        <a:pt x="1179" y="48453"/>
                        <a:pt x="254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2" name="Freeform 4977">
                  <a:extLst>
                    <a:ext uri="{FF2B5EF4-FFF2-40B4-BE49-F238E27FC236}">
                      <a16:creationId xmlns:a16="http://schemas.microsoft.com/office/drawing/2014/main" id="{FB6C5CB7-4402-2422-31CB-D2AAD7C3FFEF}"/>
                    </a:ext>
                  </a:extLst>
                </p:cNvPr>
                <p:cNvSpPr/>
                <p:nvPr/>
              </p:nvSpPr>
              <p:spPr>
                <a:xfrm>
                  <a:off x="8096247" y="5673923"/>
                  <a:ext cx="26285" cy="26534"/>
                </a:xfrm>
                <a:custGeom>
                  <a:avLst/>
                  <a:gdLst>
                    <a:gd name="connsiteX0" fmla="*/ 2 w 26285"/>
                    <a:gd name="connsiteY0" fmla="*/ 13579 h 26534"/>
                    <a:gd name="connsiteX1" fmla="*/ 12832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2" y="2"/>
                      </a:cubicBezTo>
                      <a:cubicBezTo>
                        <a:pt x="20056" y="-123"/>
                        <a:pt x="26159" y="5607"/>
                        <a:pt x="26283" y="12956"/>
                      </a:cubicBezTo>
                      <a:cubicBezTo>
                        <a:pt x="26408" y="20305"/>
                        <a:pt x="20678" y="26283"/>
                        <a:pt x="13454" y="26533"/>
                      </a:cubicBezTo>
                      <a:cubicBezTo>
                        <a:pt x="6230" y="26657"/>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3" name="Graphic 2987">
                <a:extLst>
                  <a:ext uri="{FF2B5EF4-FFF2-40B4-BE49-F238E27FC236}">
                    <a16:creationId xmlns:a16="http://schemas.microsoft.com/office/drawing/2014/main" id="{4F5D0E9F-73DA-5157-F87A-8FC096D5BF6C}"/>
                  </a:ext>
                </a:extLst>
              </p:cNvPr>
              <p:cNvGrpSpPr/>
              <p:nvPr/>
            </p:nvGrpSpPr>
            <p:grpSpPr>
              <a:xfrm>
                <a:off x="8123275" y="5550979"/>
                <a:ext cx="28901" cy="148855"/>
                <a:chOff x="8123275" y="5550979"/>
                <a:chExt cx="28901" cy="148855"/>
              </a:xfrm>
              <a:grpFill/>
            </p:grpSpPr>
            <p:sp>
              <p:nvSpPr>
                <p:cNvPr id="4541" name="Freeform 4979">
                  <a:extLst>
                    <a:ext uri="{FF2B5EF4-FFF2-40B4-BE49-F238E27FC236}">
                      <a16:creationId xmlns:a16="http://schemas.microsoft.com/office/drawing/2014/main" id="{1DA4E26C-A1C7-4A50-1DD2-5B52FFE71A45}"/>
                    </a:ext>
                  </a:extLst>
                </p:cNvPr>
                <p:cNvSpPr/>
                <p:nvPr/>
              </p:nvSpPr>
              <p:spPr>
                <a:xfrm>
                  <a:off x="8131113" y="5571290"/>
                  <a:ext cx="4288" cy="52189"/>
                </a:xfrm>
                <a:custGeom>
                  <a:avLst/>
                  <a:gdLst>
                    <a:gd name="connsiteX0" fmla="*/ 2005 w 4288"/>
                    <a:gd name="connsiteY0" fmla="*/ 0 h 52189"/>
                    <a:gd name="connsiteX1" fmla="*/ 386 w 4288"/>
                    <a:gd name="connsiteY1" fmla="*/ 18684 h 52189"/>
                    <a:gd name="connsiteX2" fmla="*/ 4122 w 4288"/>
                    <a:gd name="connsiteY2" fmla="*/ 35748 h 52189"/>
                    <a:gd name="connsiteX3" fmla="*/ 225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7"/>
                        <a:pt x="-237" y="14449"/>
                        <a:pt x="386" y="18684"/>
                      </a:cubicBezTo>
                      <a:cubicBezTo>
                        <a:pt x="1258" y="25659"/>
                        <a:pt x="3500" y="28648"/>
                        <a:pt x="4122" y="35748"/>
                      </a:cubicBezTo>
                      <a:cubicBezTo>
                        <a:pt x="4745" y="42599"/>
                        <a:pt x="3500"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2" name="Freeform 4980">
                  <a:extLst>
                    <a:ext uri="{FF2B5EF4-FFF2-40B4-BE49-F238E27FC236}">
                      <a16:creationId xmlns:a16="http://schemas.microsoft.com/office/drawing/2014/main" id="{CB9C2B4C-451C-3B60-F836-45244511D619}"/>
                    </a:ext>
                  </a:extLst>
                </p:cNvPr>
                <p:cNvSpPr/>
                <p:nvPr/>
              </p:nvSpPr>
              <p:spPr>
                <a:xfrm>
                  <a:off x="8139190" y="5566058"/>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3" name="Freeform 4981">
                  <a:extLst>
                    <a:ext uri="{FF2B5EF4-FFF2-40B4-BE49-F238E27FC236}">
                      <a16:creationId xmlns:a16="http://schemas.microsoft.com/office/drawing/2014/main" id="{86015C20-D5F0-8A00-E16C-5121A15937E0}"/>
                    </a:ext>
                  </a:extLst>
                </p:cNvPr>
                <p:cNvSpPr/>
                <p:nvPr/>
              </p:nvSpPr>
              <p:spPr>
                <a:xfrm>
                  <a:off x="8123275" y="5550979"/>
                  <a:ext cx="26659" cy="26540"/>
                </a:xfrm>
                <a:custGeom>
                  <a:avLst/>
                  <a:gdLst>
                    <a:gd name="connsiteX0" fmla="*/ 26657 w 26659"/>
                    <a:gd name="connsiteY0" fmla="*/ 12961 h 26540"/>
                    <a:gd name="connsiteX1" fmla="*/ 13579 w 26659"/>
                    <a:gd name="connsiteY1" fmla="*/ 26538 h 26540"/>
                    <a:gd name="connsiteX2" fmla="*/ 2 w 26659"/>
                    <a:gd name="connsiteY2" fmla="*/ 13584 h 26540"/>
                    <a:gd name="connsiteX3" fmla="*/ 13080 w 26659"/>
                    <a:gd name="connsiteY3" fmla="*/ 8 h 26540"/>
                    <a:gd name="connsiteX4" fmla="*/ 26657 w 26659"/>
                    <a:gd name="connsiteY4" fmla="*/ 1296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1"/>
                      </a:moveTo>
                      <a:cubicBezTo>
                        <a:pt x="26782" y="20310"/>
                        <a:pt x="20928" y="26289"/>
                        <a:pt x="13579" y="26538"/>
                      </a:cubicBezTo>
                      <a:cubicBezTo>
                        <a:pt x="6230" y="26663"/>
                        <a:pt x="127" y="20933"/>
                        <a:pt x="2" y="13584"/>
                      </a:cubicBezTo>
                      <a:cubicBezTo>
                        <a:pt x="-123" y="6236"/>
                        <a:pt x="5732" y="257"/>
                        <a:pt x="13080" y="8"/>
                      </a:cubicBezTo>
                      <a:cubicBezTo>
                        <a:pt x="20430" y="-242"/>
                        <a:pt x="26533" y="5613"/>
                        <a:pt x="26657" y="129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4" name="Freeform 4982">
                  <a:extLst>
                    <a:ext uri="{FF2B5EF4-FFF2-40B4-BE49-F238E27FC236}">
                      <a16:creationId xmlns:a16="http://schemas.microsoft.com/office/drawing/2014/main" id="{E2C1488F-D4DC-B720-941C-75A9981072BD}"/>
                    </a:ext>
                  </a:extLst>
                </p:cNvPr>
                <p:cNvSpPr/>
                <p:nvPr/>
              </p:nvSpPr>
              <p:spPr>
                <a:xfrm>
                  <a:off x="8140052" y="5627216"/>
                  <a:ext cx="4288" cy="52189"/>
                </a:xfrm>
                <a:custGeom>
                  <a:avLst/>
                  <a:gdLst>
                    <a:gd name="connsiteX0" fmla="*/ 2283 w 4288"/>
                    <a:gd name="connsiteY0" fmla="*/ 52190 h 52189"/>
                    <a:gd name="connsiteX1" fmla="*/ 3902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2" y="33506"/>
                      </a:cubicBezTo>
                      <a:cubicBezTo>
                        <a:pt x="3030" y="26531"/>
                        <a:pt x="789" y="23541"/>
                        <a:pt x="166" y="16442"/>
                      </a:cubicBezTo>
                      <a:cubicBezTo>
                        <a:pt x="-458"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5" name="Freeform 4983">
                  <a:extLst>
                    <a:ext uri="{FF2B5EF4-FFF2-40B4-BE49-F238E27FC236}">
                      <a16:creationId xmlns:a16="http://schemas.microsoft.com/office/drawing/2014/main" id="{0E7F3EBA-7914-693B-B29A-538383B59B20}"/>
                    </a:ext>
                  </a:extLst>
                </p:cNvPr>
                <p:cNvSpPr/>
                <p:nvPr/>
              </p:nvSpPr>
              <p:spPr>
                <a:xfrm>
                  <a:off x="8132935" y="5632447"/>
                  <a:ext cx="3327" cy="52189"/>
                </a:xfrm>
                <a:custGeom>
                  <a:avLst/>
                  <a:gdLst>
                    <a:gd name="connsiteX0" fmla="*/ 806 w 3327"/>
                    <a:gd name="connsiteY0" fmla="*/ 0 h 52189"/>
                    <a:gd name="connsiteX1" fmla="*/ 3172 w 3327"/>
                    <a:gd name="connsiteY1" fmla="*/ 18684 h 52189"/>
                    <a:gd name="connsiteX2" fmla="*/ 58 w 3327"/>
                    <a:gd name="connsiteY2" fmla="*/ 35873 h 52189"/>
                    <a:gd name="connsiteX3" fmla="*/ 2550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806" y="0"/>
                      </a:moveTo>
                      <a:cubicBezTo>
                        <a:pt x="3421" y="7972"/>
                        <a:pt x="3546" y="14324"/>
                        <a:pt x="3172" y="18684"/>
                      </a:cubicBezTo>
                      <a:cubicBezTo>
                        <a:pt x="2550" y="25659"/>
                        <a:pt x="432" y="28773"/>
                        <a:pt x="58" y="35873"/>
                      </a:cubicBezTo>
                      <a:cubicBezTo>
                        <a:pt x="-316" y="42724"/>
                        <a:pt x="1179" y="48453"/>
                        <a:pt x="255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6" name="Freeform 4984">
                  <a:extLst>
                    <a:ext uri="{FF2B5EF4-FFF2-40B4-BE49-F238E27FC236}">
                      <a16:creationId xmlns:a16="http://schemas.microsoft.com/office/drawing/2014/main" id="{2C6AD811-4856-C484-4684-DB8EE9BA2B3C}"/>
                    </a:ext>
                  </a:extLst>
                </p:cNvPr>
                <p:cNvSpPr/>
                <p:nvPr/>
              </p:nvSpPr>
              <p:spPr>
                <a:xfrm>
                  <a:off x="8125767" y="5673300"/>
                  <a:ext cx="26410" cy="26534"/>
                </a:xfrm>
                <a:custGeom>
                  <a:avLst/>
                  <a:gdLst>
                    <a:gd name="connsiteX0" fmla="*/ 2 w 26410"/>
                    <a:gd name="connsiteY0" fmla="*/ 13579 h 26534"/>
                    <a:gd name="connsiteX1" fmla="*/ 12956 w 26410"/>
                    <a:gd name="connsiteY1" fmla="*/ 2 h 26534"/>
                    <a:gd name="connsiteX2" fmla="*/ 26408 w 26410"/>
                    <a:gd name="connsiteY2" fmla="*/ 12956 h 26534"/>
                    <a:gd name="connsiteX3" fmla="*/ 13454 w 26410"/>
                    <a:gd name="connsiteY3" fmla="*/ 26533 h 26534"/>
                    <a:gd name="connsiteX4" fmla="*/ 2 w 2641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3579"/>
                      </a:moveTo>
                      <a:cubicBezTo>
                        <a:pt x="-123" y="6230"/>
                        <a:pt x="5607" y="251"/>
                        <a:pt x="12956" y="2"/>
                      </a:cubicBezTo>
                      <a:cubicBezTo>
                        <a:pt x="20180" y="-122"/>
                        <a:pt x="26283" y="5607"/>
                        <a:pt x="26408" y="12956"/>
                      </a:cubicBezTo>
                      <a:cubicBezTo>
                        <a:pt x="26533" y="20305"/>
                        <a:pt x="20803" y="26284"/>
                        <a:pt x="13454" y="26533"/>
                      </a:cubicBezTo>
                      <a:cubicBezTo>
                        <a:pt x="6105" y="26658"/>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4" name="Graphic 2987">
                <a:extLst>
                  <a:ext uri="{FF2B5EF4-FFF2-40B4-BE49-F238E27FC236}">
                    <a16:creationId xmlns:a16="http://schemas.microsoft.com/office/drawing/2014/main" id="{D60F6932-7D85-4C04-E83E-E2543287BC71}"/>
                  </a:ext>
                </a:extLst>
              </p:cNvPr>
              <p:cNvGrpSpPr/>
              <p:nvPr/>
            </p:nvGrpSpPr>
            <p:grpSpPr>
              <a:xfrm>
                <a:off x="8153045" y="5550356"/>
                <a:ext cx="28401" cy="148856"/>
                <a:chOff x="8153045" y="5550356"/>
                <a:chExt cx="28401" cy="148856"/>
              </a:xfrm>
              <a:grpFill/>
            </p:grpSpPr>
            <p:sp>
              <p:nvSpPr>
                <p:cNvPr id="4535" name="Freeform 4986">
                  <a:extLst>
                    <a:ext uri="{FF2B5EF4-FFF2-40B4-BE49-F238E27FC236}">
                      <a16:creationId xmlns:a16="http://schemas.microsoft.com/office/drawing/2014/main" id="{940442B3-4B34-FDDE-1843-DA42110C2459}"/>
                    </a:ext>
                  </a:extLst>
                </p:cNvPr>
                <p:cNvSpPr/>
                <p:nvPr/>
              </p:nvSpPr>
              <p:spPr>
                <a:xfrm>
                  <a:off x="8160757" y="5570667"/>
                  <a:ext cx="4278" cy="52189"/>
                </a:xfrm>
                <a:custGeom>
                  <a:avLst/>
                  <a:gdLst>
                    <a:gd name="connsiteX0" fmla="*/ 2006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6" y="0"/>
                      </a:moveTo>
                      <a:cubicBezTo>
                        <a:pt x="-361" y="8096"/>
                        <a:pt x="-237" y="14449"/>
                        <a:pt x="386" y="18684"/>
                      </a:cubicBezTo>
                      <a:cubicBezTo>
                        <a:pt x="1258" y="25659"/>
                        <a:pt x="3500" y="28648"/>
                        <a:pt x="4123" y="35748"/>
                      </a:cubicBezTo>
                      <a:cubicBezTo>
                        <a:pt x="4745" y="42599"/>
                        <a:pt x="3375"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6" name="Freeform 4987">
                  <a:extLst>
                    <a:ext uri="{FF2B5EF4-FFF2-40B4-BE49-F238E27FC236}">
                      <a16:creationId xmlns:a16="http://schemas.microsoft.com/office/drawing/2014/main" id="{088F41BD-FE6A-9E60-D4B3-7052318AB4D3}"/>
                    </a:ext>
                  </a:extLst>
                </p:cNvPr>
                <p:cNvSpPr/>
                <p:nvPr/>
              </p:nvSpPr>
              <p:spPr>
                <a:xfrm>
                  <a:off x="8168884" y="5565435"/>
                  <a:ext cx="3403" cy="52189"/>
                </a:xfrm>
                <a:custGeom>
                  <a:avLst/>
                  <a:gdLst>
                    <a:gd name="connsiteX0" fmla="*/ 2474 w 3403"/>
                    <a:gd name="connsiteY0" fmla="*/ 52190 h 52189"/>
                    <a:gd name="connsiteX1" fmla="*/ 231 w 3403"/>
                    <a:gd name="connsiteY1" fmla="*/ 33506 h 52189"/>
                    <a:gd name="connsiteX2" fmla="*/ 3345 w 3403"/>
                    <a:gd name="connsiteY2" fmla="*/ 16317 h 52189"/>
                    <a:gd name="connsiteX3" fmla="*/ 978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2474" y="52190"/>
                      </a:moveTo>
                      <a:cubicBezTo>
                        <a:pt x="-142" y="44218"/>
                        <a:pt x="-267" y="37866"/>
                        <a:pt x="231" y="33506"/>
                      </a:cubicBezTo>
                      <a:cubicBezTo>
                        <a:pt x="854" y="26531"/>
                        <a:pt x="2971" y="23417"/>
                        <a:pt x="3345" y="16317"/>
                      </a:cubicBezTo>
                      <a:cubicBezTo>
                        <a:pt x="3719" y="9467"/>
                        <a:pt x="2224" y="3737"/>
                        <a:pt x="9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7" name="Freeform 4988">
                  <a:extLst>
                    <a:ext uri="{FF2B5EF4-FFF2-40B4-BE49-F238E27FC236}">
                      <a16:creationId xmlns:a16="http://schemas.microsoft.com/office/drawing/2014/main" id="{92986AE6-B161-D528-BD41-3B753C439FFB}"/>
                    </a:ext>
                  </a:extLst>
                </p:cNvPr>
                <p:cNvSpPr/>
                <p:nvPr/>
              </p:nvSpPr>
              <p:spPr>
                <a:xfrm>
                  <a:off x="8153045" y="5550356"/>
                  <a:ext cx="26659" cy="26540"/>
                </a:xfrm>
                <a:custGeom>
                  <a:avLst/>
                  <a:gdLst>
                    <a:gd name="connsiteX0" fmla="*/ 26657 w 26659"/>
                    <a:gd name="connsiteY0" fmla="*/ 12962 h 26540"/>
                    <a:gd name="connsiteX1" fmla="*/ 13579 w 26659"/>
                    <a:gd name="connsiteY1" fmla="*/ 26539 h 26540"/>
                    <a:gd name="connsiteX2" fmla="*/ 2 w 26659"/>
                    <a:gd name="connsiteY2" fmla="*/ 13584 h 26540"/>
                    <a:gd name="connsiteX3" fmla="*/ 13080 w 26659"/>
                    <a:gd name="connsiteY3" fmla="*/ 8 h 26540"/>
                    <a:gd name="connsiteX4" fmla="*/ 26657 w 26659"/>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2"/>
                      </a:moveTo>
                      <a:cubicBezTo>
                        <a:pt x="26782" y="20311"/>
                        <a:pt x="20928" y="26290"/>
                        <a:pt x="13579" y="26539"/>
                      </a:cubicBezTo>
                      <a:cubicBezTo>
                        <a:pt x="6230" y="26663"/>
                        <a:pt x="127" y="20933"/>
                        <a:pt x="2" y="13584"/>
                      </a:cubicBezTo>
                      <a:cubicBezTo>
                        <a:pt x="-123" y="6236"/>
                        <a:pt x="5732" y="257"/>
                        <a:pt x="13080" y="8"/>
                      </a:cubicBezTo>
                      <a:cubicBezTo>
                        <a:pt x="20430" y="-241"/>
                        <a:pt x="26533"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8" name="Freeform 4989">
                  <a:extLst>
                    <a:ext uri="{FF2B5EF4-FFF2-40B4-BE49-F238E27FC236}">
                      <a16:creationId xmlns:a16="http://schemas.microsoft.com/office/drawing/2014/main" id="{2A7FE280-E82A-B509-75A1-5451CB3079B2}"/>
                    </a:ext>
                  </a:extLst>
                </p:cNvPr>
                <p:cNvSpPr/>
                <p:nvPr/>
              </p:nvSpPr>
              <p:spPr>
                <a:xfrm>
                  <a:off x="8169706" y="5626593"/>
                  <a:ext cx="4154" cy="52189"/>
                </a:xfrm>
                <a:custGeom>
                  <a:avLst/>
                  <a:gdLst>
                    <a:gd name="connsiteX0" fmla="*/ 2149 w 4154"/>
                    <a:gd name="connsiteY0" fmla="*/ 52190 h 52189"/>
                    <a:gd name="connsiteX1" fmla="*/ 3769 w 4154"/>
                    <a:gd name="connsiteY1" fmla="*/ 33506 h 52189"/>
                    <a:gd name="connsiteX2" fmla="*/ 156 w 4154"/>
                    <a:gd name="connsiteY2" fmla="*/ 16442 h 52189"/>
                    <a:gd name="connsiteX3" fmla="*/ 2025 w 4154"/>
                    <a:gd name="connsiteY3" fmla="*/ 0 h 52189"/>
                  </a:gdLst>
                  <a:ahLst/>
                  <a:cxnLst>
                    <a:cxn ang="0">
                      <a:pos x="connsiteX0" y="connsiteY0"/>
                    </a:cxn>
                    <a:cxn ang="0">
                      <a:pos x="connsiteX1" y="connsiteY1"/>
                    </a:cxn>
                    <a:cxn ang="0">
                      <a:pos x="connsiteX2" y="connsiteY2"/>
                    </a:cxn>
                    <a:cxn ang="0">
                      <a:pos x="connsiteX3" y="connsiteY3"/>
                    </a:cxn>
                  </a:cxnLst>
                  <a:rect l="l" t="t" r="r" b="b"/>
                  <a:pathLst>
                    <a:path w="4154" h="52189">
                      <a:moveTo>
                        <a:pt x="2149" y="52190"/>
                      </a:moveTo>
                      <a:cubicBezTo>
                        <a:pt x="4516" y="44094"/>
                        <a:pt x="4391" y="37741"/>
                        <a:pt x="3769" y="33506"/>
                      </a:cubicBezTo>
                      <a:cubicBezTo>
                        <a:pt x="2897" y="26531"/>
                        <a:pt x="655" y="23542"/>
                        <a:pt x="156" y="16442"/>
                      </a:cubicBezTo>
                      <a:cubicBezTo>
                        <a:pt x="-467" y="9591"/>
                        <a:pt x="903" y="3861"/>
                        <a:pt x="20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9" name="Freeform 4990">
                  <a:extLst>
                    <a:ext uri="{FF2B5EF4-FFF2-40B4-BE49-F238E27FC236}">
                      <a16:creationId xmlns:a16="http://schemas.microsoft.com/office/drawing/2014/main" id="{0030270E-9E72-AC8B-2AF4-7A299DA5F820}"/>
                    </a:ext>
                  </a:extLst>
                </p:cNvPr>
                <p:cNvSpPr/>
                <p:nvPr/>
              </p:nvSpPr>
              <p:spPr>
                <a:xfrm>
                  <a:off x="8162455" y="5631825"/>
                  <a:ext cx="3403" cy="52189"/>
                </a:xfrm>
                <a:custGeom>
                  <a:avLst/>
                  <a:gdLst>
                    <a:gd name="connsiteX0" fmla="*/ 930 w 3403"/>
                    <a:gd name="connsiteY0" fmla="*/ 0 h 52189"/>
                    <a:gd name="connsiteX1" fmla="*/ 3172 w 3403"/>
                    <a:gd name="connsiteY1" fmla="*/ 18684 h 52189"/>
                    <a:gd name="connsiteX2" fmla="*/ 58 w 3403"/>
                    <a:gd name="connsiteY2" fmla="*/ 35873 h 52189"/>
                    <a:gd name="connsiteX3" fmla="*/ 2425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0"/>
                      </a:moveTo>
                      <a:cubicBezTo>
                        <a:pt x="3546" y="7971"/>
                        <a:pt x="3670" y="14324"/>
                        <a:pt x="3172" y="18684"/>
                      </a:cubicBezTo>
                      <a:cubicBezTo>
                        <a:pt x="2550" y="25659"/>
                        <a:pt x="432" y="28773"/>
                        <a:pt x="58" y="35873"/>
                      </a:cubicBezTo>
                      <a:cubicBezTo>
                        <a:pt x="-316" y="42723"/>
                        <a:pt x="1179" y="48453"/>
                        <a:pt x="242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0" name="Freeform 4991">
                  <a:extLst>
                    <a:ext uri="{FF2B5EF4-FFF2-40B4-BE49-F238E27FC236}">
                      <a16:creationId xmlns:a16="http://schemas.microsoft.com/office/drawing/2014/main" id="{97979893-B1AA-50F4-EBC4-D1E77D130E89}"/>
                    </a:ext>
                  </a:extLst>
                </p:cNvPr>
                <p:cNvSpPr/>
                <p:nvPr/>
              </p:nvSpPr>
              <p:spPr>
                <a:xfrm>
                  <a:off x="8155162" y="5672678"/>
                  <a:ext cx="26284" cy="26534"/>
                </a:xfrm>
                <a:custGeom>
                  <a:avLst/>
                  <a:gdLst>
                    <a:gd name="connsiteX0" fmla="*/ 2 w 26284"/>
                    <a:gd name="connsiteY0" fmla="*/ 13579 h 26534"/>
                    <a:gd name="connsiteX1" fmla="*/ 12956 w 26284"/>
                    <a:gd name="connsiteY1" fmla="*/ 2 h 26534"/>
                    <a:gd name="connsiteX2" fmla="*/ 26284 w 26284"/>
                    <a:gd name="connsiteY2" fmla="*/ 12956 h 26534"/>
                    <a:gd name="connsiteX3" fmla="*/ 13330 w 26284"/>
                    <a:gd name="connsiteY3" fmla="*/ 26533 h 26534"/>
                    <a:gd name="connsiteX4" fmla="*/ 2 w 26284"/>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732" y="251"/>
                        <a:pt x="12956" y="2"/>
                      </a:cubicBezTo>
                      <a:cubicBezTo>
                        <a:pt x="20180" y="-123"/>
                        <a:pt x="26284" y="5607"/>
                        <a:pt x="26284" y="12956"/>
                      </a:cubicBezTo>
                      <a:cubicBezTo>
                        <a:pt x="26284" y="20305"/>
                        <a:pt x="20554" y="26283"/>
                        <a:pt x="13330" y="26533"/>
                      </a:cubicBezTo>
                      <a:cubicBezTo>
                        <a:pt x="6105" y="26657"/>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5" name="Graphic 2987">
                <a:extLst>
                  <a:ext uri="{FF2B5EF4-FFF2-40B4-BE49-F238E27FC236}">
                    <a16:creationId xmlns:a16="http://schemas.microsoft.com/office/drawing/2014/main" id="{464DD6BA-5F8E-8C44-A0F7-B48BF74CA16D}"/>
                  </a:ext>
                </a:extLst>
              </p:cNvPr>
              <p:cNvGrpSpPr/>
              <p:nvPr/>
            </p:nvGrpSpPr>
            <p:grpSpPr>
              <a:xfrm>
                <a:off x="8182814" y="5549741"/>
                <a:ext cx="28029" cy="148970"/>
                <a:chOff x="8182814" y="5549741"/>
                <a:chExt cx="28029" cy="148970"/>
              </a:xfrm>
              <a:grpFill/>
            </p:grpSpPr>
            <p:sp>
              <p:nvSpPr>
                <p:cNvPr id="4529" name="Freeform 4993">
                  <a:extLst>
                    <a:ext uri="{FF2B5EF4-FFF2-40B4-BE49-F238E27FC236}">
                      <a16:creationId xmlns:a16="http://schemas.microsoft.com/office/drawing/2014/main" id="{D7029BD8-1AB0-876C-7AE3-3851926A9F4A}"/>
                    </a:ext>
                  </a:extLst>
                </p:cNvPr>
                <p:cNvSpPr/>
                <p:nvPr/>
              </p:nvSpPr>
              <p:spPr>
                <a:xfrm>
                  <a:off x="8190492" y="5570169"/>
                  <a:ext cx="4062" cy="52065"/>
                </a:xfrm>
                <a:custGeom>
                  <a:avLst/>
                  <a:gdLst>
                    <a:gd name="connsiteX0" fmla="*/ 2039 w 4062"/>
                    <a:gd name="connsiteY0" fmla="*/ 0 h 52065"/>
                    <a:gd name="connsiteX1" fmla="*/ 296 w 4062"/>
                    <a:gd name="connsiteY1" fmla="*/ 18684 h 52065"/>
                    <a:gd name="connsiteX2" fmla="*/ 3908 w 4062"/>
                    <a:gd name="connsiteY2" fmla="*/ 35748 h 52065"/>
                    <a:gd name="connsiteX3" fmla="*/ 1914 w 40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0"/>
                      </a:moveTo>
                      <a:cubicBezTo>
                        <a:pt x="-328" y="8097"/>
                        <a:pt x="-203" y="14449"/>
                        <a:pt x="296" y="18684"/>
                      </a:cubicBezTo>
                      <a:cubicBezTo>
                        <a:pt x="1167" y="25659"/>
                        <a:pt x="3410" y="28648"/>
                        <a:pt x="3908" y="35748"/>
                      </a:cubicBezTo>
                      <a:cubicBezTo>
                        <a:pt x="4530" y="42599"/>
                        <a:pt x="3160" y="48328"/>
                        <a:pt x="19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0" name="Freeform 4994">
                  <a:extLst>
                    <a:ext uri="{FF2B5EF4-FFF2-40B4-BE49-F238E27FC236}">
                      <a16:creationId xmlns:a16="http://schemas.microsoft.com/office/drawing/2014/main" id="{8E01C1EC-35AF-B74F-8471-2D6C78A5A5D2}"/>
                    </a:ext>
                  </a:extLst>
                </p:cNvPr>
                <p:cNvSpPr/>
                <p:nvPr/>
              </p:nvSpPr>
              <p:spPr>
                <a:xfrm>
                  <a:off x="8198458" y="5565062"/>
                  <a:ext cx="3473" cy="52065"/>
                </a:xfrm>
                <a:custGeom>
                  <a:avLst/>
                  <a:gdLst>
                    <a:gd name="connsiteX0" fmla="*/ 2419 w 3473"/>
                    <a:gd name="connsiteY0" fmla="*/ 52065 h 52065"/>
                    <a:gd name="connsiteX1" fmla="*/ 177 w 3473"/>
                    <a:gd name="connsiteY1" fmla="*/ 33382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4"/>
                        <a:pt x="-197" y="37741"/>
                        <a:pt x="177" y="33382"/>
                      </a:cubicBezTo>
                      <a:cubicBezTo>
                        <a:pt x="925" y="26407"/>
                        <a:pt x="2917" y="23417"/>
                        <a:pt x="3415" y="16317"/>
                      </a:cubicBezTo>
                      <a:cubicBezTo>
                        <a:pt x="3789" y="9467"/>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1" name="Freeform 4995">
                  <a:extLst>
                    <a:ext uri="{FF2B5EF4-FFF2-40B4-BE49-F238E27FC236}">
                      <a16:creationId xmlns:a16="http://schemas.microsoft.com/office/drawing/2014/main" id="{60E68F64-8613-2A6A-DC0F-0340236681EB}"/>
                    </a:ext>
                  </a:extLst>
                </p:cNvPr>
                <p:cNvSpPr/>
                <p:nvPr/>
              </p:nvSpPr>
              <p:spPr>
                <a:xfrm>
                  <a:off x="8182814" y="5549741"/>
                  <a:ext cx="26534" cy="26530"/>
                </a:xfrm>
                <a:custGeom>
                  <a:avLst/>
                  <a:gdLst>
                    <a:gd name="connsiteX0" fmla="*/ 26533 w 26534"/>
                    <a:gd name="connsiteY0" fmla="*/ 13203 h 26530"/>
                    <a:gd name="connsiteX1" fmla="*/ 13454 w 26534"/>
                    <a:gd name="connsiteY1" fmla="*/ 26531 h 26530"/>
                    <a:gd name="connsiteX2" fmla="*/ 2 w 26534"/>
                    <a:gd name="connsiteY2" fmla="*/ 13452 h 26530"/>
                    <a:gd name="connsiteX3" fmla="*/ 13080 w 26534"/>
                    <a:gd name="connsiteY3" fmla="*/ 0 h 26530"/>
                    <a:gd name="connsiteX4" fmla="*/ 26533 w 26534"/>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203"/>
                      </a:moveTo>
                      <a:cubicBezTo>
                        <a:pt x="26657" y="20552"/>
                        <a:pt x="20803" y="26531"/>
                        <a:pt x="13454" y="26531"/>
                      </a:cubicBezTo>
                      <a:cubicBezTo>
                        <a:pt x="6105" y="26531"/>
                        <a:pt x="127" y="20801"/>
                        <a:pt x="2" y="13452"/>
                      </a:cubicBezTo>
                      <a:cubicBezTo>
                        <a:pt x="-123" y="6103"/>
                        <a:pt x="5731" y="0"/>
                        <a:pt x="13080" y="0"/>
                      </a:cubicBezTo>
                      <a:cubicBezTo>
                        <a:pt x="20430" y="0"/>
                        <a:pt x="26533" y="5854"/>
                        <a:pt x="26533"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2" name="Freeform 4996">
                  <a:extLst>
                    <a:ext uri="{FF2B5EF4-FFF2-40B4-BE49-F238E27FC236}">
                      <a16:creationId xmlns:a16="http://schemas.microsoft.com/office/drawing/2014/main" id="{C254D484-E752-D54A-CDDB-F17C91BE425B}"/>
                    </a:ext>
                  </a:extLst>
                </p:cNvPr>
                <p:cNvSpPr/>
                <p:nvPr/>
              </p:nvSpPr>
              <p:spPr>
                <a:xfrm>
                  <a:off x="8199227" y="5626220"/>
                  <a:ext cx="4062" cy="52065"/>
                </a:xfrm>
                <a:custGeom>
                  <a:avLst/>
                  <a:gdLst>
                    <a:gd name="connsiteX0" fmla="*/ 2023 w 4062"/>
                    <a:gd name="connsiteY0" fmla="*/ 52065 h 52065"/>
                    <a:gd name="connsiteX1" fmla="*/ 3767 w 4062"/>
                    <a:gd name="connsiteY1" fmla="*/ 33382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7"/>
                        <a:pt x="3767" y="33382"/>
                      </a:cubicBezTo>
                      <a:cubicBezTo>
                        <a:pt x="2895" y="26406"/>
                        <a:pt x="778" y="23417"/>
                        <a:pt x="155" y="16317"/>
                      </a:cubicBezTo>
                      <a:cubicBezTo>
                        <a:pt x="-468"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3" name="Freeform 4997">
                  <a:extLst>
                    <a:ext uri="{FF2B5EF4-FFF2-40B4-BE49-F238E27FC236}">
                      <a16:creationId xmlns:a16="http://schemas.microsoft.com/office/drawing/2014/main" id="{91F82AE4-F9FD-E2B4-AAD7-349B800EBDC8}"/>
                    </a:ext>
                  </a:extLst>
                </p:cNvPr>
                <p:cNvSpPr/>
                <p:nvPr/>
              </p:nvSpPr>
              <p:spPr>
                <a:xfrm>
                  <a:off x="8191975" y="5631202"/>
                  <a:ext cx="3349" cy="52065"/>
                </a:xfrm>
                <a:custGeom>
                  <a:avLst/>
                  <a:gdLst>
                    <a:gd name="connsiteX0" fmla="*/ 930 w 3349"/>
                    <a:gd name="connsiteY0" fmla="*/ 0 h 52065"/>
                    <a:gd name="connsiteX1" fmla="*/ 3172 w 3349"/>
                    <a:gd name="connsiteY1" fmla="*/ 18684 h 52065"/>
                    <a:gd name="connsiteX2" fmla="*/ 58 w 3349"/>
                    <a:gd name="connsiteY2" fmla="*/ 35748 h 52065"/>
                    <a:gd name="connsiteX3" fmla="*/ 2425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930" y="0"/>
                      </a:moveTo>
                      <a:cubicBezTo>
                        <a:pt x="3546" y="7971"/>
                        <a:pt x="3546" y="14324"/>
                        <a:pt x="3172" y="18684"/>
                      </a:cubicBezTo>
                      <a:cubicBezTo>
                        <a:pt x="2550" y="25659"/>
                        <a:pt x="432" y="28648"/>
                        <a:pt x="58" y="35748"/>
                      </a:cubicBezTo>
                      <a:cubicBezTo>
                        <a:pt x="-316" y="42599"/>
                        <a:pt x="1180"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4" name="Freeform 4998">
                  <a:extLst>
                    <a:ext uri="{FF2B5EF4-FFF2-40B4-BE49-F238E27FC236}">
                      <a16:creationId xmlns:a16="http://schemas.microsoft.com/office/drawing/2014/main" id="{5DCAFB7C-39D1-26B7-9EDD-FC3FC8E00925}"/>
                    </a:ext>
                  </a:extLst>
                </p:cNvPr>
                <p:cNvSpPr/>
                <p:nvPr/>
              </p:nvSpPr>
              <p:spPr>
                <a:xfrm>
                  <a:off x="8184558" y="5672181"/>
                  <a:ext cx="26285" cy="26530"/>
                </a:xfrm>
                <a:custGeom>
                  <a:avLst/>
                  <a:gdLst>
                    <a:gd name="connsiteX0" fmla="*/ 2 w 26285"/>
                    <a:gd name="connsiteY0" fmla="*/ 13452 h 26530"/>
                    <a:gd name="connsiteX1" fmla="*/ 12956 w 26285"/>
                    <a:gd name="connsiteY1" fmla="*/ 0 h 26530"/>
                    <a:gd name="connsiteX2" fmla="*/ 26283 w 26285"/>
                    <a:gd name="connsiteY2" fmla="*/ 13203 h 26530"/>
                    <a:gd name="connsiteX3" fmla="*/ 13329 w 26285"/>
                    <a:gd name="connsiteY3" fmla="*/ 26531 h 26530"/>
                    <a:gd name="connsiteX4" fmla="*/ 2 w 26285"/>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0">
                      <a:moveTo>
                        <a:pt x="2" y="13452"/>
                      </a:moveTo>
                      <a:cubicBezTo>
                        <a:pt x="-123" y="6104"/>
                        <a:pt x="5731" y="0"/>
                        <a:pt x="12956" y="0"/>
                      </a:cubicBezTo>
                      <a:cubicBezTo>
                        <a:pt x="20180" y="0"/>
                        <a:pt x="26159" y="5854"/>
                        <a:pt x="26283" y="13203"/>
                      </a:cubicBezTo>
                      <a:cubicBezTo>
                        <a:pt x="26408" y="20552"/>
                        <a:pt x="20554" y="26531"/>
                        <a:pt x="13329" y="26531"/>
                      </a:cubicBezTo>
                      <a:cubicBezTo>
                        <a:pt x="6105" y="26531"/>
                        <a:pt x="126" y="20677"/>
                        <a:pt x="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6" name="Graphic 2987">
                <a:extLst>
                  <a:ext uri="{FF2B5EF4-FFF2-40B4-BE49-F238E27FC236}">
                    <a16:creationId xmlns:a16="http://schemas.microsoft.com/office/drawing/2014/main" id="{219FAAE9-BAF8-5DD9-1FC7-4891849F01A4}"/>
                  </a:ext>
                </a:extLst>
              </p:cNvPr>
              <p:cNvGrpSpPr/>
              <p:nvPr/>
            </p:nvGrpSpPr>
            <p:grpSpPr>
              <a:xfrm>
                <a:off x="8212459" y="5549492"/>
                <a:ext cx="27904" cy="148971"/>
                <a:chOff x="8212459" y="5549492"/>
                <a:chExt cx="27904" cy="148971"/>
              </a:xfrm>
              <a:grpFill/>
            </p:grpSpPr>
            <p:sp>
              <p:nvSpPr>
                <p:cNvPr id="4523" name="Freeform 5000">
                  <a:extLst>
                    <a:ext uri="{FF2B5EF4-FFF2-40B4-BE49-F238E27FC236}">
                      <a16:creationId xmlns:a16="http://schemas.microsoft.com/office/drawing/2014/main" id="{97CE43A8-F6D1-D839-1754-F32BA16C37AF}"/>
                    </a:ext>
                  </a:extLst>
                </p:cNvPr>
                <p:cNvSpPr/>
                <p:nvPr/>
              </p:nvSpPr>
              <p:spPr>
                <a:xfrm>
                  <a:off x="8220206" y="5569920"/>
                  <a:ext cx="4118" cy="52065"/>
                </a:xfrm>
                <a:custGeom>
                  <a:avLst/>
                  <a:gdLst>
                    <a:gd name="connsiteX0" fmla="*/ 2095 w 4118"/>
                    <a:gd name="connsiteY0" fmla="*/ 0 h 52065"/>
                    <a:gd name="connsiteX1" fmla="*/ 351 w 4118"/>
                    <a:gd name="connsiteY1" fmla="*/ 18684 h 52065"/>
                    <a:gd name="connsiteX2" fmla="*/ 3963 w 4118"/>
                    <a:gd name="connsiteY2" fmla="*/ 35748 h 52065"/>
                    <a:gd name="connsiteX3" fmla="*/ 1970 w 41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0"/>
                      </a:moveTo>
                      <a:cubicBezTo>
                        <a:pt x="-272" y="8096"/>
                        <a:pt x="-272" y="14449"/>
                        <a:pt x="351" y="18684"/>
                      </a:cubicBezTo>
                      <a:cubicBezTo>
                        <a:pt x="1223" y="25659"/>
                        <a:pt x="3340" y="28648"/>
                        <a:pt x="3963" y="35748"/>
                      </a:cubicBezTo>
                      <a:cubicBezTo>
                        <a:pt x="4586" y="42599"/>
                        <a:pt x="3216" y="48328"/>
                        <a:pt x="197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4" name="Freeform 5001">
                  <a:extLst>
                    <a:ext uri="{FF2B5EF4-FFF2-40B4-BE49-F238E27FC236}">
                      <a16:creationId xmlns:a16="http://schemas.microsoft.com/office/drawing/2014/main" id="{A11CF3D4-B3EB-BCFA-788D-491E44B07B8B}"/>
                    </a:ext>
                  </a:extLst>
                </p:cNvPr>
                <p:cNvSpPr/>
                <p:nvPr/>
              </p:nvSpPr>
              <p:spPr>
                <a:xfrm>
                  <a:off x="8228147" y="5564937"/>
                  <a:ext cx="3557" cy="52065"/>
                </a:xfrm>
                <a:custGeom>
                  <a:avLst/>
                  <a:gdLst>
                    <a:gd name="connsiteX0" fmla="*/ 2375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52065"/>
                      </a:moveTo>
                      <a:cubicBezTo>
                        <a:pt x="-241" y="44093"/>
                        <a:pt x="-241" y="37741"/>
                        <a:pt x="257" y="33381"/>
                      </a:cubicBezTo>
                      <a:cubicBezTo>
                        <a:pt x="1004" y="26406"/>
                        <a:pt x="3122" y="23417"/>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5" name="Freeform 5002">
                  <a:extLst>
                    <a:ext uri="{FF2B5EF4-FFF2-40B4-BE49-F238E27FC236}">
                      <a16:creationId xmlns:a16="http://schemas.microsoft.com/office/drawing/2014/main" id="{593B968E-72AD-9EDF-F7AA-2300A4307C75}"/>
                    </a:ext>
                  </a:extLst>
                </p:cNvPr>
                <p:cNvSpPr/>
                <p:nvPr/>
              </p:nvSpPr>
              <p:spPr>
                <a:xfrm>
                  <a:off x="8212459" y="5549492"/>
                  <a:ext cx="26658" cy="26530"/>
                </a:xfrm>
                <a:custGeom>
                  <a:avLst/>
                  <a:gdLst>
                    <a:gd name="connsiteX0" fmla="*/ 26657 w 26658"/>
                    <a:gd name="connsiteY0" fmla="*/ 13203 h 26530"/>
                    <a:gd name="connsiteX1" fmla="*/ 13454 w 26658"/>
                    <a:gd name="connsiteY1" fmla="*/ 26531 h 26530"/>
                    <a:gd name="connsiteX2" fmla="*/ 2 w 26658"/>
                    <a:gd name="connsiteY2" fmla="*/ 13328 h 26530"/>
                    <a:gd name="connsiteX3" fmla="*/ 13205 w 26658"/>
                    <a:gd name="connsiteY3" fmla="*/ 0 h 26530"/>
                    <a:gd name="connsiteX4" fmla="*/ 26657 w 26658"/>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0">
                      <a:moveTo>
                        <a:pt x="26657" y="13203"/>
                      </a:moveTo>
                      <a:cubicBezTo>
                        <a:pt x="26781" y="20552"/>
                        <a:pt x="20803" y="26531"/>
                        <a:pt x="13454" y="26531"/>
                      </a:cubicBezTo>
                      <a:cubicBezTo>
                        <a:pt x="6105" y="26531"/>
                        <a:pt x="127" y="20677"/>
                        <a:pt x="2" y="13328"/>
                      </a:cubicBezTo>
                      <a:cubicBezTo>
                        <a:pt x="-123" y="5979"/>
                        <a:pt x="5856" y="0"/>
                        <a:pt x="13205" y="0"/>
                      </a:cubicBezTo>
                      <a:cubicBezTo>
                        <a:pt x="20553" y="0"/>
                        <a:pt x="26657" y="5854"/>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6" name="Freeform 5003">
                  <a:extLst>
                    <a:ext uri="{FF2B5EF4-FFF2-40B4-BE49-F238E27FC236}">
                      <a16:creationId xmlns:a16="http://schemas.microsoft.com/office/drawing/2014/main" id="{A734304E-9F53-0C8D-F681-9AB2BA20973A}"/>
                    </a:ext>
                  </a:extLst>
                </p:cNvPr>
                <p:cNvSpPr/>
                <p:nvPr/>
              </p:nvSpPr>
              <p:spPr>
                <a:xfrm>
                  <a:off x="8228623" y="5625971"/>
                  <a:ext cx="4062" cy="52065"/>
                </a:xfrm>
                <a:custGeom>
                  <a:avLst/>
                  <a:gdLst>
                    <a:gd name="connsiteX0" fmla="*/ 2023 w 4062"/>
                    <a:gd name="connsiteY0" fmla="*/ 52065 h 52065"/>
                    <a:gd name="connsiteX1" fmla="*/ 3767 w 4062"/>
                    <a:gd name="connsiteY1" fmla="*/ 33381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6"/>
                        <a:pt x="3767" y="33381"/>
                      </a:cubicBezTo>
                      <a:cubicBezTo>
                        <a:pt x="2895" y="26406"/>
                        <a:pt x="778" y="23417"/>
                        <a:pt x="155" y="16317"/>
                      </a:cubicBezTo>
                      <a:cubicBezTo>
                        <a:pt x="-467"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7" name="Freeform 5004">
                  <a:extLst>
                    <a:ext uri="{FF2B5EF4-FFF2-40B4-BE49-F238E27FC236}">
                      <a16:creationId xmlns:a16="http://schemas.microsoft.com/office/drawing/2014/main" id="{874C3186-715A-40C3-0A75-6D509666C026}"/>
                    </a:ext>
                  </a:extLst>
                </p:cNvPr>
                <p:cNvSpPr/>
                <p:nvPr/>
              </p:nvSpPr>
              <p:spPr>
                <a:xfrm>
                  <a:off x="8221367" y="5631078"/>
                  <a:ext cx="3477" cy="52065"/>
                </a:xfrm>
                <a:custGeom>
                  <a:avLst/>
                  <a:gdLst>
                    <a:gd name="connsiteX0" fmla="*/ 1059 w 3477"/>
                    <a:gd name="connsiteY0" fmla="*/ 0 h 52065"/>
                    <a:gd name="connsiteX1" fmla="*/ 3301 w 3477"/>
                    <a:gd name="connsiteY1" fmla="*/ 18684 h 52065"/>
                    <a:gd name="connsiteX2" fmla="*/ 62 w 3477"/>
                    <a:gd name="connsiteY2" fmla="*/ 35748 h 52065"/>
                    <a:gd name="connsiteX3" fmla="*/ 2429 w 347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0"/>
                      </a:moveTo>
                      <a:cubicBezTo>
                        <a:pt x="3675" y="7971"/>
                        <a:pt x="3675" y="14324"/>
                        <a:pt x="3301" y="18684"/>
                      </a:cubicBezTo>
                      <a:cubicBezTo>
                        <a:pt x="2554" y="25659"/>
                        <a:pt x="561" y="28648"/>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8" name="Freeform 5005">
                  <a:extLst>
                    <a:ext uri="{FF2B5EF4-FFF2-40B4-BE49-F238E27FC236}">
                      <a16:creationId xmlns:a16="http://schemas.microsoft.com/office/drawing/2014/main" id="{CCE63FB2-0D06-F618-AFA3-4801C55C3715}"/>
                    </a:ext>
                  </a:extLst>
                </p:cNvPr>
                <p:cNvSpPr/>
                <p:nvPr/>
              </p:nvSpPr>
              <p:spPr>
                <a:xfrm>
                  <a:off x="8213954" y="5671932"/>
                  <a:ext cx="26410" cy="26530"/>
                </a:xfrm>
                <a:custGeom>
                  <a:avLst/>
                  <a:gdLst>
                    <a:gd name="connsiteX0" fmla="*/ 2 w 26410"/>
                    <a:gd name="connsiteY0" fmla="*/ 13328 h 26530"/>
                    <a:gd name="connsiteX1" fmla="*/ 13080 w 26410"/>
                    <a:gd name="connsiteY1" fmla="*/ 0 h 26530"/>
                    <a:gd name="connsiteX2" fmla="*/ 26408 w 26410"/>
                    <a:gd name="connsiteY2" fmla="*/ 13203 h 26530"/>
                    <a:gd name="connsiteX3" fmla="*/ 13330 w 26410"/>
                    <a:gd name="connsiteY3" fmla="*/ 26531 h 26530"/>
                    <a:gd name="connsiteX4" fmla="*/ 2 w 26410"/>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 y="13328"/>
                      </a:moveTo>
                      <a:cubicBezTo>
                        <a:pt x="-123" y="5979"/>
                        <a:pt x="5731" y="0"/>
                        <a:pt x="13080" y="0"/>
                      </a:cubicBezTo>
                      <a:cubicBezTo>
                        <a:pt x="20305" y="0"/>
                        <a:pt x="26283" y="5854"/>
                        <a:pt x="26408" y="13203"/>
                      </a:cubicBezTo>
                      <a:cubicBezTo>
                        <a:pt x="26533" y="20552"/>
                        <a:pt x="20678" y="26531"/>
                        <a:pt x="13330" y="26531"/>
                      </a:cubicBezTo>
                      <a:cubicBezTo>
                        <a:pt x="6105" y="26531"/>
                        <a:pt x="127" y="20677"/>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7" name="Graphic 2987">
                <a:extLst>
                  <a:ext uri="{FF2B5EF4-FFF2-40B4-BE49-F238E27FC236}">
                    <a16:creationId xmlns:a16="http://schemas.microsoft.com/office/drawing/2014/main" id="{71B39427-6DCA-ECEC-F2EE-1C2DB4A8CD53}"/>
                  </a:ext>
                </a:extLst>
              </p:cNvPr>
              <p:cNvGrpSpPr/>
              <p:nvPr/>
            </p:nvGrpSpPr>
            <p:grpSpPr>
              <a:xfrm>
                <a:off x="8242228" y="5549243"/>
                <a:ext cx="27654" cy="149095"/>
                <a:chOff x="8242228" y="5549243"/>
                <a:chExt cx="27654" cy="149095"/>
              </a:xfrm>
              <a:grpFill/>
            </p:grpSpPr>
            <p:sp>
              <p:nvSpPr>
                <p:cNvPr id="4517" name="Freeform 5007">
                  <a:extLst>
                    <a:ext uri="{FF2B5EF4-FFF2-40B4-BE49-F238E27FC236}">
                      <a16:creationId xmlns:a16="http://schemas.microsoft.com/office/drawing/2014/main" id="{356314EF-4777-DDED-7B0E-F3D2187C8544}"/>
                    </a:ext>
                  </a:extLst>
                </p:cNvPr>
                <p:cNvSpPr/>
                <p:nvPr/>
              </p:nvSpPr>
              <p:spPr>
                <a:xfrm>
                  <a:off x="8249813" y="5569671"/>
                  <a:ext cx="3988" cy="52065"/>
                </a:xfrm>
                <a:custGeom>
                  <a:avLst/>
                  <a:gdLst>
                    <a:gd name="connsiteX0" fmla="*/ 2133 w 3988"/>
                    <a:gd name="connsiteY0" fmla="*/ 0 h 52065"/>
                    <a:gd name="connsiteX1" fmla="*/ 264 w 3988"/>
                    <a:gd name="connsiteY1" fmla="*/ 18684 h 52065"/>
                    <a:gd name="connsiteX2" fmla="*/ 3877 w 3988"/>
                    <a:gd name="connsiteY2" fmla="*/ 35748 h 52065"/>
                    <a:gd name="connsiteX3" fmla="*/ 1883 w 398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8" h="52065">
                      <a:moveTo>
                        <a:pt x="2133" y="0"/>
                      </a:moveTo>
                      <a:cubicBezTo>
                        <a:pt x="-234" y="8096"/>
                        <a:pt x="-234" y="14448"/>
                        <a:pt x="264" y="18684"/>
                      </a:cubicBezTo>
                      <a:cubicBezTo>
                        <a:pt x="1136" y="25659"/>
                        <a:pt x="3254" y="28648"/>
                        <a:pt x="3877" y="35748"/>
                      </a:cubicBezTo>
                      <a:cubicBezTo>
                        <a:pt x="4375" y="42599"/>
                        <a:pt x="3129" y="48328"/>
                        <a:pt x="18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8" name="Freeform 5008">
                  <a:extLst>
                    <a:ext uri="{FF2B5EF4-FFF2-40B4-BE49-F238E27FC236}">
                      <a16:creationId xmlns:a16="http://schemas.microsoft.com/office/drawing/2014/main" id="{00DDAEC3-6398-71DE-5761-B118A5FA8569}"/>
                    </a:ext>
                  </a:extLst>
                </p:cNvPr>
                <p:cNvSpPr/>
                <p:nvPr/>
              </p:nvSpPr>
              <p:spPr>
                <a:xfrm>
                  <a:off x="8257815" y="5564688"/>
                  <a:ext cx="3570" cy="52065"/>
                </a:xfrm>
                <a:custGeom>
                  <a:avLst/>
                  <a:gdLst>
                    <a:gd name="connsiteX0" fmla="*/ 2351 w 3570"/>
                    <a:gd name="connsiteY0" fmla="*/ 52065 h 52065"/>
                    <a:gd name="connsiteX1" fmla="*/ 234 w 3570"/>
                    <a:gd name="connsiteY1" fmla="*/ 33382 h 52065"/>
                    <a:gd name="connsiteX2" fmla="*/ 3472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52065"/>
                      </a:moveTo>
                      <a:cubicBezTo>
                        <a:pt x="-140" y="44094"/>
                        <a:pt x="-264" y="37741"/>
                        <a:pt x="234" y="33382"/>
                      </a:cubicBezTo>
                      <a:cubicBezTo>
                        <a:pt x="981" y="26407"/>
                        <a:pt x="3098" y="23417"/>
                        <a:pt x="3472" y="16317"/>
                      </a:cubicBezTo>
                      <a:cubicBezTo>
                        <a:pt x="3970" y="9467"/>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9" name="Freeform 5009">
                  <a:extLst>
                    <a:ext uri="{FF2B5EF4-FFF2-40B4-BE49-F238E27FC236}">
                      <a16:creationId xmlns:a16="http://schemas.microsoft.com/office/drawing/2014/main" id="{33B26D16-70D7-7A76-F382-2C39847E259D}"/>
                    </a:ext>
                  </a:extLst>
                </p:cNvPr>
                <p:cNvSpPr/>
                <p:nvPr/>
              </p:nvSpPr>
              <p:spPr>
                <a:xfrm>
                  <a:off x="8242228" y="5549243"/>
                  <a:ext cx="26657" cy="26530"/>
                </a:xfrm>
                <a:custGeom>
                  <a:avLst/>
                  <a:gdLst>
                    <a:gd name="connsiteX0" fmla="*/ 26657 w 26657"/>
                    <a:gd name="connsiteY0" fmla="*/ 13203 h 26530"/>
                    <a:gd name="connsiteX1" fmla="*/ 13454 w 26657"/>
                    <a:gd name="connsiteY1" fmla="*/ 26531 h 26530"/>
                    <a:gd name="connsiteX2" fmla="*/ 2 w 26657"/>
                    <a:gd name="connsiteY2" fmla="*/ 13328 h 26530"/>
                    <a:gd name="connsiteX3" fmla="*/ 13206 w 26657"/>
                    <a:gd name="connsiteY3" fmla="*/ 0 h 26530"/>
                    <a:gd name="connsiteX4" fmla="*/ 26657 w 26657"/>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7" y="13203"/>
                      </a:moveTo>
                      <a:cubicBezTo>
                        <a:pt x="26657" y="20552"/>
                        <a:pt x="20804" y="26531"/>
                        <a:pt x="13454" y="26531"/>
                      </a:cubicBezTo>
                      <a:cubicBezTo>
                        <a:pt x="6106" y="26531"/>
                        <a:pt x="127" y="20677"/>
                        <a:pt x="2" y="13328"/>
                      </a:cubicBezTo>
                      <a:cubicBezTo>
                        <a:pt x="-122" y="5979"/>
                        <a:pt x="5856" y="0"/>
                        <a:pt x="13206" y="0"/>
                      </a:cubicBezTo>
                      <a:cubicBezTo>
                        <a:pt x="20554" y="0"/>
                        <a:pt x="26657" y="5979"/>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0" name="Freeform 5010">
                  <a:extLst>
                    <a:ext uri="{FF2B5EF4-FFF2-40B4-BE49-F238E27FC236}">
                      <a16:creationId xmlns:a16="http://schemas.microsoft.com/office/drawing/2014/main" id="{A3578CEC-24AC-E99B-DCD6-B316DB5C5F6E}"/>
                    </a:ext>
                  </a:extLst>
                </p:cNvPr>
                <p:cNvSpPr/>
                <p:nvPr/>
              </p:nvSpPr>
              <p:spPr>
                <a:xfrm>
                  <a:off x="8258435" y="5625846"/>
                  <a:ext cx="3863" cy="52065"/>
                </a:xfrm>
                <a:custGeom>
                  <a:avLst/>
                  <a:gdLst>
                    <a:gd name="connsiteX0" fmla="*/ 1731 w 3863"/>
                    <a:gd name="connsiteY0" fmla="*/ 52065 h 52065"/>
                    <a:gd name="connsiteX1" fmla="*/ 3600 w 3863"/>
                    <a:gd name="connsiteY1" fmla="*/ 33382 h 52065"/>
                    <a:gd name="connsiteX2" fmla="*/ 113 w 3863"/>
                    <a:gd name="connsiteY2" fmla="*/ 16317 h 52065"/>
                    <a:gd name="connsiteX3" fmla="*/ 2105 w 3863"/>
                    <a:gd name="connsiteY3" fmla="*/ 0 h 52065"/>
                  </a:gdLst>
                  <a:ahLst/>
                  <a:cxnLst>
                    <a:cxn ang="0">
                      <a:pos x="connsiteX0" y="connsiteY0"/>
                    </a:cxn>
                    <a:cxn ang="0">
                      <a:pos x="connsiteX1" y="connsiteY1"/>
                    </a:cxn>
                    <a:cxn ang="0">
                      <a:pos x="connsiteX2" y="connsiteY2"/>
                    </a:cxn>
                    <a:cxn ang="0">
                      <a:pos x="connsiteX3" y="connsiteY3"/>
                    </a:cxn>
                  </a:cxnLst>
                  <a:rect l="l" t="t" r="r" b="b"/>
                  <a:pathLst>
                    <a:path w="3863" h="52065">
                      <a:moveTo>
                        <a:pt x="1731" y="52065"/>
                      </a:moveTo>
                      <a:cubicBezTo>
                        <a:pt x="4098" y="43969"/>
                        <a:pt x="4098" y="37617"/>
                        <a:pt x="3600" y="33382"/>
                      </a:cubicBezTo>
                      <a:cubicBezTo>
                        <a:pt x="2728" y="26406"/>
                        <a:pt x="611" y="23417"/>
                        <a:pt x="113" y="16317"/>
                      </a:cubicBezTo>
                      <a:cubicBezTo>
                        <a:pt x="-386" y="9467"/>
                        <a:pt x="860" y="3737"/>
                        <a:pt x="2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1" name="Freeform 5011">
                  <a:extLst>
                    <a:ext uri="{FF2B5EF4-FFF2-40B4-BE49-F238E27FC236}">
                      <a16:creationId xmlns:a16="http://schemas.microsoft.com/office/drawing/2014/main" id="{1DFCC04D-E731-0587-6EA5-0BB70842963C}"/>
                    </a:ext>
                  </a:extLst>
                </p:cNvPr>
                <p:cNvSpPr/>
                <p:nvPr/>
              </p:nvSpPr>
              <p:spPr>
                <a:xfrm>
                  <a:off x="8250886" y="5630828"/>
                  <a:ext cx="3534" cy="52065"/>
                </a:xfrm>
                <a:custGeom>
                  <a:avLst/>
                  <a:gdLst>
                    <a:gd name="connsiteX0" fmla="*/ 1184 w 3534"/>
                    <a:gd name="connsiteY0" fmla="*/ 0 h 52065"/>
                    <a:gd name="connsiteX1" fmla="*/ 3301 w 3534"/>
                    <a:gd name="connsiteY1" fmla="*/ 18684 h 52065"/>
                    <a:gd name="connsiteX2" fmla="*/ 62 w 3534"/>
                    <a:gd name="connsiteY2" fmla="*/ 35748 h 52065"/>
                    <a:gd name="connsiteX3" fmla="*/ 2304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0"/>
                      </a:moveTo>
                      <a:cubicBezTo>
                        <a:pt x="3675" y="7972"/>
                        <a:pt x="3799" y="14324"/>
                        <a:pt x="3301" y="18684"/>
                      </a:cubicBezTo>
                      <a:cubicBezTo>
                        <a:pt x="2554" y="25659"/>
                        <a:pt x="437" y="28648"/>
                        <a:pt x="62" y="35748"/>
                      </a:cubicBezTo>
                      <a:cubicBezTo>
                        <a:pt x="-311" y="42599"/>
                        <a:pt x="1059" y="48328"/>
                        <a:pt x="230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2" name="Freeform 5012">
                  <a:extLst>
                    <a:ext uri="{FF2B5EF4-FFF2-40B4-BE49-F238E27FC236}">
                      <a16:creationId xmlns:a16="http://schemas.microsoft.com/office/drawing/2014/main" id="{06A72305-FD57-6695-0FEA-EDA0E4C53B39}"/>
                    </a:ext>
                  </a:extLst>
                </p:cNvPr>
                <p:cNvSpPr/>
                <p:nvPr/>
              </p:nvSpPr>
              <p:spPr>
                <a:xfrm>
                  <a:off x="8243474" y="5671808"/>
                  <a:ext cx="26408" cy="26530"/>
                </a:xfrm>
                <a:custGeom>
                  <a:avLst/>
                  <a:gdLst>
                    <a:gd name="connsiteX0" fmla="*/ 2 w 26408"/>
                    <a:gd name="connsiteY0" fmla="*/ 13328 h 26530"/>
                    <a:gd name="connsiteX1" fmla="*/ 13080 w 26408"/>
                    <a:gd name="connsiteY1" fmla="*/ 0 h 26530"/>
                    <a:gd name="connsiteX2" fmla="*/ 26408 w 26408"/>
                    <a:gd name="connsiteY2" fmla="*/ 13203 h 26530"/>
                    <a:gd name="connsiteX3" fmla="*/ 13330 w 26408"/>
                    <a:gd name="connsiteY3" fmla="*/ 26531 h 26530"/>
                    <a:gd name="connsiteX4" fmla="*/ 2 w 26408"/>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0">
                      <a:moveTo>
                        <a:pt x="2" y="13328"/>
                      </a:moveTo>
                      <a:cubicBezTo>
                        <a:pt x="-123" y="5979"/>
                        <a:pt x="5732" y="0"/>
                        <a:pt x="13080" y="0"/>
                      </a:cubicBezTo>
                      <a:cubicBezTo>
                        <a:pt x="20305" y="0"/>
                        <a:pt x="26283" y="5854"/>
                        <a:pt x="26408" y="13203"/>
                      </a:cubicBezTo>
                      <a:cubicBezTo>
                        <a:pt x="26408" y="20552"/>
                        <a:pt x="20554" y="26531"/>
                        <a:pt x="13330" y="26531"/>
                      </a:cubicBezTo>
                      <a:cubicBezTo>
                        <a:pt x="6105" y="26531"/>
                        <a:pt x="2" y="20552"/>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8" name="Graphic 2987">
                <a:extLst>
                  <a:ext uri="{FF2B5EF4-FFF2-40B4-BE49-F238E27FC236}">
                    <a16:creationId xmlns:a16="http://schemas.microsoft.com/office/drawing/2014/main" id="{614ED344-9B75-70AC-E8D8-C13B2A379409}"/>
                  </a:ext>
                </a:extLst>
              </p:cNvPr>
              <p:cNvGrpSpPr/>
              <p:nvPr/>
            </p:nvGrpSpPr>
            <p:grpSpPr>
              <a:xfrm>
                <a:off x="8272124" y="5549118"/>
                <a:ext cx="27028" cy="148971"/>
                <a:chOff x="8272124" y="5549118"/>
                <a:chExt cx="27028" cy="148971"/>
              </a:xfrm>
              <a:grpFill/>
            </p:grpSpPr>
            <p:sp>
              <p:nvSpPr>
                <p:cNvPr id="4511" name="Freeform 5014">
                  <a:extLst>
                    <a:ext uri="{FF2B5EF4-FFF2-40B4-BE49-F238E27FC236}">
                      <a16:creationId xmlns:a16="http://schemas.microsoft.com/office/drawing/2014/main" id="{C41F2377-1841-F657-E016-D30EE928F3E0}"/>
                    </a:ext>
                  </a:extLst>
                </p:cNvPr>
                <p:cNvSpPr/>
                <p:nvPr/>
              </p:nvSpPr>
              <p:spPr>
                <a:xfrm>
                  <a:off x="8279556" y="5569421"/>
                  <a:ext cx="3883" cy="52065"/>
                </a:xfrm>
                <a:custGeom>
                  <a:avLst/>
                  <a:gdLst>
                    <a:gd name="connsiteX0" fmla="*/ 2159 w 3883"/>
                    <a:gd name="connsiteY0" fmla="*/ 0 h 52065"/>
                    <a:gd name="connsiteX1" fmla="*/ 290 w 3883"/>
                    <a:gd name="connsiteY1" fmla="*/ 18684 h 52065"/>
                    <a:gd name="connsiteX2" fmla="*/ 3778 w 3883"/>
                    <a:gd name="connsiteY2" fmla="*/ 35748 h 52065"/>
                    <a:gd name="connsiteX3" fmla="*/ 1660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0"/>
                      </a:moveTo>
                      <a:cubicBezTo>
                        <a:pt x="-332" y="8096"/>
                        <a:pt x="-207" y="14449"/>
                        <a:pt x="290" y="18684"/>
                      </a:cubicBezTo>
                      <a:cubicBezTo>
                        <a:pt x="1162"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2" name="Freeform 5015">
                  <a:extLst>
                    <a:ext uri="{FF2B5EF4-FFF2-40B4-BE49-F238E27FC236}">
                      <a16:creationId xmlns:a16="http://schemas.microsoft.com/office/drawing/2014/main" id="{C572A99D-A083-6EAD-8859-2228DBF23104}"/>
                    </a:ext>
                  </a:extLst>
                </p:cNvPr>
                <p:cNvSpPr/>
                <p:nvPr/>
              </p:nvSpPr>
              <p:spPr>
                <a:xfrm>
                  <a:off x="8287390" y="5564439"/>
                  <a:ext cx="3640" cy="52065"/>
                </a:xfrm>
                <a:custGeom>
                  <a:avLst/>
                  <a:gdLst>
                    <a:gd name="connsiteX0" fmla="*/ 2297 w 3640"/>
                    <a:gd name="connsiteY0" fmla="*/ 52065 h 52065"/>
                    <a:gd name="connsiteX1" fmla="*/ 179 w 3640"/>
                    <a:gd name="connsiteY1" fmla="*/ 33381 h 52065"/>
                    <a:gd name="connsiteX2" fmla="*/ 3543 w 3640"/>
                    <a:gd name="connsiteY2" fmla="*/ 16317 h 52065"/>
                    <a:gd name="connsiteX3" fmla="*/ 1301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4"/>
                        <a:pt x="-194" y="37741"/>
                        <a:pt x="179" y="33381"/>
                      </a:cubicBezTo>
                      <a:cubicBezTo>
                        <a:pt x="927" y="26406"/>
                        <a:pt x="3045" y="23417"/>
                        <a:pt x="3543" y="16317"/>
                      </a:cubicBezTo>
                      <a:cubicBezTo>
                        <a:pt x="4041" y="9467"/>
                        <a:pt x="2546" y="3737"/>
                        <a:pt x="13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3" name="Freeform 5016">
                  <a:extLst>
                    <a:ext uri="{FF2B5EF4-FFF2-40B4-BE49-F238E27FC236}">
                      <a16:creationId xmlns:a16="http://schemas.microsoft.com/office/drawing/2014/main" id="{4FA3CCB8-D192-8BC0-F803-8E60D8CBE1BD}"/>
                    </a:ext>
                  </a:extLst>
                </p:cNvPr>
                <p:cNvSpPr/>
                <p:nvPr/>
              </p:nvSpPr>
              <p:spPr>
                <a:xfrm>
                  <a:off x="8272124" y="5549118"/>
                  <a:ext cx="26530" cy="26530"/>
                </a:xfrm>
                <a:custGeom>
                  <a:avLst/>
                  <a:gdLst>
                    <a:gd name="connsiteX0" fmla="*/ 26531 w 26530"/>
                    <a:gd name="connsiteY0" fmla="*/ 13203 h 26530"/>
                    <a:gd name="connsiteX1" fmla="*/ 13328 w 26530"/>
                    <a:gd name="connsiteY1" fmla="*/ 26531 h 26530"/>
                    <a:gd name="connsiteX2" fmla="*/ 0 w 26530"/>
                    <a:gd name="connsiteY2" fmla="*/ 13328 h 26530"/>
                    <a:gd name="connsiteX3" fmla="*/ 13203 w 26530"/>
                    <a:gd name="connsiteY3" fmla="*/ 0 h 26530"/>
                    <a:gd name="connsiteX4" fmla="*/ 26531 w 26530"/>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0">
                      <a:moveTo>
                        <a:pt x="26531" y="13203"/>
                      </a:moveTo>
                      <a:cubicBezTo>
                        <a:pt x="26531" y="20552"/>
                        <a:pt x="20677" y="26531"/>
                        <a:pt x="13328" y="26531"/>
                      </a:cubicBezTo>
                      <a:cubicBezTo>
                        <a:pt x="5979" y="26531"/>
                        <a:pt x="0" y="20677"/>
                        <a:pt x="0" y="13328"/>
                      </a:cubicBezTo>
                      <a:cubicBezTo>
                        <a:pt x="0" y="5979"/>
                        <a:pt x="5855" y="0"/>
                        <a:pt x="13203" y="0"/>
                      </a:cubicBezTo>
                      <a:cubicBezTo>
                        <a:pt x="20552" y="0"/>
                        <a:pt x="26531" y="5854"/>
                        <a:pt x="26531"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4" name="Freeform 5017">
                  <a:extLst>
                    <a:ext uri="{FF2B5EF4-FFF2-40B4-BE49-F238E27FC236}">
                      <a16:creationId xmlns:a16="http://schemas.microsoft.com/office/drawing/2014/main" id="{35F28FCE-EF6D-DBA0-F85C-F48D980B2B85}"/>
                    </a:ext>
                  </a:extLst>
                </p:cNvPr>
                <p:cNvSpPr/>
                <p:nvPr/>
              </p:nvSpPr>
              <p:spPr>
                <a:xfrm>
                  <a:off x="8287838" y="5625597"/>
                  <a:ext cx="3856" cy="52065"/>
                </a:xfrm>
                <a:custGeom>
                  <a:avLst/>
                  <a:gdLst>
                    <a:gd name="connsiteX0" fmla="*/ 1724 w 3856"/>
                    <a:gd name="connsiteY0" fmla="*/ 52065 h 52065"/>
                    <a:gd name="connsiteX1" fmla="*/ 3592 w 3856"/>
                    <a:gd name="connsiteY1" fmla="*/ 33381 h 52065"/>
                    <a:gd name="connsiteX2" fmla="*/ 105 w 3856"/>
                    <a:gd name="connsiteY2" fmla="*/ 16317 h 52065"/>
                    <a:gd name="connsiteX3" fmla="*/ 2222 w 3856"/>
                    <a:gd name="connsiteY3" fmla="*/ 0 h 52065"/>
                  </a:gdLst>
                  <a:ahLst/>
                  <a:cxnLst>
                    <a:cxn ang="0">
                      <a:pos x="connsiteX0" y="connsiteY0"/>
                    </a:cxn>
                    <a:cxn ang="0">
                      <a:pos x="connsiteX1" y="connsiteY1"/>
                    </a:cxn>
                    <a:cxn ang="0">
                      <a:pos x="connsiteX2" y="connsiteY2"/>
                    </a:cxn>
                    <a:cxn ang="0">
                      <a:pos x="connsiteX3" y="connsiteY3"/>
                    </a:cxn>
                  </a:cxnLst>
                  <a:rect l="l" t="t" r="r" b="b"/>
                  <a:pathLst>
                    <a:path w="3856" h="52065">
                      <a:moveTo>
                        <a:pt x="1724" y="52065"/>
                      </a:moveTo>
                      <a:cubicBezTo>
                        <a:pt x="4091" y="43969"/>
                        <a:pt x="4091" y="37616"/>
                        <a:pt x="3592"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5" name="Freeform 5018">
                  <a:extLst>
                    <a:ext uri="{FF2B5EF4-FFF2-40B4-BE49-F238E27FC236}">
                      <a16:creationId xmlns:a16="http://schemas.microsoft.com/office/drawing/2014/main" id="{58332109-F21B-AF4C-BD10-65350731FAE6}"/>
                    </a:ext>
                  </a:extLst>
                </p:cNvPr>
                <p:cNvSpPr/>
                <p:nvPr/>
              </p:nvSpPr>
              <p:spPr>
                <a:xfrm>
                  <a:off x="8280371" y="5630579"/>
                  <a:ext cx="3516" cy="52065"/>
                </a:xfrm>
                <a:custGeom>
                  <a:avLst/>
                  <a:gdLst>
                    <a:gd name="connsiteX0" fmla="*/ 1220 w 3516"/>
                    <a:gd name="connsiteY0" fmla="*/ 0 h 52065"/>
                    <a:gd name="connsiteX1" fmla="*/ 3337 w 3516"/>
                    <a:gd name="connsiteY1" fmla="*/ 18684 h 52065"/>
                    <a:gd name="connsiteX2" fmla="*/ 98 w 3516"/>
                    <a:gd name="connsiteY2" fmla="*/ 35748 h 52065"/>
                    <a:gd name="connsiteX3" fmla="*/ 2340 w 351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16" h="52065">
                      <a:moveTo>
                        <a:pt x="1220" y="0"/>
                      </a:moveTo>
                      <a:cubicBezTo>
                        <a:pt x="3711" y="7972"/>
                        <a:pt x="3711" y="14324"/>
                        <a:pt x="3337" y="18684"/>
                      </a:cubicBezTo>
                      <a:cubicBezTo>
                        <a:pt x="2590" y="25659"/>
                        <a:pt x="472" y="28648"/>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6" name="Freeform 5019">
                  <a:extLst>
                    <a:ext uri="{FF2B5EF4-FFF2-40B4-BE49-F238E27FC236}">
                      <a16:creationId xmlns:a16="http://schemas.microsoft.com/office/drawing/2014/main" id="{5F9CCF0C-F18F-DADA-D024-88F2978E6DC8}"/>
                    </a:ext>
                  </a:extLst>
                </p:cNvPr>
                <p:cNvSpPr/>
                <p:nvPr/>
              </p:nvSpPr>
              <p:spPr>
                <a:xfrm>
                  <a:off x="8272871" y="5671559"/>
                  <a:ext cx="26281" cy="26530"/>
                </a:xfrm>
                <a:custGeom>
                  <a:avLst/>
                  <a:gdLst>
                    <a:gd name="connsiteX0" fmla="*/ 0 w 26281"/>
                    <a:gd name="connsiteY0" fmla="*/ 13328 h 26530"/>
                    <a:gd name="connsiteX1" fmla="*/ 13078 w 26281"/>
                    <a:gd name="connsiteY1" fmla="*/ 0 h 26530"/>
                    <a:gd name="connsiteX2" fmla="*/ 26281 w 26281"/>
                    <a:gd name="connsiteY2" fmla="*/ 13203 h 26530"/>
                    <a:gd name="connsiteX3" fmla="*/ 13203 w 26281"/>
                    <a:gd name="connsiteY3" fmla="*/ 26531 h 26530"/>
                    <a:gd name="connsiteX4" fmla="*/ 0 w 26281"/>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530">
                      <a:moveTo>
                        <a:pt x="0" y="13328"/>
                      </a:moveTo>
                      <a:cubicBezTo>
                        <a:pt x="0" y="5979"/>
                        <a:pt x="5855" y="0"/>
                        <a:pt x="13078" y="0"/>
                      </a:cubicBezTo>
                      <a:cubicBezTo>
                        <a:pt x="20303" y="0"/>
                        <a:pt x="26281" y="5854"/>
                        <a:pt x="26281" y="13203"/>
                      </a:cubicBezTo>
                      <a:cubicBezTo>
                        <a:pt x="26281"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9" name="Graphic 2987">
                <a:extLst>
                  <a:ext uri="{FF2B5EF4-FFF2-40B4-BE49-F238E27FC236}">
                    <a16:creationId xmlns:a16="http://schemas.microsoft.com/office/drawing/2014/main" id="{44FA575B-344D-FF34-F7E6-3347D8CE2A50}"/>
                  </a:ext>
                </a:extLst>
              </p:cNvPr>
              <p:cNvGrpSpPr/>
              <p:nvPr/>
            </p:nvGrpSpPr>
            <p:grpSpPr>
              <a:xfrm>
                <a:off x="8301769" y="5548869"/>
                <a:ext cx="26780" cy="148970"/>
                <a:chOff x="8301769" y="5548869"/>
                <a:chExt cx="26780" cy="148970"/>
              </a:xfrm>
              <a:grpFill/>
            </p:grpSpPr>
            <p:sp>
              <p:nvSpPr>
                <p:cNvPr id="4505" name="Freeform 5021">
                  <a:extLst>
                    <a:ext uri="{FF2B5EF4-FFF2-40B4-BE49-F238E27FC236}">
                      <a16:creationId xmlns:a16="http://schemas.microsoft.com/office/drawing/2014/main" id="{F358B875-2239-21F3-F6AC-1AA711F371E9}"/>
                    </a:ext>
                  </a:extLst>
                </p:cNvPr>
                <p:cNvSpPr/>
                <p:nvPr/>
              </p:nvSpPr>
              <p:spPr>
                <a:xfrm>
                  <a:off x="8309325" y="5569297"/>
                  <a:ext cx="3882" cy="52065"/>
                </a:xfrm>
                <a:custGeom>
                  <a:avLst/>
                  <a:gdLst>
                    <a:gd name="connsiteX0" fmla="*/ 2159 w 3882"/>
                    <a:gd name="connsiteY0" fmla="*/ 0 h 52065"/>
                    <a:gd name="connsiteX1" fmla="*/ 290 w 3882"/>
                    <a:gd name="connsiteY1" fmla="*/ 18684 h 52065"/>
                    <a:gd name="connsiteX2" fmla="*/ 3778 w 3882"/>
                    <a:gd name="connsiteY2" fmla="*/ 35748 h 52065"/>
                    <a:gd name="connsiteX3" fmla="*/ 1660 w 388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2" h="52065">
                      <a:moveTo>
                        <a:pt x="2159" y="0"/>
                      </a:moveTo>
                      <a:cubicBezTo>
                        <a:pt x="-332" y="8096"/>
                        <a:pt x="-207" y="14448"/>
                        <a:pt x="290" y="18684"/>
                      </a:cubicBezTo>
                      <a:cubicBezTo>
                        <a:pt x="1038"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6" name="Freeform 5022">
                  <a:extLst>
                    <a:ext uri="{FF2B5EF4-FFF2-40B4-BE49-F238E27FC236}">
                      <a16:creationId xmlns:a16="http://schemas.microsoft.com/office/drawing/2014/main" id="{420102A9-69F5-96E4-2020-CDFCEA02E8E2}"/>
                    </a:ext>
                  </a:extLst>
                </p:cNvPr>
                <p:cNvSpPr/>
                <p:nvPr/>
              </p:nvSpPr>
              <p:spPr>
                <a:xfrm>
                  <a:off x="8317078" y="5564314"/>
                  <a:ext cx="3721" cy="52065"/>
                </a:xfrm>
                <a:custGeom>
                  <a:avLst/>
                  <a:gdLst>
                    <a:gd name="connsiteX0" fmla="*/ 2253 w 3721"/>
                    <a:gd name="connsiteY0" fmla="*/ 52065 h 52065"/>
                    <a:gd name="connsiteX1" fmla="*/ 260 w 3721"/>
                    <a:gd name="connsiteY1" fmla="*/ 33382 h 52065"/>
                    <a:gd name="connsiteX2" fmla="*/ 3623 w 3721"/>
                    <a:gd name="connsiteY2" fmla="*/ 16317 h 52065"/>
                    <a:gd name="connsiteX3" fmla="*/ 1382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4"/>
                        <a:pt x="-238" y="37741"/>
                        <a:pt x="260" y="33382"/>
                      </a:cubicBezTo>
                      <a:cubicBezTo>
                        <a:pt x="1007" y="26407"/>
                        <a:pt x="3125" y="23417"/>
                        <a:pt x="3623" y="16317"/>
                      </a:cubicBezTo>
                      <a:cubicBezTo>
                        <a:pt x="4121" y="9467"/>
                        <a:pt x="2627" y="3737"/>
                        <a:pt x="13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7" name="Freeform 5023">
                  <a:extLst>
                    <a:ext uri="{FF2B5EF4-FFF2-40B4-BE49-F238E27FC236}">
                      <a16:creationId xmlns:a16="http://schemas.microsoft.com/office/drawing/2014/main" id="{9EDE54CF-B395-E311-5FA0-61E5D7B2CB8C}"/>
                    </a:ext>
                  </a:extLst>
                </p:cNvPr>
                <p:cNvSpPr/>
                <p:nvPr/>
              </p:nvSpPr>
              <p:spPr>
                <a:xfrm>
                  <a:off x="8301769" y="5548869"/>
                  <a:ext cx="26655" cy="26530"/>
                </a:xfrm>
                <a:custGeom>
                  <a:avLst/>
                  <a:gdLst>
                    <a:gd name="connsiteX0" fmla="*/ 26656 w 26655"/>
                    <a:gd name="connsiteY0" fmla="*/ 13203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203"/>
                      </a:moveTo>
                      <a:cubicBezTo>
                        <a:pt x="26656" y="20552"/>
                        <a:pt x="20676" y="26531"/>
                        <a:pt x="13328" y="26531"/>
                      </a:cubicBezTo>
                      <a:cubicBezTo>
                        <a:pt x="5979" y="26531"/>
                        <a:pt x="0" y="20677"/>
                        <a:pt x="0" y="13328"/>
                      </a:cubicBezTo>
                      <a:cubicBezTo>
                        <a:pt x="0" y="5979"/>
                        <a:pt x="5854" y="0"/>
                        <a:pt x="13328" y="0"/>
                      </a:cubicBezTo>
                      <a:cubicBezTo>
                        <a:pt x="20676" y="0"/>
                        <a:pt x="26656" y="5854"/>
                        <a:pt x="26656"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8" name="Freeform 5024">
                  <a:extLst>
                    <a:ext uri="{FF2B5EF4-FFF2-40B4-BE49-F238E27FC236}">
                      <a16:creationId xmlns:a16="http://schemas.microsoft.com/office/drawing/2014/main" id="{8B61D16E-1899-521D-A61C-4E141EFC461B}"/>
                    </a:ext>
                  </a:extLst>
                </p:cNvPr>
                <p:cNvSpPr/>
                <p:nvPr/>
              </p:nvSpPr>
              <p:spPr>
                <a:xfrm>
                  <a:off x="8317358" y="5625348"/>
                  <a:ext cx="3883" cy="52065"/>
                </a:xfrm>
                <a:custGeom>
                  <a:avLst/>
                  <a:gdLst>
                    <a:gd name="connsiteX0" fmla="*/ 1724 w 3883"/>
                    <a:gd name="connsiteY0" fmla="*/ 52065 h 52065"/>
                    <a:gd name="connsiteX1" fmla="*/ 3592 w 3883"/>
                    <a:gd name="connsiteY1" fmla="*/ 33381 h 52065"/>
                    <a:gd name="connsiteX2" fmla="*/ 105 w 3883"/>
                    <a:gd name="connsiteY2" fmla="*/ 16317 h 52065"/>
                    <a:gd name="connsiteX3" fmla="*/ 2222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52065"/>
                      </a:moveTo>
                      <a:cubicBezTo>
                        <a:pt x="4216" y="43969"/>
                        <a:pt x="4091" y="37616"/>
                        <a:pt x="3592" y="33381"/>
                      </a:cubicBezTo>
                      <a:cubicBezTo>
                        <a:pt x="2845" y="26406"/>
                        <a:pt x="728" y="23417"/>
                        <a:pt x="105" y="16317"/>
                      </a:cubicBezTo>
                      <a:cubicBezTo>
                        <a:pt x="-394" y="9466"/>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9" name="Freeform 5025">
                  <a:extLst>
                    <a:ext uri="{FF2B5EF4-FFF2-40B4-BE49-F238E27FC236}">
                      <a16:creationId xmlns:a16="http://schemas.microsoft.com/office/drawing/2014/main" id="{B0A76A4E-5502-C12A-73A2-37163C54232D}"/>
                    </a:ext>
                  </a:extLst>
                </p:cNvPr>
                <p:cNvSpPr/>
                <p:nvPr/>
              </p:nvSpPr>
              <p:spPr>
                <a:xfrm>
                  <a:off x="8309767" y="5630454"/>
                  <a:ext cx="3721" cy="52065"/>
                </a:xfrm>
                <a:custGeom>
                  <a:avLst/>
                  <a:gdLst>
                    <a:gd name="connsiteX0" fmla="*/ 1468 w 3721"/>
                    <a:gd name="connsiteY0" fmla="*/ 0 h 52065"/>
                    <a:gd name="connsiteX1" fmla="*/ 3461 w 3721"/>
                    <a:gd name="connsiteY1" fmla="*/ 18684 h 52065"/>
                    <a:gd name="connsiteX2" fmla="*/ 99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0"/>
                      </a:moveTo>
                      <a:cubicBezTo>
                        <a:pt x="3960" y="7972"/>
                        <a:pt x="3960" y="14324"/>
                        <a:pt x="3461" y="18684"/>
                      </a:cubicBezTo>
                      <a:cubicBezTo>
                        <a:pt x="2714" y="25659"/>
                        <a:pt x="596" y="28648"/>
                        <a:pt x="99" y="35748"/>
                      </a:cubicBezTo>
                      <a:cubicBezTo>
                        <a:pt x="-400" y="42599"/>
                        <a:pt x="1094"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0" name="Freeform 5026">
                  <a:extLst>
                    <a:ext uri="{FF2B5EF4-FFF2-40B4-BE49-F238E27FC236}">
                      <a16:creationId xmlns:a16="http://schemas.microsoft.com/office/drawing/2014/main" id="{4AC8A4B5-27FC-FBFB-CECE-47E22B39C749}"/>
                    </a:ext>
                  </a:extLst>
                </p:cNvPr>
                <p:cNvSpPr/>
                <p:nvPr/>
              </p:nvSpPr>
              <p:spPr>
                <a:xfrm>
                  <a:off x="8302267" y="5671309"/>
                  <a:ext cx="26282" cy="26530"/>
                </a:xfrm>
                <a:custGeom>
                  <a:avLst/>
                  <a:gdLst>
                    <a:gd name="connsiteX0" fmla="*/ 0 w 26282"/>
                    <a:gd name="connsiteY0" fmla="*/ 13328 h 26530"/>
                    <a:gd name="connsiteX1" fmla="*/ 13079 w 26282"/>
                    <a:gd name="connsiteY1" fmla="*/ 0 h 26530"/>
                    <a:gd name="connsiteX2" fmla="*/ 26282 w 26282"/>
                    <a:gd name="connsiteY2" fmla="*/ 13203 h 26530"/>
                    <a:gd name="connsiteX3" fmla="*/ 13203 w 26282"/>
                    <a:gd name="connsiteY3" fmla="*/ 26531 h 26530"/>
                    <a:gd name="connsiteX4" fmla="*/ 0 w 26282"/>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30">
                      <a:moveTo>
                        <a:pt x="0" y="13328"/>
                      </a:moveTo>
                      <a:cubicBezTo>
                        <a:pt x="0" y="5979"/>
                        <a:pt x="5855" y="0"/>
                        <a:pt x="13079" y="0"/>
                      </a:cubicBezTo>
                      <a:cubicBezTo>
                        <a:pt x="20303" y="0"/>
                        <a:pt x="26282" y="5854"/>
                        <a:pt x="26282" y="13203"/>
                      </a:cubicBezTo>
                      <a:cubicBezTo>
                        <a:pt x="26282"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0" name="Graphic 2987">
                <a:extLst>
                  <a:ext uri="{FF2B5EF4-FFF2-40B4-BE49-F238E27FC236}">
                    <a16:creationId xmlns:a16="http://schemas.microsoft.com/office/drawing/2014/main" id="{C6B7CED8-C13B-DB8F-2EC3-58341DD3B6A2}"/>
                  </a:ext>
                </a:extLst>
              </p:cNvPr>
              <p:cNvGrpSpPr/>
              <p:nvPr/>
            </p:nvGrpSpPr>
            <p:grpSpPr>
              <a:xfrm>
                <a:off x="8331538" y="5548745"/>
                <a:ext cx="26655" cy="148848"/>
                <a:chOff x="8331538" y="5548745"/>
                <a:chExt cx="26655" cy="148848"/>
              </a:xfrm>
              <a:grpFill/>
            </p:grpSpPr>
            <p:sp>
              <p:nvSpPr>
                <p:cNvPr id="4499" name="Freeform 5028">
                  <a:extLst>
                    <a:ext uri="{FF2B5EF4-FFF2-40B4-BE49-F238E27FC236}">
                      <a16:creationId xmlns:a16="http://schemas.microsoft.com/office/drawing/2014/main" id="{48B082AD-5B0B-3514-EFBF-F3BF6048CFD5}"/>
                    </a:ext>
                  </a:extLst>
                </p:cNvPr>
                <p:cNvSpPr/>
                <p:nvPr/>
              </p:nvSpPr>
              <p:spPr>
                <a:xfrm>
                  <a:off x="8339000" y="5569048"/>
                  <a:ext cx="3852" cy="52065"/>
                </a:xfrm>
                <a:custGeom>
                  <a:avLst/>
                  <a:gdLst>
                    <a:gd name="connsiteX0" fmla="*/ 2253 w 3852"/>
                    <a:gd name="connsiteY0" fmla="*/ 0 h 52065"/>
                    <a:gd name="connsiteX1" fmla="*/ 261 w 3852"/>
                    <a:gd name="connsiteY1" fmla="*/ 18684 h 52065"/>
                    <a:gd name="connsiteX2" fmla="*/ 3748 w 3852"/>
                    <a:gd name="connsiteY2" fmla="*/ 35748 h 52065"/>
                    <a:gd name="connsiteX3" fmla="*/ 1631 w 38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2" h="52065">
                      <a:moveTo>
                        <a:pt x="2253" y="0"/>
                      </a:moveTo>
                      <a:cubicBezTo>
                        <a:pt x="-238" y="8096"/>
                        <a:pt x="-238" y="14449"/>
                        <a:pt x="261" y="18684"/>
                      </a:cubicBezTo>
                      <a:cubicBezTo>
                        <a:pt x="1008" y="25659"/>
                        <a:pt x="3125" y="28648"/>
                        <a:pt x="3748" y="35748"/>
                      </a:cubicBezTo>
                      <a:cubicBezTo>
                        <a:pt x="4247" y="42599"/>
                        <a:pt x="2876" y="48328"/>
                        <a:pt x="16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0" name="Freeform 5029">
                  <a:extLst>
                    <a:ext uri="{FF2B5EF4-FFF2-40B4-BE49-F238E27FC236}">
                      <a16:creationId xmlns:a16="http://schemas.microsoft.com/office/drawing/2014/main" id="{C86F185B-6427-C69F-760E-46FDD73B954F}"/>
                    </a:ext>
                  </a:extLst>
                </p:cNvPr>
                <p:cNvSpPr/>
                <p:nvPr/>
              </p:nvSpPr>
              <p:spPr>
                <a:xfrm>
                  <a:off x="8346723" y="5564065"/>
                  <a:ext cx="3728" cy="52065"/>
                </a:xfrm>
                <a:custGeom>
                  <a:avLst/>
                  <a:gdLst>
                    <a:gd name="connsiteX0" fmla="*/ 2253 w 3728"/>
                    <a:gd name="connsiteY0" fmla="*/ 52065 h 52065"/>
                    <a:gd name="connsiteX1" fmla="*/ 260 w 3728"/>
                    <a:gd name="connsiteY1" fmla="*/ 33381 h 52065"/>
                    <a:gd name="connsiteX2" fmla="*/ 3623 w 3728"/>
                    <a:gd name="connsiteY2" fmla="*/ 16317 h 52065"/>
                    <a:gd name="connsiteX3" fmla="*/ 1505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3969"/>
                        <a:pt x="-238" y="37616"/>
                        <a:pt x="260" y="33381"/>
                      </a:cubicBezTo>
                      <a:cubicBezTo>
                        <a:pt x="1007" y="26406"/>
                        <a:pt x="3125" y="23417"/>
                        <a:pt x="3623" y="16317"/>
                      </a:cubicBezTo>
                      <a:cubicBezTo>
                        <a:pt x="4121" y="9467"/>
                        <a:pt x="2751" y="3737"/>
                        <a:pt x="15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1" name="Freeform 5030">
                  <a:extLst>
                    <a:ext uri="{FF2B5EF4-FFF2-40B4-BE49-F238E27FC236}">
                      <a16:creationId xmlns:a16="http://schemas.microsoft.com/office/drawing/2014/main" id="{ED9F8B28-13DA-492A-32BE-27A87B6DC0E6}"/>
                    </a:ext>
                  </a:extLst>
                </p:cNvPr>
                <p:cNvSpPr/>
                <p:nvPr/>
              </p:nvSpPr>
              <p:spPr>
                <a:xfrm>
                  <a:off x="8331538" y="5548745"/>
                  <a:ext cx="26655" cy="26530"/>
                </a:xfrm>
                <a:custGeom>
                  <a:avLst/>
                  <a:gdLst>
                    <a:gd name="connsiteX0" fmla="*/ 26656 w 26655"/>
                    <a:gd name="connsiteY0" fmla="*/ 13328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328"/>
                      </a:moveTo>
                      <a:cubicBezTo>
                        <a:pt x="26656" y="20677"/>
                        <a:pt x="20676" y="26531"/>
                        <a:pt x="13328" y="26531"/>
                      </a:cubicBezTo>
                      <a:cubicBezTo>
                        <a:pt x="5979" y="26531"/>
                        <a:pt x="0" y="20677"/>
                        <a:pt x="0" y="13328"/>
                      </a:cubicBezTo>
                      <a:cubicBezTo>
                        <a:pt x="0" y="5979"/>
                        <a:pt x="5979" y="0"/>
                        <a:pt x="13328" y="0"/>
                      </a:cubicBezTo>
                      <a:cubicBezTo>
                        <a:pt x="20676" y="0"/>
                        <a:pt x="26656"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2" name="Freeform 5031">
                  <a:extLst>
                    <a:ext uri="{FF2B5EF4-FFF2-40B4-BE49-F238E27FC236}">
                      <a16:creationId xmlns:a16="http://schemas.microsoft.com/office/drawing/2014/main" id="{9402C5FC-CA13-C7CD-FA7A-85EFF3AA6C74}"/>
                    </a:ext>
                  </a:extLst>
                </p:cNvPr>
                <p:cNvSpPr/>
                <p:nvPr/>
              </p:nvSpPr>
              <p:spPr>
                <a:xfrm>
                  <a:off x="8347003" y="5625223"/>
                  <a:ext cx="3728" cy="52065"/>
                </a:xfrm>
                <a:custGeom>
                  <a:avLst/>
                  <a:gdLst>
                    <a:gd name="connsiteX0" fmla="*/ 1475 w 3728"/>
                    <a:gd name="connsiteY0" fmla="*/ 52065 h 52065"/>
                    <a:gd name="connsiteX1" fmla="*/ 3468 w 3728"/>
                    <a:gd name="connsiteY1" fmla="*/ 33381 h 52065"/>
                    <a:gd name="connsiteX2" fmla="*/ 105 w 3728"/>
                    <a:gd name="connsiteY2" fmla="*/ 16317 h 52065"/>
                    <a:gd name="connsiteX3" fmla="*/ 2222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52065"/>
                      </a:moveTo>
                      <a:cubicBezTo>
                        <a:pt x="3966" y="44094"/>
                        <a:pt x="3966" y="37741"/>
                        <a:pt x="3468"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3" name="Freeform 5032">
                  <a:extLst>
                    <a:ext uri="{FF2B5EF4-FFF2-40B4-BE49-F238E27FC236}">
                      <a16:creationId xmlns:a16="http://schemas.microsoft.com/office/drawing/2014/main" id="{B5182944-0D7D-1336-ACDF-C1FAB2841764}"/>
                    </a:ext>
                  </a:extLst>
                </p:cNvPr>
                <p:cNvSpPr/>
                <p:nvPr/>
              </p:nvSpPr>
              <p:spPr>
                <a:xfrm>
                  <a:off x="8339280" y="5630206"/>
                  <a:ext cx="3728" cy="52065"/>
                </a:xfrm>
                <a:custGeom>
                  <a:avLst/>
                  <a:gdLst>
                    <a:gd name="connsiteX0" fmla="*/ 1475 w 3728"/>
                    <a:gd name="connsiteY0" fmla="*/ 0 h 52065"/>
                    <a:gd name="connsiteX1" fmla="*/ 3468 w 3728"/>
                    <a:gd name="connsiteY1" fmla="*/ 18684 h 52065"/>
                    <a:gd name="connsiteX2" fmla="*/ 105 w 3728"/>
                    <a:gd name="connsiteY2" fmla="*/ 35748 h 52065"/>
                    <a:gd name="connsiteX3" fmla="*/ 2222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0"/>
                      </a:moveTo>
                      <a:cubicBezTo>
                        <a:pt x="3966" y="7972"/>
                        <a:pt x="3966" y="14324"/>
                        <a:pt x="3468" y="18684"/>
                      </a:cubicBezTo>
                      <a:cubicBezTo>
                        <a:pt x="2720" y="25659"/>
                        <a:pt x="603" y="28648"/>
                        <a:pt x="105" y="35748"/>
                      </a:cubicBezTo>
                      <a:cubicBezTo>
                        <a:pt x="-394"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4" name="Freeform 5033">
                  <a:extLst>
                    <a:ext uri="{FF2B5EF4-FFF2-40B4-BE49-F238E27FC236}">
                      <a16:creationId xmlns:a16="http://schemas.microsoft.com/office/drawing/2014/main" id="{D598C914-F93B-297E-8759-C381E64EC394}"/>
                    </a:ext>
                  </a:extLst>
                </p:cNvPr>
                <p:cNvSpPr/>
                <p:nvPr/>
              </p:nvSpPr>
              <p:spPr>
                <a:xfrm>
                  <a:off x="8331663" y="5671060"/>
                  <a:ext cx="26406" cy="26532"/>
                </a:xfrm>
                <a:custGeom>
                  <a:avLst/>
                  <a:gdLst>
                    <a:gd name="connsiteX0" fmla="*/ 0 w 26406"/>
                    <a:gd name="connsiteY0" fmla="*/ 13328 h 26532"/>
                    <a:gd name="connsiteX1" fmla="*/ 13203 w 26406"/>
                    <a:gd name="connsiteY1" fmla="*/ 0 h 26532"/>
                    <a:gd name="connsiteX2" fmla="*/ 26406 w 26406"/>
                    <a:gd name="connsiteY2" fmla="*/ 13328 h 26532"/>
                    <a:gd name="connsiteX3" fmla="*/ 13203 w 26406"/>
                    <a:gd name="connsiteY3" fmla="*/ 26531 h 26532"/>
                    <a:gd name="connsiteX4" fmla="*/ 0 w 26406"/>
                    <a:gd name="connsiteY4" fmla="*/ 13328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1">
                      <a:moveTo>
                        <a:pt x="0" y="13328"/>
                      </a:moveTo>
                      <a:cubicBezTo>
                        <a:pt x="0" y="5979"/>
                        <a:pt x="5854" y="0"/>
                        <a:pt x="13203" y="0"/>
                      </a:cubicBezTo>
                      <a:cubicBezTo>
                        <a:pt x="20427" y="0"/>
                        <a:pt x="26406" y="5979"/>
                        <a:pt x="26406" y="13328"/>
                      </a:cubicBezTo>
                      <a:cubicBezTo>
                        <a:pt x="26406" y="20677"/>
                        <a:pt x="20552" y="26531"/>
                        <a:pt x="13203" y="26531"/>
                      </a:cubicBezTo>
                      <a:cubicBezTo>
                        <a:pt x="5979" y="26656"/>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1" name="Graphic 2987">
                <a:extLst>
                  <a:ext uri="{FF2B5EF4-FFF2-40B4-BE49-F238E27FC236}">
                    <a16:creationId xmlns:a16="http://schemas.microsoft.com/office/drawing/2014/main" id="{DBAB1DD5-7B5D-0C1D-CE6E-331E69094A2B}"/>
                  </a:ext>
                </a:extLst>
              </p:cNvPr>
              <p:cNvGrpSpPr/>
              <p:nvPr/>
            </p:nvGrpSpPr>
            <p:grpSpPr>
              <a:xfrm>
                <a:off x="8361183" y="5548869"/>
                <a:ext cx="26779" cy="148846"/>
                <a:chOff x="8361183" y="5548869"/>
                <a:chExt cx="26779" cy="148846"/>
              </a:xfrm>
              <a:grpFill/>
            </p:grpSpPr>
            <p:sp>
              <p:nvSpPr>
                <p:cNvPr id="4493" name="Freeform 5035">
                  <a:extLst>
                    <a:ext uri="{FF2B5EF4-FFF2-40B4-BE49-F238E27FC236}">
                      <a16:creationId xmlns:a16="http://schemas.microsoft.com/office/drawing/2014/main" id="{BDC15270-2AD8-E7BA-A4C7-380292DA2687}"/>
                    </a:ext>
                  </a:extLst>
                </p:cNvPr>
                <p:cNvSpPr/>
                <p:nvPr/>
              </p:nvSpPr>
              <p:spPr>
                <a:xfrm>
                  <a:off x="8368645" y="5569172"/>
                  <a:ext cx="3721" cy="52065"/>
                </a:xfrm>
                <a:custGeom>
                  <a:avLst/>
                  <a:gdLst>
                    <a:gd name="connsiteX0" fmla="*/ 2253 w 3721"/>
                    <a:gd name="connsiteY0" fmla="*/ 0 h 52065"/>
                    <a:gd name="connsiteX1" fmla="*/ 261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1"/>
                        <a:pt x="-238" y="14324"/>
                        <a:pt x="261" y="18684"/>
                      </a:cubicBezTo>
                      <a:cubicBezTo>
                        <a:pt x="1008" y="25659"/>
                        <a:pt x="3125" y="28648"/>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4" name="Freeform 5036">
                  <a:extLst>
                    <a:ext uri="{FF2B5EF4-FFF2-40B4-BE49-F238E27FC236}">
                      <a16:creationId xmlns:a16="http://schemas.microsoft.com/office/drawing/2014/main" id="{BBF6E584-8566-5105-7EAE-A95C9F13A887}"/>
                    </a:ext>
                  </a:extLst>
                </p:cNvPr>
                <p:cNvSpPr/>
                <p:nvPr/>
              </p:nvSpPr>
              <p:spPr>
                <a:xfrm>
                  <a:off x="8376462" y="5564314"/>
                  <a:ext cx="3883" cy="52065"/>
                </a:xfrm>
                <a:custGeom>
                  <a:avLst/>
                  <a:gdLst>
                    <a:gd name="connsiteX0" fmla="*/ 2159 w 3883"/>
                    <a:gd name="connsiteY0" fmla="*/ 52065 h 52065"/>
                    <a:gd name="connsiteX1" fmla="*/ 291 w 3883"/>
                    <a:gd name="connsiteY1" fmla="*/ 33382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7"/>
                        <a:pt x="291" y="33382"/>
                      </a:cubicBezTo>
                      <a:cubicBezTo>
                        <a:pt x="1038" y="26407"/>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5" name="Freeform 5037">
                  <a:extLst>
                    <a:ext uri="{FF2B5EF4-FFF2-40B4-BE49-F238E27FC236}">
                      <a16:creationId xmlns:a16="http://schemas.microsoft.com/office/drawing/2014/main" id="{AB20658A-5776-7F5D-5690-F9095D715B0F}"/>
                    </a:ext>
                  </a:extLst>
                </p:cNvPr>
                <p:cNvSpPr/>
                <p:nvPr/>
              </p:nvSpPr>
              <p:spPr>
                <a:xfrm>
                  <a:off x="8361308" y="5548869"/>
                  <a:ext cx="26654" cy="26530"/>
                </a:xfrm>
                <a:custGeom>
                  <a:avLst/>
                  <a:gdLst>
                    <a:gd name="connsiteX0" fmla="*/ 26655 w 26654"/>
                    <a:gd name="connsiteY0" fmla="*/ 13328 h 26530"/>
                    <a:gd name="connsiteX1" fmla="*/ 13327 w 26654"/>
                    <a:gd name="connsiteY1" fmla="*/ 26531 h 26530"/>
                    <a:gd name="connsiteX2" fmla="*/ 0 w 26654"/>
                    <a:gd name="connsiteY2" fmla="*/ 13203 h 26530"/>
                    <a:gd name="connsiteX3" fmla="*/ 13327 w 26654"/>
                    <a:gd name="connsiteY3" fmla="*/ 0 h 26530"/>
                    <a:gd name="connsiteX4" fmla="*/ 26655 w 2665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26655" y="13328"/>
                      </a:moveTo>
                      <a:cubicBezTo>
                        <a:pt x="26655" y="20677"/>
                        <a:pt x="20676" y="26531"/>
                        <a:pt x="13327" y="26531"/>
                      </a:cubicBezTo>
                      <a:cubicBezTo>
                        <a:pt x="5979" y="26531"/>
                        <a:pt x="0" y="20552"/>
                        <a:pt x="0" y="13203"/>
                      </a:cubicBezTo>
                      <a:cubicBezTo>
                        <a:pt x="0" y="5854"/>
                        <a:pt x="5979" y="0"/>
                        <a:pt x="13327" y="0"/>
                      </a:cubicBezTo>
                      <a:cubicBezTo>
                        <a:pt x="20676" y="0"/>
                        <a:pt x="26655" y="5979"/>
                        <a:pt x="26655"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6" name="Freeform 5038">
                  <a:extLst>
                    <a:ext uri="{FF2B5EF4-FFF2-40B4-BE49-F238E27FC236}">
                      <a16:creationId xmlns:a16="http://schemas.microsoft.com/office/drawing/2014/main" id="{01AE47CC-22EE-41AF-0217-3D1801DEFF5A}"/>
                    </a:ext>
                  </a:extLst>
                </p:cNvPr>
                <p:cNvSpPr/>
                <p:nvPr/>
              </p:nvSpPr>
              <p:spPr>
                <a:xfrm>
                  <a:off x="8376405" y="5625472"/>
                  <a:ext cx="3721" cy="52065"/>
                </a:xfrm>
                <a:custGeom>
                  <a:avLst/>
                  <a:gdLst>
                    <a:gd name="connsiteX0" fmla="*/ 1468 w 3721"/>
                    <a:gd name="connsiteY0" fmla="*/ 52065 h 52065"/>
                    <a:gd name="connsiteX1" fmla="*/ 3462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52065"/>
                      </a:moveTo>
                      <a:cubicBezTo>
                        <a:pt x="3960" y="44094"/>
                        <a:pt x="3960"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7" name="Freeform 5039">
                  <a:extLst>
                    <a:ext uri="{FF2B5EF4-FFF2-40B4-BE49-F238E27FC236}">
                      <a16:creationId xmlns:a16="http://schemas.microsoft.com/office/drawing/2014/main" id="{18801A2F-3370-D937-385C-C387A9C0EC93}"/>
                    </a:ext>
                  </a:extLst>
                </p:cNvPr>
                <p:cNvSpPr/>
                <p:nvPr/>
              </p:nvSpPr>
              <p:spPr>
                <a:xfrm>
                  <a:off x="8368676" y="5630330"/>
                  <a:ext cx="3797" cy="52065"/>
                </a:xfrm>
                <a:custGeom>
                  <a:avLst/>
                  <a:gdLst>
                    <a:gd name="connsiteX0" fmla="*/ 1600 w 3797"/>
                    <a:gd name="connsiteY0" fmla="*/ 0 h 52065"/>
                    <a:gd name="connsiteX1" fmla="*/ 3592 w 3797"/>
                    <a:gd name="connsiteY1" fmla="*/ 18684 h 52065"/>
                    <a:gd name="connsiteX2" fmla="*/ 105 w 3797"/>
                    <a:gd name="connsiteY2" fmla="*/ 35748 h 52065"/>
                    <a:gd name="connsiteX3" fmla="*/ 2222 w 379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97" h="52065">
                      <a:moveTo>
                        <a:pt x="1600" y="0"/>
                      </a:moveTo>
                      <a:cubicBezTo>
                        <a:pt x="4091" y="8096"/>
                        <a:pt x="3966" y="14449"/>
                        <a:pt x="3592" y="18684"/>
                      </a:cubicBezTo>
                      <a:cubicBezTo>
                        <a:pt x="2845" y="25659"/>
                        <a:pt x="728"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8" name="Freeform 5040">
                  <a:extLst>
                    <a:ext uri="{FF2B5EF4-FFF2-40B4-BE49-F238E27FC236}">
                      <a16:creationId xmlns:a16="http://schemas.microsoft.com/office/drawing/2014/main" id="{2E61F52E-C2AF-F030-4E46-153E68D65645}"/>
                    </a:ext>
                  </a:extLst>
                </p:cNvPr>
                <p:cNvSpPr/>
                <p:nvPr/>
              </p:nvSpPr>
              <p:spPr>
                <a:xfrm>
                  <a:off x="8361183" y="5671185"/>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854" y="0"/>
                        <a:pt x="13203" y="0"/>
                      </a:cubicBezTo>
                      <a:cubicBezTo>
                        <a:pt x="20427"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2" name="Graphic 2987">
                <a:extLst>
                  <a:ext uri="{FF2B5EF4-FFF2-40B4-BE49-F238E27FC236}">
                    <a16:creationId xmlns:a16="http://schemas.microsoft.com/office/drawing/2014/main" id="{D4F5AB75-0557-E6A3-A536-DCE9C816A5BF}"/>
                  </a:ext>
                </a:extLst>
              </p:cNvPr>
              <p:cNvGrpSpPr/>
              <p:nvPr/>
            </p:nvGrpSpPr>
            <p:grpSpPr>
              <a:xfrm>
                <a:off x="8390578" y="5549118"/>
                <a:ext cx="27030" cy="148846"/>
                <a:chOff x="8390578" y="5549118"/>
                <a:chExt cx="27030" cy="148846"/>
              </a:xfrm>
              <a:grpFill/>
            </p:grpSpPr>
            <p:sp>
              <p:nvSpPr>
                <p:cNvPr id="4487" name="Freeform 5042">
                  <a:extLst>
                    <a:ext uri="{FF2B5EF4-FFF2-40B4-BE49-F238E27FC236}">
                      <a16:creationId xmlns:a16="http://schemas.microsoft.com/office/drawing/2014/main" id="{D00AD297-4E07-2EAD-D031-6096A7879A7E}"/>
                    </a:ext>
                  </a:extLst>
                </p:cNvPr>
                <p:cNvSpPr/>
                <p:nvPr/>
              </p:nvSpPr>
              <p:spPr>
                <a:xfrm>
                  <a:off x="8398370" y="5569421"/>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648"/>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8" name="Freeform 5043">
                  <a:extLst>
                    <a:ext uri="{FF2B5EF4-FFF2-40B4-BE49-F238E27FC236}">
                      <a16:creationId xmlns:a16="http://schemas.microsoft.com/office/drawing/2014/main" id="{060575C6-F172-29D8-B132-9218D7A2EC7B}"/>
                    </a:ext>
                  </a:extLst>
                </p:cNvPr>
                <p:cNvSpPr/>
                <p:nvPr/>
              </p:nvSpPr>
              <p:spPr>
                <a:xfrm>
                  <a:off x="8405982" y="5564439"/>
                  <a:ext cx="3883" cy="52065"/>
                </a:xfrm>
                <a:custGeom>
                  <a:avLst/>
                  <a:gdLst>
                    <a:gd name="connsiteX0" fmla="*/ 2159 w 3883"/>
                    <a:gd name="connsiteY0" fmla="*/ 52065 h 52065"/>
                    <a:gd name="connsiteX1" fmla="*/ 291 w 3883"/>
                    <a:gd name="connsiteY1" fmla="*/ 33381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6"/>
                        <a:pt x="291" y="33381"/>
                      </a:cubicBezTo>
                      <a:cubicBezTo>
                        <a:pt x="1163" y="26406"/>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9" name="Freeform 5044">
                  <a:extLst>
                    <a:ext uri="{FF2B5EF4-FFF2-40B4-BE49-F238E27FC236}">
                      <a16:creationId xmlns:a16="http://schemas.microsoft.com/office/drawing/2014/main" id="{DCFAE2A0-9987-55AA-29AF-146A066AE3A4}"/>
                    </a:ext>
                  </a:extLst>
                </p:cNvPr>
                <p:cNvSpPr/>
                <p:nvPr/>
              </p:nvSpPr>
              <p:spPr>
                <a:xfrm>
                  <a:off x="8391074" y="5549118"/>
                  <a:ext cx="26534" cy="26530"/>
                </a:xfrm>
                <a:custGeom>
                  <a:avLst/>
                  <a:gdLst>
                    <a:gd name="connsiteX0" fmla="*/ 26533 w 26534"/>
                    <a:gd name="connsiteY0" fmla="*/ 13328 h 26530"/>
                    <a:gd name="connsiteX1" fmla="*/ 13205 w 26534"/>
                    <a:gd name="connsiteY1" fmla="*/ 26531 h 26530"/>
                    <a:gd name="connsiteX2" fmla="*/ 2 w 26534"/>
                    <a:gd name="connsiteY2" fmla="*/ 13203 h 26530"/>
                    <a:gd name="connsiteX3" fmla="*/ 13330 w 26534"/>
                    <a:gd name="connsiteY3" fmla="*/ 0 h 26530"/>
                    <a:gd name="connsiteX4" fmla="*/ 26533 w 2653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328"/>
                      </a:moveTo>
                      <a:cubicBezTo>
                        <a:pt x="26533" y="20677"/>
                        <a:pt x="20554" y="26531"/>
                        <a:pt x="13205" y="26531"/>
                      </a:cubicBezTo>
                      <a:cubicBezTo>
                        <a:pt x="5857" y="26531"/>
                        <a:pt x="-123" y="20552"/>
                        <a:pt x="2" y="13203"/>
                      </a:cubicBezTo>
                      <a:cubicBezTo>
                        <a:pt x="127" y="5854"/>
                        <a:pt x="5981" y="0"/>
                        <a:pt x="13330" y="0"/>
                      </a:cubicBezTo>
                      <a:cubicBezTo>
                        <a:pt x="20679" y="0"/>
                        <a:pt x="26657" y="5979"/>
                        <a:pt x="26533"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0" name="Freeform 5045">
                  <a:extLst>
                    <a:ext uri="{FF2B5EF4-FFF2-40B4-BE49-F238E27FC236}">
                      <a16:creationId xmlns:a16="http://schemas.microsoft.com/office/drawing/2014/main" id="{4EA6D7F3-F1FC-5D30-F9E3-53B6A046966C}"/>
                    </a:ext>
                  </a:extLst>
                </p:cNvPr>
                <p:cNvSpPr/>
                <p:nvPr/>
              </p:nvSpPr>
              <p:spPr>
                <a:xfrm>
                  <a:off x="8406050" y="5625597"/>
                  <a:ext cx="3640" cy="52065"/>
                </a:xfrm>
                <a:custGeom>
                  <a:avLst/>
                  <a:gdLst>
                    <a:gd name="connsiteX0" fmla="*/ 1344 w 3640"/>
                    <a:gd name="connsiteY0" fmla="*/ 52065 h 52065"/>
                    <a:gd name="connsiteX1" fmla="*/ 3462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4"/>
                        <a:pt x="3835"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1" name="Freeform 5046">
                  <a:extLst>
                    <a:ext uri="{FF2B5EF4-FFF2-40B4-BE49-F238E27FC236}">
                      <a16:creationId xmlns:a16="http://schemas.microsoft.com/office/drawing/2014/main" id="{5BAEC069-549F-D961-D564-2BEAA563A407}"/>
                    </a:ext>
                  </a:extLst>
                </p:cNvPr>
                <p:cNvSpPr/>
                <p:nvPr/>
              </p:nvSpPr>
              <p:spPr>
                <a:xfrm>
                  <a:off x="8398196" y="5630454"/>
                  <a:ext cx="3883" cy="52065"/>
                </a:xfrm>
                <a:custGeom>
                  <a:avLst/>
                  <a:gdLst>
                    <a:gd name="connsiteX0" fmla="*/ 1724 w 3883"/>
                    <a:gd name="connsiteY0" fmla="*/ 0 h 52065"/>
                    <a:gd name="connsiteX1" fmla="*/ 3593 w 3883"/>
                    <a:gd name="connsiteY1" fmla="*/ 18684 h 52065"/>
                    <a:gd name="connsiteX2" fmla="*/ 105 w 3883"/>
                    <a:gd name="connsiteY2" fmla="*/ 35748 h 52065"/>
                    <a:gd name="connsiteX3" fmla="*/ 2222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0"/>
                      </a:moveTo>
                      <a:cubicBezTo>
                        <a:pt x="4215" y="8097"/>
                        <a:pt x="4091" y="14449"/>
                        <a:pt x="3593" y="18684"/>
                      </a:cubicBezTo>
                      <a:cubicBezTo>
                        <a:pt x="2721" y="25659"/>
                        <a:pt x="603"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2" name="Freeform 5047">
                  <a:extLst>
                    <a:ext uri="{FF2B5EF4-FFF2-40B4-BE49-F238E27FC236}">
                      <a16:creationId xmlns:a16="http://schemas.microsoft.com/office/drawing/2014/main" id="{236B4293-1262-D3B9-5DD9-CBA95DE63F41}"/>
                    </a:ext>
                  </a:extLst>
                </p:cNvPr>
                <p:cNvSpPr/>
                <p:nvPr/>
              </p:nvSpPr>
              <p:spPr>
                <a:xfrm>
                  <a:off x="8390578" y="5671434"/>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979" y="0"/>
                        <a:pt x="13203" y="0"/>
                      </a:cubicBezTo>
                      <a:cubicBezTo>
                        <a:pt x="20428"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3" name="Graphic 2987">
                <a:extLst>
                  <a:ext uri="{FF2B5EF4-FFF2-40B4-BE49-F238E27FC236}">
                    <a16:creationId xmlns:a16="http://schemas.microsoft.com/office/drawing/2014/main" id="{8337769B-701F-E27D-059A-C0B8D4496029}"/>
                  </a:ext>
                </a:extLst>
              </p:cNvPr>
              <p:cNvGrpSpPr/>
              <p:nvPr/>
            </p:nvGrpSpPr>
            <p:grpSpPr>
              <a:xfrm>
                <a:off x="8419974" y="5549243"/>
                <a:ext cx="27404" cy="148970"/>
                <a:chOff x="8419974" y="5549243"/>
                <a:chExt cx="27404" cy="148970"/>
              </a:xfrm>
              <a:grpFill/>
            </p:grpSpPr>
            <p:sp>
              <p:nvSpPr>
                <p:cNvPr id="4481" name="Freeform 5049">
                  <a:extLst>
                    <a:ext uri="{FF2B5EF4-FFF2-40B4-BE49-F238E27FC236}">
                      <a16:creationId xmlns:a16="http://schemas.microsoft.com/office/drawing/2014/main" id="{14EA95EB-6C35-C995-65B2-A1FDCFFF5168}"/>
                    </a:ext>
                  </a:extLst>
                </p:cNvPr>
                <p:cNvSpPr/>
                <p:nvPr/>
              </p:nvSpPr>
              <p:spPr>
                <a:xfrm>
                  <a:off x="8428085" y="5569546"/>
                  <a:ext cx="3570" cy="52065"/>
                </a:xfrm>
                <a:custGeom>
                  <a:avLst/>
                  <a:gdLst>
                    <a:gd name="connsiteX0" fmla="*/ 2352 w 3570"/>
                    <a:gd name="connsiteY0" fmla="*/ 0 h 52065"/>
                    <a:gd name="connsiteX1" fmla="*/ 234 w 3570"/>
                    <a:gd name="connsiteY1" fmla="*/ 18684 h 52065"/>
                    <a:gd name="connsiteX2" fmla="*/ 3472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0"/>
                      </a:moveTo>
                      <a:cubicBezTo>
                        <a:pt x="-140" y="7971"/>
                        <a:pt x="-264" y="14324"/>
                        <a:pt x="234" y="18684"/>
                      </a:cubicBezTo>
                      <a:cubicBezTo>
                        <a:pt x="981" y="25659"/>
                        <a:pt x="3099" y="28648"/>
                        <a:pt x="3472" y="35748"/>
                      </a:cubicBezTo>
                      <a:cubicBezTo>
                        <a:pt x="3971"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2" name="Freeform 5050">
                  <a:extLst>
                    <a:ext uri="{FF2B5EF4-FFF2-40B4-BE49-F238E27FC236}">
                      <a16:creationId xmlns:a16="http://schemas.microsoft.com/office/drawing/2014/main" id="{274471FB-D595-3954-2D6D-FFDA1AFAB90D}"/>
                    </a:ext>
                  </a:extLst>
                </p:cNvPr>
                <p:cNvSpPr/>
                <p:nvPr/>
              </p:nvSpPr>
              <p:spPr>
                <a:xfrm>
                  <a:off x="8435653" y="5564688"/>
                  <a:ext cx="3988" cy="52065"/>
                </a:xfrm>
                <a:custGeom>
                  <a:avLst/>
                  <a:gdLst>
                    <a:gd name="connsiteX0" fmla="*/ 2132 w 3988"/>
                    <a:gd name="connsiteY0" fmla="*/ 52065 h 52065"/>
                    <a:gd name="connsiteX1" fmla="*/ 264 w 3988"/>
                    <a:gd name="connsiteY1" fmla="*/ 33382 h 52065"/>
                    <a:gd name="connsiteX2" fmla="*/ 3876 w 3988"/>
                    <a:gd name="connsiteY2" fmla="*/ 16317 h 52065"/>
                    <a:gd name="connsiteX3" fmla="*/ 1884 w 3988"/>
                    <a:gd name="connsiteY3" fmla="*/ 0 h 52065"/>
                  </a:gdLst>
                  <a:ahLst/>
                  <a:cxnLst>
                    <a:cxn ang="0">
                      <a:pos x="connsiteX0" y="connsiteY0"/>
                    </a:cxn>
                    <a:cxn ang="0">
                      <a:pos x="connsiteX1" y="connsiteY1"/>
                    </a:cxn>
                    <a:cxn ang="0">
                      <a:pos x="connsiteX2" y="connsiteY2"/>
                    </a:cxn>
                    <a:cxn ang="0">
                      <a:pos x="connsiteX3" y="connsiteY3"/>
                    </a:cxn>
                  </a:cxnLst>
                  <a:rect l="l" t="t" r="r" b="b"/>
                  <a:pathLst>
                    <a:path w="3988" h="52065">
                      <a:moveTo>
                        <a:pt x="2132" y="52065"/>
                      </a:moveTo>
                      <a:cubicBezTo>
                        <a:pt x="-234" y="43969"/>
                        <a:pt x="-234" y="37617"/>
                        <a:pt x="264" y="33382"/>
                      </a:cubicBezTo>
                      <a:cubicBezTo>
                        <a:pt x="1136" y="26407"/>
                        <a:pt x="3254" y="23417"/>
                        <a:pt x="3876" y="16317"/>
                      </a:cubicBezTo>
                      <a:cubicBezTo>
                        <a:pt x="4374" y="9467"/>
                        <a:pt x="3129" y="3737"/>
                        <a:pt x="18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3" name="Freeform 5051">
                  <a:extLst>
                    <a:ext uri="{FF2B5EF4-FFF2-40B4-BE49-F238E27FC236}">
                      <a16:creationId xmlns:a16="http://schemas.microsoft.com/office/drawing/2014/main" id="{C03A0714-EF20-7F53-C64F-B0B0D8027032}"/>
                    </a:ext>
                  </a:extLst>
                </p:cNvPr>
                <p:cNvSpPr/>
                <p:nvPr/>
              </p:nvSpPr>
              <p:spPr>
                <a:xfrm>
                  <a:off x="8420721" y="5549243"/>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5" y="26531"/>
                        <a:pt x="0" y="20552"/>
                        <a:pt x="0" y="13203"/>
                      </a:cubicBezTo>
                      <a:cubicBezTo>
                        <a:pt x="0" y="5854"/>
                        <a:pt x="6103" y="0"/>
                        <a:pt x="13452" y="0"/>
                      </a:cubicBezTo>
                      <a:cubicBezTo>
                        <a:pt x="20801" y="125"/>
                        <a:pt x="26780" y="6103"/>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4" name="Freeform 5052">
                  <a:extLst>
                    <a:ext uri="{FF2B5EF4-FFF2-40B4-BE49-F238E27FC236}">
                      <a16:creationId xmlns:a16="http://schemas.microsoft.com/office/drawing/2014/main" id="{E56DA2F5-5404-4367-406E-7E11FEAB2638}"/>
                    </a:ext>
                  </a:extLst>
                </p:cNvPr>
                <p:cNvSpPr/>
                <p:nvPr/>
              </p:nvSpPr>
              <p:spPr>
                <a:xfrm>
                  <a:off x="8435570" y="5625846"/>
                  <a:ext cx="3570" cy="52065"/>
                </a:xfrm>
                <a:custGeom>
                  <a:avLst/>
                  <a:gdLst>
                    <a:gd name="connsiteX0" fmla="*/ 1220 w 3570"/>
                    <a:gd name="connsiteY0" fmla="*/ 52065 h 52065"/>
                    <a:gd name="connsiteX1" fmla="*/ 3337 w 3570"/>
                    <a:gd name="connsiteY1" fmla="*/ 33382 h 52065"/>
                    <a:gd name="connsiteX2" fmla="*/ 98 w 3570"/>
                    <a:gd name="connsiteY2" fmla="*/ 16317 h 52065"/>
                    <a:gd name="connsiteX3" fmla="*/ 234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1220" y="52065"/>
                      </a:moveTo>
                      <a:cubicBezTo>
                        <a:pt x="3710" y="44094"/>
                        <a:pt x="3835" y="37741"/>
                        <a:pt x="3337" y="33382"/>
                      </a:cubicBezTo>
                      <a:cubicBezTo>
                        <a:pt x="2590" y="26406"/>
                        <a:pt x="472"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5" name="Freeform 5053">
                  <a:extLst>
                    <a:ext uri="{FF2B5EF4-FFF2-40B4-BE49-F238E27FC236}">
                      <a16:creationId xmlns:a16="http://schemas.microsoft.com/office/drawing/2014/main" id="{8B79D1DF-5CB1-FAC4-F45F-194F6D434397}"/>
                    </a:ext>
                  </a:extLst>
                </p:cNvPr>
                <p:cNvSpPr/>
                <p:nvPr/>
              </p:nvSpPr>
              <p:spPr>
                <a:xfrm>
                  <a:off x="8427716" y="5630704"/>
                  <a:ext cx="3857" cy="52065"/>
                </a:xfrm>
                <a:custGeom>
                  <a:avLst/>
                  <a:gdLst>
                    <a:gd name="connsiteX0" fmla="*/ 1725 w 3857"/>
                    <a:gd name="connsiteY0" fmla="*/ 0 h 52065"/>
                    <a:gd name="connsiteX1" fmla="*/ 3593 w 3857"/>
                    <a:gd name="connsiteY1" fmla="*/ 18684 h 52065"/>
                    <a:gd name="connsiteX2" fmla="*/ 105 w 3857"/>
                    <a:gd name="connsiteY2" fmla="*/ 35748 h 52065"/>
                    <a:gd name="connsiteX3" fmla="*/ 2099 w 38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7" h="52065">
                      <a:moveTo>
                        <a:pt x="1725" y="0"/>
                      </a:moveTo>
                      <a:cubicBezTo>
                        <a:pt x="4091" y="8096"/>
                        <a:pt x="4091" y="14449"/>
                        <a:pt x="3593" y="18684"/>
                      </a:cubicBezTo>
                      <a:cubicBezTo>
                        <a:pt x="2721" y="25659"/>
                        <a:pt x="603" y="28648"/>
                        <a:pt x="105" y="35748"/>
                      </a:cubicBezTo>
                      <a:cubicBezTo>
                        <a:pt x="-393" y="42599"/>
                        <a:pt x="977" y="48328"/>
                        <a:pt x="209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6" name="Freeform 5054">
                  <a:extLst>
                    <a:ext uri="{FF2B5EF4-FFF2-40B4-BE49-F238E27FC236}">
                      <a16:creationId xmlns:a16="http://schemas.microsoft.com/office/drawing/2014/main" id="{47AFEEBB-0060-0CA2-C344-BD7AE246E6F0}"/>
                    </a:ext>
                  </a:extLst>
                </p:cNvPr>
                <p:cNvSpPr/>
                <p:nvPr/>
              </p:nvSpPr>
              <p:spPr>
                <a:xfrm>
                  <a:off x="8419974" y="5671683"/>
                  <a:ext cx="26406" cy="26530"/>
                </a:xfrm>
                <a:custGeom>
                  <a:avLst/>
                  <a:gdLst>
                    <a:gd name="connsiteX0" fmla="*/ 0 w 26406"/>
                    <a:gd name="connsiteY0" fmla="*/ 13203 h 26530"/>
                    <a:gd name="connsiteX1" fmla="*/ 13328 w 26406"/>
                    <a:gd name="connsiteY1" fmla="*/ 0 h 26530"/>
                    <a:gd name="connsiteX2" fmla="*/ 26406 w 26406"/>
                    <a:gd name="connsiteY2" fmla="*/ 13327 h 26530"/>
                    <a:gd name="connsiteX3" fmla="*/ 13078 w 26406"/>
                    <a:gd name="connsiteY3" fmla="*/ 26530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0" y="5854"/>
                        <a:pt x="5979" y="0"/>
                        <a:pt x="13328" y="0"/>
                      </a:cubicBezTo>
                      <a:cubicBezTo>
                        <a:pt x="20677" y="0"/>
                        <a:pt x="26406" y="5979"/>
                        <a:pt x="26406" y="13327"/>
                      </a:cubicBezTo>
                      <a:cubicBezTo>
                        <a:pt x="26281" y="20676"/>
                        <a:pt x="20428" y="26530"/>
                        <a:pt x="13078" y="26530"/>
                      </a:cubicBezTo>
                      <a:cubicBezTo>
                        <a:pt x="5855" y="26406"/>
                        <a:pt x="0" y="20427"/>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4" name="Graphic 2987">
                <a:extLst>
                  <a:ext uri="{FF2B5EF4-FFF2-40B4-BE49-F238E27FC236}">
                    <a16:creationId xmlns:a16="http://schemas.microsoft.com/office/drawing/2014/main" id="{043611CA-EDDB-933A-873E-B424136693F9}"/>
                  </a:ext>
                </a:extLst>
              </p:cNvPr>
              <p:cNvGrpSpPr/>
              <p:nvPr/>
            </p:nvGrpSpPr>
            <p:grpSpPr>
              <a:xfrm>
                <a:off x="8449369" y="5549492"/>
                <a:ext cx="27778" cy="148846"/>
                <a:chOff x="8449369" y="5549492"/>
                <a:chExt cx="27778" cy="148846"/>
              </a:xfrm>
              <a:grpFill/>
            </p:grpSpPr>
            <p:sp>
              <p:nvSpPr>
                <p:cNvPr id="4475" name="Freeform 5056">
                  <a:extLst>
                    <a:ext uri="{FF2B5EF4-FFF2-40B4-BE49-F238E27FC236}">
                      <a16:creationId xmlns:a16="http://schemas.microsoft.com/office/drawing/2014/main" id="{85BDBFD8-99C0-05B2-7056-C9650B5104A8}"/>
                    </a:ext>
                  </a:extLst>
                </p:cNvPr>
                <p:cNvSpPr/>
                <p:nvPr/>
              </p:nvSpPr>
              <p:spPr>
                <a:xfrm>
                  <a:off x="8457707" y="5569795"/>
                  <a:ext cx="3557" cy="52065"/>
                </a:xfrm>
                <a:custGeom>
                  <a:avLst/>
                  <a:gdLst>
                    <a:gd name="connsiteX0" fmla="*/ 2375 w 3557"/>
                    <a:gd name="connsiteY0" fmla="*/ 0 h 52065"/>
                    <a:gd name="connsiteX1" fmla="*/ 257 w 3557"/>
                    <a:gd name="connsiteY1" fmla="*/ 18684 h 52065"/>
                    <a:gd name="connsiteX2" fmla="*/ 3495 w 3557"/>
                    <a:gd name="connsiteY2" fmla="*/ 35748 h 52065"/>
                    <a:gd name="connsiteX3" fmla="*/ 11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0"/>
                      </a:moveTo>
                      <a:cubicBezTo>
                        <a:pt x="-241" y="7972"/>
                        <a:pt x="-241" y="14324"/>
                        <a:pt x="257" y="18684"/>
                      </a:cubicBezTo>
                      <a:cubicBezTo>
                        <a:pt x="1004" y="25659"/>
                        <a:pt x="3122" y="28648"/>
                        <a:pt x="3495" y="35748"/>
                      </a:cubicBezTo>
                      <a:cubicBezTo>
                        <a:pt x="3869" y="42599"/>
                        <a:pt x="2499" y="48328"/>
                        <a:pt x="11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6" name="Freeform 5057">
                  <a:extLst>
                    <a:ext uri="{FF2B5EF4-FFF2-40B4-BE49-F238E27FC236}">
                      <a16:creationId xmlns:a16="http://schemas.microsoft.com/office/drawing/2014/main" id="{46FBA709-1959-9F81-3B71-BCE0E1D50AE9}"/>
                    </a:ext>
                  </a:extLst>
                </p:cNvPr>
                <p:cNvSpPr/>
                <p:nvPr/>
              </p:nvSpPr>
              <p:spPr>
                <a:xfrm>
                  <a:off x="8465336" y="5564937"/>
                  <a:ext cx="4118" cy="52065"/>
                </a:xfrm>
                <a:custGeom>
                  <a:avLst/>
                  <a:gdLst>
                    <a:gd name="connsiteX0" fmla="*/ 2095 w 4118"/>
                    <a:gd name="connsiteY0" fmla="*/ 52065 h 52065"/>
                    <a:gd name="connsiteX1" fmla="*/ 351 w 4118"/>
                    <a:gd name="connsiteY1" fmla="*/ 33381 h 52065"/>
                    <a:gd name="connsiteX2" fmla="*/ 3963 w 4118"/>
                    <a:gd name="connsiteY2" fmla="*/ 16317 h 52065"/>
                    <a:gd name="connsiteX3" fmla="*/ 1970 w 4118"/>
                    <a:gd name="connsiteY3" fmla="*/ 0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52065"/>
                      </a:moveTo>
                      <a:cubicBezTo>
                        <a:pt x="-272" y="43969"/>
                        <a:pt x="-272" y="37616"/>
                        <a:pt x="351" y="33381"/>
                      </a:cubicBezTo>
                      <a:cubicBezTo>
                        <a:pt x="1223" y="26406"/>
                        <a:pt x="3341" y="23417"/>
                        <a:pt x="3963" y="16317"/>
                      </a:cubicBezTo>
                      <a:cubicBezTo>
                        <a:pt x="4586" y="9466"/>
                        <a:pt x="3216"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7" name="Freeform 5058">
                  <a:extLst>
                    <a:ext uri="{FF2B5EF4-FFF2-40B4-BE49-F238E27FC236}">
                      <a16:creationId xmlns:a16="http://schemas.microsoft.com/office/drawing/2014/main" id="{C25AA109-FF94-ACE7-EAE2-921215C66302}"/>
                    </a:ext>
                  </a:extLst>
                </p:cNvPr>
                <p:cNvSpPr/>
                <p:nvPr/>
              </p:nvSpPr>
              <p:spPr>
                <a:xfrm>
                  <a:off x="8450491" y="5549492"/>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4" y="26531"/>
                        <a:pt x="0" y="20552"/>
                        <a:pt x="0" y="13203"/>
                      </a:cubicBezTo>
                      <a:cubicBezTo>
                        <a:pt x="0" y="5854"/>
                        <a:pt x="6103" y="0"/>
                        <a:pt x="13452" y="0"/>
                      </a:cubicBezTo>
                      <a:cubicBezTo>
                        <a:pt x="20801" y="0"/>
                        <a:pt x="26780"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8" name="Freeform 5059">
                  <a:extLst>
                    <a:ext uri="{FF2B5EF4-FFF2-40B4-BE49-F238E27FC236}">
                      <a16:creationId xmlns:a16="http://schemas.microsoft.com/office/drawing/2014/main" id="{ABF24FE9-49DD-402D-3701-067FFBA3D69B}"/>
                    </a:ext>
                  </a:extLst>
                </p:cNvPr>
                <p:cNvSpPr/>
                <p:nvPr/>
              </p:nvSpPr>
              <p:spPr>
                <a:xfrm>
                  <a:off x="8465126" y="5625971"/>
                  <a:ext cx="3534" cy="52065"/>
                </a:xfrm>
                <a:custGeom>
                  <a:avLst/>
                  <a:gdLst>
                    <a:gd name="connsiteX0" fmla="*/ 1184 w 3534"/>
                    <a:gd name="connsiteY0" fmla="*/ 52065 h 52065"/>
                    <a:gd name="connsiteX1" fmla="*/ 3301 w 3534"/>
                    <a:gd name="connsiteY1" fmla="*/ 33381 h 52065"/>
                    <a:gd name="connsiteX2" fmla="*/ 62 w 3534"/>
                    <a:gd name="connsiteY2" fmla="*/ 16317 h 52065"/>
                    <a:gd name="connsiteX3" fmla="*/ 2429 w 3534"/>
                    <a:gd name="connsiteY3" fmla="*/ 0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52065"/>
                      </a:moveTo>
                      <a:cubicBezTo>
                        <a:pt x="3674" y="44094"/>
                        <a:pt x="3799" y="37741"/>
                        <a:pt x="3301" y="33381"/>
                      </a:cubicBezTo>
                      <a:cubicBezTo>
                        <a:pt x="2554" y="26406"/>
                        <a:pt x="560" y="23417"/>
                        <a:pt x="62" y="16317"/>
                      </a:cubicBezTo>
                      <a:cubicBezTo>
                        <a:pt x="-311" y="9467"/>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9" name="Freeform 5060">
                  <a:extLst>
                    <a:ext uri="{FF2B5EF4-FFF2-40B4-BE49-F238E27FC236}">
                      <a16:creationId xmlns:a16="http://schemas.microsoft.com/office/drawing/2014/main" id="{4150A916-3DC9-2E1A-1E07-AD256B3B1DF9}"/>
                    </a:ext>
                  </a:extLst>
                </p:cNvPr>
                <p:cNvSpPr/>
                <p:nvPr/>
              </p:nvSpPr>
              <p:spPr>
                <a:xfrm>
                  <a:off x="8457104" y="5630953"/>
                  <a:ext cx="4075" cy="52065"/>
                </a:xfrm>
                <a:custGeom>
                  <a:avLst/>
                  <a:gdLst>
                    <a:gd name="connsiteX0" fmla="*/ 1981 w 4075"/>
                    <a:gd name="connsiteY0" fmla="*/ 0 h 52065"/>
                    <a:gd name="connsiteX1" fmla="*/ 3725 w 4075"/>
                    <a:gd name="connsiteY1" fmla="*/ 18684 h 52065"/>
                    <a:gd name="connsiteX2" fmla="*/ 112 w 4075"/>
                    <a:gd name="connsiteY2" fmla="*/ 35748 h 52065"/>
                    <a:gd name="connsiteX3" fmla="*/ 2106 w 407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75" h="52065">
                      <a:moveTo>
                        <a:pt x="1981" y="0"/>
                      </a:moveTo>
                      <a:cubicBezTo>
                        <a:pt x="4348" y="8096"/>
                        <a:pt x="4348" y="14449"/>
                        <a:pt x="3725" y="18684"/>
                      </a:cubicBezTo>
                      <a:cubicBezTo>
                        <a:pt x="2853" y="25659"/>
                        <a:pt x="736" y="28648"/>
                        <a:pt x="112" y="35748"/>
                      </a:cubicBezTo>
                      <a:cubicBezTo>
                        <a:pt x="-386" y="42599"/>
                        <a:pt x="860" y="48328"/>
                        <a:pt x="2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0" name="Freeform 5061">
                  <a:extLst>
                    <a:ext uri="{FF2B5EF4-FFF2-40B4-BE49-F238E27FC236}">
                      <a16:creationId xmlns:a16="http://schemas.microsoft.com/office/drawing/2014/main" id="{78C78B38-8B38-D41E-6C4A-15B0779E13C1}"/>
                    </a:ext>
                  </a:extLst>
                </p:cNvPr>
                <p:cNvSpPr/>
                <p:nvPr/>
              </p:nvSpPr>
              <p:spPr>
                <a:xfrm>
                  <a:off x="8449369" y="5671808"/>
                  <a:ext cx="26406" cy="26530"/>
                </a:xfrm>
                <a:custGeom>
                  <a:avLst/>
                  <a:gdLst>
                    <a:gd name="connsiteX0" fmla="*/ 0 w 26406"/>
                    <a:gd name="connsiteY0" fmla="*/ 13203 h 26530"/>
                    <a:gd name="connsiteX1" fmla="*/ 13328 w 26406"/>
                    <a:gd name="connsiteY1" fmla="*/ 0 h 26530"/>
                    <a:gd name="connsiteX2" fmla="*/ 26406 w 26406"/>
                    <a:gd name="connsiteY2" fmla="*/ 13328 h 26530"/>
                    <a:gd name="connsiteX3" fmla="*/ 13079 w 26406"/>
                    <a:gd name="connsiteY3" fmla="*/ 26531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125" y="5854"/>
                        <a:pt x="5979" y="0"/>
                        <a:pt x="13328" y="0"/>
                      </a:cubicBezTo>
                      <a:cubicBezTo>
                        <a:pt x="20552" y="0"/>
                        <a:pt x="26406" y="5979"/>
                        <a:pt x="26406" y="13328"/>
                      </a:cubicBezTo>
                      <a:cubicBezTo>
                        <a:pt x="26282" y="20677"/>
                        <a:pt x="20303" y="26531"/>
                        <a:pt x="13079" y="26531"/>
                      </a:cubicBezTo>
                      <a:cubicBezTo>
                        <a:pt x="5855"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5" name="Graphic 2987">
                <a:extLst>
                  <a:ext uri="{FF2B5EF4-FFF2-40B4-BE49-F238E27FC236}">
                    <a16:creationId xmlns:a16="http://schemas.microsoft.com/office/drawing/2014/main" id="{C4A48EC2-3BAD-7494-44F7-E04CCE430D28}"/>
                  </a:ext>
                </a:extLst>
              </p:cNvPr>
              <p:cNvGrpSpPr/>
              <p:nvPr/>
            </p:nvGrpSpPr>
            <p:grpSpPr>
              <a:xfrm>
                <a:off x="8478887" y="5549617"/>
                <a:ext cx="28029" cy="148970"/>
                <a:chOff x="8478887" y="5549617"/>
                <a:chExt cx="28029" cy="148970"/>
              </a:xfrm>
              <a:grpFill/>
            </p:grpSpPr>
            <p:sp>
              <p:nvSpPr>
                <p:cNvPr id="4469" name="Freeform 5063">
                  <a:extLst>
                    <a:ext uri="{FF2B5EF4-FFF2-40B4-BE49-F238E27FC236}">
                      <a16:creationId xmlns:a16="http://schemas.microsoft.com/office/drawing/2014/main" id="{AE526273-E863-1C1F-A228-A1D9F0ED786E}"/>
                    </a:ext>
                  </a:extLst>
                </p:cNvPr>
                <p:cNvSpPr/>
                <p:nvPr/>
              </p:nvSpPr>
              <p:spPr>
                <a:xfrm>
                  <a:off x="8487432" y="5570044"/>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1"/>
                        <a:pt x="-197" y="14324"/>
                        <a:pt x="177" y="18684"/>
                      </a:cubicBezTo>
                      <a:cubicBezTo>
                        <a:pt x="924" y="25659"/>
                        <a:pt x="2917" y="28648"/>
                        <a:pt x="3415" y="35748"/>
                      </a:cubicBezTo>
                      <a:cubicBezTo>
                        <a:pt x="3789" y="42599"/>
                        <a:pt x="2295"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0" name="Freeform 5064">
                  <a:extLst>
                    <a:ext uri="{FF2B5EF4-FFF2-40B4-BE49-F238E27FC236}">
                      <a16:creationId xmlns:a16="http://schemas.microsoft.com/office/drawing/2014/main" id="{0A25D732-C70B-0DED-A644-0EE5A8F01B92}"/>
                    </a:ext>
                  </a:extLst>
                </p:cNvPr>
                <p:cNvSpPr/>
                <p:nvPr/>
              </p:nvSpPr>
              <p:spPr>
                <a:xfrm>
                  <a:off x="8494911" y="5565062"/>
                  <a:ext cx="4062" cy="52065"/>
                </a:xfrm>
                <a:custGeom>
                  <a:avLst/>
                  <a:gdLst>
                    <a:gd name="connsiteX0" fmla="*/ 2039 w 4062"/>
                    <a:gd name="connsiteY0" fmla="*/ 52065 h 52065"/>
                    <a:gd name="connsiteX1" fmla="*/ 296 w 4062"/>
                    <a:gd name="connsiteY1" fmla="*/ 33382 h 52065"/>
                    <a:gd name="connsiteX2" fmla="*/ 3908 w 4062"/>
                    <a:gd name="connsiteY2" fmla="*/ 16317 h 52065"/>
                    <a:gd name="connsiteX3" fmla="*/ 1914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52065"/>
                      </a:moveTo>
                      <a:cubicBezTo>
                        <a:pt x="-328" y="43969"/>
                        <a:pt x="-203" y="37617"/>
                        <a:pt x="296" y="33382"/>
                      </a:cubicBezTo>
                      <a:cubicBezTo>
                        <a:pt x="1167" y="26407"/>
                        <a:pt x="3285" y="23417"/>
                        <a:pt x="3908" y="16317"/>
                      </a:cubicBezTo>
                      <a:cubicBezTo>
                        <a:pt x="4530" y="9467"/>
                        <a:pt x="3160" y="3737"/>
                        <a:pt x="19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1" name="Freeform 5065">
                  <a:extLst>
                    <a:ext uri="{FF2B5EF4-FFF2-40B4-BE49-F238E27FC236}">
                      <a16:creationId xmlns:a16="http://schemas.microsoft.com/office/drawing/2014/main" id="{146EC63F-08D5-575C-E992-61A76D996926}"/>
                    </a:ext>
                  </a:extLst>
                </p:cNvPr>
                <p:cNvSpPr/>
                <p:nvPr/>
              </p:nvSpPr>
              <p:spPr>
                <a:xfrm>
                  <a:off x="8480383" y="5549617"/>
                  <a:ext cx="26533" cy="26530"/>
                </a:xfrm>
                <a:custGeom>
                  <a:avLst/>
                  <a:gdLst>
                    <a:gd name="connsiteX0" fmla="*/ 26532 w 26533"/>
                    <a:gd name="connsiteY0" fmla="*/ 13452 h 26530"/>
                    <a:gd name="connsiteX1" fmla="*/ 13080 w 26533"/>
                    <a:gd name="connsiteY1" fmla="*/ 26531 h 26530"/>
                    <a:gd name="connsiteX2" fmla="*/ 2 w 26533"/>
                    <a:gd name="connsiteY2" fmla="*/ 13203 h 26530"/>
                    <a:gd name="connsiteX3" fmla="*/ 13454 w 26533"/>
                    <a:gd name="connsiteY3" fmla="*/ 0 h 26530"/>
                    <a:gd name="connsiteX4" fmla="*/ 26532 w 26533"/>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3" h="26530">
                      <a:moveTo>
                        <a:pt x="26532" y="13452"/>
                      </a:moveTo>
                      <a:cubicBezTo>
                        <a:pt x="26408" y="20801"/>
                        <a:pt x="20429" y="26531"/>
                        <a:pt x="13080" y="26531"/>
                      </a:cubicBezTo>
                      <a:cubicBezTo>
                        <a:pt x="5731" y="26531"/>
                        <a:pt x="-123" y="20552"/>
                        <a:pt x="2" y="13203"/>
                      </a:cubicBezTo>
                      <a:cubicBezTo>
                        <a:pt x="126" y="5854"/>
                        <a:pt x="6105" y="0"/>
                        <a:pt x="13454" y="0"/>
                      </a:cubicBezTo>
                      <a:cubicBezTo>
                        <a:pt x="20803" y="125"/>
                        <a:pt x="26657" y="6103"/>
                        <a:pt x="2653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2" name="Freeform 5066">
                  <a:extLst>
                    <a:ext uri="{FF2B5EF4-FFF2-40B4-BE49-F238E27FC236}">
                      <a16:creationId xmlns:a16="http://schemas.microsoft.com/office/drawing/2014/main" id="{2352C0EE-2887-24BE-DB5A-F23A2CC24BDC}"/>
                    </a:ext>
                  </a:extLst>
                </p:cNvPr>
                <p:cNvSpPr/>
                <p:nvPr/>
              </p:nvSpPr>
              <p:spPr>
                <a:xfrm>
                  <a:off x="8494775" y="5626220"/>
                  <a:ext cx="3349" cy="52065"/>
                </a:xfrm>
                <a:custGeom>
                  <a:avLst/>
                  <a:gdLst>
                    <a:gd name="connsiteX0" fmla="*/ 930 w 3349"/>
                    <a:gd name="connsiteY0" fmla="*/ 52065 h 52065"/>
                    <a:gd name="connsiteX1" fmla="*/ 3172 w 3349"/>
                    <a:gd name="connsiteY1" fmla="*/ 33382 h 52065"/>
                    <a:gd name="connsiteX2" fmla="*/ 58 w 3349"/>
                    <a:gd name="connsiteY2" fmla="*/ 16317 h 52065"/>
                    <a:gd name="connsiteX3" fmla="*/ 2425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930" y="52065"/>
                      </a:moveTo>
                      <a:cubicBezTo>
                        <a:pt x="3546" y="44094"/>
                        <a:pt x="3546" y="37741"/>
                        <a:pt x="3172" y="33382"/>
                      </a:cubicBezTo>
                      <a:cubicBezTo>
                        <a:pt x="2550" y="26406"/>
                        <a:pt x="432" y="23417"/>
                        <a:pt x="58" y="16317"/>
                      </a:cubicBezTo>
                      <a:cubicBezTo>
                        <a:pt x="-316"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3" name="Freeform 5067">
                  <a:extLst>
                    <a:ext uri="{FF2B5EF4-FFF2-40B4-BE49-F238E27FC236}">
                      <a16:creationId xmlns:a16="http://schemas.microsoft.com/office/drawing/2014/main" id="{58029CD3-3A98-3DA4-4622-3A5EC2C51076}"/>
                    </a:ext>
                  </a:extLst>
                </p:cNvPr>
                <p:cNvSpPr/>
                <p:nvPr/>
              </p:nvSpPr>
              <p:spPr>
                <a:xfrm>
                  <a:off x="8486581" y="5631078"/>
                  <a:ext cx="4063" cy="52065"/>
                </a:xfrm>
                <a:custGeom>
                  <a:avLst/>
                  <a:gdLst>
                    <a:gd name="connsiteX0" fmla="*/ 2024 w 4063"/>
                    <a:gd name="connsiteY0" fmla="*/ 0 h 52065"/>
                    <a:gd name="connsiteX1" fmla="*/ 3768 w 4063"/>
                    <a:gd name="connsiteY1" fmla="*/ 18684 h 52065"/>
                    <a:gd name="connsiteX2" fmla="*/ 155 w 4063"/>
                    <a:gd name="connsiteY2" fmla="*/ 35748 h 52065"/>
                    <a:gd name="connsiteX3" fmla="*/ 2149 w 40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3" h="52065">
                      <a:moveTo>
                        <a:pt x="2024" y="0"/>
                      </a:moveTo>
                      <a:cubicBezTo>
                        <a:pt x="4390" y="8096"/>
                        <a:pt x="4266" y="14449"/>
                        <a:pt x="3768" y="18684"/>
                      </a:cubicBezTo>
                      <a:cubicBezTo>
                        <a:pt x="2896" y="25659"/>
                        <a:pt x="779" y="28648"/>
                        <a:pt x="155" y="35748"/>
                      </a:cubicBezTo>
                      <a:cubicBezTo>
                        <a:pt x="-467" y="42599"/>
                        <a:pt x="903" y="48328"/>
                        <a:pt x="21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4" name="Freeform 5068">
                  <a:extLst>
                    <a:ext uri="{FF2B5EF4-FFF2-40B4-BE49-F238E27FC236}">
                      <a16:creationId xmlns:a16="http://schemas.microsoft.com/office/drawing/2014/main" id="{0D0DDDC3-4C26-EE8A-7E01-D3693758DBFC}"/>
                    </a:ext>
                  </a:extLst>
                </p:cNvPr>
                <p:cNvSpPr/>
                <p:nvPr/>
              </p:nvSpPr>
              <p:spPr>
                <a:xfrm>
                  <a:off x="8478887" y="5672057"/>
                  <a:ext cx="26286" cy="26530"/>
                </a:xfrm>
                <a:custGeom>
                  <a:avLst/>
                  <a:gdLst>
                    <a:gd name="connsiteX0" fmla="*/ 2 w 26286"/>
                    <a:gd name="connsiteY0" fmla="*/ 13203 h 26530"/>
                    <a:gd name="connsiteX1" fmla="*/ 13330 w 26286"/>
                    <a:gd name="connsiteY1" fmla="*/ 0 h 26530"/>
                    <a:gd name="connsiteX2" fmla="*/ 26284 w 26286"/>
                    <a:gd name="connsiteY2" fmla="*/ 13452 h 26530"/>
                    <a:gd name="connsiteX3" fmla="*/ 12956 w 26286"/>
                    <a:gd name="connsiteY3" fmla="*/ 26530 h 26530"/>
                    <a:gd name="connsiteX4" fmla="*/ 2 w 2628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30">
                      <a:moveTo>
                        <a:pt x="2" y="13203"/>
                      </a:moveTo>
                      <a:cubicBezTo>
                        <a:pt x="127" y="5854"/>
                        <a:pt x="6106" y="0"/>
                        <a:pt x="13330" y="0"/>
                      </a:cubicBezTo>
                      <a:cubicBezTo>
                        <a:pt x="20554" y="0"/>
                        <a:pt x="26409" y="6103"/>
                        <a:pt x="26284" y="13452"/>
                      </a:cubicBezTo>
                      <a:cubicBezTo>
                        <a:pt x="26160" y="20801"/>
                        <a:pt x="20181" y="26530"/>
                        <a:pt x="12956" y="26530"/>
                      </a:cubicBezTo>
                      <a:cubicBezTo>
                        <a:pt x="5732" y="26530"/>
                        <a:pt x="-122" y="20552"/>
                        <a:pt x="2"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6" name="Graphic 2987">
                <a:extLst>
                  <a:ext uri="{FF2B5EF4-FFF2-40B4-BE49-F238E27FC236}">
                    <a16:creationId xmlns:a16="http://schemas.microsoft.com/office/drawing/2014/main" id="{751B4F20-34CE-0052-ED45-DAF92AD42750}"/>
                  </a:ext>
                </a:extLst>
              </p:cNvPr>
              <p:cNvGrpSpPr/>
              <p:nvPr/>
            </p:nvGrpSpPr>
            <p:grpSpPr>
              <a:xfrm>
                <a:off x="8508284" y="5550113"/>
                <a:ext cx="28402" cy="148974"/>
                <a:chOff x="8508284" y="5550113"/>
                <a:chExt cx="28402" cy="148974"/>
              </a:xfrm>
              <a:grpFill/>
            </p:grpSpPr>
            <p:sp>
              <p:nvSpPr>
                <p:cNvPr id="4463" name="Freeform 5070">
                  <a:extLst>
                    <a:ext uri="{FF2B5EF4-FFF2-40B4-BE49-F238E27FC236}">
                      <a16:creationId xmlns:a16="http://schemas.microsoft.com/office/drawing/2014/main" id="{74334D86-434E-3C61-707B-F864ACCC785E}"/>
                    </a:ext>
                  </a:extLst>
                </p:cNvPr>
                <p:cNvSpPr/>
                <p:nvPr/>
              </p:nvSpPr>
              <p:spPr>
                <a:xfrm>
                  <a:off x="8517147" y="5570418"/>
                  <a:ext cx="3403" cy="52189"/>
                </a:xfrm>
                <a:custGeom>
                  <a:avLst/>
                  <a:gdLst>
                    <a:gd name="connsiteX0" fmla="*/ 2473 w 3403"/>
                    <a:gd name="connsiteY0" fmla="*/ 0 h 52189"/>
                    <a:gd name="connsiteX1" fmla="*/ 231 w 3403"/>
                    <a:gd name="connsiteY1" fmla="*/ 18684 h 52189"/>
                    <a:gd name="connsiteX2" fmla="*/ 3345 w 3403"/>
                    <a:gd name="connsiteY2" fmla="*/ 35873 h 52189"/>
                    <a:gd name="connsiteX3" fmla="*/ 978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2473" y="0"/>
                      </a:moveTo>
                      <a:cubicBezTo>
                        <a:pt x="-142" y="7971"/>
                        <a:pt x="-267" y="14324"/>
                        <a:pt x="231" y="18684"/>
                      </a:cubicBezTo>
                      <a:cubicBezTo>
                        <a:pt x="853" y="25659"/>
                        <a:pt x="2972" y="28773"/>
                        <a:pt x="3345" y="35873"/>
                      </a:cubicBezTo>
                      <a:cubicBezTo>
                        <a:pt x="3719" y="42723"/>
                        <a:pt x="2223" y="48453"/>
                        <a:pt x="97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4" name="Freeform 5071">
                  <a:extLst>
                    <a:ext uri="{FF2B5EF4-FFF2-40B4-BE49-F238E27FC236}">
                      <a16:creationId xmlns:a16="http://schemas.microsoft.com/office/drawing/2014/main" id="{68A1EBF2-8EEF-A360-1004-F8F98D088A23}"/>
                    </a:ext>
                  </a:extLst>
                </p:cNvPr>
                <p:cNvSpPr/>
                <p:nvPr/>
              </p:nvSpPr>
              <p:spPr>
                <a:xfrm>
                  <a:off x="8524590" y="5565560"/>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5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4"/>
                        <a:pt x="-237" y="37741"/>
                        <a:pt x="386" y="33506"/>
                      </a:cubicBezTo>
                      <a:cubicBezTo>
                        <a:pt x="1258" y="26531"/>
                        <a:pt x="3500" y="23542"/>
                        <a:pt x="4122" y="16442"/>
                      </a:cubicBezTo>
                      <a:cubicBezTo>
                        <a:pt x="4746" y="9591"/>
                        <a:pt x="3375"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5" name="Freeform 5072">
                  <a:extLst>
                    <a:ext uri="{FF2B5EF4-FFF2-40B4-BE49-F238E27FC236}">
                      <a16:creationId xmlns:a16="http://schemas.microsoft.com/office/drawing/2014/main" id="{D3E492B5-0AB2-6EA1-823F-2745F3A4E228}"/>
                    </a:ext>
                  </a:extLst>
                </p:cNvPr>
                <p:cNvSpPr/>
                <p:nvPr/>
              </p:nvSpPr>
              <p:spPr>
                <a:xfrm>
                  <a:off x="8510027" y="5550113"/>
                  <a:ext cx="26659" cy="26534"/>
                </a:xfrm>
                <a:custGeom>
                  <a:avLst/>
                  <a:gdLst>
                    <a:gd name="connsiteX0" fmla="*/ 26657 w 26659"/>
                    <a:gd name="connsiteY0" fmla="*/ 13579 h 26534"/>
                    <a:gd name="connsiteX1" fmla="*/ 13081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1" y="26533"/>
                      </a:cubicBezTo>
                      <a:cubicBezTo>
                        <a:pt x="5732" y="26408"/>
                        <a:pt x="-122" y="20305"/>
                        <a:pt x="2" y="12956"/>
                      </a:cubicBezTo>
                      <a:cubicBezTo>
                        <a:pt x="127" y="5607"/>
                        <a:pt x="6106" y="-123"/>
                        <a:pt x="13579" y="2"/>
                      </a:cubicBezTo>
                      <a:cubicBezTo>
                        <a:pt x="20928" y="251"/>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6" name="Freeform 5073">
                  <a:extLst>
                    <a:ext uri="{FF2B5EF4-FFF2-40B4-BE49-F238E27FC236}">
                      <a16:creationId xmlns:a16="http://schemas.microsoft.com/office/drawing/2014/main" id="{35BF0BE9-2019-30C4-DC90-D305E5F87603}"/>
                    </a:ext>
                  </a:extLst>
                </p:cNvPr>
                <p:cNvSpPr/>
                <p:nvPr/>
              </p:nvSpPr>
              <p:spPr>
                <a:xfrm>
                  <a:off x="8524170" y="5626593"/>
                  <a:ext cx="3403" cy="52189"/>
                </a:xfrm>
                <a:custGeom>
                  <a:avLst/>
                  <a:gdLst>
                    <a:gd name="connsiteX0" fmla="*/ 930 w 3403"/>
                    <a:gd name="connsiteY0" fmla="*/ 52190 h 52189"/>
                    <a:gd name="connsiteX1" fmla="*/ 3172 w 3403"/>
                    <a:gd name="connsiteY1" fmla="*/ 33506 h 52189"/>
                    <a:gd name="connsiteX2" fmla="*/ 58 w 3403"/>
                    <a:gd name="connsiteY2" fmla="*/ 16317 h 52189"/>
                    <a:gd name="connsiteX3" fmla="*/ 2425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52190"/>
                      </a:moveTo>
                      <a:cubicBezTo>
                        <a:pt x="3546" y="44218"/>
                        <a:pt x="3671" y="37866"/>
                        <a:pt x="3172" y="33506"/>
                      </a:cubicBezTo>
                      <a:cubicBezTo>
                        <a:pt x="2550" y="26531"/>
                        <a:pt x="432" y="23417"/>
                        <a:pt x="58" y="16317"/>
                      </a:cubicBezTo>
                      <a:cubicBezTo>
                        <a:pt x="-315"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7" name="Freeform 5074">
                  <a:extLst>
                    <a:ext uri="{FF2B5EF4-FFF2-40B4-BE49-F238E27FC236}">
                      <a16:creationId xmlns:a16="http://schemas.microsoft.com/office/drawing/2014/main" id="{2004E26F-69D7-43CE-5E25-51A9B37E726E}"/>
                    </a:ext>
                  </a:extLst>
                </p:cNvPr>
                <p:cNvSpPr/>
                <p:nvPr/>
              </p:nvSpPr>
              <p:spPr>
                <a:xfrm>
                  <a:off x="8515977" y="5631576"/>
                  <a:ext cx="4153" cy="52189"/>
                </a:xfrm>
                <a:custGeom>
                  <a:avLst/>
                  <a:gdLst>
                    <a:gd name="connsiteX0" fmla="*/ 2149 w 4153"/>
                    <a:gd name="connsiteY0" fmla="*/ 0 h 52189"/>
                    <a:gd name="connsiteX1" fmla="*/ 3768 w 4153"/>
                    <a:gd name="connsiteY1" fmla="*/ 18684 h 52189"/>
                    <a:gd name="connsiteX2" fmla="*/ 156 w 4153"/>
                    <a:gd name="connsiteY2" fmla="*/ 35748 h 52189"/>
                    <a:gd name="connsiteX3" fmla="*/ 2024 w 4153"/>
                    <a:gd name="connsiteY3" fmla="*/ 52189 h 52189"/>
                  </a:gdLst>
                  <a:ahLst/>
                  <a:cxnLst>
                    <a:cxn ang="0">
                      <a:pos x="connsiteX0" y="connsiteY0"/>
                    </a:cxn>
                    <a:cxn ang="0">
                      <a:pos x="connsiteX1" y="connsiteY1"/>
                    </a:cxn>
                    <a:cxn ang="0">
                      <a:pos x="connsiteX2" y="connsiteY2"/>
                    </a:cxn>
                    <a:cxn ang="0">
                      <a:pos x="connsiteX3" y="connsiteY3"/>
                    </a:cxn>
                  </a:cxnLst>
                  <a:rect l="l" t="t" r="r" b="b"/>
                  <a:pathLst>
                    <a:path w="4153" h="52189">
                      <a:moveTo>
                        <a:pt x="2149" y="0"/>
                      </a:moveTo>
                      <a:cubicBezTo>
                        <a:pt x="4515" y="8096"/>
                        <a:pt x="4391" y="14448"/>
                        <a:pt x="3768" y="18684"/>
                      </a:cubicBezTo>
                      <a:cubicBezTo>
                        <a:pt x="2896" y="25659"/>
                        <a:pt x="654" y="28648"/>
                        <a:pt x="156" y="35748"/>
                      </a:cubicBezTo>
                      <a:cubicBezTo>
                        <a:pt x="-467" y="42599"/>
                        <a:pt x="903" y="48328"/>
                        <a:pt x="2024"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8" name="Freeform 5075">
                  <a:extLst>
                    <a:ext uri="{FF2B5EF4-FFF2-40B4-BE49-F238E27FC236}">
                      <a16:creationId xmlns:a16="http://schemas.microsoft.com/office/drawing/2014/main" id="{974310AE-29DB-A61F-18B6-2936DF6AAAF8}"/>
                    </a:ext>
                  </a:extLst>
                </p:cNvPr>
                <p:cNvSpPr/>
                <p:nvPr/>
              </p:nvSpPr>
              <p:spPr>
                <a:xfrm>
                  <a:off x="8508284" y="5672553"/>
                  <a:ext cx="26285" cy="26534"/>
                </a:xfrm>
                <a:custGeom>
                  <a:avLst/>
                  <a:gdLst>
                    <a:gd name="connsiteX0" fmla="*/ 2 w 26285"/>
                    <a:gd name="connsiteY0" fmla="*/ 12956 h 26534"/>
                    <a:gd name="connsiteX1" fmla="*/ 13330 w 26285"/>
                    <a:gd name="connsiteY1" fmla="*/ 2 h 26534"/>
                    <a:gd name="connsiteX2" fmla="*/ 26283 w 26285"/>
                    <a:gd name="connsiteY2" fmla="*/ 13579 h 26534"/>
                    <a:gd name="connsiteX3" fmla="*/ 12956 w 26285"/>
                    <a:gd name="connsiteY3" fmla="*/ 26533 h 26534"/>
                    <a:gd name="connsiteX4" fmla="*/ 2 w 26285"/>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2956"/>
                      </a:moveTo>
                      <a:cubicBezTo>
                        <a:pt x="127" y="5607"/>
                        <a:pt x="6105" y="-122"/>
                        <a:pt x="13330" y="2"/>
                      </a:cubicBezTo>
                      <a:cubicBezTo>
                        <a:pt x="20554" y="127"/>
                        <a:pt x="26408" y="6230"/>
                        <a:pt x="26283" y="13579"/>
                      </a:cubicBezTo>
                      <a:cubicBezTo>
                        <a:pt x="26159" y="20928"/>
                        <a:pt x="20180" y="26658"/>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7" name="Graphic 2987">
                <a:extLst>
                  <a:ext uri="{FF2B5EF4-FFF2-40B4-BE49-F238E27FC236}">
                    <a16:creationId xmlns:a16="http://schemas.microsoft.com/office/drawing/2014/main" id="{05648554-9E21-942A-B2B0-2E1E15EA2793}"/>
                  </a:ext>
                </a:extLst>
              </p:cNvPr>
              <p:cNvGrpSpPr/>
              <p:nvPr/>
            </p:nvGrpSpPr>
            <p:grpSpPr>
              <a:xfrm>
                <a:off x="8537679" y="5550736"/>
                <a:ext cx="28776" cy="148975"/>
                <a:chOff x="8537679" y="5550736"/>
                <a:chExt cx="28776" cy="148975"/>
              </a:xfrm>
              <a:grpFill/>
            </p:grpSpPr>
            <p:sp>
              <p:nvSpPr>
                <p:cNvPr id="4457" name="Freeform 5077">
                  <a:extLst>
                    <a:ext uri="{FF2B5EF4-FFF2-40B4-BE49-F238E27FC236}">
                      <a16:creationId xmlns:a16="http://schemas.microsoft.com/office/drawing/2014/main" id="{C935512E-3975-7043-0333-ED2D3520D669}"/>
                    </a:ext>
                  </a:extLst>
                </p:cNvPr>
                <p:cNvSpPr/>
                <p:nvPr/>
              </p:nvSpPr>
              <p:spPr>
                <a:xfrm>
                  <a:off x="8546867" y="5571041"/>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3"/>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8" name="Freeform 5078">
                  <a:extLst>
                    <a:ext uri="{FF2B5EF4-FFF2-40B4-BE49-F238E27FC236}">
                      <a16:creationId xmlns:a16="http://schemas.microsoft.com/office/drawing/2014/main" id="{99161D5B-9B96-5FAE-1BFF-033379CF2C79}"/>
                    </a:ext>
                  </a:extLst>
                </p:cNvPr>
                <p:cNvSpPr/>
                <p:nvPr/>
              </p:nvSpPr>
              <p:spPr>
                <a:xfrm>
                  <a:off x="8554235" y="5566183"/>
                  <a:ext cx="4288" cy="52189"/>
                </a:xfrm>
                <a:custGeom>
                  <a:avLst/>
                  <a:gdLst>
                    <a:gd name="connsiteX0" fmla="*/ 2005 w 4288"/>
                    <a:gd name="connsiteY0" fmla="*/ 52189 h 52189"/>
                    <a:gd name="connsiteX1" fmla="*/ 386 w 4288"/>
                    <a:gd name="connsiteY1" fmla="*/ 33506 h 52189"/>
                    <a:gd name="connsiteX2" fmla="*/ 4122 w 4288"/>
                    <a:gd name="connsiteY2" fmla="*/ 16441 h 52189"/>
                    <a:gd name="connsiteX3" fmla="*/ 2255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89"/>
                      </a:moveTo>
                      <a:cubicBezTo>
                        <a:pt x="-361" y="44093"/>
                        <a:pt x="-237" y="37741"/>
                        <a:pt x="386" y="33506"/>
                      </a:cubicBezTo>
                      <a:cubicBezTo>
                        <a:pt x="1258" y="26530"/>
                        <a:pt x="3500" y="23541"/>
                        <a:pt x="4122" y="16441"/>
                      </a:cubicBezTo>
                      <a:cubicBezTo>
                        <a:pt x="4746" y="9591"/>
                        <a:pt x="3500"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9" name="Freeform 5079">
                  <a:extLst>
                    <a:ext uri="{FF2B5EF4-FFF2-40B4-BE49-F238E27FC236}">
                      <a16:creationId xmlns:a16="http://schemas.microsoft.com/office/drawing/2014/main" id="{79C24240-7B86-2879-8A2F-314CF70AA7AA}"/>
                    </a:ext>
                  </a:extLst>
                </p:cNvPr>
                <p:cNvSpPr/>
                <p:nvPr/>
              </p:nvSpPr>
              <p:spPr>
                <a:xfrm>
                  <a:off x="8539796" y="5550736"/>
                  <a:ext cx="26659" cy="26534"/>
                </a:xfrm>
                <a:custGeom>
                  <a:avLst/>
                  <a:gdLst>
                    <a:gd name="connsiteX0" fmla="*/ 26657 w 26659"/>
                    <a:gd name="connsiteY0" fmla="*/ 13579 h 26534"/>
                    <a:gd name="connsiteX1" fmla="*/ 13080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8"/>
                        <a:pt x="13080" y="26533"/>
                      </a:cubicBezTo>
                      <a:cubicBezTo>
                        <a:pt x="5732" y="26408"/>
                        <a:pt x="-123" y="20305"/>
                        <a:pt x="2" y="12956"/>
                      </a:cubicBezTo>
                      <a:cubicBezTo>
                        <a:pt x="127" y="5607"/>
                        <a:pt x="6230" y="-122"/>
                        <a:pt x="13579" y="2"/>
                      </a:cubicBezTo>
                      <a:cubicBezTo>
                        <a:pt x="20928" y="127"/>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0" name="Freeform 5080">
                  <a:extLst>
                    <a:ext uri="{FF2B5EF4-FFF2-40B4-BE49-F238E27FC236}">
                      <a16:creationId xmlns:a16="http://schemas.microsoft.com/office/drawing/2014/main" id="{C2117375-97EC-18AE-4524-6094FA648EF4}"/>
                    </a:ext>
                  </a:extLst>
                </p:cNvPr>
                <p:cNvSpPr/>
                <p:nvPr/>
              </p:nvSpPr>
              <p:spPr>
                <a:xfrm>
                  <a:off x="8553815" y="5627216"/>
                  <a:ext cx="3327" cy="52189"/>
                </a:xfrm>
                <a:custGeom>
                  <a:avLst/>
                  <a:gdLst>
                    <a:gd name="connsiteX0" fmla="*/ 805 w 3327"/>
                    <a:gd name="connsiteY0" fmla="*/ 52190 h 52189"/>
                    <a:gd name="connsiteX1" fmla="*/ 3172 w 3327"/>
                    <a:gd name="connsiteY1" fmla="*/ 33506 h 52189"/>
                    <a:gd name="connsiteX2" fmla="*/ 58 w 3327"/>
                    <a:gd name="connsiteY2" fmla="*/ 16317 h 52189"/>
                    <a:gd name="connsiteX3" fmla="*/ 254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805" y="52190"/>
                      </a:moveTo>
                      <a:cubicBezTo>
                        <a:pt x="3421" y="44218"/>
                        <a:pt x="3546" y="37865"/>
                        <a:pt x="3172" y="33506"/>
                      </a:cubicBezTo>
                      <a:cubicBezTo>
                        <a:pt x="2549" y="26531"/>
                        <a:pt x="432" y="23417"/>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1" name="Freeform 5081">
                  <a:extLst>
                    <a:ext uri="{FF2B5EF4-FFF2-40B4-BE49-F238E27FC236}">
                      <a16:creationId xmlns:a16="http://schemas.microsoft.com/office/drawing/2014/main" id="{732A0CB7-645B-DA7F-7157-EAF4A40169B7}"/>
                    </a:ext>
                  </a:extLst>
                </p:cNvPr>
                <p:cNvSpPr/>
                <p:nvPr/>
              </p:nvSpPr>
              <p:spPr>
                <a:xfrm>
                  <a:off x="8545487" y="5632198"/>
                  <a:ext cx="4288" cy="52189"/>
                </a:xfrm>
                <a:custGeom>
                  <a:avLst/>
                  <a:gdLst>
                    <a:gd name="connsiteX0" fmla="*/ 2283 w 4288"/>
                    <a:gd name="connsiteY0" fmla="*/ 0 h 52189"/>
                    <a:gd name="connsiteX1" fmla="*/ 3902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2" name="Freeform 5082">
                  <a:extLst>
                    <a:ext uri="{FF2B5EF4-FFF2-40B4-BE49-F238E27FC236}">
                      <a16:creationId xmlns:a16="http://schemas.microsoft.com/office/drawing/2014/main" id="{BD491D26-BB79-821E-E0C6-50EA360D0C37}"/>
                    </a:ext>
                  </a:extLst>
                </p:cNvPr>
                <p:cNvSpPr/>
                <p:nvPr/>
              </p:nvSpPr>
              <p:spPr>
                <a:xfrm>
                  <a:off x="8537679" y="5673176"/>
                  <a:ext cx="26410" cy="26534"/>
                </a:xfrm>
                <a:custGeom>
                  <a:avLst/>
                  <a:gdLst>
                    <a:gd name="connsiteX0" fmla="*/ 2 w 26410"/>
                    <a:gd name="connsiteY0" fmla="*/ 12956 h 26534"/>
                    <a:gd name="connsiteX1" fmla="*/ 13454 w 26410"/>
                    <a:gd name="connsiteY1" fmla="*/ 2 h 26534"/>
                    <a:gd name="connsiteX2" fmla="*/ 26408 w 26410"/>
                    <a:gd name="connsiteY2" fmla="*/ 13579 h 26534"/>
                    <a:gd name="connsiteX3" fmla="*/ 12956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127" y="5607"/>
                        <a:pt x="6105" y="-123"/>
                        <a:pt x="13454" y="2"/>
                      </a:cubicBezTo>
                      <a:cubicBezTo>
                        <a:pt x="20803" y="126"/>
                        <a:pt x="26533" y="6230"/>
                        <a:pt x="26408" y="13579"/>
                      </a:cubicBezTo>
                      <a:cubicBezTo>
                        <a:pt x="26283" y="20928"/>
                        <a:pt x="20305" y="26657"/>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8" name="Graphic 2987">
                <a:extLst>
                  <a:ext uri="{FF2B5EF4-FFF2-40B4-BE49-F238E27FC236}">
                    <a16:creationId xmlns:a16="http://schemas.microsoft.com/office/drawing/2014/main" id="{B429DCFB-8CBB-A7CB-60F7-6E4DDF9B1C64}"/>
                  </a:ext>
                </a:extLst>
              </p:cNvPr>
              <p:cNvGrpSpPr/>
              <p:nvPr/>
            </p:nvGrpSpPr>
            <p:grpSpPr>
              <a:xfrm>
                <a:off x="8567074" y="5551359"/>
                <a:ext cx="29150" cy="148974"/>
                <a:chOff x="8567074" y="5551359"/>
                <a:chExt cx="29150" cy="148974"/>
              </a:xfrm>
              <a:grpFill/>
            </p:grpSpPr>
            <p:sp>
              <p:nvSpPr>
                <p:cNvPr id="4451" name="Freeform 5084">
                  <a:extLst>
                    <a:ext uri="{FF2B5EF4-FFF2-40B4-BE49-F238E27FC236}">
                      <a16:creationId xmlns:a16="http://schemas.microsoft.com/office/drawing/2014/main" id="{C27114F7-D95F-585E-6384-484C4039148D}"/>
                    </a:ext>
                  </a:extLst>
                </p:cNvPr>
                <p:cNvSpPr/>
                <p:nvPr/>
              </p:nvSpPr>
              <p:spPr>
                <a:xfrm>
                  <a:off x="8576512" y="5571663"/>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4"/>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2" name="Freeform 5085">
                  <a:extLst>
                    <a:ext uri="{FF2B5EF4-FFF2-40B4-BE49-F238E27FC236}">
                      <a16:creationId xmlns:a16="http://schemas.microsoft.com/office/drawing/2014/main" id="{8892B333-F994-6401-BB94-AB06929A9784}"/>
                    </a:ext>
                  </a:extLst>
                </p:cNvPr>
                <p:cNvSpPr/>
                <p:nvPr/>
              </p:nvSpPr>
              <p:spPr>
                <a:xfrm>
                  <a:off x="8583840" y="5566806"/>
                  <a:ext cx="4202" cy="52189"/>
                </a:xfrm>
                <a:custGeom>
                  <a:avLst/>
                  <a:gdLst>
                    <a:gd name="connsiteX0" fmla="*/ 1920 w 4202"/>
                    <a:gd name="connsiteY0" fmla="*/ 52190 h 52189"/>
                    <a:gd name="connsiteX1" fmla="*/ 300 w 4202"/>
                    <a:gd name="connsiteY1" fmla="*/ 33506 h 52189"/>
                    <a:gd name="connsiteX2" fmla="*/ 4037 w 4202"/>
                    <a:gd name="connsiteY2" fmla="*/ 16442 h 52189"/>
                    <a:gd name="connsiteX3" fmla="*/ 2169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1920" y="52190"/>
                      </a:moveTo>
                      <a:cubicBezTo>
                        <a:pt x="-322" y="44094"/>
                        <a:pt x="-198" y="37741"/>
                        <a:pt x="300" y="33506"/>
                      </a:cubicBezTo>
                      <a:cubicBezTo>
                        <a:pt x="1172" y="26531"/>
                        <a:pt x="3414" y="23541"/>
                        <a:pt x="4037" y="16442"/>
                      </a:cubicBezTo>
                      <a:cubicBezTo>
                        <a:pt x="4660" y="9591"/>
                        <a:pt x="3414" y="3861"/>
                        <a:pt x="21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3" name="Freeform 5086">
                  <a:extLst>
                    <a:ext uri="{FF2B5EF4-FFF2-40B4-BE49-F238E27FC236}">
                      <a16:creationId xmlns:a16="http://schemas.microsoft.com/office/drawing/2014/main" id="{BEFFD8D7-AD14-D38D-6D4F-ED8D607AAC17}"/>
                    </a:ext>
                  </a:extLst>
                </p:cNvPr>
                <p:cNvSpPr/>
                <p:nvPr/>
              </p:nvSpPr>
              <p:spPr>
                <a:xfrm>
                  <a:off x="8569566" y="5551359"/>
                  <a:ext cx="26659" cy="26534"/>
                </a:xfrm>
                <a:custGeom>
                  <a:avLst/>
                  <a:gdLst>
                    <a:gd name="connsiteX0" fmla="*/ 26657 w 26659"/>
                    <a:gd name="connsiteY0" fmla="*/ 13579 h 26534"/>
                    <a:gd name="connsiteX1" fmla="*/ 13080 w 26659"/>
                    <a:gd name="connsiteY1" fmla="*/ 26532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0" y="26532"/>
                      </a:cubicBezTo>
                      <a:cubicBezTo>
                        <a:pt x="5732" y="26408"/>
                        <a:pt x="-123" y="20305"/>
                        <a:pt x="2" y="12956"/>
                      </a:cubicBezTo>
                      <a:cubicBezTo>
                        <a:pt x="127" y="5607"/>
                        <a:pt x="6230" y="-123"/>
                        <a:pt x="13579" y="2"/>
                      </a:cubicBezTo>
                      <a:cubicBezTo>
                        <a:pt x="20928" y="251"/>
                        <a:pt x="26782" y="6354"/>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4" name="Freeform 5087">
                  <a:extLst>
                    <a:ext uri="{FF2B5EF4-FFF2-40B4-BE49-F238E27FC236}">
                      <a16:creationId xmlns:a16="http://schemas.microsoft.com/office/drawing/2014/main" id="{024916AB-8A3F-2FEC-D5E5-760143FA4A83}"/>
                    </a:ext>
                  </a:extLst>
                </p:cNvPr>
                <p:cNvSpPr/>
                <p:nvPr/>
              </p:nvSpPr>
              <p:spPr>
                <a:xfrm>
                  <a:off x="8583335" y="5627839"/>
                  <a:ext cx="3203" cy="52189"/>
                </a:xfrm>
                <a:custGeom>
                  <a:avLst/>
                  <a:gdLst>
                    <a:gd name="connsiteX0" fmla="*/ 681 w 3203"/>
                    <a:gd name="connsiteY0" fmla="*/ 52190 h 52189"/>
                    <a:gd name="connsiteX1" fmla="*/ 3047 w 3203"/>
                    <a:gd name="connsiteY1" fmla="*/ 33506 h 52189"/>
                    <a:gd name="connsiteX2" fmla="*/ 58 w 3203"/>
                    <a:gd name="connsiteY2" fmla="*/ 16317 h 52189"/>
                    <a:gd name="connsiteX3" fmla="*/ 2549 w 3203"/>
                    <a:gd name="connsiteY3" fmla="*/ 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52190"/>
                      </a:moveTo>
                      <a:cubicBezTo>
                        <a:pt x="3297" y="44218"/>
                        <a:pt x="3421" y="37866"/>
                        <a:pt x="3047" y="33506"/>
                      </a:cubicBezTo>
                      <a:cubicBezTo>
                        <a:pt x="2425" y="26531"/>
                        <a:pt x="307" y="23417"/>
                        <a:pt x="58" y="16317"/>
                      </a:cubicBezTo>
                      <a:cubicBezTo>
                        <a:pt x="-315" y="9467"/>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5" name="Freeform 5088">
                  <a:extLst>
                    <a:ext uri="{FF2B5EF4-FFF2-40B4-BE49-F238E27FC236}">
                      <a16:creationId xmlns:a16="http://schemas.microsoft.com/office/drawing/2014/main" id="{27B8E828-CE0B-D288-DBDC-F89DB4B2E62C}"/>
                    </a:ext>
                  </a:extLst>
                </p:cNvPr>
                <p:cNvSpPr/>
                <p:nvPr/>
              </p:nvSpPr>
              <p:spPr>
                <a:xfrm>
                  <a:off x="8575007" y="5632821"/>
                  <a:ext cx="4203" cy="52189"/>
                </a:xfrm>
                <a:custGeom>
                  <a:avLst/>
                  <a:gdLst>
                    <a:gd name="connsiteX0" fmla="*/ 2284 w 4203"/>
                    <a:gd name="connsiteY0" fmla="*/ 0 h 52189"/>
                    <a:gd name="connsiteX1" fmla="*/ 3903 w 4203"/>
                    <a:gd name="connsiteY1" fmla="*/ 18684 h 52189"/>
                    <a:gd name="connsiteX2" fmla="*/ 166 w 4203"/>
                    <a:gd name="connsiteY2" fmla="*/ 35748 h 52189"/>
                    <a:gd name="connsiteX3" fmla="*/ 1910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2284" y="0"/>
                      </a:moveTo>
                      <a:cubicBezTo>
                        <a:pt x="4526" y="8097"/>
                        <a:pt x="4401" y="14449"/>
                        <a:pt x="3903" y="18684"/>
                      </a:cubicBezTo>
                      <a:cubicBezTo>
                        <a:pt x="3031" y="25659"/>
                        <a:pt x="789"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6" name="Freeform 5089">
                  <a:extLst>
                    <a:ext uri="{FF2B5EF4-FFF2-40B4-BE49-F238E27FC236}">
                      <a16:creationId xmlns:a16="http://schemas.microsoft.com/office/drawing/2014/main" id="{BA89C31C-2234-CCE7-9C03-4C7DCB126D04}"/>
                    </a:ext>
                  </a:extLst>
                </p:cNvPr>
                <p:cNvSpPr/>
                <p:nvPr/>
              </p:nvSpPr>
              <p:spPr>
                <a:xfrm>
                  <a:off x="8567074" y="5673799"/>
                  <a:ext cx="26291" cy="26534"/>
                </a:xfrm>
                <a:custGeom>
                  <a:avLst/>
                  <a:gdLst>
                    <a:gd name="connsiteX0" fmla="*/ 2 w 26291"/>
                    <a:gd name="connsiteY0" fmla="*/ 12956 h 26534"/>
                    <a:gd name="connsiteX1" fmla="*/ 13454 w 26291"/>
                    <a:gd name="connsiteY1" fmla="*/ 2 h 26534"/>
                    <a:gd name="connsiteX2" fmla="*/ 26283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3"/>
                        <a:pt x="13454" y="2"/>
                      </a:cubicBezTo>
                      <a:cubicBezTo>
                        <a:pt x="20679" y="127"/>
                        <a:pt x="26533" y="6230"/>
                        <a:pt x="26283" y="13579"/>
                      </a:cubicBezTo>
                      <a:cubicBezTo>
                        <a:pt x="26160" y="20928"/>
                        <a:pt x="20056" y="26658"/>
                        <a:pt x="12832"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9" name="Graphic 2987">
                <a:extLst>
                  <a:ext uri="{FF2B5EF4-FFF2-40B4-BE49-F238E27FC236}">
                    <a16:creationId xmlns:a16="http://schemas.microsoft.com/office/drawing/2014/main" id="{EB539AF9-31F0-B227-A775-70D8F67F61AA}"/>
                  </a:ext>
                </a:extLst>
              </p:cNvPr>
              <p:cNvGrpSpPr/>
              <p:nvPr/>
            </p:nvGrpSpPr>
            <p:grpSpPr>
              <a:xfrm>
                <a:off x="8596470" y="5551981"/>
                <a:ext cx="29405" cy="148974"/>
                <a:chOff x="8596470" y="5551981"/>
                <a:chExt cx="29405" cy="148974"/>
              </a:xfrm>
              <a:grpFill/>
            </p:grpSpPr>
            <p:sp>
              <p:nvSpPr>
                <p:cNvPr id="4445" name="Freeform 5091">
                  <a:extLst>
                    <a:ext uri="{FF2B5EF4-FFF2-40B4-BE49-F238E27FC236}">
                      <a16:creationId xmlns:a16="http://schemas.microsoft.com/office/drawing/2014/main" id="{B9AD4993-F292-DE17-F3AC-120957C68A7A}"/>
                    </a:ext>
                  </a:extLst>
                </p:cNvPr>
                <p:cNvSpPr/>
                <p:nvPr/>
              </p:nvSpPr>
              <p:spPr>
                <a:xfrm>
                  <a:off x="8606208" y="5572286"/>
                  <a:ext cx="3272" cy="52189"/>
                </a:xfrm>
                <a:custGeom>
                  <a:avLst/>
                  <a:gdLst>
                    <a:gd name="connsiteX0" fmla="*/ 2595 w 3272"/>
                    <a:gd name="connsiteY0" fmla="*/ 0 h 52189"/>
                    <a:gd name="connsiteX1" fmla="*/ 229 w 3272"/>
                    <a:gd name="connsiteY1" fmla="*/ 18684 h 52189"/>
                    <a:gd name="connsiteX2" fmla="*/ 3218 w 3272"/>
                    <a:gd name="connsiteY2" fmla="*/ 35873 h 52189"/>
                    <a:gd name="connsiteX3" fmla="*/ 727 w 327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72" h="52189">
                      <a:moveTo>
                        <a:pt x="2595" y="0"/>
                      </a:moveTo>
                      <a:cubicBezTo>
                        <a:pt x="-145" y="7971"/>
                        <a:pt x="-270" y="14324"/>
                        <a:pt x="229" y="18684"/>
                      </a:cubicBezTo>
                      <a:cubicBezTo>
                        <a:pt x="851" y="25659"/>
                        <a:pt x="2844" y="28773"/>
                        <a:pt x="3218" y="35873"/>
                      </a:cubicBezTo>
                      <a:cubicBezTo>
                        <a:pt x="3591" y="42723"/>
                        <a:pt x="1972" y="48453"/>
                        <a:pt x="7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6" name="Freeform 5092">
                  <a:extLst>
                    <a:ext uri="{FF2B5EF4-FFF2-40B4-BE49-F238E27FC236}">
                      <a16:creationId xmlns:a16="http://schemas.microsoft.com/office/drawing/2014/main" id="{0E8A63DC-6753-087B-3B94-B3AEC042C090}"/>
                    </a:ext>
                  </a:extLst>
                </p:cNvPr>
                <p:cNvSpPr/>
                <p:nvPr/>
              </p:nvSpPr>
              <p:spPr>
                <a:xfrm>
                  <a:off x="8613518" y="5567428"/>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4"/>
                        <a:pt x="-231" y="37741"/>
                        <a:pt x="392" y="33506"/>
                      </a:cubicBezTo>
                      <a:cubicBezTo>
                        <a:pt x="1389" y="26531"/>
                        <a:pt x="3506" y="23542"/>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7" name="Freeform 5093">
                  <a:extLst>
                    <a:ext uri="{FF2B5EF4-FFF2-40B4-BE49-F238E27FC236}">
                      <a16:creationId xmlns:a16="http://schemas.microsoft.com/office/drawing/2014/main" id="{5A94514D-EC51-6AF6-6611-E6F8CE7E0BA7}"/>
                    </a:ext>
                  </a:extLst>
                </p:cNvPr>
                <p:cNvSpPr/>
                <p:nvPr/>
              </p:nvSpPr>
              <p:spPr>
                <a:xfrm>
                  <a:off x="8599330" y="5551981"/>
                  <a:ext cx="26546" cy="26534"/>
                </a:xfrm>
                <a:custGeom>
                  <a:avLst/>
                  <a:gdLst>
                    <a:gd name="connsiteX0" fmla="*/ 26538 w 26546"/>
                    <a:gd name="connsiteY0" fmla="*/ 13579 h 26534"/>
                    <a:gd name="connsiteX1" fmla="*/ 12961 w 26546"/>
                    <a:gd name="connsiteY1" fmla="*/ 26533 h 26534"/>
                    <a:gd name="connsiteX2" fmla="*/ 8 w 26546"/>
                    <a:gd name="connsiteY2" fmla="*/ 12956 h 26534"/>
                    <a:gd name="connsiteX3" fmla="*/ 13584 w 26546"/>
                    <a:gd name="connsiteY3" fmla="*/ 2 h 26534"/>
                    <a:gd name="connsiteX4" fmla="*/ 26538 w 26546"/>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34">
                      <a:moveTo>
                        <a:pt x="26538" y="13579"/>
                      </a:moveTo>
                      <a:cubicBezTo>
                        <a:pt x="26289" y="20928"/>
                        <a:pt x="20186" y="26658"/>
                        <a:pt x="12961" y="26533"/>
                      </a:cubicBezTo>
                      <a:cubicBezTo>
                        <a:pt x="5737" y="26408"/>
                        <a:pt x="-242" y="20305"/>
                        <a:pt x="8" y="12956"/>
                      </a:cubicBezTo>
                      <a:cubicBezTo>
                        <a:pt x="256" y="5607"/>
                        <a:pt x="6235" y="-123"/>
                        <a:pt x="13584" y="2"/>
                      </a:cubicBezTo>
                      <a:cubicBezTo>
                        <a:pt x="20933" y="127"/>
                        <a:pt x="26787" y="6355"/>
                        <a:pt x="2653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8" name="Freeform 5094">
                  <a:extLst>
                    <a:ext uri="{FF2B5EF4-FFF2-40B4-BE49-F238E27FC236}">
                      <a16:creationId xmlns:a16="http://schemas.microsoft.com/office/drawing/2014/main" id="{CD45B936-4DBC-1877-6A42-399570E1904F}"/>
                    </a:ext>
                  </a:extLst>
                </p:cNvPr>
                <p:cNvSpPr/>
                <p:nvPr/>
              </p:nvSpPr>
              <p:spPr>
                <a:xfrm>
                  <a:off x="8612734" y="5628462"/>
                  <a:ext cx="3199" cy="52189"/>
                </a:xfrm>
                <a:custGeom>
                  <a:avLst/>
                  <a:gdLst>
                    <a:gd name="connsiteX0" fmla="*/ 678 w 3199"/>
                    <a:gd name="connsiteY0" fmla="*/ 52189 h 52189"/>
                    <a:gd name="connsiteX1" fmla="*/ 3044 w 3199"/>
                    <a:gd name="connsiteY1" fmla="*/ 33506 h 52189"/>
                    <a:gd name="connsiteX2" fmla="*/ 54 w 3199"/>
                    <a:gd name="connsiteY2" fmla="*/ 16317 h 52189"/>
                    <a:gd name="connsiteX3" fmla="*/ 2670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678" y="52189"/>
                      </a:moveTo>
                      <a:cubicBezTo>
                        <a:pt x="3293" y="44218"/>
                        <a:pt x="3418" y="37865"/>
                        <a:pt x="3044" y="33506"/>
                      </a:cubicBezTo>
                      <a:cubicBezTo>
                        <a:pt x="2421" y="26530"/>
                        <a:pt x="428" y="23417"/>
                        <a:pt x="54" y="16317"/>
                      </a:cubicBezTo>
                      <a:cubicBezTo>
                        <a:pt x="-319" y="9466"/>
                        <a:pt x="1300" y="3737"/>
                        <a:pt x="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9" name="Freeform 5095">
                  <a:extLst>
                    <a:ext uri="{FF2B5EF4-FFF2-40B4-BE49-F238E27FC236}">
                      <a16:creationId xmlns:a16="http://schemas.microsoft.com/office/drawing/2014/main" id="{7D9C5051-C1E1-8FCA-2AFB-9F8D5F7687FE}"/>
                    </a:ext>
                  </a:extLst>
                </p:cNvPr>
                <p:cNvSpPr/>
                <p:nvPr/>
              </p:nvSpPr>
              <p:spPr>
                <a:xfrm>
                  <a:off x="8604277" y="5633444"/>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2"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0" name="Freeform 5096">
                  <a:extLst>
                    <a:ext uri="{FF2B5EF4-FFF2-40B4-BE49-F238E27FC236}">
                      <a16:creationId xmlns:a16="http://schemas.microsoft.com/office/drawing/2014/main" id="{92872E12-D646-E37C-B240-903751902DE6}"/>
                    </a:ext>
                  </a:extLst>
                </p:cNvPr>
                <p:cNvSpPr/>
                <p:nvPr/>
              </p:nvSpPr>
              <p:spPr>
                <a:xfrm>
                  <a:off x="8596470" y="5674421"/>
                  <a:ext cx="26291" cy="26534"/>
                </a:xfrm>
                <a:custGeom>
                  <a:avLst/>
                  <a:gdLst>
                    <a:gd name="connsiteX0" fmla="*/ 2 w 26291"/>
                    <a:gd name="connsiteY0" fmla="*/ 12956 h 26534"/>
                    <a:gd name="connsiteX1" fmla="*/ 13454 w 26291"/>
                    <a:gd name="connsiteY1" fmla="*/ 2 h 26534"/>
                    <a:gd name="connsiteX2" fmla="*/ 26284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2"/>
                        <a:pt x="13454" y="2"/>
                      </a:cubicBezTo>
                      <a:cubicBezTo>
                        <a:pt x="20679" y="127"/>
                        <a:pt x="26533" y="6230"/>
                        <a:pt x="26284" y="13579"/>
                      </a:cubicBezTo>
                      <a:cubicBezTo>
                        <a:pt x="26035" y="20928"/>
                        <a:pt x="20056" y="26658"/>
                        <a:pt x="12832" y="26533"/>
                      </a:cubicBezTo>
                      <a:cubicBezTo>
                        <a:pt x="5607" y="26409"/>
                        <a:pt x="-122"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0" name="Graphic 2987">
                <a:extLst>
                  <a:ext uri="{FF2B5EF4-FFF2-40B4-BE49-F238E27FC236}">
                    <a16:creationId xmlns:a16="http://schemas.microsoft.com/office/drawing/2014/main" id="{8419D656-4ED1-6EA2-61BB-B2AB44A6146B}"/>
                  </a:ext>
                </a:extLst>
              </p:cNvPr>
              <p:cNvGrpSpPr/>
              <p:nvPr/>
            </p:nvGrpSpPr>
            <p:grpSpPr>
              <a:xfrm>
                <a:off x="8625866" y="5552604"/>
                <a:ext cx="29778" cy="148975"/>
                <a:chOff x="8625866" y="5552604"/>
                <a:chExt cx="29778" cy="148975"/>
              </a:xfrm>
              <a:grpFill/>
            </p:grpSpPr>
            <p:sp>
              <p:nvSpPr>
                <p:cNvPr id="4439" name="Freeform 5098">
                  <a:extLst>
                    <a:ext uri="{FF2B5EF4-FFF2-40B4-BE49-F238E27FC236}">
                      <a16:creationId xmlns:a16="http://schemas.microsoft.com/office/drawing/2014/main" id="{BE18FF17-E6D4-1CF5-CB50-E39C19A031C1}"/>
                    </a:ext>
                  </a:extLst>
                </p:cNvPr>
                <p:cNvSpPr/>
                <p:nvPr/>
              </p:nvSpPr>
              <p:spPr>
                <a:xfrm>
                  <a:off x="8635928" y="5572909"/>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5" y="7972"/>
                        <a:pt x="-220" y="14324"/>
                        <a:pt x="154" y="18684"/>
                      </a:cubicBezTo>
                      <a:cubicBezTo>
                        <a:pt x="777" y="25659"/>
                        <a:pt x="2769" y="28773"/>
                        <a:pt x="3143" y="35873"/>
                      </a:cubicBezTo>
                      <a:cubicBezTo>
                        <a:pt x="3392" y="42724"/>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0" name="Freeform 5099">
                  <a:extLst>
                    <a:ext uri="{FF2B5EF4-FFF2-40B4-BE49-F238E27FC236}">
                      <a16:creationId xmlns:a16="http://schemas.microsoft.com/office/drawing/2014/main" id="{68EF9102-1923-52B3-1E81-BC681ACB2E32}"/>
                    </a:ext>
                  </a:extLst>
                </p:cNvPr>
                <p:cNvSpPr/>
                <p:nvPr/>
              </p:nvSpPr>
              <p:spPr>
                <a:xfrm>
                  <a:off x="8643163" y="5568051"/>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631" y="23541"/>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1" name="Freeform 5100">
                  <a:extLst>
                    <a:ext uri="{FF2B5EF4-FFF2-40B4-BE49-F238E27FC236}">
                      <a16:creationId xmlns:a16="http://schemas.microsoft.com/office/drawing/2014/main" id="{C8799E21-D8E3-7818-831D-0C90ADF390CE}"/>
                    </a:ext>
                  </a:extLst>
                </p:cNvPr>
                <p:cNvSpPr/>
                <p:nvPr/>
              </p:nvSpPr>
              <p:spPr>
                <a:xfrm>
                  <a:off x="8628974" y="5552604"/>
                  <a:ext cx="26670" cy="26534"/>
                </a:xfrm>
                <a:custGeom>
                  <a:avLst/>
                  <a:gdLst>
                    <a:gd name="connsiteX0" fmla="*/ 26662 w 26670"/>
                    <a:gd name="connsiteY0" fmla="*/ 13579 h 26534"/>
                    <a:gd name="connsiteX1" fmla="*/ 12961 w 26670"/>
                    <a:gd name="connsiteY1" fmla="*/ 26533 h 26534"/>
                    <a:gd name="connsiteX2" fmla="*/ 8 w 26670"/>
                    <a:gd name="connsiteY2" fmla="*/ 12956 h 26534"/>
                    <a:gd name="connsiteX3" fmla="*/ 13709 w 26670"/>
                    <a:gd name="connsiteY3" fmla="*/ 2 h 26534"/>
                    <a:gd name="connsiteX4" fmla="*/ 26662 w 2667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34">
                      <a:moveTo>
                        <a:pt x="26662" y="13579"/>
                      </a:moveTo>
                      <a:cubicBezTo>
                        <a:pt x="26414" y="20928"/>
                        <a:pt x="20311" y="26658"/>
                        <a:pt x="12961" y="26533"/>
                      </a:cubicBezTo>
                      <a:cubicBezTo>
                        <a:pt x="5612" y="26409"/>
                        <a:pt x="-242" y="20305"/>
                        <a:pt x="8" y="12956"/>
                      </a:cubicBezTo>
                      <a:cubicBezTo>
                        <a:pt x="256" y="5607"/>
                        <a:pt x="6360" y="-122"/>
                        <a:pt x="13709" y="2"/>
                      </a:cubicBezTo>
                      <a:cubicBezTo>
                        <a:pt x="21058" y="251"/>
                        <a:pt x="26912" y="6355"/>
                        <a:pt x="2666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2" name="Freeform 5101">
                  <a:extLst>
                    <a:ext uri="{FF2B5EF4-FFF2-40B4-BE49-F238E27FC236}">
                      <a16:creationId xmlns:a16="http://schemas.microsoft.com/office/drawing/2014/main" id="{63D3D2D7-E69D-ADEB-EC3B-7E7520060906}"/>
                    </a:ext>
                  </a:extLst>
                </p:cNvPr>
                <p:cNvSpPr/>
                <p:nvPr/>
              </p:nvSpPr>
              <p:spPr>
                <a:xfrm>
                  <a:off x="8642282" y="562908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5" y="44218"/>
                        <a:pt x="3390" y="37866"/>
                        <a:pt x="3017" y="33506"/>
                      </a:cubicBezTo>
                      <a:cubicBezTo>
                        <a:pt x="2394" y="26531"/>
                        <a:pt x="401" y="23417"/>
                        <a:pt x="27" y="16317"/>
                      </a:cubicBezTo>
                      <a:cubicBezTo>
                        <a:pt x="-222"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3" name="Freeform 5102">
                  <a:extLst>
                    <a:ext uri="{FF2B5EF4-FFF2-40B4-BE49-F238E27FC236}">
                      <a16:creationId xmlns:a16="http://schemas.microsoft.com/office/drawing/2014/main" id="{855F7798-57E9-BD65-53E8-AD9A9FA9AA17}"/>
                    </a:ext>
                  </a:extLst>
                </p:cNvPr>
                <p:cNvSpPr/>
                <p:nvPr/>
              </p:nvSpPr>
              <p:spPr>
                <a:xfrm>
                  <a:off x="8633922" y="5634067"/>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1"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4" name="Freeform 5103">
                  <a:extLst>
                    <a:ext uri="{FF2B5EF4-FFF2-40B4-BE49-F238E27FC236}">
                      <a16:creationId xmlns:a16="http://schemas.microsoft.com/office/drawing/2014/main" id="{5A29A5AE-6087-D520-D2B9-980F226DD273}"/>
                    </a:ext>
                  </a:extLst>
                </p:cNvPr>
                <p:cNvSpPr/>
                <p:nvPr/>
              </p:nvSpPr>
              <p:spPr>
                <a:xfrm>
                  <a:off x="8625866" y="5675044"/>
                  <a:ext cx="26410" cy="26534"/>
                </a:xfrm>
                <a:custGeom>
                  <a:avLst/>
                  <a:gdLst>
                    <a:gd name="connsiteX0" fmla="*/ 2 w 26410"/>
                    <a:gd name="connsiteY0" fmla="*/ 12956 h 26534"/>
                    <a:gd name="connsiteX1" fmla="*/ 13578 w 26410"/>
                    <a:gd name="connsiteY1" fmla="*/ 2 h 26534"/>
                    <a:gd name="connsiteX2" fmla="*/ 26408 w 26410"/>
                    <a:gd name="connsiteY2" fmla="*/ 13579 h 26534"/>
                    <a:gd name="connsiteX3" fmla="*/ 12831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251" y="5607"/>
                        <a:pt x="6230" y="-123"/>
                        <a:pt x="13578" y="2"/>
                      </a:cubicBezTo>
                      <a:cubicBezTo>
                        <a:pt x="20803" y="127"/>
                        <a:pt x="26533" y="6230"/>
                        <a:pt x="26408" y="13579"/>
                      </a:cubicBezTo>
                      <a:cubicBezTo>
                        <a:pt x="26159" y="20928"/>
                        <a:pt x="20180" y="26657"/>
                        <a:pt x="12831" y="26533"/>
                      </a:cubicBezTo>
                      <a:cubicBezTo>
                        <a:pt x="5606"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1" name="Graphic 2987">
                <a:extLst>
                  <a:ext uri="{FF2B5EF4-FFF2-40B4-BE49-F238E27FC236}">
                    <a16:creationId xmlns:a16="http://schemas.microsoft.com/office/drawing/2014/main" id="{F8E352CF-E5A9-14F5-7EC9-99614AEB8746}"/>
                  </a:ext>
                </a:extLst>
              </p:cNvPr>
              <p:cNvGrpSpPr/>
              <p:nvPr/>
            </p:nvGrpSpPr>
            <p:grpSpPr>
              <a:xfrm>
                <a:off x="8655261" y="5553595"/>
                <a:ext cx="30152" cy="148861"/>
                <a:chOff x="8655261" y="5553595"/>
                <a:chExt cx="30152" cy="148861"/>
              </a:xfrm>
              <a:grpFill/>
            </p:grpSpPr>
            <p:sp>
              <p:nvSpPr>
                <p:cNvPr id="4433" name="Freeform 5105">
                  <a:extLst>
                    <a:ext uri="{FF2B5EF4-FFF2-40B4-BE49-F238E27FC236}">
                      <a16:creationId xmlns:a16="http://schemas.microsoft.com/office/drawing/2014/main" id="{7A7737F2-A5A8-0DC8-F36D-FE8BCE1C49D5}"/>
                    </a:ext>
                  </a:extLst>
                </p:cNvPr>
                <p:cNvSpPr/>
                <p:nvPr/>
              </p:nvSpPr>
              <p:spPr>
                <a:xfrm>
                  <a:off x="8665572" y="5573781"/>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7"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4" name="Freeform 5106">
                  <a:extLst>
                    <a:ext uri="{FF2B5EF4-FFF2-40B4-BE49-F238E27FC236}">
                      <a16:creationId xmlns:a16="http://schemas.microsoft.com/office/drawing/2014/main" id="{B30F16E1-A4A0-B679-33AB-A564992D4FF6}"/>
                    </a:ext>
                  </a:extLst>
                </p:cNvPr>
                <p:cNvSpPr/>
                <p:nvPr/>
              </p:nvSpPr>
              <p:spPr>
                <a:xfrm>
                  <a:off x="8672767" y="5568923"/>
                  <a:ext cx="4645" cy="52189"/>
                </a:xfrm>
                <a:custGeom>
                  <a:avLst/>
                  <a:gdLst>
                    <a:gd name="connsiteX0" fmla="*/ 1803 w 4645"/>
                    <a:gd name="connsiteY0" fmla="*/ 52189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89"/>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5" name="Freeform 5107">
                  <a:extLst>
                    <a:ext uri="{FF2B5EF4-FFF2-40B4-BE49-F238E27FC236}">
                      <a16:creationId xmlns:a16="http://schemas.microsoft.com/office/drawing/2014/main" id="{E140F795-6D0D-B6D3-9D36-7D8C514398A3}"/>
                    </a:ext>
                  </a:extLst>
                </p:cNvPr>
                <p:cNvSpPr/>
                <p:nvPr/>
              </p:nvSpPr>
              <p:spPr>
                <a:xfrm>
                  <a:off x="8658749" y="5553595"/>
                  <a:ext cx="26665" cy="26546"/>
                </a:xfrm>
                <a:custGeom>
                  <a:avLst/>
                  <a:gdLst>
                    <a:gd name="connsiteX0" fmla="*/ 26657 w 26665"/>
                    <a:gd name="connsiteY0" fmla="*/ 13709 h 26546"/>
                    <a:gd name="connsiteX1" fmla="*/ 12956 w 26665"/>
                    <a:gd name="connsiteY1" fmla="*/ 26539 h 26546"/>
                    <a:gd name="connsiteX2" fmla="*/ 2 w 26665"/>
                    <a:gd name="connsiteY2" fmla="*/ 12837 h 26546"/>
                    <a:gd name="connsiteX3" fmla="*/ 13704 w 26665"/>
                    <a:gd name="connsiteY3" fmla="*/ 8 h 26546"/>
                    <a:gd name="connsiteX4" fmla="*/ 26657 w 266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57" y="13709"/>
                      </a:moveTo>
                      <a:cubicBezTo>
                        <a:pt x="26409" y="21058"/>
                        <a:pt x="20305" y="26788"/>
                        <a:pt x="12956" y="26539"/>
                      </a:cubicBezTo>
                      <a:cubicBezTo>
                        <a:pt x="5607" y="26289"/>
                        <a:pt x="-122" y="20186"/>
                        <a:pt x="2" y="12837"/>
                      </a:cubicBezTo>
                      <a:cubicBezTo>
                        <a:pt x="251" y="5488"/>
                        <a:pt x="6355" y="-241"/>
                        <a:pt x="13704" y="8"/>
                      </a:cubicBezTo>
                      <a:cubicBezTo>
                        <a:pt x="21052" y="257"/>
                        <a:pt x="26907" y="6360"/>
                        <a:pt x="2665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6" name="Freeform 5108">
                  <a:extLst>
                    <a:ext uri="{FF2B5EF4-FFF2-40B4-BE49-F238E27FC236}">
                      <a16:creationId xmlns:a16="http://schemas.microsoft.com/office/drawing/2014/main" id="{825D65DF-694F-4DCF-5964-479BA0F0E657}"/>
                    </a:ext>
                  </a:extLst>
                </p:cNvPr>
                <p:cNvSpPr/>
                <p:nvPr/>
              </p:nvSpPr>
              <p:spPr>
                <a:xfrm>
                  <a:off x="8671926" y="5630081"/>
                  <a:ext cx="3046" cy="52189"/>
                </a:xfrm>
                <a:custGeom>
                  <a:avLst/>
                  <a:gdLst>
                    <a:gd name="connsiteX0" fmla="*/ 401 w 3046"/>
                    <a:gd name="connsiteY0" fmla="*/ 52190 h 52189"/>
                    <a:gd name="connsiteX1" fmla="*/ 2893 w 3046"/>
                    <a:gd name="connsiteY1" fmla="*/ 33506 h 52189"/>
                    <a:gd name="connsiteX2" fmla="*/ 27 w 3046"/>
                    <a:gd name="connsiteY2" fmla="*/ 16317 h 52189"/>
                    <a:gd name="connsiteX3" fmla="*/ 2643 w 3046"/>
                    <a:gd name="connsiteY3" fmla="*/ 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52190"/>
                      </a:moveTo>
                      <a:cubicBezTo>
                        <a:pt x="3141" y="44218"/>
                        <a:pt x="3266" y="37866"/>
                        <a:pt x="2893" y="33506"/>
                      </a:cubicBezTo>
                      <a:cubicBezTo>
                        <a:pt x="2270" y="26531"/>
                        <a:pt x="277" y="23417"/>
                        <a:pt x="27" y="16317"/>
                      </a:cubicBezTo>
                      <a:cubicBezTo>
                        <a:pt x="-221"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7" name="Freeform 5109">
                  <a:extLst>
                    <a:ext uri="{FF2B5EF4-FFF2-40B4-BE49-F238E27FC236}">
                      <a16:creationId xmlns:a16="http://schemas.microsoft.com/office/drawing/2014/main" id="{82C2E364-9FB0-0144-43FC-AD9370D08A44}"/>
                    </a:ext>
                  </a:extLst>
                </p:cNvPr>
                <p:cNvSpPr/>
                <p:nvPr/>
              </p:nvSpPr>
              <p:spPr>
                <a:xfrm>
                  <a:off x="8663257" y="5634814"/>
                  <a:ext cx="4520" cy="52189"/>
                </a:xfrm>
                <a:custGeom>
                  <a:avLst/>
                  <a:gdLst>
                    <a:gd name="connsiteX0" fmla="*/ 2718 w 4520"/>
                    <a:gd name="connsiteY0" fmla="*/ 0 h 52189"/>
                    <a:gd name="connsiteX1" fmla="*/ 4088 w 4520"/>
                    <a:gd name="connsiteY1" fmla="*/ 18808 h 52189"/>
                    <a:gd name="connsiteX2" fmla="*/ 227 w 4520"/>
                    <a:gd name="connsiteY2" fmla="*/ 35748 h 52189"/>
                    <a:gd name="connsiteX3" fmla="*/ 1846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2718" y="0"/>
                      </a:moveTo>
                      <a:cubicBezTo>
                        <a:pt x="4960" y="8096"/>
                        <a:pt x="4711" y="14449"/>
                        <a:pt x="4088" y="18808"/>
                      </a:cubicBezTo>
                      <a:cubicBezTo>
                        <a:pt x="3092" y="25784"/>
                        <a:pt x="850"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8" name="Freeform 5110">
                  <a:extLst>
                    <a:ext uri="{FF2B5EF4-FFF2-40B4-BE49-F238E27FC236}">
                      <a16:creationId xmlns:a16="http://schemas.microsoft.com/office/drawing/2014/main" id="{BF40D78B-7F55-F3EC-D931-2C6927B87E7C}"/>
                    </a:ext>
                  </a:extLst>
                </p:cNvPr>
                <p:cNvSpPr/>
                <p:nvPr/>
              </p:nvSpPr>
              <p:spPr>
                <a:xfrm>
                  <a:off x="8655261" y="5675911"/>
                  <a:ext cx="26291" cy="26546"/>
                </a:xfrm>
                <a:custGeom>
                  <a:avLst/>
                  <a:gdLst>
                    <a:gd name="connsiteX0" fmla="*/ 2 w 26291"/>
                    <a:gd name="connsiteY0" fmla="*/ 12837 h 26546"/>
                    <a:gd name="connsiteX1" fmla="*/ 13578 w 26291"/>
                    <a:gd name="connsiteY1" fmla="*/ 8 h 26546"/>
                    <a:gd name="connsiteX2" fmla="*/ 26284 w 26291"/>
                    <a:gd name="connsiteY2" fmla="*/ 13709 h 26546"/>
                    <a:gd name="connsiteX3" fmla="*/ 12707 w 26291"/>
                    <a:gd name="connsiteY3" fmla="*/ 26538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230" y="-242"/>
                        <a:pt x="13578" y="8"/>
                      </a:cubicBezTo>
                      <a:cubicBezTo>
                        <a:pt x="20803" y="257"/>
                        <a:pt x="26533" y="6360"/>
                        <a:pt x="26284" y="13709"/>
                      </a:cubicBezTo>
                      <a:cubicBezTo>
                        <a:pt x="26034" y="21058"/>
                        <a:pt x="19931" y="26788"/>
                        <a:pt x="12707" y="26538"/>
                      </a:cubicBezTo>
                      <a:cubicBezTo>
                        <a:pt x="5483" y="26289"/>
                        <a:pt x="-123" y="20061"/>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2" name="Graphic 2987">
                <a:extLst>
                  <a:ext uri="{FF2B5EF4-FFF2-40B4-BE49-F238E27FC236}">
                    <a16:creationId xmlns:a16="http://schemas.microsoft.com/office/drawing/2014/main" id="{9C19E4F0-09E8-27D7-B4B0-EA4AD112256B}"/>
                  </a:ext>
                </a:extLst>
              </p:cNvPr>
              <p:cNvGrpSpPr/>
              <p:nvPr/>
            </p:nvGrpSpPr>
            <p:grpSpPr>
              <a:xfrm>
                <a:off x="8684657" y="5554591"/>
                <a:ext cx="30526" cy="148862"/>
                <a:chOff x="8684657" y="5554591"/>
                <a:chExt cx="30526" cy="148862"/>
              </a:xfrm>
              <a:grpFill/>
            </p:grpSpPr>
            <p:sp>
              <p:nvSpPr>
                <p:cNvPr id="4427" name="Freeform 5112">
                  <a:extLst>
                    <a:ext uri="{FF2B5EF4-FFF2-40B4-BE49-F238E27FC236}">
                      <a16:creationId xmlns:a16="http://schemas.microsoft.com/office/drawing/2014/main" id="{CBD916CC-6421-AA63-4FA1-52E68DEA6213}"/>
                    </a:ext>
                  </a:extLst>
                </p:cNvPr>
                <p:cNvSpPr/>
                <p:nvPr/>
              </p:nvSpPr>
              <p:spPr>
                <a:xfrm>
                  <a:off x="8695235" y="557477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5"/>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8" name="Freeform 5113">
                  <a:extLst>
                    <a:ext uri="{FF2B5EF4-FFF2-40B4-BE49-F238E27FC236}">
                      <a16:creationId xmlns:a16="http://schemas.microsoft.com/office/drawing/2014/main" id="{A56B012B-4002-F3DF-80C2-331E6336619F}"/>
                    </a:ext>
                  </a:extLst>
                </p:cNvPr>
                <p:cNvSpPr/>
                <p:nvPr/>
              </p:nvSpPr>
              <p:spPr>
                <a:xfrm>
                  <a:off x="8702412" y="5570044"/>
                  <a:ext cx="4645" cy="52189"/>
                </a:xfrm>
                <a:custGeom>
                  <a:avLst/>
                  <a:gdLst>
                    <a:gd name="connsiteX0" fmla="*/ 1803 w 4645"/>
                    <a:gd name="connsiteY0" fmla="*/ 52190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9" name="Freeform 5114">
                  <a:extLst>
                    <a:ext uri="{FF2B5EF4-FFF2-40B4-BE49-F238E27FC236}">
                      <a16:creationId xmlns:a16="http://schemas.microsoft.com/office/drawing/2014/main" id="{96D2B9E7-BDD8-B764-A5E6-32F709167E1F}"/>
                    </a:ext>
                  </a:extLst>
                </p:cNvPr>
                <p:cNvSpPr/>
                <p:nvPr/>
              </p:nvSpPr>
              <p:spPr>
                <a:xfrm>
                  <a:off x="8688637" y="5554591"/>
                  <a:ext cx="26546" cy="26546"/>
                </a:xfrm>
                <a:custGeom>
                  <a:avLst/>
                  <a:gdLst>
                    <a:gd name="connsiteX0" fmla="*/ 26539 w 26546"/>
                    <a:gd name="connsiteY0" fmla="*/ 13709 h 26546"/>
                    <a:gd name="connsiteX1" fmla="*/ 12838 w 26546"/>
                    <a:gd name="connsiteY1" fmla="*/ 26539 h 26546"/>
                    <a:gd name="connsiteX2" fmla="*/ 8 w 26546"/>
                    <a:gd name="connsiteY2" fmla="*/ 12837 h 26546"/>
                    <a:gd name="connsiteX3" fmla="*/ 13709 w 26546"/>
                    <a:gd name="connsiteY3" fmla="*/ 8 h 26546"/>
                    <a:gd name="connsiteX4" fmla="*/ 26539 w 2654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3709"/>
                      </a:moveTo>
                      <a:cubicBezTo>
                        <a:pt x="26289" y="21058"/>
                        <a:pt x="20186" y="26788"/>
                        <a:pt x="12838" y="26539"/>
                      </a:cubicBezTo>
                      <a:cubicBezTo>
                        <a:pt x="5488" y="26290"/>
                        <a:pt x="-242" y="20186"/>
                        <a:pt x="8" y="12837"/>
                      </a:cubicBezTo>
                      <a:cubicBezTo>
                        <a:pt x="257" y="5488"/>
                        <a:pt x="6360" y="-241"/>
                        <a:pt x="13709" y="8"/>
                      </a:cubicBezTo>
                      <a:cubicBezTo>
                        <a:pt x="21058" y="257"/>
                        <a:pt x="26788" y="6485"/>
                        <a:pt x="26539"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0" name="Freeform 5115">
                  <a:extLst>
                    <a:ext uri="{FF2B5EF4-FFF2-40B4-BE49-F238E27FC236}">
                      <a16:creationId xmlns:a16="http://schemas.microsoft.com/office/drawing/2014/main" id="{328EE688-D059-BBBF-5EEB-94E41380B53E}"/>
                    </a:ext>
                  </a:extLst>
                </p:cNvPr>
                <p:cNvSpPr/>
                <p:nvPr/>
              </p:nvSpPr>
              <p:spPr>
                <a:xfrm>
                  <a:off x="8701449" y="5631202"/>
                  <a:ext cx="2977" cy="52065"/>
                </a:xfrm>
                <a:custGeom>
                  <a:avLst/>
                  <a:gdLst>
                    <a:gd name="connsiteX0" fmla="*/ 274 w 2977"/>
                    <a:gd name="connsiteY0" fmla="*/ 52065 h 52065"/>
                    <a:gd name="connsiteX1" fmla="*/ 2890 w 2977"/>
                    <a:gd name="connsiteY1" fmla="*/ 33506 h 52065"/>
                    <a:gd name="connsiteX2" fmla="*/ 26 w 2977"/>
                    <a:gd name="connsiteY2" fmla="*/ 16317 h 52065"/>
                    <a:gd name="connsiteX3" fmla="*/ 2766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4" y="52065"/>
                      </a:moveTo>
                      <a:cubicBezTo>
                        <a:pt x="3015" y="44093"/>
                        <a:pt x="3140" y="37741"/>
                        <a:pt x="2890" y="33506"/>
                      </a:cubicBezTo>
                      <a:cubicBezTo>
                        <a:pt x="2392" y="26530"/>
                        <a:pt x="274"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1" name="Freeform 5116">
                  <a:extLst>
                    <a:ext uri="{FF2B5EF4-FFF2-40B4-BE49-F238E27FC236}">
                      <a16:creationId xmlns:a16="http://schemas.microsoft.com/office/drawing/2014/main" id="{FB38FAC9-D40C-1C11-B23F-B23F1DAC42C3}"/>
                    </a:ext>
                  </a:extLst>
                </p:cNvPr>
                <p:cNvSpPr/>
                <p:nvPr/>
              </p:nvSpPr>
              <p:spPr>
                <a:xfrm>
                  <a:off x="8692653" y="5635935"/>
                  <a:ext cx="4644" cy="52189"/>
                </a:xfrm>
                <a:custGeom>
                  <a:avLst/>
                  <a:gdLst>
                    <a:gd name="connsiteX0" fmla="*/ 2842 w 4644"/>
                    <a:gd name="connsiteY0" fmla="*/ 0 h 52189"/>
                    <a:gd name="connsiteX1" fmla="*/ 4212 w 4644"/>
                    <a:gd name="connsiteY1" fmla="*/ 18808 h 52189"/>
                    <a:gd name="connsiteX2" fmla="*/ 227 w 4644"/>
                    <a:gd name="connsiteY2" fmla="*/ 35748 h 52189"/>
                    <a:gd name="connsiteX3" fmla="*/ 1846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0"/>
                      </a:moveTo>
                      <a:cubicBezTo>
                        <a:pt x="5084" y="8097"/>
                        <a:pt x="4835"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2" name="Freeform 5117">
                  <a:extLst>
                    <a:ext uri="{FF2B5EF4-FFF2-40B4-BE49-F238E27FC236}">
                      <a16:creationId xmlns:a16="http://schemas.microsoft.com/office/drawing/2014/main" id="{FF8D1A0C-037A-AD28-88FC-F3BD24D2B789}"/>
                    </a:ext>
                  </a:extLst>
                </p:cNvPr>
                <p:cNvSpPr/>
                <p:nvPr/>
              </p:nvSpPr>
              <p:spPr>
                <a:xfrm>
                  <a:off x="8684657" y="5676907"/>
                  <a:ext cx="26291" cy="26546"/>
                </a:xfrm>
                <a:custGeom>
                  <a:avLst/>
                  <a:gdLst>
                    <a:gd name="connsiteX0" fmla="*/ 2 w 26291"/>
                    <a:gd name="connsiteY0" fmla="*/ 12837 h 26546"/>
                    <a:gd name="connsiteX1" fmla="*/ 13579 w 26291"/>
                    <a:gd name="connsiteY1" fmla="*/ 8 h 26546"/>
                    <a:gd name="connsiteX2" fmla="*/ 26284 w 26291"/>
                    <a:gd name="connsiteY2" fmla="*/ 13709 h 26546"/>
                    <a:gd name="connsiteX3" fmla="*/ 12707 w 26291"/>
                    <a:gd name="connsiteY3" fmla="*/ 26539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355" y="-241"/>
                        <a:pt x="13579" y="8"/>
                      </a:cubicBezTo>
                      <a:cubicBezTo>
                        <a:pt x="20803" y="257"/>
                        <a:pt x="26533" y="6360"/>
                        <a:pt x="26284" y="13709"/>
                      </a:cubicBezTo>
                      <a:cubicBezTo>
                        <a:pt x="26035" y="21058"/>
                        <a:pt x="19932" y="26788"/>
                        <a:pt x="12707" y="26539"/>
                      </a:cubicBezTo>
                      <a:cubicBezTo>
                        <a:pt x="5483" y="26290"/>
                        <a:pt x="-123" y="20186"/>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3" name="Graphic 2987">
                <a:extLst>
                  <a:ext uri="{FF2B5EF4-FFF2-40B4-BE49-F238E27FC236}">
                    <a16:creationId xmlns:a16="http://schemas.microsoft.com/office/drawing/2014/main" id="{24DAAB0F-1ECA-6F6E-BFE3-C3716573329F}"/>
                  </a:ext>
                </a:extLst>
              </p:cNvPr>
              <p:cNvGrpSpPr/>
              <p:nvPr/>
            </p:nvGrpSpPr>
            <p:grpSpPr>
              <a:xfrm>
                <a:off x="8714046" y="5555712"/>
                <a:ext cx="30906" cy="148737"/>
                <a:chOff x="8714046" y="5555712"/>
                <a:chExt cx="30906" cy="148737"/>
              </a:xfrm>
              <a:grpFill/>
            </p:grpSpPr>
            <p:sp>
              <p:nvSpPr>
                <p:cNvPr id="4421" name="Freeform 5119">
                  <a:extLst>
                    <a:ext uri="{FF2B5EF4-FFF2-40B4-BE49-F238E27FC236}">
                      <a16:creationId xmlns:a16="http://schemas.microsoft.com/office/drawing/2014/main" id="{8600CAFC-8793-D1C7-593A-74AB0854B30F}"/>
                    </a:ext>
                  </a:extLst>
                </p:cNvPr>
                <p:cNvSpPr/>
                <p:nvPr/>
              </p:nvSpPr>
              <p:spPr>
                <a:xfrm>
                  <a:off x="8725004" y="5575899"/>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1"/>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2" name="Freeform 5120">
                  <a:extLst>
                    <a:ext uri="{FF2B5EF4-FFF2-40B4-BE49-F238E27FC236}">
                      <a16:creationId xmlns:a16="http://schemas.microsoft.com/office/drawing/2014/main" id="{A1631875-4A92-34A6-36FC-25D7A7D0DBE9}"/>
                    </a:ext>
                  </a:extLst>
                </p:cNvPr>
                <p:cNvSpPr/>
                <p:nvPr/>
              </p:nvSpPr>
              <p:spPr>
                <a:xfrm>
                  <a:off x="8731932" y="5571041"/>
                  <a:ext cx="4645" cy="52189"/>
                </a:xfrm>
                <a:custGeom>
                  <a:avLst/>
                  <a:gdLst>
                    <a:gd name="connsiteX0" fmla="*/ 1803 w 4645"/>
                    <a:gd name="connsiteY0" fmla="*/ 52190 h 52189"/>
                    <a:gd name="connsiteX1" fmla="*/ 433 w 4645"/>
                    <a:gd name="connsiteY1" fmla="*/ 33381 h 52189"/>
                    <a:gd name="connsiteX2" fmla="*/ 4419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4"/>
                        <a:pt x="-190" y="37741"/>
                        <a:pt x="433" y="33381"/>
                      </a:cubicBezTo>
                      <a:cubicBezTo>
                        <a:pt x="1429" y="26406"/>
                        <a:pt x="3671" y="23542"/>
                        <a:pt x="4419"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3" name="Freeform 5121">
                  <a:extLst>
                    <a:ext uri="{FF2B5EF4-FFF2-40B4-BE49-F238E27FC236}">
                      <a16:creationId xmlns:a16="http://schemas.microsoft.com/office/drawing/2014/main" id="{9BEAB57D-C350-D7D4-EC02-491BB9A28C3B}"/>
                    </a:ext>
                  </a:extLst>
                </p:cNvPr>
                <p:cNvSpPr/>
                <p:nvPr/>
              </p:nvSpPr>
              <p:spPr>
                <a:xfrm>
                  <a:off x="8718282" y="5555712"/>
                  <a:ext cx="26671" cy="26546"/>
                </a:xfrm>
                <a:custGeom>
                  <a:avLst/>
                  <a:gdLst>
                    <a:gd name="connsiteX0" fmla="*/ 26663 w 26671"/>
                    <a:gd name="connsiteY0" fmla="*/ 13709 h 26546"/>
                    <a:gd name="connsiteX1" fmla="*/ 12837 w 26671"/>
                    <a:gd name="connsiteY1" fmla="*/ 26539 h 26546"/>
                    <a:gd name="connsiteX2" fmla="*/ 8 w 26671"/>
                    <a:gd name="connsiteY2" fmla="*/ 12837 h 26546"/>
                    <a:gd name="connsiteX3" fmla="*/ 13834 w 26671"/>
                    <a:gd name="connsiteY3" fmla="*/ 8 h 26546"/>
                    <a:gd name="connsiteX4" fmla="*/ 26663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3709"/>
                      </a:moveTo>
                      <a:cubicBezTo>
                        <a:pt x="26414" y="21058"/>
                        <a:pt x="20186" y="26788"/>
                        <a:pt x="12837" y="26539"/>
                      </a:cubicBezTo>
                      <a:cubicBezTo>
                        <a:pt x="5488" y="26290"/>
                        <a:pt x="-242" y="20186"/>
                        <a:pt x="8" y="12837"/>
                      </a:cubicBezTo>
                      <a:cubicBezTo>
                        <a:pt x="257" y="5488"/>
                        <a:pt x="6485"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4" name="Freeform 5122">
                  <a:extLst>
                    <a:ext uri="{FF2B5EF4-FFF2-40B4-BE49-F238E27FC236}">
                      <a16:creationId xmlns:a16="http://schemas.microsoft.com/office/drawing/2014/main" id="{E3144862-F455-9445-EAC3-4A536A59491D}"/>
                    </a:ext>
                  </a:extLst>
                </p:cNvPr>
                <p:cNvSpPr/>
                <p:nvPr/>
              </p:nvSpPr>
              <p:spPr>
                <a:xfrm>
                  <a:off x="8730969" y="5632198"/>
                  <a:ext cx="2902" cy="52065"/>
                </a:xfrm>
                <a:custGeom>
                  <a:avLst/>
                  <a:gdLst>
                    <a:gd name="connsiteX0" fmla="*/ 150 w 2902"/>
                    <a:gd name="connsiteY0" fmla="*/ 52065 h 52065"/>
                    <a:gd name="connsiteX1" fmla="*/ 2766 w 2902"/>
                    <a:gd name="connsiteY1" fmla="*/ 33506 h 52065"/>
                    <a:gd name="connsiteX2" fmla="*/ 26 w 2902"/>
                    <a:gd name="connsiteY2" fmla="*/ 16317 h 52065"/>
                    <a:gd name="connsiteX3" fmla="*/ 276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150" y="52065"/>
                      </a:moveTo>
                      <a:cubicBezTo>
                        <a:pt x="2890" y="44094"/>
                        <a:pt x="3140"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5" name="Freeform 5123">
                  <a:extLst>
                    <a:ext uri="{FF2B5EF4-FFF2-40B4-BE49-F238E27FC236}">
                      <a16:creationId xmlns:a16="http://schemas.microsoft.com/office/drawing/2014/main" id="{DC15338E-4280-A882-028B-823C8FBC4AC2}"/>
                    </a:ext>
                  </a:extLst>
                </p:cNvPr>
                <p:cNvSpPr/>
                <p:nvPr/>
              </p:nvSpPr>
              <p:spPr>
                <a:xfrm>
                  <a:off x="8722298" y="563693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6"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6" name="Freeform 5124">
                  <a:extLst>
                    <a:ext uri="{FF2B5EF4-FFF2-40B4-BE49-F238E27FC236}">
                      <a16:creationId xmlns:a16="http://schemas.microsoft.com/office/drawing/2014/main" id="{2426DEDF-146E-B860-2F70-9C61FB0C0938}"/>
                    </a:ext>
                  </a:extLst>
                </p:cNvPr>
                <p:cNvSpPr/>
                <p:nvPr/>
              </p:nvSpPr>
              <p:spPr>
                <a:xfrm>
                  <a:off x="8714046" y="5677903"/>
                  <a:ext cx="26297" cy="26546"/>
                </a:xfrm>
                <a:custGeom>
                  <a:avLst/>
                  <a:gdLst>
                    <a:gd name="connsiteX0" fmla="*/ 8 w 26297"/>
                    <a:gd name="connsiteY0" fmla="*/ 12837 h 26546"/>
                    <a:gd name="connsiteX1" fmla="*/ 13585 w 26297"/>
                    <a:gd name="connsiteY1" fmla="*/ 8 h 26546"/>
                    <a:gd name="connsiteX2" fmla="*/ 26290 w 26297"/>
                    <a:gd name="connsiteY2" fmla="*/ 13709 h 26546"/>
                    <a:gd name="connsiteX3" fmla="*/ 12713 w 26297"/>
                    <a:gd name="connsiteY3" fmla="*/ 26538 h 26546"/>
                    <a:gd name="connsiteX4" fmla="*/ 8 w 26297"/>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2837"/>
                      </a:moveTo>
                      <a:cubicBezTo>
                        <a:pt x="257" y="5488"/>
                        <a:pt x="6360" y="-242"/>
                        <a:pt x="13585" y="8"/>
                      </a:cubicBezTo>
                      <a:cubicBezTo>
                        <a:pt x="20809" y="257"/>
                        <a:pt x="26539" y="6360"/>
                        <a:pt x="26290" y="13709"/>
                      </a:cubicBezTo>
                      <a:cubicBezTo>
                        <a:pt x="26041" y="21058"/>
                        <a:pt x="19937" y="26788"/>
                        <a:pt x="12713" y="26538"/>
                      </a:cubicBezTo>
                      <a:cubicBezTo>
                        <a:pt x="5488" y="26289"/>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4" name="Graphic 2987">
                <a:extLst>
                  <a:ext uri="{FF2B5EF4-FFF2-40B4-BE49-F238E27FC236}">
                    <a16:creationId xmlns:a16="http://schemas.microsoft.com/office/drawing/2014/main" id="{1EE0CDCD-57B4-B6D8-5821-BB39ADB66FFB}"/>
                  </a:ext>
                </a:extLst>
              </p:cNvPr>
              <p:cNvGrpSpPr/>
              <p:nvPr/>
            </p:nvGrpSpPr>
            <p:grpSpPr>
              <a:xfrm>
                <a:off x="8743442" y="5556709"/>
                <a:ext cx="31279" cy="148861"/>
                <a:chOff x="8743442" y="5556709"/>
                <a:chExt cx="31279" cy="148861"/>
              </a:xfrm>
              <a:grpFill/>
            </p:grpSpPr>
            <p:sp>
              <p:nvSpPr>
                <p:cNvPr id="4415" name="Freeform 5126">
                  <a:extLst>
                    <a:ext uri="{FF2B5EF4-FFF2-40B4-BE49-F238E27FC236}">
                      <a16:creationId xmlns:a16="http://schemas.microsoft.com/office/drawing/2014/main" id="{908A2C8B-FAAA-05A8-369C-7C286DF43364}"/>
                    </a:ext>
                  </a:extLst>
                </p:cNvPr>
                <p:cNvSpPr/>
                <p:nvPr/>
              </p:nvSpPr>
              <p:spPr>
                <a:xfrm>
                  <a:off x="8754586" y="5576895"/>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4" y="14324"/>
                        <a:pt x="74" y="18559"/>
                      </a:cubicBezTo>
                      <a:cubicBezTo>
                        <a:pt x="573" y="25534"/>
                        <a:pt x="2566" y="28648"/>
                        <a:pt x="2815" y="35748"/>
                      </a:cubicBezTo>
                      <a:cubicBezTo>
                        <a:pt x="3064" y="42599"/>
                        <a:pt x="1444"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6" name="Freeform 5127">
                  <a:extLst>
                    <a:ext uri="{FF2B5EF4-FFF2-40B4-BE49-F238E27FC236}">
                      <a16:creationId xmlns:a16="http://schemas.microsoft.com/office/drawing/2014/main" id="{E2E63973-3288-72B6-C21B-9662762C2EA9}"/>
                    </a:ext>
                  </a:extLst>
                </p:cNvPr>
                <p:cNvSpPr/>
                <p:nvPr/>
              </p:nvSpPr>
              <p:spPr>
                <a:xfrm>
                  <a:off x="8761693" y="5572037"/>
                  <a:ext cx="4792" cy="52189"/>
                </a:xfrm>
                <a:custGeom>
                  <a:avLst/>
                  <a:gdLst>
                    <a:gd name="connsiteX0" fmla="*/ 1686 w 4792"/>
                    <a:gd name="connsiteY0" fmla="*/ 52189 h 52189"/>
                    <a:gd name="connsiteX1" fmla="*/ 441 w 4792"/>
                    <a:gd name="connsiteY1" fmla="*/ 33381 h 52189"/>
                    <a:gd name="connsiteX2" fmla="*/ 4551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89"/>
                      </a:moveTo>
                      <a:cubicBezTo>
                        <a:pt x="-431" y="44093"/>
                        <a:pt x="-183" y="37741"/>
                        <a:pt x="441" y="33381"/>
                      </a:cubicBezTo>
                      <a:cubicBezTo>
                        <a:pt x="1437" y="26406"/>
                        <a:pt x="3679" y="23541"/>
                        <a:pt x="4551"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7" name="Freeform 5128">
                  <a:extLst>
                    <a:ext uri="{FF2B5EF4-FFF2-40B4-BE49-F238E27FC236}">
                      <a16:creationId xmlns:a16="http://schemas.microsoft.com/office/drawing/2014/main" id="{96DF41D6-F3E7-A084-C8AF-830DCFD3EB38}"/>
                    </a:ext>
                  </a:extLst>
                </p:cNvPr>
                <p:cNvSpPr/>
                <p:nvPr/>
              </p:nvSpPr>
              <p:spPr>
                <a:xfrm>
                  <a:off x="8748051" y="5556709"/>
                  <a:ext cx="26670" cy="26546"/>
                </a:xfrm>
                <a:custGeom>
                  <a:avLst/>
                  <a:gdLst>
                    <a:gd name="connsiteX0" fmla="*/ 26663 w 26670"/>
                    <a:gd name="connsiteY0" fmla="*/ 13709 h 26546"/>
                    <a:gd name="connsiteX1" fmla="*/ 12837 w 26670"/>
                    <a:gd name="connsiteY1" fmla="*/ 26539 h 26546"/>
                    <a:gd name="connsiteX2" fmla="*/ 8 w 26670"/>
                    <a:gd name="connsiteY2" fmla="*/ 12837 h 26546"/>
                    <a:gd name="connsiteX3" fmla="*/ 13834 w 26670"/>
                    <a:gd name="connsiteY3" fmla="*/ 8 h 26546"/>
                    <a:gd name="connsiteX4" fmla="*/ 26663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3709"/>
                      </a:moveTo>
                      <a:cubicBezTo>
                        <a:pt x="26414" y="21058"/>
                        <a:pt x="20186" y="26788"/>
                        <a:pt x="12837" y="26539"/>
                      </a:cubicBezTo>
                      <a:cubicBezTo>
                        <a:pt x="5488" y="26289"/>
                        <a:pt x="-242" y="20186"/>
                        <a:pt x="8" y="12837"/>
                      </a:cubicBezTo>
                      <a:cubicBezTo>
                        <a:pt x="256" y="5488"/>
                        <a:pt x="6484"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8" name="Freeform 5129">
                  <a:extLst>
                    <a:ext uri="{FF2B5EF4-FFF2-40B4-BE49-F238E27FC236}">
                      <a16:creationId xmlns:a16="http://schemas.microsoft.com/office/drawing/2014/main" id="{9A5FB355-B953-D3E4-A7DF-5410C1AB048C}"/>
                    </a:ext>
                  </a:extLst>
                </p:cNvPr>
                <p:cNvSpPr/>
                <p:nvPr/>
              </p:nvSpPr>
              <p:spPr>
                <a:xfrm>
                  <a:off x="8760489" y="5633319"/>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4"/>
                        <a:pt x="3015"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9" name="Freeform 5130">
                  <a:extLst>
                    <a:ext uri="{FF2B5EF4-FFF2-40B4-BE49-F238E27FC236}">
                      <a16:creationId xmlns:a16="http://schemas.microsoft.com/office/drawing/2014/main" id="{1836B246-0EA7-1665-AB57-EDD856EA2BB6}"/>
                    </a:ext>
                  </a:extLst>
                </p:cNvPr>
                <p:cNvSpPr/>
                <p:nvPr/>
              </p:nvSpPr>
              <p:spPr>
                <a:xfrm>
                  <a:off x="8751678" y="5638053"/>
                  <a:ext cx="4668" cy="52189"/>
                </a:xfrm>
                <a:custGeom>
                  <a:avLst/>
                  <a:gdLst>
                    <a:gd name="connsiteX0" fmla="*/ 2982 w 4668"/>
                    <a:gd name="connsiteY0" fmla="*/ 0 h 52189"/>
                    <a:gd name="connsiteX1" fmla="*/ 4228 w 4668"/>
                    <a:gd name="connsiteY1" fmla="*/ 18808 h 52189"/>
                    <a:gd name="connsiteX2" fmla="*/ 242 w 4668"/>
                    <a:gd name="connsiteY2" fmla="*/ 35748 h 52189"/>
                    <a:gd name="connsiteX3" fmla="*/ 1737 w 466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68" h="52189">
                      <a:moveTo>
                        <a:pt x="2982" y="0"/>
                      </a:moveTo>
                      <a:cubicBezTo>
                        <a:pt x="5100" y="8096"/>
                        <a:pt x="4851" y="14449"/>
                        <a:pt x="4228" y="18808"/>
                      </a:cubicBezTo>
                      <a:cubicBezTo>
                        <a:pt x="3231" y="25784"/>
                        <a:pt x="989" y="28648"/>
                        <a:pt x="242" y="35748"/>
                      </a:cubicBezTo>
                      <a:cubicBezTo>
                        <a:pt x="-505" y="42599"/>
                        <a:pt x="615"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0" name="Freeform 5131">
                  <a:extLst>
                    <a:ext uri="{FF2B5EF4-FFF2-40B4-BE49-F238E27FC236}">
                      <a16:creationId xmlns:a16="http://schemas.microsoft.com/office/drawing/2014/main" id="{43623F18-F2EC-8BFE-CE59-C8095BE2AFB0}"/>
                    </a:ext>
                  </a:extLst>
                </p:cNvPr>
                <p:cNvSpPr/>
                <p:nvPr/>
              </p:nvSpPr>
              <p:spPr>
                <a:xfrm>
                  <a:off x="8743442" y="5679024"/>
                  <a:ext cx="26422" cy="26546"/>
                </a:xfrm>
                <a:custGeom>
                  <a:avLst/>
                  <a:gdLst>
                    <a:gd name="connsiteX0" fmla="*/ 8 w 26422"/>
                    <a:gd name="connsiteY0" fmla="*/ 12837 h 26546"/>
                    <a:gd name="connsiteX1" fmla="*/ 13709 w 26422"/>
                    <a:gd name="connsiteY1" fmla="*/ 8 h 26546"/>
                    <a:gd name="connsiteX2" fmla="*/ 26414 w 26422"/>
                    <a:gd name="connsiteY2" fmla="*/ 13709 h 26546"/>
                    <a:gd name="connsiteX3" fmla="*/ 12712 w 26422"/>
                    <a:gd name="connsiteY3" fmla="*/ 26538 h 26546"/>
                    <a:gd name="connsiteX4" fmla="*/ 8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2837"/>
                      </a:moveTo>
                      <a:cubicBezTo>
                        <a:pt x="257" y="5488"/>
                        <a:pt x="6360" y="-242"/>
                        <a:pt x="13709" y="8"/>
                      </a:cubicBezTo>
                      <a:cubicBezTo>
                        <a:pt x="21058" y="257"/>
                        <a:pt x="26663" y="6360"/>
                        <a:pt x="26414" y="13709"/>
                      </a:cubicBezTo>
                      <a:cubicBezTo>
                        <a:pt x="26165" y="21058"/>
                        <a:pt x="20062" y="26788"/>
                        <a:pt x="12712" y="26538"/>
                      </a:cubicBezTo>
                      <a:cubicBezTo>
                        <a:pt x="5364" y="26289"/>
                        <a:pt x="-241" y="20061"/>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5" name="Graphic 2987">
                <a:extLst>
                  <a:ext uri="{FF2B5EF4-FFF2-40B4-BE49-F238E27FC236}">
                    <a16:creationId xmlns:a16="http://schemas.microsoft.com/office/drawing/2014/main" id="{5B493547-0F53-7E39-5AD1-38C7B7E6E37E}"/>
                  </a:ext>
                </a:extLst>
              </p:cNvPr>
              <p:cNvGrpSpPr/>
              <p:nvPr/>
            </p:nvGrpSpPr>
            <p:grpSpPr>
              <a:xfrm>
                <a:off x="8772838" y="5557830"/>
                <a:ext cx="31538" cy="148737"/>
                <a:chOff x="8772838" y="5557830"/>
                <a:chExt cx="31538" cy="148737"/>
              </a:xfrm>
              <a:grpFill/>
            </p:grpSpPr>
            <p:sp>
              <p:nvSpPr>
                <p:cNvPr id="4409" name="Freeform 5133">
                  <a:extLst>
                    <a:ext uri="{FF2B5EF4-FFF2-40B4-BE49-F238E27FC236}">
                      <a16:creationId xmlns:a16="http://schemas.microsoft.com/office/drawing/2014/main" id="{B4B71C4E-F3FD-4910-E507-EB6C7EA4315C}"/>
                    </a:ext>
                  </a:extLst>
                </p:cNvPr>
                <p:cNvSpPr/>
                <p:nvPr/>
              </p:nvSpPr>
              <p:spPr>
                <a:xfrm>
                  <a:off x="8784305" y="5578016"/>
                  <a:ext cx="2890" cy="52065"/>
                </a:xfrm>
                <a:custGeom>
                  <a:avLst/>
                  <a:gdLst>
                    <a:gd name="connsiteX0" fmla="*/ 2865 w 2890"/>
                    <a:gd name="connsiteY0" fmla="*/ 0 h 52065"/>
                    <a:gd name="connsiteX1" fmla="*/ 125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0" y="7972"/>
                        <a:pt x="-125" y="14324"/>
                        <a:pt x="125" y="18559"/>
                      </a:cubicBezTo>
                      <a:cubicBezTo>
                        <a:pt x="623" y="25535"/>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0" name="Freeform 5134">
                  <a:extLst>
                    <a:ext uri="{FF2B5EF4-FFF2-40B4-BE49-F238E27FC236}">
                      <a16:creationId xmlns:a16="http://schemas.microsoft.com/office/drawing/2014/main" id="{BB37F758-AA82-7B4F-C0BA-E238AB127ED5}"/>
                    </a:ext>
                  </a:extLst>
                </p:cNvPr>
                <p:cNvSpPr/>
                <p:nvPr/>
              </p:nvSpPr>
              <p:spPr>
                <a:xfrm>
                  <a:off x="8791214" y="5573158"/>
                  <a:ext cx="4792" cy="52189"/>
                </a:xfrm>
                <a:custGeom>
                  <a:avLst/>
                  <a:gdLst>
                    <a:gd name="connsiteX0" fmla="*/ 1686 w 4792"/>
                    <a:gd name="connsiteY0" fmla="*/ 52190 h 52189"/>
                    <a:gd name="connsiteX1" fmla="*/ 440 w 4792"/>
                    <a:gd name="connsiteY1" fmla="*/ 33381 h 52189"/>
                    <a:gd name="connsiteX2" fmla="*/ 4550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561" y="26406"/>
                        <a:pt x="3803" y="23541"/>
                        <a:pt x="4550"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1" name="Freeform 5135">
                  <a:extLst>
                    <a:ext uri="{FF2B5EF4-FFF2-40B4-BE49-F238E27FC236}">
                      <a16:creationId xmlns:a16="http://schemas.microsoft.com/office/drawing/2014/main" id="{89A81037-A494-D966-77C4-C44DC1F42581}"/>
                    </a:ext>
                  </a:extLst>
                </p:cNvPr>
                <p:cNvSpPr/>
                <p:nvPr/>
              </p:nvSpPr>
              <p:spPr>
                <a:xfrm>
                  <a:off x="8777811" y="5557830"/>
                  <a:ext cx="26565" cy="26546"/>
                </a:xfrm>
                <a:custGeom>
                  <a:avLst/>
                  <a:gdLst>
                    <a:gd name="connsiteX0" fmla="*/ 26548 w 26565"/>
                    <a:gd name="connsiteY0" fmla="*/ 13709 h 26546"/>
                    <a:gd name="connsiteX1" fmla="*/ 12722 w 26565"/>
                    <a:gd name="connsiteY1" fmla="*/ 26539 h 26546"/>
                    <a:gd name="connsiteX2" fmla="*/ 17 w 26565"/>
                    <a:gd name="connsiteY2" fmla="*/ 12837 h 26546"/>
                    <a:gd name="connsiteX3" fmla="*/ 13844 w 26565"/>
                    <a:gd name="connsiteY3" fmla="*/ 8 h 26546"/>
                    <a:gd name="connsiteX4" fmla="*/ 26548 w 265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45">
                      <a:moveTo>
                        <a:pt x="26548" y="13709"/>
                      </a:moveTo>
                      <a:cubicBezTo>
                        <a:pt x="26175" y="21058"/>
                        <a:pt x="20072" y="26788"/>
                        <a:pt x="12722" y="26539"/>
                      </a:cubicBezTo>
                      <a:cubicBezTo>
                        <a:pt x="5374" y="26289"/>
                        <a:pt x="-356" y="20186"/>
                        <a:pt x="17" y="12837"/>
                      </a:cubicBezTo>
                      <a:cubicBezTo>
                        <a:pt x="267" y="5488"/>
                        <a:pt x="6494" y="-241"/>
                        <a:pt x="13844" y="8"/>
                      </a:cubicBezTo>
                      <a:cubicBezTo>
                        <a:pt x="21192" y="257"/>
                        <a:pt x="26922" y="6360"/>
                        <a:pt x="2654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2" name="Freeform 5136">
                  <a:extLst>
                    <a:ext uri="{FF2B5EF4-FFF2-40B4-BE49-F238E27FC236}">
                      <a16:creationId xmlns:a16="http://schemas.microsoft.com/office/drawing/2014/main" id="{09093D11-539F-2B03-ED54-B7BCAF822FA9}"/>
                    </a:ext>
                  </a:extLst>
                </p:cNvPr>
                <p:cNvSpPr/>
                <p:nvPr/>
              </p:nvSpPr>
              <p:spPr>
                <a:xfrm>
                  <a:off x="8789885" y="5634316"/>
                  <a:ext cx="2890" cy="52065"/>
                </a:xfrm>
                <a:custGeom>
                  <a:avLst/>
                  <a:gdLst>
                    <a:gd name="connsiteX0" fmla="*/ 26 w 2890"/>
                    <a:gd name="connsiteY0" fmla="*/ 52065 h 52065"/>
                    <a:gd name="connsiteX1" fmla="*/ 2765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765" y="44093"/>
                        <a:pt x="3015" y="37741"/>
                        <a:pt x="2765" y="33506"/>
                      </a:cubicBezTo>
                      <a:cubicBezTo>
                        <a:pt x="2268" y="26530"/>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3" name="Freeform 5137">
                  <a:extLst>
                    <a:ext uri="{FF2B5EF4-FFF2-40B4-BE49-F238E27FC236}">
                      <a16:creationId xmlns:a16="http://schemas.microsoft.com/office/drawing/2014/main" id="{B03EA861-D927-A523-8ED0-AF6F6DDD48E3}"/>
                    </a:ext>
                  </a:extLst>
                </p:cNvPr>
                <p:cNvSpPr/>
                <p:nvPr/>
              </p:nvSpPr>
              <p:spPr>
                <a:xfrm>
                  <a:off x="8781074" y="5639049"/>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5" y="8097"/>
                        <a:pt x="4975" y="14449"/>
                        <a:pt x="4353" y="18808"/>
                      </a:cubicBezTo>
                      <a:cubicBezTo>
                        <a:pt x="3231" y="25784"/>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4" name="Freeform 5138">
                  <a:extLst>
                    <a:ext uri="{FF2B5EF4-FFF2-40B4-BE49-F238E27FC236}">
                      <a16:creationId xmlns:a16="http://schemas.microsoft.com/office/drawing/2014/main" id="{6E618F1A-FD82-0CAB-B884-E36CF3520D45}"/>
                    </a:ext>
                  </a:extLst>
                </p:cNvPr>
                <p:cNvSpPr/>
                <p:nvPr/>
              </p:nvSpPr>
              <p:spPr>
                <a:xfrm>
                  <a:off x="8772838" y="5680021"/>
                  <a:ext cx="26306" cy="26546"/>
                </a:xfrm>
                <a:custGeom>
                  <a:avLst/>
                  <a:gdLst>
                    <a:gd name="connsiteX0" fmla="*/ 8 w 26306"/>
                    <a:gd name="connsiteY0" fmla="*/ 12837 h 26546"/>
                    <a:gd name="connsiteX1" fmla="*/ 13709 w 26306"/>
                    <a:gd name="connsiteY1" fmla="*/ 8 h 26546"/>
                    <a:gd name="connsiteX2" fmla="*/ 26289 w 26306"/>
                    <a:gd name="connsiteY2" fmla="*/ 13709 h 26546"/>
                    <a:gd name="connsiteX3" fmla="*/ 12588 w 26306"/>
                    <a:gd name="connsiteY3" fmla="*/ 26539 h 26546"/>
                    <a:gd name="connsiteX4" fmla="*/ 8 w 2630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8" y="12837"/>
                      </a:moveTo>
                      <a:cubicBezTo>
                        <a:pt x="257" y="5488"/>
                        <a:pt x="6485" y="-241"/>
                        <a:pt x="13709" y="8"/>
                      </a:cubicBezTo>
                      <a:cubicBezTo>
                        <a:pt x="20934" y="257"/>
                        <a:pt x="26664" y="6360"/>
                        <a:pt x="26289" y="13709"/>
                      </a:cubicBezTo>
                      <a:cubicBezTo>
                        <a:pt x="25916" y="21058"/>
                        <a:pt x="19812" y="26788"/>
                        <a:pt x="12588"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6" name="Graphic 2987">
                <a:extLst>
                  <a:ext uri="{FF2B5EF4-FFF2-40B4-BE49-F238E27FC236}">
                    <a16:creationId xmlns:a16="http://schemas.microsoft.com/office/drawing/2014/main" id="{91CA2166-D82E-D059-D814-D2152E4DB102}"/>
                  </a:ext>
                </a:extLst>
              </p:cNvPr>
              <p:cNvGrpSpPr/>
              <p:nvPr/>
            </p:nvGrpSpPr>
            <p:grpSpPr>
              <a:xfrm>
                <a:off x="8802233" y="5558941"/>
                <a:ext cx="31912" cy="148881"/>
                <a:chOff x="8802233" y="5558941"/>
                <a:chExt cx="31912" cy="148881"/>
              </a:xfrm>
              <a:grpFill/>
            </p:grpSpPr>
            <p:sp>
              <p:nvSpPr>
                <p:cNvPr id="4403" name="Freeform 5140">
                  <a:extLst>
                    <a:ext uri="{FF2B5EF4-FFF2-40B4-BE49-F238E27FC236}">
                      <a16:creationId xmlns:a16="http://schemas.microsoft.com/office/drawing/2014/main" id="{ABAC211A-6806-A882-8425-5012CE1E4C18}"/>
                    </a:ext>
                  </a:extLst>
                </p:cNvPr>
                <p:cNvSpPr/>
                <p:nvPr/>
              </p:nvSpPr>
              <p:spPr>
                <a:xfrm>
                  <a:off x="8813825" y="5579137"/>
                  <a:ext cx="2989" cy="51940"/>
                </a:xfrm>
                <a:custGeom>
                  <a:avLst/>
                  <a:gdLst>
                    <a:gd name="connsiteX0" fmla="*/ 2989 w 2989"/>
                    <a:gd name="connsiteY0" fmla="*/ 0 h 51940"/>
                    <a:gd name="connsiteX1" fmla="*/ 249 w 2989"/>
                    <a:gd name="connsiteY1" fmla="*/ 18559 h 51940"/>
                    <a:gd name="connsiteX2" fmla="*/ 2865 w 2989"/>
                    <a:gd name="connsiteY2" fmla="*/ 35748 h 51940"/>
                    <a:gd name="connsiteX3" fmla="*/ 0 w 298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0"/>
                      </a:moveTo>
                      <a:cubicBezTo>
                        <a:pt x="125" y="7972"/>
                        <a:pt x="-125" y="14200"/>
                        <a:pt x="249" y="18559"/>
                      </a:cubicBezTo>
                      <a:cubicBezTo>
                        <a:pt x="747" y="25535"/>
                        <a:pt x="2741" y="28648"/>
                        <a:pt x="2865" y="35748"/>
                      </a:cubicBezTo>
                      <a:cubicBezTo>
                        <a:pt x="3114"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4" name="Freeform 5141">
                  <a:extLst>
                    <a:ext uri="{FF2B5EF4-FFF2-40B4-BE49-F238E27FC236}">
                      <a16:creationId xmlns:a16="http://schemas.microsoft.com/office/drawing/2014/main" id="{1520F97D-4FA8-9AC0-1B43-8192F350E985}"/>
                    </a:ext>
                  </a:extLst>
                </p:cNvPr>
                <p:cNvSpPr/>
                <p:nvPr/>
              </p:nvSpPr>
              <p:spPr>
                <a:xfrm>
                  <a:off x="8820884" y="5574404"/>
                  <a:ext cx="5016" cy="52189"/>
                </a:xfrm>
                <a:custGeom>
                  <a:avLst/>
                  <a:gdLst>
                    <a:gd name="connsiteX0" fmla="*/ 1661 w 5016"/>
                    <a:gd name="connsiteY0" fmla="*/ 52190 h 52189"/>
                    <a:gd name="connsiteX1" fmla="*/ 539 w 5016"/>
                    <a:gd name="connsiteY1" fmla="*/ 33382 h 52189"/>
                    <a:gd name="connsiteX2" fmla="*/ 4775 w 5016"/>
                    <a:gd name="connsiteY2" fmla="*/ 16442 h 52189"/>
                    <a:gd name="connsiteX3" fmla="*/ 3280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61" y="52190"/>
                      </a:moveTo>
                      <a:cubicBezTo>
                        <a:pt x="-457" y="44094"/>
                        <a:pt x="-208" y="37741"/>
                        <a:pt x="539" y="33382"/>
                      </a:cubicBezTo>
                      <a:cubicBezTo>
                        <a:pt x="1661" y="26407"/>
                        <a:pt x="3903" y="23542"/>
                        <a:pt x="4775" y="16442"/>
                      </a:cubicBezTo>
                      <a:cubicBezTo>
                        <a:pt x="5522" y="9591"/>
                        <a:pt x="4401" y="3737"/>
                        <a:pt x="32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5" name="Freeform 5142">
                  <a:extLst>
                    <a:ext uri="{FF2B5EF4-FFF2-40B4-BE49-F238E27FC236}">
                      <a16:creationId xmlns:a16="http://schemas.microsoft.com/office/drawing/2014/main" id="{6030E643-3023-F5CD-CB14-B2E4442566E6}"/>
                    </a:ext>
                  </a:extLst>
                </p:cNvPr>
                <p:cNvSpPr/>
                <p:nvPr/>
              </p:nvSpPr>
              <p:spPr>
                <a:xfrm>
                  <a:off x="8807580" y="5558941"/>
                  <a:ext cx="26565" cy="26566"/>
                </a:xfrm>
                <a:custGeom>
                  <a:avLst/>
                  <a:gdLst>
                    <a:gd name="connsiteX0" fmla="*/ 26548 w 26565"/>
                    <a:gd name="connsiteY0" fmla="*/ 13968 h 26566"/>
                    <a:gd name="connsiteX1" fmla="*/ 12722 w 26565"/>
                    <a:gd name="connsiteY1" fmla="*/ 26548 h 26566"/>
                    <a:gd name="connsiteX2" fmla="*/ 17 w 26565"/>
                    <a:gd name="connsiteY2" fmla="*/ 12598 h 26566"/>
                    <a:gd name="connsiteX3" fmla="*/ 13843 w 26565"/>
                    <a:gd name="connsiteY3" fmla="*/ 18 h 26566"/>
                    <a:gd name="connsiteX4" fmla="*/ 26548 w 26565"/>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66">
                      <a:moveTo>
                        <a:pt x="26548" y="13968"/>
                      </a:moveTo>
                      <a:cubicBezTo>
                        <a:pt x="26175" y="21317"/>
                        <a:pt x="19947" y="26922"/>
                        <a:pt x="12722" y="26548"/>
                      </a:cubicBezTo>
                      <a:cubicBezTo>
                        <a:pt x="5373" y="26175"/>
                        <a:pt x="-356" y="19947"/>
                        <a:pt x="17" y="12598"/>
                      </a:cubicBezTo>
                      <a:cubicBezTo>
                        <a:pt x="267" y="5249"/>
                        <a:pt x="6494" y="-356"/>
                        <a:pt x="13843" y="18"/>
                      </a:cubicBezTo>
                      <a:cubicBezTo>
                        <a:pt x="21192" y="516"/>
                        <a:pt x="26922" y="6744"/>
                        <a:pt x="2654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6" name="Freeform 5143">
                  <a:extLst>
                    <a:ext uri="{FF2B5EF4-FFF2-40B4-BE49-F238E27FC236}">
                      <a16:creationId xmlns:a16="http://schemas.microsoft.com/office/drawing/2014/main" id="{C8663BC4-D507-BE1C-81E6-AE5545331FDB}"/>
                    </a:ext>
                  </a:extLst>
                </p:cNvPr>
                <p:cNvSpPr/>
                <p:nvPr/>
              </p:nvSpPr>
              <p:spPr>
                <a:xfrm>
                  <a:off x="8819306" y="5635686"/>
                  <a:ext cx="2989" cy="51940"/>
                </a:xfrm>
                <a:custGeom>
                  <a:avLst/>
                  <a:gdLst>
                    <a:gd name="connsiteX0" fmla="*/ 0 w 2989"/>
                    <a:gd name="connsiteY0" fmla="*/ 51941 h 51940"/>
                    <a:gd name="connsiteX1" fmla="*/ 2741 w 2989"/>
                    <a:gd name="connsiteY1" fmla="*/ 33381 h 51940"/>
                    <a:gd name="connsiteX2" fmla="*/ 125 w 2989"/>
                    <a:gd name="connsiteY2" fmla="*/ 16192 h 51940"/>
                    <a:gd name="connsiteX3" fmla="*/ 2989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0" y="51941"/>
                      </a:moveTo>
                      <a:cubicBezTo>
                        <a:pt x="2865" y="43969"/>
                        <a:pt x="3114" y="37741"/>
                        <a:pt x="2741" y="33381"/>
                      </a:cubicBezTo>
                      <a:cubicBezTo>
                        <a:pt x="2242" y="26406"/>
                        <a:pt x="249" y="23292"/>
                        <a:pt x="125" y="16192"/>
                      </a:cubicBezTo>
                      <a:cubicBezTo>
                        <a:pt x="0" y="9342"/>
                        <a:pt x="1619" y="3612"/>
                        <a:pt x="29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7" name="Freeform 5144">
                  <a:extLst>
                    <a:ext uri="{FF2B5EF4-FFF2-40B4-BE49-F238E27FC236}">
                      <a16:creationId xmlns:a16="http://schemas.microsoft.com/office/drawing/2014/main" id="{5A539302-4B76-A6C0-80E8-53579FAA0D84}"/>
                    </a:ext>
                  </a:extLst>
                </p:cNvPr>
                <p:cNvSpPr/>
                <p:nvPr/>
              </p:nvSpPr>
              <p:spPr>
                <a:xfrm>
                  <a:off x="8810468" y="5640170"/>
                  <a:ext cx="4893" cy="52189"/>
                </a:xfrm>
                <a:custGeom>
                  <a:avLst/>
                  <a:gdLst>
                    <a:gd name="connsiteX0" fmla="*/ 3233 w 4893"/>
                    <a:gd name="connsiteY0" fmla="*/ 0 h 52189"/>
                    <a:gd name="connsiteX1" fmla="*/ 4354 w 4893"/>
                    <a:gd name="connsiteY1" fmla="*/ 18808 h 52189"/>
                    <a:gd name="connsiteX2" fmla="*/ 243 w 4893"/>
                    <a:gd name="connsiteY2" fmla="*/ 35748 h 52189"/>
                    <a:gd name="connsiteX3" fmla="*/ 1613 w 489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3" h="52189">
                      <a:moveTo>
                        <a:pt x="3233" y="0"/>
                      </a:moveTo>
                      <a:cubicBezTo>
                        <a:pt x="5351" y="8097"/>
                        <a:pt x="5101" y="14449"/>
                        <a:pt x="4354" y="18808"/>
                      </a:cubicBezTo>
                      <a:cubicBezTo>
                        <a:pt x="3233" y="25784"/>
                        <a:pt x="991" y="28648"/>
                        <a:pt x="243" y="35748"/>
                      </a:cubicBezTo>
                      <a:cubicBezTo>
                        <a:pt x="-504" y="42599"/>
                        <a:pt x="617" y="48453"/>
                        <a:pt x="161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8" name="Freeform 5145">
                  <a:extLst>
                    <a:ext uri="{FF2B5EF4-FFF2-40B4-BE49-F238E27FC236}">
                      <a16:creationId xmlns:a16="http://schemas.microsoft.com/office/drawing/2014/main" id="{CB5067EE-4C56-5410-DD2B-71F546DFBCE6}"/>
                    </a:ext>
                  </a:extLst>
                </p:cNvPr>
                <p:cNvSpPr/>
                <p:nvPr/>
              </p:nvSpPr>
              <p:spPr>
                <a:xfrm>
                  <a:off x="8802233" y="5681257"/>
                  <a:ext cx="26306" cy="26566"/>
                </a:xfrm>
                <a:custGeom>
                  <a:avLst/>
                  <a:gdLst>
                    <a:gd name="connsiteX0" fmla="*/ 8 w 26306"/>
                    <a:gd name="connsiteY0" fmla="*/ 12598 h 26566"/>
                    <a:gd name="connsiteX1" fmla="*/ 13710 w 26306"/>
                    <a:gd name="connsiteY1" fmla="*/ 18 h 26566"/>
                    <a:gd name="connsiteX2" fmla="*/ 26289 w 26306"/>
                    <a:gd name="connsiteY2" fmla="*/ 13968 h 26566"/>
                    <a:gd name="connsiteX3" fmla="*/ 12588 w 26306"/>
                    <a:gd name="connsiteY3" fmla="*/ 26548 h 26566"/>
                    <a:gd name="connsiteX4" fmla="*/ 8 w 2630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66">
                      <a:moveTo>
                        <a:pt x="8" y="12598"/>
                      </a:moveTo>
                      <a:cubicBezTo>
                        <a:pt x="257" y="5249"/>
                        <a:pt x="6485" y="-356"/>
                        <a:pt x="13710" y="18"/>
                      </a:cubicBezTo>
                      <a:cubicBezTo>
                        <a:pt x="20934" y="391"/>
                        <a:pt x="26664" y="6619"/>
                        <a:pt x="26289" y="13968"/>
                      </a:cubicBezTo>
                      <a:cubicBezTo>
                        <a:pt x="25916" y="21317"/>
                        <a:pt x="19813" y="26922"/>
                        <a:pt x="12588" y="26548"/>
                      </a:cubicBezTo>
                      <a:cubicBezTo>
                        <a:pt x="5364" y="26175"/>
                        <a:pt x="-241"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7" name="Graphic 2987">
                <a:extLst>
                  <a:ext uri="{FF2B5EF4-FFF2-40B4-BE49-F238E27FC236}">
                    <a16:creationId xmlns:a16="http://schemas.microsoft.com/office/drawing/2014/main" id="{E98C13A4-B60F-4694-8B59-9F6AD8B00E5A}"/>
                  </a:ext>
                </a:extLst>
              </p:cNvPr>
              <p:cNvGrpSpPr/>
              <p:nvPr/>
            </p:nvGrpSpPr>
            <p:grpSpPr>
              <a:xfrm>
                <a:off x="8831629" y="5560435"/>
                <a:ext cx="32286" cy="148881"/>
                <a:chOff x="8831629" y="5560435"/>
                <a:chExt cx="32286" cy="148881"/>
              </a:xfrm>
              <a:grpFill/>
            </p:grpSpPr>
            <p:sp>
              <p:nvSpPr>
                <p:cNvPr id="4397" name="Freeform 5147">
                  <a:extLst>
                    <a:ext uri="{FF2B5EF4-FFF2-40B4-BE49-F238E27FC236}">
                      <a16:creationId xmlns:a16="http://schemas.microsoft.com/office/drawing/2014/main" id="{5A78B99E-F547-4302-F5DE-DDAF27150151}"/>
                    </a:ext>
                  </a:extLst>
                </p:cNvPr>
                <p:cNvSpPr/>
                <p:nvPr/>
              </p:nvSpPr>
              <p:spPr>
                <a:xfrm>
                  <a:off x="8843470" y="5580631"/>
                  <a:ext cx="3113" cy="51940"/>
                </a:xfrm>
                <a:custGeom>
                  <a:avLst/>
                  <a:gdLst>
                    <a:gd name="connsiteX0" fmla="*/ 3114 w 3113"/>
                    <a:gd name="connsiteY0" fmla="*/ 0 h 51940"/>
                    <a:gd name="connsiteX1" fmla="*/ 249 w 3113"/>
                    <a:gd name="connsiteY1" fmla="*/ 18559 h 51940"/>
                    <a:gd name="connsiteX2" fmla="*/ 2865 w 3113"/>
                    <a:gd name="connsiteY2" fmla="*/ 35748 h 51940"/>
                    <a:gd name="connsiteX3" fmla="*/ 0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0"/>
                      </a:moveTo>
                      <a:cubicBezTo>
                        <a:pt x="249" y="7847"/>
                        <a:pt x="0" y="14200"/>
                        <a:pt x="249" y="18559"/>
                      </a:cubicBezTo>
                      <a:cubicBezTo>
                        <a:pt x="747" y="25535"/>
                        <a:pt x="2741" y="28648"/>
                        <a:pt x="2865" y="35748"/>
                      </a:cubicBezTo>
                      <a:cubicBezTo>
                        <a:pt x="2989"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8" name="Freeform 5148">
                  <a:extLst>
                    <a:ext uri="{FF2B5EF4-FFF2-40B4-BE49-F238E27FC236}">
                      <a16:creationId xmlns:a16="http://schemas.microsoft.com/office/drawing/2014/main" id="{D0159E0E-A579-1A78-3CE0-381812D7B9E2}"/>
                    </a:ext>
                  </a:extLst>
                </p:cNvPr>
                <p:cNvSpPr/>
                <p:nvPr/>
              </p:nvSpPr>
              <p:spPr>
                <a:xfrm>
                  <a:off x="8850456" y="5575899"/>
                  <a:ext cx="5016" cy="52189"/>
                </a:xfrm>
                <a:custGeom>
                  <a:avLst/>
                  <a:gdLst>
                    <a:gd name="connsiteX0" fmla="*/ 1608 w 5016"/>
                    <a:gd name="connsiteY0" fmla="*/ 52190 h 52189"/>
                    <a:gd name="connsiteX1" fmla="*/ 487 w 5016"/>
                    <a:gd name="connsiteY1" fmla="*/ 33381 h 52189"/>
                    <a:gd name="connsiteX2" fmla="*/ 4722 w 5016"/>
                    <a:gd name="connsiteY2" fmla="*/ 16441 h 52189"/>
                    <a:gd name="connsiteX3" fmla="*/ 3352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52190"/>
                      </a:moveTo>
                      <a:cubicBezTo>
                        <a:pt x="-509" y="44093"/>
                        <a:pt x="-136" y="37741"/>
                        <a:pt x="487" y="33381"/>
                      </a:cubicBezTo>
                      <a:cubicBezTo>
                        <a:pt x="1608" y="26530"/>
                        <a:pt x="3850" y="23541"/>
                        <a:pt x="4722" y="16441"/>
                      </a:cubicBezTo>
                      <a:cubicBezTo>
                        <a:pt x="5594" y="9591"/>
                        <a:pt x="4349"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9" name="Freeform 5149">
                  <a:extLst>
                    <a:ext uri="{FF2B5EF4-FFF2-40B4-BE49-F238E27FC236}">
                      <a16:creationId xmlns:a16="http://schemas.microsoft.com/office/drawing/2014/main" id="{94D007CA-DB7F-D39B-5788-217C3EDA37B3}"/>
                    </a:ext>
                  </a:extLst>
                </p:cNvPr>
                <p:cNvSpPr/>
                <p:nvPr/>
              </p:nvSpPr>
              <p:spPr>
                <a:xfrm>
                  <a:off x="8837234" y="5560435"/>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257" y="5249"/>
                        <a:pt x="6610" y="-356"/>
                        <a:pt x="13958" y="18"/>
                      </a:cubicBezTo>
                      <a:cubicBezTo>
                        <a:pt x="21308" y="516"/>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0" name="Freeform 5150">
                  <a:extLst>
                    <a:ext uri="{FF2B5EF4-FFF2-40B4-BE49-F238E27FC236}">
                      <a16:creationId xmlns:a16="http://schemas.microsoft.com/office/drawing/2014/main" id="{5AF82F3A-7AE4-DAFE-5836-2AD6A8E3CD64}"/>
                    </a:ext>
                  </a:extLst>
                </p:cNvPr>
                <p:cNvSpPr/>
                <p:nvPr/>
              </p:nvSpPr>
              <p:spPr>
                <a:xfrm>
                  <a:off x="8848701" y="5637181"/>
                  <a:ext cx="3113" cy="51940"/>
                </a:xfrm>
                <a:custGeom>
                  <a:avLst/>
                  <a:gdLst>
                    <a:gd name="connsiteX0" fmla="*/ 0 w 3113"/>
                    <a:gd name="connsiteY0" fmla="*/ 51941 h 51940"/>
                    <a:gd name="connsiteX1" fmla="*/ 2865 w 3113"/>
                    <a:gd name="connsiteY1" fmla="*/ 33381 h 51940"/>
                    <a:gd name="connsiteX2" fmla="*/ 249 w 3113"/>
                    <a:gd name="connsiteY2" fmla="*/ 16193 h 51940"/>
                    <a:gd name="connsiteX3" fmla="*/ 3114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0" y="51941"/>
                      </a:moveTo>
                      <a:cubicBezTo>
                        <a:pt x="2865" y="43969"/>
                        <a:pt x="3114" y="37741"/>
                        <a:pt x="2865" y="33381"/>
                      </a:cubicBezTo>
                      <a:cubicBezTo>
                        <a:pt x="2367" y="26406"/>
                        <a:pt x="499" y="23292"/>
                        <a:pt x="249" y="16193"/>
                      </a:cubicBezTo>
                      <a:cubicBezTo>
                        <a:pt x="125" y="9342"/>
                        <a:pt x="1744" y="3612"/>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1" name="Freeform 5151">
                  <a:extLst>
                    <a:ext uri="{FF2B5EF4-FFF2-40B4-BE49-F238E27FC236}">
                      <a16:creationId xmlns:a16="http://schemas.microsoft.com/office/drawing/2014/main" id="{F8FBF0E4-72AF-4BB3-1A5B-5E5955E5E78F}"/>
                    </a:ext>
                  </a:extLst>
                </p:cNvPr>
                <p:cNvSpPr/>
                <p:nvPr/>
              </p:nvSpPr>
              <p:spPr>
                <a:xfrm>
                  <a:off x="8839863" y="5641665"/>
                  <a:ext cx="4965" cy="52189"/>
                </a:xfrm>
                <a:custGeom>
                  <a:avLst/>
                  <a:gdLst>
                    <a:gd name="connsiteX0" fmla="*/ 3357 w 4965"/>
                    <a:gd name="connsiteY0" fmla="*/ 0 h 52189"/>
                    <a:gd name="connsiteX1" fmla="*/ 4479 w 4965"/>
                    <a:gd name="connsiteY1" fmla="*/ 18808 h 52189"/>
                    <a:gd name="connsiteX2" fmla="*/ 243 w 4965"/>
                    <a:gd name="connsiteY2" fmla="*/ 35748 h 52189"/>
                    <a:gd name="connsiteX3" fmla="*/ 1614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3357" y="0"/>
                      </a:moveTo>
                      <a:cubicBezTo>
                        <a:pt x="5475" y="8096"/>
                        <a:pt x="5101" y="14449"/>
                        <a:pt x="4479" y="18808"/>
                      </a:cubicBezTo>
                      <a:cubicBezTo>
                        <a:pt x="3357" y="25659"/>
                        <a:pt x="1115" y="28648"/>
                        <a:pt x="243" y="35748"/>
                      </a:cubicBezTo>
                      <a:cubicBezTo>
                        <a:pt x="-504" y="42599"/>
                        <a:pt x="617" y="48453"/>
                        <a:pt x="161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2" name="Freeform 5152">
                  <a:extLst>
                    <a:ext uri="{FF2B5EF4-FFF2-40B4-BE49-F238E27FC236}">
                      <a16:creationId xmlns:a16="http://schemas.microsoft.com/office/drawing/2014/main" id="{B1D70C5A-1E9E-D9FD-65FC-14DD11FEFECD}"/>
                    </a:ext>
                  </a:extLst>
                </p:cNvPr>
                <p:cNvSpPr/>
                <p:nvPr/>
              </p:nvSpPr>
              <p:spPr>
                <a:xfrm>
                  <a:off x="8831629" y="5682751"/>
                  <a:ext cx="26422" cy="26566"/>
                </a:xfrm>
                <a:custGeom>
                  <a:avLst/>
                  <a:gdLst>
                    <a:gd name="connsiteX0" fmla="*/ 8 w 26422"/>
                    <a:gd name="connsiteY0" fmla="*/ 12598 h 26566"/>
                    <a:gd name="connsiteX1" fmla="*/ 13835 w 26422"/>
                    <a:gd name="connsiteY1" fmla="*/ 18 h 26566"/>
                    <a:gd name="connsiteX2" fmla="*/ 26414 w 26422"/>
                    <a:gd name="connsiteY2" fmla="*/ 13968 h 26566"/>
                    <a:gd name="connsiteX3" fmla="*/ 12589 w 26422"/>
                    <a:gd name="connsiteY3" fmla="*/ 26548 h 26566"/>
                    <a:gd name="connsiteX4" fmla="*/ 8 w 26422"/>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66">
                      <a:moveTo>
                        <a:pt x="8" y="12598"/>
                      </a:moveTo>
                      <a:cubicBezTo>
                        <a:pt x="382" y="5249"/>
                        <a:pt x="6485" y="-356"/>
                        <a:pt x="13835" y="18"/>
                      </a:cubicBezTo>
                      <a:cubicBezTo>
                        <a:pt x="21058" y="391"/>
                        <a:pt x="26664" y="6619"/>
                        <a:pt x="26414" y="13968"/>
                      </a:cubicBezTo>
                      <a:cubicBezTo>
                        <a:pt x="26041" y="21317"/>
                        <a:pt x="19938" y="26922"/>
                        <a:pt x="12589" y="26548"/>
                      </a:cubicBezTo>
                      <a:cubicBezTo>
                        <a:pt x="5240" y="26175"/>
                        <a:pt x="-240"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8" name="Graphic 2987">
                <a:extLst>
                  <a:ext uri="{FF2B5EF4-FFF2-40B4-BE49-F238E27FC236}">
                    <a16:creationId xmlns:a16="http://schemas.microsoft.com/office/drawing/2014/main" id="{27E8C18D-1C39-1D16-F897-20F832977268}"/>
                  </a:ext>
                </a:extLst>
              </p:cNvPr>
              <p:cNvGrpSpPr/>
              <p:nvPr/>
            </p:nvGrpSpPr>
            <p:grpSpPr>
              <a:xfrm>
                <a:off x="8861015" y="5561930"/>
                <a:ext cx="32544" cy="148881"/>
                <a:chOff x="8861015" y="5561930"/>
                <a:chExt cx="32544" cy="148881"/>
              </a:xfrm>
              <a:grpFill/>
            </p:grpSpPr>
            <p:sp>
              <p:nvSpPr>
                <p:cNvPr id="4391" name="Freeform 5154">
                  <a:extLst>
                    <a:ext uri="{FF2B5EF4-FFF2-40B4-BE49-F238E27FC236}">
                      <a16:creationId xmlns:a16="http://schemas.microsoft.com/office/drawing/2014/main" id="{EFFE937D-134E-78D7-71F3-248867FCAB7F}"/>
                    </a:ext>
                  </a:extLst>
                </p:cNvPr>
                <p:cNvSpPr/>
                <p:nvPr/>
              </p:nvSpPr>
              <p:spPr>
                <a:xfrm>
                  <a:off x="8873115" y="5582126"/>
                  <a:ext cx="3238" cy="51940"/>
                </a:xfrm>
                <a:custGeom>
                  <a:avLst/>
                  <a:gdLst>
                    <a:gd name="connsiteX0" fmla="*/ 3239 w 3238"/>
                    <a:gd name="connsiteY0" fmla="*/ 0 h 51940"/>
                    <a:gd name="connsiteX1" fmla="*/ 374 w 3238"/>
                    <a:gd name="connsiteY1" fmla="*/ 18559 h 51940"/>
                    <a:gd name="connsiteX2" fmla="*/ 2989 w 3238"/>
                    <a:gd name="connsiteY2" fmla="*/ 35748 h 51940"/>
                    <a:gd name="connsiteX3" fmla="*/ 0 w 3238"/>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0"/>
                      </a:moveTo>
                      <a:cubicBezTo>
                        <a:pt x="374" y="7847"/>
                        <a:pt x="0" y="14199"/>
                        <a:pt x="374" y="18559"/>
                      </a:cubicBezTo>
                      <a:cubicBezTo>
                        <a:pt x="872" y="25534"/>
                        <a:pt x="2741" y="28648"/>
                        <a:pt x="2989" y="35748"/>
                      </a:cubicBezTo>
                      <a:cubicBezTo>
                        <a:pt x="3114"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2" name="Freeform 5155">
                  <a:extLst>
                    <a:ext uri="{FF2B5EF4-FFF2-40B4-BE49-F238E27FC236}">
                      <a16:creationId xmlns:a16="http://schemas.microsoft.com/office/drawing/2014/main" id="{5E877E12-C15F-9AB0-667E-77D686241943}"/>
                    </a:ext>
                  </a:extLst>
                </p:cNvPr>
                <p:cNvSpPr/>
                <p:nvPr/>
              </p:nvSpPr>
              <p:spPr>
                <a:xfrm>
                  <a:off x="8880124" y="5577393"/>
                  <a:ext cx="5135" cy="52189"/>
                </a:xfrm>
                <a:custGeom>
                  <a:avLst/>
                  <a:gdLst>
                    <a:gd name="connsiteX0" fmla="*/ 1586 w 5135"/>
                    <a:gd name="connsiteY0" fmla="*/ 52190 h 52189"/>
                    <a:gd name="connsiteX1" fmla="*/ 589 w 5135"/>
                    <a:gd name="connsiteY1" fmla="*/ 33381 h 52189"/>
                    <a:gd name="connsiteX2" fmla="*/ 4824 w 5135"/>
                    <a:gd name="connsiteY2" fmla="*/ 16442 h 52189"/>
                    <a:gd name="connsiteX3" fmla="*/ 3454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52190"/>
                      </a:moveTo>
                      <a:cubicBezTo>
                        <a:pt x="-532" y="44093"/>
                        <a:pt x="-158" y="37741"/>
                        <a:pt x="589" y="33381"/>
                      </a:cubicBezTo>
                      <a:cubicBezTo>
                        <a:pt x="1710" y="26531"/>
                        <a:pt x="3952" y="23541"/>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3" name="Freeform 5156">
                  <a:extLst>
                    <a:ext uri="{FF2B5EF4-FFF2-40B4-BE49-F238E27FC236}">
                      <a16:creationId xmlns:a16="http://schemas.microsoft.com/office/drawing/2014/main" id="{16E42E76-11A2-A6CF-AEE5-CD3B8202C193}"/>
                    </a:ext>
                  </a:extLst>
                </p:cNvPr>
                <p:cNvSpPr/>
                <p:nvPr/>
              </p:nvSpPr>
              <p:spPr>
                <a:xfrm>
                  <a:off x="8866879" y="5561930"/>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382" y="5249"/>
                        <a:pt x="6610" y="-356"/>
                        <a:pt x="13958" y="18"/>
                      </a:cubicBezTo>
                      <a:cubicBezTo>
                        <a:pt x="21308" y="391"/>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4" name="Freeform 5157">
                  <a:extLst>
                    <a:ext uri="{FF2B5EF4-FFF2-40B4-BE49-F238E27FC236}">
                      <a16:creationId xmlns:a16="http://schemas.microsoft.com/office/drawing/2014/main" id="{3953BE64-4CF6-52AD-5936-9FB8D06D52B2}"/>
                    </a:ext>
                  </a:extLst>
                </p:cNvPr>
                <p:cNvSpPr/>
                <p:nvPr/>
              </p:nvSpPr>
              <p:spPr>
                <a:xfrm>
                  <a:off x="8878097" y="5638675"/>
                  <a:ext cx="3362" cy="51940"/>
                </a:xfrm>
                <a:custGeom>
                  <a:avLst/>
                  <a:gdLst>
                    <a:gd name="connsiteX0" fmla="*/ 0 w 3362"/>
                    <a:gd name="connsiteY0" fmla="*/ 51941 h 51940"/>
                    <a:gd name="connsiteX1" fmla="*/ 2865 w 3362"/>
                    <a:gd name="connsiteY1" fmla="*/ 33382 h 51940"/>
                    <a:gd name="connsiteX2" fmla="*/ 373 w 3362"/>
                    <a:gd name="connsiteY2" fmla="*/ 16193 h 51940"/>
                    <a:gd name="connsiteX3" fmla="*/ 3363 w 3362"/>
                    <a:gd name="connsiteY3" fmla="*/ 0 h 51940"/>
                  </a:gdLst>
                  <a:ahLst/>
                  <a:cxnLst>
                    <a:cxn ang="0">
                      <a:pos x="connsiteX0" y="connsiteY0"/>
                    </a:cxn>
                    <a:cxn ang="0">
                      <a:pos x="connsiteX1" y="connsiteY1"/>
                    </a:cxn>
                    <a:cxn ang="0">
                      <a:pos x="connsiteX2" y="connsiteY2"/>
                    </a:cxn>
                    <a:cxn ang="0">
                      <a:pos x="connsiteX3" y="connsiteY3"/>
                    </a:cxn>
                  </a:cxnLst>
                  <a:rect l="l" t="t" r="r" b="b"/>
                  <a:pathLst>
                    <a:path w="3362" h="51940">
                      <a:moveTo>
                        <a:pt x="0" y="51941"/>
                      </a:moveTo>
                      <a:cubicBezTo>
                        <a:pt x="2865" y="44094"/>
                        <a:pt x="3114" y="37741"/>
                        <a:pt x="2865" y="33382"/>
                      </a:cubicBezTo>
                      <a:cubicBezTo>
                        <a:pt x="2491" y="26406"/>
                        <a:pt x="498" y="23292"/>
                        <a:pt x="373" y="16193"/>
                      </a:cubicBezTo>
                      <a:cubicBezTo>
                        <a:pt x="249" y="9342"/>
                        <a:pt x="1868" y="3612"/>
                        <a:pt x="33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5" name="Freeform 5158">
                  <a:extLst>
                    <a:ext uri="{FF2B5EF4-FFF2-40B4-BE49-F238E27FC236}">
                      <a16:creationId xmlns:a16="http://schemas.microsoft.com/office/drawing/2014/main" id="{22917A5E-12E5-C6C3-6889-B0A082FAFE86}"/>
                    </a:ext>
                  </a:extLst>
                </p:cNvPr>
                <p:cNvSpPr/>
                <p:nvPr/>
              </p:nvSpPr>
              <p:spPr>
                <a:xfrm>
                  <a:off x="8869316" y="5643160"/>
                  <a:ext cx="5135" cy="52189"/>
                </a:xfrm>
                <a:custGeom>
                  <a:avLst/>
                  <a:gdLst>
                    <a:gd name="connsiteX0" fmla="*/ 3549 w 5135"/>
                    <a:gd name="connsiteY0" fmla="*/ 0 h 52189"/>
                    <a:gd name="connsiteX1" fmla="*/ 4546 w 5135"/>
                    <a:gd name="connsiteY1" fmla="*/ 18808 h 52189"/>
                    <a:gd name="connsiteX2" fmla="*/ 312 w 5135"/>
                    <a:gd name="connsiteY2" fmla="*/ 35748 h 52189"/>
                    <a:gd name="connsiteX3" fmla="*/ 1681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0"/>
                      </a:moveTo>
                      <a:cubicBezTo>
                        <a:pt x="5667" y="8096"/>
                        <a:pt x="5293" y="14449"/>
                        <a:pt x="4546" y="18808"/>
                      </a:cubicBezTo>
                      <a:cubicBezTo>
                        <a:pt x="3425" y="25659"/>
                        <a:pt x="1183" y="28648"/>
                        <a:pt x="312" y="35748"/>
                      </a:cubicBezTo>
                      <a:cubicBezTo>
                        <a:pt x="-560" y="42599"/>
                        <a:pt x="560" y="48453"/>
                        <a:pt x="168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6" name="Freeform 5159">
                  <a:extLst>
                    <a:ext uri="{FF2B5EF4-FFF2-40B4-BE49-F238E27FC236}">
                      <a16:creationId xmlns:a16="http://schemas.microsoft.com/office/drawing/2014/main" id="{7DEFD9A5-6F1F-ED65-363D-BCB64764B778}"/>
                    </a:ext>
                  </a:extLst>
                </p:cNvPr>
                <p:cNvSpPr/>
                <p:nvPr/>
              </p:nvSpPr>
              <p:spPr>
                <a:xfrm>
                  <a:off x="8861015" y="5684246"/>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494" y="-356"/>
                        <a:pt x="13843" y="18"/>
                      </a:cubicBezTo>
                      <a:cubicBezTo>
                        <a:pt x="21068" y="391"/>
                        <a:pt x="26672" y="6619"/>
                        <a:pt x="26299" y="13968"/>
                      </a:cubicBezTo>
                      <a:cubicBezTo>
                        <a:pt x="25925" y="21317"/>
                        <a:pt x="19697"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9" name="Graphic 2987">
                <a:extLst>
                  <a:ext uri="{FF2B5EF4-FFF2-40B4-BE49-F238E27FC236}">
                    <a16:creationId xmlns:a16="http://schemas.microsoft.com/office/drawing/2014/main" id="{279C7CE9-E989-73EA-A895-51CE4CE5AC76}"/>
                  </a:ext>
                </a:extLst>
              </p:cNvPr>
              <p:cNvGrpSpPr/>
              <p:nvPr/>
            </p:nvGrpSpPr>
            <p:grpSpPr>
              <a:xfrm>
                <a:off x="8890411" y="5563425"/>
                <a:ext cx="32918" cy="148881"/>
                <a:chOff x="8890411" y="5563425"/>
                <a:chExt cx="32918" cy="148881"/>
              </a:xfrm>
              <a:grpFill/>
            </p:grpSpPr>
            <p:sp>
              <p:nvSpPr>
                <p:cNvPr id="4385" name="Freeform 5161">
                  <a:extLst>
                    <a:ext uri="{FF2B5EF4-FFF2-40B4-BE49-F238E27FC236}">
                      <a16:creationId xmlns:a16="http://schemas.microsoft.com/office/drawing/2014/main" id="{85999907-28D5-D601-2D32-F26E2C92E845}"/>
                    </a:ext>
                  </a:extLst>
                </p:cNvPr>
                <p:cNvSpPr/>
                <p:nvPr/>
              </p:nvSpPr>
              <p:spPr>
                <a:xfrm>
                  <a:off x="8902510" y="5583621"/>
                  <a:ext cx="3487" cy="51940"/>
                </a:xfrm>
                <a:custGeom>
                  <a:avLst/>
                  <a:gdLst>
                    <a:gd name="connsiteX0" fmla="*/ 3488 w 3487"/>
                    <a:gd name="connsiteY0" fmla="*/ 0 h 51940"/>
                    <a:gd name="connsiteX1" fmla="*/ 499 w 3487"/>
                    <a:gd name="connsiteY1" fmla="*/ 18559 h 51940"/>
                    <a:gd name="connsiteX2" fmla="*/ 2989 w 3487"/>
                    <a:gd name="connsiteY2" fmla="*/ 35748 h 51940"/>
                    <a:gd name="connsiteX3" fmla="*/ 0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0"/>
                      </a:moveTo>
                      <a:cubicBezTo>
                        <a:pt x="623" y="7847"/>
                        <a:pt x="249" y="14199"/>
                        <a:pt x="499" y="18559"/>
                      </a:cubicBezTo>
                      <a:cubicBezTo>
                        <a:pt x="872" y="25534"/>
                        <a:pt x="2865" y="28648"/>
                        <a:pt x="2989" y="35748"/>
                      </a:cubicBezTo>
                      <a:cubicBezTo>
                        <a:pt x="3114" y="42599"/>
                        <a:pt x="1371"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6" name="Freeform 5162">
                  <a:extLst>
                    <a:ext uri="{FF2B5EF4-FFF2-40B4-BE49-F238E27FC236}">
                      <a16:creationId xmlns:a16="http://schemas.microsoft.com/office/drawing/2014/main" id="{6AC9EB27-3778-249A-CDC9-93D5E9B0732A}"/>
                    </a:ext>
                  </a:extLst>
                </p:cNvPr>
                <p:cNvSpPr/>
                <p:nvPr/>
              </p:nvSpPr>
              <p:spPr>
                <a:xfrm>
                  <a:off x="8909684" y="5578888"/>
                  <a:ext cx="5222" cy="52189"/>
                </a:xfrm>
                <a:custGeom>
                  <a:avLst/>
                  <a:gdLst>
                    <a:gd name="connsiteX0" fmla="*/ 1546 w 5222"/>
                    <a:gd name="connsiteY0" fmla="*/ 52190 h 52189"/>
                    <a:gd name="connsiteX1" fmla="*/ 549 w 5222"/>
                    <a:gd name="connsiteY1" fmla="*/ 33381 h 52189"/>
                    <a:gd name="connsiteX2" fmla="*/ 4909 w 5222"/>
                    <a:gd name="connsiteY2" fmla="*/ 16442 h 52189"/>
                    <a:gd name="connsiteX3" fmla="*/ 3663 w 5222"/>
                    <a:gd name="connsiteY3" fmla="*/ 0 h 52189"/>
                  </a:gdLst>
                  <a:ahLst/>
                  <a:cxnLst>
                    <a:cxn ang="0">
                      <a:pos x="connsiteX0" y="connsiteY0"/>
                    </a:cxn>
                    <a:cxn ang="0">
                      <a:pos x="connsiteX1" y="connsiteY1"/>
                    </a:cxn>
                    <a:cxn ang="0">
                      <a:pos x="connsiteX2" y="connsiteY2"/>
                    </a:cxn>
                    <a:cxn ang="0">
                      <a:pos x="connsiteX3" y="connsiteY3"/>
                    </a:cxn>
                  </a:cxnLst>
                  <a:rect l="l" t="t" r="r" b="b"/>
                  <a:pathLst>
                    <a:path w="5222" h="52189">
                      <a:moveTo>
                        <a:pt x="1546" y="52190"/>
                      </a:moveTo>
                      <a:cubicBezTo>
                        <a:pt x="-447" y="44094"/>
                        <a:pt x="-198" y="37741"/>
                        <a:pt x="549" y="33381"/>
                      </a:cubicBezTo>
                      <a:cubicBezTo>
                        <a:pt x="1670" y="26531"/>
                        <a:pt x="4037" y="23541"/>
                        <a:pt x="4909" y="16442"/>
                      </a:cubicBezTo>
                      <a:cubicBezTo>
                        <a:pt x="5781" y="9591"/>
                        <a:pt x="4659"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7" name="Freeform 5163">
                  <a:extLst>
                    <a:ext uri="{FF2B5EF4-FFF2-40B4-BE49-F238E27FC236}">
                      <a16:creationId xmlns:a16="http://schemas.microsoft.com/office/drawing/2014/main" id="{04A83A1E-6623-F569-01DE-C5B56D87CCF7}"/>
                    </a:ext>
                  </a:extLst>
                </p:cNvPr>
                <p:cNvSpPr/>
                <p:nvPr/>
              </p:nvSpPr>
              <p:spPr>
                <a:xfrm>
                  <a:off x="8896763" y="5563425"/>
                  <a:ext cx="26566" cy="26565"/>
                </a:xfrm>
                <a:custGeom>
                  <a:avLst/>
                  <a:gdLst>
                    <a:gd name="connsiteX0" fmla="*/ 26549 w 26566"/>
                    <a:gd name="connsiteY0" fmla="*/ 13968 h 26565"/>
                    <a:gd name="connsiteX1" fmla="*/ 12598 w 26566"/>
                    <a:gd name="connsiteY1" fmla="*/ 26548 h 26565"/>
                    <a:gd name="connsiteX2" fmla="*/ 18 w 26566"/>
                    <a:gd name="connsiteY2" fmla="*/ 12598 h 26565"/>
                    <a:gd name="connsiteX3" fmla="*/ 13968 w 26566"/>
                    <a:gd name="connsiteY3" fmla="*/ 18 h 26565"/>
                    <a:gd name="connsiteX4" fmla="*/ 26549 w 26566"/>
                    <a:gd name="connsiteY4" fmla="*/ 1396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65">
                      <a:moveTo>
                        <a:pt x="26549" y="13968"/>
                      </a:moveTo>
                      <a:cubicBezTo>
                        <a:pt x="26174" y="21317"/>
                        <a:pt x="19822" y="26922"/>
                        <a:pt x="12598" y="26548"/>
                      </a:cubicBezTo>
                      <a:cubicBezTo>
                        <a:pt x="5249" y="26174"/>
                        <a:pt x="-356" y="19947"/>
                        <a:pt x="18" y="12598"/>
                      </a:cubicBezTo>
                      <a:cubicBezTo>
                        <a:pt x="391" y="5249"/>
                        <a:pt x="6619" y="-356"/>
                        <a:pt x="13968" y="18"/>
                      </a:cubicBezTo>
                      <a:cubicBezTo>
                        <a:pt x="21317" y="391"/>
                        <a:pt x="26922" y="6619"/>
                        <a:pt x="26549"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8" name="Freeform 5164">
                  <a:extLst>
                    <a:ext uri="{FF2B5EF4-FFF2-40B4-BE49-F238E27FC236}">
                      <a16:creationId xmlns:a16="http://schemas.microsoft.com/office/drawing/2014/main" id="{F0CD1649-6000-0D91-0640-3C783F43ABF9}"/>
                    </a:ext>
                  </a:extLst>
                </p:cNvPr>
                <p:cNvSpPr/>
                <p:nvPr/>
              </p:nvSpPr>
              <p:spPr>
                <a:xfrm>
                  <a:off x="8907493" y="5640170"/>
                  <a:ext cx="3487" cy="51940"/>
                </a:xfrm>
                <a:custGeom>
                  <a:avLst/>
                  <a:gdLst>
                    <a:gd name="connsiteX0" fmla="*/ 0 w 3487"/>
                    <a:gd name="connsiteY0" fmla="*/ 51941 h 51940"/>
                    <a:gd name="connsiteX1" fmla="*/ 2989 w 3487"/>
                    <a:gd name="connsiteY1" fmla="*/ 33382 h 51940"/>
                    <a:gd name="connsiteX2" fmla="*/ 498 w 3487"/>
                    <a:gd name="connsiteY2" fmla="*/ 16193 h 51940"/>
                    <a:gd name="connsiteX3" fmla="*/ 3487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0" y="51941"/>
                      </a:moveTo>
                      <a:cubicBezTo>
                        <a:pt x="2865" y="44094"/>
                        <a:pt x="3239" y="37741"/>
                        <a:pt x="2989" y="33382"/>
                      </a:cubicBezTo>
                      <a:cubicBezTo>
                        <a:pt x="2616" y="26407"/>
                        <a:pt x="623" y="23293"/>
                        <a:pt x="498" y="16193"/>
                      </a:cubicBezTo>
                      <a:cubicBezTo>
                        <a:pt x="373" y="9342"/>
                        <a:pt x="2117" y="3612"/>
                        <a:pt x="34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9" name="Freeform 5165">
                  <a:extLst>
                    <a:ext uri="{FF2B5EF4-FFF2-40B4-BE49-F238E27FC236}">
                      <a16:creationId xmlns:a16="http://schemas.microsoft.com/office/drawing/2014/main" id="{642BB12E-2930-956F-DE6C-922A6DD0EBA5}"/>
                    </a:ext>
                  </a:extLst>
                </p:cNvPr>
                <p:cNvSpPr/>
                <p:nvPr/>
              </p:nvSpPr>
              <p:spPr>
                <a:xfrm>
                  <a:off x="8898834" y="5644654"/>
                  <a:ext cx="5097" cy="52189"/>
                </a:xfrm>
                <a:custGeom>
                  <a:avLst/>
                  <a:gdLst>
                    <a:gd name="connsiteX0" fmla="*/ 3551 w 5097"/>
                    <a:gd name="connsiteY0" fmla="*/ 0 h 52189"/>
                    <a:gd name="connsiteX1" fmla="*/ 4548 w 5097"/>
                    <a:gd name="connsiteY1" fmla="*/ 18808 h 52189"/>
                    <a:gd name="connsiteX2" fmla="*/ 313 w 5097"/>
                    <a:gd name="connsiteY2" fmla="*/ 35748 h 52189"/>
                    <a:gd name="connsiteX3" fmla="*/ 1559 w 50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97" h="52189">
                      <a:moveTo>
                        <a:pt x="3551" y="0"/>
                      </a:moveTo>
                      <a:cubicBezTo>
                        <a:pt x="5545" y="8096"/>
                        <a:pt x="5295" y="14449"/>
                        <a:pt x="4548" y="18808"/>
                      </a:cubicBezTo>
                      <a:cubicBezTo>
                        <a:pt x="3427" y="25659"/>
                        <a:pt x="1185" y="28648"/>
                        <a:pt x="313" y="35748"/>
                      </a:cubicBezTo>
                      <a:cubicBezTo>
                        <a:pt x="-559" y="42599"/>
                        <a:pt x="562"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0" name="Freeform 5166">
                  <a:extLst>
                    <a:ext uri="{FF2B5EF4-FFF2-40B4-BE49-F238E27FC236}">
                      <a16:creationId xmlns:a16="http://schemas.microsoft.com/office/drawing/2014/main" id="{9F5BC951-3864-A10E-CBFF-C5BE21E36610}"/>
                    </a:ext>
                  </a:extLst>
                </p:cNvPr>
                <p:cNvSpPr/>
                <p:nvPr/>
              </p:nvSpPr>
              <p:spPr>
                <a:xfrm>
                  <a:off x="8890411" y="5685740"/>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619" y="-356"/>
                        <a:pt x="13843" y="18"/>
                      </a:cubicBezTo>
                      <a:cubicBezTo>
                        <a:pt x="21068" y="391"/>
                        <a:pt x="26673" y="6619"/>
                        <a:pt x="26299" y="13968"/>
                      </a:cubicBezTo>
                      <a:cubicBezTo>
                        <a:pt x="25926" y="21317"/>
                        <a:pt x="19698"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0" name="Graphic 2987">
                <a:extLst>
                  <a:ext uri="{FF2B5EF4-FFF2-40B4-BE49-F238E27FC236}">
                    <a16:creationId xmlns:a16="http://schemas.microsoft.com/office/drawing/2014/main" id="{B0A97BF9-2394-F737-B86E-00CFD7E79E87}"/>
                  </a:ext>
                </a:extLst>
              </p:cNvPr>
              <p:cNvGrpSpPr/>
              <p:nvPr/>
            </p:nvGrpSpPr>
            <p:grpSpPr>
              <a:xfrm>
                <a:off x="8919806" y="5564920"/>
                <a:ext cx="33292" cy="148881"/>
                <a:chOff x="8919806" y="5564920"/>
                <a:chExt cx="33292" cy="148881"/>
              </a:xfrm>
              <a:grpFill/>
            </p:grpSpPr>
            <p:sp>
              <p:nvSpPr>
                <p:cNvPr id="4379" name="Freeform 5168">
                  <a:extLst>
                    <a:ext uri="{FF2B5EF4-FFF2-40B4-BE49-F238E27FC236}">
                      <a16:creationId xmlns:a16="http://schemas.microsoft.com/office/drawing/2014/main" id="{642BD9EB-1E2E-3186-86D2-C2E05DFE0358}"/>
                    </a:ext>
                  </a:extLst>
                </p:cNvPr>
                <p:cNvSpPr/>
                <p:nvPr/>
              </p:nvSpPr>
              <p:spPr>
                <a:xfrm>
                  <a:off x="8932155" y="5585116"/>
                  <a:ext cx="3612" cy="51940"/>
                </a:xfrm>
                <a:custGeom>
                  <a:avLst/>
                  <a:gdLst>
                    <a:gd name="connsiteX0" fmla="*/ 3613 w 3612"/>
                    <a:gd name="connsiteY0" fmla="*/ 0 h 51940"/>
                    <a:gd name="connsiteX1" fmla="*/ 623 w 3612"/>
                    <a:gd name="connsiteY1" fmla="*/ 18559 h 51940"/>
                    <a:gd name="connsiteX2" fmla="*/ 3114 w 3612"/>
                    <a:gd name="connsiteY2" fmla="*/ 35748 h 51940"/>
                    <a:gd name="connsiteX3" fmla="*/ 0 w 361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612" h="51940">
                      <a:moveTo>
                        <a:pt x="3613" y="0"/>
                      </a:moveTo>
                      <a:cubicBezTo>
                        <a:pt x="623" y="7847"/>
                        <a:pt x="374" y="14199"/>
                        <a:pt x="623" y="18559"/>
                      </a:cubicBezTo>
                      <a:cubicBezTo>
                        <a:pt x="997" y="25534"/>
                        <a:pt x="2989" y="28648"/>
                        <a:pt x="3114" y="35748"/>
                      </a:cubicBezTo>
                      <a:cubicBezTo>
                        <a:pt x="3239"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0" name="Freeform 5169">
                  <a:extLst>
                    <a:ext uri="{FF2B5EF4-FFF2-40B4-BE49-F238E27FC236}">
                      <a16:creationId xmlns:a16="http://schemas.microsoft.com/office/drawing/2014/main" id="{9BF085D9-0FD1-7B93-FEA1-9DE14FCD66D4}"/>
                    </a:ext>
                  </a:extLst>
                </p:cNvPr>
                <p:cNvSpPr/>
                <p:nvPr/>
              </p:nvSpPr>
              <p:spPr>
                <a:xfrm>
                  <a:off x="8939402" y="5580382"/>
                  <a:ext cx="5273" cy="52189"/>
                </a:xfrm>
                <a:custGeom>
                  <a:avLst/>
                  <a:gdLst>
                    <a:gd name="connsiteX0" fmla="*/ 1472 w 5273"/>
                    <a:gd name="connsiteY0" fmla="*/ 52190 h 52189"/>
                    <a:gd name="connsiteX1" fmla="*/ 600 w 5273"/>
                    <a:gd name="connsiteY1" fmla="*/ 33381 h 52189"/>
                    <a:gd name="connsiteX2" fmla="*/ 4960 w 5273"/>
                    <a:gd name="connsiteY2" fmla="*/ 16442 h 52189"/>
                    <a:gd name="connsiteX3" fmla="*/ 3714 w 5273"/>
                    <a:gd name="connsiteY3" fmla="*/ 0 h 52189"/>
                  </a:gdLst>
                  <a:ahLst/>
                  <a:cxnLst>
                    <a:cxn ang="0">
                      <a:pos x="connsiteX0" y="connsiteY0"/>
                    </a:cxn>
                    <a:cxn ang="0">
                      <a:pos x="connsiteX1" y="connsiteY1"/>
                    </a:cxn>
                    <a:cxn ang="0">
                      <a:pos x="connsiteX2" y="connsiteY2"/>
                    </a:cxn>
                    <a:cxn ang="0">
                      <a:pos x="connsiteX3" y="connsiteY3"/>
                    </a:cxn>
                  </a:cxnLst>
                  <a:rect l="l" t="t" r="r" b="b"/>
                  <a:pathLst>
                    <a:path w="5273" h="52189">
                      <a:moveTo>
                        <a:pt x="1472" y="52190"/>
                      </a:moveTo>
                      <a:cubicBezTo>
                        <a:pt x="-520" y="44094"/>
                        <a:pt x="-147" y="37741"/>
                        <a:pt x="600" y="33381"/>
                      </a:cubicBezTo>
                      <a:cubicBezTo>
                        <a:pt x="1722" y="26531"/>
                        <a:pt x="4088" y="23542"/>
                        <a:pt x="4960" y="16442"/>
                      </a:cubicBezTo>
                      <a:cubicBezTo>
                        <a:pt x="5831" y="9591"/>
                        <a:pt x="4711"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1" name="Freeform 5170">
                  <a:extLst>
                    <a:ext uri="{FF2B5EF4-FFF2-40B4-BE49-F238E27FC236}">
                      <a16:creationId xmlns:a16="http://schemas.microsoft.com/office/drawing/2014/main" id="{1396605E-D5CE-0C6E-98F4-8CA0EC7CC091}"/>
                    </a:ext>
                  </a:extLst>
                </p:cNvPr>
                <p:cNvSpPr/>
                <p:nvPr/>
              </p:nvSpPr>
              <p:spPr>
                <a:xfrm>
                  <a:off x="8926408" y="5564920"/>
                  <a:ext cx="26690" cy="26566"/>
                </a:xfrm>
                <a:custGeom>
                  <a:avLst/>
                  <a:gdLst>
                    <a:gd name="connsiteX0" fmla="*/ 26672 w 26690"/>
                    <a:gd name="connsiteY0" fmla="*/ 13968 h 26566"/>
                    <a:gd name="connsiteX1" fmla="*/ 12597 w 26690"/>
                    <a:gd name="connsiteY1" fmla="*/ 26548 h 26566"/>
                    <a:gd name="connsiteX2" fmla="*/ 18 w 26690"/>
                    <a:gd name="connsiteY2" fmla="*/ 12598 h 26566"/>
                    <a:gd name="connsiteX3" fmla="*/ 14093 w 26690"/>
                    <a:gd name="connsiteY3" fmla="*/ 18 h 26566"/>
                    <a:gd name="connsiteX4" fmla="*/ 26672 w 2669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66">
                      <a:moveTo>
                        <a:pt x="26672" y="13968"/>
                      </a:moveTo>
                      <a:cubicBezTo>
                        <a:pt x="26299" y="21317"/>
                        <a:pt x="19947" y="26922"/>
                        <a:pt x="12597" y="26548"/>
                      </a:cubicBezTo>
                      <a:cubicBezTo>
                        <a:pt x="5249" y="26175"/>
                        <a:pt x="-356" y="19947"/>
                        <a:pt x="18" y="12598"/>
                      </a:cubicBezTo>
                      <a:cubicBezTo>
                        <a:pt x="391" y="5249"/>
                        <a:pt x="6744" y="-356"/>
                        <a:pt x="14093" y="18"/>
                      </a:cubicBezTo>
                      <a:cubicBezTo>
                        <a:pt x="21441" y="391"/>
                        <a:pt x="27046" y="6619"/>
                        <a:pt x="26672"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2" name="Freeform 5171">
                  <a:extLst>
                    <a:ext uri="{FF2B5EF4-FFF2-40B4-BE49-F238E27FC236}">
                      <a16:creationId xmlns:a16="http://schemas.microsoft.com/office/drawing/2014/main" id="{5192B3B7-947A-E94D-307D-C7334AF0C6F1}"/>
                    </a:ext>
                  </a:extLst>
                </p:cNvPr>
                <p:cNvSpPr/>
                <p:nvPr/>
              </p:nvSpPr>
              <p:spPr>
                <a:xfrm>
                  <a:off x="8936888" y="5641665"/>
                  <a:ext cx="3612" cy="51940"/>
                </a:xfrm>
                <a:custGeom>
                  <a:avLst/>
                  <a:gdLst>
                    <a:gd name="connsiteX0" fmla="*/ 0 w 3612"/>
                    <a:gd name="connsiteY0" fmla="*/ 51940 h 51940"/>
                    <a:gd name="connsiteX1" fmla="*/ 2989 w 3612"/>
                    <a:gd name="connsiteY1" fmla="*/ 33381 h 51940"/>
                    <a:gd name="connsiteX2" fmla="*/ 499 w 3612"/>
                    <a:gd name="connsiteY2" fmla="*/ 16192 h 51940"/>
                    <a:gd name="connsiteX3" fmla="*/ 3613 w 3612"/>
                    <a:gd name="connsiteY3" fmla="*/ 0 h 51940"/>
                  </a:gdLst>
                  <a:ahLst/>
                  <a:cxnLst>
                    <a:cxn ang="0">
                      <a:pos x="connsiteX0" y="connsiteY0"/>
                    </a:cxn>
                    <a:cxn ang="0">
                      <a:pos x="connsiteX1" y="connsiteY1"/>
                    </a:cxn>
                    <a:cxn ang="0">
                      <a:pos x="connsiteX2" y="connsiteY2"/>
                    </a:cxn>
                    <a:cxn ang="0">
                      <a:pos x="connsiteX3" y="connsiteY3"/>
                    </a:cxn>
                  </a:cxnLst>
                  <a:rect l="l" t="t" r="r" b="b"/>
                  <a:pathLst>
                    <a:path w="3612" h="51940">
                      <a:moveTo>
                        <a:pt x="0" y="51940"/>
                      </a:moveTo>
                      <a:cubicBezTo>
                        <a:pt x="2865" y="44093"/>
                        <a:pt x="3239" y="37741"/>
                        <a:pt x="2989" y="33381"/>
                      </a:cubicBezTo>
                      <a:cubicBezTo>
                        <a:pt x="2616" y="26406"/>
                        <a:pt x="623" y="23292"/>
                        <a:pt x="499" y="16192"/>
                      </a:cubicBezTo>
                      <a:cubicBezTo>
                        <a:pt x="374" y="9342"/>
                        <a:pt x="2117" y="3612"/>
                        <a:pt x="36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3" name="Freeform 5172">
                  <a:extLst>
                    <a:ext uri="{FF2B5EF4-FFF2-40B4-BE49-F238E27FC236}">
                      <a16:creationId xmlns:a16="http://schemas.microsoft.com/office/drawing/2014/main" id="{0DF1451F-7942-32C4-4ED8-4AEB1B9F9F42}"/>
                    </a:ext>
                  </a:extLst>
                </p:cNvPr>
                <p:cNvSpPr/>
                <p:nvPr/>
              </p:nvSpPr>
              <p:spPr>
                <a:xfrm>
                  <a:off x="8928230" y="5646149"/>
                  <a:ext cx="5169" cy="52189"/>
                </a:xfrm>
                <a:custGeom>
                  <a:avLst/>
                  <a:gdLst>
                    <a:gd name="connsiteX0" fmla="*/ 3677 w 5169"/>
                    <a:gd name="connsiteY0" fmla="*/ 0 h 52189"/>
                    <a:gd name="connsiteX1" fmla="*/ 4673 w 5169"/>
                    <a:gd name="connsiteY1" fmla="*/ 18808 h 52189"/>
                    <a:gd name="connsiteX2" fmla="*/ 313 w 5169"/>
                    <a:gd name="connsiteY2" fmla="*/ 35748 h 52189"/>
                    <a:gd name="connsiteX3" fmla="*/ 1559 w 51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69" h="52189">
                      <a:moveTo>
                        <a:pt x="3677" y="0"/>
                      </a:moveTo>
                      <a:cubicBezTo>
                        <a:pt x="5669" y="8096"/>
                        <a:pt x="5295" y="14449"/>
                        <a:pt x="4673" y="18808"/>
                      </a:cubicBezTo>
                      <a:cubicBezTo>
                        <a:pt x="3552" y="25659"/>
                        <a:pt x="1185" y="28648"/>
                        <a:pt x="313" y="35748"/>
                      </a:cubicBezTo>
                      <a:cubicBezTo>
                        <a:pt x="-559" y="42599"/>
                        <a:pt x="563"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4" name="Freeform 5173">
                  <a:extLst>
                    <a:ext uri="{FF2B5EF4-FFF2-40B4-BE49-F238E27FC236}">
                      <a16:creationId xmlns:a16="http://schemas.microsoft.com/office/drawing/2014/main" id="{1676A65D-CDBD-F0DB-91F3-CFE8F6EDF01A}"/>
                    </a:ext>
                  </a:extLst>
                </p:cNvPr>
                <p:cNvSpPr/>
                <p:nvPr/>
              </p:nvSpPr>
              <p:spPr>
                <a:xfrm>
                  <a:off x="8919806" y="5687235"/>
                  <a:ext cx="26317" cy="26565"/>
                </a:xfrm>
                <a:custGeom>
                  <a:avLst/>
                  <a:gdLst>
                    <a:gd name="connsiteX0" fmla="*/ 18 w 26317"/>
                    <a:gd name="connsiteY0" fmla="*/ 12598 h 26565"/>
                    <a:gd name="connsiteX1" fmla="*/ 13844 w 26317"/>
                    <a:gd name="connsiteY1" fmla="*/ 18 h 26565"/>
                    <a:gd name="connsiteX2" fmla="*/ 26299 w 26317"/>
                    <a:gd name="connsiteY2" fmla="*/ 13968 h 26565"/>
                    <a:gd name="connsiteX3" fmla="*/ 12474 w 26317"/>
                    <a:gd name="connsiteY3" fmla="*/ 26548 h 26565"/>
                    <a:gd name="connsiteX4" fmla="*/ 18 w 26317"/>
                    <a:gd name="connsiteY4" fmla="*/ 1259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5">
                      <a:moveTo>
                        <a:pt x="18" y="12598"/>
                      </a:moveTo>
                      <a:cubicBezTo>
                        <a:pt x="392" y="5249"/>
                        <a:pt x="6620" y="-356"/>
                        <a:pt x="13844" y="18"/>
                      </a:cubicBezTo>
                      <a:cubicBezTo>
                        <a:pt x="21068" y="391"/>
                        <a:pt x="26674" y="6619"/>
                        <a:pt x="26299" y="13968"/>
                      </a:cubicBezTo>
                      <a:cubicBezTo>
                        <a:pt x="25926" y="21317"/>
                        <a:pt x="19698" y="26922"/>
                        <a:pt x="12474" y="26548"/>
                      </a:cubicBezTo>
                      <a:cubicBezTo>
                        <a:pt x="5125" y="26050"/>
                        <a:pt x="-355" y="19822"/>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1" name="Graphic 2987">
                <a:extLst>
                  <a:ext uri="{FF2B5EF4-FFF2-40B4-BE49-F238E27FC236}">
                    <a16:creationId xmlns:a16="http://schemas.microsoft.com/office/drawing/2014/main" id="{04479A5B-E80A-FA37-2689-BD08CCDA71CB}"/>
                  </a:ext>
                </a:extLst>
              </p:cNvPr>
              <p:cNvGrpSpPr/>
              <p:nvPr/>
            </p:nvGrpSpPr>
            <p:grpSpPr>
              <a:xfrm>
                <a:off x="8949188" y="5566650"/>
                <a:ext cx="33567" cy="148660"/>
                <a:chOff x="8949188" y="5566650"/>
                <a:chExt cx="33567" cy="148660"/>
              </a:xfrm>
              <a:grpFill/>
            </p:grpSpPr>
            <p:sp>
              <p:nvSpPr>
                <p:cNvPr id="4373" name="Freeform 5175">
                  <a:extLst>
                    <a:ext uri="{FF2B5EF4-FFF2-40B4-BE49-F238E27FC236}">
                      <a16:creationId xmlns:a16="http://schemas.microsoft.com/office/drawing/2014/main" id="{389C215D-6342-7E4F-840E-C063F4D57ABB}"/>
                    </a:ext>
                  </a:extLst>
                </p:cNvPr>
                <p:cNvSpPr/>
                <p:nvPr/>
              </p:nvSpPr>
              <p:spPr>
                <a:xfrm>
                  <a:off x="8961550" y="5586735"/>
                  <a:ext cx="3862" cy="52065"/>
                </a:xfrm>
                <a:custGeom>
                  <a:avLst/>
                  <a:gdLst>
                    <a:gd name="connsiteX0" fmla="*/ 3862 w 3862"/>
                    <a:gd name="connsiteY0" fmla="*/ 0 h 52065"/>
                    <a:gd name="connsiteX1" fmla="*/ 748 w 3862"/>
                    <a:gd name="connsiteY1" fmla="*/ 18559 h 52065"/>
                    <a:gd name="connsiteX2" fmla="*/ 3114 w 3862"/>
                    <a:gd name="connsiteY2" fmla="*/ 35873 h 52065"/>
                    <a:gd name="connsiteX3" fmla="*/ 0 w 38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0"/>
                      </a:moveTo>
                      <a:cubicBezTo>
                        <a:pt x="872" y="7847"/>
                        <a:pt x="623" y="14199"/>
                        <a:pt x="748"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4" name="Freeform 5176">
                  <a:extLst>
                    <a:ext uri="{FF2B5EF4-FFF2-40B4-BE49-F238E27FC236}">
                      <a16:creationId xmlns:a16="http://schemas.microsoft.com/office/drawing/2014/main" id="{F858F2B8-1290-70A2-3442-F6CEDCDF94CD}"/>
                    </a:ext>
                  </a:extLst>
                </p:cNvPr>
                <p:cNvSpPr/>
                <p:nvPr/>
              </p:nvSpPr>
              <p:spPr>
                <a:xfrm>
                  <a:off x="8968922" y="5582251"/>
                  <a:ext cx="5416" cy="52065"/>
                </a:xfrm>
                <a:custGeom>
                  <a:avLst/>
                  <a:gdLst>
                    <a:gd name="connsiteX0" fmla="*/ 1472 w 5416"/>
                    <a:gd name="connsiteY0" fmla="*/ 52065 h 52065"/>
                    <a:gd name="connsiteX1" fmla="*/ 600 w 5416"/>
                    <a:gd name="connsiteY1" fmla="*/ 33257 h 52065"/>
                    <a:gd name="connsiteX2" fmla="*/ 5084 w 5416"/>
                    <a:gd name="connsiteY2" fmla="*/ 16442 h 52065"/>
                    <a:gd name="connsiteX3" fmla="*/ 3839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1472" y="52065"/>
                      </a:moveTo>
                      <a:cubicBezTo>
                        <a:pt x="-520" y="43845"/>
                        <a:pt x="-147" y="37492"/>
                        <a:pt x="600" y="33257"/>
                      </a:cubicBezTo>
                      <a:cubicBezTo>
                        <a:pt x="1846" y="26406"/>
                        <a:pt x="4088" y="23417"/>
                        <a:pt x="5084" y="16442"/>
                      </a:cubicBezTo>
                      <a:cubicBezTo>
                        <a:pt x="5956" y="9591"/>
                        <a:pt x="4960" y="3737"/>
                        <a:pt x="38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5" name="Freeform 5177">
                  <a:extLst>
                    <a:ext uri="{FF2B5EF4-FFF2-40B4-BE49-F238E27FC236}">
                      <a16:creationId xmlns:a16="http://schemas.microsoft.com/office/drawing/2014/main" id="{4F69979A-2D09-FDFD-3B36-916F3D2096F8}"/>
                    </a:ext>
                  </a:extLst>
                </p:cNvPr>
                <p:cNvSpPr/>
                <p:nvPr/>
              </p:nvSpPr>
              <p:spPr>
                <a:xfrm>
                  <a:off x="8956164" y="5566650"/>
                  <a:ext cx="26592" cy="26469"/>
                </a:xfrm>
                <a:custGeom>
                  <a:avLst/>
                  <a:gdLst>
                    <a:gd name="connsiteX0" fmla="*/ 26562 w 26592"/>
                    <a:gd name="connsiteY0" fmla="*/ 14106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836" y="26936"/>
                        <a:pt x="12487" y="26438"/>
                      </a:cubicBezTo>
                      <a:cubicBezTo>
                        <a:pt x="5138" y="25940"/>
                        <a:pt x="-467" y="19587"/>
                        <a:pt x="31" y="12363"/>
                      </a:cubicBezTo>
                      <a:cubicBezTo>
                        <a:pt x="405" y="5014"/>
                        <a:pt x="6757" y="-467"/>
                        <a:pt x="14106" y="31"/>
                      </a:cubicBezTo>
                      <a:cubicBezTo>
                        <a:pt x="21455"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6" name="Freeform 5178">
                  <a:extLst>
                    <a:ext uri="{FF2B5EF4-FFF2-40B4-BE49-F238E27FC236}">
                      <a16:creationId xmlns:a16="http://schemas.microsoft.com/office/drawing/2014/main" id="{CA26BF0F-6888-31E2-600E-11E13CF007D5}"/>
                    </a:ext>
                  </a:extLst>
                </p:cNvPr>
                <p:cNvSpPr/>
                <p:nvPr/>
              </p:nvSpPr>
              <p:spPr>
                <a:xfrm>
                  <a:off x="8966284" y="5643160"/>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239" y="37866"/>
                        <a:pt x="3114" y="33506"/>
                      </a:cubicBezTo>
                      <a:cubicBezTo>
                        <a:pt x="2741" y="26531"/>
                        <a:pt x="872"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7" name="Freeform 5179">
                  <a:extLst>
                    <a:ext uri="{FF2B5EF4-FFF2-40B4-BE49-F238E27FC236}">
                      <a16:creationId xmlns:a16="http://schemas.microsoft.com/office/drawing/2014/main" id="{D784C6F9-80B5-0433-0269-C1996B110225}"/>
                    </a:ext>
                  </a:extLst>
                </p:cNvPr>
                <p:cNvSpPr/>
                <p:nvPr/>
              </p:nvSpPr>
              <p:spPr>
                <a:xfrm>
                  <a:off x="8957606" y="5647768"/>
                  <a:ext cx="5292" cy="52065"/>
                </a:xfrm>
                <a:custGeom>
                  <a:avLst/>
                  <a:gdLst>
                    <a:gd name="connsiteX0" fmla="*/ 3820 w 5292"/>
                    <a:gd name="connsiteY0" fmla="*/ 0 h 52065"/>
                    <a:gd name="connsiteX1" fmla="*/ 4692 w 5292"/>
                    <a:gd name="connsiteY1" fmla="*/ 18808 h 52065"/>
                    <a:gd name="connsiteX2" fmla="*/ 332 w 5292"/>
                    <a:gd name="connsiteY2" fmla="*/ 35623 h 52065"/>
                    <a:gd name="connsiteX3" fmla="*/ 1578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0"/>
                      </a:moveTo>
                      <a:cubicBezTo>
                        <a:pt x="5813" y="8221"/>
                        <a:pt x="5439" y="14573"/>
                        <a:pt x="4692" y="18808"/>
                      </a:cubicBezTo>
                      <a:cubicBezTo>
                        <a:pt x="3571" y="25659"/>
                        <a:pt x="1204" y="28648"/>
                        <a:pt x="332" y="35623"/>
                      </a:cubicBezTo>
                      <a:cubicBezTo>
                        <a:pt x="-540" y="42474"/>
                        <a:pt x="457" y="48328"/>
                        <a:pt x="15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8" name="Freeform 5180">
                  <a:extLst>
                    <a:ext uri="{FF2B5EF4-FFF2-40B4-BE49-F238E27FC236}">
                      <a16:creationId xmlns:a16="http://schemas.microsoft.com/office/drawing/2014/main" id="{4304A61E-150D-381C-54E8-07F3026B152B}"/>
                    </a:ext>
                  </a:extLst>
                </p:cNvPr>
                <p:cNvSpPr/>
                <p:nvPr/>
              </p:nvSpPr>
              <p:spPr>
                <a:xfrm>
                  <a:off x="8949188" y="5688841"/>
                  <a:ext cx="26343" cy="26469"/>
                </a:xfrm>
                <a:custGeom>
                  <a:avLst/>
                  <a:gdLst>
                    <a:gd name="connsiteX0" fmla="*/ 31 w 26343"/>
                    <a:gd name="connsiteY0" fmla="*/ 12363 h 26469"/>
                    <a:gd name="connsiteX1" fmla="*/ 13981 w 26343"/>
                    <a:gd name="connsiteY1" fmla="*/ 31 h 26469"/>
                    <a:gd name="connsiteX2" fmla="*/ 26313 w 26343"/>
                    <a:gd name="connsiteY2" fmla="*/ 14106 h 26469"/>
                    <a:gd name="connsiteX3" fmla="*/ 12362 w 26343"/>
                    <a:gd name="connsiteY3" fmla="*/ 26438 h 26469"/>
                    <a:gd name="connsiteX4" fmla="*/ 31 w 26343"/>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469">
                      <a:moveTo>
                        <a:pt x="31" y="12363"/>
                      </a:moveTo>
                      <a:cubicBezTo>
                        <a:pt x="405" y="5014"/>
                        <a:pt x="6633" y="-467"/>
                        <a:pt x="13981" y="31"/>
                      </a:cubicBezTo>
                      <a:cubicBezTo>
                        <a:pt x="21206" y="530"/>
                        <a:pt x="26811" y="6758"/>
                        <a:pt x="26313" y="14106"/>
                      </a:cubicBezTo>
                      <a:cubicBezTo>
                        <a:pt x="25814" y="21455"/>
                        <a:pt x="19586" y="26936"/>
                        <a:pt x="12362" y="26438"/>
                      </a:cubicBezTo>
                      <a:cubicBezTo>
                        <a:pt x="5138" y="26064"/>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2" name="Graphic 2987">
                <a:extLst>
                  <a:ext uri="{FF2B5EF4-FFF2-40B4-BE49-F238E27FC236}">
                    <a16:creationId xmlns:a16="http://schemas.microsoft.com/office/drawing/2014/main" id="{CEA5765B-7F43-A32D-62DD-05F033F6655B}"/>
                  </a:ext>
                </a:extLst>
              </p:cNvPr>
              <p:cNvGrpSpPr/>
              <p:nvPr/>
            </p:nvGrpSpPr>
            <p:grpSpPr>
              <a:xfrm>
                <a:off x="8978473" y="5568643"/>
                <a:ext cx="34052" cy="148660"/>
                <a:chOff x="8978473" y="5568643"/>
                <a:chExt cx="34052" cy="148660"/>
              </a:xfrm>
              <a:grpFill/>
            </p:grpSpPr>
            <p:sp>
              <p:nvSpPr>
                <p:cNvPr id="4367" name="Freeform 5182">
                  <a:extLst>
                    <a:ext uri="{FF2B5EF4-FFF2-40B4-BE49-F238E27FC236}">
                      <a16:creationId xmlns:a16="http://schemas.microsoft.com/office/drawing/2014/main" id="{8D9A7451-8F16-34A4-9877-995CF0176083}"/>
                    </a:ext>
                  </a:extLst>
                </p:cNvPr>
                <p:cNvSpPr/>
                <p:nvPr/>
              </p:nvSpPr>
              <p:spPr>
                <a:xfrm>
                  <a:off x="8991195" y="5588603"/>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9" y="14199"/>
                        <a:pt x="747" y="18559"/>
                      </a:cubicBezTo>
                      <a:cubicBezTo>
                        <a:pt x="1121" y="25534"/>
                        <a:pt x="2990" y="28773"/>
                        <a:pt x="3114" y="35873"/>
                      </a:cubicBezTo>
                      <a:cubicBezTo>
                        <a:pt x="3239" y="42723"/>
                        <a:pt x="1371"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8" name="Freeform 5183">
                  <a:extLst>
                    <a:ext uri="{FF2B5EF4-FFF2-40B4-BE49-F238E27FC236}">
                      <a16:creationId xmlns:a16="http://schemas.microsoft.com/office/drawing/2014/main" id="{51588E2F-7A00-39FA-6AFA-6D148218408B}"/>
                    </a:ext>
                  </a:extLst>
                </p:cNvPr>
                <p:cNvSpPr/>
                <p:nvPr/>
              </p:nvSpPr>
              <p:spPr>
                <a:xfrm>
                  <a:off x="8998442" y="5584119"/>
                  <a:ext cx="5418" cy="52065"/>
                </a:xfrm>
                <a:custGeom>
                  <a:avLst/>
                  <a:gdLst>
                    <a:gd name="connsiteX0" fmla="*/ 1472 w 5418"/>
                    <a:gd name="connsiteY0" fmla="*/ 52065 h 52065"/>
                    <a:gd name="connsiteX1" fmla="*/ 600 w 5418"/>
                    <a:gd name="connsiteY1" fmla="*/ 33257 h 52065"/>
                    <a:gd name="connsiteX2" fmla="*/ 5085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0" y="43845"/>
                        <a:pt x="-147" y="37492"/>
                        <a:pt x="600" y="33257"/>
                      </a:cubicBezTo>
                      <a:cubicBezTo>
                        <a:pt x="1846" y="26407"/>
                        <a:pt x="4088" y="23417"/>
                        <a:pt x="5085"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9" name="Freeform 5184">
                  <a:extLst>
                    <a:ext uri="{FF2B5EF4-FFF2-40B4-BE49-F238E27FC236}">
                      <a16:creationId xmlns:a16="http://schemas.microsoft.com/office/drawing/2014/main" id="{FC32EC5D-AC63-EEC4-055C-B9C68EAAC458}"/>
                    </a:ext>
                  </a:extLst>
                </p:cNvPr>
                <p:cNvSpPr/>
                <p:nvPr/>
              </p:nvSpPr>
              <p:spPr>
                <a:xfrm>
                  <a:off x="8985933" y="5568643"/>
                  <a:ext cx="26592" cy="26469"/>
                </a:xfrm>
                <a:custGeom>
                  <a:avLst/>
                  <a:gdLst>
                    <a:gd name="connsiteX0" fmla="*/ 26562 w 26592"/>
                    <a:gd name="connsiteY0" fmla="*/ 14107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7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7"/>
                      </a:moveTo>
                      <a:cubicBezTo>
                        <a:pt x="26064" y="21455"/>
                        <a:pt x="19836" y="26936"/>
                        <a:pt x="12487" y="26438"/>
                      </a:cubicBezTo>
                      <a:cubicBezTo>
                        <a:pt x="5138" y="25940"/>
                        <a:pt x="-467" y="19712"/>
                        <a:pt x="31" y="12363"/>
                      </a:cubicBezTo>
                      <a:cubicBezTo>
                        <a:pt x="529" y="5014"/>
                        <a:pt x="6757" y="-467"/>
                        <a:pt x="14106" y="31"/>
                      </a:cubicBezTo>
                      <a:cubicBezTo>
                        <a:pt x="21455" y="405"/>
                        <a:pt x="27060" y="6758"/>
                        <a:pt x="26562" y="141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0" name="Freeform 5185">
                  <a:extLst>
                    <a:ext uri="{FF2B5EF4-FFF2-40B4-BE49-F238E27FC236}">
                      <a16:creationId xmlns:a16="http://schemas.microsoft.com/office/drawing/2014/main" id="{1E68634D-ADFB-D0DF-01E4-2CE58C6AB416}"/>
                    </a:ext>
                  </a:extLst>
                </p:cNvPr>
                <p:cNvSpPr/>
                <p:nvPr/>
              </p:nvSpPr>
              <p:spPr>
                <a:xfrm>
                  <a:off x="8995680" y="5645153"/>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89" y="44218"/>
                        <a:pt x="3363" y="37865"/>
                        <a:pt x="3114" y="33506"/>
                      </a:cubicBezTo>
                      <a:cubicBezTo>
                        <a:pt x="2740" y="26531"/>
                        <a:pt x="872" y="23292"/>
                        <a:pt x="747" y="16192"/>
                      </a:cubicBezTo>
                      <a:cubicBezTo>
                        <a:pt x="623" y="9342"/>
                        <a:pt x="2491"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1" name="Freeform 5186">
                  <a:extLst>
                    <a:ext uri="{FF2B5EF4-FFF2-40B4-BE49-F238E27FC236}">
                      <a16:creationId xmlns:a16="http://schemas.microsoft.com/office/drawing/2014/main" id="{3CFDA5EB-3FD4-88B0-9475-984D7B88C9A8}"/>
                    </a:ext>
                  </a:extLst>
                </p:cNvPr>
                <p:cNvSpPr/>
                <p:nvPr/>
              </p:nvSpPr>
              <p:spPr>
                <a:xfrm>
                  <a:off x="8986999" y="5649636"/>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6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573"/>
                        <a:pt x="4819" y="18808"/>
                      </a:cubicBezTo>
                      <a:cubicBezTo>
                        <a:pt x="3573" y="25659"/>
                        <a:pt x="1331" y="28648"/>
                        <a:pt x="334" y="35624"/>
                      </a:cubicBezTo>
                      <a:cubicBezTo>
                        <a:pt x="-538" y="42474"/>
                        <a:pt x="459" y="48328"/>
                        <a:pt x="145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2" name="Freeform 5187">
                  <a:extLst>
                    <a:ext uri="{FF2B5EF4-FFF2-40B4-BE49-F238E27FC236}">
                      <a16:creationId xmlns:a16="http://schemas.microsoft.com/office/drawing/2014/main" id="{99D488C1-ED90-49DE-D1B5-5927956A9FDC}"/>
                    </a:ext>
                  </a:extLst>
                </p:cNvPr>
                <p:cNvSpPr/>
                <p:nvPr/>
              </p:nvSpPr>
              <p:spPr>
                <a:xfrm>
                  <a:off x="8978473" y="5690834"/>
                  <a:ext cx="26330" cy="26469"/>
                </a:xfrm>
                <a:custGeom>
                  <a:avLst/>
                  <a:gdLst>
                    <a:gd name="connsiteX0" fmla="*/ 18 w 26330"/>
                    <a:gd name="connsiteY0" fmla="*/ 12363 h 26469"/>
                    <a:gd name="connsiteX1" fmla="*/ 13968 w 26330"/>
                    <a:gd name="connsiteY1" fmla="*/ 31 h 26469"/>
                    <a:gd name="connsiteX2" fmla="*/ 26300 w 26330"/>
                    <a:gd name="connsiteY2" fmla="*/ 14106 h 26469"/>
                    <a:gd name="connsiteX3" fmla="*/ 12349 w 26330"/>
                    <a:gd name="connsiteY3" fmla="*/ 26438 h 26469"/>
                    <a:gd name="connsiteX4" fmla="*/ 18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18" y="12363"/>
                      </a:moveTo>
                      <a:cubicBezTo>
                        <a:pt x="516" y="5014"/>
                        <a:pt x="6744" y="-467"/>
                        <a:pt x="13968" y="31"/>
                      </a:cubicBezTo>
                      <a:cubicBezTo>
                        <a:pt x="21193" y="530"/>
                        <a:pt x="26798" y="6758"/>
                        <a:pt x="26300" y="14106"/>
                      </a:cubicBezTo>
                      <a:cubicBezTo>
                        <a:pt x="25802" y="21455"/>
                        <a:pt x="19574" y="26936"/>
                        <a:pt x="12349" y="26438"/>
                      </a:cubicBezTo>
                      <a:cubicBezTo>
                        <a:pt x="5125" y="25940"/>
                        <a:pt x="-356" y="19587"/>
                        <a:pt x="18"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3" name="Graphic 2987">
                <a:extLst>
                  <a:ext uri="{FF2B5EF4-FFF2-40B4-BE49-F238E27FC236}">
                    <a16:creationId xmlns:a16="http://schemas.microsoft.com/office/drawing/2014/main" id="{34ED3283-3ED4-75CD-EF3C-0E54889A87EF}"/>
                  </a:ext>
                </a:extLst>
              </p:cNvPr>
              <p:cNvGrpSpPr/>
              <p:nvPr/>
            </p:nvGrpSpPr>
            <p:grpSpPr>
              <a:xfrm>
                <a:off x="9007855" y="5570511"/>
                <a:ext cx="34315" cy="148660"/>
                <a:chOff x="9007855" y="5570511"/>
                <a:chExt cx="34315" cy="148660"/>
              </a:xfrm>
              <a:grpFill/>
            </p:grpSpPr>
            <p:sp>
              <p:nvSpPr>
                <p:cNvPr id="4361" name="Freeform 5189">
                  <a:extLst>
                    <a:ext uri="{FF2B5EF4-FFF2-40B4-BE49-F238E27FC236}">
                      <a16:creationId xmlns:a16="http://schemas.microsoft.com/office/drawing/2014/main" id="{8CBECCA3-E100-3933-07C3-C4CE68DFDAFE}"/>
                    </a:ext>
                  </a:extLst>
                </p:cNvPr>
                <p:cNvSpPr/>
                <p:nvPr/>
              </p:nvSpPr>
              <p:spPr>
                <a:xfrm>
                  <a:off x="9020715" y="5590596"/>
                  <a:ext cx="4110" cy="52065"/>
                </a:xfrm>
                <a:custGeom>
                  <a:avLst/>
                  <a:gdLst>
                    <a:gd name="connsiteX0" fmla="*/ 4111 w 4110"/>
                    <a:gd name="connsiteY0" fmla="*/ 0 h 52065"/>
                    <a:gd name="connsiteX1" fmla="*/ 872 w 4110"/>
                    <a:gd name="connsiteY1" fmla="*/ 18559 h 52065"/>
                    <a:gd name="connsiteX2" fmla="*/ 3239 w 4110"/>
                    <a:gd name="connsiteY2" fmla="*/ 35873 h 52065"/>
                    <a:gd name="connsiteX3" fmla="*/ 0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4111" y="0"/>
                      </a:moveTo>
                      <a:cubicBezTo>
                        <a:pt x="1121" y="7847"/>
                        <a:pt x="748" y="14199"/>
                        <a:pt x="872" y="18559"/>
                      </a:cubicBezTo>
                      <a:cubicBezTo>
                        <a:pt x="1246" y="25534"/>
                        <a:pt x="3114" y="28773"/>
                        <a:pt x="3239"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2" name="Freeform 5190">
                  <a:extLst>
                    <a:ext uri="{FF2B5EF4-FFF2-40B4-BE49-F238E27FC236}">
                      <a16:creationId xmlns:a16="http://schemas.microsoft.com/office/drawing/2014/main" id="{7201CF71-0131-0597-B85C-6DC264C019D1}"/>
                    </a:ext>
                  </a:extLst>
                </p:cNvPr>
                <p:cNvSpPr/>
                <p:nvPr/>
              </p:nvSpPr>
              <p:spPr>
                <a:xfrm>
                  <a:off x="9028031" y="5585988"/>
                  <a:ext cx="5528" cy="52065"/>
                </a:xfrm>
                <a:custGeom>
                  <a:avLst/>
                  <a:gdLst>
                    <a:gd name="connsiteX0" fmla="*/ 1403 w 5528"/>
                    <a:gd name="connsiteY0" fmla="*/ 52065 h 52065"/>
                    <a:gd name="connsiteX1" fmla="*/ 656 w 5528"/>
                    <a:gd name="connsiteY1" fmla="*/ 33257 h 52065"/>
                    <a:gd name="connsiteX2" fmla="*/ 5140 w 5528"/>
                    <a:gd name="connsiteY2" fmla="*/ 16441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9" y="23417"/>
                        <a:pt x="5140" y="16441"/>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3" name="Freeform 5191">
                  <a:extLst>
                    <a:ext uri="{FF2B5EF4-FFF2-40B4-BE49-F238E27FC236}">
                      <a16:creationId xmlns:a16="http://schemas.microsoft.com/office/drawing/2014/main" id="{360C02E4-96FE-1EAB-F58C-A266A18AF5E6}"/>
                    </a:ext>
                  </a:extLst>
                </p:cNvPr>
                <p:cNvSpPr/>
                <p:nvPr/>
              </p:nvSpPr>
              <p:spPr>
                <a:xfrm>
                  <a:off x="9015453" y="5570511"/>
                  <a:ext cx="26717" cy="26469"/>
                </a:xfrm>
                <a:custGeom>
                  <a:avLst/>
                  <a:gdLst>
                    <a:gd name="connsiteX0" fmla="*/ 26686 w 26717"/>
                    <a:gd name="connsiteY0" fmla="*/ 14106 h 26469"/>
                    <a:gd name="connsiteX1" fmla="*/ 12487 w 26717"/>
                    <a:gd name="connsiteY1" fmla="*/ 26438 h 26469"/>
                    <a:gd name="connsiteX2" fmla="*/ 31 w 26717"/>
                    <a:gd name="connsiteY2" fmla="*/ 12363 h 26469"/>
                    <a:gd name="connsiteX3" fmla="*/ 14231 w 26717"/>
                    <a:gd name="connsiteY3" fmla="*/ 31 h 26469"/>
                    <a:gd name="connsiteX4" fmla="*/ 26686 w 26717"/>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469">
                      <a:moveTo>
                        <a:pt x="26686" y="14106"/>
                      </a:moveTo>
                      <a:cubicBezTo>
                        <a:pt x="26188" y="21455"/>
                        <a:pt x="19836" y="26936"/>
                        <a:pt x="12487" y="26438"/>
                      </a:cubicBezTo>
                      <a:cubicBezTo>
                        <a:pt x="5138" y="25940"/>
                        <a:pt x="-467" y="19712"/>
                        <a:pt x="31" y="12363"/>
                      </a:cubicBezTo>
                      <a:cubicBezTo>
                        <a:pt x="529" y="5014"/>
                        <a:pt x="6881" y="-467"/>
                        <a:pt x="14231" y="31"/>
                      </a:cubicBezTo>
                      <a:cubicBezTo>
                        <a:pt x="21580" y="530"/>
                        <a:pt x="27184" y="6758"/>
                        <a:pt x="26686"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4" name="Freeform 5192">
                  <a:extLst>
                    <a:ext uri="{FF2B5EF4-FFF2-40B4-BE49-F238E27FC236}">
                      <a16:creationId xmlns:a16="http://schemas.microsoft.com/office/drawing/2014/main" id="{5F26BB43-ABD6-B300-1098-A333FF845E28}"/>
                    </a:ext>
                  </a:extLst>
                </p:cNvPr>
                <p:cNvSpPr/>
                <p:nvPr/>
              </p:nvSpPr>
              <p:spPr>
                <a:xfrm>
                  <a:off x="9025075" y="5647021"/>
                  <a:ext cx="4234" cy="52065"/>
                </a:xfrm>
                <a:custGeom>
                  <a:avLst/>
                  <a:gdLst>
                    <a:gd name="connsiteX0" fmla="*/ 0 w 4234"/>
                    <a:gd name="connsiteY0" fmla="*/ 52065 h 52065"/>
                    <a:gd name="connsiteX1" fmla="*/ 3239 w 4234"/>
                    <a:gd name="connsiteY1" fmla="*/ 33506 h 52065"/>
                    <a:gd name="connsiteX2" fmla="*/ 997 w 4234"/>
                    <a:gd name="connsiteY2" fmla="*/ 16192 h 52065"/>
                    <a:gd name="connsiteX3" fmla="*/ 4235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0" y="52065"/>
                      </a:moveTo>
                      <a:cubicBezTo>
                        <a:pt x="2989" y="44218"/>
                        <a:pt x="3363" y="37866"/>
                        <a:pt x="3239" y="33506"/>
                      </a:cubicBezTo>
                      <a:cubicBezTo>
                        <a:pt x="2865" y="26531"/>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5" name="Freeform 5193">
                  <a:extLst>
                    <a:ext uri="{FF2B5EF4-FFF2-40B4-BE49-F238E27FC236}">
                      <a16:creationId xmlns:a16="http://schemas.microsoft.com/office/drawing/2014/main" id="{188E1C7B-D8BF-B7C1-FADB-F156215C2705}"/>
                    </a:ext>
                  </a:extLst>
                </p:cNvPr>
                <p:cNvSpPr/>
                <p:nvPr/>
              </p:nvSpPr>
              <p:spPr>
                <a:xfrm>
                  <a:off x="9016395" y="5651629"/>
                  <a:ext cx="5474" cy="52065"/>
                </a:xfrm>
                <a:custGeom>
                  <a:avLst/>
                  <a:gdLst>
                    <a:gd name="connsiteX0" fmla="*/ 4071 w 5474"/>
                    <a:gd name="connsiteY0" fmla="*/ 0 h 52065"/>
                    <a:gd name="connsiteX1" fmla="*/ 4818 w 5474"/>
                    <a:gd name="connsiteY1" fmla="*/ 18808 h 52065"/>
                    <a:gd name="connsiteX2" fmla="*/ 335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2" y="25659"/>
                        <a:pt x="1330" y="28648"/>
                        <a:pt x="335" y="35624"/>
                      </a:cubicBezTo>
                      <a:cubicBezTo>
                        <a:pt x="-537" y="42474"/>
                        <a:pt x="458"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6" name="Freeform 5194">
                  <a:extLst>
                    <a:ext uri="{FF2B5EF4-FFF2-40B4-BE49-F238E27FC236}">
                      <a16:creationId xmlns:a16="http://schemas.microsoft.com/office/drawing/2014/main" id="{230AD9EA-2CAA-F5EF-66F1-C586F7DA0501}"/>
                    </a:ext>
                  </a:extLst>
                </p:cNvPr>
                <p:cNvSpPr/>
                <p:nvPr/>
              </p:nvSpPr>
              <p:spPr>
                <a:xfrm>
                  <a:off x="9007855" y="5692702"/>
                  <a:ext cx="26330" cy="26469"/>
                </a:xfrm>
                <a:custGeom>
                  <a:avLst/>
                  <a:gdLst>
                    <a:gd name="connsiteX0" fmla="*/ 31 w 26330"/>
                    <a:gd name="connsiteY0" fmla="*/ 12363 h 26469"/>
                    <a:gd name="connsiteX1" fmla="*/ 13982 w 26330"/>
                    <a:gd name="connsiteY1" fmla="*/ 31 h 26469"/>
                    <a:gd name="connsiteX2" fmla="*/ 26313 w 26330"/>
                    <a:gd name="connsiteY2" fmla="*/ 14106 h 26469"/>
                    <a:gd name="connsiteX3" fmla="*/ 12362 w 26330"/>
                    <a:gd name="connsiteY3" fmla="*/ 26438 h 26469"/>
                    <a:gd name="connsiteX4" fmla="*/ 31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31" y="12363"/>
                      </a:moveTo>
                      <a:cubicBezTo>
                        <a:pt x="529" y="5014"/>
                        <a:pt x="6757" y="-467"/>
                        <a:pt x="13982" y="31"/>
                      </a:cubicBezTo>
                      <a:cubicBezTo>
                        <a:pt x="21206" y="530"/>
                        <a:pt x="26687" y="6758"/>
                        <a:pt x="26313" y="14106"/>
                      </a:cubicBezTo>
                      <a:cubicBezTo>
                        <a:pt x="25815" y="21455"/>
                        <a:pt x="19587" y="26936"/>
                        <a:pt x="12362" y="26438"/>
                      </a:cubicBezTo>
                      <a:cubicBezTo>
                        <a:pt x="5014" y="25940"/>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4" name="Graphic 2987">
                <a:extLst>
                  <a:ext uri="{FF2B5EF4-FFF2-40B4-BE49-F238E27FC236}">
                    <a16:creationId xmlns:a16="http://schemas.microsoft.com/office/drawing/2014/main" id="{ACC8F793-4A76-9194-A64A-FD1B2313A90F}"/>
                  </a:ext>
                </a:extLst>
              </p:cNvPr>
              <p:cNvGrpSpPr/>
              <p:nvPr/>
            </p:nvGrpSpPr>
            <p:grpSpPr>
              <a:xfrm>
                <a:off x="9037126" y="5572504"/>
                <a:ext cx="34814" cy="148535"/>
                <a:chOff x="9037126" y="5572504"/>
                <a:chExt cx="34814" cy="148535"/>
              </a:xfrm>
              <a:grpFill/>
            </p:grpSpPr>
            <p:sp>
              <p:nvSpPr>
                <p:cNvPr id="4355" name="Freeform 5196">
                  <a:extLst>
                    <a:ext uri="{FF2B5EF4-FFF2-40B4-BE49-F238E27FC236}">
                      <a16:creationId xmlns:a16="http://schemas.microsoft.com/office/drawing/2014/main" id="{9AA86C0D-80C8-1E8A-EAC0-CE90DCD7E1CE}"/>
                    </a:ext>
                  </a:extLst>
                </p:cNvPr>
                <p:cNvSpPr/>
                <p:nvPr/>
              </p:nvSpPr>
              <p:spPr>
                <a:xfrm>
                  <a:off x="9050236" y="5592465"/>
                  <a:ext cx="4234" cy="52065"/>
                </a:xfrm>
                <a:custGeom>
                  <a:avLst/>
                  <a:gdLst>
                    <a:gd name="connsiteX0" fmla="*/ 4235 w 4234"/>
                    <a:gd name="connsiteY0" fmla="*/ 0 h 52065"/>
                    <a:gd name="connsiteX1" fmla="*/ 996 w 4234"/>
                    <a:gd name="connsiteY1" fmla="*/ 18559 h 52065"/>
                    <a:gd name="connsiteX2" fmla="*/ 3238 w 4234"/>
                    <a:gd name="connsiteY2" fmla="*/ 35873 h 52065"/>
                    <a:gd name="connsiteX3" fmla="*/ 0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0"/>
                      </a:moveTo>
                      <a:cubicBezTo>
                        <a:pt x="1245" y="7847"/>
                        <a:pt x="747" y="14200"/>
                        <a:pt x="996" y="18559"/>
                      </a:cubicBezTo>
                      <a:cubicBezTo>
                        <a:pt x="1370" y="25534"/>
                        <a:pt x="3238" y="28773"/>
                        <a:pt x="3238" y="35873"/>
                      </a:cubicBezTo>
                      <a:cubicBezTo>
                        <a:pt x="3238"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6" name="Freeform 5197">
                  <a:extLst>
                    <a:ext uri="{FF2B5EF4-FFF2-40B4-BE49-F238E27FC236}">
                      <a16:creationId xmlns:a16="http://schemas.microsoft.com/office/drawing/2014/main" id="{4F60B735-B0D9-D09F-8ADB-27AF36F22898}"/>
                    </a:ext>
                  </a:extLst>
                </p:cNvPr>
                <p:cNvSpPr/>
                <p:nvPr/>
              </p:nvSpPr>
              <p:spPr>
                <a:xfrm>
                  <a:off x="9057720" y="5587981"/>
                  <a:ext cx="5633" cy="52065"/>
                </a:xfrm>
                <a:custGeom>
                  <a:avLst/>
                  <a:gdLst>
                    <a:gd name="connsiteX0" fmla="*/ 1359 w 5633"/>
                    <a:gd name="connsiteY0" fmla="*/ 52065 h 52065"/>
                    <a:gd name="connsiteX1" fmla="*/ 612 w 5633"/>
                    <a:gd name="connsiteY1" fmla="*/ 33257 h 52065"/>
                    <a:gd name="connsiteX2" fmla="*/ 5221 w 5633"/>
                    <a:gd name="connsiteY2" fmla="*/ 16441 h 52065"/>
                    <a:gd name="connsiteX3" fmla="*/ 4225 w 5633"/>
                    <a:gd name="connsiteY3" fmla="*/ 0 h 52065"/>
                  </a:gdLst>
                  <a:ahLst/>
                  <a:cxnLst>
                    <a:cxn ang="0">
                      <a:pos x="connsiteX0" y="connsiteY0"/>
                    </a:cxn>
                    <a:cxn ang="0">
                      <a:pos x="connsiteX1" y="connsiteY1"/>
                    </a:cxn>
                    <a:cxn ang="0">
                      <a:pos x="connsiteX2" y="connsiteY2"/>
                    </a:cxn>
                    <a:cxn ang="0">
                      <a:pos x="connsiteX3" y="connsiteY3"/>
                    </a:cxn>
                  </a:cxnLst>
                  <a:rect l="l" t="t" r="r" b="b"/>
                  <a:pathLst>
                    <a:path w="5633" h="52065">
                      <a:moveTo>
                        <a:pt x="1359" y="52065"/>
                      </a:moveTo>
                      <a:cubicBezTo>
                        <a:pt x="-508" y="43844"/>
                        <a:pt x="-135" y="37616"/>
                        <a:pt x="612" y="33257"/>
                      </a:cubicBezTo>
                      <a:cubicBezTo>
                        <a:pt x="1858" y="26406"/>
                        <a:pt x="4225" y="23417"/>
                        <a:pt x="5221" y="16441"/>
                      </a:cubicBezTo>
                      <a:cubicBezTo>
                        <a:pt x="6217" y="9591"/>
                        <a:pt x="5221" y="3737"/>
                        <a:pt x="42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7" name="Freeform 5198">
                  <a:extLst>
                    <a:ext uri="{FF2B5EF4-FFF2-40B4-BE49-F238E27FC236}">
                      <a16:creationId xmlns:a16="http://schemas.microsoft.com/office/drawing/2014/main" id="{8C4877FA-56E2-58FE-CAF3-0BBD890CE29B}"/>
                    </a:ext>
                  </a:extLst>
                </p:cNvPr>
                <p:cNvSpPr/>
                <p:nvPr/>
              </p:nvSpPr>
              <p:spPr>
                <a:xfrm>
                  <a:off x="9045235" y="5572504"/>
                  <a:ext cx="26704" cy="26469"/>
                </a:xfrm>
                <a:custGeom>
                  <a:avLst/>
                  <a:gdLst>
                    <a:gd name="connsiteX0" fmla="*/ 26674 w 26704"/>
                    <a:gd name="connsiteY0" fmla="*/ 14106 h 26469"/>
                    <a:gd name="connsiteX1" fmla="*/ 12474 w 26704"/>
                    <a:gd name="connsiteY1" fmla="*/ 26438 h 26469"/>
                    <a:gd name="connsiteX2" fmla="*/ 18 w 26704"/>
                    <a:gd name="connsiteY2" fmla="*/ 12363 h 26469"/>
                    <a:gd name="connsiteX3" fmla="*/ 14218 w 26704"/>
                    <a:gd name="connsiteY3" fmla="*/ 31 h 26469"/>
                    <a:gd name="connsiteX4" fmla="*/ 26674 w 26704"/>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4" h="26469">
                      <a:moveTo>
                        <a:pt x="26674" y="14106"/>
                      </a:moveTo>
                      <a:cubicBezTo>
                        <a:pt x="26175" y="21455"/>
                        <a:pt x="19823" y="26936"/>
                        <a:pt x="12474" y="26438"/>
                      </a:cubicBezTo>
                      <a:cubicBezTo>
                        <a:pt x="5125" y="25940"/>
                        <a:pt x="-356" y="19712"/>
                        <a:pt x="18" y="12363"/>
                      </a:cubicBezTo>
                      <a:cubicBezTo>
                        <a:pt x="516" y="5014"/>
                        <a:pt x="6869" y="-467"/>
                        <a:pt x="14218" y="31"/>
                      </a:cubicBezTo>
                      <a:cubicBezTo>
                        <a:pt x="21566" y="405"/>
                        <a:pt x="27172" y="6758"/>
                        <a:pt x="26674"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8" name="Freeform 5199">
                  <a:extLst>
                    <a:ext uri="{FF2B5EF4-FFF2-40B4-BE49-F238E27FC236}">
                      <a16:creationId xmlns:a16="http://schemas.microsoft.com/office/drawing/2014/main" id="{70A23DE1-846E-C53F-3133-D8EF209798BB}"/>
                    </a:ext>
                  </a:extLst>
                </p:cNvPr>
                <p:cNvSpPr/>
                <p:nvPr/>
              </p:nvSpPr>
              <p:spPr>
                <a:xfrm>
                  <a:off x="9054346" y="5648889"/>
                  <a:ext cx="4235" cy="52065"/>
                </a:xfrm>
                <a:custGeom>
                  <a:avLst/>
                  <a:gdLst>
                    <a:gd name="connsiteX0" fmla="*/ 0 w 4235"/>
                    <a:gd name="connsiteY0" fmla="*/ 52065 h 52065"/>
                    <a:gd name="connsiteX1" fmla="*/ 3239 w 4235"/>
                    <a:gd name="connsiteY1" fmla="*/ 33506 h 52065"/>
                    <a:gd name="connsiteX2" fmla="*/ 997 w 4235"/>
                    <a:gd name="connsiteY2" fmla="*/ 16192 h 52065"/>
                    <a:gd name="connsiteX3" fmla="*/ 4235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0" y="52065"/>
                      </a:moveTo>
                      <a:cubicBezTo>
                        <a:pt x="2989" y="44218"/>
                        <a:pt x="3363" y="37866"/>
                        <a:pt x="3239" y="33506"/>
                      </a:cubicBezTo>
                      <a:cubicBezTo>
                        <a:pt x="2989" y="26531"/>
                        <a:pt x="997" y="23292"/>
                        <a:pt x="997" y="16192"/>
                      </a:cubicBezTo>
                      <a:cubicBezTo>
                        <a:pt x="997" y="9342"/>
                        <a:pt x="2741"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9" name="Freeform 5200">
                  <a:extLst>
                    <a:ext uri="{FF2B5EF4-FFF2-40B4-BE49-F238E27FC236}">
                      <a16:creationId xmlns:a16="http://schemas.microsoft.com/office/drawing/2014/main" id="{7AB068B8-2018-A532-5D20-635FCB29685F}"/>
                    </a:ext>
                  </a:extLst>
                </p:cNvPr>
                <p:cNvSpPr/>
                <p:nvPr/>
              </p:nvSpPr>
              <p:spPr>
                <a:xfrm>
                  <a:off x="9045713" y="5653498"/>
                  <a:ext cx="5509" cy="52065"/>
                </a:xfrm>
                <a:custGeom>
                  <a:avLst/>
                  <a:gdLst>
                    <a:gd name="connsiteX0" fmla="*/ 4149 w 5509"/>
                    <a:gd name="connsiteY0" fmla="*/ 0 h 52065"/>
                    <a:gd name="connsiteX1" fmla="*/ 4897 w 5509"/>
                    <a:gd name="connsiteY1" fmla="*/ 18808 h 52065"/>
                    <a:gd name="connsiteX2" fmla="*/ 413 w 5509"/>
                    <a:gd name="connsiteY2" fmla="*/ 35624 h 52065"/>
                    <a:gd name="connsiteX3" fmla="*/ 1410 w 550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09" h="52065">
                      <a:moveTo>
                        <a:pt x="4149" y="0"/>
                      </a:moveTo>
                      <a:cubicBezTo>
                        <a:pt x="6018" y="8221"/>
                        <a:pt x="5644" y="14449"/>
                        <a:pt x="4897" y="18808"/>
                      </a:cubicBezTo>
                      <a:cubicBezTo>
                        <a:pt x="3651" y="25659"/>
                        <a:pt x="1285" y="28648"/>
                        <a:pt x="413" y="35624"/>
                      </a:cubicBezTo>
                      <a:cubicBezTo>
                        <a:pt x="-584" y="42474"/>
                        <a:pt x="413" y="48328"/>
                        <a:pt x="14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0" name="Freeform 5201">
                  <a:extLst>
                    <a:ext uri="{FF2B5EF4-FFF2-40B4-BE49-F238E27FC236}">
                      <a16:creationId xmlns:a16="http://schemas.microsoft.com/office/drawing/2014/main" id="{4FEDC3A8-45E7-20A1-743A-F1E4B3B573BC}"/>
                    </a:ext>
                  </a:extLst>
                </p:cNvPr>
                <p:cNvSpPr/>
                <p:nvPr/>
              </p:nvSpPr>
              <p:spPr>
                <a:xfrm>
                  <a:off x="9037126" y="5694571"/>
                  <a:ext cx="26345" cy="26469"/>
                </a:xfrm>
                <a:custGeom>
                  <a:avLst/>
                  <a:gdLst>
                    <a:gd name="connsiteX0" fmla="*/ 31 w 26345"/>
                    <a:gd name="connsiteY0" fmla="*/ 12363 h 26469"/>
                    <a:gd name="connsiteX1" fmla="*/ 14106 w 26345"/>
                    <a:gd name="connsiteY1" fmla="*/ 31 h 26469"/>
                    <a:gd name="connsiteX2" fmla="*/ 26314 w 26345"/>
                    <a:gd name="connsiteY2" fmla="*/ 14106 h 26469"/>
                    <a:gd name="connsiteX3" fmla="*/ 12239 w 26345"/>
                    <a:gd name="connsiteY3" fmla="*/ 26438 h 26469"/>
                    <a:gd name="connsiteX4" fmla="*/ 31 w 26345"/>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1" y="12363"/>
                      </a:moveTo>
                      <a:cubicBezTo>
                        <a:pt x="530" y="5014"/>
                        <a:pt x="6758" y="-467"/>
                        <a:pt x="14106" y="31"/>
                      </a:cubicBezTo>
                      <a:cubicBezTo>
                        <a:pt x="21331" y="529"/>
                        <a:pt x="26812" y="6757"/>
                        <a:pt x="26314" y="14106"/>
                      </a:cubicBezTo>
                      <a:cubicBezTo>
                        <a:pt x="25815" y="21455"/>
                        <a:pt x="19587" y="26936"/>
                        <a:pt x="12239" y="26438"/>
                      </a:cubicBezTo>
                      <a:cubicBezTo>
                        <a:pt x="5014" y="26064"/>
                        <a:pt x="-467" y="19711"/>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5" name="Graphic 2987">
                <a:extLst>
                  <a:ext uri="{FF2B5EF4-FFF2-40B4-BE49-F238E27FC236}">
                    <a16:creationId xmlns:a16="http://schemas.microsoft.com/office/drawing/2014/main" id="{45E493B5-74E6-01F9-840C-6E0C3E0F6AA0}"/>
                  </a:ext>
                </a:extLst>
              </p:cNvPr>
              <p:cNvGrpSpPr/>
              <p:nvPr/>
            </p:nvGrpSpPr>
            <p:grpSpPr>
              <a:xfrm>
                <a:off x="9066522" y="5574372"/>
                <a:ext cx="35187" cy="148660"/>
                <a:chOff x="9066522" y="5574372"/>
                <a:chExt cx="35187" cy="148660"/>
              </a:xfrm>
              <a:grpFill/>
            </p:grpSpPr>
            <p:sp>
              <p:nvSpPr>
                <p:cNvPr id="4349" name="Freeform 5203">
                  <a:extLst>
                    <a:ext uri="{FF2B5EF4-FFF2-40B4-BE49-F238E27FC236}">
                      <a16:creationId xmlns:a16="http://schemas.microsoft.com/office/drawing/2014/main" id="{4381C2E5-6F92-B398-D1A6-580C24F94347}"/>
                    </a:ext>
                  </a:extLst>
                </p:cNvPr>
                <p:cNvSpPr/>
                <p:nvPr/>
              </p:nvSpPr>
              <p:spPr>
                <a:xfrm>
                  <a:off x="9079880" y="5594458"/>
                  <a:ext cx="4359" cy="52065"/>
                </a:xfrm>
                <a:custGeom>
                  <a:avLst/>
                  <a:gdLst>
                    <a:gd name="connsiteX0" fmla="*/ 4360 w 4359"/>
                    <a:gd name="connsiteY0" fmla="*/ 0 h 52065"/>
                    <a:gd name="connsiteX1" fmla="*/ 1121 w 4359"/>
                    <a:gd name="connsiteY1" fmla="*/ 18559 h 52065"/>
                    <a:gd name="connsiteX2" fmla="*/ 3363 w 4359"/>
                    <a:gd name="connsiteY2" fmla="*/ 35873 h 52065"/>
                    <a:gd name="connsiteX3" fmla="*/ 0 w 435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359" h="52065">
                      <a:moveTo>
                        <a:pt x="4360" y="0"/>
                      </a:moveTo>
                      <a:cubicBezTo>
                        <a:pt x="1371" y="7847"/>
                        <a:pt x="872" y="14199"/>
                        <a:pt x="1121" y="18559"/>
                      </a:cubicBezTo>
                      <a:cubicBezTo>
                        <a:pt x="1371" y="25534"/>
                        <a:pt x="3363" y="28773"/>
                        <a:pt x="3363" y="35873"/>
                      </a:cubicBezTo>
                      <a:cubicBezTo>
                        <a:pt x="3363" y="42723"/>
                        <a:pt x="1619"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0" name="Freeform 5204">
                  <a:extLst>
                    <a:ext uri="{FF2B5EF4-FFF2-40B4-BE49-F238E27FC236}">
                      <a16:creationId xmlns:a16="http://schemas.microsoft.com/office/drawing/2014/main" id="{E8FA42C5-723A-28D5-A23C-ED973813F0B5}"/>
                    </a:ext>
                  </a:extLst>
                </p:cNvPr>
                <p:cNvSpPr/>
                <p:nvPr/>
              </p:nvSpPr>
              <p:spPr>
                <a:xfrm>
                  <a:off x="9087258" y="5589849"/>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0" y="23417"/>
                        <a:pt x="5327" y="16442"/>
                      </a:cubicBezTo>
                      <a:cubicBezTo>
                        <a:pt x="6324" y="9591"/>
                        <a:pt x="5327" y="3737"/>
                        <a:pt x="4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1" name="Freeform 5205">
                  <a:extLst>
                    <a:ext uri="{FF2B5EF4-FFF2-40B4-BE49-F238E27FC236}">
                      <a16:creationId xmlns:a16="http://schemas.microsoft.com/office/drawing/2014/main" id="{37EEB5A3-2DAC-2DB9-6F5D-934731178615}"/>
                    </a:ext>
                  </a:extLst>
                </p:cNvPr>
                <p:cNvSpPr/>
                <p:nvPr/>
              </p:nvSpPr>
              <p:spPr>
                <a:xfrm>
                  <a:off x="9075116" y="5574372"/>
                  <a:ext cx="26593" cy="26469"/>
                </a:xfrm>
                <a:custGeom>
                  <a:avLst/>
                  <a:gdLst>
                    <a:gd name="connsiteX0" fmla="*/ 26562 w 26593"/>
                    <a:gd name="connsiteY0" fmla="*/ 14106 h 26469"/>
                    <a:gd name="connsiteX1" fmla="*/ 12363 w 26593"/>
                    <a:gd name="connsiteY1" fmla="*/ 26438 h 26469"/>
                    <a:gd name="connsiteX2" fmla="*/ 32 w 26593"/>
                    <a:gd name="connsiteY2" fmla="*/ 12363 h 26469"/>
                    <a:gd name="connsiteX3" fmla="*/ 14231 w 26593"/>
                    <a:gd name="connsiteY3" fmla="*/ 31 h 26469"/>
                    <a:gd name="connsiteX4" fmla="*/ 26562 w 26593"/>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711" y="26936"/>
                        <a:pt x="12363" y="26438"/>
                      </a:cubicBezTo>
                      <a:cubicBezTo>
                        <a:pt x="5013" y="25940"/>
                        <a:pt x="-467" y="19712"/>
                        <a:pt x="32" y="12363"/>
                      </a:cubicBezTo>
                      <a:cubicBezTo>
                        <a:pt x="529" y="5014"/>
                        <a:pt x="6882" y="-467"/>
                        <a:pt x="14231" y="31"/>
                      </a:cubicBezTo>
                      <a:cubicBezTo>
                        <a:pt x="21580"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2" name="Freeform 5206">
                  <a:extLst>
                    <a:ext uri="{FF2B5EF4-FFF2-40B4-BE49-F238E27FC236}">
                      <a16:creationId xmlns:a16="http://schemas.microsoft.com/office/drawing/2014/main" id="{E2147D53-0A80-4F56-D041-223BE7247FC8}"/>
                    </a:ext>
                  </a:extLst>
                </p:cNvPr>
                <p:cNvSpPr/>
                <p:nvPr/>
              </p:nvSpPr>
              <p:spPr>
                <a:xfrm>
                  <a:off x="9083742" y="5650882"/>
                  <a:ext cx="4359" cy="52065"/>
                </a:xfrm>
                <a:custGeom>
                  <a:avLst/>
                  <a:gdLst>
                    <a:gd name="connsiteX0" fmla="*/ 0 w 4359"/>
                    <a:gd name="connsiteY0" fmla="*/ 52065 h 52065"/>
                    <a:gd name="connsiteX1" fmla="*/ 3238 w 4359"/>
                    <a:gd name="connsiteY1" fmla="*/ 33506 h 52065"/>
                    <a:gd name="connsiteX2" fmla="*/ 996 w 4359"/>
                    <a:gd name="connsiteY2" fmla="*/ 16192 h 52065"/>
                    <a:gd name="connsiteX3" fmla="*/ 4359 w 4359"/>
                    <a:gd name="connsiteY3" fmla="*/ 0 h 52065"/>
                  </a:gdLst>
                  <a:ahLst/>
                  <a:cxnLst>
                    <a:cxn ang="0">
                      <a:pos x="connsiteX0" y="connsiteY0"/>
                    </a:cxn>
                    <a:cxn ang="0">
                      <a:pos x="connsiteX1" y="connsiteY1"/>
                    </a:cxn>
                    <a:cxn ang="0">
                      <a:pos x="connsiteX2" y="connsiteY2"/>
                    </a:cxn>
                    <a:cxn ang="0">
                      <a:pos x="connsiteX3" y="connsiteY3"/>
                    </a:cxn>
                  </a:cxnLst>
                  <a:rect l="l" t="t" r="r" b="b"/>
                  <a:pathLst>
                    <a:path w="4359" h="52065">
                      <a:moveTo>
                        <a:pt x="0" y="52065"/>
                      </a:moveTo>
                      <a:cubicBezTo>
                        <a:pt x="2989" y="44218"/>
                        <a:pt x="3487" y="37866"/>
                        <a:pt x="3238" y="33506"/>
                      </a:cubicBezTo>
                      <a:cubicBezTo>
                        <a:pt x="2989" y="26531"/>
                        <a:pt x="996" y="23292"/>
                        <a:pt x="996" y="16192"/>
                      </a:cubicBezTo>
                      <a:cubicBezTo>
                        <a:pt x="996" y="9342"/>
                        <a:pt x="2740" y="3612"/>
                        <a:pt x="4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3" name="Freeform 5207">
                  <a:extLst>
                    <a:ext uri="{FF2B5EF4-FFF2-40B4-BE49-F238E27FC236}">
                      <a16:creationId xmlns:a16="http://schemas.microsoft.com/office/drawing/2014/main" id="{630A4937-45B6-431B-610A-39F6FCFC7AE4}"/>
                    </a:ext>
                  </a:extLst>
                </p:cNvPr>
                <p:cNvSpPr/>
                <p:nvPr/>
              </p:nvSpPr>
              <p:spPr>
                <a:xfrm>
                  <a:off x="9074984" y="5655366"/>
                  <a:ext cx="5739" cy="52065"/>
                </a:xfrm>
                <a:custGeom>
                  <a:avLst/>
                  <a:gdLst>
                    <a:gd name="connsiteX0" fmla="*/ 4398 w 5739"/>
                    <a:gd name="connsiteY0" fmla="*/ 0 h 52065"/>
                    <a:gd name="connsiteX1" fmla="*/ 5021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8" y="0"/>
                      </a:moveTo>
                      <a:cubicBezTo>
                        <a:pt x="6267" y="8221"/>
                        <a:pt x="5893" y="14449"/>
                        <a:pt x="5021" y="18808"/>
                      </a:cubicBezTo>
                      <a:cubicBezTo>
                        <a:pt x="3776" y="25659"/>
                        <a:pt x="1409" y="28648"/>
                        <a:pt x="413" y="35624"/>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4" name="Freeform 5208">
                  <a:extLst>
                    <a:ext uri="{FF2B5EF4-FFF2-40B4-BE49-F238E27FC236}">
                      <a16:creationId xmlns:a16="http://schemas.microsoft.com/office/drawing/2014/main" id="{7FD5801C-28B0-44C1-B1C1-28EE4F348E61}"/>
                    </a:ext>
                  </a:extLst>
                </p:cNvPr>
                <p:cNvSpPr/>
                <p:nvPr/>
              </p:nvSpPr>
              <p:spPr>
                <a:xfrm>
                  <a:off x="9066522" y="5696564"/>
                  <a:ext cx="26344" cy="26469"/>
                </a:xfrm>
                <a:custGeom>
                  <a:avLst/>
                  <a:gdLst>
                    <a:gd name="connsiteX0" fmla="*/ 32 w 26344"/>
                    <a:gd name="connsiteY0" fmla="*/ 12363 h 26469"/>
                    <a:gd name="connsiteX1" fmla="*/ 14107 w 26344"/>
                    <a:gd name="connsiteY1" fmla="*/ 31 h 26469"/>
                    <a:gd name="connsiteX2" fmla="*/ 26313 w 26344"/>
                    <a:gd name="connsiteY2" fmla="*/ 14106 h 26469"/>
                    <a:gd name="connsiteX3" fmla="*/ 12238 w 26344"/>
                    <a:gd name="connsiteY3" fmla="*/ 26438 h 26469"/>
                    <a:gd name="connsiteX4" fmla="*/ 32 w 26344"/>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2" y="12363"/>
                      </a:moveTo>
                      <a:cubicBezTo>
                        <a:pt x="529" y="5014"/>
                        <a:pt x="6882" y="-467"/>
                        <a:pt x="14107" y="31"/>
                      </a:cubicBezTo>
                      <a:cubicBezTo>
                        <a:pt x="21330" y="529"/>
                        <a:pt x="26811" y="6757"/>
                        <a:pt x="26313" y="14106"/>
                      </a:cubicBezTo>
                      <a:cubicBezTo>
                        <a:pt x="25814" y="21455"/>
                        <a:pt x="19462" y="26936"/>
                        <a:pt x="12238" y="26438"/>
                      </a:cubicBezTo>
                      <a:cubicBezTo>
                        <a:pt x="5013" y="25939"/>
                        <a:pt x="-467" y="19587"/>
                        <a:pt x="32"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6" name="Graphic 2987">
                <a:extLst>
                  <a:ext uri="{FF2B5EF4-FFF2-40B4-BE49-F238E27FC236}">
                    <a16:creationId xmlns:a16="http://schemas.microsoft.com/office/drawing/2014/main" id="{7F6ABC12-C5C3-0458-72BF-C3B561662BBA}"/>
                  </a:ext>
                </a:extLst>
              </p:cNvPr>
              <p:cNvGrpSpPr/>
              <p:nvPr/>
            </p:nvGrpSpPr>
            <p:grpSpPr>
              <a:xfrm>
                <a:off x="9095792" y="5576489"/>
                <a:ext cx="35561" cy="148661"/>
                <a:chOff x="9095792" y="5576489"/>
                <a:chExt cx="35561" cy="148661"/>
              </a:xfrm>
              <a:grpFill/>
            </p:grpSpPr>
            <p:sp>
              <p:nvSpPr>
                <p:cNvPr id="4343" name="Freeform 5210">
                  <a:extLst>
                    <a:ext uri="{FF2B5EF4-FFF2-40B4-BE49-F238E27FC236}">
                      <a16:creationId xmlns:a16="http://schemas.microsoft.com/office/drawing/2014/main" id="{D02410B9-19C3-5984-9A2F-8913D711CE02}"/>
                    </a:ext>
                  </a:extLst>
                </p:cNvPr>
                <p:cNvSpPr/>
                <p:nvPr/>
              </p:nvSpPr>
              <p:spPr>
                <a:xfrm>
                  <a:off x="9109276" y="5596575"/>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4" name="Freeform 5211">
                  <a:extLst>
                    <a:ext uri="{FF2B5EF4-FFF2-40B4-BE49-F238E27FC236}">
                      <a16:creationId xmlns:a16="http://schemas.microsoft.com/office/drawing/2014/main" id="{F1ECD96F-585B-FA45-79C8-0EED7449ABFE}"/>
                    </a:ext>
                  </a:extLst>
                </p:cNvPr>
                <p:cNvSpPr/>
                <p:nvPr/>
              </p:nvSpPr>
              <p:spPr>
                <a:xfrm>
                  <a:off x="9116827" y="5592091"/>
                  <a:ext cx="5816" cy="52065"/>
                </a:xfrm>
                <a:custGeom>
                  <a:avLst/>
                  <a:gdLst>
                    <a:gd name="connsiteX0" fmla="*/ 1293 w 5816"/>
                    <a:gd name="connsiteY0" fmla="*/ 52065 h 52065"/>
                    <a:gd name="connsiteX1" fmla="*/ 670 w 5816"/>
                    <a:gd name="connsiteY1" fmla="*/ 33257 h 52065"/>
                    <a:gd name="connsiteX2" fmla="*/ 5403 w 5816"/>
                    <a:gd name="connsiteY2" fmla="*/ 16442 h 52065"/>
                    <a:gd name="connsiteX3" fmla="*/ 4407 w 5816"/>
                    <a:gd name="connsiteY3" fmla="*/ 0 h 52065"/>
                  </a:gdLst>
                  <a:ahLst/>
                  <a:cxnLst>
                    <a:cxn ang="0">
                      <a:pos x="connsiteX0" y="connsiteY0"/>
                    </a:cxn>
                    <a:cxn ang="0">
                      <a:pos x="connsiteX1" y="connsiteY1"/>
                    </a:cxn>
                    <a:cxn ang="0">
                      <a:pos x="connsiteX2" y="connsiteY2"/>
                    </a:cxn>
                    <a:cxn ang="0">
                      <a:pos x="connsiteX3" y="connsiteY3"/>
                    </a:cxn>
                  </a:cxnLst>
                  <a:rect l="l" t="t" r="r" b="b"/>
                  <a:pathLst>
                    <a:path w="5816" h="52065">
                      <a:moveTo>
                        <a:pt x="1293" y="52065"/>
                      </a:moveTo>
                      <a:cubicBezTo>
                        <a:pt x="-575" y="43844"/>
                        <a:pt x="-77" y="37492"/>
                        <a:pt x="670" y="33257"/>
                      </a:cubicBezTo>
                      <a:cubicBezTo>
                        <a:pt x="1916" y="26406"/>
                        <a:pt x="4283" y="23542"/>
                        <a:pt x="5403" y="16442"/>
                      </a:cubicBezTo>
                      <a:cubicBezTo>
                        <a:pt x="6400" y="9591"/>
                        <a:pt x="5403" y="3737"/>
                        <a:pt x="44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5" name="Freeform 5212">
                  <a:extLst>
                    <a:ext uri="{FF2B5EF4-FFF2-40B4-BE49-F238E27FC236}">
                      <a16:creationId xmlns:a16="http://schemas.microsoft.com/office/drawing/2014/main" id="{D13DC140-6380-1DDC-0995-DC6250C3A180}"/>
                    </a:ext>
                  </a:extLst>
                </p:cNvPr>
                <p:cNvSpPr/>
                <p:nvPr/>
              </p:nvSpPr>
              <p:spPr>
                <a:xfrm>
                  <a:off x="9104760" y="5576489"/>
                  <a:ext cx="26593" cy="26595"/>
                </a:xfrm>
                <a:custGeom>
                  <a:avLst/>
                  <a:gdLst>
                    <a:gd name="connsiteX0" fmla="*/ 26562 w 26593"/>
                    <a:gd name="connsiteY0" fmla="*/ 14356 h 26595"/>
                    <a:gd name="connsiteX1" fmla="*/ 12363 w 26593"/>
                    <a:gd name="connsiteY1" fmla="*/ 26563 h 26595"/>
                    <a:gd name="connsiteX2" fmla="*/ 31 w 26593"/>
                    <a:gd name="connsiteY2" fmla="*/ 12239 h 26595"/>
                    <a:gd name="connsiteX3" fmla="*/ 14231 w 26593"/>
                    <a:gd name="connsiteY3" fmla="*/ 32 h 26595"/>
                    <a:gd name="connsiteX4" fmla="*/ 26562 w 26593"/>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5">
                      <a:moveTo>
                        <a:pt x="26562" y="14356"/>
                      </a:moveTo>
                      <a:cubicBezTo>
                        <a:pt x="26064" y="21705"/>
                        <a:pt x="19587" y="27061"/>
                        <a:pt x="12363" y="26563"/>
                      </a:cubicBezTo>
                      <a:cubicBezTo>
                        <a:pt x="5014" y="25940"/>
                        <a:pt x="-467" y="19588"/>
                        <a:pt x="31" y="12239"/>
                      </a:cubicBezTo>
                      <a:cubicBezTo>
                        <a:pt x="530" y="4890"/>
                        <a:pt x="6883" y="-466"/>
                        <a:pt x="14231" y="32"/>
                      </a:cubicBezTo>
                      <a:cubicBezTo>
                        <a:pt x="21580" y="530"/>
                        <a:pt x="27061" y="7007"/>
                        <a:pt x="26562"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6" name="Freeform 5213">
                  <a:extLst>
                    <a:ext uri="{FF2B5EF4-FFF2-40B4-BE49-F238E27FC236}">
                      <a16:creationId xmlns:a16="http://schemas.microsoft.com/office/drawing/2014/main" id="{85A6DE34-54E4-C065-994F-0E4024A617C3}"/>
                    </a:ext>
                  </a:extLst>
                </p:cNvPr>
                <p:cNvSpPr/>
                <p:nvPr/>
              </p:nvSpPr>
              <p:spPr>
                <a:xfrm>
                  <a:off x="9113138" y="5653124"/>
                  <a:ext cx="4608" cy="51940"/>
                </a:xfrm>
                <a:custGeom>
                  <a:avLst/>
                  <a:gdLst>
                    <a:gd name="connsiteX0" fmla="*/ 0 w 4608"/>
                    <a:gd name="connsiteY0" fmla="*/ 51941 h 51940"/>
                    <a:gd name="connsiteX1" fmla="*/ 3363 w 4608"/>
                    <a:gd name="connsiteY1" fmla="*/ 33506 h 51940"/>
                    <a:gd name="connsiteX2" fmla="*/ 1245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2989" y="44094"/>
                        <a:pt x="3487" y="37741"/>
                        <a:pt x="3363" y="33506"/>
                      </a:cubicBezTo>
                      <a:cubicBezTo>
                        <a:pt x="3114" y="26531"/>
                        <a:pt x="1245" y="23292"/>
                        <a:pt x="1245" y="16193"/>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7" name="Freeform 5214">
                  <a:extLst>
                    <a:ext uri="{FF2B5EF4-FFF2-40B4-BE49-F238E27FC236}">
                      <a16:creationId xmlns:a16="http://schemas.microsoft.com/office/drawing/2014/main" id="{BC536DE2-94A7-C932-FD49-536D5868833B}"/>
                    </a:ext>
                  </a:extLst>
                </p:cNvPr>
                <p:cNvSpPr/>
                <p:nvPr/>
              </p:nvSpPr>
              <p:spPr>
                <a:xfrm>
                  <a:off x="9104504" y="5657484"/>
                  <a:ext cx="5691" cy="52065"/>
                </a:xfrm>
                <a:custGeom>
                  <a:avLst/>
                  <a:gdLst>
                    <a:gd name="connsiteX0" fmla="*/ 4398 w 5691"/>
                    <a:gd name="connsiteY0" fmla="*/ 0 h 52065"/>
                    <a:gd name="connsiteX1" fmla="*/ 5021 w 5691"/>
                    <a:gd name="connsiteY1" fmla="*/ 18808 h 52065"/>
                    <a:gd name="connsiteX2" fmla="*/ 413 w 5691"/>
                    <a:gd name="connsiteY2" fmla="*/ 35623 h 52065"/>
                    <a:gd name="connsiteX3" fmla="*/ 1409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0"/>
                      </a:moveTo>
                      <a:cubicBezTo>
                        <a:pt x="6267" y="8221"/>
                        <a:pt x="5768" y="14573"/>
                        <a:pt x="5021" y="18808"/>
                      </a:cubicBezTo>
                      <a:cubicBezTo>
                        <a:pt x="3776" y="25659"/>
                        <a:pt x="1409" y="28524"/>
                        <a:pt x="413" y="35623"/>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8" name="Freeform 5215">
                  <a:extLst>
                    <a:ext uri="{FF2B5EF4-FFF2-40B4-BE49-F238E27FC236}">
                      <a16:creationId xmlns:a16="http://schemas.microsoft.com/office/drawing/2014/main" id="{99581C59-4ADA-7A9A-7956-AC61AD55CBCA}"/>
                    </a:ext>
                  </a:extLst>
                </p:cNvPr>
                <p:cNvSpPr/>
                <p:nvPr/>
              </p:nvSpPr>
              <p:spPr>
                <a:xfrm>
                  <a:off x="9095792" y="5698555"/>
                  <a:ext cx="26236" cy="26595"/>
                </a:xfrm>
                <a:custGeom>
                  <a:avLst/>
                  <a:gdLst>
                    <a:gd name="connsiteX0" fmla="*/ 31 w 26236"/>
                    <a:gd name="connsiteY0" fmla="*/ 12239 h 26595"/>
                    <a:gd name="connsiteX1" fmla="*/ 14107 w 26236"/>
                    <a:gd name="connsiteY1" fmla="*/ 32 h 26595"/>
                    <a:gd name="connsiteX2" fmla="*/ 26188 w 26236"/>
                    <a:gd name="connsiteY2" fmla="*/ 14357 h 26595"/>
                    <a:gd name="connsiteX3" fmla="*/ 12113 w 26236"/>
                    <a:gd name="connsiteY3" fmla="*/ 26563 h 26595"/>
                    <a:gd name="connsiteX4" fmla="*/ 31 w 26236"/>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595">
                      <a:moveTo>
                        <a:pt x="31" y="12239"/>
                      </a:moveTo>
                      <a:cubicBezTo>
                        <a:pt x="529" y="4890"/>
                        <a:pt x="6882" y="-466"/>
                        <a:pt x="14107" y="32"/>
                      </a:cubicBezTo>
                      <a:cubicBezTo>
                        <a:pt x="21331" y="655"/>
                        <a:pt x="26812" y="7007"/>
                        <a:pt x="26188" y="14357"/>
                      </a:cubicBezTo>
                      <a:cubicBezTo>
                        <a:pt x="25566" y="21705"/>
                        <a:pt x="19338" y="27061"/>
                        <a:pt x="12113" y="26563"/>
                      </a:cubicBezTo>
                      <a:cubicBezTo>
                        <a:pt x="5014" y="25940"/>
                        <a:pt x="-467" y="19588"/>
                        <a:pt x="31"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7" name="Graphic 2987">
                <a:extLst>
                  <a:ext uri="{FF2B5EF4-FFF2-40B4-BE49-F238E27FC236}">
                    <a16:creationId xmlns:a16="http://schemas.microsoft.com/office/drawing/2014/main" id="{BB63DFB1-3A2F-5482-0EE0-605FBB69945D}"/>
                  </a:ext>
                </a:extLst>
              </p:cNvPr>
              <p:cNvGrpSpPr/>
              <p:nvPr/>
            </p:nvGrpSpPr>
            <p:grpSpPr>
              <a:xfrm>
                <a:off x="9125171" y="5578856"/>
                <a:ext cx="35844" cy="148661"/>
                <a:chOff x="9125171" y="5578856"/>
                <a:chExt cx="35844" cy="148661"/>
              </a:xfrm>
              <a:grpFill/>
            </p:grpSpPr>
            <p:sp>
              <p:nvSpPr>
                <p:cNvPr id="4337" name="Freeform 5217">
                  <a:extLst>
                    <a:ext uri="{FF2B5EF4-FFF2-40B4-BE49-F238E27FC236}">
                      <a16:creationId xmlns:a16="http://schemas.microsoft.com/office/drawing/2014/main" id="{6156DECA-5C2C-9EC3-3A41-91AA3614038A}"/>
                    </a:ext>
                  </a:extLst>
                </p:cNvPr>
                <p:cNvSpPr/>
                <p:nvPr/>
              </p:nvSpPr>
              <p:spPr>
                <a:xfrm>
                  <a:off x="9138921" y="5598941"/>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996"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8" name="Freeform 5218">
                  <a:extLst>
                    <a:ext uri="{FF2B5EF4-FFF2-40B4-BE49-F238E27FC236}">
                      <a16:creationId xmlns:a16="http://schemas.microsoft.com/office/drawing/2014/main" id="{73334A95-0A3F-756C-48B1-0BA6BDC7633E}"/>
                    </a:ext>
                  </a:extLst>
                </p:cNvPr>
                <p:cNvSpPr/>
                <p:nvPr/>
              </p:nvSpPr>
              <p:spPr>
                <a:xfrm>
                  <a:off x="9146363" y="5594458"/>
                  <a:ext cx="5951" cy="52065"/>
                </a:xfrm>
                <a:custGeom>
                  <a:avLst/>
                  <a:gdLst>
                    <a:gd name="connsiteX0" fmla="*/ 1276 w 5951"/>
                    <a:gd name="connsiteY0" fmla="*/ 52065 h 52065"/>
                    <a:gd name="connsiteX1" fmla="*/ 778 w 5951"/>
                    <a:gd name="connsiteY1" fmla="*/ 33257 h 52065"/>
                    <a:gd name="connsiteX2" fmla="*/ 5512 w 5951"/>
                    <a:gd name="connsiteY2" fmla="*/ 16442 h 52065"/>
                    <a:gd name="connsiteX3" fmla="*/ 4640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1276" y="52065"/>
                      </a:moveTo>
                      <a:cubicBezTo>
                        <a:pt x="-591" y="43844"/>
                        <a:pt x="-94" y="37492"/>
                        <a:pt x="778" y="33257"/>
                      </a:cubicBezTo>
                      <a:cubicBezTo>
                        <a:pt x="2148" y="26406"/>
                        <a:pt x="4515" y="23541"/>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9" name="Freeform 5219">
                  <a:extLst>
                    <a:ext uri="{FF2B5EF4-FFF2-40B4-BE49-F238E27FC236}">
                      <a16:creationId xmlns:a16="http://schemas.microsoft.com/office/drawing/2014/main" id="{6E581005-F9F6-D836-1771-9648449F2766}"/>
                    </a:ext>
                  </a:extLst>
                </p:cNvPr>
                <p:cNvSpPr/>
                <p:nvPr/>
              </p:nvSpPr>
              <p:spPr>
                <a:xfrm>
                  <a:off x="9134388" y="5578856"/>
                  <a:ext cx="26627" cy="26595"/>
                </a:xfrm>
                <a:custGeom>
                  <a:avLst/>
                  <a:gdLst>
                    <a:gd name="connsiteX0" fmla="*/ 26579 w 26627"/>
                    <a:gd name="connsiteY0" fmla="*/ 14356 h 26595"/>
                    <a:gd name="connsiteX1" fmla="*/ 12255 w 26627"/>
                    <a:gd name="connsiteY1" fmla="*/ 26563 h 26595"/>
                    <a:gd name="connsiteX2" fmla="*/ 48 w 26627"/>
                    <a:gd name="connsiteY2" fmla="*/ 12239 h 26595"/>
                    <a:gd name="connsiteX3" fmla="*/ 14373 w 26627"/>
                    <a:gd name="connsiteY3" fmla="*/ 32 h 26595"/>
                    <a:gd name="connsiteX4" fmla="*/ 26579 w 26627"/>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95">
                      <a:moveTo>
                        <a:pt x="26579" y="14356"/>
                      </a:moveTo>
                      <a:cubicBezTo>
                        <a:pt x="25956" y="21705"/>
                        <a:pt x="19604" y="27061"/>
                        <a:pt x="12255" y="26563"/>
                      </a:cubicBezTo>
                      <a:cubicBezTo>
                        <a:pt x="4906" y="26065"/>
                        <a:pt x="-574" y="19588"/>
                        <a:pt x="48" y="12239"/>
                      </a:cubicBezTo>
                      <a:cubicBezTo>
                        <a:pt x="547" y="4890"/>
                        <a:pt x="7023" y="-466"/>
                        <a:pt x="14373" y="32"/>
                      </a:cubicBezTo>
                      <a:cubicBezTo>
                        <a:pt x="21722" y="655"/>
                        <a:pt x="27202"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0" name="Freeform 5220">
                  <a:extLst>
                    <a:ext uri="{FF2B5EF4-FFF2-40B4-BE49-F238E27FC236}">
                      <a16:creationId xmlns:a16="http://schemas.microsoft.com/office/drawing/2014/main" id="{CB07424C-88D2-6503-16AD-2BB6A753F278}"/>
                    </a:ext>
                  </a:extLst>
                </p:cNvPr>
                <p:cNvSpPr/>
                <p:nvPr/>
              </p:nvSpPr>
              <p:spPr>
                <a:xfrm>
                  <a:off x="9142408" y="5655491"/>
                  <a:ext cx="4608" cy="51940"/>
                </a:xfrm>
                <a:custGeom>
                  <a:avLst/>
                  <a:gdLst>
                    <a:gd name="connsiteX0" fmla="*/ 0 w 4608"/>
                    <a:gd name="connsiteY0" fmla="*/ 51941 h 51940"/>
                    <a:gd name="connsiteX1" fmla="*/ 3363 w 4608"/>
                    <a:gd name="connsiteY1" fmla="*/ 33506 h 51940"/>
                    <a:gd name="connsiteX2" fmla="*/ 1246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4"/>
                        <a:pt x="3613" y="37741"/>
                        <a:pt x="3363" y="33506"/>
                      </a:cubicBezTo>
                      <a:cubicBezTo>
                        <a:pt x="3114" y="26531"/>
                        <a:pt x="1246" y="23292"/>
                        <a:pt x="1246" y="16193"/>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1" name="Freeform 5221">
                  <a:extLst>
                    <a:ext uri="{FF2B5EF4-FFF2-40B4-BE49-F238E27FC236}">
                      <a16:creationId xmlns:a16="http://schemas.microsoft.com/office/drawing/2014/main" id="{04E414EE-66FC-9418-A180-697F4F32DB16}"/>
                    </a:ext>
                  </a:extLst>
                </p:cNvPr>
                <p:cNvSpPr/>
                <p:nvPr/>
              </p:nvSpPr>
              <p:spPr>
                <a:xfrm>
                  <a:off x="9133772" y="5659850"/>
                  <a:ext cx="5927" cy="52065"/>
                </a:xfrm>
                <a:custGeom>
                  <a:avLst/>
                  <a:gdLst>
                    <a:gd name="connsiteX0" fmla="*/ 4651 w 5927"/>
                    <a:gd name="connsiteY0" fmla="*/ 0 h 52065"/>
                    <a:gd name="connsiteX1" fmla="*/ 5149 w 5927"/>
                    <a:gd name="connsiteY1" fmla="*/ 18808 h 52065"/>
                    <a:gd name="connsiteX2" fmla="*/ 416 w 5927"/>
                    <a:gd name="connsiteY2" fmla="*/ 35623 h 52065"/>
                    <a:gd name="connsiteX3" fmla="*/ 1288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0"/>
                      </a:moveTo>
                      <a:cubicBezTo>
                        <a:pt x="6519" y="8221"/>
                        <a:pt x="6021" y="14573"/>
                        <a:pt x="5149" y="18808"/>
                      </a:cubicBezTo>
                      <a:cubicBezTo>
                        <a:pt x="3903" y="25659"/>
                        <a:pt x="1537" y="28524"/>
                        <a:pt x="416" y="35623"/>
                      </a:cubicBezTo>
                      <a:cubicBezTo>
                        <a:pt x="-581" y="42474"/>
                        <a:pt x="416" y="48328"/>
                        <a:pt x="12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2" name="Freeform 5222">
                  <a:extLst>
                    <a:ext uri="{FF2B5EF4-FFF2-40B4-BE49-F238E27FC236}">
                      <a16:creationId xmlns:a16="http://schemas.microsoft.com/office/drawing/2014/main" id="{CB571817-56C9-C472-3048-79B3B52FC1CF}"/>
                    </a:ext>
                  </a:extLst>
                </p:cNvPr>
                <p:cNvSpPr/>
                <p:nvPr/>
              </p:nvSpPr>
              <p:spPr>
                <a:xfrm>
                  <a:off x="9125171" y="5700922"/>
                  <a:ext cx="26254" cy="26595"/>
                </a:xfrm>
                <a:custGeom>
                  <a:avLst/>
                  <a:gdLst>
                    <a:gd name="connsiteX0" fmla="*/ 48 w 26254"/>
                    <a:gd name="connsiteY0" fmla="*/ 12239 h 26595"/>
                    <a:gd name="connsiteX1" fmla="*/ 14123 w 26254"/>
                    <a:gd name="connsiteY1" fmla="*/ 32 h 26595"/>
                    <a:gd name="connsiteX2" fmla="*/ 26206 w 26254"/>
                    <a:gd name="connsiteY2" fmla="*/ 14357 h 26595"/>
                    <a:gd name="connsiteX3" fmla="*/ 12131 w 26254"/>
                    <a:gd name="connsiteY3" fmla="*/ 26563 h 26595"/>
                    <a:gd name="connsiteX4" fmla="*/ 48 w 26254"/>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595">
                      <a:moveTo>
                        <a:pt x="48" y="12239"/>
                      </a:moveTo>
                      <a:cubicBezTo>
                        <a:pt x="547" y="4890"/>
                        <a:pt x="6899" y="-466"/>
                        <a:pt x="14123" y="32"/>
                      </a:cubicBezTo>
                      <a:cubicBezTo>
                        <a:pt x="21348" y="655"/>
                        <a:pt x="26828" y="7007"/>
                        <a:pt x="26206" y="14357"/>
                      </a:cubicBezTo>
                      <a:cubicBezTo>
                        <a:pt x="25582" y="21705"/>
                        <a:pt x="19355" y="27061"/>
                        <a:pt x="12131" y="26563"/>
                      </a:cubicBezTo>
                      <a:cubicBezTo>
                        <a:pt x="4906" y="25940"/>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8" name="Graphic 2987">
                <a:extLst>
                  <a:ext uri="{FF2B5EF4-FFF2-40B4-BE49-F238E27FC236}">
                    <a16:creationId xmlns:a16="http://schemas.microsoft.com/office/drawing/2014/main" id="{63E3F648-A7A1-31D8-7FDC-5CE49BB37E66}"/>
                  </a:ext>
                </a:extLst>
              </p:cNvPr>
              <p:cNvGrpSpPr/>
              <p:nvPr/>
            </p:nvGrpSpPr>
            <p:grpSpPr>
              <a:xfrm>
                <a:off x="9154442" y="5581222"/>
                <a:ext cx="36325" cy="148661"/>
                <a:chOff x="9154442" y="5581222"/>
                <a:chExt cx="36325" cy="148661"/>
              </a:xfrm>
              <a:grpFill/>
            </p:grpSpPr>
            <p:sp>
              <p:nvSpPr>
                <p:cNvPr id="4331" name="Freeform 5224">
                  <a:extLst>
                    <a:ext uri="{FF2B5EF4-FFF2-40B4-BE49-F238E27FC236}">
                      <a16:creationId xmlns:a16="http://schemas.microsoft.com/office/drawing/2014/main" id="{7B60C43F-B915-E62F-70CC-CE63B196F79A}"/>
                    </a:ext>
                  </a:extLst>
                </p:cNvPr>
                <p:cNvSpPr/>
                <p:nvPr/>
              </p:nvSpPr>
              <p:spPr>
                <a:xfrm>
                  <a:off x="9168192" y="5601308"/>
                  <a:ext cx="4982" cy="51940"/>
                </a:xfrm>
                <a:custGeom>
                  <a:avLst/>
                  <a:gdLst>
                    <a:gd name="connsiteX0" fmla="*/ 4983 w 4982"/>
                    <a:gd name="connsiteY0" fmla="*/ 0 h 51940"/>
                    <a:gd name="connsiteX1" fmla="*/ 1495 w 4982"/>
                    <a:gd name="connsiteY1" fmla="*/ 18435 h 51940"/>
                    <a:gd name="connsiteX2" fmla="*/ 3488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200"/>
                        <a:pt x="1495" y="18435"/>
                      </a:cubicBezTo>
                      <a:cubicBezTo>
                        <a:pt x="1744" y="25410"/>
                        <a:pt x="3612"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2" name="Freeform 5225">
                  <a:extLst>
                    <a:ext uri="{FF2B5EF4-FFF2-40B4-BE49-F238E27FC236}">
                      <a16:creationId xmlns:a16="http://schemas.microsoft.com/office/drawing/2014/main" id="{C72235A8-DF0A-3101-D530-6F608947230B}"/>
                    </a:ext>
                  </a:extLst>
                </p:cNvPr>
                <p:cNvSpPr/>
                <p:nvPr/>
              </p:nvSpPr>
              <p:spPr>
                <a:xfrm>
                  <a:off x="9175929" y="5596824"/>
                  <a:ext cx="5905" cy="52065"/>
                </a:xfrm>
                <a:custGeom>
                  <a:avLst/>
                  <a:gdLst>
                    <a:gd name="connsiteX0" fmla="*/ 1231 w 5905"/>
                    <a:gd name="connsiteY0" fmla="*/ 52065 h 52065"/>
                    <a:gd name="connsiteX1" fmla="*/ 732 w 5905"/>
                    <a:gd name="connsiteY1" fmla="*/ 33257 h 52065"/>
                    <a:gd name="connsiteX2" fmla="*/ 5465 w 5905"/>
                    <a:gd name="connsiteY2" fmla="*/ 16442 h 52065"/>
                    <a:gd name="connsiteX3" fmla="*/ 4593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1231" y="52065"/>
                      </a:moveTo>
                      <a:cubicBezTo>
                        <a:pt x="-638" y="43844"/>
                        <a:pt x="-15" y="37492"/>
                        <a:pt x="732" y="33257"/>
                      </a:cubicBezTo>
                      <a:cubicBezTo>
                        <a:pt x="2102" y="26406"/>
                        <a:pt x="4469" y="23541"/>
                        <a:pt x="5465" y="16442"/>
                      </a:cubicBezTo>
                      <a:cubicBezTo>
                        <a:pt x="6462" y="9591"/>
                        <a:pt x="5590" y="3737"/>
                        <a:pt x="45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3" name="Freeform 5226">
                  <a:extLst>
                    <a:ext uri="{FF2B5EF4-FFF2-40B4-BE49-F238E27FC236}">
                      <a16:creationId xmlns:a16="http://schemas.microsoft.com/office/drawing/2014/main" id="{FE475E80-E9C5-770B-F8A5-BDF6B87FF286}"/>
                    </a:ext>
                  </a:extLst>
                </p:cNvPr>
                <p:cNvSpPr/>
                <p:nvPr/>
              </p:nvSpPr>
              <p:spPr>
                <a:xfrm>
                  <a:off x="9164158" y="5581222"/>
                  <a:ext cx="26610" cy="26595"/>
                </a:xfrm>
                <a:custGeom>
                  <a:avLst/>
                  <a:gdLst>
                    <a:gd name="connsiteX0" fmla="*/ 26579 w 26610"/>
                    <a:gd name="connsiteY0" fmla="*/ 14356 h 26595"/>
                    <a:gd name="connsiteX1" fmla="*/ 12255 w 26610"/>
                    <a:gd name="connsiteY1" fmla="*/ 26563 h 26595"/>
                    <a:gd name="connsiteX2" fmla="*/ 48 w 26610"/>
                    <a:gd name="connsiteY2" fmla="*/ 12239 h 26595"/>
                    <a:gd name="connsiteX3" fmla="*/ 14373 w 26610"/>
                    <a:gd name="connsiteY3" fmla="*/ 32 h 26595"/>
                    <a:gd name="connsiteX4" fmla="*/ 26579 w 26610"/>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 h="26595">
                      <a:moveTo>
                        <a:pt x="26579" y="14356"/>
                      </a:moveTo>
                      <a:cubicBezTo>
                        <a:pt x="25956" y="21705"/>
                        <a:pt x="19604" y="27061"/>
                        <a:pt x="12255" y="26563"/>
                      </a:cubicBezTo>
                      <a:cubicBezTo>
                        <a:pt x="4906" y="25940"/>
                        <a:pt x="-574" y="19588"/>
                        <a:pt x="48" y="12239"/>
                      </a:cubicBezTo>
                      <a:cubicBezTo>
                        <a:pt x="671" y="4890"/>
                        <a:pt x="7023" y="-466"/>
                        <a:pt x="14373" y="32"/>
                      </a:cubicBezTo>
                      <a:cubicBezTo>
                        <a:pt x="21596" y="655"/>
                        <a:pt x="27077"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4" name="Freeform 5227">
                  <a:extLst>
                    <a:ext uri="{FF2B5EF4-FFF2-40B4-BE49-F238E27FC236}">
                      <a16:creationId xmlns:a16="http://schemas.microsoft.com/office/drawing/2014/main" id="{3664ED12-96AA-3EA2-18E9-DE96F0FD91A9}"/>
                    </a:ext>
                  </a:extLst>
                </p:cNvPr>
                <p:cNvSpPr/>
                <p:nvPr/>
              </p:nvSpPr>
              <p:spPr>
                <a:xfrm>
                  <a:off x="9171804" y="5657857"/>
                  <a:ext cx="4982" cy="51940"/>
                </a:xfrm>
                <a:custGeom>
                  <a:avLst/>
                  <a:gdLst>
                    <a:gd name="connsiteX0" fmla="*/ 0 w 4982"/>
                    <a:gd name="connsiteY0" fmla="*/ 51941 h 51940"/>
                    <a:gd name="connsiteX1" fmla="*/ 3488 w 4982"/>
                    <a:gd name="connsiteY1" fmla="*/ 33506 h 51940"/>
                    <a:gd name="connsiteX2" fmla="*/ 1495 w 4982"/>
                    <a:gd name="connsiteY2" fmla="*/ 16192 h 51940"/>
                    <a:gd name="connsiteX3" fmla="*/ 4983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0" y="51941"/>
                      </a:moveTo>
                      <a:cubicBezTo>
                        <a:pt x="3114" y="44094"/>
                        <a:pt x="3613" y="37741"/>
                        <a:pt x="3488" y="33506"/>
                      </a:cubicBezTo>
                      <a:cubicBezTo>
                        <a:pt x="3239" y="26531"/>
                        <a:pt x="1371" y="23292"/>
                        <a:pt x="1495" y="16192"/>
                      </a:cubicBezTo>
                      <a:cubicBezTo>
                        <a:pt x="1619" y="9342"/>
                        <a:pt x="3363" y="3737"/>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5" name="Freeform 5228">
                  <a:extLst>
                    <a:ext uri="{FF2B5EF4-FFF2-40B4-BE49-F238E27FC236}">
                      <a16:creationId xmlns:a16="http://schemas.microsoft.com/office/drawing/2014/main" id="{6A9E340A-A268-80A8-72E4-C3EEADD72850}"/>
                    </a:ext>
                  </a:extLst>
                </p:cNvPr>
                <p:cNvSpPr/>
                <p:nvPr/>
              </p:nvSpPr>
              <p:spPr>
                <a:xfrm>
                  <a:off x="9163143" y="5662217"/>
                  <a:ext cx="5905" cy="52065"/>
                </a:xfrm>
                <a:custGeom>
                  <a:avLst/>
                  <a:gdLst>
                    <a:gd name="connsiteX0" fmla="*/ 4675 w 5905"/>
                    <a:gd name="connsiteY0" fmla="*/ 0 h 52065"/>
                    <a:gd name="connsiteX1" fmla="*/ 5173 w 5905"/>
                    <a:gd name="connsiteY1" fmla="*/ 18808 h 52065"/>
                    <a:gd name="connsiteX2" fmla="*/ 440 w 5905"/>
                    <a:gd name="connsiteY2" fmla="*/ 35623 h 52065"/>
                    <a:gd name="connsiteX3" fmla="*/ 1312 w 590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0"/>
                      </a:moveTo>
                      <a:cubicBezTo>
                        <a:pt x="6543" y="8221"/>
                        <a:pt x="5921" y="14573"/>
                        <a:pt x="5173" y="18808"/>
                      </a:cubicBezTo>
                      <a:cubicBezTo>
                        <a:pt x="3803" y="25659"/>
                        <a:pt x="1437" y="28524"/>
                        <a:pt x="440" y="35623"/>
                      </a:cubicBezTo>
                      <a:cubicBezTo>
                        <a:pt x="-557" y="42474"/>
                        <a:pt x="315" y="48328"/>
                        <a:pt x="131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6" name="Freeform 5229">
                  <a:extLst>
                    <a:ext uri="{FF2B5EF4-FFF2-40B4-BE49-F238E27FC236}">
                      <a16:creationId xmlns:a16="http://schemas.microsoft.com/office/drawing/2014/main" id="{01194AB4-147C-3A4C-1D17-4B3780C69657}"/>
                    </a:ext>
                  </a:extLst>
                </p:cNvPr>
                <p:cNvSpPr/>
                <p:nvPr/>
              </p:nvSpPr>
              <p:spPr>
                <a:xfrm>
                  <a:off x="9154442" y="5703289"/>
                  <a:ext cx="26378" cy="26595"/>
                </a:xfrm>
                <a:custGeom>
                  <a:avLst/>
                  <a:gdLst>
                    <a:gd name="connsiteX0" fmla="*/ 48 w 26378"/>
                    <a:gd name="connsiteY0" fmla="*/ 12239 h 26595"/>
                    <a:gd name="connsiteX1" fmla="*/ 14247 w 26378"/>
                    <a:gd name="connsiteY1" fmla="*/ 32 h 26595"/>
                    <a:gd name="connsiteX2" fmla="*/ 26330 w 26378"/>
                    <a:gd name="connsiteY2" fmla="*/ 14356 h 26595"/>
                    <a:gd name="connsiteX3" fmla="*/ 12130 w 26378"/>
                    <a:gd name="connsiteY3" fmla="*/ 26563 h 26595"/>
                    <a:gd name="connsiteX4" fmla="*/ 48 w 26378"/>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95">
                      <a:moveTo>
                        <a:pt x="48" y="12239"/>
                      </a:moveTo>
                      <a:cubicBezTo>
                        <a:pt x="671" y="4890"/>
                        <a:pt x="7024" y="-466"/>
                        <a:pt x="14247" y="32"/>
                      </a:cubicBezTo>
                      <a:cubicBezTo>
                        <a:pt x="21472" y="655"/>
                        <a:pt x="26952" y="7007"/>
                        <a:pt x="26330" y="14356"/>
                      </a:cubicBezTo>
                      <a:cubicBezTo>
                        <a:pt x="25707" y="21705"/>
                        <a:pt x="19355" y="27061"/>
                        <a:pt x="12130" y="26563"/>
                      </a:cubicBezTo>
                      <a:cubicBezTo>
                        <a:pt x="4906" y="25940"/>
                        <a:pt x="-575"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9" name="Graphic 2987">
                <a:extLst>
                  <a:ext uri="{FF2B5EF4-FFF2-40B4-BE49-F238E27FC236}">
                    <a16:creationId xmlns:a16="http://schemas.microsoft.com/office/drawing/2014/main" id="{C6F614BD-1E4A-4E9C-3A71-76474C94896D}"/>
                  </a:ext>
                </a:extLst>
              </p:cNvPr>
              <p:cNvGrpSpPr/>
              <p:nvPr/>
            </p:nvGrpSpPr>
            <p:grpSpPr>
              <a:xfrm>
                <a:off x="9183713" y="5583572"/>
                <a:ext cx="36716" cy="148553"/>
                <a:chOff x="9183713" y="5583572"/>
                <a:chExt cx="36716" cy="148553"/>
              </a:xfrm>
              <a:grpFill/>
            </p:grpSpPr>
            <p:sp>
              <p:nvSpPr>
                <p:cNvPr id="4325" name="Freeform 5231">
                  <a:extLst>
                    <a:ext uri="{FF2B5EF4-FFF2-40B4-BE49-F238E27FC236}">
                      <a16:creationId xmlns:a16="http://schemas.microsoft.com/office/drawing/2014/main" id="{342C4B16-9608-F4A4-153D-92FF0849BD92}"/>
                    </a:ext>
                  </a:extLst>
                </p:cNvPr>
                <p:cNvSpPr/>
                <p:nvPr/>
              </p:nvSpPr>
              <p:spPr>
                <a:xfrm>
                  <a:off x="9197837" y="5603675"/>
                  <a:ext cx="4982" cy="51940"/>
                </a:xfrm>
                <a:custGeom>
                  <a:avLst/>
                  <a:gdLst>
                    <a:gd name="connsiteX0" fmla="*/ 4983 w 4982"/>
                    <a:gd name="connsiteY0" fmla="*/ 0 h 51940"/>
                    <a:gd name="connsiteX1" fmla="*/ 1495 w 4982"/>
                    <a:gd name="connsiteY1" fmla="*/ 18435 h 51940"/>
                    <a:gd name="connsiteX2" fmla="*/ 3487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075"/>
                        <a:pt x="1495" y="18435"/>
                      </a:cubicBezTo>
                      <a:cubicBezTo>
                        <a:pt x="1744" y="25410"/>
                        <a:pt x="3612" y="28648"/>
                        <a:pt x="3487"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6" name="Freeform 5232">
                  <a:extLst>
                    <a:ext uri="{FF2B5EF4-FFF2-40B4-BE49-F238E27FC236}">
                      <a16:creationId xmlns:a16="http://schemas.microsoft.com/office/drawing/2014/main" id="{97E9D921-44E9-8A20-3146-30A46E321856}"/>
                    </a:ext>
                  </a:extLst>
                </p:cNvPr>
                <p:cNvSpPr/>
                <p:nvPr/>
              </p:nvSpPr>
              <p:spPr>
                <a:xfrm>
                  <a:off x="9205512" y="5599315"/>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7" name="Freeform 5233">
                  <a:extLst>
                    <a:ext uri="{FF2B5EF4-FFF2-40B4-BE49-F238E27FC236}">
                      <a16:creationId xmlns:a16="http://schemas.microsoft.com/office/drawing/2014/main" id="{E6B91745-76FD-BCCF-3AA1-02244ED3EFA7}"/>
                    </a:ext>
                  </a:extLst>
                </p:cNvPr>
                <p:cNvSpPr/>
                <p:nvPr/>
              </p:nvSpPr>
              <p:spPr>
                <a:xfrm>
                  <a:off x="9193802" y="5583572"/>
                  <a:ext cx="26627" cy="26504"/>
                </a:xfrm>
                <a:custGeom>
                  <a:avLst/>
                  <a:gdLst>
                    <a:gd name="connsiteX0" fmla="*/ 26579 w 26627"/>
                    <a:gd name="connsiteY0" fmla="*/ 14373 h 26504"/>
                    <a:gd name="connsiteX1" fmla="*/ 12255 w 26627"/>
                    <a:gd name="connsiteY1" fmla="*/ 26455 h 26504"/>
                    <a:gd name="connsiteX2" fmla="*/ 48 w 26627"/>
                    <a:gd name="connsiteY2" fmla="*/ 12131 h 26504"/>
                    <a:gd name="connsiteX3" fmla="*/ 14373 w 26627"/>
                    <a:gd name="connsiteY3" fmla="*/ 49 h 26504"/>
                    <a:gd name="connsiteX4" fmla="*/ 26579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26579" y="14373"/>
                      </a:moveTo>
                      <a:cubicBezTo>
                        <a:pt x="25956" y="21722"/>
                        <a:pt x="19479" y="27078"/>
                        <a:pt x="12255" y="26455"/>
                      </a:cubicBezTo>
                      <a:cubicBezTo>
                        <a:pt x="4906" y="25833"/>
                        <a:pt x="-574" y="19480"/>
                        <a:pt x="48" y="12131"/>
                      </a:cubicBezTo>
                      <a:cubicBezTo>
                        <a:pt x="671" y="4783"/>
                        <a:pt x="7023" y="-574"/>
                        <a:pt x="14373" y="49"/>
                      </a:cubicBezTo>
                      <a:cubicBezTo>
                        <a:pt x="21721" y="672"/>
                        <a:pt x="27202" y="7149"/>
                        <a:pt x="2657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8" name="Freeform 5234">
                  <a:extLst>
                    <a:ext uri="{FF2B5EF4-FFF2-40B4-BE49-F238E27FC236}">
                      <a16:creationId xmlns:a16="http://schemas.microsoft.com/office/drawing/2014/main" id="{37575F09-67BD-2523-AE08-636CA3947B0C}"/>
                    </a:ext>
                  </a:extLst>
                </p:cNvPr>
                <p:cNvSpPr/>
                <p:nvPr/>
              </p:nvSpPr>
              <p:spPr>
                <a:xfrm>
                  <a:off x="9201075" y="5660224"/>
                  <a:ext cx="4981" cy="51940"/>
                </a:xfrm>
                <a:custGeom>
                  <a:avLst/>
                  <a:gdLst>
                    <a:gd name="connsiteX0" fmla="*/ 0 w 4981"/>
                    <a:gd name="connsiteY0" fmla="*/ 51941 h 51940"/>
                    <a:gd name="connsiteX1" fmla="*/ 3487 w 4981"/>
                    <a:gd name="connsiteY1" fmla="*/ 33506 h 51940"/>
                    <a:gd name="connsiteX2" fmla="*/ 1495 w 4981"/>
                    <a:gd name="connsiteY2" fmla="*/ 16192 h 51940"/>
                    <a:gd name="connsiteX3" fmla="*/ 4982 w 4981"/>
                    <a:gd name="connsiteY3" fmla="*/ 0 h 51940"/>
                  </a:gdLst>
                  <a:ahLst/>
                  <a:cxnLst>
                    <a:cxn ang="0">
                      <a:pos x="connsiteX0" y="connsiteY0"/>
                    </a:cxn>
                    <a:cxn ang="0">
                      <a:pos x="connsiteX1" y="connsiteY1"/>
                    </a:cxn>
                    <a:cxn ang="0">
                      <a:pos x="connsiteX2" y="connsiteY2"/>
                    </a:cxn>
                    <a:cxn ang="0">
                      <a:pos x="connsiteX3" y="connsiteY3"/>
                    </a:cxn>
                  </a:cxnLst>
                  <a:rect l="l" t="t" r="r" b="b"/>
                  <a:pathLst>
                    <a:path w="4981" h="51940">
                      <a:moveTo>
                        <a:pt x="0" y="51941"/>
                      </a:moveTo>
                      <a:cubicBezTo>
                        <a:pt x="3114" y="44094"/>
                        <a:pt x="3612" y="37866"/>
                        <a:pt x="3487" y="33506"/>
                      </a:cubicBezTo>
                      <a:cubicBezTo>
                        <a:pt x="3239" y="26531"/>
                        <a:pt x="1495" y="23292"/>
                        <a:pt x="1495" y="16192"/>
                      </a:cubicBezTo>
                      <a:cubicBezTo>
                        <a:pt x="1619" y="9342"/>
                        <a:pt x="3487" y="3737"/>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9" name="Freeform 5235">
                  <a:extLst>
                    <a:ext uri="{FF2B5EF4-FFF2-40B4-BE49-F238E27FC236}">
                      <a16:creationId xmlns:a16="http://schemas.microsoft.com/office/drawing/2014/main" id="{910A206A-23AA-2F9F-7CCB-3E721EA69119}"/>
                    </a:ext>
                  </a:extLst>
                </p:cNvPr>
                <p:cNvSpPr/>
                <p:nvPr/>
              </p:nvSpPr>
              <p:spPr>
                <a:xfrm>
                  <a:off x="9192410" y="5664584"/>
                  <a:ext cx="6096" cy="51940"/>
                </a:xfrm>
                <a:custGeom>
                  <a:avLst/>
                  <a:gdLst>
                    <a:gd name="connsiteX0" fmla="*/ 4928 w 6096"/>
                    <a:gd name="connsiteY0" fmla="*/ 0 h 51940"/>
                    <a:gd name="connsiteX1" fmla="*/ 5301 w 6096"/>
                    <a:gd name="connsiteY1" fmla="*/ 18808 h 51940"/>
                    <a:gd name="connsiteX2" fmla="*/ 444 w 6096"/>
                    <a:gd name="connsiteY2" fmla="*/ 35499 h 51940"/>
                    <a:gd name="connsiteX3" fmla="*/ 1191 w 609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096" h="51940">
                      <a:moveTo>
                        <a:pt x="4928" y="0"/>
                      </a:moveTo>
                      <a:cubicBezTo>
                        <a:pt x="6671" y="8221"/>
                        <a:pt x="6173" y="14573"/>
                        <a:pt x="5301" y="18808"/>
                      </a:cubicBezTo>
                      <a:cubicBezTo>
                        <a:pt x="3932" y="25659"/>
                        <a:pt x="1565" y="28523"/>
                        <a:pt x="444" y="35499"/>
                      </a:cubicBezTo>
                      <a:cubicBezTo>
                        <a:pt x="-552" y="42350"/>
                        <a:pt x="320" y="48204"/>
                        <a:pt x="119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0" name="Freeform 5236">
                  <a:extLst>
                    <a:ext uri="{FF2B5EF4-FFF2-40B4-BE49-F238E27FC236}">
                      <a16:creationId xmlns:a16="http://schemas.microsoft.com/office/drawing/2014/main" id="{694ADDA9-DFD9-FE35-0352-BBD1A92F9DD2}"/>
                    </a:ext>
                  </a:extLst>
                </p:cNvPr>
                <p:cNvSpPr/>
                <p:nvPr/>
              </p:nvSpPr>
              <p:spPr>
                <a:xfrm>
                  <a:off x="9183713" y="5705655"/>
                  <a:ext cx="26254" cy="26470"/>
                </a:xfrm>
                <a:custGeom>
                  <a:avLst/>
                  <a:gdLst>
                    <a:gd name="connsiteX0" fmla="*/ 48 w 26254"/>
                    <a:gd name="connsiteY0" fmla="*/ 12239 h 26470"/>
                    <a:gd name="connsiteX1" fmla="*/ 14248 w 26254"/>
                    <a:gd name="connsiteY1" fmla="*/ 32 h 26470"/>
                    <a:gd name="connsiteX2" fmla="*/ 26205 w 26254"/>
                    <a:gd name="connsiteY2" fmla="*/ 14232 h 26470"/>
                    <a:gd name="connsiteX3" fmla="*/ 12006 w 26254"/>
                    <a:gd name="connsiteY3" fmla="*/ 26438 h 26470"/>
                    <a:gd name="connsiteX4" fmla="*/ 48 w 26254"/>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470">
                      <a:moveTo>
                        <a:pt x="48" y="12239"/>
                      </a:moveTo>
                      <a:cubicBezTo>
                        <a:pt x="671" y="4890"/>
                        <a:pt x="7023" y="-466"/>
                        <a:pt x="14248" y="32"/>
                      </a:cubicBezTo>
                      <a:cubicBezTo>
                        <a:pt x="21473" y="530"/>
                        <a:pt x="26828" y="7007"/>
                        <a:pt x="26205" y="14232"/>
                      </a:cubicBezTo>
                      <a:cubicBezTo>
                        <a:pt x="25582" y="21581"/>
                        <a:pt x="19230" y="26937"/>
                        <a:pt x="12006" y="26438"/>
                      </a:cubicBezTo>
                      <a:cubicBezTo>
                        <a:pt x="4906" y="25816"/>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0" name="Graphic 2987">
                <a:extLst>
                  <a:ext uri="{FF2B5EF4-FFF2-40B4-BE49-F238E27FC236}">
                    <a16:creationId xmlns:a16="http://schemas.microsoft.com/office/drawing/2014/main" id="{052FB1F5-3ECE-D63E-849E-3446A953BDA8}"/>
                  </a:ext>
                </a:extLst>
              </p:cNvPr>
              <p:cNvGrpSpPr/>
              <p:nvPr/>
            </p:nvGrpSpPr>
            <p:grpSpPr>
              <a:xfrm>
                <a:off x="9213108" y="5585938"/>
                <a:ext cx="36967" cy="148553"/>
                <a:chOff x="9213108" y="5585938"/>
                <a:chExt cx="36967" cy="148553"/>
              </a:xfrm>
              <a:grpFill/>
            </p:grpSpPr>
            <p:sp>
              <p:nvSpPr>
                <p:cNvPr id="4319" name="Freeform 5238">
                  <a:extLst>
                    <a:ext uri="{FF2B5EF4-FFF2-40B4-BE49-F238E27FC236}">
                      <a16:creationId xmlns:a16="http://schemas.microsoft.com/office/drawing/2014/main" id="{42E3351A-A38F-9475-7799-F25031FBCE99}"/>
                    </a:ext>
                  </a:extLst>
                </p:cNvPr>
                <p:cNvSpPr/>
                <p:nvPr/>
              </p:nvSpPr>
              <p:spPr>
                <a:xfrm>
                  <a:off x="9227232" y="5606041"/>
                  <a:ext cx="5231" cy="51816"/>
                </a:xfrm>
                <a:custGeom>
                  <a:avLst/>
                  <a:gdLst>
                    <a:gd name="connsiteX0" fmla="*/ 5231 w 5231"/>
                    <a:gd name="connsiteY0" fmla="*/ 0 h 51816"/>
                    <a:gd name="connsiteX1" fmla="*/ 1619 w 5231"/>
                    <a:gd name="connsiteY1" fmla="*/ 18435 h 51816"/>
                    <a:gd name="connsiteX2" fmla="*/ 3613 w 5231"/>
                    <a:gd name="connsiteY2" fmla="*/ 35748 h 51816"/>
                    <a:gd name="connsiteX3" fmla="*/ 0 w 523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0"/>
                      </a:moveTo>
                      <a:cubicBezTo>
                        <a:pt x="2117" y="7847"/>
                        <a:pt x="1495" y="14075"/>
                        <a:pt x="1619" y="18435"/>
                      </a:cubicBezTo>
                      <a:cubicBezTo>
                        <a:pt x="1744" y="25410"/>
                        <a:pt x="3613"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0" name="Freeform 5239">
                  <a:extLst>
                    <a:ext uri="{FF2B5EF4-FFF2-40B4-BE49-F238E27FC236}">
                      <a16:creationId xmlns:a16="http://schemas.microsoft.com/office/drawing/2014/main" id="{BCB5ED6D-FCE1-8AC8-2586-F6A69E232046}"/>
                    </a:ext>
                  </a:extLst>
                </p:cNvPr>
                <p:cNvSpPr/>
                <p:nvPr/>
              </p:nvSpPr>
              <p:spPr>
                <a:xfrm>
                  <a:off x="9235032" y="5601682"/>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1" name="Freeform 5240">
                  <a:extLst>
                    <a:ext uri="{FF2B5EF4-FFF2-40B4-BE49-F238E27FC236}">
                      <a16:creationId xmlns:a16="http://schemas.microsoft.com/office/drawing/2014/main" id="{0C5023D4-6ED7-6E94-E47D-1A00DC6A4B3E}"/>
                    </a:ext>
                  </a:extLst>
                </p:cNvPr>
                <p:cNvSpPr/>
                <p:nvPr/>
              </p:nvSpPr>
              <p:spPr>
                <a:xfrm>
                  <a:off x="9223446" y="5585938"/>
                  <a:ext cx="26629" cy="26503"/>
                </a:xfrm>
                <a:custGeom>
                  <a:avLst/>
                  <a:gdLst>
                    <a:gd name="connsiteX0" fmla="*/ 26580 w 26629"/>
                    <a:gd name="connsiteY0" fmla="*/ 14373 h 26503"/>
                    <a:gd name="connsiteX1" fmla="*/ 12131 w 26629"/>
                    <a:gd name="connsiteY1" fmla="*/ 26455 h 26503"/>
                    <a:gd name="connsiteX2" fmla="*/ 49 w 26629"/>
                    <a:gd name="connsiteY2" fmla="*/ 12131 h 26503"/>
                    <a:gd name="connsiteX3" fmla="*/ 14498 w 26629"/>
                    <a:gd name="connsiteY3" fmla="*/ 49 h 26503"/>
                    <a:gd name="connsiteX4" fmla="*/ 26580 w 26629"/>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3">
                      <a:moveTo>
                        <a:pt x="26580" y="14373"/>
                      </a:moveTo>
                      <a:cubicBezTo>
                        <a:pt x="25957" y="21598"/>
                        <a:pt x="19480" y="27078"/>
                        <a:pt x="12131" y="26455"/>
                      </a:cubicBezTo>
                      <a:cubicBezTo>
                        <a:pt x="4782" y="25832"/>
                        <a:pt x="-573" y="19480"/>
                        <a:pt x="49" y="12131"/>
                      </a:cubicBezTo>
                      <a:cubicBezTo>
                        <a:pt x="672" y="4783"/>
                        <a:pt x="7149" y="-574"/>
                        <a:pt x="14498" y="49"/>
                      </a:cubicBezTo>
                      <a:cubicBezTo>
                        <a:pt x="21847" y="672"/>
                        <a:pt x="27203" y="7149"/>
                        <a:pt x="2658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2" name="Freeform 5241">
                  <a:extLst>
                    <a:ext uri="{FF2B5EF4-FFF2-40B4-BE49-F238E27FC236}">
                      <a16:creationId xmlns:a16="http://schemas.microsoft.com/office/drawing/2014/main" id="{5F3EE967-3F05-B782-D12B-93E0F1D12444}"/>
                    </a:ext>
                  </a:extLst>
                </p:cNvPr>
                <p:cNvSpPr/>
                <p:nvPr/>
              </p:nvSpPr>
              <p:spPr>
                <a:xfrm>
                  <a:off x="9230471" y="5662591"/>
                  <a:ext cx="5355" cy="51816"/>
                </a:xfrm>
                <a:custGeom>
                  <a:avLst/>
                  <a:gdLst>
                    <a:gd name="connsiteX0" fmla="*/ 0 w 5355"/>
                    <a:gd name="connsiteY0" fmla="*/ 51816 h 51816"/>
                    <a:gd name="connsiteX1" fmla="*/ 3612 w 5355"/>
                    <a:gd name="connsiteY1" fmla="*/ 33381 h 51816"/>
                    <a:gd name="connsiteX2" fmla="*/ 1744 w 5355"/>
                    <a:gd name="connsiteY2" fmla="*/ 16068 h 51816"/>
                    <a:gd name="connsiteX3" fmla="*/ 5356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0" y="51816"/>
                      </a:moveTo>
                      <a:cubicBezTo>
                        <a:pt x="3114" y="43969"/>
                        <a:pt x="3737" y="37741"/>
                        <a:pt x="3612" y="33381"/>
                      </a:cubicBezTo>
                      <a:cubicBezTo>
                        <a:pt x="3488" y="26406"/>
                        <a:pt x="1619" y="23168"/>
                        <a:pt x="1744" y="16068"/>
                      </a:cubicBezTo>
                      <a:cubicBezTo>
                        <a:pt x="1869"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3" name="Freeform 5242">
                  <a:extLst>
                    <a:ext uri="{FF2B5EF4-FFF2-40B4-BE49-F238E27FC236}">
                      <a16:creationId xmlns:a16="http://schemas.microsoft.com/office/drawing/2014/main" id="{6EA226D5-936B-93F3-4161-D82AC0CBA2B4}"/>
                    </a:ext>
                  </a:extLst>
                </p:cNvPr>
                <p:cNvSpPr/>
                <p:nvPr/>
              </p:nvSpPr>
              <p:spPr>
                <a:xfrm>
                  <a:off x="9221875" y="5666950"/>
                  <a:ext cx="6151" cy="51940"/>
                </a:xfrm>
                <a:custGeom>
                  <a:avLst/>
                  <a:gdLst>
                    <a:gd name="connsiteX0" fmla="*/ 4984 w 6151"/>
                    <a:gd name="connsiteY0" fmla="*/ 0 h 51940"/>
                    <a:gd name="connsiteX1" fmla="*/ 5357 w 6151"/>
                    <a:gd name="connsiteY1" fmla="*/ 18808 h 51940"/>
                    <a:gd name="connsiteX2" fmla="*/ 499 w 6151"/>
                    <a:gd name="connsiteY2" fmla="*/ 35499 h 51940"/>
                    <a:gd name="connsiteX3" fmla="*/ 1246 w 615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0"/>
                      </a:moveTo>
                      <a:cubicBezTo>
                        <a:pt x="6727" y="8221"/>
                        <a:pt x="6229" y="14573"/>
                        <a:pt x="5357" y="18808"/>
                      </a:cubicBezTo>
                      <a:cubicBezTo>
                        <a:pt x="3987" y="25659"/>
                        <a:pt x="1620" y="28523"/>
                        <a:pt x="499" y="35499"/>
                      </a:cubicBezTo>
                      <a:cubicBezTo>
                        <a:pt x="-622" y="42350"/>
                        <a:pt x="375" y="48204"/>
                        <a:pt x="124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4" name="Freeform 5243">
                  <a:extLst>
                    <a:ext uri="{FF2B5EF4-FFF2-40B4-BE49-F238E27FC236}">
                      <a16:creationId xmlns:a16="http://schemas.microsoft.com/office/drawing/2014/main" id="{CB755FA1-D726-5103-3FF2-ABAC295EA2FA}"/>
                    </a:ext>
                  </a:extLst>
                </p:cNvPr>
                <p:cNvSpPr/>
                <p:nvPr/>
              </p:nvSpPr>
              <p:spPr>
                <a:xfrm>
                  <a:off x="9213108" y="5707897"/>
                  <a:ext cx="26256" cy="26594"/>
                </a:xfrm>
                <a:custGeom>
                  <a:avLst/>
                  <a:gdLst>
                    <a:gd name="connsiteX0" fmla="*/ 49 w 26256"/>
                    <a:gd name="connsiteY0" fmla="*/ 12239 h 26594"/>
                    <a:gd name="connsiteX1" fmla="*/ 14249 w 26256"/>
                    <a:gd name="connsiteY1" fmla="*/ 32 h 26594"/>
                    <a:gd name="connsiteX2" fmla="*/ 26207 w 26256"/>
                    <a:gd name="connsiteY2" fmla="*/ 14357 h 26594"/>
                    <a:gd name="connsiteX3" fmla="*/ 12007 w 26256"/>
                    <a:gd name="connsiteY3" fmla="*/ 26563 h 26594"/>
                    <a:gd name="connsiteX4" fmla="*/ 49 w 26256"/>
                    <a:gd name="connsiteY4" fmla="*/ 12239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94">
                      <a:moveTo>
                        <a:pt x="49" y="12239"/>
                      </a:moveTo>
                      <a:cubicBezTo>
                        <a:pt x="672" y="4890"/>
                        <a:pt x="7024" y="-466"/>
                        <a:pt x="14249" y="32"/>
                      </a:cubicBezTo>
                      <a:cubicBezTo>
                        <a:pt x="21474" y="655"/>
                        <a:pt x="26829" y="7007"/>
                        <a:pt x="26207" y="14357"/>
                      </a:cubicBezTo>
                      <a:cubicBezTo>
                        <a:pt x="25583" y="21581"/>
                        <a:pt x="19232" y="27061"/>
                        <a:pt x="12007" y="26563"/>
                      </a:cubicBezTo>
                      <a:cubicBezTo>
                        <a:pt x="4782" y="25940"/>
                        <a:pt x="-573" y="19588"/>
                        <a:pt x="4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1" name="Graphic 2987">
                <a:extLst>
                  <a:ext uri="{FF2B5EF4-FFF2-40B4-BE49-F238E27FC236}">
                    <a16:creationId xmlns:a16="http://schemas.microsoft.com/office/drawing/2014/main" id="{D3436AC1-B23D-896B-7D59-F0D167552C52}"/>
                  </a:ext>
                </a:extLst>
              </p:cNvPr>
              <p:cNvGrpSpPr/>
              <p:nvPr/>
            </p:nvGrpSpPr>
            <p:grpSpPr>
              <a:xfrm>
                <a:off x="9242378" y="5588679"/>
                <a:ext cx="37361" cy="148447"/>
                <a:chOff x="9242378" y="5588679"/>
                <a:chExt cx="37361" cy="148447"/>
              </a:xfrm>
              <a:grpFill/>
            </p:grpSpPr>
            <p:sp>
              <p:nvSpPr>
                <p:cNvPr id="4313" name="Freeform 5245">
                  <a:extLst>
                    <a:ext uri="{FF2B5EF4-FFF2-40B4-BE49-F238E27FC236}">
                      <a16:creationId xmlns:a16="http://schemas.microsoft.com/office/drawing/2014/main" id="{B99D4C65-5D47-BA6F-0A43-C22538F313A3}"/>
                    </a:ext>
                  </a:extLst>
                </p:cNvPr>
                <p:cNvSpPr/>
                <p:nvPr/>
              </p:nvSpPr>
              <p:spPr>
                <a:xfrm>
                  <a:off x="9256752" y="5608657"/>
                  <a:ext cx="5355" cy="51816"/>
                </a:xfrm>
                <a:custGeom>
                  <a:avLst/>
                  <a:gdLst>
                    <a:gd name="connsiteX0" fmla="*/ 5356 w 5355"/>
                    <a:gd name="connsiteY0" fmla="*/ 0 h 51816"/>
                    <a:gd name="connsiteX1" fmla="*/ 1744 w 5355"/>
                    <a:gd name="connsiteY1" fmla="*/ 18435 h 51816"/>
                    <a:gd name="connsiteX2" fmla="*/ 3613 w 5355"/>
                    <a:gd name="connsiteY2" fmla="*/ 35748 h 51816"/>
                    <a:gd name="connsiteX3" fmla="*/ 0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0"/>
                      </a:moveTo>
                      <a:cubicBezTo>
                        <a:pt x="2118" y="7723"/>
                        <a:pt x="1619" y="14075"/>
                        <a:pt x="1744" y="18435"/>
                      </a:cubicBezTo>
                      <a:cubicBezTo>
                        <a:pt x="1869" y="25410"/>
                        <a:pt x="3737"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4" name="Freeform 5246">
                  <a:extLst>
                    <a:ext uri="{FF2B5EF4-FFF2-40B4-BE49-F238E27FC236}">
                      <a16:creationId xmlns:a16="http://schemas.microsoft.com/office/drawing/2014/main" id="{76B02ED2-29B1-3EDC-D8C4-BD9B9ED6AF2B}"/>
                    </a:ext>
                  </a:extLst>
                </p:cNvPr>
                <p:cNvSpPr/>
                <p:nvPr/>
              </p:nvSpPr>
              <p:spPr>
                <a:xfrm>
                  <a:off x="9264610" y="5604298"/>
                  <a:ext cx="6369" cy="51940"/>
                </a:xfrm>
                <a:custGeom>
                  <a:avLst/>
                  <a:gdLst>
                    <a:gd name="connsiteX0" fmla="*/ 1111 w 6369"/>
                    <a:gd name="connsiteY0" fmla="*/ 51940 h 51940"/>
                    <a:gd name="connsiteX1" fmla="*/ 861 w 6369"/>
                    <a:gd name="connsiteY1" fmla="*/ 33132 h 51940"/>
                    <a:gd name="connsiteX2" fmla="*/ 5844 w 6369"/>
                    <a:gd name="connsiteY2" fmla="*/ 16441 h 51940"/>
                    <a:gd name="connsiteX3" fmla="*/ 5097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1111" y="51940"/>
                      </a:moveTo>
                      <a:cubicBezTo>
                        <a:pt x="-633" y="43719"/>
                        <a:pt x="-11" y="37367"/>
                        <a:pt x="861" y="33132"/>
                      </a:cubicBezTo>
                      <a:cubicBezTo>
                        <a:pt x="2231" y="26281"/>
                        <a:pt x="4722" y="23417"/>
                        <a:pt x="5844" y="16441"/>
                      </a:cubicBezTo>
                      <a:cubicBezTo>
                        <a:pt x="6964" y="9591"/>
                        <a:pt x="6092" y="3737"/>
                        <a:pt x="509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5" name="Freeform 5247">
                  <a:extLst>
                    <a:ext uri="{FF2B5EF4-FFF2-40B4-BE49-F238E27FC236}">
                      <a16:creationId xmlns:a16="http://schemas.microsoft.com/office/drawing/2014/main" id="{260FD23F-EE29-3A31-31CF-08915BBB93EA}"/>
                    </a:ext>
                  </a:extLst>
                </p:cNvPr>
                <p:cNvSpPr/>
                <p:nvPr/>
              </p:nvSpPr>
              <p:spPr>
                <a:xfrm>
                  <a:off x="9253091" y="5588679"/>
                  <a:ext cx="26648" cy="26505"/>
                </a:xfrm>
                <a:custGeom>
                  <a:avLst/>
                  <a:gdLst>
                    <a:gd name="connsiteX0" fmla="*/ 26580 w 26648"/>
                    <a:gd name="connsiteY0" fmla="*/ 14498 h 26505"/>
                    <a:gd name="connsiteX1" fmla="*/ 12131 w 26648"/>
                    <a:gd name="connsiteY1" fmla="*/ 26455 h 26505"/>
                    <a:gd name="connsiteX2" fmla="*/ 49 w 26648"/>
                    <a:gd name="connsiteY2" fmla="*/ 12007 h 26505"/>
                    <a:gd name="connsiteX3" fmla="*/ 14498 w 26648"/>
                    <a:gd name="connsiteY3" fmla="*/ 49 h 26505"/>
                    <a:gd name="connsiteX4" fmla="*/ 26580 w 26648"/>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5">
                      <a:moveTo>
                        <a:pt x="26580" y="14498"/>
                      </a:moveTo>
                      <a:cubicBezTo>
                        <a:pt x="25957" y="21847"/>
                        <a:pt x="19480" y="27078"/>
                        <a:pt x="12131" y="26455"/>
                      </a:cubicBezTo>
                      <a:cubicBezTo>
                        <a:pt x="4782" y="25708"/>
                        <a:pt x="-573" y="19231"/>
                        <a:pt x="49" y="12007"/>
                      </a:cubicBezTo>
                      <a:cubicBezTo>
                        <a:pt x="672" y="4782"/>
                        <a:pt x="7149" y="-574"/>
                        <a:pt x="14498" y="49"/>
                      </a:cubicBezTo>
                      <a:cubicBezTo>
                        <a:pt x="21847" y="797"/>
                        <a:pt x="27327" y="7273"/>
                        <a:pt x="2658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6" name="Freeform 5248">
                  <a:extLst>
                    <a:ext uri="{FF2B5EF4-FFF2-40B4-BE49-F238E27FC236}">
                      <a16:creationId xmlns:a16="http://schemas.microsoft.com/office/drawing/2014/main" id="{B35B32E3-070A-52F5-D7C5-10E609D6D3C1}"/>
                    </a:ext>
                  </a:extLst>
                </p:cNvPr>
                <p:cNvSpPr/>
                <p:nvPr/>
              </p:nvSpPr>
              <p:spPr>
                <a:xfrm>
                  <a:off x="9259741" y="5665331"/>
                  <a:ext cx="5356" cy="51816"/>
                </a:xfrm>
                <a:custGeom>
                  <a:avLst/>
                  <a:gdLst>
                    <a:gd name="connsiteX0" fmla="*/ 0 w 5356"/>
                    <a:gd name="connsiteY0" fmla="*/ 51816 h 51816"/>
                    <a:gd name="connsiteX1" fmla="*/ 3613 w 5356"/>
                    <a:gd name="connsiteY1" fmla="*/ 33381 h 51816"/>
                    <a:gd name="connsiteX2" fmla="*/ 1744 w 5356"/>
                    <a:gd name="connsiteY2" fmla="*/ 16068 h 51816"/>
                    <a:gd name="connsiteX3" fmla="*/ 5357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0" y="51816"/>
                      </a:moveTo>
                      <a:cubicBezTo>
                        <a:pt x="3114" y="44094"/>
                        <a:pt x="3737" y="37741"/>
                        <a:pt x="3613" y="33381"/>
                      </a:cubicBezTo>
                      <a:cubicBezTo>
                        <a:pt x="3488" y="26406"/>
                        <a:pt x="1619" y="23168"/>
                        <a:pt x="1744" y="16068"/>
                      </a:cubicBezTo>
                      <a:cubicBezTo>
                        <a:pt x="1869" y="9217"/>
                        <a:pt x="3737" y="3612"/>
                        <a:pt x="53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7" name="Freeform 5249">
                  <a:extLst>
                    <a:ext uri="{FF2B5EF4-FFF2-40B4-BE49-F238E27FC236}">
                      <a16:creationId xmlns:a16="http://schemas.microsoft.com/office/drawing/2014/main" id="{F69DD4E4-124E-5860-F541-8ABCD5262881}"/>
                    </a:ext>
                  </a:extLst>
                </p:cNvPr>
                <p:cNvSpPr/>
                <p:nvPr/>
              </p:nvSpPr>
              <p:spPr>
                <a:xfrm>
                  <a:off x="9251115" y="5669441"/>
                  <a:ext cx="6249" cy="51940"/>
                </a:xfrm>
                <a:custGeom>
                  <a:avLst/>
                  <a:gdLst>
                    <a:gd name="connsiteX0" fmla="*/ 5139 w 6249"/>
                    <a:gd name="connsiteY0" fmla="*/ 0 h 51940"/>
                    <a:gd name="connsiteX1" fmla="*/ 5389 w 6249"/>
                    <a:gd name="connsiteY1" fmla="*/ 18808 h 51940"/>
                    <a:gd name="connsiteX2" fmla="*/ 531 w 6249"/>
                    <a:gd name="connsiteY2" fmla="*/ 35499 h 51940"/>
                    <a:gd name="connsiteX3" fmla="*/ 1153 w 624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9" h="51940">
                      <a:moveTo>
                        <a:pt x="5139" y="0"/>
                      </a:moveTo>
                      <a:cubicBezTo>
                        <a:pt x="6883" y="8221"/>
                        <a:pt x="6260" y="14573"/>
                        <a:pt x="5389" y="18808"/>
                      </a:cubicBezTo>
                      <a:cubicBezTo>
                        <a:pt x="4018" y="25659"/>
                        <a:pt x="1651" y="28524"/>
                        <a:pt x="531" y="35499"/>
                      </a:cubicBezTo>
                      <a:cubicBezTo>
                        <a:pt x="-591" y="42350"/>
                        <a:pt x="281" y="48204"/>
                        <a:pt x="115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8" name="Freeform 5250">
                  <a:extLst>
                    <a:ext uri="{FF2B5EF4-FFF2-40B4-BE49-F238E27FC236}">
                      <a16:creationId xmlns:a16="http://schemas.microsoft.com/office/drawing/2014/main" id="{6AE2A716-6859-C1DD-183F-50B62F4466AA}"/>
                    </a:ext>
                  </a:extLst>
                </p:cNvPr>
                <p:cNvSpPr/>
                <p:nvPr/>
              </p:nvSpPr>
              <p:spPr>
                <a:xfrm>
                  <a:off x="9242378" y="5710619"/>
                  <a:ext cx="26381" cy="26507"/>
                </a:xfrm>
                <a:custGeom>
                  <a:avLst/>
                  <a:gdLst>
                    <a:gd name="connsiteX0" fmla="*/ 50 w 26381"/>
                    <a:gd name="connsiteY0" fmla="*/ 12008 h 26507"/>
                    <a:gd name="connsiteX1" fmla="*/ 14374 w 26381"/>
                    <a:gd name="connsiteY1" fmla="*/ 50 h 26507"/>
                    <a:gd name="connsiteX2" fmla="*/ 26332 w 26381"/>
                    <a:gd name="connsiteY2" fmla="*/ 14499 h 26507"/>
                    <a:gd name="connsiteX3" fmla="*/ 12007 w 26381"/>
                    <a:gd name="connsiteY3" fmla="*/ 26457 h 26507"/>
                    <a:gd name="connsiteX4" fmla="*/ 50 w 26381"/>
                    <a:gd name="connsiteY4" fmla="*/ 12008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6">
                      <a:moveTo>
                        <a:pt x="50" y="12008"/>
                      </a:moveTo>
                      <a:cubicBezTo>
                        <a:pt x="673" y="4659"/>
                        <a:pt x="7026" y="-572"/>
                        <a:pt x="14374" y="50"/>
                      </a:cubicBezTo>
                      <a:cubicBezTo>
                        <a:pt x="21599" y="798"/>
                        <a:pt x="26954" y="7275"/>
                        <a:pt x="26332" y="14499"/>
                      </a:cubicBezTo>
                      <a:cubicBezTo>
                        <a:pt x="25709" y="21848"/>
                        <a:pt x="19232" y="27079"/>
                        <a:pt x="12007" y="26457"/>
                      </a:cubicBezTo>
                      <a:cubicBezTo>
                        <a:pt x="4659" y="25709"/>
                        <a:pt x="-573" y="19232"/>
                        <a:pt x="5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2" name="Graphic 2987">
                <a:extLst>
                  <a:ext uri="{FF2B5EF4-FFF2-40B4-BE49-F238E27FC236}">
                    <a16:creationId xmlns:a16="http://schemas.microsoft.com/office/drawing/2014/main" id="{90CC7C1A-1579-C052-D3F9-A097F5542FF2}"/>
                  </a:ext>
                </a:extLst>
              </p:cNvPr>
              <p:cNvGrpSpPr/>
              <p:nvPr/>
            </p:nvGrpSpPr>
            <p:grpSpPr>
              <a:xfrm>
                <a:off x="9271630" y="5591542"/>
                <a:ext cx="37754" cy="148323"/>
                <a:chOff x="9271630" y="5591542"/>
                <a:chExt cx="37754" cy="148323"/>
              </a:xfrm>
              <a:grpFill/>
            </p:grpSpPr>
            <p:sp>
              <p:nvSpPr>
                <p:cNvPr id="4307" name="Freeform 5252">
                  <a:extLst>
                    <a:ext uri="{FF2B5EF4-FFF2-40B4-BE49-F238E27FC236}">
                      <a16:creationId xmlns:a16="http://schemas.microsoft.com/office/drawing/2014/main" id="{C1BE903E-BB44-32D5-28BE-CF8C204D1CBA}"/>
                    </a:ext>
                  </a:extLst>
                </p:cNvPr>
                <p:cNvSpPr/>
                <p:nvPr/>
              </p:nvSpPr>
              <p:spPr>
                <a:xfrm>
                  <a:off x="9286272" y="5611397"/>
                  <a:ext cx="5480" cy="51816"/>
                </a:xfrm>
                <a:custGeom>
                  <a:avLst/>
                  <a:gdLst>
                    <a:gd name="connsiteX0" fmla="*/ 5481 w 5480"/>
                    <a:gd name="connsiteY0" fmla="*/ 0 h 51816"/>
                    <a:gd name="connsiteX1" fmla="*/ 1744 w 5480"/>
                    <a:gd name="connsiteY1" fmla="*/ 18435 h 51816"/>
                    <a:gd name="connsiteX2" fmla="*/ 3613 w 5480"/>
                    <a:gd name="connsiteY2" fmla="*/ 35748 h 51816"/>
                    <a:gd name="connsiteX3" fmla="*/ 0 w 5480"/>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480" h="51816">
                      <a:moveTo>
                        <a:pt x="5481" y="0"/>
                      </a:moveTo>
                      <a:cubicBezTo>
                        <a:pt x="2242" y="7723"/>
                        <a:pt x="1744" y="14075"/>
                        <a:pt x="1744" y="18435"/>
                      </a:cubicBezTo>
                      <a:cubicBezTo>
                        <a:pt x="1869" y="25410"/>
                        <a:pt x="3737" y="28648"/>
                        <a:pt x="3613"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8" name="Freeform 5253">
                  <a:extLst>
                    <a:ext uri="{FF2B5EF4-FFF2-40B4-BE49-F238E27FC236}">
                      <a16:creationId xmlns:a16="http://schemas.microsoft.com/office/drawing/2014/main" id="{7D2A6E72-5E66-58CB-4B43-6ACDBB4E9710}"/>
                    </a:ext>
                  </a:extLst>
                </p:cNvPr>
                <p:cNvSpPr/>
                <p:nvPr/>
              </p:nvSpPr>
              <p:spPr>
                <a:xfrm>
                  <a:off x="9294006" y="5607162"/>
                  <a:ext cx="6374" cy="51940"/>
                </a:xfrm>
                <a:custGeom>
                  <a:avLst/>
                  <a:gdLst>
                    <a:gd name="connsiteX0" fmla="*/ 1111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51941"/>
                      </a:moveTo>
                      <a:cubicBezTo>
                        <a:pt x="-633" y="43720"/>
                        <a:pt x="-11" y="37367"/>
                        <a:pt x="861" y="33132"/>
                      </a:cubicBezTo>
                      <a:cubicBezTo>
                        <a:pt x="2232" y="26282"/>
                        <a:pt x="4722" y="23417"/>
                        <a:pt x="5844" y="16442"/>
                      </a:cubicBezTo>
                      <a:cubicBezTo>
                        <a:pt x="6964"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9" name="Freeform 5254">
                  <a:extLst>
                    <a:ext uri="{FF2B5EF4-FFF2-40B4-BE49-F238E27FC236}">
                      <a16:creationId xmlns:a16="http://schemas.microsoft.com/office/drawing/2014/main" id="{68065525-16F1-AB67-E9EE-5577AC41EC43}"/>
                    </a:ext>
                  </a:extLst>
                </p:cNvPr>
                <p:cNvSpPr/>
                <p:nvPr/>
              </p:nvSpPr>
              <p:spPr>
                <a:xfrm>
                  <a:off x="9282737" y="5591542"/>
                  <a:ext cx="26647" cy="26506"/>
                </a:xfrm>
                <a:custGeom>
                  <a:avLst/>
                  <a:gdLst>
                    <a:gd name="connsiteX0" fmla="*/ 26579 w 26647"/>
                    <a:gd name="connsiteY0" fmla="*/ 14499 h 26506"/>
                    <a:gd name="connsiteX1" fmla="*/ 12130 w 26647"/>
                    <a:gd name="connsiteY1" fmla="*/ 26456 h 26506"/>
                    <a:gd name="connsiteX2" fmla="*/ 48 w 26647"/>
                    <a:gd name="connsiteY2" fmla="*/ 12008 h 26506"/>
                    <a:gd name="connsiteX3" fmla="*/ 14497 w 26647"/>
                    <a:gd name="connsiteY3" fmla="*/ 50 h 26506"/>
                    <a:gd name="connsiteX4" fmla="*/ 26579 w 26647"/>
                    <a:gd name="connsiteY4" fmla="*/ 14499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506">
                      <a:moveTo>
                        <a:pt x="26579" y="14499"/>
                      </a:moveTo>
                      <a:cubicBezTo>
                        <a:pt x="25832" y="21848"/>
                        <a:pt x="19355" y="27079"/>
                        <a:pt x="12130" y="26456"/>
                      </a:cubicBezTo>
                      <a:cubicBezTo>
                        <a:pt x="4906" y="25834"/>
                        <a:pt x="-574" y="19232"/>
                        <a:pt x="48" y="12008"/>
                      </a:cubicBezTo>
                      <a:cubicBezTo>
                        <a:pt x="671" y="4659"/>
                        <a:pt x="7148" y="-572"/>
                        <a:pt x="14497" y="50"/>
                      </a:cubicBezTo>
                      <a:cubicBezTo>
                        <a:pt x="21846" y="673"/>
                        <a:pt x="27326" y="7150"/>
                        <a:pt x="26579"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0" name="Freeform 5255">
                  <a:extLst>
                    <a:ext uri="{FF2B5EF4-FFF2-40B4-BE49-F238E27FC236}">
                      <a16:creationId xmlns:a16="http://schemas.microsoft.com/office/drawing/2014/main" id="{051BB908-DA80-2418-7FBF-F2A179E7C510}"/>
                    </a:ext>
                  </a:extLst>
                </p:cNvPr>
                <p:cNvSpPr/>
                <p:nvPr/>
              </p:nvSpPr>
              <p:spPr>
                <a:xfrm>
                  <a:off x="9289013" y="5668071"/>
                  <a:ext cx="5605" cy="51816"/>
                </a:xfrm>
                <a:custGeom>
                  <a:avLst/>
                  <a:gdLst>
                    <a:gd name="connsiteX0" fmla="*/ 0 w 5605"/>
                    <a:gd name="connsiteY0" fmla="*/ 51816 h 51816"/>
                    <a:gd name="connsiteX1" fmla="*/ 3737 w 5605"/>
                    <a:gd name="connsiteY1" fmla="*/ 33381 h 51816"/>
                    <a:gd name="connsiteX2" fmla="*/ 1993 w 5605"/>
                    <a:gd name="connsiteY2" fmla="*/ 16068 h 51816"/>
                    <a:gd name="connsiteX3" fmla="*/ 5605 w 5605"/>
                    <a:gd name="connsiteY3" fmla="*/ 0 h 51816"/>
                  </a:gdLst>
                  <a:ahLst/>
                  <a:cxnLst>
                    <a:cxn ang="0">
                      <a:pos x="connsiteX0" y="connsiteY0"/>
                    </a:cxn>
                    <a:cxn ang="0">
                      <a:pos x="connsiteX1" y="connsiteY1"/>
                    </a:cxn>
                    <a:cxn ang="0">
                      <a:pos x="connsiteX2" y="connsiteY2"/>
                    </a:cxn>
                    <a:cxn ang="0">
                      <a:pos x="connsiteX3" y="connsiteY3"/>
                    </a:cxn>
                  </a:cxnLst>
                  <a:rect l="l" t="t" r="r" b="b"/>
                  <a:pathLst>
                    <a:path w="5605" h="51816">
                      <a:moveTo>
                        <a:pt x="0" y="51816"/>
                      </a:moveTo>
                      <a:cubicBezTo>
                        <a:pt x="3239" y="44094"/>
                        <a:pt x="3737" y="37741"/>
                        <a:pt x="3737" y="33381"/>
                      </a:cubicBezTo>
                      <a:cubicBezTo>
                        <a:pt x="3612" y="26406"/>
                        <a:pt x="1744" y="23168"/>
                        <a:pt x="1993" y="16068"/>
                      </a:cubicBezTo>
                      <a:cubicBezTo>
                        <a:pt x="2117" y="9217"/>
                        <a:pt x="4111"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1" name="Freeform 5256">
                  <a:extLst>
                    <a:ext uri="{FF2B5EF4-FFF2-40B4-BE49-F238E27FC236}">
                      <a16:creationId xmlns:a16="http://schemas.microsoft.com/office/drawing/2014/main" id="{016D3E79-E1D8-6F4A-B026-24E656DC382E}"/>
                    </a:ext>
                  </a:extLst>
                </p:cNvPr>
                <p:cNvSpPr/>
                <p:nvPr/>
              </p:nvSpPr>
              <p:spPr>
                <a:xfrm>
                  <a:off x="9280386" y="5672306"/>
                  <a:ext cx="6374" cy="51940"/>
                </a:xfrm>
                <a:custGeom>
                  <a:avLst/>
                  <a:gdLst>
                    <a:gd name="connsiteX0" fmla="*/ 5264 w 6374"/>
                    <a:gd name="connsiteY0" fmla="*/ 0 h 51940"/>
                    <a:gd name="connsiteX1" fmla="*/ 5513 w 6374"/>
                    <a:gd name="connsiteY1" fmla="*/ 18808 h 51940"/>
                    <a:gd name="connsiteX2" fmla="*/ 530 w 6374"/>
                    <a:gd name="connsiteY2" fmla="*/ 35499 h 51940"/>
                    <a:gd name="connsiteX3" fmla="*/ 1153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0" y="35499"/>
                      </a:cubicBezTo>
                      <a:cubicBezTo>
                        <a:pt x="-590" y="42350"/>
                        <a:pt x="282" y="48204"/>
                        <a:pt x="115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2" name="Freeform 5257">
                  <a:extLst>
                    <a:ext uri="{FF2B5EF4-FFF2-40B4-BE49-F238E27FC236}">
                      <a16:creationId xmlns:a16="http://schemas.microsoft.com/office/drawing/2014/main" id="{3CF52E26-6AAD-52BA-C1A3-C0347C0454E7}"/>
                    </a:ext>
                  </a:extLst>
                </p:cNvPr>
                <p:cNvSpPr/>
                <p:nvPr/>
              </p:nvSpPr>
              <p:spPr>
                <a:xfrm>
                  <a:off x="9271630" y="5713360"/>
                  <a:ext cx="26296" cy="26505"/>
                </a:xfrm>
                <a:custGeom>
                  <a:avLst/>
                  <a:gdLst>
                    <a:gd name="connsiteX0" fmla="*/ 70 w 26296"/>
                    <a:gd name="connsiteY0" fmla="*/ 12008 h 26505"/>
                    <a:gd name="connsiteX1" fmla="*/ 14394 w 26296"/>
                    <a:gd name="connsiteY1" fmla="*/ 50 h 26505"/>
                    <a:gd name="connsiteX2" fmla="*/ 26226 w 26296"/>
                    <a:gd name="connsiteY2" fmla="*/ 14499 h 26505"/>
                    <a:gd name="connsiteX3" fmla="*/ 11903 w 26296"/>
                    <a:gd name="connsiteY3" fmla="*/ 26456 h 26505"/>
                    <a:gd name="connsiteX4" fmla="*/ 70 w 26296"/>
                    <a:gd name="connsiteY4" fmla="*/ 1200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2008"/>
                      </a:moveTo>
                      <a:cubicBezTo>
                        <a:pt x="692" y="4659"/>
                        <a:pt x="7170" y="-572"/>
                        <a:pt x="14394" y="50"/>
                      </a:cubicBezTo>
                      <a:cubicBezTo>
                        <a:pt x="21618" y="673"/>
                        <a:pt x="26975" y="7275"/>
                        <a:pt x="26226" y="14499"/>
                      </a:cubicBezTo>
                      <a:cubicBezTo>
                        <a:pt x="25479" y="21724"/>
                        <a:pt x="19127" y="27079"/>
                        <a:pt x="11903" y="26456"/>
                      </a:cubicBezTo>
                      <a:cubicBezTo>
                        <a:pt x="4678" y="25834"/>
                        <a:pt x="-678" y="19357"/>
                        <a:pt x="7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3" name="Graphic 2987">
                <a:extLst>
                  <a:ext uri="{FF2B5EF4-FFF2-40B4-BE49-F238E27FC236}">
                    <a16:creationId xmlns:a16="http://schemas.microsoft.com/office/drawing/2014/main" id="{CB5A82C1-5A68-69EC-2A0C-A24872E78560}"/>
                  </a:ext>
                </a:extLst>
              </p:cNvPr>
              <p:cNvGrpSpPr/>
              <p:nvPr/>
            </p:nvGrpSpPr>
            <p:grpSpPr>
              <a:xfrm>
                <a:off x="9300899" y="5594407"/>
                <a:ext cx="38131" cy="148324"/>
                <a:chOff x="9300899" y="5594407"/>
                <a:chExt cx="38131" cy="148324"/>
              </a:xfrm>
              <a:grpFill/>
            </p:grpSpPr>
            <p:sp>
              <p:nvSpPr>
                <p:cNvPr id="4301" name="Freeform 5259">
                  <a:extLst>
                    <a:ext uri="{FF2B5EF4-FFF2-40B4-BE49-F238E27FC236}">
                      <a16:creationId xmlns:a16="http://schemas.microsoft.com/office/drawing/2014/main" id="{A0580A1B-BD5F-996A-5E36-77E974F85632}"/>
                    </a:ext>
                  </a:extLst>
                </p:cNvPr>
                <p:cNvSpPr/>
                <p:nvPr/>
              </p:nvSpPr>
              <p:spPr>
                <a:xfrm>
                  <a:off x="9315668" y="5614262"/>
                  <a:ext cx="5729" cy="51816"/>
                </a:xfrm>
                <a:custGeom>
                  <a:avLst/>
                  <a:gdLst>
                    <a:gd name="connsiteX0" fmla="*/ 5729 w 5729"/>
                    <a:gd name="connsiteY0" fmla="*/ 0 h 51816"/>
                    <a:gd name="connsiteX1" fmla="*/ 1993 w 5729"/>
                    <a:gd name="connsiteY1" fmla="*/ 18435 h 51816"/>
                    <a:gd name="connsiteX2" fmla="*/ 3737 w 5729"/>
                    <a:gd name="connsiteY2" fmla="*/ 35748 h 51816"/>
                    <a:gd name="connsiteX3" fmla="*/ 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0"/>
                      </a:moveTo>
                      <a:cubicBezTo>
                        <a:pt x="2491" y="7723"/>
                        <a:pt x="1868" y="14075"/>
                        <a:pt x="1993" y="18435"/>
                      </a:cubicBezTo>
                      <a:cubicBezTo>
                        <a:pt x="2117" y="25410"/>
                        <a:pt x="3985"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2" name="Freeform 5260">
                  <a:extLst>
                    <a:ext uri="{FF2B5EF4-FFF2-40B4-BE49-F238E27FC236}">
                      <a16:creationId xmlns:a16="http://schemas.microsoft.com/office/drawing/2014/main" id="{63748851-8971-6555-D66C-28CAA98BF8BB}"/>
                    </a:ext>
                  </a:extLst>
                </p:cNvPr>
                <p:cNvSpPr/>
                <p:nvPr/>
              </p:nvSpPr>
              <p:spPr>
                <a:xfrm>
                  <a:off x="9323538" y="5610027"/>
                  <a:ext cx="6611" cy="51940"/>
                </a:xfrm>
                <a:custGeom>
                  <a:avLst/>
                  <a:gdLst>
                    <a:gd name="connsiteX0" fmla="*/ 1098 w 6611"/>
                    <a:gd name="connsiteY0" fmla="*/ 51940 h 51940"/>
                    <a:gd name="connsiteX1" fmla="*/ 973 w 6611"/>
                    <a:gd name="connsiteY1" fmla="*/ 33132 h 51940"/>
                    <a:gd name="connsiteX2" fmla="*/ 6081 w 6611"/>
                    <a:gd name="connsiteY2" fmla="*/ 16442 h 51940"/>
                    <a:gd name="connsiteX3" fmla="*/ 5457 w 6611"/>
                    <a:gd name="connsiteY3" fmla="*/ 0 h 51940"/>
                  </a:gdLst>
                  <a:ahLst/>
                  <a:cxnLst>
                    <a:cxn ang="0">
                      <a:pos x="connsiteX0" y="connsiteY0"/>
                    </a:cxn>
                    <a:cxn ang="0">
                      <a:pos x="connsiteX1" y="connsiteY1"/>
                    </a:cxn>
                    <a:cxn ang="0">
                      <a:pos x="connsiteX2" y="connsiteY2"/>
                    </a:cxn>
                    <a:cxn ang="0">
                      <a:pos x="connsiteX3" y="connsiteY3"/>
                    </a:cxn>
                  </a:cxnLst>
                  <a:rect l="l" t="t" r="r" b="b"/>
                  <a:pathLst>
                    <a:path w="6611" h="51940">
                      <a:moveTo>
                        <a:pt x="1098" y="51940"/>
                      </a:moveTo>
                      <a:cubicBezTo>
                        <a:pt x="-646" y="43720"/>
                        <a:pt x="-22" y="37367"/>
                        <a:pt x="973" y="33132"/>
                      </a:cubicBezTo>
                      <a:cubicBezTo>
                        <a:pt x="2468" y="26281"/>
                        <a:pt x="4835" y="23417"/>
                        <a:pt x="6081" y="16442"/>
                      </a:cubicBezTo>
                      <a:cubicBezTo>
                        <a:pt x="7201" y="9591"/>
                        <a:pt x="6329" y="3737"/>
                        <a:pt x="54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3" name="Freeform 5261">
                  <a:extLst>
                    <a:ext uri="{FF2B5EF4-FFF2-40B4-BE49-F238E27FC236}">
                      <a16:creationId xmlns:a16="http://schemas.microsoft.com/office/drawing/2014/main" id="{D75DA653-6EE3-52E4-2426-E52E30974E5A}"/>
                    </a:ext>
                  </a:extLst>
                </p:cNvPr>
                <p:cNvSpPr/>
                <p:nvPr/>
              </p:nvSpPr>
              <p:spPr>
                <a:xfrm>
                  <a:off x="9312360" y="5594407"/>
                  <a:ext cx="26670" cy="26505"/>
                </a:xfrm>
                <a:custGeom>
                  <a:avLst/>
                  <a:gdLst>
                    <a:gd name="connsiteX0" fmla="*/ 26600 w 26670"/>
                    <a:gd name="connsiteY0" fmla="*/ 14499 h 26505"/>
                    <a:gd name="connsiteX1" fmla="*/ 12027 w 26670"/>
                    <a:gd name="connsiteY1" fmla="*/ 26456 h 26505"/>
                    <a:gd name="connsiteX2" fmla="*/ 70 w 26670"/>
                    <a:gd name="connsiteY2" fmla="*/ 12008 h 26505"/>
                    <a:gd name="connsiteX3" fmla="*/ 14643 w 26670"/>
                    <a:gd name="connsiteY3" fmla="*/ 50 h 26505"/>
                    <a:gd name="connsiteX4" fmla="*/ 26600 w 26670"/>
                    <a:gd name="connsiteY4" fmla="*/ 14499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5">
                      <a:moveTo>
                        <a:pt x="26600" y="14499"/>
                      </a:moveTo>
                      <a:cubicBezTo>
                        <a:pt x="25853" y="21723"/>
                        <a:pt x="19376" y="27079"/>
                        <a:pt x="12027" y="26456"/>
                      </a:cubicBezTo>
                      <a:cubicBezTo>
                        <a:pt x="4678" y="25834"/>
                        <a:pt x="-678" y="19232"/>
                        <a:pt x="70" y="12008"/>
                      </a:cubicBezTo>
                      <a:cubicBezTo>
                        <a:pt x="817" y="4659"/>
                        <a:pt x="7293" y="-572"/>
                        <a:pt x="14643" y="50"/>
                      </a:cubicBezTo>
                      <a:cubicBezTo>
                        <a:pt x="21992" y="673"/>
                        <a:pt x="27348" y="7150"/>
                        <a:pt x="26600"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4" name="Freeform 5262">
                  <a:extLst>
                    <a:ext uri="{FF2B5EF4-FFF2-40B4-BE49-F238E27FC236}">
                      <a16:creationId xmlns:a16="http://schemas.microsoft.com/office/drawing/2014/main" id="{EE546313-A19B-44A9-DCE9-0D561487B777}"/>
                    </a:ext>
                  </a:extLst>
                </p:cNvPr>
                <p:cNvSpPr/>
                <p:nvPr/>
              </p:nvSpPr>
              <p:spPr>
                <a:xfrm>
                  <a:off x="9318284" y="5670936"/>
                  <a:ext cx="5729" cy="51816"/>
                </a:xfrm>
                <a:custGeom>
                  <a:avLst/>
                  <a:gdLst>
                    <a:gd name="connsiteX0" fmla="*/ 0 w 5729"/>
                    <a:gd name="connsiteY0" fmla="*/ 51816 h 51816"/>
                    <a:gd name="connsiteX1" fmla="*/ 3737 w 5729"/>
                    <a:gd name="connsiteY1" fmla="*/ 33382 h 51816"/>
                    <a:gd name="connsiteX2" fmla="*/ 1993 w 5729"/>
                    <a:gd name="connsiteY2" fmla="*/ 16068 h 51816"/>
                    <a:gd name="connsiteX3" fmla="*/ 573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0" y="51816"/>
                      </a:moveTo>
                      <a:cubicBezTo>
                        <a:pt x="3239" y="44094"/>
                        <a:pt x="3861" y="37741"/>
                        <a:pt x="3737" y="33382"/>
                      </a:cubicBezTo>
                      <a:cubicBezTo>
                        <a:pt x="3613" y="26407"/>
                        <a:pt x="1869" y="23168"/>
                        <a:pt x="1993" y="16068"/>
                      </a:cubicBezTo>
                      <a:cubicBezTo>
                        <a:pt x="2118" y="9218"/>
                        <a:pt x="4111"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5" name="Freeform 5263">
                  <a:extLst>
                    <a:ext uri="{FF2B5EF4-FFF2-40B4-BE49-F238E27FC236}">
                      <a16:creationId xmlns:a16="http://schemas.microsoft.com/office/drawing/2014/main" id="{DCB7221A-0FD6-D706-1E8B-F11381E032A8}"/>
                    </a:ext>
                  </a:extLst>
                </p:cNvPr>
                <p:cNvSpPr/>
                <p:nvPr/>
              </p:nvSpPr>
              <p:spPr>
                <a:xfrm>
                  <a:off x="9309782" y="5675046"/>
                  <a:ext cx="6486" cy="51940"/>
                </a:xfrm>
                <a:custGeom>
                  <a:avLst/>
                  <a:gdLst>
                    <a:gd name="connsiteX0" fmla="*/ 5388 w 6486"/>
                    <a:gd name="connsiteY0" fmla="*/ 0 h 51940"/>
                    <a:gd name="connsiteX1" fmla="*/ 5513 w 6486"/>
                    <a:gd name="connsiteY1" fmla="*/ 18808 h 51940"/>
                    <a:gd name="connsiteX2" fmla="*/ 530 w 6486"/>
                    <a:gd name="connsiteY2" fmla="*/ 35499 h 51940"/>
                    <a:gd name="connsiteX3" fmla="*/ 1154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5388" y="0"/>
                      </a:moveTo>
                      <a:cubicBezTo>
                        <a:pt x="7132" y="8221"/>
                        <a:pt x="6510" y="14573"/>
                        <a:pt x="5513" y="18808"/>
                      </a:cubicBezTo>
                      <a:cubicBezTo>
                        <a:pt x="4018" y="25659"/>
                        <a:pt x="1652" y="28524"/>
                        <a:pt x="530" y="35499"/>
                      </a:cubicBezTo>
                      <a:cubicBezTo>
                        <a:pt x="-590" y="42350"/>
                        <a:pt x="282" y="48204"/>
                        <a:pt x="115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6" name="Freeform 5264">
                  <a:extLst>
                    <a:ext uri="{FF2B5EF4-FFF2-40B4-BE49-F238E27FC236}">
                      <a16:creationId xmlns:a16="http://schemas.microsoft.com/office/drawing/2014/main" id="{CC8A8AAC-B73C-FF51-3A11-E5FB3AC6F6A0}"/>
                    </a:ext>
                  </a:extLst>
                </p:cNvPr>
                <p:cNvSpPr/>
                <p:nvPr/>
              </p:nvSpPr>
              <p:spPr>
                <a:xfrm>
                  <a:off x="9300899" y="5716225"/>
                  <a:ext cx="26298" cy="26506"/>
                </a:xfrm>
                <a:custGeom>
                  <a:avLst/>
                  <a:gdLst>
                    <a:gd name="connsiteX0" fmla="*/ 71 w 26298"/>
                    <a:gd name="connsiteY0" fmla="*/ 12008 h 26506"/>
                    <a:gd name="connsiteX1" fmla="*/ 14395 w 26298"/>
                    <a:gd name="connsiteY1" fmla="*/ 50 h 26506"/>
                    <a:gd name="connsiteX2" fmla="*/ 26229 w 26298"/>
                    <a:gd name="connsiteY2" fmla="*/ 14499 h 26506"/>
                    <a:gd name="connsiteX3" fmla="*/ 11904 w 26298"/>
                    <a:gd name="connsiteY3" fmla="*/ 26456 h 26506"/>
                    <a:gd name="connsiteX4" fmla="*/ 71 w 26298"/>
                    <a:gd name="connsiteY4" fmla="*/ 12008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6">
                      <a:moveTo>
                        <a:pt x="71" y="12008"/>
                      </a:moveTo>
                      <a:cubicBezTo>
                        <a:pt x="819" y="4659"/>
                        <a:pt x="7171" y="-572"/>
                        <a:pt x="14395" y="50"/>
                      </a:cubicBezTo>
                      <a:cubicBezTo>
                        <a:pt x="21620" y="798"/>
                        <a:pt x="26976" y="7150"/>
                        <a:pt x="26229" y="14499"/>
                      </a:cubicBezTo>
                      <a:cubicBezTo>
                        <a:pt x="25481" y="21848"/>
                        <a:pt x="19129" y="27079"/>
                        <a:pt x="11904" y="26456"/>
                      </a:cubicBezTo>
                      <a:cubicBezTo>
                        <a:pt x="4556" y="25709"/>
                        <a:pt x="-676" y="19232"/>
                        <a:pt x="71"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4" name="Graphic 2987">
                <a:extLst>
                  <a:ext uri="{FF2B5EF4-FFF2-40B4-BE49-F238E27FC236}">
                    <a16:creationId xmlns:a16="http://schemas.microsoft.com/office/drawing/2014/main" id="{A19C55FF-EE2F-C1E4-E745-D3E4487C48F9}"/>
                  </a:ext>
                </a:extLst>
              </p:cNvPr>
              <p:cNvGrpSpPr/>
              <p:nvPr/>
            </p:nvGrpSpPr>
            <p:grpSpPr>
              <a:xfrm>
                <a:off x="9330067" y="5597149"/>
                <a:ext cx="38608" cy="148322"/>
                <a:chOff x="9330067" y="5597149"/>
                <a:chExt cx="38608" cy="148322"/>
              </a:xfrm>
              <a:grpFill/>
            </p:grpSpPr>
            <p:sp>
              <p:nvSpPr>
                <p:cNvPr id="4295" name="Freeform 5266">
                  <a:extLst>
                    <a:ext uri="{FF2B5EF4-FFF2-40B4-BE49-F238E27FC236}">
                      <a16:creationId xmlns:a16="http://schemas.microsoft.com/office/drawing/2014/main" id="{803462B0-1F34-1651-67A6-5BA53A54C7FD}"/>
                    </a:ext>
                  </a:extLst>
                </p:cNvPr>
                <p:cNvSpPr/>
                <p:nvPr/>
              </p:nvSpPr>
              <p:spPr>
                <a:xfrm>
                  <a:off x="9345189" y="5617127"/>
                  <a:ext cx="5853" cy="51816"/>
                </a:xfrm>
                <a:custGeom>
                  <a:avLst/>
                  <a:gdLst>
                    <a:gd name="connsiteX0" fmla="*/ 5854 w 5853"/>
                    <a:gd name="connsiteY0" fmla="*/ 0 h 51816"/>
                    <a:gd name="connsiteX1" fmla="*/ 1993 w 5853"/>
                    <a:gd name="connsiteY1" fmla="*/ 18434 h 51816"/>
                    <a:gd name="connsiteX2" fmla="*/ 3737 w 5853"/>
                    <a:gd name="connsiteY2" fmla="*/ 35748 h 51816"/>
                    <a:gd name="connsiteX3" fmla="*/ 0 w 58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0"/>
                      </a:moveTo>
                      <a:cubicBezTo>
                        <a:pt x="2615" y="7723"/>
                        <a:pt x="1993" y="14075"/>
                        <a:pt x="1993" y="18434"/>
                      </a:cubicBezTo>
                      <a:cubicBezTo>
                        <a:pt x="2117" y="25409"/>
                        <a:pt x="3861" y="28648"/>
                        <a:pt x="3737" y="35748"/>
                      </a:cubicBezTo>
                      <a:cubicBezTo>
                        <a:pt x="3487"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6" name="Freeform 5267">
                  <a:extLst>
                    <a:ext uri="{FF2B5EF4-FFF2-40B4-BE49-F238E27FC236}">
                      <a16:creationId xmlns:a16="http://schemas.microsoft.com/office/drawing/2014/main" id="{C2B52318-13C5-4951-B7B2-E5D3E81AD5CC}"/>
                    </a:ext>
                  </a:extLst>
                </p:cNvPr>
                <p:cNvSpPr/>
                <p:nvPr/>
              </p:nvSpPr>
              <p:spPr>
                <a:xfrm>
                  <a:off x="9353151" y="5612768"/>
                  <a:ext cx="6553" cy="51940"/>
                </a:xfrm>
                <a:custGeom>
                  <a:avLst/>
                  <a:gdLst>
                    <a:gd name="connsiteX0" fmla="*/ 1006 w 6553"/>
                    <a:gd name="connsiteY0" fmla="*/ 51940 h 51940"/>
                    <a:gd name="connsiteX1" fmla="*/ 881 w 6553"/>
                    <a:gd name="connsiteY1" fmla="*/ 33132 h 51940"/>
                    <a:gd name="connsiteX2" fmla="*/ 5988 w 6553"/>
                    <a:gd name="connsiteY2" fmla="*/ 16442 h 51940"/>
                    <a:gd name="connsiteX3" fmla="*/ 5490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51940"/>
                      </a:moveTo>
                      <a:cubicBezTo>
                        <a:pt x="-614" y="43720"/>
                        <a:pt x="9" y="37367"/>
                        <a:pt x="881" y="33132"/>
                      </a:cubicBezTo>
                      <a:cubicBezTo>
                        <a:pt x="2376" y="26281"/>
                        <a:pt x="4742" y="23417"/>
                        <a:pt x="5988" y="16442"/>
                      </a:cubicBezTo>
                      <a:cubicBezTo>
                        <a:pt x="7109" y="9591"/>
                        <a:pt x="6362" y="3737"/>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7" name="Freeform 5268">
                  <a:extLst>
                    <a:ext uri="{FF2B5EF4-FFF2-40B4-BE49-F238E27FC236}">
                      <a16:creationId xmlns:a16="http://schemas.microsoft.com/office/drawing/2014/main" id="{C28101C5-7CE7-33B0-CB4E-F998F4560350}"/>
                    </a:ext>
                  </a:extLst>
                </p:cNvPr>
                <p:cNvSpPr/>
                <p:nvPr/>
              </p:nvSpPr>
              <p:spPr>
                <a:xfrm>
                  <a:off x="9342005" y="5597149"/>
                  <a:ext cx="26670" cy="26504"/>
                </a:xfrm>
                <a:custGeom>
                  <a:avLst/>
                  <a:gdLst>
                    <a:gd name="connsiteX0" fmla="*/ 26600 w 26670"/>
                    <a:gd name="connsiteY0" fmla="*/ 14498 h 26504"/>
                    <a:gd name="connsiteX1" fmla="*/ 12027 w 26670"/>
                    <a:gd name="connsiteY1" fmla="*/ 26455 h 26504"/>
                    <a:gd name="connsiteX2" fmla="*/ 70 w 26670"/>
                    <a:gd name="connsiteY2" fmla="*/ 12007 h 26504"/>
                    <a:gd name="connsiteX3" fmla="*/ 14643 w 26670"/>
                    <a:gd name="connsiteY3" fmla="*/ 49 h 26504"/>
                    <a:gd name="connsiteX4" fmla="*/ 26600 w 26670"/>
                    <a:gd name="connsiteY4" fmla="*/ 14498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4">
                      <a:moveTo>
                        <a:pt x="26600" y="14498"/>
                      </a:moveTo>
                      <a:cubicBezTo>
                        <a:pt x="25853" y="21722"/>
                        <a:pt x="19376" y="27078"/>
                        <a:pt x="12027" y="26455"/>
                      </a:cubicBezTo>
                      <a:cubicBezTo>
                        <a:pt x="4678" y="25708"/>
                        <a:pt x="-678" y="19231"/>
                        <a:pt x="70" y="12007"/>
                      </a:cubicBezTo>
                      <a:cubicBezTo>
                        <a:pt x="817" y="4783"/>
                        <a:pt x="7293" y="-574"/>
                        <a:pt x="14643" y="49"/>
                      </a:cubicBezTo>
                      <a:cubicBezTo>
                        <a:pt x="21992" y="797"/>
                        <a:pt x="27348" y="7273"/>
                        <a:pt x="2660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8" name="Freeform 5269">
                  <a:extLst>
                    <a:ext uri="{FF2B5EF4-FFF2-40B4-BE49-F238E27FC236}">
                      <a16:creationId xmlns:a16="http://schemas.microsoft.com/office/drawing/2014/main" id="{EDD2D708-CCEC-34A0-B341-4CF67639C1A8}"/>
                    </a:ext>
                  </a:extLst>
                </p:cNvPr>
                <p:cNvSpPr/>
                <p:nvPr/>
              </p:nvSpPr>
              <p:spPr>
                <a:xfrm>
                  <a:off x="9347555" y="5673676"/>
                  <a:ext cx="5853" cy="51816"/>
                </a:xfrm>
                <a:custGeom>
                  <a:avLst/>
                  <a:gdLst>
                    <a:gd name="connsiteX0" fmla="*/ 0 w 5853"/>
                    <a:gd name="connsiteY0" fmla="*/ 51816 h 51816"/>
                    <a:gd name="connsiteX1" fmla="*/ 3861 w 5853"/>
                    <a:gd name="connsiteY1" fmla="*/ 33382 h 51816"/>
                    <a:gd name="connsiteX2" fmla="*/ 2117 w 5853"/>
                    <a:gd name="connsiteY2" fmla="*/ 16068 h 51816"/>
                    <a:gd name="connsiteX3" fmla="*/ 5854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0" y="51816"/>
                      </a:moveTo>
                      <a:cubicBezTo>
                        <a:pt x="3238" y="44094"/>
                        <a:pt x="3861" y="37741"/>
                        <a:pt x="3861" y="33382"/>
                      </a:cubicBezTo>
                      <a:cubicBezTo>
                        <a:pt x="3737" y="26407"/>
                        <a:pt x="1993" y="23168"/>
                        <a:pt x="2117" y="16068"/>
                      </a:cubicBezTo>
                      <a:cubicBezTo>
                        <a:pt x="2367" y="9218"/>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9" name="Freeform 5270">
                  <a:extLst>
                    <a:ext uri="{FF2B5EF4-FFF2-40B4-BE49-F238E27FC236}">
                      <a16:creationId xmlns:a16="http://schemas.microsoft.com/office/drawing/2014/main" id="{F73FC0A9-E0E9-1288-41CD-E3CE27C9DDCD}"/>
                    </a:ext>
                  </a:extLst>
                </p:cNvPr>
                <p:cNvSpPr/>
                <p:nvPr/>
              </p:nvSpPr>
              <p:spPr>
                <a:xfrm>
                  <a:off x="9339017" y="5677911"/>
                  <a:ext cx="6553" cy="51940"/>
                </a:xfrm>
                <a:custGeom>
                  <a:avLst/>
                  <a:gdLst>
                    <a:gd name="connsiteX0" fmla="*/ 5548 w 6553"/>
                    <a:gd name="connsiteY0" fmla="*/ 0 h 51940"/>
                    <a:gd name="connsiteX1" fmla="*/ 5672 w 6553"/>
                    <a:gd name="connsiteY1" fmla="*/ 18808 h 51940"/>
                    <a:gd name="connsiteX2" fmla="*/ 566 w 6553"/>
                    <a:gd name="connsiteY2" fmla="*/ 35499 h 51940"/>
                    <a:gd name="connsiteX3" fmla="*/ 1064 w 6553"/>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0"/>
                      </a:moveTo>
                      <a:cubicBezTo>
                        <a:pt x="7167" y="8220"/>
                        <a:pt x="6544" y="14573"/>
                        <a:pt x="5672" y="18808"/>
                      </a:cubicBezTo>
                      <a:cubicBezTo>
                        <a:pt x="4178" y="25659"/>
                        <a:pt x="1811" y="28523"/>
                        <a:pt x="566" y="35499"/>
                      </a:cubicBezTo>
                      <a:cubicBezTo>
                        <a:pt x="-555" y="42350"/>
                        <a:pt x="192" y="48204"/>
                        <a:pt x="106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0" name="Freeform 5271">
                  <a:extLst>
                    <a:ext uri="{FF2B5EF4-FFF2-40B4-BE49-F238E27FC236}">
                      <a16:creationId xmlns:a16="http://schemas.microsoft.com/office/drawing/2014/main" id="{8F87C6EA-7661-4B23-6805-103B0C359C8D}"/>
                    </a:ext>
                  </a:extLst>
                </p:cNvPr>
                <p:cNvSpPr/>
                <p:nvPr/>
              </p:nvSpPr>
              <p:spPr>
                <a:xfrm>
                  <a:off x="9330067" y="5718966"/>
                  <a:ext cx="26382" cy="26504"/>
                </a:xfrm>
                <a:custGeom>
                  <a:avLst/>
                  <a:gdLst>
                    <a:gd name="connsiteX0" fmla="*/ 50 w 26382"/>
                    <a:gd name="connsiteY0" fmla="*/ 12007 h 26504"/>
                    <a:gd name="connsiteX1" fmla="*/ 14499 w 26382"/>
                    <a:gd name="connsiteY1" fmla="*/ 49 h 26504"/>
                    <a:gd name="connsiteX2" fmla="*/ 26332 w 26382"/>
                    <a:gd name="connsiteY2" fmla="*/ 14498 h 26504"/>
                    <a:gd name="connsiteX3" fmla="*/ 11883 w 26382"/>
                    <a:gd name="connsiteY3" fmla="*/ 26455 h 26504"/>
                    <a:gd name="connsiteX4" fmla="*/ 50 w 26382"/>
                    <a:gd name="connsiteY4" fmla="*/ 1200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4">
                      <a:moveTo>
                        <a:pt x="50" y="12007"/>
                      </a:moveTo>
                      <a:cubicBezTo>
                        <a:pt x="798" y="4782"/>
                        <a:pt x="7150" y="-573"/>
                        <a:pt x="14499" y="49"/>
                      </a:cubicBezTo>
                      <a:cubicBezTo>
                        <a:pt x="21723" y="797"/>
                        <a:pt x="26954" y="7149"/>
                        <a:pt x="26332" y="14498"/>
                      </a:cubicBezTo>
                      <a:cubicBezTo>
                        <a:pt x="25584" y="21722"/>
                        <a:pt x="19108" y="27078"/>
                        <a:pt x="11883" y="26455"/>
                      </a:cubicBezTo>
                      <a:cubicBezTo>
                        <a:pt x="4659" y="25833"/>
                        <a:pt x="-572" y="19356"/>
                        <a:pt x="5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5" name="Graphic 2987">
                <a:extLst>
                  <a:ext uri="{FF2B5EF4-FFF2-40B4-BE49-F238E27FC236}">
                    <a16:creationId xmlns:a16="http://schemas.microsoft.com/office/drawing/2014/main" id="{201F539C-20DB-8CC7-4089-87D10CEA87BE}"/>
                  </a:ext>
                </a:extLst>
              </p:cNvPr>
              <p:cNvGrpSpPr/>
              <p:nvPr/>
            </p:nvGrpSpPr>
            <p:grpSpPr>
              <a:xfrm>
                <a:off x="9359318" y="5600013"/>
                <a:ext cx="39025" cy="148323"/>
                <a:chOff x="9359318" y="5600013"/>
                <a:chExt cx="39025" cy="148323"/>
              </a:xfrm>
              <a:grpFill/>
            </p:grpSpPr>
            <p:sp>
              <p:nvSpPr>
                <p:cNvPr id="4289" name="Freeform 5273">
                  <a:extLst>
                    <a:ext uri="{FF2B5EF4-FFF2-40B4-BE49-F238E27FC236}">
                      <a16:creationId xmlns:a16="http://schemas.microsoft.com/office/drawing/2014/main" id="{71ED3B1C-09D0-4F25-628A-1407CD91CB51}"/>
                    </a:ext>
                  </a:extLst>
                </p:cNvPr>
                <p:cNvSpPr/>
                <p:nvPr/>
              </p:nvSpPr>
              <p:spPr>
                <a:xfrm>
                  <a:off x="9374584" y="5619992"/>
                  <a:ext cx="6103" cy="51816"/>
                </a:xfrm>
                <a:custGeom>
                  <a:avLst/>
                  <a:gdLst>
                    <a:gd name="connsiteX0" fmla="*/ 6103 w 6103"/>
                    <a:gd name="connsiteY0" fmla="*/ 0 h 51816"/>
                    <a:gd name="connsiteX1" fmla="*/ 2242 w 6103"/>
                    <a:gd name="connsiteY1" fmla="*/ 18435 h 51816"/>
                    <a:gd name="connsiteX2" fmla="*/ 3861 w 6103"/>
                    <a:gd name="connsiteY2" fmla="*/ 35748 h 51816"/>
                    <a:gd name="connsiteX3" fmla="*/ 0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0"/>
                      </a:moveTo>
                      <a:cubicBezTo>
                        <a:pt x="2865" y="7723"/>
                        <a:pt x="2242" y="14075"/>
                        <a:pt x="2242" y="18435"/>
                      </a:cubicBezTo>
                      <a:cubicBezTo>
                        <a:pt x="2367"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0" name="Freeform 5274">
                  <a:extLst>
                    <a:ext uri="{FF2B5EF4-FFF2-40B4-BE49-F238E27FC236}">
                      <a16:creationId xmlns:a16="http://schemas.microsoft.com/office/drawing/2014/main" id="{9A116BE1-42AA-95CE-F4E1-6511F82216B9}"/>
                    </a:ext>
                  </a:extLst>
                </p:cNvPr>
                <p:cNvSpPr/>
                <p:nvPr/>
              </p:nvSpPr>
              <p:spPr>
                <a:xfrm>
                  <a:off x="9382558" y="5615632"/>
                  <a:ext cx="6722" cy="51940"/>
                </a:xfrm>
                <a:custGeom>
                  <a:avLst/>
                  <a:gdLst>
                    <a:gd name="connsiteX0" fmla="*/ 994 w 6722"/>
                    <a:gd name="connsiteY0" fmla="*/ 51940 h 51940"/>
                    <a:gd name="connsiteX1" fmla="*/ 994 w 6722"/>
                    <a:gd name="connsiteY1" fmla="*/ 33132 h 51940"/>
                    <a:gd name="connsiteX2" fmla="*/ 6102 w 6722"/>
                    <a:gd name="connsiteY2" fmla="*/ 16441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4" y="51940"/>
                      </a:moveTo>
                      <a:cubicBezTo>
                        <a:pt x="-625" y="43719"/>
                        <a:pt x="-2" y="37367"/>
                        <a:pt x="994" y="33132"/>
                      </a:cubicBezTo>
                      <a:cubicBezTo>
                        <a:pt x="2489" y="26281"/>
                        <a:pt x="4980" y="23417"/>
                        <a:pt x="6102" y="16441"/>
                      </a:cubicBezTo>
                      <a:cubicBezTo>
                        <a:pt x="7347" y="9591"/>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1" name="Freeform 5275">
                  <a:extLst>
                    <a:ext uri="{FF2B5EF4-FFF2-40B4-BE49-F238E27FC236}">
                      <a16:creationId xmlns:a16="http://schemas.microsoft.com/office/drawing/2014/main" id="{2E61EC91-D40B-9F2A-2FF2-949D46CB15F2}"/>
                    </a:ext>
                  </a:extLst>
                </p:cNvPr>
                <p:cNvSpPr/>
                <p:nvPr/>
              </p:nvSpPr>
              <p:spPr>
                <a:xfrm>
                  <a:off x="9371650" y="5600013"/>
                  <a:ext cx="26693" cy="26505"/>
                </a:xfrm>
                <a:custGeom>
                  <a:avLst/>
                  <a:gdLst>
                    <a:gd name="connsiteX0" fmla="*/ 26600 w 26693"/>
                    <a:gd name="connsiteY0" fmla="*/ 14622 h 26505"/>
                    <a:gd name="connsiteX1" fmla="*/ 12027 w 26693"/>
                    <a:gd name="connsiteY1" fmla="*/ 26455 h 26505"/>
                    <a:gd name="connsiteX2" fmla="*/ 70 w 26693"/>
                    <a:gd name="connsiteY2" fmla="*/ 12007 h 26505"/>
                    <a:gd name="connsiteX3" fmla="*/ 14643 w 26693"/>
                    <a:gd name="connsiteY3" fmla="*/ 49 h 26505"/>
                    <a:gd name="connsiteX4" fmla="*/ 26600 w 26693"/>
                    <a:gd name="connsiteY4" fmla="*/ 14622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05">
                      <a:moveTo>
                        <a:pt x="26600" y="14622"/>
                      </a:moveTo>
                      <a:cubicBezTo>
                        <a:pt x="25852" y="21847"/>
                        <a:pt x="19251" y="27078"/>
                        <a:pt x="12027" y="26455"/>
                      </a:cubicBezTo>
                      <a:cubicBezTo>
                        <a:pt x="4678" y="25708"/>
                        <a:pt x="-678" y="19231"/>
                        <a:pt x="70" y="12007"/>
                      </a:cubicBezTo>
                      <a:cubicBezTo>
                        <a:pt x="817" y="4782"/>
                        <a:pt x="7293" y="-574"/>
                        <a:pt x="14643" y="49"/>
                      </a:cubicBezTo>
                      <a:cubicBezTo>
                        <a:pt x="22116" y="672"/>
                        <a:pt x="27472" y="7398"/>
                        <a:pt x="26600" y="146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2" name="Freeform 5276">
                  <a:extLst>
                    <a:ext uri="{FF2B5EF4-FFF2-40B4-BE49-F238E27FC236}">
                      <a16:creationId xmlns:a16="http://schemas.microsoft.com/office/drawing/2014/main" id="{30C38DA4-5220-63E0-EE6F-5F6ED4A511F4}"/>
                    </a:ext>
                  </a:extLst>
                </p:cNvPr>
                <p:cNvSpPr/>
                <p:nvPr/>
              </p:nvSpPr>
              <p:spPr>
                <a:xfrm>
                  <a:off x="9376826" y="5676541"/>
                  <a:ext cx="6103" cy="51816"/>
                </a:xfrm>
                <a:custGeom>
                  <a:avLst/>
                  <a:gdLst>
                    <a:gd name="connsiteX0" fmla="*/ 0 w 6103"/>
                    <a:gd name="connsiteY0" fmla="*/ 51816 h 51816"/>
                    <a:gd name="connsiteX1" fmla="*/ 3861 w 6103"/>
                    <a:gd name="connsiteY1" fmla="*/ 33381 h 51816"/>
                    <a:gd name="connsiteX2" fmla="*/ 2242 w 6103"/>
                    <a:gd name="connsiteY2" fmla="*/ 16068 h 51816"/>
                    <a:gd name="connsiteX3" fmla="*/ 6103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0" y="51816"/>
                      </a:moveTo>
                      <a:cubicBezTo>
                        <a:pt x="3239" y="44094"/>
                        <a:pt x="3861"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3" name="Freeform 5277">
                  <a:extLst>
                    <a:ext uri="{FF2B5EF4-FFF2-40B4-BE49-F238E27FC236}">
                      <a16:creationId xmlns:a16="http://schemas.microsoft.com/office/drawing/2014/main" id="{B2FDDFE1-EDB7-77F4-B355-EB8163E555C0}"/>
                    </a:ext>
                  </a:extLst>
                </p:cNvPr>
                <p:cNvSpPr/>
                <p:nvPr/>
              </p:nvSpPr>
              <p:spPr>
                <a:xfrm>
                  <a:off x="9368234" y="5680776"/>
                  <a:ext cx="6722" cy="51940"/>
                </a:xfrm>
                <a:custGeom>
                  <a:avLst/>
                  <a:gdLst>
                    <a:gd name="connsiteX0" fmla="*/ 5728 w 6722"/>
                    <a:gd name="connsiteY0" fmla="*/ 0 h 51940"/>
                    <a:gd name="connsiteX1" fmla="*/ 5728 w 6722"/>
                    <a:gd name="connsiteY1" fmla="*/ 18808 h 51940"/>
                    <a:gd name="connsiteX2" fmla="*/ 620 w 6722"/>
                    <a:gd name="connsiteY2" fmla="*/ 35499 h 51940"/>
                    <a:gd name="connsiteX3" fmla="*/ 1119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0"/>
                      </a:moveTo>
                      <a:cubicBezTo>
                        <a:pt x="7347" y="8221"/>
                        <a:pt x="6724" y="14573"/>
                        <a:pt x="5728" y="18808"/>
                      </a:cubicBezTo>
                      <a:cubicBezTo>
                        <a:pt x="4233" y="25659"/>
                        <a:pt x="1867" y="28524"/>
                        <a:pt x="620" y="35499"/>
                      </a:cubicBezTo>
                      <a:cubicBezTo>
                        <a:pt x="-625" y="42350"/>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4" name="Freeform 5278">
                  <a:extLst>
                    <a:ext uri="{FF2B5EF4-FFF2-40B4-BE49-F238E27FC236}">
                      <a16:creationId xmlns:a16="http://schemas.microsoft.com/office/drawing/2014/main" id="{FAA048EC-AFE7-EECF-A43F-24EEF59737D1}"/>
                    </a:ext>
                  </a:extLst>
                </p:cNvPr>
                <p:cNvSpPr/>
                <p:nvPr/>
              </p:nvSpPr>
              <p:spPr>
                <a:xfrm>
                  <a:off x="9359318" y="5721831"/>
                  <a:ext cx="26298" cy="26505"/>
                </a:xfrm>
                <a:custGeom>
                  <a:avLst/>
                  <a:gdLst>
                    <a:gd name="connsiteX0" fmla="*/ 70 w 26298"/>
                    <a:gd name="connsiteY0" fmla="*/ 12007 h 26505"/>
                    <a:gd name="connsiteX1" fmla="*/ 14519 w 26298"/>
                    <a:gd name="connsiteY1" fmla="*/ 49 h 26505"/>
                    <a:gd name="connsiteX2" fmla="*/ 26227 w 26298"/>
                    <a:gd name="connsiteY2" fmla="*/ 14622 h 26505"/>
                    <a:gd name="connsiteX3" fmla="*/ 11778 w 26298"/>
                    <a:gd name="connsiteY3" fmla="*/ 26455 h 26505"/>
                    <a:gd name="connsiteX4" fmla="*/ 70 w 26298"/>
                    <a:gd name="connsiteY4" fmla="*/ 12007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5">
                      <a:moveTo>
                        <a:pt x="70" y="12007"/>
                      </a:moveTo>
                      <a:cubicBezTo>
                        <a:pt x="817" y="4782"/>
                        <a:pt x="7294" y="-574"/>
                        <a:pt x="14519" y="49"/>
                      </a:cubicBezTo>
                      <a:cubicBezTo>
                        <a:pt x="21743" y="672"/>
                        <a:pt x="26975" y="7273"/>
                        <a:pt x="26227" y="14622"/>
                      </a:cubicBezTo>
                      <a:cubicBezTo>
                        <a:pt x="25480" y="21847"/>
                        <a:pt x="19003" y="27078"/>
                        <a:pt x="11778" y="26455"/>
                      </a:cubicBezTo>
                      <a:cubicBezTo>
                        <a:pt x="4679" y="25708"/>
                        <a:pt x="-678" y="19231"/>
                        <a:pt x="7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6" name="Graphic 2987">
                <a:extLst>
                  <a:ext uri="{FF2B5EF4-FFF2-40B4-BE49-F238E27FC236}">
                    <a16:creationId xmlns:a16="http://schemas.microsoft.com/office/drawing/2014/main" id="{A7891848-C84F-D005-CDD8-E49CFAB5004A}"/>
                  </a:ext>
                </a:extLst>
              </p:cNvPr>
              <p:cNvGrpSpPr/>
              <p:nvPr/>
            </p:nvGrpSpPr>
            <p:grpSpPr>
              <a:xfrm>
                <a:off x="9388588" y="5603206"/>
                <a:ext cx="39377" cy="148287"/>
                <a:chOff x="9388588" y="5603206"/>
                <a:chExt cx="39377" cy="148287"/>
              </a:xfrm>
              <a:grpFill/>
            </p:grpSpPr>
            <p:sp>
              <p:nvSpPr>
                <p:cNvPr id="4283" name="Freeform 5280">
                  <a:extLst>
                    <a:ext uri="{FF2B5EF4-FFF2-40B4-BE49-F238E27FC236}">
                      <a16:creationId xmlns:a16="http://schemas.microsoft.com/office/drawing/2014/main" id="{DE40CC26-F951-BCAE-5934-21446451040D}"/>
                    </a:ext>
                  </a:extLst>
                </p:cNvPr>
                <p:cNvSpPr/>
                <p:nvPr/>
              </p:nvSpPr>
              <p:spPr>
                <a:xfrm>
                  <a:off x="9404104" y="5623106"/>
                  <a:ext cx="6227" cy="51816"/>
                </a:xfrm>
                <a:custGeom>
                  <a:avLst/>
                  <a:gdLst>
                    <a:gd name="connsiteX0" fmla="*/ 6228 w 6227"/>
                    <a:gd name="connsiteY0" fmla="*/ 0 h 51816"/>
                    <a:gd name="connsiteX1" fmla="*/ 2242 w 6227"/>
                    <a:gd name="connsiteY1" fmla="*/ 18435 h 51816"/>
                    <a:gd name="connsiteX2" fmla="*/ 3861 w 6227"/>
                    <a:gd name="connsiteY2" fmla="*/ 35748 h 51816"/>
                    <a:gd name="connsiteX3" fmla="*/ 0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0"/>
                      </a:moveTo>
                      <a:cubicBezTo>
                        <a:pt x="2865" y="7723"/>
                        <a:pt x="2242" y="14075"/>
                        <a:pt x="2242" y="18435"/>
                      </a:cubicBezTo>
                      <a:cubicBezTo>
                        <a:pt x="2242"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4" name="Freeform 5281">
                  <a:extLst>
                    <a:ext uri="{FF2B5EF4-FFF2-40B4-BE49-F238E27FC236}">
                      <a16:creationId xmlns:a16="http://schemas.microsoft.com/office/drawing/2014/main" id="{D20F5D8C-2562-C0A9-A901-5F08701A1DD0}"/>
                    </a:ext>
                  </a:extLst>
                </p:cNvPr>
                <p:cNvSpPr/>
                <p:nvPr/>
              </p:nvSpPr>
              <p:spPr>
                <a:xfrm>
                  <a:off x="9412118" y="5618871"/>
                  <a:ext cx="6812" cy="51940"/>
                </a:xfrm>
                <a:custGeom>
                  <a:avLst/>
                  <a:gdLst>
                    <a:gd name="connsiteX0" fmla="*/ 954 w 6812"/>
                    <a:gd name="connsiteY0" fmla="*/ 51941 h 51940"/>
                    <a:gd name="connsiteX1" fmla="*/ 954 w 6812"/>
                    <a:gd name="connsiteY1" fmla="*/ 33132 h 51940"/>
                    <a:gd name="connsiteX2" fmla="*/ 6186 w 6812"/>
                    <a:gd name="connsiteY2" fmla="*/ 16566 h 51940"/>
                    <a:gd name="connsiteX3" fmla="*/ 5812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954" y="51941"/>
                      </a:moveTo>
                      <a:cubicBezTo>
                        <a:pt x="-665" y="43720"/>
                        <a:pt x="83" y="37367"/>
                        <a:pt x="954" y="33132"/>
                      </a:cubicBezTo>
                      <a:cubicBezTo>
                        <a:pt x="2449" y="26282"/>
                        <a:pt x="4940" y="23542"/>
                        <a:pt x="6186" y="16566"/>
                      </a:cubicBezTo>
                      <a:cubicBezTo>
                        <a:pt x="7431" y="9715"/>
                        <a:pt x="6559" y="3861"/>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5" name="Freeform 5282">
                  <a:extLst>
                    <a:ext uri="{FF2B5EF4-FFF2-40B4-BE49-F238E27FC236}">
                      <a16:creationId xmlns:a16="http://schemas.microsoft.com/office/drawing/2014/main" id="{9090FF58-B00F-5397-2F87-C82474C807B5}"/>
                    </a:ext>
                  </a:extLst>
                </p:cNvPr>
                <p:cNvSpPr/>
                <p:nvPr/>
              </p:nvSpPr>
              <p:spPr>
                <a:xfrm>
                  <a:off x="9401293" y="5603206"/>
                  <a:ext cx="26672" cy="26572"/>
                </a:xfrm>
                <a:custGeom>
                  <a:avLst/>
                  <a:gdLst>
                    <a:gd name="connsiteX0" fmla="*/ 26601 w 26672"/>
                    <a:gd name="connsiteY0" fmla="*/ 14793 h 26572"/>
                    <a:gd name="connsiteX1" fmla="*/ 11904 w 26672"/>
                    <a:gd name="connsiteY1" fmla="*/ 26501 h 26572"/>
                    <a:gd name="connsiteX2" fmla="*/ 71 w 26672"/>
                    <a:gd name="connsiteY2" fmla="*/ 11803 h 26572"/>
                    <a:gd name="connsiteX3" fmla="*/ 14769 w 26672"/>
                    <a:gd name="connsiteY3" fmla="*/ 95 h 26572"/>
                    <a:gd name="connsiteX4" fmla="*/ 26601 w 26672"/>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72">
                      <a:moveTo>
                        <a:pt x="26601" y="14793"/>
                      </a:moveTo>
                      <a:cubicBezTo>
                        <a:pt x="25854" y="22017"/>
                        <a:pt x="19253" y="27248"/>
                        <a:pt x="11904" y="26501"/>
                      </a:cubicBezTo>
                      <a:cubicBezTo>
                        <a:pt x="4555" y="25629"/>
                        <a:pt x="-677" y="19152"/>
                        <a:pt x="71" y="11803"/>
                      </a:cubicBezTo>
                      <a:cubicBezTo>
                        <a:pt x="818" y="4455"/>
                        <a:pt x="7420" y="-777"/>
                        <a:pt x="14769" y="95"/>
                      </a:cubicBezTo>
                      <a:cubicBezTo>
                        <a:pt x="22117" y="967"/>
                        <a:pt x="27349" y="7444"/>
                        <a:pt x="26601"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6" name="Freeform 5283">
                  <a:extLst>
                    <a:ext uri="{FF2B5EF4-FFF2-40B4-BE49-F238E27FC236}">
                      <a16:creationId xmlns:a16="http://schemas.microsoft.com/office/drawing/2014/main" id="{CC0407FE-9497-B5F6-11A6-B8D83B53CE59}"/>
                    </a:ext>
                  </a:extLst>
                </p:cNvPr>
                <p:cNvSpPr/>
                <p:nvPr/>
              </p:nvSpPr>
              <p:spPr>
                <a:xfrm>
                  <a:off x="9406097" y="5679780"/>
                  <a:ext cx="6227" cy="51816"/>
                </a:xfrm>
                <a:custGeom>
                  <a:avLst/>
                  <a:gdLst>
                    <a:gd name="connsiteX0" fmla="*/ 0 w 6227"/>
                    <a:gd name="connsiteY0" fmla="*/ 51816 h 51816"/>
                    <a:gd name="connsiteX1" fmla="*/ 3986 w 6227"/>
                    <a:gd name="connsiteY1" fmla="*/ 33381 h 51816"/>
                    <a:gd name="connsiteX2" fmla="*/ 2367 w 6227"/>
                    <a:gd name="connsiteY2" fmla="*/ 16068 h 51816"/>
                    <a:gd name="connsiteX3" fmla="*/ 6228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0" y="51816"/>
                      </a:moveTo>
                      <a:cubicBezTo>
                        <a:pt x="3239"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7" name="Freeform 5284">
                  <a:extLst>
                    <a:ext uri="{FF2B5EF4-FFF2-40B4-BE49-F238E27FC236}">
                      <a16:creationId xmlns:a16="http://schemas.microsoft.com/office/drawing/2014/main" id="{E1A85597-F2DE-9493-44E1-10910E99CB77}"/>
                    </a:ext>
                  </a:extLst>
                </p:cNvPr>
                <p:cNvSpPr/>
                <p:nvPr/>
              </p:nvSpPr>
              <p:spPr>
                <a:xfrm>
                  <a:off x="9397499" y="5683890"/>
                  <a:ext cx="6812" cy="51940"/>
                </a:xfrm>
                <a:custGeom>
                  <a:avLst/>
                  <a:gdLst>
                    <a:gd name="connsiteX0" fmla="*/ 5858 w 6812"/>
                    <a:gd name="connsiteY0" fmla="*/ 0 h 51940"/>
                    <a:gd name="connsiteX1" fmla="*/ 5858 w 6812"/>
                    <a:gd name="connsiteY1" fmla="*/ 18808 h 51940"/>
                    <a:gd name="connsiteX2" fmla="*/ 627 w 6812"/>
                    <a:gd name="connsiteY2" fmla="*/ 35374 h 51940"/>
                    <a:gd name="connsiteX3" fmla="*/ 1000 w 681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0"/>
                      </a:moveTo>
                      <a:cubicBezTo>
                        <a:pt x="7477" y="8221"/>
                        <a:pt x="6730" y="14573"/>
                        <a:pt x="5858" y="18808"/>
                      </a:cubicBezTo>
                      <a:cubicBezTo>
                        <a:pt x="4364" y="25659"/>
                        <a:pt x="1872" y="28399"/>
                        <a:pt x="627" y="35374"/>
                      </a:cubicBezTo>
                      <a:cubicBezTo>
                        <a:pt x="-619" y="42225"/>
                        <a:pt x="253" y="48079"/>
                        <a:pt x="100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8" name="Freeform 5285">
                  <a:extLst>
                    <a:ext uri="{FF2B5EF4-FFF2-40B4-BE49-F238E27FC236}">
                      <a16:creationId xmlns:a16="http://schemas.microsoft.com/office/drawing/2014/main" id="{916C57EF-DFFA-2AA5-FECC-2C07219D2A23}"/>
                    </a:ext>
                  </a:extLst>
                </p:cNvPr>
                <p:cNvSpPr/>
                <p:nvPr/>
              </p:nvSpPr>
              <p:spPr>
                <a:xfrm>
                  <a:off x="9388588" y="5724901"/>
                  <a:ext cx="26298" cy="26592"/>
                </a:xfrm>
                <a:custGeom>
                  <a:avLst/>
                  <a:gdLst>
                    <a:gd name="connsiteX0" fmla="*/ 71 w 26298"/>
                    <a:gd name="connsiteY0" fmla="*/ 11801 h 26592"/>
                    <a:gd name="connsiteX1" fmla="*/ 14519 w 26298"/>
                    <a:gd name="connsiteY1" fmla="*/ 93 h 26592"/>
                    <a:gd name="connsiteX2" fmla="*/ 26228 w 26298"/>
                    <a:gd name="connsiteY2" fmla="*/ 14791 h 26592"/>
                    <a:gd name="connsiteX3" fmla="*/ 11780 w 26298"/>
                    <a:gd name="connsiteY3" fmla="*/ 26499 h 26592"/>
                    <a:gd name="connsiteX4" fmla="*/ 71 w 26298"/>
                    <a:gd name="connsiteY4" fmla="*/ 11801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92">
                      <a:moveTo>
                        <a:pt x="71" y="11801"/>
                      </a:moveTo>
                      <a:cubicBezTo>
                        <a:pt x="818" y="4577"/>
                        <a:pt x="7296" y="-779"/>
                        <a:pt x="14519" y="93"/>
                      </a:cubicBezTo>
                      <a:cubicBezTo>
                        <a:pt x="21744" y="965"/>
                        <a:pt x="26975" y="7442"/>
                        <a:pt x="26228" y="14791"/>
                      </a:cubicBezTo>
                      <a:cubicBezTo>
                        <a:pt x="25481" y="22015"/>
                        <a:pt x="19004" y="27371"/>
                        <a:pt x="11780" y="26499"/>
                      </a:cubicBezTo>
                      <a:cubicBezTo>
                        <a:pt x="4555" y="25627"/>
                        <a:pt x="-676" y="19150"/>
                        <a:pt x="71" y="11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7" name="Graphic 2987">
                <a:extLst>
                  <a:ext uri="{FF2B5EF4-FFF2-40B4-BE49-F238E27FC236}">
                    <a16:creationId xmlns:a16="http://schemas.microsoft.com/office/drawing/2014/main" id="{88DE36D0-75A3-C821-CF03-A3E890597134}"/>
                  </a:ext>
                </a:extLst>
              </p:cNvPr>
              <p:cNvGrpSpPr/>
              <p:nvPr/>
            </p:nvGrpSpPr>
            <p:grpSpPr>
              <a:xfrm>
                <a:off x="9417835" y="5606467"/>
                <a:ext cx="39775" cy="148140"/>
                <a:chOff x="9417835" y="5606467"/>
                <a:chExt cx="39775" cy="148140"/>
              </a:xfrm>
              <a:grpFill/>
            </p:grpSpPr>
            <p:sp>
              <p:nvSpPr>
                <p:cNvPr id="4277" name="Freeform 5287">
                  <a:extLst>
                    <a:ext uri="{FF2B5EF4-FFF2-40B4-BE49-F238E27FC236}">
                      <a16:creationId xmlns:a16="http://schemas.microsoft.com/office/drawing/2014/main" id="{DD2D5DCE-EE40-C359-4445-F1F1C04A24E0}"/>
                    </a:ext>
                  </a:extLst>
                </p:cNvPr>
                <p:cNvSpPr/>
                <p:nvPr/>
              </p:nvSpPr>
              <p:spPr>
                <a:xfrm>
                  <a:off x="9433500" y="5626344"/>
                  <a:ext cx="6352" cy="51691"/>
                </a:xfrm>
                <a:custGeom>
                  <a:avLst/>
                  <a:gdLst>
                    <a:gd name="connsiteX0" fmla="*/ 6353 w 6352"/>
                    <a:gd name="connsiteY0" fmla="*/ 0 h 51691"/>
                    <a:gd name="connsiteX1" fmla="*/ 2367 w 6352"/>
                    <a:gd name="connsiteY1" fmla="*/ 18310 h 51691"/>
                    <a:gd name="connsiteX2" fmla="*/ 3861 w 6352"/>
                    <a:gd name="connsiteY2" fmla="*/ 35623 h 51691"/>
                    <a:gd name="connsiteX3" fmla="*/ 0 w 635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352" h="51690">
                      <a:moveTo>
                        <a:pt x="6353" y="0"/>
                      </a:moveTo>
                      <a:cubicBezTo>
                        <a:pt x="2989" y="7723"/>
                        <a:pt x="2367" y="14075"/>
                        <a:pt x="2367" y="18310"/>
                      </a:cubicBezTo>
                      <a:cubicBezTo>
                        <a:pt x="2367" y="25285"/>
                        <a:pt x="4235" y="28524"/>
                        <a:pt x="3861" y="35623"/>
                      </a:cubicBezTo>
                      <a:cubicBezTo>
                        <a:pt x="3613"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8" name="Freeform 5288">
                  <a:extLst>
                    <a:ext uri="{FF2B5EF4-FFF2-40B4-BE49-F238E27FC236}">
                      <a16:creationId xmlns:a16="http://schemas.microsoft.com/office/drawing/2014/main" id="{021B7D97-CFEB-E19D-C7E2-B140A62DA63E}"/>
                    </a:ext>
                  </a:extLst>
                </p:cNvPr>
                <p:cNvSpPr/>
                <p:nvPr/>
              </p:nvSpPr>
              <p:spPr>
                <a:xfrm>
                  <a:off x="9441523" y="5622109"/>
                  <a:ext cx="6959" cy="51940"/>
                </a:xfrm>
                <a:custGeom>
                  <a:avLst/>
                  <a:gdLst>
                    <a:gd name="connsiteX0" fmla="*/ 945 w 6959"/>
                    <a:gd name="connsiteY0" fmla="*/ 51940 h 51940"/>
                    <a:gd name="connsiteX1" fmla="*/ 1069 w 6959"/>
                    <a:gd name="connsiteY1" fmla="*/ 33132 h 51940"/>
                    <a:gd name="connsiteX2" fmla="*/ 6301 w 6959"/>
                    <a:gd name="connsiteY2" fmla="*/ 16566 h 51940"/>
                    <a:gd name="connsiteX3" fmla="*/ 5927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51940"/>
                      </a:moveTo>
                      <a:cubicBezTo>
                        <a:pt x="-675" y="43720"/>
                        <a:pt x="73" y="37367"/>
                        <a:pt x="1069" y="33132"/>
                      </a:cubicBezTo>
                      <a:cubicBezTo>
                        <a:pt x="2564" y="26281"/>
                        <a:pt x="5055" y="23541"/>
                        <a:pt x="6301" y="16566"/>
                      </a:cubicBezTo>
                      <a:cubicBezTo>
                        <a:pt x="7546" y="9715"/>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9" name="Freeform 5289">
                  <a:extLst>
                    <a:ext uri="{FF2B5EF4-FFF2-40B4-BE49-F238E27FC236}">
                      <a16:creationId xmlns:a16="http://schemas.microsoft.com/office/drawing/2014/main" id="{42F67C6F-BB0E-3889-48B9-D1392693947D}"/>
                    </a:ext>
                  </a:extLst>
                </p:cNvPr>
                <p:cNvSpPr/>
                <p:nvPr/>
              </p:nvSpPr>
              <p:spPr>
                <a:xfrm>
                  <a:off x="9430937" y="5606467"/>
                  <a:ext cx="26672" cy="26549"/>
                </a:xfrm>
                <a:custGeom>
                  <a:avLst/>
                  <a:gdLst>
                    <a:gd name="connsiteX0" fmla="*/ 26602 w 26672"/>
                    <a:gd name="connsiteY0" fmla="*/ 14770 h 26549"/>
                    <a:gd name="connsiteX1" fmla="*/ 11904 w 26672"/>
                    <a:gd name="connsiteY1" fmla="*/ 26479 h 26549"/>
                    <a:gd name="connsiteX2" fmla="*/ 71 w 26672"/>
                    <a:gd name="connsiteY2" fmla="*/ 11781 h 26549"/>
                    <a:gd name="connsiteX3" fmla="*/ 14769 w 26672"/>
                    <a:gd name="connsiteY3" fmla="*/ 73 h 26549"/>
                    <a:gd name="connsiteX4" fmla="*/ 26602 w 26672"/>
                    <a:gd name="connsiteY4" fmla="*/ 14770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9">
                      <a:moveTo>
                        <a:pt x="26602" y="14770"/>
                      </a:moveTo>
                      <a:cubicBezTo>
                        <a:pt x="25730" y="21995"/>
                        <a:pt x="19253" y="27226"/>
                        <a:pt x="11904" y="26479"/>
                      </a:cubicBezTo>
                      <a:cubicBezTo>
                        <a:pt x="4556" y="25607"/>
                        <a:pt x="-676" y="19130"/>
                        <a:pt x="71" y="11781"/>
                      </a:cubicBezTo>
                      <a:cubicBezTo>
                        <a:pt x="818" y="4432"/>
                        <a:pt x="7420" y="-675"/>
                        <a:pt x="14769" y="73"/>
                      </a:cubicBezTo>
                      <a:cubicBezTo>
                        <a:pt x="22118" y="820"/>
                        <a:pt x="27349" y="7546"/>
                        <a:pt x="26602" y="14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0" name="Freeform 5290">
                  <a:extLst>
                    <a:ext uri="{FF2B5EF4-FFF2-40B4-BE49-F238E27FC236}">
                      <a16:creationId xmlns:a16="http://schemas.microsoft.com/office/drawing/2014/main" id="{3F556E49-9157-5AB0-18A6-D9C22D6AE0FB}"/>
                    </a:ext>
                  </a:extLst>
                </p:cNvPr>
                <p:cNvSpPr/>
                <p:nvPr/>
              </p:nvSpPr>
              <p:spPr>
                <a:xfrm>
                  <a:off x="9435244" y="5683143"/>
                  <a:ext cx="6477" cy="51691"/>
                </a:xfrm>
                <a:custGeom>
                  <a:avLst/>
                  <a:gdLst>
                    <a:gd name="connsiteX0" fmla="*/ 0 w 6477"/>
                    <a:gd name="connsiteY0" fmla="*/ 51691 h 51691"/>
                    <a:gd name="connsiteX1" fmla="*/ 3986 w 6477"/>
                    <a:gd name="connsiteY1" fmla="*/ 33381 h 51691"/>
                    <a:gd name="connsiteX2" fmla="*/ 2491 w 6477"/>
                    <a:gd name="connsiteY2" fmla="*/ 16068 h 51691"/>
                    <a:gd name="connsiteX3" fmla="*/ 6477 w 6477"/>
                    <a:gd name="connsiteY3" fmla="*/ 0 h 51691"/>
                  </a:gdLst>
                  <a:ahLst/>
                  <a:cxnLst>
                    <a:cxn ang="0">
                      <a:pos x="connsiteX0" y="connsiteY0"/>
                    </a:cxn>
                    <a:cxn ang="0">
                      <a:pos x="connsiteX1" y="connsiteY1"/>
                    </a:cxn>
                    <a:cxn ang="0">
                      <a:pos x="connsiteX2" y="connsiteY2"/>
                    </a:cxn>
                    <a:cxn ang="0">
                      <a:pos x="connsiteX3" y="connsiteY3"/>
                    </a:cxn>
                  </a:cxnLst>
                  <a:rect l="l" t="t" r="r" b="b"/>
                  <a:pathLst>
                    <a:path w="6477" h="51690">
                      <a:moveTo>
                        <a:pt x="0" y="51691"/>
                      </a:moveTo>
                      <a:cubicBezTo>
                        <a:pt x="3363" y="43969"/>
                        <a:pt x="3986" y="37616"/>
                        <a:pt x="3986" y="33381"/>
                      </a:cubicBezTo>
                      <a:cubicBezTo>
                        <a:pt x="3986" y="26406"/>
                        <a:pt x="2242"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1" name="Freeform 5291">
                  <a:extLst>
                    <a:ext uri="{FF2B5EF4-FFF2-40B4-BE49-F238E27FC236}">
                      <a16:creationId xmlns:a16="http://schemas.microsoft.com/office/drawing/2014/main" id="{94B7ADDA-D760-51A6-3F7D-BE1725F52AE5}"/>
                    </a:ext>
                  </a:extLst>
                </p:cNvPr>
                <p:cNvSpPr/>
                <p:nvPr/>
              </p:nvSpPr>
              <p:spPr>
                <a:xfrm>
                  <a:off x="9426737" y="5687128"/>
                  <a:ext cx="6959" cy="51940"/>
                </a:xfrm>
                <a:custGeom>
                  <a:avLst/>
                  <a:gdLst>
                    <a:gd name="connsiteX0" fmla="*/ 6015 w 6959"/>
                    <a:gd name="connsiteY0" fmla="*/ 0 h 51940"/>
                    <a:gd name="connsiteX1" fmla="*/ 5890 w 6959"/>
                    <a:gd name="connsiteY1" fmla="*/ 18808 h 51940"/>
                    <a:gd name="connsiteX2" fmla="*/ 659 w 6959"/>
                    <a:gd name="connsiteY2" fmla="*/ 35374 h 51940"/>
                    <a:gd name="connsiteX3" fmla="*/ 1033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0"/>
                      </a:moveTo>
                      <a:cubicBezTo>
                        <a:pt x="7634" y="8221"/>
                        <a:pt x="6887" y="14573"/>
                        <a:pt x="5890" y="18808"/>
                      </a:cubicBezTo>
                      <a:cubicBezTo>
                        <a:pt x="4395" y="25659"/>
                        <a:pt x="1904" y="28399"/>
                        <a:pt x="659" y="35374"/>
                      </a:cubicBezTo>
                      <a:cubicBezTo>
                        <a:pt x="-586" y="42225"/>
                        <a:pt x="161" y="48079"/>
                        <a:pt x="10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2" name="Freeform 5292">
                  <a:extLst>
                    <a:ext uri="{FF2B5EF4-FFF2-40B4-BE49-F238E27FC236}">
                      <a16:creationId xmlns:a16="http://schemas.microsoft.com/office/drawing/2014/main" id="{91FFBAA0-D713-151B-4CFB-FB306CB0E171}"/>
                    </a:ext>
                  </a:extLst>
                </p:cNvPr>
                <p:cNvSpPr/>
                <p:nvPr/>
              </p:nvSpPr>
              <p:spPr>
                <a:xfrm>
                  <a:off x="9417835" y="5728139"/>
                  <a:ext cx="26222" cy="26468"/>
                </a:xfrm>
                <a:custGeom>
                  <a:avLst/>
                  <a:gdLst>
                    <a:gd name="connsiteX0" fmla="*/ 95 w 26222"/>
                    <a:gd name="connsiteY0" fmla="*/ 11802 h 26468"/>
                    <a:gd name="connsiteX1" fmla="*/ 14544 w 26222"/>
                    <a:gd name="connsiteY1" fmla="*/ 93 h 26468"/>
                    <a:gd name="connsiteX2" fmla="*/ 26128 w 26222"/>
                    <a:gd name="connsiteY2" fmla="*/ 14667 h 26468"/>
                    <a:gd name="connsiteX3" fmla="*/ 11679 w 26222"/>
                    <a:gd name="connsiteY3" fmla="*/ 26375 h 26468"/>
                    <a:gd name="connsiteX4" fmla="*/ 95 w 26222"/>
                    <a:gd name="connsiteY4" fmla="*/ 11802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2" h="26468">
                      <a:moveTo>
                        <a:pt x="95" y="11802"/>
                      </a:moveTo>
                      <a:cubicBezTo>
                        <a:pt x="842" y="4577"/>
                        <a:pt x="7320" y="-779"/>
                        <a:pt x="14544" y="93"/>
                      </a:cubicBezTo>
                      <a:cubicBezTo>
                        <a:pt x="21768" y="840"/>
                        <a:pt x="27000" y="7442"/>
                        <a:pt x="26128" y="14667"/>
                      </a:cubicBezTo>
                      <a:cubicBezTo>
                        <a:pt x="25256" y="21891"/>
                        <a:pt x="18779" y="27247"/>
                        <a:pt x="11679" y="26375"/>
                      </a:cubicBezTo>
                      <a:cubicBezTo>
                        <a:pt x="4455" y="25628"/>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8" name="Graphic 2987">
                <a:extLst>
                  <a:ext uri="{FF2B5EF4-FFF2-40B4-BE49-F238E27FC236}">
                    <a16:creationId xmlns:a16="http://schemas.microsoft.com/office/drawing/2014/main" id="{53B47F5C-FF21-96CD-6BCF-92DEDC13CF93}"/>
                  </a:ext>
                </a:extLst>
              </p:cNvPr>
              <p:cNvGrpSpPr/>
              <p:nvPr/>
            </p:nvGrpSpPr>
            <p:grpSpPr>
              <a:xfrm>
                <a:off x="9446982" y="5609831"/>
                <a:ext cx="40273" cy="148116"/>
                <a:chOff x="9446982" y="5609831"/>
                <a:chExt cx="40273" cy="148116"/>
              </a:xfrm>
              <a:grpFill/>
            </p:grpSpPr>
            <p:sp>
              <p:nvSpPr>
                <p:cNvPr id="4271" name="Freeform 5294">
                  <a:extLst>
                    <a:ext uri="{FF2B5EF4-FFF2-40B4-BE49-F238E27FC236}">
                      <a16:creationId xmlns:a16="http://schemas.microsoft.com/office/drawing/2014/main" id="{5AEF1619-2382-2D9B-362E-0584F1876FBB}"/>
                    </a:ext>
                  </a:extLst>
                </p:cNvPr>
                <p:cNvSpPr/>
                <p:nvPr/>
              </p:nvSpPr>
              <p:spPr>
                <a:xfrm>
                  <a:off x="9462895" y="5629707"/>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2" name="Freeform 5295">
                  <a:extLst>
                    <a:ext uri="{FF2B5EF4-FFF2-40B4-BE49-F238E27FC236}">
                      <a16:creationId xmlns:a16="http://schemas.microsoft.com/office/drawing/2014/main" id="{28FBE7C4-95EF-494B-0A15-4DAE169F6E5F}"/>
                    </a:ext>
                  </a:extLst>
                </p:cNvPr>
                <p:cNvSpPr/>
                <p:nvPr/>
              </p:nvSpPr>
              <p:spPr>
                <a:xfrm>
                  <a:off x="9470919" y="5625597"/>
                  <a:ext cx="7091" cy="51816"/>
                </a:xfrm>
                <a:custGeom>
                  <a:avLst/>
                  <a:gdLst>
                    <a:gd name="connsiteX0" fmla="*/ 945 w 7091"/>
                    <a:gd name="connsiteY0" fmla="*/ 51816 h 51816"/>
                    <a:gd name="connsiteX1" fmla="*/ 1069 w 7091"/>
                    <a:gd name="connsiteY1" fmla="*/ 33008 h 51816"/>
                    <a:gd name="connsiteX2" fmla="*/ 6425 w 7091"/>
                    <a:gd name="connsiteY2" fmla="*/ 16442 h 51816"/>
                    <a:gd name="connsiteX3" fmla="*/ 6176 w 7091"/>
                    <a:gd name="connsiteY3" fmla="*/ 0 h 51816"/>
                  </a:gdLst>
                  <a:ahLst/>
                  <a:cxnLst>
                    <a:cxn ang="0">
                      <a:pos x="connsiteX0" y="connsiteY0"/>
                    </a:cxn>
                    <a:cxn ang="0">
                      <a:pos x="connsiteX1" y="connsiteY1"/>
                    </a:cxn>
                    <a:cxn ang="0">
                      <a:pos x="connsiteX2" y="connsiteY2"/>
                    </a:cxn>
                    <a:cxn ang="0">
                      <a:pos x="connsiteX3" y="connsiteY3"/>
                    </a:cxn>
                  </a:cxnLst>
                  <a:rect l="l" t="t" r="r" b="b"/>
                  <a:pathLst>
                    <a:path w="7091" h="51816">
                      <a:moveTo>
                        <a:pt x="945" y="51816"/>
                      </a:moveTo>
                      <a:cubicBezTo>
                        <a:pt x="-675" y="43595"/>
                        <a:pt x="73" y="37243"/>
                        <a:pt x="1069" y="33008"/>
                      </a:cubicBezTo>
                      <a:cubicBezTo>
                        <a:pt x="2689"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3" name="Freeform 5296">
                  <a:extLst>
                    <a:ext uri="{FF2B5EF4-FFF2-40B4-BE49-F238E27FC236}">
                      <a16:creationId xmlns:a16="http://schemas.microsoft.com/office/drawing/2014/main" id="{6240FFBC-BF38-DD62-EC9B-D4AF57E1E6BA}"/>
                    </a:ext>
                  </a:extLst>
                </p:cNvPr>
                <p:cNvSpPr/>
                <p:nvPr/>
              </p:nvSpPr>
              <p:spPr>
                <a:xfrm>
                  <a:off x="9460683" y="5609831"/>
                  <a:ext cx="26572" cy="26548"/>
                </a:xfrm>
                <a:custGeom>
                  <a:avLst/>
                  <a:gdLst>
                    <a:gd name="connsiteX0" fmla="*/ 26501 w 26572"/>
                    <a:gd name="connsiteY0" fmla="*/ 14769 h 26548"/>
                    <a:gd name="connsiteX1" fmla="*/ 11803 w 26572"/>
                    <a:gd name="connsiteY1" fmla="*/ 26477 h 26548"/>
                    <a:gd name="connsiteX2" fmla="*/ 95 w 26572"/>
                    <a:gd name="connsiteY2" fmla="*/ 11780 h 26548"/>
                    <a:gd name="connsiteX3" fmla="*/ 14793 w 26572"/>
                    <a:gd name="connsiteY3" fmla="*/ 71 h 26548"/>
                    <a:gd name="connsiteX4" fmla="*/ 26501 w 26572"/>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2" h="26548">
                      <a:moveTo>
                        <a:pt x="26501" y="14769"/>
                      </a:moveTo>
                      <a:cubicBezTo>
                        <a:pt x="25629" y="21993"/>
                        <a:pt x="19028" y="27225"/>
                        <a:pt x="11803" y="26477"/>
                      </a:cubicBezTo>
                      <a:cubicBezTo>
                        <a:pt x="4455" y="25606"/>
                        <a:pt x="-777" y="19128"/>
                        <a:pt x="95" y="11780"/>
                      </a:cubicBezTo>
                      <a:cubicBezTo>
                        <a:pt x="967" y="4555"/>
                        <a:pt x="7444" y="-676"/>
                        <a:pt x="14793" y="71"/>
                      </a:cubicBezTo>
                      <a:cubicBezTo>
                        <a:pt x="22017" y="943"/>
                        <a:pt x="27248" y="7420"/>
                        <a:pt x="26501"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4" name="Freeform 5297">
                  <a:extLst>
                    <a:ext uri="{FF2B5EF4-FFF2-40B4-BE49-F238E27FC236}">
                      <a16:creationId xmlns:a16="http://schemas.microsoft.com/office/drawing/2014/main" id="{9B07176D-E751-41EA-2EC9-90BD5B3AB49A}"/>
                    </a:ext>
                  </a:extLst>
                </p:cNvPr>
                <p:cNvSpPr/>
                <p:nvPr/>
              </p:nvSpPr>
              <p:spPr>
                <a:xfrm>
                  <a:off x="9464514" y="568638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5" name="Freeform 5298">
                  <a:extLst>
                    <a:ext uri="{FF2B5EF4-FFF2-40B4-BE49-F238E27FC236}">
                      <a16:creationId xmlns:a16="http://schemas.microsoft.com/office/drawing/2014/main" id="{F3C0B12B-E31F-3CA3-BA56-1EA0F9A79964}"/>
                    </a:ext>
                  </a:extLst>
                </p:cNvPr>
                <p:cNvSpPr/>
                <p:nvPr/>
              </p:nvSpPr>
              <p:spPr>
                <a:xfrm>
                  <a:off x="9456126" y="5690367"/>
                  <a:ext cx="6966" cy="51815"/>
                </a:xfrm>
                <a:custGeom>
                  <a:avLst/>
                  <a:gdLst>
                    <a:gd name="connsiteX0" fmla="*/ 6022 w 6966"/>
                    <a:gd name="connsiteY0" fmla="*/ 0 h 51815"/>
                    <a:gd name="connsiteX1" fmla="*/ 5898 w 6966"/>
                    <a:gd name="connsiteY1" fmla="*/ 18808 h 51815"/>
                    <a:gd name="connsiteX2" fmla="*/ 666 w 6966"/>
                    <a:gd name="connsiteY2" fmla="*/ 35374 h 51815"/>
                    <a:gd name="connsiteX3" fmla="*/ 915 w 6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66" h="51815">
                      <a:moveTo>
                        <a:pt x="6022" y="0"/>
                      </a:moveTo>
                      <a:cubicBezTo>
                        <a:pt x="7641" y="8220"/>
                        <a:pt x="6894" y="14573"/>
                        <a:pt x="5898" y="18808"/>
                      </a:cubicBezTo>
                      <a:cubicBezTo>
                        <a:pt x="4403" y="25659"/>
                        <a:pt x="1912" y="28399"/>
                        <a:pt x="666" y="35374"/>
                      </a:cubicBezTo>
                      <a:cubicBezTo>
                        <a:pt x="-579" y="42225"/>
                        <a:pt x="168" y="47954"/>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6" name="Freeform 5299">
                  <a:extLst>
                    <a:ext uri="{FF2B5EF4-FFF2-40B4-BE49-F238E27FC236}">
                      <a16:creationId xmlns:a16="http://schemas.microsoft.com/office/drawing/2014/main" id="{B76E4ABF-4A5F-443E-DCAD-A988E5FB369D}"/>
                    </a:ext>
                  </a:extLst>
                </p:cNvPr>
                <p:cNvSpPr/>
                <p:nvPr/>
              </p:nvSpPr>
              <p:spPr>
                <a:xfrm>
                  <a:off x="9446982" y="5731503"/>
                  <a:ext cx="26346" cy="26445"/>
                </a:xfrm>
                <a:custGeom>
                  <a:avLst/>
                  <a:gdLst>
                    <a:gd name="connsiteX0" fmla="*/ 95 w 26346"/>
                    <a:gd name="connsiteY0" fmla="*/ 11802 h 26445"/>
                    <a:gd name="connsiteX1" fmla="*/ 14668 w 26346"/>
                    <a:gd name="connsiteY1" fmla="*/ 93 h 26445"/>
                    <a:gd name="connsiteX2" fmla="*/ 26252 w 26346"/>
                    <a:gd name="connsiteY2" fmla="*/ 14666 h 26445"/>
                    <a:gd name="connsiteX3" fmla="*/ 11679 w 26346"/>
                    <a:gd name="connsiteY3" fmla="*/ 26375 h 26445"/>
                    <a:gd name="connsiteX4" fmla="*/ 95 w 26346"/>
                    <a:gd name="connsiteY4" fmla="*/ 11802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5">
                      <a:moveTo>
                        <a:pt x="95" y="11802"/>
                      </a:moveTo>
                      <a:cubicBezTo>
                        <a:pt x="842" y="4577"/>
                        <a:pt x="7443" y="-779"/>
                        <a:pt x="14668" y="93"/>
                      </a:cubicBezTo>
                      <a:cubicBezTo>
                        <a:pt x="21893" y="965"/>
                        <a:pt x="27124" y="7442"/>
                        <a:pt x="26252" y="14666"/>
                      </a:cubicBezTo>
                      <a:cubicBezTo>
                        <a:pt x="25380" y="21891"/>
                        <a:pt x="18903" y="27122"/>
                        <a:pt x="11679" y="26375"/>
                      </a:cubicBezTo>
                      <a:cubicBezTo>
                        <a:pt x="4454"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9" name="Graphic 2987">
                <a:extLst>
                  <a:ext uri="{FF2B5EF4-FFF2-40B4-BE49-F238E27FC236}">
                    <a16:creationId xmlns:a16="http://schemas.microsoft.com/office/drawing/2014/main" id="{5E623D7E-AF03-E4E2-05B0-B7180C702937}"/>
                  </a:ext>
                </a:extLst>
              </p:cNvPr>
              <p:cNvGrpSpPr/>
              <p:nvPr/>
            </p:nvGrpSpPr>
            <p:grpSpPr>
              <a:xfrm>
                <a:off x="9476150" y="5613070"/>
                <a:ext cx="40648" cy="148116"/>
                <a:chOff x="9476150" y="5613070"/>
                <a:chExt cx="40648" cy="148116"/>
              </a:xfrm>
              <a:grpFill/>
            </p:grpSpPr>
            <p:sp>
              <p:nvSpPr>
                <p:cNvPr id="4265" name="Freeform 5301">
                  <a:extLst>
                    <a:ext uri="{FF2B5EF4-FFF2-40B4-BE49-F238E27FC236}">
                      <a16:creationId xmlns:a16="http://schemas.microsoft.com/office/drawing/2014/main" id="{881EF46B-F8BE-CAE9-6BBD-422ED03298A4}"/>
                    </a:ext>
                  </a:extLst>
                </p:cNvPr>
                <p:cNvSpPr/>
                <p:nvPr/>
              </p:nvSpPr>
              <p:spPr>
                <a:xfrm>
                  <a:off x="9492416" y="5633070"/>
                  <a:ext cx="6601" cy="51691"/>
                </a:xfrm>
                <a:custGeom>
                  <a:avLst/>
                  <a:gdLst>
                    <a:gd name="connsiteX0" fmla="*/ 6601 w 6601"/>
                    <a:gd name="connsiteY0" fmla="*/ 0 h 51691"/>
                    <a:gd name="connsiteX1" fmla="*/ 2491 w 6601"/>
                    <a:gd name="connsiteY1" fmla="*/ 18310 h 51691"/>
                    <a:gd name="connsiteX2" fmla="*/ 3985 w 6601"/>
                    <a:gd name="connsiteY2" fmla="*/ 35623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0"/>
                      </a:moveTo>
                      <a:cubicBezTo>
                        <a:pt x="3238" y="7723"/>
                        <a:pt x="2491" y="13950"/>
                        <a:pt x="2491" y="18310"/>
                      </a:cubicBezTo>
                      <a:cubicBezTo>
                        <a:pt x="2491" y="25285"/>
                        <a:pt x="4235" y="28523"/>
                        <a:pt x="3985" y="35623"/>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6" name="Freeform 5302">
                  <a:extLst>
                    <a:ext uri="{FF2B5EF4-FFF2-40B4-BE49-F238E27FC236}">
                      <a16:creationId xmlns:a16="http://schemas.microsoft.com/office/drawing/2014/main" id="{99C119D1-C443-54E9-5F3E-5D8A79AB495A}"/>
                    </a:ext>
                  </a:extLst>
                </p:cNvPr>
                <p:cNvSpPr/>
                <p:nvPr/>
              </p:nvSpPr>
              <p:spPr>
                <a:xfrm>
                  <a:off x="9500414" y="5628836"/>
                  <a:ext cx="7116" cy="51815"/>
                </a:xfrm>
                <a:custGeom>
                  <a:avLst/>
                  <a:gdLst>
                    <a:gd name="connsiteX0" fmla="*/ 845 w 7116"/>
                    <a:gd name="connsiteY0" fmla="*/ 51816 h 51815"/>
                    <a:gd name="connsiteX1" fmla="*/ 1095 w 7116"/>
                    <a:gd name="connsiteY1" fmla="*/ 33008 h 51815"/>
                    <a:gd name="connsiteX2" fmla="*/ 6450 w 7116"/>
                    <a:gd name="connsiteY2" fmla="*/ 16441 h 51815"/>
                    <a:gd name="connsiteX3" fmla="*/ 6201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845" y="51816"/>
                      </a:moveTo>
                      <a:cubicBezTo>
                        <a:pt x="-649" y="43595"/>
                        <a:pt x="98" y="37243"/>
                        <a:pt x="1095" y="33008"/>
                      </a:cubicBezTo>
                      <a:cubicBezTo>
                        <a:pt x="2714" y="26157"/>
                        <a:pt x="5205" y="23417"/>
                        <a:pt x="6450" y="16441"/>
                      </a:cubicBezTo>
                      <a:cubicBezTo>
                        <a:pt x="7696" y="9715"/>
                        <a:pt x="6948"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7" name="Freeform 5303">
                  <a:extLst>
                    <a:ext uri="{FF2B5EF4-FFF2-40B4-BE49-F238E27FC236}">
                      <a16:creationId xmlns:a16="http://schemas.microsoft.com/office/drawing/2014/main" id="{4CA42766-58B9-AF9E-FB0A-C443045FB813}"/>
                    </a:ext>
                  </a:extLst>
                </p:cNvPr>
                <p:cNvSpPr/>
                <p:nvPr/>
              </p:nvSpPr>
              <p:spPr>
                <a:xfrm>
                  <a:off x="9490078" y="5613070"/>
                  <a:ext cx="26720" cy="26548"/>
                </a:xfrm>
                <a:custGeom>
                  <a:avLst/>
                  <a:gdLst>
                    <a:gd name="connsiteX0" fmla="*/ 26626 w 26720"/>
                    <a:gd name="connsiteY0" fmla="*/ 14769 h 26548"/>
                    <a:gd name="connsiteX1" fmla="*/ 11803 w 26720"/>
                    <a:gd name="connsiteY1" fmla="*/ 26477 h 26548"/>
                    <a:gd name="connsiteX2" fmla="*/ 95 w 26720"/>
                    <a:gd name="connsiteY2" fmla="*/ 11780 h 26548"/>
                    <a:gd name="connsiteX3" fmla="*/ 14917 w 26720"/>
                    <a:gd name="connsiteY3" fmla="*/ 71 h 26548"/>
                    <a:gd name="connsiteX4" fmla="*/ 26626 w 26720"/>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48">
                      <a:moveTo>
                        <a:pt x="26626" y="14769"/>
                      </a:moveTo>
                      <a:cubicBezTo>
                        <a:pt x="25754" y="21993"/>
                        <a:pt x="19152" y="27225"/>
                        <a:pt x="11803" y="26477"/>
                      </a:cubicBezTo>
                      <a:cubicBezTo>
                        <a:pt x="4455" y="25730"/>
                        <a:pt x="-776" y="19128"/>
                        <a:pt x="95" y="11780"/>
                      </a:cubicBezTo>
                      <a:cubicBezTo>
                        <a:pt x="967" y="4555"/>
                        <a:pt x="7569" y="-676"/>
                        <a:pt x="14917" y="71"/>
                      </a:cubicBezTo>
                      <a:cubicBezTo>
                        <a:pt x="22266" y="943"/>
                        <a:pt x="27498" y="7545"/>
                        <a:pt x="26626"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8" name="Freeform 5304">
                  <a:extLst>
                    <a:ext uri="{FF2B5EF4-FFF2-40B4-BE49-F238E27FC236}">
                      <a16:creationId xmlns:a16="http://schemas.microsoft.com/office/drawing/2014/main" id="{4B89F931-4582-39E5-BB85-28AD41B27033}"/>
                    </a:ext>
                  </a:extLst>
                </p:cNvPr>
                <p:cNvSpPr/>
                <p:nvPr/>
              </p:nvSpPr>
              <p:spPr>
                <a:xfrm>
                  <a:off x="9493786" y="5689619"/>
                  <a:ext cx="6725" cy="51691"/>
                </a:xfrm>
                <a:custGeom>
                  <a:avLst/>
                  <a:gdLst>
                    <a:gd name="connsiteX0" fmla="*/ 0 w 6725"/>
                    <a:gd name="connsiteY0" fmla="*/ 51692 h 51691"/>
                    <a:gd name="connsiteX1" fmla="*/ 4111 w 6725"/>
                    <a:gd name="connsiteY1" fmla="*/ 33382 h 51691"/>
                    <a:gd name="connsiteX2" fmla="*/ 2740 w 6725"/>
                    <a:gd name="connsiteY2" fmla="*/ 16068 h 51691"/>
                    <a:gd name="connsiteX3" fmla="*/ 6726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0" y="51692"/>
                      </a:moveTo>
                      <a:cubicBezTo>
                        <a:pt x="3363" y="43969"/>
                        <a:pt x="4111" y="37741"/>
                        <a:pt x="4111" y="33382"/>
                      </a:cubicBezTo>
                      <a:cubicBezTo>
                        <a:pt x="4111" y="26407"/>
                        <a:pt x="2367" y="23168"/>
                        <a:pt x="2740" y="16068"/>
                      </a:cubicBezTo>
                      <a:cubicBezTo>
                        <a:pt x="2989" y="9218"/>
                        <a:pt x="5107" y="3612"/>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9" name="Freeform 5305">
                  <a:extLst>
                    <a:ext uri="{FF2B5EF4-FFF2-40B4-BE49-F238E27FC236}">
                      <a16:creationId xmlns:a16="http://schemas.microsoft.com/office/drawing/2014/main" id="{23874FD1-46AA-E36C-FDD1-C03D5DED0EF2}"/>
                    </a:ext>
                  </a:extLst>
                </p:cNvPr>
                <p:cNvSpPr/>
                <p:nvPr/>
              </p:nvSpPr>
              <p:spPr>
                <a:xfrm>
                  <a:off x="9485272" y="5693730"/>
                  <a:ext cx="7116" cy="51816"/>
                </a:xfrm>
                <a:custGeom>
                  <a:avLst/>
                  <a:gdLst>
                    <a:gd name="connsiteX0" fmla="*/ 6272 w 7116"/>
                    <a:gd name="connsiteY0" fmla="*/ 0 h 51816"/>
                    <a:gd name="connsiteX1" fmla="*/ 6022 w 7116"/>
                    <a:gd name="connsiteY1" fmla="*/ 18808 h 51816"/>
                    <a:gd name="connsiteX2" fmla="*/ 666 w 7116"/>
                    <a:gd name="connsiteY2" fmla="*/ 35374 h 51816"/>
                    <a:gd name="connsiteX3" fmla="*/ 916 w 711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16" h="51816">
                      <a:moveTo>
                        <a:pt x="6272" y="0"/>
                      </a:moveTo>
                      <a:cubicBezTo>
                        <a:pt x="7766" y="8221"/>
                        <a:pt x="7019" y="14573"/>
                        <a:pt x="6022" y="18808"/>
                      </a:cubicBezTo>
                      <a:cubicBezTo>
                        <a:pt x="4403" y="25659"/>
                        <a:pt x="2036" y="28399"/>
                        <a:pt x="666" y="35374"/>
                      </a:cubicBezTo>
                      <a:cubicBezTo>
                        <a:pt x="-580" y="42101"/>
                        <a:pt x="168" y="47955"/>
                        <a:pt x="91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0" name="Freeform 5306">
                  <a:extLst>
                    <a:ext uri="{FF2B5EF4-FFF2-40B4-BE49-F238E27FC236}">
                      <a16:creationId xmlns:a16="http://schemas.microsoft.com/office/drawing/2014/main" id="{5763787F-3A5A-9F3B-8AA2-996E8CCCC95D}"/>
                    </a:ext>
                  </a:extLst>
                </p:cNvPr>
                <p:cNvSpPr/>
                <p:nvPr/>
              </p:nvSpPr>
              <p:spPr>
                <a:xfrm>
                  <a:off x="9476150" y="5734763"/>
                  <a:ext cx="26302" cy="26423"/>
                </a:xfrm>
                <a:custGeom>
                  <a:avLst/>
                  <a:gdLst>
                    <a:gd name="connsiteX0" fmla="*/ 73 w 26302"/>
                    <a:gd name="connsiteY0" fmla="*/ 11780 h 26423"/>
                    <a:gd name="connsiteX1" fmla="*/ 14646 w 26302"/>
                    <a:gd name="connsiteY1" fmla="*/ 71 h 26423"/>
                    <a:gd name="connsiteX2" fmla="*/ 26230 w 26302"/>
                    <a:gd name="connsiteY2" fmla="*/ 14644 h 26423"/>
                    <a:gd name="connsiteX3" fmla="*/ 11656 w 26302"/>
                    <a:gd name="connsiteY3" fmla="*/ 26353 h 26423"/>
                    <a:gd name="connsiteX4" fmla="*/ 73 w 26302"/>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2" h="26423">
                      <a:moveTo>
                        <a:pt x="73" y="11780"/>
                      </a:moveTo>
                      <a:cubicBezTo>
                        <a:pt x="945" y="4555"/>
                        <a:pt x="7422" y="-676"/>
                        <a:pt x="14646" y="71"/>
                      </a:cubicBezTo>
                      <a:cubicBezTo>
                        <a:pt x="21870" y="818"/>
                        <a:pt x="26977" y="7420"/>
                        <a:pt x="26230" y="14644"/>
                      </a:cubicBezTo>
                      <a:cubicBezTo>
                        <a:pt x="25358" y="21869"/>
                        <a:pt x="18881" y="27100"/>
                        <a:pt x="11656" y="26353"/>
                      </a:cubicBezTo>
                      <a:cubicBezTo>
                        <a:pt x="4433" y="25606"/>
                        <a:pt x="-675" y="19004"/>
                        <a:pt x="73"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0" name="Graphic 2987">
                <a:extLst>
                  <a:ext uri="{FF2B5EF4-FFF2-40B4-BE49-F238E27FC236}">
                    <a16:creationId xmlns:a16="http://schemas.microsoft.com/office/drawing/2014/main" id="{C2C7E579-907A-5A6C-72C7-768CA1D110C8}"/>
                  </a:ext>
                </a:extLst>
              </p:cNvPr>
              <p:cNvGrpSpPr/>
              <p:nvPr/>
            </p:nvGrpSpPr>
            <p:grpSpPr>
              <a:xfrm>
                <a:off x="9505397" y="5616307"/>
                <a:ext cx="41046" cy="148168"/>
                <a:chOff x="9505397" y="5616307"/>
                <a:chExt cx="41046" cy="148168"/>
              </a:xfrm>
              <a:grpFill/>
            </p:grpSpPr>
            <p:sp>
              <p:nvSpPr>
                <p:cNvPr id="4259" name="Freeform 5308">
                  <a:extLst>
                    <a:ext uri="{FF2B5EF4-FFF2-40B4-BE49-F238E27FC236}">
                      <a16:creationId xmlns:a16="http://schemas.microsoft.com/office/drawing/2014/main" id="{41ECACF7-7758-ABDD-2964-8639FC122460}"/>
                    </a:ext>
                  </a:extLst>
                </p:cNvPr>
                <p:cNvSpPr/>
                <p:nvPr/>
              </p:nvSpPr>
              <p:spPr>
                <a:xfrm>
                  <a:off x="9521687" y="5636309"/>
                  <a:ext cx="6975" cy="51691"/>
                </a:xfrm>
                <a:custGeom>
                  <a:avLst/>
                  <a:gdLst>
                    <a:gd name="connsiteX0" fmla="*/ 6975 w 6975"/>
                    <a:gd name="connsiteY0" fmla="*/ 0 h 51691"/>
                    <a:gd name="connsiteX1" fmla="*/ 2740 w 6975"/>
                    <a:gd name="connsiteY1" fmla="*/ 18310 h 51691"/>
                    <a:gd name="connsiteX2" fmla="*/ 4111 w 6975"/>
                    <a:gd name="connsiteY2" fmla="*/ 35624 h 51691"/>
                    <a:gd name="connsiteX3" fmla="*/ 0 w 697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7" y="7723"/>
                        <a:pt x="2865" y="13951"/>
                        <a:pt x="2740" y="18310"/>
                      </a:cubicBezTo>
                      <a:cubicBezTo>
                        <a:pt x="2740" y="25285"/>
                        <a:pt x="4484" y="28524"/>
                        <a:pt x="4111" y="35624"/>
                      </a:cubicBezTo>
                      <a:cubicBezTo>
                        <a:pt x="3737" y="42474"/>
                        <a:pt x="1744"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0" name="Freeform 5309">
                  <a:extLst>
                    <a:ext uri="{FF2B5EF4-FFF2-40B4-BE49-F238E27FC236}">
                      <a16:creationId xmlns:a16="http://schemas.microsoft.com/office/drawing/2014/main" id="{9AD1EF18-BAAA-DB4B-53E3-9A889EC76EA9}"/>
                    </a:ext>
                  </a:extLst>
                </p:cNvPr>
                <p:cNvSpPr/>
                <p:nvPr/>
              </p:nvSpPr>
              <p:spPr>
                <a:xfrm>
                  <a:off x="9529934" y="5632074"/>
                  <a:ext cx="7330" cy="51940"/>
                </a:xfrm>
                <a:custGeom>
                  <a:avLst/>
                  <a:gdLst>
                    <a:gd name="connsiteX0" fmla="*/ 845 w 7330"/>
                    <a:gd name="connsiteY0" fmla="*/ 51941 h 51940"/>
                    <a:gd name="connsiteX1" fmla="*/ 1095 w 7330"/>
                    <a:gd name="connsiteY1" fmla="*/ 33132 h 51940"/>
                    <a:gd name="connsiteX2" fmla="*/ 6575 w 7330"/>
                    <a:gd name="connsiteY2" fmla="*/ 16566 h 51940"/>
                    <a:gd name="connsiteX3" fmla="*/ 6326 w 7330"/>
                    <a:gd name="connsiteY3" fmla="*/ 0 h 51940"/>
                  </a:gdLst>
                  <a:ahLst/>
                  <a:cxnLst>
                    <a:cxn ang="0">
                      <a:pos x="connsiteX0" y="connsiteY0"/>
                    </a:cxn>
                    <a:cxn ang="0">
                      <a:pos x="connsiteX1" y="connsiteY1"/>
                    </a:cxn>
                    <a:cxn ang="0">
                      <a:pos x="connsiteX2" y="connsiteY2"/>
                    </a:cxn>
                    <a:cxn ang="0">
                      <a:pos x="connsiteX3" y="connsiteY3"/>
                    </a:cxn>
                  </a:cxnLst>
                  <a:rect l="l" t="t" r="r" b="b"/>
                  <a:pathLst>
                    <a:path w="7330" h="51940">
                      <a:moveTo>
                        <a:pt x="845" y="51941"/>
                      </a:moveTo>
                      <a:cubicBezTo>
                        <a:pt x="-649" y="43595"/>
                        <a:pt x="98" y="37367"/>
                        <a:pt x="1095" y="33132"/>
                      </a:cubicBezTo>
                      <a:cubicBezTo>
                        <a:pt x="2714" y="26282"/>
                        <a:pt x="5205" y="23542"/>
                        <a:pt x="6575" y="16566"/>
                      </a:cubicBezTo>
                      <a:cubicBezTo>
                        <a:pt x="7945" y="9840"/>
                        <a:pt x="7198" y="3861"/>
                        <a:pt x="63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1" name="Freeform 5310">
                  <a:extLst>
                    <a:ext uri="{FF2B5EF4-FFF2-40B4-BE49-F238E27FC236}">
                      <a16:creationId xmlns:a16="http://schemas.microsoft.com/office/drawing/2014/main" id="{A7440B1C-454D-0DFC-8363-106411750FFC}"/>
                    </a:ext>
                  </a:extLst>
                </p:cNvPr>
                <p:cNvSpPr/>
                <p:nvPr/>
              </p:nvSpPr>
              <p:spPr>
                <a:xfrm>
                  <a:off x="9519723" y="5616307"/>
                  <a:ext cx="26720" cy="26600"/>
                </a:xfrm>
                <a:custGeom>
                  <a:avLst/>
                  <a:gdLst>
                    <a:gd name="connsiteX0" fmla="*/ 26626 w 26720"/>
                    <a:gd name="connsiteY0" fmla="*/ 15019 h 26600"/>
                    <a:gd name="connsiteX1" fmla="*/ 11803 w 26720"/>
                    <a:gd name="connsiteY1" fmla="*/ 26479 h 26600"/>
                    <a:gd name="connsiteX2" fmla="*/ 95 w 26720"/>
                    <a:gd name="connsiteY2" fmla="*/ 11781 h 26600"/>
                    <a:gd name="connsiteX3" fmla="*/ 14917 w 26720"/>
                    <a:gd name="connsiteY3" fmla="*/ 73 h 26600"/>
                    <a:gd name="connsiteX4" fmla="*/ 26626 w 26720"/>
                    <a:gd name="connsiteY4" fmla="*/ 15019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99">
                      <a:moveTo>
                        <a:pt x="26626" y="15019"/>
                      </a:moveTo>
                      <a:cubicBezTo>
                        <a:pt x="25754" y="22244"/>
                        <a:pt x="19153" y="27475"/>
                        <a:pt x="11803" y="26479"/>
                      </a:cubicBezTo>
                      <a:cubicBezTo>
                        <a:pt x="4455" y="25607"/>
                        <a:pt x="-777" y="19130"/>
                        <a:pt x="95" y="11781"/>
                      </a:cubicBezTo>
                      <a:cubicBezTo>
                        <a:pt x="967" y="4432"/>
                        <a:pt x="7569" y="-675"/>
                        <a:pt x="14917" y="73"/>
                      </a:cubicBezTo>
                      <a:cubicBezTo>
                        <a:pt x="22267" y="1193"/>
                        <a:pt x="27498" y="7795"/>
                        <a:pt x="26626" y="15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2" name="Freeform 5311">
                  <a:extLst>
                    <a:ext uri="{FF2B5EF4-FFF2-40B4-BE49-F238E27FC236}">
                      <a16:creationId xmlns:a16="http://schemas.microsoft.com/office/drawing/2014/main" id="{77B0659F-95C9-0CF1-C424-D9F49BD4379E}"/>
                    </a:ext>
                  </a:extLst>
                </p:cNvPr>
                <p:cNvSpPr/>
                <p:nvPr/>
              </p:nvSpPr>
              <p:spPr>
                <a:xfrm>
                  <a:off x="9522932" y="5692983"/>
                  <a:ext cx="6975" cy="51691"/>
                </a:xfrm>
                <a:custGeom>
                  <a:avLst/>
                  <a:gdLst>
                    <a:gd name="connsiteX0" fmla="*/ 0 w 6975"/>
                    <a:gd name="connsiteY0" fmla="*/ 51691 h 51691"/>
                    <a:gd name="connsiteX1" fmla="*/ 4235 w 6975"/>
                    <a:gd name="connsiteY1" fmla="*/ 33381 h 51691"/>
                    <a:gd name="connsiteX2" fmla="*/ 2865 w 6975"/>
                    <a:gd name="connsiteY2" fmla="*/ 15943 h 51691"/>
                    <a:gd name="connsiteX3" fmla="*/ 6975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0" y="51691"/>
                      </a:moveTo>
                      <a:cubicBezTo>
                        <a:pt x="3363" y="43969"/>
                        <a:pt x="4111" y="37741"/>
                        <a:pt x="4235" y="33381"/>
                      </a:cubicBezTo>
                      <a:cubicBezTo>
                        <a:pt x="4360" y="26406"/>
                        <a:pt x="2616" y="23043"/>
                        <a:pt x="2865" y="15943"/>
                      </a:cubicBezTo>
                      <a:cubicBezTo>
                        <a:pt x="3239" y="9092"/>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3" name="Freeform 5312">
                  <a:extLst>
                    <a:ext uri="{FF2B5EF4-FFF2-40B4-BE49-F238E27FC236}">
                      <a16:creationId xmlns:a16="http://schemas.microsoft.com/office/drawing/2014/main" id="{78599068-DC86-90E9-8D04-4B97E53E2BEC}"/>
                    </a:ext>
                  </a:extLst>
                </p:cNvPr>
                <p:cNvSpPr/>
                <p:nvPr/>
              </p:nvSpPr>
              <p:spPr>
                <a:xfrm>
                  <a:off x="9514633" y="5696969"/>
                  <a:ext cx="7151" cy="51815"/>
                </a:xfrm>
                <a:custGeom>
                  <a:avLst/>
                  <a:gdLst>
                    <a:gd name="connsiteX0" fmla="*/ 6307 w 7151"/>
                    <a:gd name="connsiteY0" fmla="*/ 0 h 51815"/>
                    <a:gd name="connsiteX1" fmla="*/ 6057 w 7151"/>
                    <a:gd name="connsiteY1" fmla="*/ 18808 h 51815"/>
                    <a:gd name="connsiteX2" fmla="*/ 701 w 7151"/>
                    <a:gd name="connsiteY2" fmla="*/ 35374 h 51815"/>
                    <a:gd name="connsiteX3" fmla="*/ 95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6307" y="0"/>
                      </a:moveTo>
                      <a:cubicBezTo>
                        <a:pt x="7801" y="8220"/>
                        <a:pt x="7054" y="14573"/>
                        <a:pt x="6057" y="18808"/>
                      </a:cubicBezTo>
                      <a:cubicBezTo>
                        <a:pt x="4438" y="25659"/>
                        <a:pt x="1947" y="28399"/>
                        <a:pt x="701" y="35374"/>
                      </a:cubicBezTo>
                      <a:cubicBezTo>
                        <a:pt x="-544" y="42100"/>
                        <a:pt x="79" y="47954"/>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4" name="Freeform 5313">
                  <a:extLst>
                    <a:ext uri="{FF2B5EF4-FFF2-40B4-BE49-F238E27FC236}">
                      <a16:creationId xmlns:a16="http://schemas.microsoft.com/office/drawing/2014/main" id="{C52E21F8-3306-5439-CA36-1ADA929199EA}"/>
                    </a:ext>
                  </a:extLst>
                </p:cNvPr>
                <p:cNvSpPr/>
                <p:nvPr/>
              </p:nvSpPr>
              <p:spPr>
                <a:xfrm>
                  <a:off x="9505397" y="5738001"/>
                  <a:ext cx="26350" cy="26474"/>
                </a:xfrm>
                <a:custGeom>
                  <a:avLst/>
                  <a:gdLst>
                    <a:gd name="connsiteX0" fmla="*/ 97 w 26350"/>
                    <a:gd name="connsiteY0" fmla="*/ 11780 h 26474"/>
                    <a:gd name="connsiteX1" fmla="*/ 14795 w 26350"/>
                    <a:gd name="connsiteY1" fmla="*/ 71 h 26474"/>
                    <a:gd name="connsiteX2" fmla="*/ 26254 w 26350"/>
                    <a:gd name="connsiteY2" fmla="*/ 14893 h 26474"/>
                    <a:gd name="connsiteX3" fmla="*/ 11681 w 26350"/>
                    <a:gd name="connsiteY3" fmla="*/ 26353 h 26474"/>
                    <a:gd name="connsiteX4" fmla="*/ 97 w 26350"/>
                    <a:gd name="connsiteY4" fmla="*/ 11780 h 2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1780"/>
                      </a:moveTo>
                      <a:cubicBezTo>
                        <a:pt x="969" y="4555"/>
                        <a:pt x="7570" y="-676"/>
                        <a:pt x="14795" y="71"/>
                      </a:cubicBezTo>
                      <a:cubicBezTo>
                        <a:pt x="22019" y="943"/>
                        <a:pt x="27126" y="7669"/>
                        <a:pt x="26254" y="14893"/>
                      </a:cubicBezTo>
                      <a:cubicBezTo>
                        <a:pt x="25382" y="22118"/>
                        <a:pt x="18781" y="27349"/>
                        <a:pt x="11681" y="26353"/>
                      </a:cubicBezTo>
                      <a:cubicBezTo>
                        <a:pt x="4331" y="25605"/>
                        <a:pt x="-775" y="19004"/>
                        <a:pt x="97"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1" name="Graphic 2987">
                <a:extLst>
                  <a:ext uri="{FF2B5EF4-FFF2-40B4-BE49-F238E27FC236}">
                    <a16:creationId xmlns:a16="http://schemas.microsoft.com/office/drawing/2014/main" id="{2C1DD953-C047-75F3-91D9-DAB344195331}"/>
                  </a:ext>
                </a:extLst>
              </p:cNvPr>
              <p:cNvGrpSpPr/>
              <p:nvPr/>
            </p:nvGrpSpPr>
            <p:grpSpPr>
              <a:xfrm>
                <a:off x="9534543" y="5620244"/>
                <a:ext cx="41447" cy="147969"/>
                <a:chOff x="9534543" y="5620244"/>
                <a:chExt cx="41447" cy="147969"/>
              </a:xfrm>
              <a:grpFill/>
            </p:grpSpPr>
            <p:sp>
              <p:nvSpPr>
                <p:cNvPr id="4253" name="Freeform 5315">
                  <a:extLst>
                    <a:ext uri="{FF2B5EF4-FFF2-40B4-BE49-F238E27FC236}">
                      <a16:creationId xmlns:a16="http://schemas.microsoft.com/office/drawing/2014/main" id="{EE6DB450-F168-F38E-12D2-BE310C4EF6FF}"/>
                    </a:ext>
                  </a:extLst>
                </p:cNvPr>
                <p:cNvSpPr/>
                <p:nvPr/>
              </p:nvSpPr>
              <p:spPr>
                <a:xfrm>
                  <a:off x="9551207" y="5640046"/>
                  <a:ext cx="6975" cy="51691"/>
                </a:xfrm>
                <a:custGeom>
                  <a:avLst/>
                  <a:gdLst>
                    <a:gd name="connsiteX0" fmla="*/ 6975 w 6975"/>
                    <a:gd name="connsiteY0" fmla="*/ 0 h 51691"/>
                    <a:gd name="connsiteX1" fmla="*/ 2741 w 6975"/>
                    <a:gd name="connsiteY1" fmla="*/ 18310 h 51691"/>
                    <a:gd name="connsiteX2" fmla="*/ 4111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8" y="7723"/>
                        <a:pt x="2741" y="13950"/>
                        <a:pt x="2741" y="18310"/>
                      </a:cubicBezTo>
                      <a:cubicBezTo>
                        <a:pt x="2616" y="25285"/>
                        <a:pt x="4359"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4" name="Freeform 5316">
                  <a:extLst>
                    <a:ext uri="{FF2B5EF4-FFF2-40B4-BE49-F238E27FC236}">
                      <a16:creationId xmlns:a16="http://schemas.microsoft.com/office/drawing/2014/main" id="{ED75284B-11A2-450F-6518-D858C6EE53A7}"/>
                    </a:ext>
                  </a:extLst>
                </p:cNvPr>
                <p:cNvSpPr/>
                <p:nvPr/>
              </p:nvSpPr>
              <p:spPr>
                <a:xfrm>
                  <a:off x="9559248" y="5635811"/>
                  <a:ext cx="7419" cy="51940"/>
                </a:xfrm>
                <a:custGeom>
                  <a:avLst/>
                  <a:gdLst>
                    <a:gd name="connsiteX0" fmla="*/ 802 w 7419"/>
                    <a:gd name="connsiteY0" fmla="*/ 51940 h 51940"/>
                    <a:gd name="connsiteX1" fmla="*/ 1175 w 7419"/>
                    <a:gd name="connsiteY1" fmla="*/ 33132 h 51940"/>
                    <a:gd name="connsiteX2" fmla="*/ 6656 w 7419"/>
                    <a:gd name="connsiteY2" fmla="*/ 16566 h 51940"/>
                    <a:gd name="connsiteX3" fmla="*/ 6531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802" y="51940"/>
                      </a:moveTo>
                      <a:cubicBezTo>
                        <a:pt x="-693" y="43595"/>
                        <a:pt x="179" y="37367"/>
                        <a:pt x="1175" y="33132"/>
                      </a:cubicBezTo>
                      <a:cubicBezTo>
                        <a:pt x="2795" y="26281"/>
                        <a:pt x="5286" y="23541"/>
                        <a:pt x="6656" y="16566"/>
                      </a:cubicBezTo>
                      <a:cubicBezTo>
                        <a:pt x="8026" y="9840"/>
                        <a:pt x="7279" y="3986"/>
                        <a:pt x="6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5" name="Freeform 5317">
                  <a:extLst>
                    <a:ext uri="{FF2B5EF4-FFF2-40B4-BE49-F238E27FC236}">
                      <a16:creationId xmlns:a16="http://schemas.microsoft.com/office/drawing/2014/main" id="{65B63619-5036-4E98-795F-A3F29763FE23}"/>
                    </a:ext>
                  </a:extLst>
                </p:cNvPr>
                <p:cNvSpPr/>
                <p:nvPr/>
              </p:nvSpPr>
              <p:spPr>
                <a:xfrm>
                  <a:off x="9549368" y="5620244"/>
                  <a:ext cx="26622" cy="26525"/>
                </a:xfrm>
                <a:custGeom>
                  <a:avLst/>
                  <a:gdLst>
                    <a:gd name="connsiteX0" fmla="*/ 26501 w 26622"/>
                    <a:gd name="connsiteY0" fmla="*/ 14944 h 26525"/>
                    <a:gd name="connsiteX1" fmla="*/ 11679 w 26622"/>
                    <a:gd name="connsiteY1" fmla="*/ 26404 h 26525"/>
                    <a:gd name="connsiteX2" fmla="*/ 95 w 26622"/>
                    <a:gd name="connsiteY2" fmla="*/ 11581 h 26525"/>
                    <a:gd name="connsiteX3" fmla="*/ 14917 w 26622"/>
                    <a:gd name="connsiteY3" fmla="*/ 122 h 26525"/>
                    <a:gd name="connsiteX4" fmla="*/ 26501 w 26622"/>
                    <a:gd name="connsiteY4" fmla="*/ 14944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524">
                      <a:moveTo>
                        <a:pt x="26501" y="14944"/>
                      </a:moveTo>
                      <a:cubicBezTo>
                        <a:pt x="25629" y="22169"/>
                        <a:pt x="18903" y="27400"/>
                        <a:pt x="11679" y="26404"/>
                      </a:cubicBezTo>
                      <a:cubicBezTo>
                        <a:pt x="4455" y="25407"/>
                        <a:pt x="-777" y="18805"/>
                        <a:pt x="95" y="11581"/>
                      </a:cubicBezTo>
                      <a:cubicBezTo>
                        <a:pt x="967" y="4357"/>
                        <a:pt x="7569" y="-874"/>
                        <a:pt x="14917" y="122"/>
                      </a:cubicBezTo>
                      <a:cubicBezTo>
                        <a:pt x="22267" y="994"/>
                        <a:pt x="27498" y="7720"/>
                        <a:pt x="26501" y="14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6" name="Freeform 5318">
                  <a:extLst>
                    <a:ext uri="{FF2B5EF4-FFF2-40B4-BE49-F238E27FC236}">
                      <a16:creationId xmlns:a16="http://schemas.microsoft.com/office/drawing/2014/main" id="{A89198CC-B814-531F-2B6D-954744FAC28A}"/>
                    </a:ext>
                  </a:extLst>
                </p:cNvPr>
                <p:cNvSpPr/>
                <p:nvPr/>
              </p:nvSpPr>
              <p:spPr>
                <a:xfrm>
                  <a:off x="9552079" y="56967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7" y="43969"/>
                        <a:pt x="4235" y="37741"/>
                        <a:pt x="4235" y="33381"/>
                      </a:cubicBezTo>
                      <a:cubicBezTo>
                        <a:pt x="4359"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7" name="Freeform 5319">
                  <a:extLst>
                    <a:ext uri="{FF2B5EF4-FFF2-40B4-BE49-F238E27FC236}">
                      <a16:creationId xmlns:a16="http://schemas.microsoft.com/office/drawing/2014/main" id="{E3D51FB7-B197-4225-0C6D-F70D7246DF8E}"/>
                    </a:ext>
                  </a:extLst>
                </p:cNvPr>
                <p:cNvSpPr/>
                <p:nvPr/>
              </p:nvSpPr>
              <p:spPr>
                <a:xfrm>
                  <a:off x="9543593" y="5700705"/>
                  <a:ext cx="7419" cy="51940"/>
                </a:xfrm>
                <a:custGeom>
                  <a:avLst/>
                  <a:gdLst>
                    <a:gd name="connsiteX0" fmla="*/ 6617 w 7419"/>
                    <a:gd name="connsiteY0" fmla="*/ 0 h 51940"/>
                    <a:gd name="connsiteX1" fmla="*/ 6244 w 7419"/>
                    <a:gd name="connsiteY1" fmla="*/ 18808 h 51940"/>
                    <a:gd name="connsiteX2" fmla="*/ 763 w 7419"/>
                    <a:gd name="connsiteY2" fmla="*/ 35374 h 51940"/>
                    <a:gd name="connsiteX3" fmla="*/ 888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6617" y="0"/>
                      </a:moveTo>
                      <a:cubicBezTo>
                        <a:pt x="8112" y="8346"/>
                        <a:pt x="7241" y="14573"/>
                        <a:pt x="6244" y="18808"/>
                      </a:cubicBezTo>
                      <a:cubicBezTo>
                        <a:pt x="4625" y="25659"/>
                        <a:pt x="2133" y="28399"/>
                        <a:pt x="763" y="35374"/>
                      </a:cubicBezTo>
                      <a:cubicBezTo>
                        <a:pt x="-607" y="42101"/>
                        <a:pt x="141" y="47955"/>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8" name="Freeform 5320">
                  <a:extLst>
                    <a:ext uri="{FF2B5EF4-FFF2-40B4-BE49-F238E27FC236}">
                      <a16:creationId xmlns:a16="http://schemas.microsoft.com/office/drawing/2014/main" id="{A775FE70-3DAA-E535-4503-CD634B90A85F}"/>
                    </a:ext>
                  </a:extLst>
                </p:cNvPr>
                <p:cNvSpPr/>
                <p:nvPr/>
              </p:nvSpPr>
              <p:spPr>
                <a:xfrm>
                  <a:off x="9534543" y="5741687"/>
                  <a:ext cx="26351" cy="26525"/>
                </a:xfrm>
                <a:custGeom>
                  <a:avLst/>
                  <a:gdLst>
                    <a:gd name="connsiteX0" fmla="*/ 97 w 26351"/>
                    <a:gd name="connsiteY0" fmla="*/ 11581 h 26525"/>
                    <a:gd name="connsiteX1" fmla="*/ 14795 w 26351"/>
                    <a:gd name="connsiteY1" fmla="*/ 122 h 26525"/>
                    <a:gd name="connsiteX2" fmla="*/ 26254 w 26351"/>
                    <a:gd name="connsiteY2" fmla="*/ 14944 h 26525"/>
                    <a:gd name="connsiteX3" fmla="*/ 11557 w 26351"/>
                    <a:gd name="connsiteY3" fmla="*/ 26404 h 26525"/>
                    <a:gd name="connsiteX4" fmla="*/ 97 w 26351"/>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24">
                      <a:moveTo>
                        <a:pt x="97" y="11581"/>
                      </a:moveTo>
                      <a:cubicBezTo>
                        <a:pt x="969" y="4357"/>
                        <a:pt x="7571" y="-874"/>
                        <a:pt x="14795" y="122"/>
                      </a:cubicBezTo>
                      <a:cubicBezTo>
                        <a:pt x="22019" y="994"/>
                        <a:pt x="27126" y="7720"/>
                        <a:pt x="26254" y="14944"/>
                      </a:cubicBezTo>
                      <a:cubicBezTo>
                        <a:pt x="25383" y="22169"/>
                        <a:pt x="18781" y="27400"/>
                        <a:pt x="11557" y="26404"/>
                      </a:cubicBezTo>
                      <a:cubicBezTo>
                        <a:pt x="4332" y="25532"/>
                        <a:pt x="-775" y="18930"/>
                        <a:pt x="97"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2" name="Graphic 2987">
                <a:extLst>
                  <a:ext uri="{FF2B5EF4-FFF2-40B4-BE49-F238E27FC236}">
                    <a16:creationId xmlns:a16="http://schemas.microsoft.com/office/drawing/2014/main" id="{7BA5E791-2CAE-E4DD-030F-18F3810EACAA}"/>
                  </a:ext>
                </a:extLst>
              </p:cNvPr>
              <p:cNvGrpSpPr/>
              <p:nvPr/>
            </p:nvGrpSpPr>
            <p:grpSpPr>
              <a:xfrm>
                <a:off x="9563688" y="5624005"/>
                <a:ext cx="41922" cy="147944"/>
                <a:chOff x="9563688" y="5624005"/>
                <a:chExt cx="41922" cy="147944"/>
              </a:xfrm>
              <a:grpFill/>
            </p:grpSpPr>
            <p:sp>
              <p:nvSpPr>
                <p:cNvPr id="4247" name="Freeform 5322">
                  <a:extLst>
                    <a:ext uri="{FF2B5EF4-FFF2-40B4-BE49-F238E27FC236}">
                      <a16:creationId xmlns:a16="http://schemas.microsoft.com/office/drawing/2014/main" id="{ECC613C8-BF32-3842-E5CE-F5C50F69FC20}"/>
                    </a:ext>
                  </a:extLst>
                </p:cNvPr>
                <p:cNvSpPr/>
                <p:nvPr/>
              </p:nvSpPr>
              <p:spPr>
                <a:xfrm>
                  <a:off x="9580354" y="5643782"/>
                  <a:ext cx="7348" cy="51691"/>
                </a:xfrm>
                <a:custGeom>
                  <a:avLst/>
                  <a:gdLst>
                    <a:gd name="connsiteX0" fmla="*/ 7348 w 7348"/>
                    <a:gd name="connsiteY0" fmla="*/ 0 h 51691"/>
                    <a:gd name="connsiteX1" fmla="*/ 2989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0"/>
                      </a:moveTo>
                      <a:cubicBezTo>
                        <a:pt x="3861" y="7723"/>
                        <a:pt x="3114" y="13950"/>
                        <a:pt x="2989" y="18310"/>
                      </a:cubicBezTo>
                      <a:cubicBezTo>
                        <a:pt x="2865" y="25285"/>
                        <a:pt x="4609" y="28648"/>
                        <a:pt x="4235" y="35748"/>
                      </a:cubicBezTo>
                      <a:cubicBezTo>
                        <a:pt x="3861" y="42599"/>
                        <a:pt x="1743"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8" name="Freeform 5323">
                  <a:extLst>
                    <a:ext uri="{FF2B5EF4-FFF2-40B4-BE49-F238E27FC236}">
                      <a16:creationId xmlns:a16="http://schemas.microsoft.com/office/drawing/2014/main" id="{C683A406-E02B-72E8-75B0-E56171F2A167}"/>
                    </a:ext>
                  </a:extLst>
                </p:cNvPr>
                <p:cNvSpPr/>
                <p:nvPr/>
              </p:nvSpPr>
              <p:spPr>
                <a:xfrm>
                  <a:off x="9588644" y="5639547"/>
                  <a:ext cx="7581" cy="51940"/>
                </a:xfrm>
                <a:custGeom>
                  <a:avLst/>
                  <a:gdLst>
                    <a:gd name="connsiteX0" fmla="*/ 802 w 7581"/>
                    <a:gd name="connsiteY0" fmla="*/ 51941 h 51940"/>
                    <a:gd name="connsiteX1" fmla="*/ 1175 w 7581"/>
                    <a:gd name="connsiteY1" fmla="*/ 33132 h 51940"/>
                    <a:gd name="connsiteX2" fmla="*/ 6780 w 7581"/>
                    <a:gd name="connsiteY2" fmla="*/ 16566 h 51940"/>
                    <a:gd name="connsiteX3" fmla="*/ 6656 w 7581"/>
                    <a:gd name="connsiteY3" fmla="*/ 0 h 51940"/>
                  </a:gdLst>
                  <a:ahLst/>
                  <a:cxnLst>
                    <a:cxn ang="0">
                      <a:pos x="connsiteX0" y="connsiteY0"/>
                    </a:cxn>
                    <a:cxn ang="0">
                      <a:pos x="connsiteX1" y="connsiteY1"/>
                    </a:cxn>
                    <a:cxn ang="0">
                      <a:pos x="connsiteX2" y="connsiteY2"/>
                    </a:cxn>
                    <a:cxn ang="0">
                      <a:pos x="connsiteX3" y="connsiteY3"/>
                    </a:cxn>
                  </a:cxnLst>
                  <a:rect l="l" t="t" r="r" b="b"/>
                  <a:pathLst>
                    <a:path w="7581" h="51940">
                      <a:moveTo>
                        <a:pt x="802" y="51941"/>
                      </a:moveTo>
                      <a:cubicBezTo>
                        <a:pt x="-693" y="43595"/>
                        <a:pt x="179" y="37367"/>
                        <a:pt x="1175" y="33132"/>
                      </a:cubicBezTo>
                      <a:cubicBezTo>
                        <a:pt x="2795" y="26282"/>
                        <a:pt x="5286" y="23542"/>
                        <a:pt x="6780" y="16566"/>
                      </a:cubicBezTo>
                      <a:cubicBezTo>
                        <a:pt x="8150" y="9840"/>
                        <a:pt x="7528" y="3986"/>
                        <a:pt x="66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9" name="Freeform 5324">
                  <a:extLst>
                    <a:ext uri="{FF2B5EF4-FFF2-40B4-BE49-F238E27FC236}">
                      <a16:creationId xmlns:a16="http://schemas.microsoft.com/office/drawing/2014/main" id="{76EF03A8-F95A-8BBA-32FB-7B775FC20562}"/>
                    </a:ext>
                  </a:extLst>
                </p:cNvPr>
                <p:cNvSpPr/>
                <p:nvPr/>
              </p:nvSpPr>
              <p:spPr>
                <a:xfrm>
                  <a:off x="9578886" y="5624005"/>
                  <a:ext cx="26724" cy="26475"/>
                </a:xfrm>
                <a:custGeom>
                  <a:avLst/>
                  <a:gdLst>
                    <a:gd name="connsiteX0" fmla="*/ 26628 w 26724"/>
                    <a:gd name="connsiteY0" fmla="*/ 14919 h 26475"/>
                    <a:gd name="connsiteX1" fmla="*/ 11681 w 26724"/>
                    <a:gd name="connsiteY1" fmla="*/ 26378 h 26475"/>
                    <a:gd name="connsiteX2" fmla="*/ 97 w 26724"/>
                    <a:gd name="connsiteY2" fmla="*/ 11556 h 26475"/>
                    <a:gd name="connsiteX3" fmla="*/ 15044 w 26724"/>
                    <a:gd name="connsiteY3" fmla="*/ 97 h 26475"/>
                    <a:gd name="connsiteX4" fmla="*/ 26628 w 2672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74">
                      <a:moveTo>
                        <a:pt x="26628" y="14919"/>
                      </a:moveTo>
                      <a:cubicBezTo>
                        <a:pt x="25632" y="22144"/>
                        <a:pt x="19030" y="27250"/>
                        <a:pt x="11681" y="26378"/>
                      </a:cubicBezTo>
                      <a:cubicBezTo>
                        <a:pt x="4332" y="25382"/>
                        <a:pt x="-775" y="18781"/>
                        <a:pt x="97" y="11556"/>
                      </a:cubicBezTo>
                      <a:cubicBezTo>
                        <a:pt x="969" y="4332"/>
                        <a:pt x="7695" y="-775"/>
                        <a:pt x="15044" y="97"/>
                      </a:cubicBezTo>
                      <a:cubicBezTo>
                        <a:pt x="22393" y="969"/>
                        <a:pt x="27500" y="7695"/>
                        <a:pt x="26628"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0" name="Freeform 5325">
                  <a:extLst>
                    <a:ext uri="{FF2B5EF4-FFF2-40B4-BE49-F238E27FC236}">
                      <a16:creationId xmlns:a16="http://schemas.microsoft.com/office/drawing/2014/main" id="{701902E9-D938-B138-929A-4011FC7A2C98}"/>
                    </a:ext>
                  </a:extLst>
                </p:cNvPr>
                <p:cNvSpPr/>
                <p:nvPr/>
              </p:nvSpPr>
              <p:spPr>
                <a:xfrm>
                  <a:off x="9581225" y="5700456"/>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3969"/>
                        <a:pt x="4235" y="37741"/>
                        <a:pt x="4360" y="33381"/>
                      </a:cubicBezTo>
                      <a:cubicBezTo>
                        <a:pt x="4485" y="26406"/>
                        <a:pt x="2741" y="23043"/>
                        <a:pt x="3114" y="15943"/>
                      </a:cubicBezTo>
                      <a:cubicBezTo>
                        <a:pt x="3488" y="9092"/>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1" name="Freeform 5326">
                  <a:extLst>
                    <a:ext uri="{FF2B5EF4-FFF2-40B4-BE49-F238E27FC236}">
                      <a16:creationId xmlns:a16="http://schemas.microsoft.com/office/drawing/2014/main" id="{DB82B7AC-D06A-E66E-62FA-83AB2C3E1A11}"/>
                    </a:ext>
                  </a:extLst>
                </p:cNvPr>
                <p:cNvSpPr/>
                <p:nvPr/>
              </p:nvSpPr>
              <p:spPr>
                <a:xfrm>
                  <a:off x="9572951" y="5704442"/>
                  <a:ext cx="7457" cy="51940"/>
                </a:xfrm>
                <a:custGeom>
                  <a:avLst/>
                  <a:gdLst>
                    <a:gd name="connsiteX0" fmla="*/ 6655 w 7457"/>
                    <a:gd name="connsiteY0" fmla="*/ 0 h 51940"/>
                    <a:gd name="connsiteX1" fmla="*/ 6281 w 7457"/>
                    <a:gd name="connsiteY1" fmla="*/ 18808 h 51940"/>
                    <a:gd name="connsiteX2" fmla="*/ 801 w 7457"/>
                    <a:gd name="connsiteY2" fmla="*/ 35374 h 51940"/>
                    <a:gd name="connsiteX3" fmla="*/ 926 w 74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57" h="51940">
                      <a:moveTo>
                        <a:pt x="6655" y="0"/>
                      </a:moveTo>
                      <a:cubicBezTo>
                        <a:pt x="8150" y="8346"/>
                        <a:pt x="7278" y="14573"/>
                        <a:pt x="6281" y="18808"/>
                      </a:cubicBezTo>
                      <a:cubicBezTo>
                        <a:pt x="4662" y="25659"/>
                        <a:pt x="2171" y="28399"/>
                        <a:pt x="801" y="35374"/>
                      </a:cubicBezTo>
                      <a:cubicBezTo>
                        <a:pt x="-569" y="42101"/>
                        <a:pt x="54" y="47955"/>
                        <a:pt x="92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2" name="Freeform 5327">
                  <a:extLst>
                    <a:ext uri="{FF2B5EF4-FFF2-40B4-BE49-F238E27FC236}">
                      <a16:creationId xmlns:a16="http://schemas.microsoft.com/office/drawing/2014/main" id="{5C4C4D10-548D-E1D6-4143-9B8C49684BD0}"/>
                    </a:ext>
                  </a:extLst>
                </p:cNvPr>
                <p:cNvSpPr/>
                <p:nvPr/>
              </p:nvSpPr>
              <p:spPr>
                <a:xfrm>
                  <a:off x="9563688" y="5745424"/>
                  <a:ext cx="26255" cy="26525"/>
                </a:xfrm>
                <a:custGeom>
                  <a:avLst/>
                  <a:gdLst>
                    <a:gd name="connsiteX0" fmla="*/ 99 w 26255"/>
                    <a:gd name="connsiteY0" fmla="*/ 11581 h 26525"/>
                    <a:gd name="connsiteX1" fmla="*/ 14797 w 26255"/>
                    <a:gd name="connsiteY1" fmla="*/ 122 h 26525"/>
                    <a:gd name="connsiteX2" fmla="*/ 26131 w 26255"/>
                    <a:gd name="connsiteY2" fmla="*/ 14944 h 26525"/>
                    <a:gd name="connsiteX3" fmla="*/ 11433 w 26255"/>
                    <a:gd name="connsiteY3" fmla="*/ 26403 h 26525"/>
                    <a:gd name="connsiteX4" fmla="*/ 99 w 26255"/>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24">
                      <a:moveTo>
                        <a:pt x="99" y="11581"/>
                      </a:moveTo>
                      <a:cubicBezTo>
                        <a:pt x="971" y="4357"/>
                        <a:pt x="7572" y="-875"/>
                        <a:pt x="14797" y="122"/>
                      </a:cubicBezTo>
                      <a:cubicBezTo>
                        <a:pt x="22021" y="994"/>
                        <a:pt x="27128" y="7720"/>
                        <a:pt x="26131" y="14944"/>
                      </a:cubicBezTo>
                      <a:cubicBezTo>
                        <a:pt x="25135" y="22168"/>
                        <a:pt x="18658" y="27400"/>
                        <a:pt x="11433" y="26403"/>
                      </a:cubicBezTo>
                      <a:cubicBezTo>
                        <a:pt x="4210" y="25407"/>
                        <a:pt x="-773" y="18930"/>
                        <a:pt x="99"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3" name="Graphic 2987">
                <a:extLst>
                  <a:ext uri="{FF2B5EF4-FFF2-40B4-BE49-F238E27FC236}">
                    <a16:creationId xmlns:a16="http://schemas.microsoft.com/office/drawing/2014/main" id="{471EF24A-482A-150E-F38B-8725DE8228BC}"/>
                  </a:ext>
                </a:extLst>
              </p:cNvPr>
              <p:cNvGrpSpPr/>
              <p:nvPr/>
            </p:nvGrpSpPr>
            <p:grpSpPr>
              <a:xfrm>
                <a:off x="9592811" y="5627867"/>
                <a:ext cx="42346" cy="147794"/>
                <a:chOff x="9592811" y="5627867"/>
                <a:chExt cx="42346" cy="147794"/>
              </a:xfrm>
              <a:grpFill/>
            </p:grpSpPr>
            <p:sp>
              <p:nvSpPr>
                <p:cNvPr id="4241" name="Freeform 5329">
                  <a:extLst>
                    <a:ext uri="{FF2B5EF4-FFF2-40B4-BE49-F238E27FC236}">
                      <a16:creationId xmlns:a16="http://schemas.microsoft.com/office/drawing/2014/main" id="{17741AFB-0966-C2E2-4031-41DE6F92A166}"/>
                    </a:ext>
                  </a:extLst>
                </p:cNvPr>
                <p:cNvSpPr/>
                <p:nvPr/>
              </p:nvSpPr>
              <p:spPr>
                <a:xfrm>
                  <a:off x="9609874" y="5647644"/>
                  <a:ext cx="7348" cy="51567"/>
                </a:xfrm>
                <a:custGeom>
                  <a:avLst/>
                  <a:gdLst>
                    <a:gd name="connsiteX0" fmla="*/ 7348 w 7348"/>
                    <a:gd name="connsiteY0" fmla="*/ 0 h 51567"/>
                    <a:gd name="connsiteX1" fmla="*/ 2989 w 7348"/>
                    <a:gd name="connsiteY1" fmla="*/ 18310 h 51567"/>
                    <a:gd name="connsiteX2" fmla="*/ 4235 w 7348"/>
                    <a:gd name="connsiteY2" fmla="*/ 35624 h 51567"/>
                    <a:gd name="connsiteX3" fmla="*/ 0 w 734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347" h="51567">
                      <a:moveTo>
                        <a:pt x="7348" y="0"/>
                      </a:moveTo>
                      <a:cubicBezTo>
                        <a:pt x="3861" y="7598"/>
                        <a:pt x="2989" y="13950"/>
                        <a:pt x="2989" y="18310"/>
                      </a:cubicBezTo>
                      <a:cubicBezTo>
                        <a:pt x="2865" y="25285"/>
                        <a:pt x="4609" y="28648"/>
                        <a:pt x="4235" y="35624"/>
                      </a:cubicBezTo>
                      <a:cubicBezTo>
                        <a:pt x="3861" y="42474"/>
                        <a:pt x="1743" y="48079"/>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2" name="Freeform 5330">
                  <a:extLst>
                    <a:ext uri="{FF2B5EF4-FFF2-40B4-BE49-F238E27FC236}">
                      <a16:creationId xmlns:a16="http://schemas.microsoft.com/office/drawing/2014/main" id="{D3F2C17E-0E28-D550-937D-7953C4ECABCA}"/>
                    </a:ext>
                  </a:extLst>
                </p:cNvPr>
                <p:cNvSpPr/>
                <p:nvPr/>
              </p:nvSpPr>
              <p:spPr>
                <a:xfrm>
                  <a:off x="9618101" y="5643658"/>
                  <a:ext cx="7654" cy="51691"/>
                </a:xfrm>
                <a:custGeom>
                  <a:avLst/>
                  <a:gdLst>
                    <a:gd name="connsiteX0" fmla="*/ 740 w 7654"/>
                    <a:gd name="connsiteY0" fmla="*/ 51691 h 51691"/>
                    <a:gd name="connsiteX1" fmla="*/ 1239 w 7654"/>
                    <a:gd name="connsiteY1" fmla="*/ 32883 h 51691"/>
                    <a:gd name="connsiteX2" fmla="*/ 6843 w 7654"/>
                    <a:gd name="connsiteY2" fmla="*/ 16441 h 51691"/>
                    <a:gd name="connsiteX3" fmla="*/ 6843 w 7654"/>
                    <a:gd name="connsiteY3" fmla="*/ 0 h 51691"/>
                  </a:gdLst>
                  <a:ahLst/>
                  <a:cxnLst>
                    <a:cxn ang="0">
                      <a:pos x="connsiteX0" y="connsiteY0"/>
                    </a:cxn>
                    <a:cxn ang="0">
                      <a:pos x="connsiteX1" y="connsiteY1"/>
                    </a:cxn>
                    <a:cxn ang="0">
                      <a:pos x="connsiteX2" y="connsiteY2"/>
                    </a:cxn>
                    <a:cxn ang="0">
                      <a:pos x="connsiteX3" y="connsiteY3"/>
                    </a:cxn>
                  </a:cxnLst>
                  <a:rect l="l" t="t" r="r" b="b"/>
                  <a:pathLst>
                    <a:path w="7654" h="51690">
                      <a:moveTo>
                        <a:pt x="740" y="51691"/>
                      </a:moveTo>
                      <a:cubicBezTo>
                        <a:pt x="-630" y="43346"/>
                        <a:pt x="118" y="37118"/>
                        <a:pt x="1239" y="32883"/>
                      </a:cubicBezTo>
                      <a:cubicBezTo>
                        <a:pt x="2858" y="26033"/>
                        <a:pt x="5474" y="23292"/>
                        <a:pt x="6843" y="16441"/>
                      </a:cubicBezTo>
                      <a:cubicBezTo>
                        <a:pt x="8214" y="9715"/>
                        <a:pt x="7591" y="3861"/>
                        <a:pt x="6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3" name="Freeform 5331">
                  <a:extLst>
                    <a:ext uri="{FF2B5EF4-FFF2-40B4-BE49-F238E27FC236}">
                      <a16:creationId xmlns:a16="http://schemas.microsoft.com/office/drawing/2014/main" id="{1B6DFB08-EDC5-7DF6-9313-66BA63B476F3}"/>
                    </a:ext>
                  </a:extLst>
                </p:cNvPr>
                <p:cNvSpPr/>
                <p:nvPr/>
              </p:nvSpPr>
              <p:spPr>
                <a:xfrm>
                  <a:off x="9608504" y="5627867"/>
                  <a:ext cx="26654" cy="26475"/>
                </a:xfrm>
                <a:custGeom>
                  <a:avLst/>
                  <a:gdLst>
                    <a:gd name="connsiteX0" fmla="*/ 26530 w 26654"/>
                    <a:gd name="connsiteY0" fmla="*/ 14919 h 26475"/>
                    <a:gd name="connsiteX1" fmla="*/ 11584 w 26654"/>
                    <a:gd name="connsiteY1" fmla="*/ 26378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932" y="27250"/>
                        <a:pt x="11584" y="26378"/>
                      </a:cubicBezTo>
                      <a:cubicBezTo>
                        <a:pt x="4235" y="25382"/>
                        <a:pt x="-872" y="18781"/>
                        <a:pt x="124" y="11556"/>
                      </a:cubicBezTo>
                      <a:cubicBezTo>
                        <a:pt x="1121" y="4332"/>
                        <a:pt x="7723" y="-775"/>
                        <a:pt x="15071" y="97"/>
                      </a:cubicBezTo>
                      <a:cubicBezTo>
                        <a:pt x="22420" y="969"/>
                        <a:pt x="27527" y="7570"/>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4" name="Freeform 5332">
                  <a:extLst>
                    <a:ext uri="{FF2B5EF4-FFF2-40B4-BE49-F238E27FC236}">
                      <a16:creationId xmlns:a16="http://schemas.microsoft.com/office/drawing/2014/main" id="{87DC1844-47B8-519E-377A-D3FB8E5AA8C4}"/>
                    </a:ext>
                  </a:extLst>
                </p:cNvPr>
                <p:cNvSpPr/>
                <p:nvPr/>
              </p:nvSpPr>
              <p:spPr>
                <a:xfrm>
                  <a:off x="9610496" y="5704317"/>
                  <a:ext cx="7473" cy="51566"/>
                </a:xfrm>
                <a:custGeom>
                  <a:avLst/>
                  <a:gdLst>
                    <a:gd name="connsiteX0" fmla="*/ 0 w 7473"/>
                    <a:gd name="connsiteY0" fmla="*/ 51567 h 51566"/>
                    <a:gd name="connsiteX1" fmla="*/ 4359 w 7473"/>
                    <a:gd name="connsiteY1" fmla="*/ 33257 h 51566"/>
                    <a:gd name="connsiteX2" fmla="*/ 3239 w 7473"/>
                    <a:gd name="connsiteY2" fmla="*/ 15943 h 51566"/>
                    <a:gd name="connsiteX3" fmla="*/ 7473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0" y="51567"/>
                      </a:moveTo>
                      <a:cubicBezTo>
                        <a:pt x="3487" y="43844"/>
                        <a:pt x="4235" y="37616"/>
                        <a:pt x="4359" y="33257"/>
                      </a:cubicBezTo>
                      <a:cubicBezTo>
                        <a:pt x="4484" y="26281"/>
                        <a:pt x="2740" y="22919"/>
                        <a:pt x="3239" y="15943"/>
                      </a:cubicBezTo>
                      <a:cubicBezTo>
                        <a:pt x="3612" y="9092"/>
                        <a:pt x="5730" y="3488"/>
                        <a:pt x="74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5" name="Freeform 5333">
                  <a:extLst>
                    <a:ext uri="{FF2B5EF4-FFF2-40B4-BE49-F238E27FC236}">
                      <a16:creationId xmlns:a16="http://schemas.microsoft.com/office/drawing/2014/main" id="{4BE30D6B-1EFD-9F28-0821-D72A2A0A7C5E}"/>
                    </a:ext>
                  </a:extLst>
                </p:cNvPr>
                <p:cNvSpPr/>
                <p:nvPr/>
              </p:nvSpPr>
              <p:spPr>
                <a:xfrm>
                  <a:off x="9601963" y="5708179"/>
                  <a:ext cx="7653" cy="51816"/>
                </a:xfrm>
                <a:custGeom>
                  <a:avLst/>
                  <a:gdLst>
                    <a:gd name="connsiteX0" fmla="*/ 6914 w 7653"/>
                    <a:gd name="connsiteY0" fmla="*/ 0 h 51816"/>
                    <a:gd name="connsiteX1" fmla="*/ 6416 w 7653"/>
                    <a:gd name="connsiteY1" fmla="*/ 18808 h 51816"/>
                    <a:gd name="connsiteX2" fmla="*/ 810 w 7653"/>
                    <a:gd name="connsiteY2" fmla="*/ 35374 h 51816"/>
                    <a:gd name="connsiteX3" fmla="*/ 810 w 76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0"/>
                      </a:moveTo>
                      <a:cubicBezTo>
                        <a:pt x="8284" y="8345"/>
                        <a:pt x="7536" y="14573"/>
                        <a:pt x="6416" y="18808"/>
                      </a:cubicBezTo>
                      <a:cubicBezTo>
                        <a:pt x="4796" y="25659"/>
                        <a:pt x="2305" y="28399"/>
                        <a:pt x="810" y="35374"/>
                      </a:cubicBezTo>
                      <a:cubicBezTo>
                        <a:pt x="-559" y="42101"/>
                        <a:pt x="63" y="47955"/>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6" name="Freeform 5334">
                  <a:extLst>
                    <a:ext uri="{FF2B5EF4-FFF2-40B4-BE49-F238E27FC236}">
                      <a16:creationId xmlns:a16="http://schemas.microsoft.com/office/drawing/2014/main" id="{85894825-DA2B-39EE-A025-2639339E15A5}"/>
                    </a:ext>
                  </a:extLst>
                </p:cNvPr>
                <p:cNvSpPr/>
                <p:nvPr/>
              </p:nvSpPr>
              <p:spPr>
                <a:xfrm>
                  <a:off x="9592811" y="5749161"/>
                  <a:ext cx="26278" cy="26500"/>
                </a:xfrm>
                <a:custGeom>
                  <a:avLst/>
                  <a:gdLst>
                    <a:gd name="connsiteX0" fmla="*/ 122 w 26278"/>
                    <a:gd name="connsiteY0" fmla="*/ 11581 h 26500"/>
                    <a:gd name="connsiteX1" fmla="*/ 14820 w 26278"/>
                    <a:gd name="connsiteY1" fmla="*/ 122 h 26500"/>
                    <a:gd name="connsiteX2" fmla="*/ 26155 w 26278"/>
                    <a:gd name="connsiteY2" fmla="*/ 14944 h 26500"/>
                    <a:gd name="connsiteX3" fmla="*/ 11457 w 26278"/>
                    <a:gd name="connsiteY3" fmla="*/ 26404 h 26500"/>
                    <a:gd name="connsiteX4" fmla="*/ 122 w 26278"/>
                    <a:gd name="connsiteY4" fmla="*/ 11581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99">
                      <a:moveTo>
                        <a:pt x="122" y="11581"/>
                      </a:moveTo>
                      <a:cubicBezTo>
                        <a:pt x="1118" y="4357"/>
                        <a:pt x="7720" y="-874"/>
                        <a:pt x="14820" y="122"/>
                      </a:cubicBezTo>
                      <a:cubicBezTo>
                        <a:pt x="22044" y="994"/>
                        <a:pt x="27151" y="7720"/>
                        <a:pt x="26155" y="14944"/>
                      </a:cubicBezTo>
                      <a:cubicBezTo>
                        <a:pt x="25158" y="22169"/>
                        <a:pt x="18557" y="27275"/>
                        <a:pt x="11457" y="26404"/>
                      </a:cubicBezTo>
                      <a:cubicBezTo>
                        <a:pt x="4357" y="25532"/>
                        <a:pt x="-874" y="18805"/>
                        <a:pt x="122"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4" name="Graphic 2987">
                <a:extLst>
                  <a:ext uri="{FF2B5EF4-FFF2-40B4-BE49-F238E27FC236}">
                    <a16:creationId xmlns:a16="http://schemas.microsoft.com/office/drawing/2014/main" id="{C522311B-A2E3-06D6-B03E-8AD9E1218EC7}"/>
                  </a:ext>
                </a:extLst>
              </p:cNvPr>
              <p:cNvGrpSpPr/>
              <p:nvPr/>
            </p:nvGrpSpPr>
            <p:grpSpPr>
              <a:xfrm>
                <a:off x="9621956" y="5631603"/>
                <a:ext cx="42722" cy="147794"/>
                <a:chOff x="9621956" y="5631603"/>
                <a:chExt cx="42722" cy="147794"/>
              </a:xfrm>
              <a:grpFill/>
            </p:grpSpPr>
            <p:sp>
              <p:nvSpPr>
                <p:cNvPr id="4235" name="Freeform 5336">
                  <a:extLst>
                    <a:ext uri="{FF2B5EF4-FFF2-40B4-BE49-F238E27FC236}">
                      <a16:creationId xmlns:a16="http://schemas.microsoft.com/office/drawing/2014/main" id="{264D876F-0966-1CD8-AE11-C334C03023DB}"/>
                    </a:ext>
                  </a:extLst>
                </p:cNvPr>
                <p:cNvSpPr/>
                <p:nvPr/>
              </p:nvSpPr>
              <p:spPr>
                <a:xfrm>
                  <a:off x="9639020" y="5651380"/>
                  <a:ext cx="7722" cy="51566"/>
                </a:xfrm>
                <a:custGeom>
                  <a:avLst/>
                  <a:gdLst>
                    <a:gd name="connsiteX0" fmla="*/ 7723 w 7722"/>
                    <a:gd name="connsiteY0" fmla="*/ 0 h 51566"/>
                    <a:gd name="connsiteX1" fmla="*/ 3239 w 7722"/>
                    <a:gd name="connsiteY1" fmla="*/ 18310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235" y="7598"/>
                        <a:pt x="3363" y="13950"/>
                        <a:pt x="3239" y="18310"/>
                      </a:cubicBezTo>
                      <a:cubicBezTo>
                        <a:pt x="3114" y="25285"/>
                        <a:pt x="4858" y="28648"/>
                        <a:pt x="4360"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6" name="Freeform 5337">
                  <a:extLst>
                    <a:ext uri="{FF2B5EF4-FFF2-40B4-BE49-F238E27FC236}">
                      <a16:creationId xmlns:a16="http://schemas.microsoft.com/office/drawing/2014/main" id="{B6F2DF55-DBCA-001F-894C-C14EA0F17AC0}"/>
                    </a:ext>
                  </a:extLst>
                </p:cNvPr>
                <p:cNvSpPr/>
                <p:nvPr/>
              </p:nvSpPr>
              <p:spPr>
                <a:xfrm>
                  <a:off x="9647530" y="5647395"/>
                  <a:ext cx="7745" cy="51691"/>
                </a:xfrm>
                <a:custGeom>
                  <a:avLst/>
                  <a:gdLst>
                    <a:gd name="connsiteX0" fmla="*/ 707 w 7745"/>
                    <a:gd name="connsiteY0" fmla="*/ 51691 h 51691"/>
                    <a:gd name="connsiteX1" fmla="*/ 1206 w 7745"/>
                    <a:gd name="connsiteY1" fmla="*/ 32883 h 51691"/>
                    <a:gd name="connsiteX2" fmla="*/ 6935 w 7745"/>
                    <a:gd name="connsiteY2" fmla="*/ 16442 h 51691"/>
                    <a:gd name="connsiteX3" fmla="*/ 6935 w 7745"/>
                    <a:gd name="connsiteY3" fmla="*/ 0 h 51691"/>
                  </a:gdLst>
                  <a:ahLst/>
                  <a:cxnLst>
                    <a:cxn ang="0">
                      <a:pos x="connsiteX0" y="connsiteY0"/>
                    </a:cxn>
                    <a:cxn ang="0">
                      <a:pos x="connsiteX1" y="connsiteY1"/>
                    </a:cxn>
                    <a:cxn ang="0">
                      <a:pos x="connsiteX2" y="connsiteY2"/>
                    </a:cxn>
                    <a:cxn ang="0">
                      <a:pos x="connsiteX3" y="connsiteY3"/>
                    </a:cxn>
                  </a:cxnLst>
                  <a:rect l="l" t="t" r="r" b="b"/>
                  <a:pathLst>
                    <a:path w="7744" h="51690">
                      <a:moveTo>
                        <a:pt x="707" y="51691"/>
                      </a:moveTo>
                      <a:cubicBezTo>
                        <a:pt x="-663" y="43346"/>
                        <a:pt x="209" y="37118"/>
                        <a:pt x="1206" y="32883"/>
                      </a:cubicBezTo>
                      <a:cubicBezTo>
                        <a:pt x="2950" y="26033"/>
                        <a:pt x="5440" y="23292"/>
                        <a:pt x="6935" y="16442"/>
                      </a:cubicBezTo>
                      <a:cubicBezTo>
                        <a:pt x="8306" y="9715"/>
                        <a:pt x="7682" y="3861"/>
                        <a:pt x="69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7" name="Freeform 5338">
                  <a:extLst>
                    <a:ext uri="{FF2B5EF4-FFF2-40B4-BE49-F238E27FC236}">
                      <a16:creationId xmlns:a16="http://schemas.microsoft.com/office/drawing/2014/main" id="{00872A97-6BA2-72FE-D0DF-00C0CC572C0C}"/>
                    </a:ext>
                  </a:extLst>
                </p:cNvPr>
                <p:cNvSpPr/>
                <p:nvPr/>
              </p:nvSpPr>
              <p:spPr>
                <a:xfrm>
                  <a:off x="9638024" y="5631603"/>
                  <a:ext cx="26654" cy="26475"/>
                </a:xfrm>
                <a:custGeom>
                  <a:avLst/>
                  <a:gdLst>
                    <a:gd name="connsiteX0" fmla="*/ 26530 w 26654"/>
                    <a:gd name="connsiteY0" fmla="*/ 14919 h 26475"/>
                    <a:gd name="connsiteX1" fmla="*/ 11584 w 26654"/>
                    <a:gd name="connsiteY1" fmla="*/ 26379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808" y="27250"/>
                        <a:pt x="11584" y="26379"/>
                      </a:cubicBezTo>
                      <a:cubicBezTo>
                        <a:pt x="4235" y="25382"/>
                        <a:pt x="-872" y="18781"/>
                        <a:pt x="124" y="11556"/>
                      </a:cubicBezTo>
                      <a:cubicBezTo>
                        <a:pt x="1121" y="4332"/>
                        <a:pt x="7847" y="-775"/>
                        <a:pt x="15071" y="97"/>
                      </a:cubicBezTo>
                      <a:cubicBezTo>
                        <a:pt x="22420" y="1094"/>
                        <a:pt x="27527" y="7695"/>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8" name="Freeform 5339">
                  <a:extLst>
                    <a:ext uri="{FF2B5EF4-FFF2-40B4-BE49-F238E27FC236}">
                      <a16:creationId xmlns:a16="http://schemas.microsoft.com/office/drawing/2014/main" id="{0345E7D1-6DFF-57E7-DF9A-C0A716FD5D35}"/>
                    </a:ext>
                  </a:extLst>
                </p:cNvPr>
                <p:cNvSpPr/>
                <p:nvPr/>
              </p:nvSpPr>
              <p:spPr>
                <a:xfrm>
                  <a:off x="9639642" y="5708054"/>
                  <a:ext cx="7723" cy="51567"/>
                </a:xfrm>
                <a:custGeom>
                  <a:avLst/>
                  <a:gdLst>
                    <a:gd name="connsiteX0" fmla="*/ 0 w 7723"/>
                    <a:gd name="connsiteY0" fmla="*/ 51567 h 51567"/>
                    <a:gd name="connsiteX1" fmla="*/ 4485 w 7723"/>
                    <a:gd name="connsiteY1" fmla="*/ 33257 h 51567"/>
                    <a:gd name="connsiteX2" fmla="*/ 3363 w 7723"/>
                    <a:gd name="connsiteY2" fmla="*/ 15943 h 51567"/>
                    <a:gd name="connsiteX3" fmla="*/ 7723 w 7723"/>
                    <a:gd name="connsiteY3" fmla="*/ 0 h 51567"/>
                  </a:gdLst>
                  <a:ahLst/>
                  <a:cxnLst>
                    <a:cxn ang="0">
                      <a:pos x="connsiteX0" y="connsiteY0"/>
                    </a:cxn>
                    <a:cxn ang="0">
                      <a:pos x="connsiteX1" y="connsiteY1"/>
                    </a:cxn>
                    <a:cxn ang="0">
                      <a:pos x="connsiteX2" y="connsiteY2"/>
                    </a:cxn>
                    <a:cxn ang="0">
                      <a:pos x="connsiteX3" y="connsiteY3"/>
                    </a:cxn>
                  </a:cxnLst>
                  <a:rect l="l" t="t" r="r" b="b"/>
                  <a:pathLst>
                    <a:path w="7723" h="51567">
                      <a:moveTo>
                        <a:pt x="0" y="51567"/>
                      </a:moveTo>
                      <a:cubicBezTo>
                        <a:pt x="3488" y="43969"/>
                        <a:pt x="4360" y="37616"/>
                        <a:pt x="4485" y="33257"/>
                      </a:cubicBezTo>
                      <a:cubicBezTo>
                        <a:pt x="4609" y="26282"/>
                        <a:pt x="2990" y="22919"/>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9" name="Freeform 5340">
                  <a:extLst>
                    <a:ext uri="{FF2B5EF4-FFF2-40B4-BE49-F238E27FC236}">
                      <a16:creationId xmlns:a16="http://schemas.microsoft.com/office/drawing/2014/main" id="{F272A6E9-367D-DF94-E565-638F5E6372B4}"/>
                    </a:ext>
                  </a:extLst>
                </p:cNvPr>
                <p:cNvSpPr/>
                <p:nvPr/>
              </p:nvSpPr>
              <p:spPr>
                <a:xfrm>
                  <a:off x="9631359" y="5711915"/>
                  <a:ext cx="7621" cy="51691"/>
                </a:xfrm>
                <a:custGeom>
                  <a:avLst/>
                  <a:gdLst>
                    <a:gd name="connsiteX0" fmla="*/ 6914 w 7621"/>
                    <a:gd name="connsiteY0" fmla="*/ 0 h 51691"/>
                    <a:gd name="connsiteX1" fmla="*/ 6416 w 7621"/>
                    <a:gd name="connsiteY1" fmla="*/ 18808 h 51691"/>
                    <a:gd name="connsiteX2" fmla="*/ 810 w 7621"/>
                    <a:gd name="connsiteY2" fmla="*/ 35250 h 51691"/>
                    <a:gd name="connsiteX3" fmla="*/ 810 w 762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0"/>
                      </a:moveTo>
                      <a:cubicBezTo>
                        <a:pt x="8284" y="8346"/>
                        <a:pt x="7412" y="14573"/>
                        <a:pt x="6416" y="18808"/>
                      </a:cubicBezTo>
                      <a:cubicBezTo>
                        <a:pt x="4672" y="25659"/>
                        <a:pt x="2180" y="28399"/>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0" name="Freeform 5341">
                  <a:extLst>
                    <a:ext uri="{FF2B5EF4-FFF2-40B4-BE49-F238E27FC236}">
                      <a16:creationId xmlns:a16="http://schemas.microsoft.com/office/drawing/2014/main" id="{68A55377-C9C0-AD55-E5FD-064A67B2D2FD}"/>
                    </a:ext>
                  </a:extLst>
                </p:cNvPr>
                <p:cNvSpPr/>
                <p:nvPr/>
              </p:nvSpPr>
              <p:spPr>
                <a:xfrm>
                  <a:off x="9621956" y="5752923"/>
                  <a:ext cx="26380" cy="26475"/>
                </a:xfrm>
                <a:custGeom>
                  <a:avLst/>
                  <a:gdLst>
                    <a:gd name="connsiteX0" fmla="*/ 124 w 26380"/>
                    <a:gd name="connsiteY0" fmla="*/ 11556 h 26475"/>
                    <a:gd name="connsiteX1" fmla="*/ 14947 w 26380"/>
                    <a:gd name="connsiteY1" fmla="*/ 97 h 26475"/>
                    <a:gd name="connsiteX2" fmla="*/ 26281 w 26380"/>
                    <a:gd name="connsiteY2" fmla="*/ 14919 h 26475"/>
                    <a:gd name="connsiteX3" fmla="*/ 11459 w 26380"/>
                    <a:gd name="connsiteY3" fmla="*/ 26378 h 26475"/>
                    <a:gd name="connsiteX4" fmla="*/ 124 w 26380"/>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1556"/>
                      </a:moveTo>
                      <a:cubicBezTo>
                        <a:pt x="1121" y="4332"/>
                        <a:pt x="7722" y="-775"/>
                        <a:pt x="14947" y="97"/>
                      </a:cubicBezTo>
                      <a:cubicBezTo>
                        <a:pt x="22171" y="969"/>
                        <a:pt x="27153" y="7695"/>
                        <a:pt x="26281" y="14919"/>
                      </a:cubicBezTo>
                      <a:cubicBezTo>
                        <a:pt x="25410" y="22144"/>
                        <a:pt x="18683" y="27250"/>
                        <a:pt x="11459" y="26378"/>
                      </a:cubicBezTo>
                      <a:cubicBezTo>
                        <a:pt x="4235" y="25506"/>
                        <a:pt x="-872" y="18781"/>
                        <a:pt x="124"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5" name="Graphic 2987">
                <a:extLst>
                  <a:ext uri="{FF2B5EF4-FFF2-40B4-BE49-F238E27FC236}">
                    <a16:creationId xmlns:a16="http://schemas.microsoft.com/office/drawing/2014/main" id="{98051556-4189-D010-03B0-1666B5A9DA46}"/>
                  </a:ext>
                </a:extLst>
              </p:cNvPr>
              <p:cNvGrpSpPr/>
              <p:nvPr/>
            </p:nvGrpSpPr>
            <p:grpSpPr>
              <a:xfrm>
                <a:off x="9651100" y="5635562"/>
                <a:ext cx="43098" cy="147754"/>
                <a:chOff x="9651100" y="5635562"/>
                <a:chExt cx="43098" cy="147754"/>
              </a:xfrm>
              <a:grpFill/>
            </p:grpSpPr>
            <p:sp>
              <p:nvSpPr>
                <p:cNvPr id="4229" name="Freeform 5343">
                  <a:extLst>
                    <a:ext uri="{FF2B5EF4-FFF2-40B4-BE49-F238E27FC236}">
                      <a16:creationId xmlns:a16="http://schemas.microsoft.com/office/drawing/2014/main" id="{5A0EC513-2030-AFAD-CC9F-B1B8A98A97CC}"/>
                    </a:ext>
                  </a:extLst>
                </p:cNvPr>
                <p:cNvSpPr/>
                <p:nvPr/>
              </p:nvSpPr>
              <p:spPr>
                <a:xfrm>
                  <a:off x="9668540" y="5655242"/>
                  <a:ext cx="7722" cy="51566"/>
                </a:xfrm>
                <a:custGeom>
                  <a:avLst/>
                  <a:gdLst>
                    <a:gd name="connsiteX0" fmla="*/ 7723 w 7722"/>
                    <a:gd name="connsiteY0" fmla="*/ 0 h 51566"/>
                    <a:gd name="connsiteX1" fmla="*/ 3239 w 7722"/>
                    <a:gd name="connsiteY1" fmla="*/ 18185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111" y="7598"/>
                        <a:pt x="3363" y="13950"/>
                        <a:pt x="3239" y="18185"/>
                      </a:cubicBezTo>
                      <a:cubicBezTo>
                        <a:pt x="3114" y="25161"/>
                        <a:pt x="4733" y="28523"/>
                        <a:pt x="4360" y="35623"/>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0" name="Freeform 5344">
                  <a:extLst>
                    <a:ext uri="{FF2B5EF4-FFF2-40B4-BE49-F238E27FC236}">
                      <a16:creationId xmlns:a16="http://schemas.microsoft.com/office/drawing/2014/main" id="{E3941AE5-359F-6001-1801-346BE32D8DB8}"/>
                    </a:ext>
                  </a:extLst>
                </p:cNvPr>
                <p:cNvSpPr/>
                <p:nvPr/>
              </p:nvSpPr>
              <p:spPr>
                <a:xfrm>
                  <a:off x="9676807" y="5651256"/>
                  <a:ext cx="7966" cy="51816"/>
                </a:xfrm>
                <a:custGeom>
                  <a:avLst/>
                  <a:gdLst>
                    <a:gd name="connsiteX0" fmla="*/ 701 w 7966"/>
                    <a:gd name="connsiteY0" fmla="*/ 51816 h 51816"/>
                    <a:gd name="connsiteX1" fmla="*/ 1324 w 7966"/>
                    <a:gd name="connsiteY1" fmla="*/ 33008 h 51816"/>
                    <a:gd name="connsiteX2" fmla="*/ 7054 w 7966"/>
                    <a:gd name="connsiteY2" fmla="*/ 16566 h 51816"/>
                    <a:gd name="connsiteX3" fmla="*/ 717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01" y="51816"/>
                      </a:moveTo>
                      <a:cubicBezTo>
                        <a:pt x="-669" y="43471"/>
                        <a:pt x="202" y="37243"/>
                        <a:pt x="1324" y="33008"/>
                      </a:cubicBezTo>
                      <a:cubicBezTo>
                        <a:pt x="3068" y="26281"/>
                        <a:pt x="5559" y="23542"/>
                        <a:pt x="7054" y="16566"/>
                      </a:cubicBezTo>
                      <a:cubicBezTo>
                        <a:pt x="8548" y="9840"/>
                        <a:pt x="7926" y="3986"/>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1" name="Freeform 5345">
                  <a:extLst>
                    <a:ext uri="{FF2B5EF4-FFF2-40B4-BE49-F238E27FC236}">
                      <a16:creationId xmlns:a16="http://schemas.microsoft.com/office/drawing/2014/main" id="{B84C4DEC-9805-448B-97E4-ED96DF2EBB6D}"/>
                    </a:ext>
                  </a:extLst>
                </p:cNvPr>
                <p:cNvSpPr/>
                <p:nvPr/>
              </p:nvSpPr>
              <p:spPr>
                <a:xfrm>
                  <a:off x="9667447" y="5635562"/>
                  <a:ext cx="26751" cy="26560"/>
                </a:xfrm>
                <a:custGeom>
                  <a:avLst/>
                  <a:gdLst>
                    <a:gd name="connsiteX0" fmla="*/ 26628 w 26751"/>
                    <a:gd name="connsiteY0" fmla="*/ 15196 h 26560"/>
                    <a:gd name="connsiteX1" fmla="*/ 11556 w 26751"/>
                    <a:gd name="connsiteY1" fmla="*/ 26406 h 26560"/>
                    <a:gd name="connsiteX2" fmla="*/ 97 w 26751"/>
                    <a:gd name="connsiteY2" fmla="*/ 11459 h 26560"/>
                    <a:gd name="connsiteX3" fmla="*/ 15168 w 26751"/>
                    <a:gd name="connsiteY3" fmla="*/ 124 h 26560"/>
                    <a:gd name="connsiteX4" fmla="*/ 26628 w 26751"/>
                    <a:gd name="connsiteY4" fmla="*/ 15196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60">
                      <a:moveTo>
                        <a:pt x="26628" y="15196"/>
                      </a:moveTo>
                      <a:cubicBezTo>
                        <a:pt x="25631" y="22420"/>
                        <a:pt x="18905" y="27527"/>
                        <a:pt x="11556" y="26406"/>
                      </a:cubicBezTo>
                      <a:cubicBezTo>
                        <a:pt x="4331" y="25285"/>
                        <a:pt x="-775" y="18683"/>
                        <a:pt x="97" y="11459"/>
                      </a:cubicBezTo>
                      <a:cubicBezTo>
                        <a:pt x="1093" y="4234"/>
                        <a:pt x="7819" y="-872"/>
                        <a:pt x="15168" y="124"/>
                      </a:cubicBezTo>
                      <a:cubicBezTo>
                        <a:pt x="22517" y="1121"/>
                        <a:pt x="27624" y="7847"/>
                        <a:pt x="26628" y="151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2" name="Freeform 5346">
                  <a:extLst>
                    <a:ext uri="{FF2B5EF4-FFF2-40B4-BE49-F238E27FC236}">
                      <a16:creationId xmlns:a16="http://schemas.microsoft.com/office/drawing/2014/main" id="{04C46985-59F7-99C3-B07C-E5C382EB88EE}"/>
                    </a:ext>
                  </a:extLst>
                </p:cNvPr>
                <p:cNvSpPr/>
                <p:nvPr/>
              </p:nvSpPr>
              <p:spPr>
                <a:xfrm>
                  <a:off x="9668789" y="5712040"/>
                  <a:ext cx="7847" cy="51566"/>
                </a:xfrm>
                <a:custGeom>
                  <a:avLst/>
                  <a:gdLst>
                    <a:gd name="connsiteX0" fmla="*/ 0 w 7847"/>
                    <a:gd name="connsiteY0" fmla="*/ 51567 h 51566"/>
                    <a:gd name="connsiteX1" fmla="*/ 4484 w 7847"/>
                    <a:gd name="connsiteY1" fmla="*/ 33381 h 51566"/>
                    <a:gd name="connsiteX2" fmla="*/ 3488 w 7847"/>
                    <a:gd name="connsiteY2" fmla="*/ 15943 h 51566"/>
                    <a:gd name="connsiteX3" fmla="*/ 7847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0" y="51567"/>
                      </a:moveTo>
                      <a:cubicBezTo>
                        <a:pt x="3488" y="43969"/>
                        <a:pt x="4359" y="37616"/>
                        <a:pt x="4484" y="33381"/>
                      </a:cubicBezTo>
                      <a:cubicBezTo>
                        <a:pt x="4733" y="26406"/>
                        <a:pt x="2989" y="23043"/>
                        <a:pt x="3488" y="15943"/>
                      </a:cubicBezTo>
                      <a:cubicBezTo>
                        <a:pt x="3986" y="9092"/>
                        <a:pt x="6103" y="3612"/>
                        <a:pt x="78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3" name="Freeform 5347">
                  <a:extLst>
                    <a:ext uri="{FF2B5EF4-FFF2-40B4-BE49-F238E27FC236}">
                      <a16:creationId xmlns:a16="http://schemas.microsoft.com/office/drawing/2014/main" id="{404EFC93-5351-16C7-8006-7A0F44674D69}"/>
                    </a:ext>
                  </a:extLst>
                </p:cNvPr>
                <p:cNvSpPr/>
                <p:nvPr/>
              </p:nvSpPr>
              <p:spPr>
                <a:xfrm>
                  <a:off x="9660329" y="5715777"/>
                  <a:ext cx="7915" cy="51816"/>
                </a:xfrm>
                <a:custGeom>
                  <a:avLst/>
                  <a:gdLst>
                    <a:gd name="connsiteX0" fmla="*/ 7215 w 7915"/>
                    <a:gd name="connsiteY0" fmla="*/ 0 h 51816"/>
                    <a:gd name="connsiteX1" fmla="*/ 6592 w 7915"/>
                    <a:gd name="connsiteY1" fmla="*/ 18808 h 51816"/>
                    <a:gd name="connsiteX2" fmla="*/ 862 w 7915"/>
                    <a:gd name="connsiteY2" fmla="*/ 35250 h 51816"/>
                    <a:gd name="connsiteX3" fmla="*/ 73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215" y="0"/>
                      </a:moveTo>
                      <a:cubicBezTo>
                        <a:pt x="8585" y="8346"/>
                        <a:pt x="7713" y="14573"/>
                        <a:pt x="6592" y="18808"/>
                      </a:cubicBezTo>
                      <a:cubicBezTo>
                        <a:pt x="4848" y="25535"/>
                        <a:pt x="2357" y="28275"/>
                        <a:pt x="862" y="35250"/>
                      </a:cubicBezTo>
                      <a:cubicBezTo>
                        <a:pt x="-508" y="41976"/>
                        <a:pt x="-10" y="47830"/>
                        <a:pt x="73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4" name="Freeform 5348">
                  <a:extLst>
                    <a:ext uri="{FF2B5EF4-FFF2-40B4-BE49-F238E27FC236}">
                      <a16:creationId xmlns:a16="http://schemas.microsoft.com/office/drawing/2014/main" id="{6CB6A436-8B09-3809-2675-12CD91D5638C}"/>
                    </a:ext>
                  </a:extLst>
                </p:cNvPr>
                <p:cNvSpPr/>
                <p:nvPr/>
              </p:nvSpPr>
              <p:spPr>
                <a:xfrm>
                  <a:off x="9651100" y="5756757"/>
                  <a:ext cx="26285" cy="26560"/>
                </a:xfrm>
                <a:custGeom>
                  <a:avLst/>
                  <a:gdLst>
                    <a:gd name="connsiteX0" fmla="*/ 127 w 26285"/>
                    <a:gd name="connsiteY0" fmla="*/ 11459 h 26560"/>
                    <a:gd name="connsiteX1" fmla="*/ 14949 w 26285"/>
                    <a:gd name="connsiteY1" fmla="*/ 124 h 26560"/>
                    <a:gd name="connsiteX2" fmla="*/ 26159 w 26285"/>
                    <a:gd name="connsiteY2" fmla="*/ 15196 h 26560"/>
                    <a:gd name="connsiteX3" fmla="*/ 11337 w 26285"/>
                    <a:gd name="connsiteY3" fmla="*/ 26406 h 26560"/>
                    <a:gd name="connsiteX4" fmla="*/ 127 w 26285"/>
                    <a:gd name="connsiteY4" fmla="*/ 11459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60">
                      <a:moveTo>
                        <a:pt x="127" y="11459"/>
                      </a:moveTo>
                      <a:cubicBezTo>
                        <a:pt x="1123" y="4235"/>
                        <a:pt x="7725" y="-872"/>
                        <a:pt x="14949" y="124"/>
                      </a:cubicBezTo>
                      <a:cubicBezTo>
                        <a:pt x="22173" y="1121"/>
                        <a:pt x="27156" y="7847"/>
                        <a:pt x="26159" y="15196"/>
                      </a:cubicBezTo>
                      <a:cubicBezTo>
                        <a:pt x="25162" y="22420"/>
                        <a:pt x="18561" y="27527"/>
                        <a:pt x="11337" y="26406"/>
                      </a:cubicBezTo>
                      <a:cubicBezTo>
                        <a:pt x="4112" y="25410"/>
                        <a:pt x="-870" y="18683"/>
                        <a:pt x="12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6" name="Graphic 2987">
                <a:extLst>
                  <a:ext uri="{FF2B5EF4-FFF2-40B4-BE49-F238E27FC236}">
                    <a16:creationId xmlns:a16="http://schemas.microsoft.com/office/drawing/2014/main" id="{0DE5A1C3-49B9-AE49-DB95-36B41402D4FC}"/>
                  </a:ext>
                </a:extLst>
              </p:cNvPr>
              <p:cNvGrpSpPr/>
              <p:nvPr/>
            </p:nvGrpSpPr>
            <p:grpSpPr>
              <a:xfrm>
                <a:off x="9680122" y="5639794"/>
                <a:ext cx="43599" cy="147882"/>
                <a:chOff x="9680122" y="5639794"/>
                <a:chExt cx="43599" cy="147882"/>
              </a:xfrm>
              <a:grpFill/>
            </p:grpSpPr>
            <p:sp>
              <p:nvSpPr>
                <p:cNvPr id="4223" name="Freeform 5350">
                  <a:extLst>
                    <a:ext uri="{FF2B5EF4-FFF2-40B4-BE49-F238E27FC236}">
                      <a16:creationId xmlns:a16="http://schemas.microsoft.com/office/drawing/2014/main" id="{44D3E42E-AF41-48B6-A31D-DEE82AB18449}"/>
                    </a:ext>
                  </a:extLst>
                </p:cNvPr>
                <p:cNvSpPr/>
                <p:nvPr/>
              </p:nvSpPr>
              <p:spPr>
                <a:xfrm>
                  <a:off x="9697811" y="5659601"/>
                  <a:ext cx="7971" cy="51566"/>
                </a:xfrm>
                <a:custGeom>
                  <a:avLst/>
                  <a:gdLst>
                    <a:gd name="connsiteX0" fmla="*/ 7971 w 7971"/>
                    <a:gd name="connsiteY0" fmla="*/ 0 h 51566"/>
                    <a:gd name="connsiteX1" fmla="*/ 3363 w 7971"/>
                    <a:gd name="connsiteY1" fmla="*/ 18185 h 51566"/>
                    <a:gd name="connsiteX2" fmla="*/ 4359 w 7971"/>
                    <a:gd name="connsiteY2" fmla="*/ 35623 h 51566"/>
                    <a:gd name="connsiteX3" fmla="*/ 0 w 797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971" h="51566">
                      <a:moveTo>
                        <a:pt x="7971" y="0"/>
                      </a:moveTo>
                      <a:cubicBezTo>
                        <a:pt x="4359" y="7598"/>
                        <a:pt x="3487" y="13826"/>
                        <a:pt x="3363" y="18185"/>
                      </a:cubicBezTo>
                      <a:cubicBezTo>
                        <a:pt x="3114" y="25161"/>
                        <a:pt x="4857" y="28523"/>
                        <a:pt x="4359" y="35623"/>
                      </a:cubicBezTo>
                      <a:cubicBezTo>
                        <a:pt x="3861" y="42474"/>
                        <a:pt x="1743"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4" name="Freeform 5351">
                  <a:extLst>
                    <a:ext uri="{FF2B5EF4-FFF2-40B4-BE49-F238E27FC236}">
                      <a16:creationId xmlns:a16="http://schemas.microsoft.com/office/drawing/2014/main" id="{14537C83-CB19-981B-A197-91884C92F8E1}"/>
                    </a:ext>
                  </a:extLst>
                </p:cNvPr>
                <p:cNvSpPr/>
                <p:nvPr/>
              </p:nvSpPr>
              <p:spPr>
                <a:xfrm>
                  <a:off x="9706234" y="5655491"/>
                  <a:ext cx="8060" cy="51816"/>
                </a:xfrm>
                <a:custGeom>
                  <a:avLst/>
                  <a:gdLst>
                    <a:gd name="connsiteX0" fmla="*/ 670 w 8060"/>
                    <a:gd name="connsiteY0" fmla="*/ 51816 h 51816"/>
                    <a:gd name="connsiteX1" fmla="*/ 1293 w 8060"/>
                    <a:gd name="connsiteY1" fmla="*/ 33008 h 51816"/>
                    <a:gd name="connsiteX2" fmla="*/ 7147 w 8060"/>
                    <a:gd name="connsiteY2" fmla="*/ 16566 h 51816"/>
                    <a:gd name="connsiteX3" fmla="*/ 7272 w 8060"/>
                    <a:gd name="connsiteY3" fmla="*/ 0 h 51816"/>
                  </a:gdLst>
                  <a:ahLst/>
                  <a:cxnLst>
                    <a:cxn ang="0">
                      <a:pos x="connsiteX0" y="connsiteY0"/>
                    </a:cxn>
                    <a:cxn ang="0">
                      <a:pos x="connsiteX1" y="connsiteY1"/>
                    </a:cxn>
                    <a:cxn ang="0">
                      <a:pos x="connsiteX2" y="connsiteY2"/>
                    </a:cxn>
                    <a:cxn ang="0">
                      <a:pos x="connsiteX3" y="connsiteY3"/>
                    </a:cxn>
                  </a:cxnLst>
                  <a:rect l="l" t="t" r="r" b="b"/>
                  <a:pathLst>
                    <a:path w="8060" h="51816">
                      <a:moveTo>
                        <a:pt x="670" y="51816"/>
                      </a:moveTo>
                      <a:cubicBezTo>
                        <a:pt x="-700" y="43471"/>
                        <a:pt x="297" y="37243"/>
                        <a:pt x="1293" y="33008"/>
                      </a:cubicBezTo>
                      <a:cubicBezTo>
                        <a:pt x="3037" y="26282"/>
                        <a:pt x="5528" y="23542"/>
                        <a:pt x="7147" y="16566"/>
                      </a:cubicBezTo>
                      <a:cubicBezTo>
                        <a:pt x="8642" y="9840"/>
                        <a:pt x="8019" y="3986"/>
                        <a:pt x="72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5" name="Freeform 5352">
                  <a:extLst>
                    <a:ext uri="{FF2B5EF4-FFF2-40B4-BE49-F238E27FC236}">
                      <a16:creationId xmlns:a16="http://schemas.microsoft.com/office/drawing/2014/main" id="{FD078A5B-263C-87C7-7052-EDA39EFE8D46}"/>
                    </a:ext>
                  </a:extLst>
                </p:cNvPr>
                <p:cNvSpPr/>
                <p:nvPr/>
              </p:nvSpPr>
              <p:spPr>
                <a:xfrm>
                  <a:off x="9697064" y="5639794"/>
                  <a:ext cx="26657" cy="26535"/>
                </a:xfrm>
                <a:custGeom>
                  <a:avLst/>
                  <a:gdLst>
                    <a:gd name="connsiteX0" fmla="*/ 26530 w 26657"/>
                    <a:gd name="connsiteY0" fmla="*/ 15198 h 26535"/>
                    <a:gd name="connsiteX1" fmla="*/ 11459 w 26657"/>
                    <a:gd name="connsiteY1" fmla="*/ 26409 h 26535"/>
                    <a:gd name="connsiteX2" fmla="*/ 124 w 26657"/>
                    <a:gd name="connsiteY2" fmla="*/ 11337 h 26535"/>
                    <a:gd name="connsiteX3" fmla="*/ 15195 w 26657"/>
                    <a:gd name="connsiteY3" fmla="*/ 127 h 26535"/>
                    <a:gd name="connsiteX4" fmla="*/ 26530 w 26657"/>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5">
                      <a:moveTo>
                        <a:pt x="26530" y="15198"/>
                      </a:moveTo>
                      <a:cubicBezTo>
                        <a:pt x="25534" y="22423"/>
                        <a:pt x="18808" y="27405"/>
                        <a:pt x="11459" y="26409"/>
                      </a:cubicBezTo>
                      <a:cubicBezTo>
                        <a:pt x="4234" y="25412"/>
                        <a:pt x="-872" y="18561"/>
                        <a:pt x="124" y="11337"/>
                      </a:cubicBezTo>
                      <a:cubicBezTo>
                        <a:pt x="1120" y="4113"/>
                        <a:pt x="7847" y="-870"/>
                        <a:pt x="15195" y="127"/>
                      </a:cubicBezTo>
                      <a:cubicBezTo>
                        <a:pt x="22545" y="1248"/>
                        <a:pt x="27526" y="7974"/>
                        <a:pt x="26530"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6" name="Freeform 5353">
                  <a:extLst>
                    <a:ext uri="{FF2B5EF4-FFF2-40B4-BE49-F238E27FC236}">
                      <a16:creationId xmlns:a16="http://schemas.microsoft.com/office/drawing/2014/main" id="{CB28FBF8-866E-A6E2-A37C-BE641F4A791C}"/>
                    </a:ext>
                  </a:extLst>
                </p:cNvPr>
                <p:cNvSpPr/>
                <p:nvPr/>
              </p:nvSpPr>
              <p:spPr>
                <a:xfrm>
                  <a:off x="9697811" y="5716275"/>
                  <a:ext cx="8095" cy="51566"/>
                </a:xfrm>
                <a:custGeom>
                  <a:avLst/>
                  <a:gdLst>
                    <a:gd name="connsiteX0" fmla="*/ 0 w 8095"/>
                    <a:gd name="connsiteY0" fmla="*/ 51567 h 51566"/>
                    <a:gd name="connsiteX1" fmla="*/ 4609 w 8095"/>
                    <a:gd name="connsiteY1" fmla="*/ 33381 h 51566"/>
                    <a:gd name="connsiteX2" fmla="*/ 3612 w 8095"/>
                    <a:gd name="connsiteY2" fmla="*/ 15943 h 51566"/>
                    <a:gd name="connsiteX3" fmla="*/ 8096 w 8095"/>
                    <a:gd name="connsiteY3" fmla="*/ 0 h 51566"/>
                  </a:gdLst>
                  <a:ahLst/>
                  <a:cxnLst>
                    <a:cxn ang="0">
                      <a:pos x="connsiteX0" y="connsiteY0"/>
                    </a:cxn>
                    <a:cxn ang="0">
                      <a:pos x="connsiteX1" y="connsiteY1"/>
                    </a:cxn>
                    <a:cxn ang="0">
                      <a:pos x="connsiteX2" y="connsiteY2"/>
                    </a:cxn>
                    <a:cxn ang="0">
                      <a:pos x="connsiteX3" y="connsiteY3"/>
                    </a:cxn>
                  </a:cxnLst>
                  <a:rect l="l" t="t" r="r" b="b"/>
                  <a:pathLst>
                    <a:path w="8095" h="51566">
                      <a:moveTo>
                        <a:pt x="0" y="51567"/>
                      </a:moveTo>
                      <a:cubicBezTo>
                        <a:pt x="3612" y="43969"/>
                        <a:pt x="4484" y="37741"/>
                        <a:pt x="4609" y="33381"/>
                      </a:cubicBezTo>
                      <a:cubicBezTo>
                        <a:pt x="4857" y="26406"/>
                        <a:pt x="3114" y="23043"/>
                        <a:pt x="3612" y="15943"/>
                      </a:cubicBezTo>
                      <a:cubicBezTo>
                        <a:pt x="4110" y="9093"/>
                        <a:pt x="6228"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7" name="Freeform 5354">
                  <a:extLst>
                    <a:ext uri="{FF2B5EF4-FFF2-40B4-BE49-F238E27FC236}">
                      <a16:creationId xmlns:a16="http://schemas.microsoft.com/office/drawing/2014/main" id="{C0C276C0-664E-9BAF-B7E3-08A0B6F373FC}"/>
                    </a:ext>
                  </a:extLst>
                </p:cNvPr>
                <p:cNvSpPr/>
                <p:nvPr/>
              </p:nvSpPr>
              <p:spPr>
                <a:xfrm>
                  <a:off x="9689549" y="5720011"/>
                  <a:ext cx="7936" cy="51816"/>
                </a:xfrm>
                <a:custGeom>
                  <a:avLst/>
                  <a:gdLst>
                    <a:gd name="connsiteX0" fmla="*/ 7266 w 7936"/>
                    <a:gd name="connsiteY0" fmla="*/ 0 h 51816"/>
                    <a:gd name="connsiteX1" fmla="*/ 6643 w 7936"/>
                    <a:gd name="connsiteY1" fmla="*/ 18808 h 51816"/>
                    <a:gd name="connsiteX2" fmla="*/ 913 w 7936"/>
                    <a:gd name="connsiteY2" fmla="*/ 35250 h 51816"/>
                    <a:gd name="connsiteX3" fmla="*/ 788 w 793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36" h="51816">
                      <a:moveTo>
                        <a:pt x="7266" y="0"/>
                      </a:moveTo>
                      <a:cubicBezTo>
                        <a:pt x="8636" y="8346"/>
                        <a:pt x="7640" y="14573"/>
                        <a:pt x="6643" y="18808"/>
                      </a:cubicBezTo>
                      <a:cubicBezTo>
                        <a:pt x="4899" y="25535"/>
                        <a:pt x="2408" y="28275"/>
                        <a:pt x="913" y="35250"/>
                      </a:cubicBezTo>
                      <a:cubicBezTo>
                        <a:pt x="-582" y="41976"/>
                        <a:pt x="41" y="47830"/>
                        <a:pt x="7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8" name="Freeform 5355">
                  <a:extLst>
                    <a:ext uri="{FF2B5EF4-FFF2-40B4-BE49-F238E27FC236}">
                      <a16:creationId xmlns:a16="http://schemas.microsoft.com/office/drawing/2014/main" id="{1FA255C6-4552-CE35-19DB-1E8BC2CD8F88}"/>
                    </a:ext>
                  </a:extLst>
                </p:cNvPr>
                <p:cNvSpPr/>
                <p:nvPr/>
              </p:nvSpPr>
              <p:spPr>
                <a:xfrm>
                  <a:off x="9680122" y="5761086"/>
                  <a:ext cx="26192" cy="26590"/>
                </a:xfrm>
                <a:custGeom>
                  <a:avLst/>
                  <a:gdLst>
                    <a:gd name="connsiteX0" fmla="*/ 127 w 26192"/>
                    <a:gd name="connsiteY0" fmla="*/ 11365 h 26590"/>
                    <a:gd name="connsiteX1" fmla="*/ 14949 w 26192"/>
                    <a:gd name="connsiteY1" fmla="*/ 154 h 26590"/>
                    <a:gd name="connsiteX2" fmla="*/ 26035 w 26192"/>
                    <a:gd name="connsiteY2" fmla="*/ 15226 h 26590"/>
                    <a:gd name="connsiteX3" fmla="*/ 11213 w 26192"/>
                    <a:gd name="connsiteY3" fmla="*/ 26436 h 26590"/>
                    <a:gd name="connsiteX4" fmla="*/ 127 w 26192"/>
                    <a:gd name="connsiteY4" fmla="*/ 113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90">
                      <a:moveTo>
                        <a:pt x="127" y="11365"/>
                      </a:moveTo>
                      <a:cubicBezTo>
                        <a:pt x="1123" y="4140"/>
                        <a:pt x="7849" y="-967"/>
                        <a:pt x="14949" y="154"/>
                      </a:cubicBezTo>
                      <a:cubicBezTo>
                        <a:pt x="22174" y="1151"/>
                        <a:pt x="27156" y="7877"/>
                        <a:pt x="26035" y="15226"/>
                      </a:cubicBezTo>
                      <a:cubicBezTo>
                        <a:pt x="25038" y="22450"/>
                        <a:pt x="18312" y="27557"/>
                        <a:pt x="11213" y="26436"/>
                      </a:cubicBezTo>
                      <a:cubicBezTo>
                        <a:pt x="4113" y="25315"/>
                        <a:pt x="-869" y="18589"/>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7" name="Graphic 2987">
                <a:extLst>
                  <a:ext uri="{FF2B5EF4-FFF2-40B4-BE49-F238E27FC236}">
                    <a16:creationId xmlns:a16="http://schemas.microsoft.com/office/drawing/2014/main" id="{0C2904D4-32B0-1E3F-4079-01AC6740F98A}"/>
                  </a:ext>
                </a:extLst>
              </p:cNvPr>
              <p:cNvGrpSpPr/>
              <p:nvPr/>
            </p:nvGrpSpPr>
            <p:grpSpPr>
              <a:xfrm>
                <a:off x="9709143" y="5644029"/>
                <a:ext cx="44122" cy="147633"/>
                <a:chOff x="9709143" y="5644029"/>
                <a:chExt cx="44122" cy="147633"/>
              </a:xfrm>
              <a:grpFill/>
            </p:grpSpPr>
            <p:sp>
              <p:nvSpPr>
                <p:cNvPr id="4217" name="Freeform 5357">
                  <a:extLst>
                    <a:ext uri="{FF2B5EF4-FFF2-40B4-BE49-F238E27FC236}">
                      <a16:creationId xmlns:a16="http://schemas.microsoft.com/office/drawing/2014/main" id="{AAE63616-6DD8-48B1-FABC-C668EE9319AC}"/>
                    </a:ext>
                  </a:extLst>
                </p:cNvPr>
                <p:cNvSpPr/>
                <p:nvPr/>
              </p:nvSpPr>
              <p:spPr>
                <a:xfrm>
                  <a:off x="9727207" y="5663836"/>
                  <a:ext cx="8096" cy="51566"/>
                </a:xfrm>
                <a:custGeom>
                  <a:avLst/>
                  <a:gdLst>
                    <a:gd name="connsiteX0" fmla="*/ 8097 w 8096"/>
                    <a:gd name="connsiteY0" fmla="*/ 0 h 51566"/>
                    <a:gd name="connsiteX1" fmla="*/ 3487 w 8096"/>
                    <a:gd name="connsiteY1" fmla="*/ 18185 h 51566"/>
                    <a:gd name="connsiteX2" fmla="*/ 4484 w 8096"/>
                    <a:gd name="connsiteY2" fmla="*/ 35623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0"/>
                      </a:moveTo>
                      <a:cubicBezTo>
                        <a:pt x="4484" y="7598"/>
                        <a:pt x="3612" y="13826"/>
                        <a:pt x="3487" y="18185"/>
                      </a:cubicBezTo>
                      <a:cubicBezTo>
                        <a:pt x="3239" y="25161"/>
                        <a:pt x="4983" y="28523"/>
                        <a:pt x="4484"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8" name="Freeform 5358">
                  <a:extLst>
                    <a:ext uri="{FF2B5EF4-FFF2-40B4-BE49-F238E27FC236}">
                      <a16:creationId xmlns:a16="http://schemas.microsoft.com/office/drawing/2014/main" id="{ABE216C9-EBDB-EC03-2580-53B33B63E50D}"/>
                    </a:ext>
                  </a:extLst>
                </p:cNvPr>
                <p:cNvSpPr/>
                <p:nvPr/>
              </p:nvSpPr>
              <p:spPr>
                <a:xfrm>
                  <a:off x="9735565" y="5659850"/>
                  <a:ext cx="8136" cy="51691"/>
                </a:xfrm>
                <a:custGeom>
                  <a:avLst/>
                  <a:gdLst>
                    <a:gd name="connsiteX0" fmla="*/ 610 w 8136"/>
                    <a:gd name="connsiteY0" fmla="*/ 51691 h 51691"/>
                    <a:gd name="connsiteX1" fmla="*/ 1357 w 8136"/>
                    <a:gd name="connsiteY1" fmla="*/ 32883 h 51691"/>
                    <a:gd name="connsiteX2" fmla="*/ 7212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2" y="16442"/>
                      </a:cubicBezTo>
                      <a:cubicBezTo>
                        <a:pt x="8706" y="9715"/>
                        <a:pt x="8084"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9" name="Freeform 5359">
                  <a:extLst>
                    <a:ext uri="{FF2B5EF4-FFF2-40B4-BE49-F238E27FC236}">
                      <a16:creationId xmlns:a16="http://schemas.microsoft.com/office/drawing/2014/main" id="{52BE32DE-CFBF-E16C-3B5A-DD809FB2F265}"/>
                    </a:ext>
                  </a:extLst>
                </p:cNvPr>
                <p:cNvSpPr/>
                <p:nvPr/>
              </p:nvSpPr>
              <p:spPr>
                <a:xfrm>
                  <a:off x="9726584" y="5644029"/>
                  <a:ext cx="26681" cy="26535"/>
                </a:xfrm>
                <a:custGeom>
                  <a:avLst/>
                  <a:gdLst>
                    <a:gd name="connsiteX0" fmla="*/ 26530 w 26681"/>
                    <a:gd name="connsiteY0" fmla="*/ 15199 h 26535"/>
                    <a:gd name="connsiteX1" fmla="*/ 11459 w 26681"/>
                    <a:gd name="connsiteY1" fmla="*/ 26409 h 26535"/>
                    <a:gd name="connsiteX2" fmla="*/ 124 w 26681"/>
                    <a:gd name="connsiteY2" fmla="*/ 11337 h 26535"/>
                    <a:gd name="connsiteX3" fmla="*/ 15195 w 26681"/>
                    <a:gd name="connsiteY3" fmla="*/ 127 h 26535"/>
                    <a:gd name="connsiteX4" fmla="*/ 26530 w 26681"/>
                    <a:gd name="connsiteY4" fmla="*/ 151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35">
                      <a:moveTo>
                        <a:pt x="26530" y="15199"/>
                      </a:moveTo>
                      <a:cubicBezTo>
                        <a:pt x="25409" y="22423"/>
                        <a:pt x="18683" y="27405"/>
                        <a:pt x="11459" y="26409"/>
                      </a:cubicBezTo>
                      <a:cubicBezTo>
                        <a:pt x="4234" y="25412"/>
                        <a:pt x="-872" y="18561"/>
                        <a:pt x="124" y="11337"/>
                      </a:cubicBezTo>
                      <a:cubicBezTo>
                        <a:pt x="1120" y="4113"/>
                        <a:pt x="7972" y="-870"/>
                        <a:pt x="15195" y="127"/>
                      </a:cubicBezTo>
                      <a:cubicBezTo>
                        <a:pt x="22420" y="1123"/>
                        <a:pt x="27651" y="7974"/>
                        <a:pt x="26530" y="151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0" name="Freeform 5360">
                  <a:extLst>
                    <a:ext uri="{FF2B5EF4-FFF2-40B4-BE49-F238E27FC236}">
                      <a16:creationId xmlns:a16="http://schemas.microsoft.com/office/drawing/2014/main" id="{736D61A3-F19C-824E-AFF6-EBC14B92D8FE}"/>
                    </a:ext>
                  </a:extLst>
                </p:cNvPr>
                <p:cNvSpPr/>
                <p:nvPr/>
              </p:nvSpPr>
              <p:spPr>
                <a:xfrm>
                  <a:off x="9726957" y="5720385"/>
                  <a:ext cx="8221" cy="51567"/>
                </a:xfrm>
                <a:custGeom>
                  <a:avLst/>
                  <a:gdLst>
                    <a:gd name="connsiteX0" fmla="*/ 0 w 8221"/>
                    <a:gd name="connsiteY0" fmla="*/ 51567 h 51567"/>
                    <a:gd name="connsiteX1" fmla="*/ 4609 w 8221"/>
                    <a:gd name="connsiteY1" fmla="*/ 33382 h 51567"/>
                    <a:gd name="connsiteX2" fmla="*/ 3737 w 8221"/>
                    <a:gd name="connsiteY2" fmla="*/ 15943 h 51567"/>
                    <a:gd name="connsiteX3" fmla="*/ 8221 w 8221"/>
                    <a:gd name="connsiteY3" fmla="*/ 0 h 51567"/>
                  </a:gdLst>
                  <a:ahLst/>
                  <a:cxnLst>
                    <a:cxn ang="0">
                      <a:pos x="connsiteX0" y="connsiteY0"/>
                    </a:cxn>
                    <a:cxn ang="0">
                      <a:pos x="connsiteX1" y="connsiteY1"/>
                    </a:cxn>
                    <a:cxn ang="0">
                      <a:pos x="connsiteX2" y="connsiteY2"/>
                    </a:cxn>
                    <a:cxn ang="0">
                      <a:pos x="connsiteX3" y="connsiteY3"/>
                    </a:cxn>
                  </a:cxnLst>
                  <a:rect l="l" t="t" r="r" b="b"/>
                  <a:pathLst>
                    <a:path w="8221" h="51567">
                      <a:moveTo>
                        <a:pt x="0" y="51567"/>
                      </a:moveTo>
                      <a:cubicBezTo>
                        <a:pt x="3613" y="43969"/>
                        <a:pt x="4485" y="37741"/>
                        <a:pt x="4609" y="33382"/>
                      </a:cubicBezTo>
                      <a:cubicBezTo>
                        <a:pt x="4858" y="26407"/>
                        <a:pt x="3239" y="23043"/>
                        <a:pt x="3737" y="15943"/>
                      </a:cubicBezTo>
                      <a:cubicBezTo>
                        <a:pt x="4235" y="9093"/>
                        <a:pt x="6477" y="3612"/>
                        <a:pt x="8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1" name="Freeform 5361">
                  <a:extLst>
                    <a:ext uri="{FF2B5EF4-FFF2-40B4-BE49-F238E27FC236}">
                      <a16:creationId xmlns:a16="http://schemas.microsoft.com/office/drawing/2014/main" id="{5D04425A-35B1-4C0B-C262-1B55D8E12A61}"/>
                    </a:ext>
                  </a:extLst>
                </p:cNvPr>
                <p:cNvSpPr/>
                <p:nvPr/>
              </p:nvSpPr>
              <p:spPr>
                <a:xfrm>
                  <a:off x="9718560" y="5724246"/>
                  <a:ext cx="8135" cy="51691"/>
                </a:xfrm>
                <a:custGeom>
                  <a:avLst/>
                  <a:gdLst>
                    <a:gd name="connsiteX0" fmla="*/ 7526 w 8135"/>
                    <a:gd name="connsiteY0" fmla="*/ 0 h 51691"/>
                    <a:gd name="connsiteX1" fmla="*/ 6779 w 8135"/>
                    <a:gd name="connsiteY1" fmla="*/ 18808 h 51691"/>
                    <a:gd name="connsiteX2" fmla="*/ 925 w 8135"/>
                    <a:gd name="connsiteY2" fmla="*/ 35250 h 51691"/>
                    <a:gd name="connsiteX3" fmla="*/ 675 w 813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0"/>
                      </a:moveTo>
                      <a:cubicBezTo>
                        <a:pt x="8772" y="8346"/>
                        <a:pt x="7900" y="14573"/>
                        <a:pt x="6779" y="18808"/>
                      </a:cubicBezTo>
                      <a:cubicBezTo>
                        <a:pt x="5035" y="25535"/>
                        <a:pt x="2419" y="28275"/>
                        <a:pt x="925" y="35250"/>
                      </a:cubicBezTo>
                      <a:cubicBezTo>
                        <a:pt x="-570" y="41976"/>
                        <a:pt x="53" y="47830"/>
                        <a:pt x="675"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2" name="Freeform 5362">
                  <a:extLst>
                    <a:ext uri="{FF2B5EF4-FFF2-40B4-BE49-F238E27FC236}">
                      <a16:creationId xmlns:a16="http://schemas.microsoft.com/office/drawing/2014/main" id="{197ACA24-730C-A405-AF3A-CD2B5E063400}"/>
                    </a:ext>
                  </a:extLst>
                </p:cNvPr>
                <p:cNvSpPr/>
                <p:nvPr/>
              </p:nvSpPr>
              <p:spPr>
                <a:xfrm>
                  <a:off x="9709143" y="5765196"/>
                  <a:ext cx="26317" cy="26466"/>
                </a:xfrm>
                <a:custGeom>
                  <a:avLst/>
                  <a:gdLst>
                    <a:gd name="connsiteX0" fmla="*/ 127 w 26317"/>
                    <a:gd name="connsiteY0" fmla="*/ 11365 h 26466"/>
                    <a:gd name="connsiteX1" fmla="*/ 15074 w 26317"/>
                    <a:gd name="connsiteY1" fmla="*/ 154 h 26466"/>
                    <a:gd name="connsiteX2" fmla="*/ 26160 w 26317"/>
                    <a:gd name="connsiteY2" fmla="*/ 15101 h 26466"/>
                    <a:gd name="connsiteX3" fmla="*/ 11213 w 26317"/>
                    <a:gd name="connsiteY3" fmla="*/ 26312 h 26466"/>
                    <a:gd name="connsiteX4" fmla="*/ 127 w 26317"/>
                    <a:gd name="connsiteY4" fmla="*/ 1136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66">
                      <a:moveTo>
                        <a:pt x="127" y="11365"/>
                      </a:moveTo>
                      <a:cubicBezTo>
                        <a:pt x="1124" y="4140"/>
                        <a:pt x="7849" y="-967"/>
                        <a:pt x="15074" y="154"/>
                      </a:cubicBezTo>
                      <a:cubicBezTo>
                        <a:pt x="22299" y="1151"/>
                        <a:pt x="27280" y="7877"/>
                        <a:pt x="26160" y="15101"/>
                      </a:cubicBezTo>
                      <a:cubicBezTo>
                        <a:pt x="25038" y="22326"/>
                        <a:pt x="18437" y="27433"/>
                        <a:pt x="11213" y="26312"/>
                      </a:cubicBezTo>
                      <a:cubicBezTo>
                        <a:pt x="4113" y="25315"/>
                        <a:pt x="-870" y="18713"/>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8" name="Graphic 2987">
                <a:extLst>
                  <a:ext uri="{FF2B5EF4-FFF2-40B4-BE49-F238E27FC236}">
                    <a16:creationId xmlns:a16="http://schemas.microsoft.com/office/drawing/2014/main" id="{EE1AC9D5-A953-D643-03BD-E8AD3E415932}"/>
                  </a:ext>
                </a:extLst>
              </p:cNvPr>
              <p:cNvGrpSpPr/>
              <p:nvPr/>
            </p:nvGrpSpPr>
            <p:grpSpPr>
              <a:xfrm>
                <a:off x="9738260" y="5648389"/>
                <a:ext cx="44529" cy="147480"/>
                <a:chOff x="9738260" y="5648389"/>
                <a:chExt cx="44529" cy="147480"/>
              </a:xfrm>
              <a:grpFill/>
            </p:grpSpPr>
            <p:sp>
              <p:nvSpPr>
                <p:cNvPr id="4211" name="Freeform 5364">
                  <a:extLst>
                    <a:ext uri="{FF2B5EF4-FFF2-40B4-BE49-F238E27FC236}">
                      <a16:creationId xmlns:a16="http://schemas.microsoft.com/office/drawing/2014/main" id="{9BFBCA24-8FBD-90CB-B93B-7CB0726631DB}"/>
                    </a:ext>
                  </a:extLst>
                </p:cNvPr>
                <p:cNvSpPr/>
                <p:nvPr/>
              </p:nvSpPr>
              <p:spPr>
                <a:xfrm>
                  <a:off x="9756478" y="5668071"/>
                  <a:ext cx="8345" cy="51442"/>
                </a:xfrm>
                <a:custGeom>
                  <a:avLst/>
                  <a:gdLst>
                    <a:gd name="connsiteX0" fmla="*/ 8346 w 8345"/>
                    <a:gd name="connsiteY0" fmla="*/ 0 h 51442"/>
                    <a:gd name="connsiteX1" fmla="*/ 3613 w 8345"/>
                    <a:gd name="connsiteY1" fmla="*/ 18185 h 51442"/>
                    <a:gd name="connsiteX2" fmla="*/ 4485 w 8345"/>
                    <a:gd name="connsiteY2" fmla="*/ 35623 h 51442"/>
                    <a:gd name="connsiteX3" fmla="*/ 0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8346" y="0"/>
                      </a:moveTo>
                      <a:cubicBezTo>
                        <a:pt x="4733" y="7598"/>
                        <a:pt x="3737" y="13826"/>
                        <a:pt x="3613" y="18185"/>
                      </a:cubicBezTo>
                      <a:cubicBezTo>
                        <a:pt x="3363" y="25161"/>
                        <a:pt x="4983" y="28524"/>
                        <a:pt x="4485"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2" name="Freeform 5365">
                  <a:extLst>
                    <a:ext uri="{FF2B5EF4-FFF2-40B4-BE49-F238E27FC236}">
                      <a16:creationId xmlns:a16="http://schemas.microsoft.com/office/drawing/2014/main" id="{F47CC73F-CEAE-4924-B53F-11BC6B47062A}"/>
                    </a:ext>
                  </a:extLst>
                </p:cNvPr>
                <p:cNvSpPr/>
                <p:nvPr/>
              </p:nvSpPr>
              <p:spPr>
                <a:xfrm>
                  <a:off x="9764836" y="5664085"/>
                  <a:ext cx="8303" cy="51691"/>
                </a:xfrm>
                <a:custGeom>
                  <a:avLst/>
                  <a:gdLst>
                    <a:gd name="connsiteX0" fmla="*/ 610 w 8303"/>
                    <a:gd name="connsiteY0" fmla="*/ 51691 h 51691"/>
                    <a:gd name="connsiteX1" fmla="*/ 1357 w 8303"/>
                    <a:gd name="connsiteY1" fmla="*/ 32883 h 51691"/>
                    <a:gd name="connsiteX2" fmla="*/ 7336 w 8303"/>
                    <a:gd name="connsiteY2" fmla="*/ 16442 h 51691"/>
                    <a:gd name="connsiteX3" fmla="*/ 7585 w 8303"/>
                    <a:gd name="connsiteY3" fmla="*/ 0 h 51691"/>
                  </a:gdLst>
                  <a:ahLst/>
                  <a:cxnLst>
                    <a:cxn ang="0">
                      <a:pos x="connsiteX0" y="connsiteY0"/>
                    </a:cxn>
                    <a:cxn ang="0">
                      <a:pos x="connsiteX1" y="connsiteY1"/>
                    </a:cxn>
                    <a:cxn ang="0">
                      <a:pos x="connsiteX2" y="connsiteY2"/>
                    </a:cxn>
                    <a:cxn ang="0">
                      <a:pos x="connsiteX3" y="connsiteY3"/>
                    </a:cxn>
                  </a:cxnLst>
                  <a:rect l="l" t="t" r="r" b="b"/>
                  <a:pathLst>
                    <a:path w="8303" h="51690">
                      <a:moveTo>
                        <a:pt x="610" y="51691"/>
                      </a:moveTo>
                      <a:cubicBezTo>
                        <a:pt x="-636" y="43346"/>
                        <a:pt x="236" y="37118"/>
                        <a:pt x="1357" y="32883"/>
                      </a:cubicBezTo>
                      <a:cubicBezTo>
                        <a:pt x="3101" y="26157"/>
                        <a:pt x="5717" y="23417"/>
                        <a:pt x="7336" y="16442"/>
                      </a:cubicBezTo>
                      <a:cubicBezTo>
                        <a:pt x="8831" y="9715"/>
                        <a:pt x="8333" y="3861"/>
                        <a:pt x="75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3" name="Freeform 5366">
                  <a:extLst>
                    <a:ext uri="{FF2B5EF4-FFF2-40B4-BE49-F238E27FC236}">
                      <a16:creationId xmlns:a16="http://schemas.microsoft.com/office/drawing/2014/main" id="{FC9DE486-CA5F-51AE-ECFC-3EE16F2AC261}"/>
                    </a:ext>
                  </a:extLst>
                </p:cNvPr>
                <p:cNvSpPr/>
                <p:nvPr/>
              </p:nvSpPr>
              <p:spPr>
                <a:xfrm>
                  <a:off x="9756074" y="5648389"/>
                  <a:ext cx="26715" cy="26535"/>
                </a:xfrm>
                <a:custGeom>
                  <a:avLst/>
                  <a:gdLst>
                    <a:gd name="connsiteX0" fmla="*/ 26561 w 26715"/>
                    <a:gd name="connsiteY0" fmla="*/ 15198 h 26535"/>
                    <a:gd name="connsiteX1" fmla="*/ 11364 w 26715"/>
                    <a:gd name="connsiteY1" fmla="*/ 26409 h 26535"/>
                    <a:gd name="connsiteX2" fmla="*/ 155 w 26715"/>
                    <a:gd name="connsiteY2" fmla="*/ 11337 h 26535"/>
                    <a:gd name="connsiteX3" fmla="*/ 15350 w 26715"/>
                    <a:gd name="connsiteY3" fmla="*/ 127 h 26535"/>
                    <a:gd name="connsiteX4" fmla="*/ 26561 w 26715"/>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 h="26535">
                      <a:moveTo>
                        <a:pt x="26561" y="15198"/>
                      </a:moveTo>
                      <a:cubicBezTo>
                        <a:pt x="25439" y="22423"/>
                        <a:pt x="18714" y="27405"/>
                        <a:pt x="11364" y="26409"/>
                      </a:cubicBezTo>
                      <a:cubicBezTo>
                        <a:pt x="4140" y="25412"/>
                        <a:pt x="-967" y="18686"/>
                        <a:pt x="155" y="11337"/>
                      </a:cubicBezTo>
                      <a:cubicBezTo>
                        <a:pt x="1275" y="4113"/>
                        <a:pt x="8002" y="-870"/>
                        <a:pt x="15350" y="127"/>
                      </a:cubicBezTo>
                      <a:cubicBezTo>
                        <a:pt x="22575" y="1248"/>
                        <a:pt x="27681" y="7974"/>
                        <a:pt x="26561"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4" name="Freeform 5367">
                  <a:extLst>
                    <a:ext uri="{FF2B5EF4-FFF2-40B4-BE49-F238E27FC236}">
                      <a16:creationId xmlns:a16="http://schemas.microsoft.com/office/drawing/2014/main" id="{18956FD5-97D5-E016-8010-B4AC16586D7B}"/>
                    </a:ext>
                  </a:extLst>
                </p:cNvPr>
                <p:cNvSpPr/>
                <p:nvPr/>
              </p:nvSpPr>
              <p:spPr>
                <a:xfrm>
                  <a:off x="9755980" y="5724745"/>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5"/>
                        <a:pt x="4609" y="37617"/>
                        <a:pt x="4733" y="33257"/>
                      </a:cubicBezTo>
                      <a:cubicBezTo>
                        <a:pt x="4983"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5" name="Freeform 5368">
                  <a:extLst>
                    <a:ext uri="{FF2B5EF4-FFF2-40B4-BE49-F238E27FC236}">
                      <a16:creationId xmlns:a16="http://schemas.microsoft.com/office/drawing/2014/main" id="{913F1D26-EF28-238D-CC52-C470EBFE2BF6}"/>
                    </a:ext>
                  </a:extLst>
                </p:cNvPr>
                <p:cNvSpPr/>
                <p:nvPr/>
              </p:nvSpPr>
              <p:spPr>
                <a:xfrm>
                  <a:off x="9747787" y="5728482"/>
                  <a:ext cx="8179" cy="51691"/>
                </a:xfrm>
                <a:custGeom>
                  <a:avLst/>
                  <a:gdLst>
                    <a:gd name="connsiteX0" fmla="*/ 7570 w 8179"/>
                    <a:gd name="connsiteY0" fmla="*/ 0 h 51691"/>
                    <a:gd name="connsiteX1" fmla="*/ 6822 w 8179"/>
                    <a:gd name="connsiteY1" fmla="*/ 18808 h 51691"/>
                    <a:gd name="connsiteX2" fmla="*/ 968 w 8179"/>
                    <a:gd name="connsiteY2" fmla="*/ 35250 h 51691"/>
                    <a:gd name="connsiteX3" fmla="*/ 71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70" y="0"/>
                      </a:moveTo>
                      <a:cubicBezTo>
                        <a:pt x="8815" y="8345"/>
                        <a:pt x="7943" y="14573"/>
                        <a:pt x="6822" y="18808"/>
                      </a:cubicBezTo>
                      <a:cubicBezTo>
                        <a:pt x="5078" y="25534"/>
                        <a:pt x="2462" y="28274"/>
                        <a:pt x="968" y="35250"/>
                      </a:cubicBezTo>
                      <a:cubicBezTo>
                        <a:pt x="-527" y="41976"/>
                        <a:pt x="-28" y="47830"/>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6" name="Freeform 5369">
                  <a:extLst>
                    <a:ext uri="{FF2B5EF4-FFF2-40B4-BE49-F238E27FC236}">
                      <a16:creationId xmlns:a16="http://schemas.microsoft.com/office/drawing/2014/main" id="{2E8CF25C-BFA2-A83E-1813-4272C9B15DC9}"/>
                    </a:ext>
                  </a:extLst>
                </p:cNvPr>
                <p:cNvSpPr/>
                <p:nvPr/>
              </p:nvSpPr>
              <p:spPr>
                <a:xfrm>
                  <a:off x="9738260" y="5769459"/>
                  <a:ext cx="26319" cy="26410"/>
                </a:xfrm>
                <a:custGeom>
                  <a:avLst/>
                  <a:gdLst>
                    <a:gd name="connsiteX0" fmla="*/ 158 w 26319"/>
                    <a:gd name="connsiteY0" fmla="*/ 11337 h 26410"/>
                    <a:gd name="connsiteX1" fmla="*/ 15104 w 26319"/>
                    <a:gd name="connsiteY1" fmla="*/ 127 h 26410"/>
                    <a:gd name="connsiteX2" fmla="*/ 26190 w 26319"/>
                    <a:gd name="connsiteY2" fmla="*/ 15074 h 26410"/>
                    <a:gd name="connsiteX3" fmla="*/ 11243 w 26319"/>
                    <a:gd name="connsiteY3" fmla="*/ 26284 h 26410"/>
                    <a:gd name="connsiteX4" fmla="*/ 158 w 26319"/>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10">
                      <a:moveTo>
                        <a:pt x="158" y="11337"/>
                      </a:moveTo>
                      <a:cubicBezTo>
                        <a:pt x="1278" y="4113"/>
                        <a:pt x="7880" y="-870"/>
                        <a:pt x="15104" y="127"/>
                      </a:cubicBezTo>
                      <a:cubicBezTo>
                        <a:pt x="22329" y="1123"/>
                        <a:pt x="27186" y="7849"/>
                        <a:pt x="26190" y="15074"/>
                      </a:cubicBezTo>
                      <a:cubicBezTo>
                        <a:pt x="25193" y="22298"/>
                        <a:pt x="18343" y="27280"/>
                        <a:pt x="11243" y="26284"/>
                      </a:cubicBezTo>
                      <a:cubicBezTo>
                        <a:pt x="4019" y="25287"/>
                        <a:pt x="-964"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9" name="Graphic 2987">
                <a:extLst>
                  <a:ext uri="{FF2B5EF4-FFF2-40B4-BE49-F238E27FC236}">
                    <a16:creationId xmlns:a16="http://schemas.microsoft.com/office/drawing/2014/main" id="{8E56DF30-5E23-F78A-0832-F37B160B5F24}"/>
                  </a:ext>
                </a:extLst>
              </p:cNvPr>
              <p:cNvGrpSpPr/>
              <p:nvPr/>
            </p:nvGrpSpPr>
            <p:grpSpPr>
              <a:xfrm>
                <a:off x="9767281" y="5652624"/>
                <a:ext cx="45031" cy="147483"/>
                <a:chOff x="9767281" y="5652624"/>
                <a:chExt cx="45031" cy="147483"/>
              </a:xfrm>
              <a:grpFill/>
            </p:grpSpPr>
            <p:sp>
              <p:nvSpPr>
                <p:cNvPr id="4205" name="Freeform 5371">
                  <a:extLst>
                    <a:ext uri="{FF2B5EF4-FFF2-40B4-BE49-F238E27FC236}">
                      <a16:creationId xmlns:a16="http://schemas.microsoft.com/office/drawing/2014/main" id="{368F49B2-0AB5-1E93-5E10-E6364C89B3A6}"/>
                    </a:ext>
                  </a:extLst>
                </p:cNvPr>
                <p:cNvSpPr/>
                <p:nvPr/>
              </p:nvSpPr>
              <p:spPr>
                <a:xfrm>
                  <a:off x="9785749" y="5672431"/>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733" y="7598"/>
                        <a:pt x="3861" y="13826"/>
                        <a:pt x="3737" y="18185"/>
                      </a:cubicBezTo>
                      <a:cubicBezTo>
                        <a:pt x="3487" y="25161"/>
                        <a:pt x="5107" y="28523"/>
                        <a:pt x="4609" y="35623"/>
                      </a:cubicBezTo>
                      <a:cubicBezTo>
                        <a:pt x="4110" y="42474"/>
                        <a:pt x="1744"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6" name="Freeform 5372">
                  <a:extLst>
                    <a:ext uri="{FF2B5EF4-FFF2-40B4-BE49-F238E27FC236}">
                      <a16:creationId xmlns:a16="http://schemas.microsoft.com/office/drawing/2014/main" id="{019602FD-B890-38E0-3D62-7D2220EFE077}"/>
                    </a:ext>
                  </a:extLst>
                </p:cNvPr>
                <p:cNvSpPr/>
                <p:nvPr/>
              </p:nvSpPr>
              <p:spPr>
                <a:xfrm>
                  <a:off x="9794265" y="5668445"/>
                  <a:ext cx="8408" cy="51691"/>
                </a:xfrm>
                <a:custGeom>
                  <a:avLst/>
                  <a:gdLst>
                    <a:gd name="connsiteX0" fmla="*/ 577 w 8408"/>
                    <a:gd name="connsiteY0" fmla="*/ 51691 h 51691"/>
                    <a:gd name="connsiteX1" fmla="*/ 1449 w 8408"/>
                    <a:gd name="connsiteY1" fmla="*/ 32883 h 51691"/>
                    <a:gd name="connsiteX2" fmla="*/ 7427 w 8408"/>
                    <a:gd name="connsiteY2" fmla="*/ 16442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442"/>
                      </a:cubicBezTo>
                      <a:cubicBezTo>
                        <a:pt x="8922" y="9715"/>
                        <a:pt x="8424" y="3861"/>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7" name="Freeform 5373">
                  <a:extLst>
                    <a:ext uri="{FF2B5EF4-FFF2-40B4-BE49-F238E27FC236}">
                      <a16:creationId xmlns:a16="http://schemas.microsoft.com/office/drawing/2014/main" id="{C3214D72-FD74-81F2-D2AD-28055FBD355E}"/>
                    </a:ext>
                  </a:extLst>
                </p:cNvPr>
                <p:cNvSpPr/>
                <p:nvPr/>
              </p:nvSpPr>
              <p:spPr>
                <a:xfrm>
                  <a:off x="9785594" y="5652624"/>
                  <a:ext cx="26718" cy="26538"/>
                </a:xfrm>
                <a:custGeom>
                  <a:avLst/>
                  <a:gdLst>
                    <a:gd name="connsiteX0" fmla="*/ 26561 w 26718"/>
                    <a:gd name="connsiteY0" fmla="*/ 15323 h 26538"/>
                    <a:gd name="connsiteX1" fmla="*/ 11364 w 26718"/>
                    <a:gd name="connsiteY1" fmla="*/ 26409 h 26538"/>
                    <a:gd name="connsiteX2" fmla="*/ 155 w 26718"/>
                    <a:gd name="connsiteY2" fmla="*/ 11337 h 26538"/>
                    <a:gd name="connsiteX3" fmla="*/ 15350 w 26718"/>
                    <a:gd name="connsiteY3" fmla="*/ 127 h 26538"/>
                    <a:gd name="connsiteX4" fmla="*/ 26561 w 26718"/>
                    <a:gd name="connsiteY4" fmla="*/ 15323 h 2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26561" y="15323"/>
                      </a:moveTo>
                      <a:cubicBezTo>
                        <a:pt x="25439" y="22547"/>
                        <a:pt x="18714" y="27405"/>
                        <a:pt x="11364" y="26409"/>
                      </a:cubicBezTo>
                      <a:cubicBezTo>
                        <a:pt x="4140" y="25412"/>
                        <a:pt x="-967" y="18686"/>
                        <a:pt x="155" y="11337"/>
                      </a:cubicBezTo>
                      <a:cubicBezTo>
                        <a:pt x="1275" y="4113"/>
                        <a:pt x="8002" y="-870"/>
                        <a:pt x="15350" y="127"/>
                      </a:cubicBezTo>
                      <a:cubicBezTo>
                        <a:pt x="22699" y="1248"/>
                        <a:pt x="27681" y="8099"/>
                        <a:pt x="26561" y="153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8" name="Freeform 5374">
                  <a:extLst>
                    <a:ext uri="{FF2B5EF4-FFF2-40B4-BE49-F238E27FC236}">
                      <a16:creationId xmlns:a16="http://schemas.microsoft.com/office/drawing/2014/main" id="{5103880E-7DDE-8222-A8D5-2E996E4BC2A9}"/>
                    </a:ext>
                  </a:extLst>
                </p:cNvPr>
                <p:cNvSpPr/>
                <p:nvPr/>
              </p:nvSpPr>
              <p:spPr>
                <a:xfrm>
                  <a:off x="9785126" y="5729104"/>
                  <a:ext cx="8594" cy="51317"/>
                </a:xfrm>
                <a:custGeom>
                  <a:avLst/>
                  <a:gdLst>
                    <a:gd name="connsiteX0" fmla="*/ 0 w 8594"/>
                    <a:gd name="connsiteY0" fmla="*/ 51318 h 51317"/>
                    <a:gd name="connsiteX1" fmla="*/ 4732 w 8594"/>
                    <a:gd name="connsiteY1" fmla="*/ 33132 h 51317"/>
                    <a:gd name="connsiteX2" fmla="*/ 3985 w 8594"/>
                    <a:gd name="connsiteY2" fmla="*/ 15819 h 51317"/>
                    <a:gd name="connsiteX3" fmla="*/ 8595 w 8594"/>
                    <a:gd name="connsiteY3" fmla="*/ 0 h 51317"/>
                  </a:gdLst>
                  <a:ahLst/>
                  <a:cxnLst>
                    <a:cxn ang="0">
                      <a:pos x="connsiteX0" y="connsiteY0"/>
                    </a:cxn>
                    <a:cxn ang="0">
                      <a:pos x="connsiteX1" y="connsiteY1"/>
                    </a:cxn>
                    <a:cxn ang="0">
                      <a:pos x="connsiteX2" y="connsiteY2"/>
                    </a:cxn>
                    <a:cxn ang="0">
                      <a:pos x="connsiteX3" y="connsiteY3"/>
                    </a:cxn>
                  </a:cxnLst>
                  <a:rect l="l" t="t" r="r" b="b"/>
                  <a:pathLst>
                    <a:path w="8594" h="51317">
                      <a:moveTo>
                        <a:pt x="0" y="51318"/>
                      </a:moveTo>
                      <a:cubicBezTo>
                        <a:pt x="3612" y="43720"/>
                        <a:pt x="4609" y="37492"/>
                        <a:pt x="4732" y="33132"/>
                      </a:cubicBezTo>
                      <a:cubicBezTo>
                        <a:pt x="4982" y="26157"/>
                        <a:pt x="3363" y="22794"/>
                        <a:pt x="3985" y="15819"/>
                      </a:cubicBezTo>
                      <a:cubicBezTo>
                        <a:pt x="4484" y="8968"/>
                        <a:pt x="6851" y="3488"/>
                        <a:pt x="859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9" name="Freeform 5375">
                  <a:extLst>
                    <a:ext uri="{FF2B5EF4-FFF2-40B4-BE49-F238E27FC236}">
                      <a16:creationId xmlns:a16="http://schemas.microsoft.com/office/drawing/2014/main" id="{B8471566-FE90-DE7C-41B1-A0AB0BDA30D1}"/>
                    </a:ext>
                  </a:extLst>
                </p:cNvPr>
                <p:cNvSpPr/>
                <p:nvPr/>
              </p:nvSpPr>
              <p:spPr>
                <a:xfrm>
                  <a:off x="9776795" y="5732717"/>
                  <a:ext cx="8409" cy="51691"/>
                </a:xfrm>
                <a:custGeom>
                  <a:avLst/>
                  <a:gdLst>
                    <a:gd name="connsiteX0" fmla="*/ 7832 w 8409"/>
                    <a:gd name="connsiteY0" fmla="*/ 0 h 51691"/>
                    <a:gd name="connsiteX1" fmla="*/ 6960 w 8409"/>
                    <a:gd name="connsiteY1" fmla="*/ 18808 h 51691"/>
                    <a:gd name="connsiteX2" fmla="*/ 982 w 8409"/>
                    <a:gd name="connsiteY2" fmla="*/ 35250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2" y="14573"/>
                        <a:pt x="6960" y="18808"/>
                      </a:cubicBezTo>
                      <a:cubicBezTo>
                        <a:pt x="5092" y="25534"/>
                        <a:pt x="2601" y="28274"/>
                        <a:pt x="982" y="35250"/>
                      </a:cubicBezTo>
                      <a:cubicBezTo>
                        <a:pt x="-513" y="41976"/>
                        <a:pt x="-15" y="47830"/>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0" name="Freeform 5376">
                  <a:extLst>
                    <a:ext uri="{FF2B5EF4-FFF2-40B4-BE49-F238E27FC236}">
                      <a16:creationId xmlns:a16="http://schemas.microsoft.com/office/drawing/2014/main" id="{5CF6E00C-CB96-EADB-580A-3CA796F4EAAA}"/>
                    </a:ext>
                  </a:extLst>
                </p:cNvPr>
                <p:cNvSpPr/>
                <p:nvPr/>
              </p:nvSpPr>
              <p:spPr>
                <a:xfrm>
                  <a:off x="9767281" y="5773694"/>
                  <a:ext cx="26226" cy="26413"/>
                </a:xfrm>
                <a:custGeom>
                  <a:avLst/>
                  <a:gdLst>
                    <a:gd name="connsiteX0" fmla="*/ 158 w 26226"/>
                    <a:gd name="connsiteY0" fmla="*/ 11337 h 26413"/>
                    <a:gd name="connsiteX1" fmla="*/ 15105 w 26226"/>
                    <a:gd name="connsiteY1" fmla="*/ 127 h 26413"/>
                    <a:gd name="connsiteX2" fmla="*/ 26066 w 26226"/>
                    <a:gd name="connsiteY2" fmla="*/ 15198 h 26413"/>
                    <a:gd name="connsiteX3" fmla="*/ 11119 w 26226"/>
                    <a:gd name="connsiteY3" fmla="*/ 26284 h 26413"/>
                    <a:gd name="connsiteX4" fmla="*/ 158 w 26226"/>
                    <a:gd name="connsiteY4" fmla="*/ 11337 h 2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6" h="26413">
                      <a:moveTo>
                        <a:pt x="158" y="11337"/>
                      </a:moveTo>
                      <a:cubicBezTo>
                        <a:pt x="1279" y="4113"/>
                        <a:pt x="8005" y="-870"/>
                        <a:pt x="15105" y="127"/>
                      </a:cubicBezTo>
                      <a:cubicBezTo>
                        <a:pt x="22329" y="1123"/>
                        <a:pt x="27187" y="7974"/>
                        <a:pt x="26066" y="15198"/>
                      </a:cubicBezTo>
                      <a:cubicBezTo>
                        <a:pt x="24944" y="22423"/>
                        <a:pt x="18219" y="27280"/>
                        <a:pt x="11119" y="26284"/>
                      </a:cubicBezTo>
                      <a:cubicBezTo>
                        <a:pt x="4019" y="25287"/>
                        <a:pt x="-963"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0" name="Graphic 2987">
                <a:extLst>
                  <a:ext uri="{FF2B5EF4-FFF2-40B4-BE49-F238E27FC236}">
                    <a16:creationId xmlns:a16="http://schemas.microsoft.com/office/drawing/2014/main" id="{DE3629C8-68E0-27E7-7663-7E405115B156}"/>
                  </a:ext>
                </a:extLst>
              </p:cNvPr>
              <p:cNvGrpSpPr/>
              <p:nvPr/>
            </p:nvGrpSpPr>
            <p:grpSpPr>
              <a:xfrm>
                <a:off x="9796300" y="5657323"/>
                <a:ext cx="45408" cy="147454"/>
                <a:chOff x="9796300" y="5657323"/>
                <a:chExt cx="45408" cy="147454"/>
              </a:xfrm>
              <a:grpFill/>
            </p:grpSpPr>
            <p:sp>
              <p:nvSpPr>
                <p:cNvPr id="4199" name="Freeform 5378">
                  <a:extLst>
                    <a:ext uri="{FF2B5EF4-FFF2-40B4-BE49-F238E27FC236}">
                      <a16:creationId xmlns:a16="http://schemas.microsoft.com/office/drawing/2014/main" id="{0A8F729E-F423-CA80-0A71-4DAED9AD373A}"/>
                    </a:ext>
                  </a:extLst>
                </p:cNvPr>
                <p:cNvSpPr/>
                <p:nvPr/>
              </p:nvSpPr>
              <p:spPr>
                <a:xfrm>
                  <a:off x="9815020" y="5677039"/>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3" y="7598"/>
                        <a:pt x="4111" y="13826"/>
                        <a:pt x="3861" y="18185"/>
                      </a:cubicBezTo>
                      <a:cubicBezTo>
                        <a:pt x="3613" y="25161"/>
                        <a:pt x="5231" y="28523"/>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0" name="Freeform 5379">
                  <a:extLst>
                    <a:ext uri="{FF2B5EF4-FFF2-40B4-BE49-F238E27FC236}">
                      <a16:creationId xmlns:a16="http://schemas.microsoft.com/office/drawing/2014/main" id="{05F58CF1-D3F8-CBDC-9D57-187D28333CEE}"/>
                    </a:ext>
                  </a:extLst>
                </p:cNvPr>
                <p:cNvSpPr/>
                <p:nvPr/>
              </p:nvSpPr>
              <p:spPr>
                <a:xfrm>
                  <a:off x="9823416" y="5673053"/>
                  <a:ext cx="8622" cy="51691"/>
                </a:xfrm>
                <a:custGeom>
                  <a:avLst/>
                  <a:gdLst>
                    <a:gd name="connsiteX0" fmla="*/ 573 w 8622"/>
                    <a:gd name="connsiteY0" fmla="*/ 51691 h 51691"/>
                    <a:gd name="connsiteX1" fmla="*/ 1569 w 8622"/>
                    <a:gd name="connsiteY1" fmla="*/ 32883 h 51691"/>
                    <a:gd name="connsiteX2" fmla="*/ 7548 w 8622"/>
                    <a:gd name="connsiteY2" fmla="*/ 16566 h 51691"/>
                    <a:gd name="connsiteX3" fmla="*/ 7921 w 8622"/>
                    <a:gd name="connsiteY3" fmla="*/ 0 h 51691"/>
                  </a:gdLst>
                  <a:ahLst/>
                  <a:cxnLst>
                    <a:cxn ang="0">
                      <a:pos x="connsiteX0" y="connsiteY0"/>
                    </a:cxn>
                    <a:cxn ang="0">
                      <a:pos x="connsiteX1" y="connsiteY1"/>
                    </a:cxn>
                    <a:cxn ang="0">
                      <a:pos x="connsiteX2" y="connsiteY2"/>
                    </a:cxn>
                    <a:cxn ang="0">
                      <a:pos x="connsiteX3" y="connsiteY3"/>
                    </a:cxn>
                  </a:cxnLst>
                  <a:rect l="l" t="t" r="r" b="b"/>
                  <a:pathLst>
                    <a:path w="8622" h="51690">
                      <a:moveTo>
                        <a:pt x="573" y="51691"/>
                      </a:moveTo>
                      <a:cubicBezTo>
                        <a:pt x="-673" y="43346"/>
                        <a:pt x="323" y="37118"/>
                        <a:pt x="1569" y="32883"/>
                      </a:cubicBezTo>
                      <a:cubicBezTo>
                        <a:pt x="3437" y="26157"/>
                        <a:pt x="6053" y="23417"/>
                        <a:pt x="7548" y="16566"/>
                      </a:cubicBezTo>
                      <a:cubicBezTo>
                        <a:pt x="9167" y="9840"/>
                        <a:pt x="8668" y="3986"/>
                        <a:pt x="79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1" name="Freeform 5380">
                  <a:extLst>
                    <a:ext uri="{FF2B5EF4-FFF2-40B4-BE49-F238E27FC236}">
                      <a16:creationId xmlns:a16="http://schemas.microsoft.com/office/drawing/2014/main" id="{7F681D04-0520-60A9-8D74-2CAA7990C989}"/>
                    </a:ext>
                  </a:extLst>
                </p:cNvPr>
                <p:cNvSpPr/>
                <p:nvPr/>
              </p:nvSpPr>
              <p:spPr>
                <a:xfrm>
                  <a:off x="9815111" y="5657323"/>
                  <a:ext cx="26596" cy="26478"/>
                </a:xfrm>
                <a:custGeom>
                  <a:avLst/>
                  <a:gdLst>
                    <a:gd name="connsiteX0" fmla="*/ 26439 w 26596"/>
                    <a:gd name="connsiteY0" fmla="*/ 15357 h 26478"/>
                    <a:gd name="connsiteX1" fmla="*/ 11243 w 26596"/>
                    <a:gd name="connsiteY1" fmla="*/ 26318 h 26478"/>
                    <a:gd name="connsiteX2" fmla="*/ 158 w 26596"/>
                    <a:gd name="connsiteY2" fmla="*/ 11122 h 26478"/>
                    <a:gd name="connsiteX3" fmla="*/ 15353 w 26596"/>
                    <a:gd name="connsiteY3" fmla="*/ 161 h 26478"/>
                    <a:gd name="connsiteX4" fmla="*/ 26439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26439" y="15357"/>
                      </a:moveTo>
                      <a:cubicBezTo>
                        <a:pt x="25319" y="22581"/>
                        <a:pt x="18467" y="27439"/>
                        <a:pt x="11243" y="26318"/>
                      </a:cubicBezTo>
                      <a:cubicBezTo>
                        <a:pt x="4019" y="25197"/>
                        <a:pt x="-964" y="18346"/>
                        <a:pt x="158" y="11122"/>
                      </a:cubicBezTo>
                      <a:cubicBezTo>
                        <a:pt x="1278" y="3897"/>
                        <a:pt x="8130" y="-960"/>
                        <a:pt x="15353" y="161"/>
                      </a:cubicBezTo>
                      <a:cubicBezTo>
                        <a:pt x="22578" y="1282"/>
                        <a:pt x="27560" y="8133"/>
                        <a:pt x="26439"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2" name="Freeform 5381">
                  <a:extLst>
                    <a:ext uri="{FF2B5EF4-FFF2-40B4-BE49-F238E27FC236}">
                      <a16:creationId xmlns:a16="http://schemas.microsoft.com/office/drawing/2014/main" id="{33B943A2-0B40-CA9C-7EBD-E7CB714942F9}"/>
                    </a:ext>
                  </a:extLst>
                </p:cNvPr>
                <p:cNvSpPr/>
                <p:nvPr/>
              </p:nvSpPr>
              <p:spPr>
                <a:xfrm>
                  <a:off x="9814023" y="5733588"/>
                  <a:ext cx="8719" cy="51442"/>
                </a:xfrm>
                <a:custGeom>
                  <a:avLst/>
                  <a:gdLst>
                    <a:gd name="connsiteX0" fmla="*/ 0 w 8719"/>
                    <a:gd name="connsiteY0" fmla="*/ 51442 h 51442"/>
                    <a:gd name="connsiteX1" fmla="*/ 4858 w 8719"/>
                    <a:gd name="connsiteY1" fmla="*/ 33257 h 51442"/>
                    <a:gd name="connsiteX2" fmla="*/ 4111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5"/>
                        <a:pt x="4609" y="37617"/>
                        <a:pt x="4858" y="33257"/>
                      </a:cubicBezTo>
                      <a:cubicBezTo>
                        <a:pt x="5232" y="26282"/>
                        <a:pt x="3613" y="22919"/>
                        <a:pt x="4111"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3" name="Freeform 5382">
                  <a:extLst>
                    <a:ext uri="{FF2B5EF4-FFF2-40B4-BE49-F238E27FC236}">
                      <a16:creationId xmlns:a16="http://schemas.microsoft.com/office/drawing/2014/main" id="{518FD262-DB57-CE6C-9725-BD30E3193917}"/>
                    </a:ext>
                  </a:extLst>
                </p:cNvPr>
                <p:cNvSpPr/>
                <p:nvPr/>
              </p:nvSpPr>
              <p:spPr>
                <a:xfrm>
                  <a:off x="9805818" y="5737325"/>
                  <a:ext cx="8529" cy="51691"/>
                </a:xfrm>
                <a:custGeom>
                  <a:avLst/>
                  <a:gdLst>
                    <a:gd name="connsiteX0" fmla="*/ 7957 w 8529"/>
                    <a:gd name="connsiteY0" fmla="*/ 0 h 51691"/>
                    <a:gd name="connsiteX1" fmla="*/ 6960 w 8529"/>
                    <a:gd name="connsiteY1" fmla="*/ 18808 h 51691"/>
                    <a:gd name="connsiteX2" fmla="*/ 982 w 8529"/>
                    <a:gd name="connsiteY2" fmla="*/ 35125 h 51691"/>
                    <a:gd name="connsiteX3" fmla="*/ 608 w 852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529" h="51690">
                      <a:moveTo>
                        <a:pt x="7957" y="0"/>
                      </a:moveTo>
                      <a:cubicBezTo>
                        <a:pt x="9202" y="8345"/>
                        <a:pt x="8205" y="14573"/>
                        <a:pt x="6960" y="18808"/>
                      </a:cubicBezTo>
                      <a:cubicBezTo>
                        <a:pt x="5092" y="25534"/>
                        <a:pt x="2601" y="28274"/>
                        <a:pt x="982" y="35125"/>
                      </a:cubicBezTo>
                      <a:cubicBezTo>
                        <a:pt x="-513" y="41851"/>
                        <a:pt x="-15" y="47705"/>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4" name="Freeform 5383">
                  <a:extLst>
                    <a:ext uri="{FF2B5EF4-FFF2-40B4-BE49-F238E27FC236}">
                      <a16:creationId xmlns:a16="http://schemas.microsoft.com/office/drawing/2014/main" id="{1E3AF0F6-F9BA-1571-D268-2539EFEC28E1}"/>
                    </a:ext>
                  </a:extLst>
                </p:cNvPr>
                <p:cNvSpPr/>
                <p:nvPr/>
              </p:nvSpPr>
              <p:spPr>
                <a:xfrm>
                  <a:off x="9796300" y="5778238"/>
                  <a:ext cx="26354" cy="26539"/>
                </a:xfrm>
                <a:custGeom>
                  <a:avLst/>
                  <a:gdLst>
                    <a:gd name="connsiteX0" fmla="*/ 161 w 26354"/>
                    <a:gd name="connsiteY0" fmla="*/ 11152 h 26539"/>
                    <a:gd name="connsiteX1" fmla="*/ 15233 w 26354"/>
                    <a:gd name="connsiteY1" fmla="*/ 191 h 26539"/>
                    <a:gd name="connsiteX2" fmla="*/ 26194 w 26354"/>
                    <a:gd name="connsiteY2" fmla="*/ 15387 h 26539"/>
                    <a:gd name="connsiteX3" fmla="*/ 11122 w 26354"/>
                    <a:gd name="connsiteY3" fmla="*/ 26348 h 26539"/>
                    <a:gd name="connsiteX4" fmla="*/ 161 w 26354"/>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161" y="11152"/>
                      </a:moveTo>
                      <a:cubicBezTo>
                        <a:pt x="1282" y="3928"/>
                        <a:pt x="8008" y="-1055"/>
                        <a:pt x="15233" y="191"/>
                      </a:cubicBezTo>
                      <a:cubicBezTo>
                        <a:pt x="22456" y="1312"/>
                        <a:pt x="27314" y="8163"/>
                        <a:pt x="26194" y="15387"/>
                      </a:cubicBezTo>
                      <a:cubicBezTo>
                        <a:pt x="25072" y="22612"/>
                        <a:pt x="18347" y="27594"/>
                        <a:pt x="11122" y="26348"/>
                      </a:cubicBezTo>
                      <a:cubicBezTo>
                        <a:pt x="3897" y="25227"/>
                        <a:pt x="-961" y="18377"/>
                        <a:pt x="16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1" name="Graphic 2987">
                <a:extLst>
                  <a:ext uri="{FF2B5EF4-FFF2-40B4-BE49-F238E27FC236}">
                    <a16:creationId xmlns:a16="http://schemas.microsoft.com/office/drawing/2014/main" id="{3C1CD5A9-4119-329F-0FD1-7BDF4E7A4022}"/>
                  </a:ext>
                </a:extLst>
              </p:cNvPr>
              <p:cNvGrpSpPr/>
              <p:nvPr/>
            </p:nvGrpSpPr>
            <p:grpSpPr>
              <a:xfrm>
                <a:off x="9825292" y="5662181"/>
                <a:ext cx="45845" cy="147299"/>
                <a:chOff x="9825292" y="5662181"/>
                <a:chExt cx="45845" cy="147299"/>
              </a:xfrm>
              <a:grpFill/>
            </p:grpSpPr>
            <p:sp>
              <p:nvSpPr>
                <p:cNvPr id="4193" name="Freeform 5385">
                  <a:extLst>
                    <a:ext uri="{FF2B5EF4-FFF2-40B4-BE49-F238E27FC236}">
                      <a16:creationId xmlns:a16="http://schemas.microsoft.com/office/drawing/2014/main" id="{0EAC1784-E68E-33CE-9ED7-2F8C59FC6866}"/>
                    </a:ext>
                  </a:extLst>
                </p:cNvPr>
                <p:cNvSpPr/>
                <p:nvPr/>
              </p:nvSpPr>
              <p:spPr>
                <a:xfrm>
                  <a:off x="9844167" y="5681773"/>
                  <a:ext cx="8967" cy="51442"/>
                </a:xfrm>
                <a:custGeom>
                  <a:avLst/>
                  <a:gdLst>
                    <a:gd name="connsiteX0" fmla="*/ 8968 w 8967"/>
                    <a:gd name="connsiteY0" fmla="*/ 0 h 51442"/>
                    <a:gd name="connsiteX1" fmla="*/ 4110 w 8967"/>
                    <a:gd name="connsiteY1" fmla="*/ 18185 h 51442"/>
                    <a:gd name="connsiteX2" fmla="*/ 4733 w 8967"/>
                    <a:gd name="connsiteY2" fmla="*/ 35623 h 51442"/>
                    <a:gd name="connsiteX3" fmla="*/ 0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8968" y="0"/>
                      </a:moveTo>
                      <a:cubicBezTo>
                        <a:pt x="5231" y="7598"/>
                        <a:pt x="4235" y="13826"/>
                        <a:pt x="4110" y="18185"/>
                      </a:cubicBezTo>
                      <a:cubicBezTo>
                        <a:pt x="3737" y="25161"/>
                        <a:pt x="5356" y="28523"/>
                        <a:pt x="4733" y="35623"/>
                      </a:cubicBezTo>
                      <a:cubicBezTo>
                        <a:pt x="4110" y="42474"/>
                        <a:pt x="1868"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4" name="Freeform 5386">
                  <a:extLst>
                    <a:ext uri="{FF2B5EF4-FFF2-40B4-BE49-F238E27FC236}">
                      <a16:creationId xmlns:a16="http://schemas.microsoft.com/office/drawing/2014/main" id="{A5D61A46-74A7-6AFD-87CF-39FA2114F9C1}"/>
                    </a:ext>
                  </a:extLst>
                </p:cNvPr>
                <p:cNvSpPr/>
                <p:nvPr/>
              </p:nvSpPr>
              <p:spPr>
                <a:xfrm>
                  <a:off x="9852767" y="5677911"/>
                  <a:ext cx="8681" cy="51566"/>
                </a:xfrm>
                <a:custGeom>
                  <a:avLst/>
                  <a:gdLst>
                    <a:gd name="connsiteX0" fmla="*/ 492 w 8681"/>
                    <a:gd name="connsiteY0" fmla="*/ 51567 h 51566"/>
                    <a:gd name="connsiteX1" fmla="*/ 1488 w 8681"/>
                    <a:gd name="connsiteY1" fmla="*/ 32758 h 51566"/>
                    <a:gd name="connsiteX2" fmla="*/ 7591 w 8681"/>
                    <a:gd name="connsiteY2" fmla="*/ 16441 h 51566"/>
                    <a:gd name="connsiteX3" fmla="*/ 8089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2" y="51567"/>
                      </a:moveTo>
                      <a:cubicBezTo>
                        <a:pt x="-630" y="43221"/>
                        <a:pt x="367" y="36993"/>
                        <a:pt x="1488" y="32758"/>
                      </a:cubicBezTo>
                      <a:cubicBezTo>
                        <a:pt x="3356" y="26033"/>
                        <a:pt x="5972" y="23292"/>
                        <a:pt x="7591" y="16441"/>
                      </a:cubicBezTo>
                      <a:cubicBezTo>
                        <a:pt x="9211" y="9715"/>
                        <a:pt x="8712" y="3861"/>
                        <a:pt x="80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5" name="Freeform 5387">
                  <a:extLst>
                    <a:ext uri="{FF2B5EF4-FFF2-40B4-BE49-F238E27FC236}">
                      <a16:creationId xmlns:a16="http://schemas.microsoft.com/office/drawing/2014/main" id="{B00DBFB1-E4CB-98FE-F744-E4F2AB0DC483}"/>
                    </a:ext>
                  </a:extLst>
                </p:cNvPr>
                <p:cNvSpPr/>
                <p:nvPr/>
              </p:nvSpPr>
              <p:spPr>
                <a:xfrm>
                  <a:off x="9844382" y="5662181"/>
                  <a:ext cx="26754" cy="26478"/>
                </a:xfrm>
                <a:custGeom>
                  <a:avLst/>
                  <a:gdLst>
                    <a:gd name="connsiteX0" fmla="*/ 26564 w 26754"/>
                    <a:gd name="connsiteY0" fmla="*/ 15357 h 26478"/>
                    <a:gd name="connsiteX1" fmla="*/ 11243 w 26754"/>
                    <a:gd name="connsiteY1" fmla="*/ 26318 h 26478"/>
                    <a:gd name="connsiteX2" fmla="*/ 157 w 26754"/>
                    <a:gd name="connsiteY2" fmla="*/ 11122 h 26478"/>
                    <a:gd name="connsiteX3" fmla="*/ 15479 w 26754"/>
                    <a:gd name="connsiteY3" fmla="*/ 161 h 26478"/>
                    <a:gd name="connsiteX4" fmla="*/ 26564 w 26754"/>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26564" y="15357"/>
                      </a:moveTo>
                      <a:cubicBezTo>
                        <a:pt x="25443" y="22581"/>
                        <a:pt x="18593" y="27439"/>
                        <a:pt x="11243" y="26318"/>
                      </a:cubicBezTo>
                      <a:cubicBezTo>
                        <a:pt x="4019" y="25197"/>
                        <a:pt x="-963" y="18346"/>
                        <a:pt x="157" y="11122"/>
                      </a:cubicBezTo>
                      <a:cubicBezTo>
                        <a:pt x="1279" y="3897"/>
                        <a:pt x="8129" y="-961"/>
                        <a:pt x="15479" y="161"/>
                      </a:cubicBezTo>
                      <a:cubicBezTo>
                        <a:pt x="22827" y="1282"/>
                        <a:pt x="27810" y="8132"/>
                        <a:pt x="26564"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6" name="Freeform 5388">
                  <a:extLst>
                    <a:ext uri="{FF2B5EF4-FFF2-40B4-BE49-F238E27FC236}">
                      <a16:creationId xmlns:a16="http://schemas.microsoft.com/office/drawing/2014/main" id="{3A1B60A5-0FA0-E861-A8DE-C65E5D34B824}"/>
                    </a:ext>
                  </a:extLst>
                </p:cNvPr>
                <p:cNvSpPr/>
                <p:nvPr/>
              </p:nvSpPr>
              <p:spPr>
                <a:xfrm>
                  <a:off x="9843045" y="5738321"/>
                  <a:ext cx="8968" cy="51442"/>
                </a:xfrm>
                <a:custGeom>
                  <a:avLst/>
                  <a:gdLst>
                    <a:gd name="connsiteX0" fmla="*/ 0 w 8968"/>
                    <a:gd name="connsiteY0" fmla="*/ 51442 h 51442"/>
                    <a:gd name="connsiteX1" fmla="*/ 4858 w 8968"/>
                    <a:gd name="connsiteY1" fmla="*/ 33257 h 51442"/>
                    <a:gd name="connsiteX2" fmla="*/ 4235 w 8968"/>
                    <a:gd name="connsiteY2" fmla="*/ 15819 h 51442"/>
                    <a:gd name="connsiteX3" fmla="*/ 8969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0" y="51442"/>
                      </a:moveTo>
                      <a:cubicBezTo>
                        <a:pt x="3737" y="43845"/>
                        <a:pt x="4733" y="37617"/>
                        <a:pt x="4858" y="33257"/>
                      </a:cubicBezTo>
                      <a:cubicBezTo>
                        <a:pt x="5231" y="26282"/>
                        <a:pt x="3613" y="22919"/>
                        <a:pt x="4235" y="15819"/>
                      </a:cubicBezTo>
                      <a:cubicBezTo>
                        <a:pt x="4858" y="8968"/>
                        <a:pt x="7100" y="3488"/>
                        <a:pt x="89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7" name="Freeform 5389">
                  <a:extLst>
                    <a:ext uri="{FF2B5EF4-FFF2-40B4-BE49-F238E27FC236}">
                      <a16:creationId xmlns:a16="http://schemas.microsoft.com/office/drawing/2014/main" id="{2F575A80-3BC3-9FBB-19CF-85154CF60598}"/>
                    </a:ext>
                  </a:extLst>
                </p:cNvPr>
                <p:cNvSpPr/>
                <p:nvPr/>
              </p:nvSpPr>
              <p:spPr>
                <a:xfrm>
                  <a:off x="9834731" y="5742058"/>
                  <a:ext cx="8680" cy="51566"/>
                </a:xfrm>
                <a:custGeom>
                  <a:avLst/>
                  <a:gdLst>
                    <a:gd name="connsiteX0" fmla="*/ 8189 w 8680"/>
                    <a:gd name="connsiteY0" fmla="*/ 0 h 51566"/>
                    <a:gd name="connsiteX1" fmla="*/ 7193 w 8680"/>
                    <a:gd name="connsiteY1" fmla="*/ 18808 h 51566"/>
                    <a:gd name="connsiteX2" fmla="*/ 1089 w 8680"/>
                    <a:gd name="connsiteY2" fmla="*/ 35125 h 51566"/>
                    <a:gd name="connsiteX3" fmla="*/ 591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8189" y="0"/>
                      </a:moveTo>
                      <a:cubicBezTo>
                        <a:pt x="9311" y="8345"/>
                        <a:pt x="8314" y="14573"/>
                        <a:pt x="7193" y="18808"/>
                      </a:cubicBezTo>
                      <a:cubicBezTo>
                        <a:pt x="5325" y="25534"/>
                        <a:pt x="2709" y="28274"/>
                        <a:pt x="1089" y="35125"/>
                      </a:cubicBezTo>
                      <a:cubicBezTo>
                        <a:pt x="-529" y="41851"/>
                        <a:pt x="-31" y="47705"/>
                        <a:pt x="59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8" name="Freeform 5390">
                  <a:extLst>
                    <a:ext uri="{FF2B5EF4-FFF2-40B4-BE49-F238E27FC236}">
                      <a16:creationId xmlns:a16="http://schemas.microsoft.com/office/drawing/2014/main" id="{9789DFBF-68E8-8ED9-9135-B10CF38DFA6A}"/>
                    </a:ext>
                  </a:extLst>
                </p:cNvPr>
                <p:cNvSpPr/>
                <p:nvPr/>
              </p:nvSpPr>
              <p:spPr>
                <a:xfrm>
                  <a:off x="9825292" y="5782971"/>
                  <a:ext cx="26293" cy="26508"/>
                </a:xfrm>
                <a:custGeom>
                  <a:avLst/>
                  <a:gdLst>
                    <a:gd name="connsiteX0" fmla="*/ 191 w 26293"/>
                    <a:gd name="connsiteY0" fmla="*/ 11152 h 26508"/>
                    <a:gd name="connsiteX1" fmla="*/ 15262 w 26293"/>
                    <a:gd name="connsiteY1" fmla="*/ 191 h 26508"/>
                    <a:gd name="connsiteX2" fmla="*/ 26099 w 26293"/>
                    <a:gd name="connsiteY2" fmla="*/ 15387 h 26508"/>
                    <a:gd name="connsiteX3" fmla="*/ 11028 w 26293"/>
                    <a:gd name="connsiteY3" fmla="*/ 26348 h 26508"/>
                    <a:gd name="connsiteX4" fmla="*/ 191 w 2629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08">
                      <a:moveTo>
                        <a:pt x="191" y="11152"/>
                      </a:moveTo>
                      <a:cubicBezTo>
                        <a:pt x="1312" y="3928"/>
                        <a:pt x="8038" y="-1055"/>
                        <a:pt x="15262" y="191"/>
                      </a:cubicBezTo>
                      <a:cubicBezTo>
                        <a:pt x="22487" y="1437"/>
                        <a:pt x="27345" y="8163"/>
                        <a:pt x="26099" y="15387"/>
                      </a:cubicBezTo>
                      <a:cubicBezTo>
                        <a:pt x="24978" y="22612"/>
                        <a:pt x="18128" y="27469"/>
                        <a:pt x="11028" y="26348"/>
                      </a:cubicBezTo>
                      <a:cubicBezTo>
                        <a:pt x="3928" y="25227"/>
                        <a:pt x="-1055" y="18376"/>
                        <a:pt x="19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2" name="Graphic 2987">
                <a:extLst>
                  <a:ext uri="{FF2B5EF4-FFF2-40B4-BE49-F238E27FC236}">
                    <a16:creationId xmlns:a16="http://schemas.microsoft.com/office/drawing/2014/main" id="{F4F1118F-E621-963A-D651-F32A067B6C87}"/>
                  </a:ext>
                </a:extLst>
              </p:cNvPr>
              <p:cNvGrpSpPr/>
              <p:nvPr/>
            </p:nvGrpSpPr>
            <p:grpSpPr>
              <a:xfrm>
                <a:off x="9854219" y="5666914"/>
                <a:ext cx="46407" cy="147299"/>
                <a:chOff x="9854219" y="5666914"/>
                <a:chExt cx="46407" cy="147299"/>
              </a:xfrm>
              <a:grpFill/>
            </p:grpSpPr>
            <p:sp>
              <p:nvSpPr>
                <p:cNvPr id="4187" name="Freeform 5392">
                  <a:extLst>
                    <a:ext uri="{FF2B5EF4-FFF2-40B4-BE49-F238E27FC236}">
                      <a16:creationId xmlns:a16="http://schemas.microsoft.com/office/drawing/2014/main" id="{60F37888-D04A-FAE5-496F-C3C0E2D40E59}"/>
                    </a:ext>
                  </a:extLst>
                </p:cNvPr>
                <p:cNvSpPr/>
                <p:nvPr/>
              </p:nvSpPr>
              <p:spPr>
                <a:xfrm>
                  <a:off x="9873437" y="5686505"/>
                  <a:ext cx="9092" cy="51442"/>
                </a:xfrm>
                <a:custGeom>
                  <a:avLst/>
                  <a:gdLst>
                    <a:gd name="connsiteX0" fmla="*/ 9092 w 9092"/>
                    <a:gd name="connsiteY0" fmla="*/ 0 h 51442"/>
                    <a:gd name="connsiteX1" fmla="*/ 4111 w 9092"/>
                    <a:gd name="connsiteY1" fmla="*/ 18186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474"/>
                        <a:pt x="4360" y="13826"/>
                        <a:pt x="4111" y="18186"/>
                      </a:cubicBezTo>
                      <a:cubicBezTo>
                        <a:pt x="3737" y="25161"/>
                        <a:pt x="5356" y="28524"/>
                        <a:pt x="4733" y="35624"/>
                      </a:cubicBezTo>
                      <a:cubicBezTo>
                        <a:pt x="4111"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8" name="Freeform 5393">
                  <a:extLst>
                    <a:ext uri="{FF2B5EF4-FFF2-40B4-BE49-F238E27FC236}">
                      <a16:creationId xmlns:a16="http://schemas.microsoft.com/office/drawing/2014/main" id="{AADB4D53-6B50-35EF-C10A-8733256C0C97}"/>
                    </a:ext>
                  </a:extLst>
                </p:cNvPr>
                <p:cNvSpPr/>
                <p:nvPr/>
              </p:nvSpPr>
              <p:spPr>
                <a:xfrm>
                  <a:off x="9882042" y="5682769"/>
                  <a:ext cx="8926" cy="51567"/>
                </a:xfrm>
                <a:custGeom>
                  <a:avLst/>
                  <a:gdLst>
                    <a:gd name="connsiteX0" fmla="*/ 487 w 8926"/>
                    <a:gd name="connsiteY0" fmla="*/ 51567 h 51567"/>
                    <a:gd name="connsiteX1" fmla="*/ 1609 w 8926"/>
                    <a:gd name="connsiteY1" fmla="*/ 32759 h 51567"/>
                    <a:gd name="connsiteX2" fmla="*/ 7837 w 8926"/>
                    <a:gd name="connsiteY2" fmla="*/ 16442 h 51567"/>
                    <a:gd name="connsiteX3" fmla="*/ 8335 w 8926"/>
                    <a:gd name="connsiteY3" fmla="*/ 0 h 51567"/>
                  </a:gdLst>
                  <a:ahLst/>
                  <a:cxnLst>
                    <a:cxn ang="0">
                      <a:pos x="connsiteX0" y="connsiteY0"/>
                    </a:cxn>
                    <a:cxn ang="0">
                      <a:pos x="connsiteX1" y="connsiteY1"/>
                    </a:cxn>
                    <a:cxn ang="0">
                      <a:pos x="connsiteX2" y="connsiteY2"/>
                    </a:cxn>
                    <a:cxn ang="0">
                      <a:pos x="connsiteX3" y="connsiteY3"/>
                    </a:cxn>
                  </a:cxnLst>
                  <a:rect l="l" t="t" r="r" b="b"/>
                  <a:pathLst>
                    <a:path w="8926" h="51567">
                      <a:moveTo>
                        <a:pt x="487" y="51567"/>
                      </a:moveTo>
                      <a:cubicBezTo>
                        <a:pt x="-633" y="43222"/>
                        <a:pt x="364" y="36994"/>
                        <a:pt x="1609" y="32759"/>
                      </a:cubicBezTo>
                      <a:cubicBezTo>
                        <a:pt x="3478" y="26033"/>
                        <a:pt x="6093" y="23417"/>
                        <a:pt x="7837" y="16442"/>
                      </a:cubicBezTo>
                      <a:cubicBezTo>
                        <a:pt x="9456" y="9715"/>
                        <a:pt x="8958" y="3861"/>
                        <a:pt x="8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9" name="Freeform 5394">
                  <a:extLst>
                    <a:ext uri="{FF2B5EF4-FFF2-40B4-BE49-F238E27FC236}">
                      <a16:creationId xmlns:a16="http://schemas.microsoft.com/office/drawing/2014/main" id="{07BD81D8-8170-0D6D-F258-370C89BFD21E}"/>
                    </a:ext>
                  </a:extLst>
                </p:cNvPr>
                <p:cNvSpPr/>
                <p:nvPr/>
              </p:nvSpPr>
              <p:spPr>
                <a:xfrm>
                  <a:off x="9873994" y="5666914"/>
                  <a:ext cx="26633" cy="26478"/>
                </a:xfrm>
                <a:custGeom>
                  <a:avLst/>
                  <a:gdLst>
                    <a:gd name="connsiteX0" fmla="*/ 26472 w 26633"/>
                    <a:gd name="connsiteY0" fmla="*/ 15357 h 26478"/>
                    <a:gd name="connsiteX1" fmla="*/ 11152 w 26633"/>
                    <a:gd name="connsiteY1" fmla="*/ 26318 h 26478"/>
                    <a:gd name="connsiteX2" fmla="*/ 191 w 26633"/>
                    <a:gd name="connsiteY2" fmla="*/ 11122 h 26478"/>
                    <a:gd name="connsiteX3" fmla="*/ 15511 w 26633"/>
                    <a:gd name="connsiteY3" fmla="*/ 161 h 26478"/>
                    <a:gd name="connsiteX4" fmla="*/ 26472 w 2663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26472" y="15357"/>
                      </a:moveTo>
                      <a:cubicBezTo>
                        <a:pt x="25227" y="22581"/>
                        <a:pt x="18377" y="27439"/>
                        <a:pt x="11152" y="26318"/>
                      </a:cubicBezTo>
                      <a:cubicBezTo>
                        <a:pt x="3928" y="25197"/>
                        <a:pt x="-1054" y="18346"/>
                        <a:pt x="191" y="11122"/>
                      </a:cubicBezTo>
                      <a:cubicBezTo>
                        <a:pt x="1312" y="3898"/>
                        <a:pt x="8288" y="-960"/>
                        <a:pt x="15511" y="161"/>
                      </a:cubicBezTo>
                      <a:cubicBezTo>
                        <a:pt x="22736" y="1282"/>
                        <a:pt x="27594" y="8133"/>
                        <a:pt x="26472"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0" name="Freeform 5395">
                  <a:extLst>
                    <a:ext uri="{FF2B5EF4-FFF2-40B4-BE49-F238E27FC236}">
                      <a16:creationId xmlns:a16="http://schemas.microsoft.com/office/drawing/2014/main" id="{56BCEC1B-9FBE-8520-2E5D-6A73233C1F8E}"/>
                    </a:ext>
                  </a:extLst>
                </p:cNvPr>
                <p:cNvSpPr/>
                <p:nvPr/>
              </p:nvSpPr>
              <p:spPr>
                <a:xfrm>
                  <a:off x="9872067" y="5743055"/>
                  <a:ext cx="9092" cy="51442"/>
                </a:xfrm>
                <a:custGeom>
                  <a:avLst/>
                  <a:gdLst>
                    <a:gd name="connsiteX0" fmla="*/ 0 w 9092"/>
                    <a:gd name="connsiteY0" fmla="*/ 51442 h 51442"/>
                    <a:gd name="connsiteX1" fmla="*/ 4982 w 9092"/>
                    <a:gd name="connsiteY1" fmla="*/ 33257 h 51442"/>
                    <a:gd name="connsiteX2" fmla="*/ 4359 w 9092"/>
                    <a:gd name="connsiteY2" fmla="*/ 15819 h 51442"/>
                    <a:gd name="connsiteX3" fmla="*/ 9092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5"/>
                        <a:pt x="4733" y="37617"/>
                        <a:pt x="4982" y="33257"/>
                      </a:cubicBezTo>
                      <a:cubicBezTo>
                        <a:pt x="5356" y="26282"/>
                        <a:pt x="3737" y="22919"/>
                        <a:pt x="4359" y="15819"/>
                      </a:cubicBezTo>
                      <a:cubicBezTo>
                        <a:pt x="4982" y="8968"/>
                        <a:pt x="7348" y="3488"/>
                        <a:pt x="90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1" name="Freeform 5396">
                  <a:extLst>
                    <a:ext uri="{FF2B5EF4-FFF2-40B4-BE49-F238E27FC236}">
                      <a16:creationId xmlns:a16="http://schemas.microsoft.com/office/drawing/2014/main" id="{71A51B51-1A35-5B39-C453-92EE6EDD46B2}"/>
                    </a:ext>
                  </a:extLst>
                </p:cNvPr>
                <p:cNvSpPr/>
                <p:nvPr/>
              </p:nvSpPr>
              <p:spPr>
                <a:xfrm>
                  <a:off x="9863878" y="5746792"/>
                  <a:ext cx="8802" cy="51566"/>
                </a:xfrm>
                <a:custGeom>
                  <a:avLst/>
                  <a:gdLst>
                    <a:gd name="connsiteX0" fmla="*/ 8315 w 8802"/>
                    <a:gd name="connsiteY0" fmla="*/ 0 h 51566"/>
                    <a:gd name="connsiteX1" fmla="*/ 7193 w 8802"/>
                    <a:gd name="connsiteY1" fmla="*/ 18808 h 51566"/>
                    <a:gd name="connsiteX2" fmla="*/ 1090 w 8802"/>
                    <a:gd name="connsiteY2" fmla="*/ 35125 h 51566"/>
                    <a:gd name="connsiteX3" fmla="*/ 592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8315" y="0"/>
                      </a:moveTo>
                      <a:cubicBezTo>
                        <a:pt x="9435" y="8345"/>
                        <a:pt x="8439" y="14573"/>
                        <a:pt x="7193" y="18808"/>
                      </a:cubicBezTo>
                      <a:cubicBezTo>
                        <a:pt x="5325" y="25534"/>
                        <a:pt x="2709" y="28150"/>
                        <a:pt x="1090" y="35125"/>
                      </a:cubicBezTo>
                      <a:cubicBezTo>
                        <a:pt x="-529" y="41851"/>
                        <a:pt x="-31" y="47705"/>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2" name="Freeform 5397">
                  <a:extLst>
                    <a:ext uri="{FF2B5EF4-FFF2-40B4-BE49-F238E27FC236}">
                      <a16:creationId xmlns:a16="http://schemas.microsoft.com/office/drawing/2014/main" id="{4F677133-87DC-03C3-1CB5-22E52B9E9D6E}"/>
                    </a:ext>
                  </a:extLst>
                </p:cNvPr>
                <p:cNvSpPr/>
                <p:nvPr/>
              </p:nvSpPr>
              <p:spPr>
                <a:xfrm>
                  <a:off x="9854219" y="5787735"/>
                  <a:ext cx="26232" cy="26478"/>
                </a:xfrm>
                <a:custGeom>
                  <a:avLst/>
                  <a:gdLst>
                    <a:gd name="connsiteX0" fmla="*/ 161 w 26232"/>
                    <a:gd name="connsiteY0" fmla="*/ 11122 h 26478"/>
                    <a:gd name="connsiteX1" fmla="*/ 15232 w 26232"/>
                    <a:gd name="connsiteY1" fmla="*/ 161 h 26478"/>
                    <a:gd name="connsiteX2" fmla="*/ 26068 w 26232"/>
                    <a:gd name="connsiteY2" fmla="*/ 15357 h 26478"/>
                    <a:gd name="connsiteX3" fmla="*/ 10997 w 26232"/>
                    <a:gd name="connsiteY3" fmla="*/ 26318 h 26478"/>
                    <a:gd name="connsiteX4" fmla="*/ 161 w 2623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477">
                      <a:moveTo>
                        <a:pt x="161" y="11122"/>
                      </a:moveTo>
                      <a:cubicBezTo>
                        <a:pt x="1282" y="3897"/>
                        <a:pt x="8132" y="-960"/>
                        <a:pt x="15232" y="161"/>
                      </a:cubicBezTo>
                      <a:cubicBezTo>
                        <a:pt x="22457" y="1282"/>
                        <a:pt x="27190" y="8132"/>
                        <a:pt x="26068" y="15357"/>
                      </a:cubicBezTo>
                      <a:cubicBezTo>
                        <a:pt x="24823" y="22581"/>
                        <a:pt x="18097" y="27439"/>
                        <a:pt x="10997" y="26318"/>
                      </a:cubicBezTo>
                      <a:cubicBezTo>
                        <a:pt x="3898" y="25072"/>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3" name="Graphic 2987">
                <a:extLst>
                  <a:ext uri="{FF2B5EF4-FFF2-40B4-BE49-F238E27FC236}">
                    <a16:creationId xmlns:a16="http://schemas.microsoft.com/office/drawing/2014/main" id="{DDDC0F0A-E941-47E6-F913-C1E9DBFA1118}"/>
                  </a:ext>
                </a:extLst>
              </p:cNvPr>
              <p:cNvGrpSpPr/>
              <p:nvPr/>
            </p:nvGrpSpPr>
            <p:grpSpPr>
              <a:xfrm>
                <a:off x="9883207" y="5671772"/>
                <a:ext cx="46849" cy="147175"/>
                <a:chOff x="9883207" y="5671772"/>
                <a:chExt cx="46849" cy="147175"/>
              </a:xfrm>
              <a:grpFill/>
            </p:grpSpPr>
            <p:sp>
              <p:nvSpPr>
                <p:cNvPr id="4181" name="Freeform 5399">
                  <a:extLst>
                    <a:ext uri="{FF2B5EF4-FFF2-40B4-BE49-F238E27FC236}">
                      <a16:creationId xmlns:a16="http://schemas.microsoft.com/office/drawing/2014/main" id="{FCBC2474-E6BF-CD17-7DBE-07E13250ECC7}"/>
                    </a:ext>
                  </a:extLst>
                </p:cNvPr>
                <p:cNvSpPr/>
                <p:nvPr/>
              </p:nvSpPr>
              <p:spPr>
                <a:xfrm>
                  <a:off x="9902460" y="5691363"/>
                  <a:ext cx="9466" cy="51317"/>
                </a:xfrm>
                <a:custGeom>
                  <a:avLst/>
                  <a:gdLst>
                    <a:gd name="connsiteX0" fmla="*/ 9467 w 9466"/>
                    <a:gd name="connsiteY0" fmla="*/ 0 h 51317"/>
                    <a:gd name="connsiteX1" fmla="*/ 4359 w 9466"/>
                    <a:gd name="connsiteY1" fmla="*/ 18061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29" y="7474"/>
                        <a:pt x="4609" y="13826"/>
                        <a:pt x="4359" y="18061"/>
                      </a:cubicBezTo>
                      <a:cubicBezTo>
                        <a:pt x="3986" y="25036"/>
                        <a:pt x="5605" y="28399"/>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2" name="Freeform 5400">
                  <a:extLst>
                    <a:ext uri="{FF2B5EF4-FFF2-40B4-BE49-F238E27FC236}">
                      <a16:creationId xmlns:a16="http://schemas.microsoft.com/office/drawing/2014/main" id="{06C87854-E5D7-E4B1-E5AB-E3C145FCAE4C}"/>
                    </a:ext>
                  </a:extLst>
                </p:cNvPr>
                <p:cNvSpPr/>
                <p:nvPr/>
              </p:nvSpPr>
              <p:spPr>
                <a:xfrm>
                  <a:off x="9911212" y="5687502"/>
                  <a:ext cx="8968" cy="51566"/>
                </a:xfrm>
                <a:custGeom>
                  <a:avLst/>
                  <a:gdLst>
                    <a:gd name="connsiteX0" fmla="*/ 464 w 8968"/>
                    <a:gd name="connsiteY0" fmla="*/ 51567 h 51566"/>
                    <a:gd name="connsiteX1" fmla="*/ 1586 w 8968"/>
                    <a:gd name="connsiteY1" fmla="*/ 32759 h 51566"/>
                    <a:gd name="connsiteX2" fmla="*/ 7814 w 8968"/>
                    <a:gd name="connsiteY2" fmla="*/ 16442 h 51566"/>
                    <a:gd name="connsiteX3" fmla="*/ 8436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464" y="51567"/>
                      </a:moveTo>
                      <a:cubicBezTo>
                        <a:pt x="-657" y="43222"/>
                        <a:pt x="464" y="36994"/>
                        <a:pt x="1586" y="32759"/>
                      </a:cubicBezTo>
                      <a:cubicBezTo>
                        <a:pt x="3454" y="26033"/>
                        <a:pt x="6070" y="23417"/>
                        <a:pt x="7814" y="16442"/>
                      </a:cubicBezTo>
                      <a:cubicBezTo>
                        <a:pt x="9432" y="9715"/>
                        <a:pt x="9059"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3" name="Freeform 5401">
                  <a:extLst>
                    <a:ext uri="{FF2B5EF4-FFF2-40B4-BE49-F238E27FC236}">
                      <a16:creationId xmlns:a16="http://schemas.microsoft.com/office/drawing/2014/main" id="{66315A51-A459-E9A3-6466-3CFE04E91FFF}"/>
                    </a:ext>
                  </a:extLst>
                </p:cNvPr>
                <p:cNvSpPr/>
                <p:nvPr/>
              </p:nvSpPr>
              <p:spPr>
                <a:xfrm>
                  <a:off x="9903389" y="5671772"/>
                  <a:ext cx="26667" cy="26478"/>
                </a:xfrm>
                <a:custGeom>
                  <a:avLst/>
                  <a:gdLst>
                    <a:gd name="connsiteX0" fmla="*/ 26473 w 26667"/>
                    <a:gd name="connsiteY0" fmla="*/ 15357 h 26478"/>
                    <a:gd name="connsiteX1" fmla="*/ 11152 w 26667"/>
                    <a:gd name="connsiteY1" fmla="*/ 26318 h 26478"/>
                    <a:gd name="connsiteX2" fmla="*/ 191 w 26667"/>
                    <a:gd name="connsiteY2" fmla="*/ 11122 h 26478"/>
                    <a:gd name="connsiteX3" fmla="*/ 15512 w 26667"/>
                    <a:gd name="connsiteY3" fmla="*/ 161 h 26478"/>
                    <a:gd name="connsiteX4" fmla="*/ 26473 w 26667"/>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77">
                      <a:moveTo>
                        <a:pt x="26473" y="15357"/>
                      </a:moveTo>
                      <a:cubicBezTo>
                        <a:pt x="25227" y="22581"/>
                        <a:pt x="18377" y="27439"/>
                        <a:pt x="11152" y="26318"/>
                      </a:cubicBezTo>
                      <a:cubicBezTo>
                        <a:pt x="3928" y="25197"/>
                        <a:pt x="-1054" y="18346"/>
                        <a:pt x="191" y="11122"/>
                      </a:cubicBezTo>
                      <a:cubicBezTo>
                        <a:pt x="1437" y="3897"/>
                        <a:pt x="8287" y="-960"/>
                        <a:pt x="15512" y="161"/>
                      </a:cubicBezTo>
                      <a:cubicBezTo>
                        <a:pt x="22861" y="1282"/>
                        <a:pt x="27718" y="8132"/>
                        <a:pt x="26473"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4" name="Freeform 5402">
                  <a:extLst>
                    <a:ext uri="{FF2B5EF4-FFF2-40B4-BE49-F238E27FC236}">
                      <a16:creationId xmlns:a16="http://schemas.microsoft.com/office/drawing/2014/main" id="{470A6731-1B79-40C0-0F98-A1EBE32084E9}"/>
                    </a:ext>
                  </a:extLst>
                </p:cNvPr>
                <p:cNvSpPr/>
                <p:nvPr/>
              </p:nvSpPr>
              <p:spPr>
                <a:xfrm>
                  <a:off x="9901090" y="5747788"/>
                  <a:ext cx="9465" cy="51442"/>
                </a:xfrm>
                <a:custGeom>
                  <a:avLst/>
                  <a:gdLst>
                    <a:gd name="connsiteX0" fmla="*/ 0 w 9465"/>
                    <a:gd name="connsiteY0" fmla="*/ 51442 h 51442"/>
                    <a:gd name="connsiteX1" fmla="*/ 5107 w 9465"/>
                    <a:gd name="connsiteY1" fmla="*/ 33257 h 51442"/>
                    <a:gd name="connsiteX2" fmla="*/ 4609 w 9465"/>
                    <a:gd name="connsiteY2" fmla="*/ 15819 h 51442"/>
                    <a:gd name="connsiteX3" fmla="*/ 9466 w 9465"/>
                    <a:gd name="connsiteY3" fmla="*/ 0 h 51442"/>
                  </a:gdLst>
                  <a:ahLst/>
                  <a:cxnLst>
                    <a:cxn ang="0">
                      <a:pos x="connsiteX0" y="connsiteY0"/>
                    </a:cxn>
                    <a:cxn ang="0">
                      <a:pos x="connsiteX1" y="connsiteY1"/>
                    </a:cxn>
                    <a:cxn ang="0">
                      <a:pos x="connsiteX2" y="connsiteY2"/>
                    </a:cxn>
                    <a:cxn ang="0">
                      <a:pos x="connsiteX3" y="connsiteY3"/>
                    </a:cxn>
                  </a:cxnLst>
                  <a:rect l="l" t="t" r="r" b="b"/>
                  <a:pathLst>
                    <a:path w="9465" h="51442">
                      <a:moveTo>
                        <a:pt x="0" y="51442"/>
                      </a:moveTo>
                      <a:cubicBezTo>
                        <a:pt x="3737" y="43969"/>
                        <a:pt x="4857" y="37616"/>
                        <a:pt x="5107" y="33257"/>
                      </a:cubicBezTo>
                      <a:cubicBezTo>
                        <a:pt x="5481" y="26281"/>
                        <a:pt x="3861" y="22919"/>
                        <a:pt x="4609" y="15819"/>
                      </a:cubicBezTo>
                      <a:cubicBezTo>
                        <a:pt x="5231" y="8968"/>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5" name="Freeform 5403">
                  <a:extLst>
                    <a:ext uri="{FF2B5EF4-FFF2-40B4-BE49-F238E27FC236}">
                      <a16:creationId xmlns:a16="http://schemas.microsoft.com/office/drawing/2014/main" id="{2DC1AC3D-855E-3DBE-573F-D23F644FA1D4}"/>
                    </a:ext>
                  </a:extLst>
                </p:cNvPr>
                <p:cNvSpPr/>
                <p:nvPr/>
              </p:nvSpPr>
              <p:spPr>
                <a:xfrm>
                  <a:off x="9892835" y="5751525"/>
                  <a:ext cx="8967" cy="51567"/>
                </a:xfrm>
                <a:custGeom>
                  <a:avLst/>
                  <a:gdLst>
                    <a:gd name="connsiteX0" fmla="*/ 8503 w 8967"/>
                    <a:gd name="connsiteY0" fmla="*/ 0 h 51567"/>
                    <a:gd name="connsiteX1" fmla="*/ 7383 w 8967"/>
                    <a:gd name="connsiteY1" fmla="*/ 18808 h 51567"/>
                    <a:gd name="connsiteX2" fmla="*/ 1155 w 8967"/>
                    <a:gd name="connsiteY2" fmla="*/ 35125 h 51567"/>
                    <a:gd name="connsiteX3" fmla="*/ 532 w 896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7" h="51567">
                      <a:moveTo>
                        <a:pt x="8503" y="0"/>
                      </a:moveTo>
                      <a:cubicBezTo>
                        <a:pt x="9625" y="8346"/>
                        <a:pt x="8503" y="14573"/>
                        <a:pt x="7383" y="18808"/>
                      </a:cubicBezTo>
                      <a:cubicBezTo>
                        <a:pt x="5514" y="25535"/>
                        <a:pt x="2898" y="28150"/>
                        <a:pt x="1155" y="35125"/>
                      </a:cubicBezTo>
                      <a:cubicBezTo>
                        <a:pt x="-464" y="41852"/>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6" name="Freeform 5404">
                  <a:extLst>
                    <a:ext uri="{FF2B5EF4-FFF2-40B4-BE49-F238E27FC236}">
                      <a16:creationId xmlns:a16="http://schemas.microsoft.com/office/drawing/2014/main" id="{CD8A5E49-5A1F-8A2D-38D5-286A4D289296}"/>
                    </a:ext>
                  </a:extLst>
                </p:cNvPr>
                <p:cNvSpPr/>
                <p:nvPr/>
              </p:nvSpPr>
              <p:spPr>
                <a:xfrm>
                  <a:off x="9883207" y="5792468"/>
                  <a:ext cx="26301" cy="26478"/>
                </a:xfrm>
                <a:custGeom>
                  <a:avLst/>
                  <a:gdLst>
                    <a:gd name="connsiteX0" fmla="*/ 195 w 26301"/>
                    <a:gd name="connsiteY0" fmla="*/ 11122 h 26478"/>
                    <a:gd name="connsiteX1" fmla="*/ 15391 w 26301"/>
                    <a:gd name="connsiteY1" fmla="*/ 161 h 26478"/>
                    <a:gd name="connsiteX2" fmla="*/ 26103 w 26301"/>
                    <a:gd name="connsiteY2" fmla="*/ 15357 h 26478"/>
                    <a:gd name="connsiteX3" fmla="*/ 10907 w 26301"/>
                    <a:gd name="connsiteY3" fmla="*/ 26318 h 26478"/>
                    <a:gd name="connsiteX4" fmla="*/ 195 w 26301"/>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477">
                      <a:moveTo>
                        <a:pt x="195" y="11122"/>
                      </a:moveTo>
                      <a:cubicBezTo>
                        <a:pt x="1441" y="3897"/>
                        <a:pt x="8167" y="-960"/>
                        <a:pt x="15391" y="161"/>
                      </a:cubicBezTo>
                      <a:cubicBezTo>
                        <a:pt x="22616" y="1282"/>
                        <a:pt x="27348" y="8132"/>
                        <a:pt x="26103" y="15357"/>
                      </a:cubicBezTo>
                      <a:cubicBezTo>
                        <a:pt x="24858" y="22581"/>
                        <a:pt x="18131" y="27439"/>
                        <a:pt x="10907" y="26318"/>
                      </a:cubicBezTo>
                      <a:cubicBezTo>
                        <a:pt x="3808" y="25072"/>
                        <a:pt x="-1050"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4" name="Graphic 2987">
                <a:extLst>
                  <a:ext uri="{FF2B5EF4-FFF2-40B4-BE49-F238E27FC236}">
                    <a16:creationId xmlns:a16="http://schemas.microsoft.com/office/drawing/2014/main" id="{2E18401B-A48C-4629-F27D-B2CD91C9ACAA}"/>
                  </a:ext>
                </a:extLst>
              </p:cNvPr>
              <p:cNvGrpSpPr/>
              <p:nvPr/>
            </p:nvGrpSpPr>
            <p:grpSpPr>
              <a:xfrm>
                <a:off x="9912135" y="5676563"/>
                <a:ext cx="47317" cy="147154"/>
                <a:chOff x="9912135" y="5676563"/>
                <a:chExt cx="47317" cy="147154"/>
              </a:xfrm>
              <a:grpFill/>
            </p:grpSpPr>
            <p:sp>
              <p:nvSpPr>
                <p:cNvPr id="4175" name="Freeform 5406">
                  <a:extLst>
                    <a:ext uri="{FF2B5EF4-FFF2-40B4-BE49-F238E27FC236}">
                      <a16:creationId xmlns:a16="http://schemas.microsoft.com/office/drawing/2014/main" id="{E916CC42-BE5F-CECC-535B-143C36F6A8C7}"/>
                    </a:ext>
                  </a:extLst>
                </p:cNvPr>
                <p:cNvSpPr/>
                <p:nvPr/>
              </p:nvSpPr>
              <p:spPr>
                <a:xfrm>
                  <a:off x="9931855" y="5696221"/>
                  <a:ext cx="9466" cy="51193"/>
                </a:xfrm>
                <a:custGeom>
                  <a:avLst/>
                  <a:gdLst>
                    <a:gd name="connsiteX0" fmla="*/ 9467 w 9466"/>
                    <a:gd name="connsiteY0" fmla="*/ 0 h 51193"/>
                    <a:gd name="connsiteX1" fmla="*/ 4359 w 9466"/>
                    <a:gd name="connsiteY1" fmla="*/ 18061 h 51193"/>
                    <a:gd name="connsiteX2" fmla="*/ 4858 w 9466"/>
                    <a:gd name="connsiteY2" fmla="*/ 35499 h 51193"/>
                    <a:gd name="connsiteX3" fmla="*/ 0 w 946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466" h="51193">
                      <a:moveTo>
                        <a:pt x="9467" y="0"/>
                      </a:moveTo>
                      <a:cubicBezTo>
                        <a:pt x="5605" y="7474"/>
                        <a:pt x="4609" y="13701"/>
                        <a:pt x="4359" y="18061"/>
                      </a:cubicBezTo>
                      <a:cubicBezTo>
                        <a:pt x="3986" y="25036"/>
                        <a:pt x="5481" y="28400"/>
                        <a:pt x="4858" y="35499"/>
                      </a:cubicBezTo>
                      <a:cubicBezTo>
                        <a:pt x="4235" y="42350"/>
                        <a:pt x="1869" y="47830"/>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6" name="Freeform 5407">
                  <a:extLst>
                    <a:ext uri="{FF2B5EF4-FFF2-40B4-BE49-F238E27FC236}">
                      <a16:creationId xmlns:a16="http://schemas.microsoft.com/office/drawing/2014/main" id="{E2A78BE3-DC5C-A22F-6C4F-4B14C2DAD5A1}"/>
                    </a:ext>
                  </a:extLst>
                </p:cNvPr>
                <p:cNvSpPr/>
                <p:nvPr/>
              </p:nvSpPr>
              <p:spPr>
                <a:xfrm>
                  <a:off x="9940486" y="5692360"/>
                  <a:ext cx="9089" cy="51567"/>
                </a:xfrm>
                <a:custGeom>
                  <a:avLst/>
                  <a:gdLst>
                    <a:gd name="connsiteX0" fmla="*/ 461 w 9089"/>
                    <a:gd name="connsiteY0" fmla="*/ 51567 h 51567"/>
                    <a:gd name="connsiteX1" fmla="*/ 1707 w 9089"/>
                    <a:gd name="connsiteY1" fmla="*/ 32759 h 51567"/>
                    <a:gd name="connsiteX2" fmla="*/ 7935 w 9089"/>
                    <a:gd name="connsiteY2" fmla="*/ 16566 h 51567"/>
                    <a:gd name="connsiteX3" fmla="*/ 8558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461" y="51567"/>
                      </a:moveTo>
                      <a:cubicBezTo>
                        <a:pt x="-660" y="43222"/>
                        <a:pt x="461" y="36994"/>
                        <a:pt x="1707" y="32759"/>
                      </a:cubicBezTo>
                      <a:cubicBezTo>
                        <a:pt x="3700" y="26033"/>
                        <a:pt x="6316" y="23417"/>
                        <a:pt x="7935" y="16566"/>
                      </a:cubicBezTo>
                      <a:cubicBezTo>
                        <a:pt x="9554" y="9840"/>
                        <a:pt x="9180" y="3986"/>
                        <a:pt x="85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7" name="Freeform 5408">
                  <a:extLst>
                    <a:ext uri="{FF2B5EF4-FFF2-40B4-BE49-F238E27FC236}">
                      <a16:creationId xmlns:a16="http://schemas.microsoft.com/office/drawing/2014/main" id="{3AA56548-1F3D-E06F-5403-F91ED960B61B}"/>
                    </a:ext>
                  </a:extLst>
                </p:cNvPr>
                <p:cNvSpPr/>
                <p:nvPr/>
              </p:nvSpPr>
              <p:spPr>
                <a:xfrm>
                  <a:off x="9932691" y="5676563"/>
                  <a:ext cx="26761" cy="26582"/>
                </a:xfrm>
                <a:custGeom>
                  <a:avLst/>
                  <a:gdLst>
                    <a:gd name="connsiteX0" fmla="*/ 26567 w 26761"/>
                    <a:gd name="connsiteY0" fmla="*/ 15672 h 26582"/>
                    <a:gd name="connsiteX1" fmla="*/ 11122 w 26761"/>
                    <a:gd name="connsiteY1" fmla="*/ 26384 h 26582"/>
                    <a:gd name="connsiteX2" fmla="*/ 161 w 26761"/>
                    <a:gd name="connsiteY2" fmla="*/ 11064 h 26582"/>
                    <a:gd name="connsiteX3" fmla="*/ 15606 w 26761"/>
                    <a:gd name="connsiteY3" fmla="*/ 227 h 26582"/>
                    <a:gd name="connsiteX4" fmla="*/ 26567 w 26761"/>
                    <a:gd name="connsiteY4" fmla="*/ 15672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581">
                      <a:moveTo>
                        <a:pt x="26567" y="15672"/>
                      </a:moveTo>
                      <a:cubicBezTo>
                        <a:pt x="25321" y="22897"/>
                        <a:pt x="18470" y="27630"/>
                        <a:pt x="11122" y="26384"/>
                      </a:cubicBezTo>
                      <a:cubicBezTo>
                        <a:pt x="3897" y="25014"/>
                        <a:pt x="-961" y="18288"/>
                        <a:pt x="161" y="11064"/>
                      </a:cubicBezTo>
                      <a:cubicBezTo>
                        <a:pt x="1406" y="3839"/>
                        <a:pt x="8257" y="-1143"/>
                        <a:pt x="15606" y="227"/>
                      </a:cubicBezTo>
                      <a:cubicBezTo>
                        <a:pt x="22955" y="1473"/>
                        <a:pt x="27812" y="8448"/>
                        <a:pt x="26567" y="156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8" name="Freeform 5409">
                  <a:extLst>
                    <a:ext uri="{FF2B5EF4-FFF2-40B4-BE49-F238E27FC236}">
                      <a16:creationId xmlns:a16="http://schemas.microsoft.com/office/drawing/2014/main" id="{C2FC899E-828E-28FA-234B-80FC8803C937}"/>
                    </a:ext>
                  </a:extLst>
                </p:cNvPr>
                <p:cNvSpPr/>
                <p:nvPr/>
              </p:nvSpPr>
              <p:spPr>
                <a:xfrm>
                  <a:off x="9929986" y="5752895"/>
                  <a:ext cx="9591" cy="51193"/>
                </a:xfrm>
                <a:custGeom>
                  <a:avLst/>
                  <a:gdLst>
                    <a:gd name="connsiteX0" fmla="*/ 0 w 9591"/>
                    <a:gd name="connsiteY0" fmla="*/ 51193 h 51193"/>
                    <a:gd name="connsiteX1" fmla="*/ 5107 w 9591"/>
                    <a:gd name="connsiteY1" fmla="*/ 33132 h 51193"/>
                    <a:gd name="connsiteX2" fmla="*/ 4733 w 9591"/>
                    <a:gd name="connsiteY2" fmla="*/ 15694 h 51193"/>
                    <a:gd name="connsiteX3" fmla="*/ 9591 w 9591"/>
                    <a:gd name="connsiteY3" fmla="*/ 0 h 51193"/>
                  </a:gdLst>
                  <a:ahLst/>
                  <a:cxnLst>
                    <a:cxn ang="0">
                      <a:pos x="connsiteX0" y="connsiteY0"/>
                    </a:cxn>
                    <a:cxn ang="0">
                      <a:pos x="connsiteX1" y="connsiteY1"/>
                    </a:cxn>
                    <a:cxn ang="0">
                      <a:pos x="connsiteX2" y="connsiteY2"/>
                    </a:cxn>
                    <a:cxn ang="0">
                      <a:pos x="connsiteX3" y="connsiteY3"/>
                    </a:cxn>
                  </a:cxnLst>
                  <a:rect l="l" t="t" r="r" b="b"/>
                  <a:pathLst>
                    <a:path w="9591" h="51193">
                      <a:moveTo>
                        <a:pt x="0" y="51193"/>
                      </a:moveTo>
                      <a:cubicBezTo>
                        <a:pt x="3737" y="43720"/>
                        <a:pt x="4858" y="37492"/>
                        <a:pt x="5107" y="33132"/>
                      </a:cubicBezTo>
                      <a:cubicBezTo>
                        <a:pt x="5481" y="26157"/>
                        <a:pt x="3986" y="22794"/>
                        <a:pt x="4733" y="15694"/>
                      </a:cubicBezTo>
                      <a:cubicBezTo>
                        <a:pt x="5481" y="8843"/>
                        <a:pt x="7723" y="3363"/>
                        <a:pt x="9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9" name="Freeform 5410">
                  <a:extLst>
                    <a:ext uri="{FF2B5EF4-FFF2-40B4-BE49-F238E27FC236}">
                      <a16:creationId xmlns:a16="http://schemas.microsoft.com/office/drawing/2014/main" id="{F577574F-59CD-DD6E-F50E-9CBBA97DBC0B}"/>
                    </a:ext>
                  </a:extLst>
                </p:cNvPr>
                <p:cNvSpPr/>
                <p:nvPr/>
              </p:nvSpPr>
              <p:spPr>
                <a:xfrm>
                  <a:off x="9921857" y="5756383"/>
                  <a:ext cx="9089" cy="51566"/>
                </a:xfrm>
                <a:custGeom>
                  <a:avLst/>
                  <a:gdLst>
                    <a:gd name="connsiteX0" fmla="*/ 8628 w 9089"/>
                    <a:gd name="connsiteY0" fmla="*/ 0 h 51566"/>
                    <a:gd name="connsiteX1" fmla="*/ 7382 w 9089"/>
                    <a:gd name="connsiteY1" fmla="*/ 18808 h 51566"/>
                    <a:gd name="connsiteX2" fmla="*/ 1154 w 9089"/>
                    <a:gd name="connsiteY2" fmla="*/ 35001 h 51566"/>
                    <a:gd name="connsiteX3" fmla="*/ 532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8628" y="0"/>
                      </a:moveTo>
                      <a:cubicBezTo>
                        <a:pt x="9749" y="8345"/>
                        <a:pt x="8628" y="14573"/>
                        <a:pt x="7382" y="18808"/>
                      </a:cubicBezTo>
                      <a:cubicBezTo>
                        <a:pt x="5390" y="25534"/>
                        <a:pt x="2898" y="28150"/>
                        <a:pt x="1154"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0" name="Freeform 5411">
                  <a:extLst>
                    <a:ext uri="{FF2B5EF4-FFF2-40B4-BE49-F238E27FC236}">
                      <a16:creationId xmlns:a16="http://schemas.microsoft.com/office/drawing/2014/main" id="{2A38DB40-121A-2202-CF2A-9581C9CCD106}"/>
                    </a:ext>
                  </a:extLst>
                </p:cNvPr>
                <p:cNvSpPr/>
                <p:nvPr/>
              </p:nvSpPr>
              <p:spPr>
                <a:xfrm>
                  <a:off x="9912135" y="5797135"/>
                  <a:ext cx="26267" cy="26582"/>
                </a:xfrm>
                <a:custGeom>
                  <a:avLst/>
                  <a:gdLst>
                    <a:gd name="connsiteX0" fmla="*/ 164 w 26267"/>
                    <a:gd name="connsiteY0" fmla="*/ 11064 h 26582"/>
                    <a:gd name="connsiteX1" fmla="*/ 15361 w 26267"/>
                    <a:gd name="connsiteY1" fmla="*/ 227 h 26582"/>
                    <a:gd name="connsiteX2" fmla="*/ 26072 w 26267"/>
                    <a:gd name="connsiteY2" fmla="*/ 15672 h 26582"/>
                    <a:gd name="connsiteX3" fmla="*/ 10876 w 26267"/>
                    <a:gd name="connsiteY3" fmla="*/ 26384 h 26582"/>
                    <a:gd name="connsiteX4" fmla="*/ 164 w 26267"/>
                    <a:gd name="connsiteY4" fmla="*/ 11064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7" h="26581">
                      <a:moveTo>
                        <a:pt x="164" y="11064"/>
                      </a:moveTo>
                      <a:cubicBezTo>
                        <a:pt x="1410" y="3839"/>
                        <a:pt x="8261" y="-1143"/>
                        <a:pt x="15361" y="227"/>
                      </a:cubicBezTo>
                      <a:cubicBezTo>
                        <a:pt x="22460" y="1472"/>
                        <a:pt x="27318" y="8448"/>
                        <a:pt x="26072" y="15672"/>
                      </a:cubicBezTo>
                      <a:cubicBezTo>
                        <a:pt x="24827" y="22896"/>
                        <a:pt x="17976" y="27630"/>
                        <a:pt x="10876" y="26384"/>
                      </a:cubicBezTo>
                      <a:cubicBezTo>
                        <a:pt x="3777" y="25014"/>
                        <a:pt x="-957" y="18288"/>
                        <a:pt x="164"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5" name="Graphic 2987">
                <a:extLst>
                  <a:ext uri="{FF2B5EF4-FFF2-40B4-BE49-F238E27FC236}">
                    <a16:creationId xmlns:a16="http://schemas.microsoft.com/office/drawing/2014/main" id="{47DE033F-6FC5-BBAF-49EF-1F2BAEE6C371}"/>
                  </a:ext>
                </a:extLst>
              </p:cNvPr>
              <p:cNvGrpSpPr/>
              <p:nvPr/>
            </p:nvGrpSpPr>
            <p:grpSpPr>
              <a:xfrm>
                <a:off x="9940998" y="5681823"/>
                <a:ext cx="47850" cy="147126"/>
                <a:chOff x="9940998" y="5681823"/>
                <a:chExt cx="47850" cy="147126"/>
              </a:xfrm>
              <a:grpFill/>
            </p:grpSpPr>
            <p:sp>
              <p:nvSpPr>
                <p:cNvPr id="4169" name="Freeform 5413">
                  <a:extLst>
                    <a:ext uri="{FF2B5EF4-FFF2-40B4-BE49-F238E27FC236}">
                      <a16:creationId xmlns:a16="http://schemas.microsoft.com/office/drawing/2014/main" id="{F122E9D6-A097-F35F-50FB-B5B50E9A2205}"/>
                    </a:ext>
                  </a:extLst>
                </p:cNvPr>
                <p:cNvSpPr/>
                <p:nvPr/>
              </p:nvSpPr>
              <p:spPr>
                <a:xfrm>
                  <a:off x="9960752" y="5701453"/>
                  <a:ext cx="9839" cy="51193"/>
                </a:xfrm>
                <a:custGeom>
                  <a:avLst/>
                  <a:gdLst>
                    <a:gd name="connsiteX0" fmla="*/ 9840 w 9839"/>
                    <a:gd name="connsiteY0" fmla="*/ 0 h 51193"/>
                    <a:gd name="connsiteX1" fmla="*/ 4609 w 9839"/>
                    <a:gd name="connsiteY1" fmla="*/ 18061 h 51193"/>
                    <a:gd name="connsiteX2" fmla="*/ 4983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4"/>
                        <a:pt x="4858" y="13701"/>
                        <a:pt x="4609" y="18061"/>
                      </a:cubicBezTo>
                      <a:cubicBezTo>
                        <a:pt x="4111" y="25036"/>
                        <a:pt x="5730" y="28399"/>
                        <a:pt x="4983" y="35499"/>
                      </a:cubicBezTo>
                      <a:cubicBezTo>
                        <a:pt x="4235"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0" name="Freeform 5414">
                  <a:extLst>
                    <a:ext uri="{FF2B5EF4-FFF2-40B4-BE49-F238E27FC236}">
                      <a16:creationId xmlns:a16="http://schemas.microsoft.com/office/drawing/2014/main" id="{20D7BA98-7C6F-47DF-7B51-215443112490}"/>
                    </a:ext>
                  </a:extLst>
                </p:cNvPr>
                <p:cNvSpPr/>
                <p:nvPr/>
              </p:nvSpPr>
              <p:spPr>
                <a:xfrm>
                  <a:off x="9969711" y="5697840"/>
                  <a:ext cx="9322" cy="51442"/>
                </a:xfrm>
                <a:custGeom>
                  <a:avLst/>
                  <a:gdLst>
                    <a:gd name="connsiteX0" fmla="*/ 383 w 9322"/>
                    <a:gd name="connsiteY0" fmla="*/ 51442 h 51442"/>
                    <a:gd name="connsiteX1" fmla="*/ 1753 w 9322"/>
                    <a:gd name="connsiteY1" fmla="*/ 32634 h 51442"/>
                    <a:gd name="connsiteX2" fmla="*/ 8106 w 9322"/>
                    <a:gd name="connsiteY2" fmla="*/ 16442 h 51442"/>
                    <a:gd name="connsiteX3" fmla="*/ 8853 w 9322"/>
                    <a:gd name="connsiteY3" fmla="*/ 0 h 51442"/>
                  </a:gdLst>
                  <a:ahLst/>
                  <a:cxnLst>
                    <a:cxn ang="0">
                      <a:pos x="connsiteX0" y="connsiteY0"/>
                    </a:cxn>
                    <a:cxn ang="0">
                      <a:pos x="connsiteX1" y="connsiteY1"/>
                    </a:cxn>
                    <a:cxn ang="0">
                      <a:pos x="connsiteX2" y="connsiteY2"/>
                    </a:cxn>
                    <a:cxn ang="0">
                      <a:pos x="connsiteX3" y="connsiteY3"/>
                    </a:cxn>
                  </a:cxnLst>
                  <a:rect l="l" t="t" r="r" b="b"/>
                  <a:pathLst>
                    <a:path w="9322" h="51442">
                      <a:moveTo>
                        <a:pt x="383" y="51442"/>
                      </a:moveTo>
                      <a:cubicBezTo>
                        <a:pt x="-613" y="43097"/>
                        <a:pt x="508" y="36869"/>
                        <a:pt x="1753" y="32634"/>
                      </a:cubicBezTo>
                      <a:cubicBezTo>
                        <a:pt x="3747" y="25908"/>
                        <a:pt x="6362" y="23292"/>
                        <a:pt x="8106" y="16442"/>
                      </a:cubicBezTo>
                      <a:cubicBezTo>
                        <a:pt x="9850" y="9715"/>
                        <a:pt x="9351"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1" name="Freeform 5415">
                  <a:extLst>
                    <a:ext uri="{FF2B5EF4-FFF2-40B4-BE49-F238E27FC236}">
                      <a16:creationId xmlns:a16="http://schemas.microsoft.com/office/drawing/2014/main" id="{BC05D3A5-76B6-71D5-235D-23F8CB7F3C9D}"/>
                    </a:ext>
                  </a:extLst>
                </p:cNvPr>
                <p:cNvSpPr/>
                <p:nvPr/>
              </p:nvSpPr>
              <p:spPr>
                <a:xfrm>
                  <a:off x="9962177" y="5681823"/>
                  <a:ext cx="26671" cy="26554"/>
                </a:xfrm>
                <a:custGeom>
                  <a:avLst/>
                  <a:gdLst>
                    <a:gd name="connsiteX0" fmla="*/ 26476 w 26671"/>
                    <a:gd name="connsiteY0" fmla="*/ 15644 h 26554"/>
                    <a:gd name="connsiteX1" fmla="*/ 11031 w 26671"/>
                    <a:gd name="connsiteY1" fmla="*/ 26356 h 26554"/>
                    <a:gd name="connsiteX2" fmla="*/ 195 w 26671"/>
                    <a:gd name="connsiteY2" fmla="*/ 10911 h 26554"/>
                    <a:gd name="connsiteX3" fmla="*/ 15640 w 26671"/>
                    <a:gd name="connsiteY3" fmla="*/ 199 h 26554"/>
                    <a:gd name="connsiteX4" fmla="*/ 26476 w 26671"/>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54">
                      <a:moveTo>
                        <a:pt x="26476" y="15644"/>
                      </a:moveTo>
                      <a:cubicBezTo>
                        <a:pt x="25231" y="22868"/>
                        <a:pt x="18256" y="27602"/>
                        <a:pt x="11031" y="26356"/>
                      </a:cubicBezTo>
                      <a:cubicBezTo>
                        <a:pt x="3807" y="24986"/>
                        <a:pt x="-1051" y="18135"/>
                        <a:pt x="195" y="10911"/>
                      </a:cubicBezTo>
                      <a:cubicBezTo>
                        <a:pt x="1440" y="3686"/>
                        <a:pt x="8415" y="-1047"/>
                        <a:pt x="15640" y="199"/>
                      </a:cubicBezTo>
                      <a:cubicBezTo>
                        <a:pt x="22865" y="1569"/>
                        <a:pt x="27722" y="8544"/>
                        <a:pt x="2647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2" name="Freeform 5416">
                  <a:extLst>
                    <a:ext uri="{FF2B5EF4-FFF2-40B4-BE49-F238E27FC236}">
                      <a16:creationId xmlns:a16="http://schemas.microsoft.com/office/drawing/2014/main" id="{8390FD4C-7F30-DEDD-4DD4-6AB0DB552601}"/>
                    </a:ext>
                  </a:extLst>
                </p:cNvPr>
                <p:cNvSpPr/>
                <p:nvPr/>
              </p:nvSpPr>
              <p:spPr>
                <a:xfrm>
                  <a:off x="9959008" y="5758126"/>
                  <a:ext cx="9840" cy="51193"/>
                </a:xfrm>
                <a:custGeom>
                  <a:avLst/>
                  <a:gdLst>
                    <a:gd name="connsiteX0" fmla="*/ 0 w 9840"/>
                    <a:gd name="connsiteY0" fmla="*/ 51193 h 51193"/>
                    <a:gd name="connsiteX1" fmla="*/ 5231 w 9840"/>
                    <a:gd name="connsiteY1" fmla="*/ 33132 h 51193"/>
                    <a:gd name="connsiteX2" fmla="*/ 4858 w 9840"/>
                    <a:gd name="connsiteY2" fmla="*/ 15694 h 51193"/>
                    <a:gd name="connsiteX3" fmla="*/ 9841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858" y="37492"/>
                        <a:pt x="5231" y="33132"/>
                      </a:cubicBezTo>
                      <a:cubicBezTo>
                        <a:pt x="5730" y="26157"/>
                        <a:pt x="4111" y="22794"/>
                        <a:pt x="4858" y="15694"/>
                      </a:cubicBezTo>
                      <a:cubicBezTo>
                        <a:pt x="5605" y="8844"/>
                        <a:pt x="7972" y="3488"/>
                        <a:pt x="984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3" name="Freeform 5417">
                  <a:extLst>
                    <a:ext uri="{FF2B5EF4-FFF2-40B4-BE49-F238E27FC236}">
                      <a16:creationId xmlns:a16="http://schemas.microsoft.com/office/drawing/2014/main" id="{7DC62C8F-D501-7C36-68B6-4A9EE99A8F7A}"/>
                    </a:ext>
                  </a:extLst>
                </p:cNvPr>
                <p:cNvSpPr/>
                <p:nvPr/>
              </p:nvSpPr>
              <p:spPr>
                <a:xfrm>
                  <a:off x="9950859" y="5761614"/>
                  <a:ext cx="9157" cy="51442"/>
                </a:xfrm>
                <a:custGeom>
                  <a:avLst/>
                  <a:gdLst>
                    <a:gd name="connsiteX0" fmla="*/ 8772 w 9157"/>
                    <a:gd name="connsiteY0" fmla="*/ 0 h 51442"/>
                    <a:gd name="connsiteX1" fmla="*/ 7527 w 9157"/>
                    <a:gd name="connsiteY1" fmla="*/ 18808 h 51442"/>
                    <a:gd name="connsiteX2" fmla="*/ 1174 w 9157"/>
                    <a:gd name="connsiteY2" fmla="*/ 35001 h 51442"/>
                    <a:gd name="connsiteX3" fmla="*/ 427 w 915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157" h="51442">
                      <a:moveTo>
                        <a:pt x="8772" y="0"/>
                      </a:moveTo>
                      <a:cubicBezTo>
                        <a:pt x="9768" y="8346"/>
                        <a:pt x="8648" y="14573"/>
                        <a:pt x="7527" y="18808"/>
                      </a:cubicBezTo>
                      <a:cubicBezTo>
                        <a:pt x="5534" y="25535"/>
                        <a:pt x="2918" y="28150"/>
                        <a:pt x="1174" y="35001"/>
                      </a:cubicBezTo>
                      <a:cubicBezTo>
                        <a:pt x="-445" y="41727"/>
                        <a:pt x="-71" y="47581"/>
                        <a:pt x="42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4" name="Freeform 5418">
                  <a:extLst>
                    <a:ext uri="{FF2B5EF4-FFF2-40B4-BE49-F238E27FC236}">
                      <a16:creationId xmlns:a16="http://schemas.microsoft.com/office/drawing/2014/main" id="{D2CC2F39-FF23-8559-B57F-5BE4B2472358}"/>
                    </a:ext>
                  </a:extLst>
                </p:cNvPr>
                <p:cNvSpPr/>
                <p:nvPr/>
              </p:nvSpPr>
              <p:spPr>
                <a:xfrm>
                  <a:off x="9940998" y="5802395"/>
                  <a:ext cx="26213" cy="26554"/>
                </a:xfrm>
                <a:custGeom>
                  <a:avLst/>
                  <a:gdLst>
                    <a:gd name="connsiteX0" fmla="*/ 199 w 26213"/>
                    <a:gd name="connsiteY0" fmla="*/ 10911 h 26554"/>
                    <a:gd name="connsiteX1" fmla="*/ 15395 w 26213"/>
                    <a:gd name="connsiteY1" fmla="*/ 199 h 26554"/>
                    <a:gd name="connsiteX2" fmla="*/ 25982 w 26213"/>
                    <a:gd name="connsiteY2" fmla="*/ 15644 h 26554"/>
                    <a:gd name="connsiteX3" fmla="*/ 10786 w 26213"/>
                    <a:gd name="connsiteY3" fmla="*/ 26356 h 26554"/>
                    <a:gd name="connsiteX4" fmla="*/ 199 w 26213"/>
                    <a:gd name="connsiteY4" fmla="*/ 10911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54">
                      <a:moveTo>
                        <a:pt x="199" y="10911"/>
                      </a:moveTo>
                      <a:cubicBezTo>
                        <a:pt x="1444" y="3686"/>
                        <a:pt x="8295" y="-1047"/>
                        <a:pt x="15395" y="199"/>
                      </a:cubicBezTo>
                      <a:cubicBezTo>
                        <a:pt x="22494" y="1444"/>
                        <a:pt x="27352" y="8420"/>
                        <a:pt x="25982" y="15644"/>
                      </a:cubicBezTo>
                      <a:cubicBezTo>
                        <a:pt x="24737" y="22868"/>
                        <a:pt x="17886" y="27602"/>
                        <a:pt x="10786" y="26356"/>
                      </a:cubicBezTo>
                      <a:cubicBezTo>
                        <a:pt x="3687" y="25110"/>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6" name="Graphic 2987">
                <a:extLst>
                  <a:ext uri="{FF2B5EF4-FFF2-40B4-BE49-F238E27FC236}">
                    <a16:creationId xmlns:a16="http://schemas.microsoft.com/office/drawing/2014/main" id="{52BC91BF-C744-E8D6-C1A3-330286784E40}"/>
                  </a:ext>
                </a:extLst>
              </p:cNvPr>
              <p:cNvGrpSpPr/>
              <p:nvPr/>
            </p:nvGrpSpPr>
            <p:grpSpPr>
              <a:xfrm>
                <a:off x="9969895" y="5687179"/>
                <a:ext cx="48256" cy="146877"/>
                <a:chOff x="9969895" y="5687179"/>
                <a:chExt cx="48256" cy="146877"/>
              </a:xfrm>
              <a:grpFill/>
            </p:grpSpPr>
            <p:sp>
              <p:nvSpPr>
                <p:cNvPr id="4163" name="Freeform 5420">
                  <a:extLst>
                    <a:ext uri="{FF2B5EF4-FFF2-40B4-BE49-F238E27FC236}">
                      <a16:creationId xmlns:a16="http://schemas.microsoft.com/office/drawing/2014/main" id="{1029017F-17A5-36E1-C71F-9F4D5CF8071A}"/>
                    </a:ext>
                  </a:extLst>
                </p:cNvPr>
                <p:cNvSpPr/>
                <p:nvPr/>
              </p:nvSpPr>
              <p:spPr>
                <a:xfrm>
                  <a:off x="9990148" y="5706808"/>
                  <a:ext cx="9840" cy="51193"/>
                </a:xfrm>
                <a:custGeom>
                  <a:avLst/>
                  <a:gdLst>
                    <a:gd name="connsiteX0" fmla="*/ 9841 w 9840"/>
                    <a:gd name="connsiteY0" fmla="*/ 0 h 51193"/>
                    <a:gd name="connsiteX1" fmla="*/ 4609 w 9840"/>
                    <a:gd name="connsiteY1" fmla="*/ 18061 h 51193"/>
                    <a:gd name="connsiteX2" fmla="*/ 4983 w 9840"/>
                    <a:gd name="connsiteY2" fmla="*/ 35499 h 51193"/>
                    <a:gd name="connsiteX3" fmla="*/ 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9841" y="0"/>
                      </a:moveTo>
                      <a:cubicBezTo>
                        <a:pt x="5979" y="7474"/>
                        <a:pt x="4858" y="13701"/>
                        <a:pt x="4609" y="18061"/>
                      </a:cubicBezTo>
                      <a:cubicBezTo>
                        <a:pt x="4111" y="25036"/>
                        <a:pt x="5730" y="28399"/>
                        <a:pt x="4983" y="35499"/>
                      </a:cubicBezTo>
                      <a:cubicBezTo>
                        <a:pt x="4235"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4" name="Freeform 5421">
                  <a:extLst>
                    <a:ext uri="{FF2B5EF4-FFF2-40B4-BE49-F238E27FC236}">
                      <a16:creationId xmlns:a16="http://schemas.microsoft.com/office/drawing/2014/main" id="{BDBFA02C-AB11-D9BE-6AC4-3B4C940C776A}"/>
                    </a:ext>
                  </a:extLst>
                </p:cNvPr>
                <p:cNvSpPr/>
                <p:nvPr/>
              </p:nvSpPr>
              <p:spPr>
                <a:xfrm>
                  <a:off x="9998858" y="5703072"/>
                  <a:ext cx="9496" cy="51442"/>
                </a:xfrm>
                <a:custGeom>
                  <a:avLst/>
                  <a:gdLst>
                    <a:gd name="connsiteX0" fmla="*/ 383 w 9496"/>
                    <a:gd name="connsiteY0" fmla="*/ 51442 h 51442"/>
                    <a:gd name="connsiteX1" fmla="*/ 1753 w 9496"/>
                    <a:gd name="connsiteY1" fmla="*/ 32634 h 51442"/>
                    <a:gd name="connsiteX2" fmla="*/ 8230 w 9496"/>
                    <a:gd name="connsiteY2" fmla="*/ 16442 h 51442"/>
                    <a:gd name="connsiteX3" fmla="*/ 8977 w 9496"/>
                    <a:gd name="connsiteY3" fmla="*/ 0 h 51442"/>
                  </a:gdLst>
                  <a:ahLst/>
                  <a:cxnLst>
                    <a:cxn ang="0">
                      <a:pos x="connsiteX0" y="connsiteY0"/>
                    </a:cxn>
                    <a:cxn ang="0">
                      <a:pos x="connsiteX1" y="connsiteY1"/>
                    </a:cxn>
                    <a:cxn ang="0">
                      <a:pos x="connsiteX2" y="connsiteY2"/>
                    </a:cxn>
                    <a:cxn ang="0">
                      <a:pos x="connsiteX3" y="connsiteY3"/>
                    </a:cxn>
                  </a:cxnLst>
                  <a:rect l="l" t="t" r="r" b="b"/>
                  <a:pathLst>
                    <a:path w="9496" h="51442">
                      <a:moveTo>
                        <a:pt x="383" y="51442"/>
                      </a:moveTo>
                      <a:cubicBezTo>
                        <a:pt x="-613" y="43097"/>
                        <a:pt x="507" y="36869"/>
                        <a:pt x="1753" y="32634"/>
                      </a:cubicBezTo>
                      <a:cubicBezTo>
                        <a:pt x="3746" y="25908"/>
                        <a:pt x="6362" y="23292"/>
                        <a:pt x="8230" y="16442"/>
                      </a:cubicBezTo>
                      <a:cubicBezTo>
                        <a:pt x="9974" y="9715"/>
                        <a:pt x="9601" y="3861"/>
                        <a:pt x="89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5" name="Freeform 5422">
                  <a:extLst>
                    <a:ext uri="{FF2B5EF4-FFF2-40B4-BE49-F238E27FC236}">
                      <a16:creationId xmlns:a16="http://schemas.microsoft.com/office/drawing/2014/main" id="{502637FF-67EE-DEC6-0283-4EF2D672C8DD}"/>
                    </a:ext>
                  </a:extLst>
                </p:cNvPr>
                <p:cNvSpPr/>
                <p:nvPr/>
              </p:nvSpPr>
              <p:spPr>
                <a:xfrm>
                  <a:off x="9991448" y="5687179"/>
                  <a:ext cx="26703" cy="26554"/>
                </a:xfrm>
                <a:custGeom>
                  <a:avLst/>
                  <a:gdLst>
                    <a:gd name="connsiteX0" fmla="*/ 26477 w 26703"/>
                    <a:gd name="connsiteY0" fmla="*/ 15644 h 26554"/>
                    <a:gd name="connsiteX1" fmla="*/ 11031 w 26703"/>
                    <a:gd name="connsiteY1" fmla="*/ 26356 h 26554"/>
                    <a:gd name="connsiteX2" fmla="*/ 195 w 26703"/>
                    <a:gd name="connsiteY2" fmla="*/ 10911 h 26554"/>
                    <a:gd name="connsiteX3" fmla="*/ 15640 w 26703"/>
                    <a:gd name="connsiteY3" fmla="*/ 199 h 26554"/>
                    <a:gd name="connsiteX4" fmla="*/ 26477 w 26703"/>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54">
                      <a:moveTo>
                        <a:pt x="26477" y="15644"/>
                      </a:moveTo>
                      <a:cubicBezTo>
                        <a:pt x="25106" y="22868"/>
                        <a:pt x="18256" y="27602"/>
                        <a:pt x="11031" y="26356"/>
                      </a:cubicBezTo>
                      <a:cubicBezTo>
                        <a:pt x="3807" y="24986"/>
                        <a:pt x="-1051" y="18135"/>
                        <a:pt x="195" y="10911"/>
                      </a:cubicBezTo>
                      <a:cubicBezTo>
                        <a:pt x="1441" y="3686"/>
                        <a:pt x="8416" y="-1047"/>
                        <a:pt x="15640" y="199"/>
                      </a:cubicBezTo>
                      <a:cubicBezTo>
                        <a:pt x="22864" y="1444"/>
                        <a:pt x="27847" y="8420"/>
                        <a:pt x="26477"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6" name="Freeform 5423">
                  <a:extLst>
                    <a:ext uri="{FF2B5EF4-FFF2-40B4-BE49-F238E27FC236}">
                      <a16:creationId xmlns:a16="http://schemas.microsoft.com/office/drawing/2014/main" id="{F2ED16B9-22F4-8CF9-0EE1-13BEFAEC44B1}"/>
                    </a:ext>
                  </a:extLst>
                </p:cNvPr>
                <p:cNvSpPr/>
                <p:nvPr/>
              </p:nvSpPr>
              <p:spPr>
                <a:xfrm>
                  <a:off x="9987906" y="5763358"/>
                  <a:ext cx="9964" cy="51193"/>
                </a:xfrm>
                <a:custGeom>
                  <a:avLst/>
                  <a:gdLst>
                    <a:gd name="connsiteX0" fmla="*/ 0 w 9964"/>
                    <a:gd name="connsiteY0" fmla="*/ 51193 h 51193"/>
                    <a:gd name="connsiteX1" fmla="*/ 5231 w 9964"/>
                    <a:gd name="connsiteY1" fmla="*/ 33132 h 51193"/>
                    <a:gd name="connsiteX2" fmla="*/ 4983 w 9964"/>
                    <a:gd name="connsiteY2" fmla="*/ 15694 h 51193"/>
                    <a:gd name="connsiteX3" fmla="*/ 9964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0" y="51193"/>
                      </a:moveTo>
                      <a:cubicBezTo>
                        <a:pt x="3861" y="43720"/>
                        <a:pt x="4983" y="37492"/>
                        <a:pt x="5231" y="33132"/>
                      </a:cubicBezTo>
                      <a:cubicBezTo>
                        <a:pt x="5730" y="26157"/>
                        <a:pt x="4111" y="22794"/>
                        <a:pt x="4983" y="15694"/>
                      </a:cubicBezTo>
                      <a:cubicBezTo>
                        <a:pt x="5730" y="8843"/>
                        <a:pt x="8097" y="3488"/>
                        <a:pt x="99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7" name="Freeform 5424">
                  <a:extLst>
                    <a:ext uri="{FF2B5EF4-FFF2-40B4-BE49-F238E27FC236}">
                      <a16:creationId xmlns:a16="http://schemas.microsoft.com/office/drawing/2014/main" id="{89A6847F-59A9-FCE7-1415-4BF7290C84A5}"/>
                    </a:ext>
                  </a:extLst>
                </p:cNvPr>
                <p:cNvSpPr/>
                <p:nvPr/>
              </p:nvSpPr>
              <p:spPr>
                <a:xfrm>
                  <a:off x="9979664" y="5766845"/>
                  <a:ext cx="9372" cy="51442"/>
                </a:xfrm>
                <a:custGeom>
                  <a:avLst/>
                  <a:gdLst>
                    <a:gd name="connsiteX0" fmla="*/ 8989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0"/>
                      </a:moveTo>
                      <a:cubicBezTo>
                        <a:pt x="9986" y="8346"/>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8" name="Freeform 5425">
                  <a:extLst>
                    <a:ext uri="{FF2B5EF4-FFF2-40B4-BE49-F238E27FC236}">
                      <a16:creationId xmlns:a16="http://schemas.microsoft.com/office/drawing/2014/main" id="{32FC1126-558A-FF0B-CE31-AC1E4E29480C}"/>
                    </a:ext>
                  </a:extLst>
                </p:cNvPr>
                <p:cNvSpPr/>
                <p:nvPr/>
              </p:nvSpPr>
              <p:spPr>
                <a:xfrm>
                  <a:off x="9969895" y="5807626"/>
                  <a:ext cx="26305" cy="26430"/>
                </a:xfrm>
                <a:custGeom>
                  <a:avLst/>
                  <a:gdLst>
                    <a:gd name="connsiteX0" fmla="*/ 199 w 26305"/>
                    <a:gd name="connsiteY0" fmla="*/ 10911 h 26430"/>
                    <a:gd name="connsiteX1" fmla="*/ 15519 w 26305"/>
                    <a:gd name="connsiteY1" fmla="*/ 199 h 26430"/>
                    <a:gd name="connsiteX2" fmla="*/ 26107 w 26305"/>
                    <a:gd name="connsiteY2" fmla="*/ 15519 h 26430"/>
                    <a:gd name="connsiteX3" fmla="*/ 10786 w 26305"/>
                    <a:gd name="connsiteY3" fmla="*/ 26231 h 26430"/>
                    <a:gd name="connsiteX4" fmla="*/ 199 w 26305"/>
                    <a:gd name="connsiteY4" fmla="*/ 10911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430">
                      <a:moveTo>
                        <a:pt x="199" y="10911"/>
                      </a:moveTo>
                      <a:cubicBezTo>
                        <a:pt x="1444" y="3686"/>
                        <a:pt x="8295" y="-1047"/>
                        <a:pt x="15519" y="199"/>
                      </a:cubicBezTo>
                      <a:cubicBezTo>
                        <a:pt x="22619" y="1444"/>
                        <a:pt x="27352" y="8420"/>
                        <a:pt x="26107" y="15519"/>
                      </a:cubicBezTo>
                      <a:cubicBezTo>
                        <a:pt x="24736" y="22744"/>
                        <a:pt x="17886" y="27477"/>
                        <a:pt x="10786" y="26231"/>
                      </a:cubicBezTo>
                      <a:cubicBezTo>
                        <a:pt x="3686" y="24986"/>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7" name="Graphic 2987">
                <a:extLst>
                  <a:ext uri="{FF2B5EF4-FFF2-40B4-BE49-F238E27FC236}">
                    <a16:creationId xmlns:a16="http://schemas.microsoft.com/office/drawing/2014/main" id="{252032B9-0F35-F627-85FC-2871C6375471}"/>
                  </a:ext>
                </a:extLst>
              </p:cNvPr>
              <p:cNvGrpSpPr/>
              <p:nvPr/>
            </p:nvGrpSpPr>
            <p:grpSpPr>
              <a:xfrm>
                <a:off x="9998756" y="5692535"/>
                <a:ext cx="48796" cy="146752"/>
                <a:chOff x="9998756" y="5692535"/>
                <a:chExt cx="48796" cy="146752"/>
              </a:xfrm>
              <a:grpFill/>
            </p:grpSpPr>
            <p:sp>
              <p:nvSpPr>
                <p:cNvPr id="4157" name="Freeform 5427">
                  <a:extLst>
                    <a:ext uri="{FF2B5EF4-FFF2-40B4-BE49-F238E27FC236}">
                      <a16:creationId xmlns:a16="http://schemas.microsoft.com/office/drawing/2014/main" id="{E5AED09A-0758-1184-1483-9D6C335BCC33}"/>
                    </a:ext>
                  </a:extLst>
                </p:cNvPr>
                <p:cNvSpPr/>
                <p:nvPr/>
              </p:nvSpPr>
              <p:spPr>
                <a:xfrm>
                  <a:off x="10019045" y="5712040"/>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4"/>
                        <a:pt x="5231" y="13701"/>
                        <a:pt x="4858" y="18061"/>
                      </a:cubicBezTo>
                      <a:cubicBezTo>
                        <a:pt x="4359" y="25036"/>
                        <a:pt x="5855" y="28399"/>
                        <a:pt x="5107" y="35499"/>
                      </a:cubicBezTo>
                      <a:cubicBezTo>
                        <a:pt x="4359"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8" name="Freeform 5428">
                  <a:extLst>
                    <a:ext uri="{FF2B5EF4-FFF2-40B4-BE49-F238E27FC236}">
                      <a16:creationId xmlns:a16="http://schemas.microsoft.com/office/drawing/2014/main" id="{BAAF3CEF-80DD-D6B0-71A5-8101DAF81750}"/>
                    </a:ext>
                  </a:extLst>
                </p:cNvPr>
                <p:cNvSpPr/>
                <p:nvPr/>
              </p:nvSpPr>
              <p:spPr>
                <a:xfrm>
                  <a:off x="10028025" y="5708428"/>
                  <a:ext cx="9621" cy="51317"/>
                </a:xfrm>
                <a:custGeom>
                  <a:avLst/>
                  <a:gdLst>
                    <a:gd name="connsiteX0" fmla="*/ 362 w 9621"/>
                    <a:gd name="connsiteY0" fmla="*/ 51318 h 51317"/>
                    <a:gd name="connsiteX1" fmla="*/ 1857 w 9621"/>
                    <a:gd name="connsiteY1" fmla="*/ 32634 h 51317"/>
                    <a:gd name="connsiteX2" fmla="*/ 8334 w 9621"/>
                    <a:gd name="connsiteY2" fmla="*/ 16442 h 51317"/>
                    <a:gd name="connsiteX3" fmla="*/ 920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362" y="51318"/>
                      </a:moveTo>
                      <a:cubicBezTo>
                        <a:pt x="-635" y="42973"/>
                        <a:pt x="612" y="36745"/>
                        <a:pt x="1857" y="32634"/>
                      </a:cubicBezTo>
                      <a:cubicBezTo>
                        <a:pt x="3850" y="25908"/>
                        <a:pt x="6590" y="23292"/>
                        <a:pt x="8334" y="16442"/>
                      </a:cubicBezTo>
                      <a:cubicBezTo>
                        <a:pt x="10078" y="9715"/>
                        <a:pt x="9704"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9" name="Freeform 5429">
                  <a:extLst>
                    <a:ext uri="{FF2B5EF4-FFF2-40B4-BE49-F238E27FC236}">
                      <a16:creationId xmlns:a16="http://schemas.microsoft.com/office/drawing/2014/main" id="{6742E7B4-EA49-911C-B209-C66BE6625BF9}"/>
                    </a:ext>
                  </a:extLst>
                </p:cNvPr>
                <p:cNvSpPr/>
                <p:nvPr/>
              </p:nvSpPr>
              <p:spPr>
                <a:xfrm>
                  <a:off x="10020807" y="5692535"/>
                  <a:ext cx="26744" cy="26554"/>
                </a:xfrm>
                <a:custGeom>
                  <a:avLst/>
                  <a:gdLst>
                    <a:gd name="connsiteX0" fmla="*/ 26513 w 26744"/>
                    <a:gd name="connsiteY0" fmla="*/ 15644 h 26554"/>
                    <a:gd name="connsiteX1" fmla="*/ 10943 w 26744"/>
                    <a:gd name="connsiteY1" fmla="*/ 26356 h 26554"/>
                    <a:gd name="connsiteX2" fmla="*/ 232 w 26744"/>
                    <a:gd name="connsiteY2" fmla="*/ 10911 h 26554"/>
                    <a:gd name="connsiteX3" fmla="*/ 15801 w 26744"/>
                    <a:gd name="connsiteY3" fmla="*/ 199 h 26554"/>
                    <a:gd name="connsiteX4" fmla="*/ 26513 w 26744"/>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54">
                      <a:moveTo>
                        <a:pt x="26513" y="15644"/>
                      </a:moveTo>
                      <a:cubicBezTo>
                        <a:pt x="25143" y="22868"/>
                        <a:pt x="18167" y="27602"/>
                        <a:pt x="10943" y="26356"/>
                      </a:cubicBezTo>
                      <a:cubicBezTo>
                        <a:pt x="3719" y="24986"/>
                        <a:pt x="-1139" y="18135"/>
                        <a:pt x="232" y="10911"/>
                      </a:cubicBezTo>
                      <a:cubicBezTo>
                        <a:pt x="1602" y="3686"/>
                        <a:pt x="8452" y="-1047"/>
                        <a:pt x="15801" y="199"/>
                      </a:cubicBezTo>
                      <a:cubicBezTo>
                        <a:pt x="23025" y="1569"/>
                        <a:pt x="27883" y="8420"/>
                        <a:pt x="26513"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0" name="Freeform 5430">
                  <a:extLst>
                    <a:ext uri="{FF2B5EF4-FFF2-40B4-BE49-F238E27FC236}">
                      <a16:creationId xmlns:a16="http://schemas.microsoft.com/office/drawing/2014/main" id="{A9F73B0A-3481-6AA5-37BC-6D3065A9B038}"/>
                    </a:ext>
                  </a:extLst>
                </p:cNvPr>
                <p:cNvSpPr/>
                <p:nvPr/>
              </p:nvSpPr>
              <p:spPr>
                <a:xfrm>
                  <a:off x="10016803" y="5768589"/>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19"/>
                        <a:pt x="4983" y="37492"/>
                        <a:pt x="5356" y="33132"/>
                      </a:cubicBezTo>
                      <a:cubicBezTo>
                        <a:pt x="5854" y="26157"/>
                        <a:pt x="4359" y="22794"/>
                        <a:pt x="5107" y="15694"/>
                      </a:cubicBezTo>
                      <a:cubicBezTo>
                        <a:pt x="5854" y="8843"/>
                        <a:pt x="8345"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1" name="Freeform 5431">
                  <a:extLst>
                    <a:ext uri="{FF2B5EF4-FFF2-40B4-BE49-F238E27FC236}">
                      <a16:creationId xmlns:a16="http://schemas.microsoft.com/office/drawing/2014/main" id="{31838C43-731D-50F5-697F-A91CD8287FCF}"/>
                    </a:ext>
                  </a:extLst>
                </p:cNvPr>
                <p:cNvSpPr/>
                <p:nvPr/>
              </p:nvSpPr>
              <p:spPr>
                <a:xfrm>
                  <a:off x="10008541" y="5772077"/>
                  <a:ext cx="9621" cy="51317"/>
                </a:xfrm>
                <a:custGeom>
                  <a:avLst/>
                  <a:gdLst>
                    <a:gd name="connsiteX0" fmla="*/ 9259 w 9621"/>
                    <a:gd name="connsiteY0" fmla="*/ 0 h 51317"/>
                    <a:gd name="connsiteX1" fmla="*/ 7765 w 9621"/>
                    <a:gd name="connsiteY1" fmla="*/ 18684 h 51317"/>
                    <a:gd name="connsiteX2" fmla="*/ 1287 w 9621"/>
                    <a:gd name="connsiteY2" fmla="*/ 34876 h 51317"/>
                    <a:gd name="connsiteX3" fmla="*/ 415 w 962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0"/>
                      </a:moveTo>
                      <a:cubicBezTo>
                        <a:pt x="10255" y="8345"/>
                        <a:pt x="9010" y="14573"/>
                        <a:pt x="7765" y="18684"/>
                      </a:cubicBezTo>
                      <a:cubicBezTo>
                        <a:pt x="5771" y="25409"/>
                        <a:pt x="3156" y="28025"/>
                        <a:pt x="1287" y="34876"/>
                      </a:cubicBezTo>
                      <a:cubicBezTo>
                        <a:pt x="-457" y="41602"/>
                        <a:pt x="-82" y="47456"/>
                        <a:pt x="41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2" name="Freeform 5432">
                  <a:extLst>
                    <a:ext uri="{FF2B5EF4-FFF2-40B4-BE49-F238E27FC236}">
                      <a16:creationId xmlns:a16="http://schemas.microsoft.com/office/drawing/2014/main" id="{C3E31A63-BDA8-81AE-7CCC-04B35F36650E}"/>
                    </a:ext>
                  </a:extLst>
                </p:cNvPr>
                <p:cNvSpPr/>
                <p:nvPr/>
              </p:nvSpPr>
              <p:spPr>
                <a:xfrm>
                  <a:off x="9998756" y="5812857"/>
                  <a:ext cx="26255" cy="26429"/>
                </a:xfrm>
                <a:custGeom>
                  <a:avLst/>
                  <a:gdLst>
                    <a:gd name="connsiteX0" fmla="*/ 236 w 26255"/>
                    <a:gd name="connsiteY0" fmla="*/ 10911 h 26429"/>
                    <a:gd name="connsiteX1" fmla="*/ 15557 w 26255"/>
                    <a:gd name="connsiteY1" fmla="*/ 199 h 26429"/>
                    <a:gd name="connsiteX2" fmla="*/ 26020 w 26255"/>
                    <a:gd name="connsiteY2" fmla="*/ 15519 h 26429"/>
                    <a:gd name="connsiteX3" fmla="*/ 10699 w 26255"/>
                    <a:gd name="connsiteY3" fmla="*/ 26231 h 26429"/>
                    <a:gd name="connsiteX4" fmla="*/ 236 w 26255"/>
                    <a:gd name="connsiteY4" fmla="*/ 10911 h 2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429">
                      <a:moveTo>
                        <a:pt x="236" y="10911"/>
                      </a:moveTo>
                      <a:cubicBezTo>
                        <a:pt x="1606" y="3686"/>
                        <a:pt x="8457" y="-1047"/>
                        <a:pt x="15557" y="199"/>
                      </a:cubicBezTo>
                      <a:cubicBezTo>
                        <a:pt x="22656" y="1444"/>
                        <a:pt x="27390" y="8420"/>
                        <a:pt x="26020" y="15519"/>
                      </a:cubicBezTo>
                      <a:cubicBezTo>
                        <a:pt x="24649" y="22744"/>
                        <a:pt x="17799" y="27477"/>
                        <a:pt x="10699" y="26231"/>
                      </a:cubicBezTo>
                      <a:cubicBezTo>
                        <a:pt x="3600"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8" name="Graphic 2987">
                <a:extLst>
                  <a:ext uri="{FF2B5EF4-FFF2-40B4-BE49-F238E27FC236}">
                    <a16:creationId xmlns:a16="http://schemas.microsoft.com/office/drawing/2014/main" id="{8FCC018F-2743-8D44-C730-45E36052B546}"/>
                  </a:ext>
                </a:extLst>
              </p:cNvPr>
              <p:cNvGrpSpPr/>
              <p:nvPr/>
            </p:nvGrpSpPr>
            <p:grpSpPr>
              <a:xfrm>
                <a:off x="10027653" y="5697729"/>
                <a:ext cx="49298" cy="146794"/>
                <a:chOff x="10027653" y="5697729"/>
                <a:chExt cx="49298" cy="146794"/>
              </a:xfrm>
              <a:grpFill/>
            </p:grpSpPr>
            <p:sp>
              <p:nvSpPr>
                <p:cNvPr id="4151" name="Freeform 5434">
                  <a:extLst>
                    <a:ext uri="{FF2B5EF4-FFF2-40B4-BE49-F238E27FC236}">
                      <a16:creationId xmlns:a16="http://schemas.microsoft.com/office/drawing/2014/main" id="{9B167596-E75D-2FED-5912-C9F3B9D0B4A5}"/>
                    </a:ext>
                  </a:extLst>
                </p:cNvPr>
                <p:cNvSpPr/>
                <p:nvPr/>
              </p:nvSpPr>
              <p:spPr>
                <a:xfrm>
                  <a:off x="10048316" y="5717396"/>
                  <a:ext cx="10338" cy="51193"/>
                </a:xfrm>
                <a:custGeom>
                  <a:avLst/>
                  <a:gdLst>
                    <a:gd name="connsiteX0" fmla="*/ 10339 w 10338"/>
                    <a:gd name="connsiteY0" fmla="*/ 0 h 51193"/>
                    <a:gd name="connsiteX1" fmla="*/ 4858 w 10338"/>
                    <a:gd name="connsiteY1" fmla="*/ 18061 h 51193"/>
                    <a:gd name="connsiteX2" fmla="*/ 5107 w 10338"/>
                    <a:gd name="connsiteY2" fmla="*/ 35499 h 51193"/>
                    <a:gd name="connsiteX3" fmla="*/ 0 w 1033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38" h="51193">
                      <a:moveTo>
                        <a:pt x="10339" y="0"/>
                      </a:moveTo>
                      <a:cubicBezTo>
                        <a:pt x="6353" y="7474"/>
                        <a:pt x="5232" y="13701"/>
                        <a:pt x="4858" y="18061"/>
                      </a:cubicBezTo>
                      <a:cubicBezTo>
                        <a:pt x="4360" y="25036"/>
                        <a:pt x="5855" y="28399"/>
                        <a:pt x="5107" y="35499"/>
                      </a:cubicBezTo>
                      <a:cubicBezTo>
                        <a:pt x="4360"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2" name="Freeform 5435">
                  <a:extLst>
                    <a:ext uri="{FF2B5EF4-FFF2-40B4-BE49-F238E27FC236}">
                      <a16:creationId xmlns:a16="http://schemas.microsoft.com/office/drawing/2014/main" id="{FFF07AF7-DDBC-19A7-6B8B-A74FF359A547}"/>
                    </a:ext>
                  </a:extLst>
                </p:cNvPr>
                <p:cNvSpPr/>
                <p:nvPr/>
              </p:nvSpPr>
              <p:spPr>
                <a:xfrm>
                  <a:off x="10057172" y="5713784"/>
                  <a:ext cx="9797" cy="51318"/>
                </a:xfrm>
                <a:custGeom>
                  <a:avLst/>
                  <a:gdLst>
                    <a:gd name="connsiteX0" fmla="*/ 362 w 9797"/>
                    <a:gd name="connsiteY0" fmla="*/ 51318 h 51318"/>
                    <a:gd name="connsiteX1" fmla="*/ 1857 w 9797"/>
                    <a:gd name="connsiteY1" fmla="*/ 32634 h 51318"/>
                    <a:gd name="connsiteX2" fmla="*/ 8458 w 9797"/>
                    <a:gd name="connsiteY2" fmla="*/ 16442 h 51318"/>
                    <a:gd name="connsiteX3" fmla="*/ 9330 w 9797"/>
                    <a:gd name="connsiteY3" fmla="*/ 0 h 51318"/>
                  </a:gdLst>
                  <a:ahLst/>
                  <a:cxnLst>
                    <a:cxn ang="0">
                      <a:pos x="connsiteX0" y="connsiteY0"/>
                    </a:cxn>
                    <a:cxn ang="0">
                      <a:pos x="connsiteX1" y="connsiteY1"/>
                    </a:cxn>
                    <a:cxn ang="0">
                      <a:pos x="connsiteX2" y="connsiteY2"/>
                    </a:cxn>
                    <a:cxn ang="0">
                      <a:pos x="connsiteX3" y="connsiteY3"/>
                    </a:cxn>
                  </a:cxnLst>
                  <a:rect l="l" t="t" r="r" b="b"/>
                  <a:pathLst>
                    <a:path w="9797" h="51318">
                      <a:moveTo>
                        <a:pt x="362" y="51318"/>
                      </a:moveTo>
                      <a:cubicBezTo>
                        <a:pt x="-634" y="42973"/>
                        <a:pt x="611" y="36745"/>
                        <a:pt x="1857" y="32634"/>
                      </a:cubicBezTo>
                      <a:cubicBezTo>
                        <a:pt x="3974" y="25908"/>
                        <a:pt x="6590" y="23293"/>
                        <a:pt x="8458" y="16442"/>
                      </a:cubicBezTo>
                      <a:cubicBezTo>
                        <a:pt x="10202" y="9715"/>
                        <a:pt x="9953" y="3861"/>
                        <a:pt x="9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3" name="Freeform 5436">
                  <a:extLst>
                    <a:ext uri="{FF2B5EF4-FFF2-40B4-BE49-F238E27FC236}">
                      <a16:creationId xmlns:a16="http://schemas.microsoft.com/office/drawing/2014/main" id="{0C3FC777-C571-A6E5-6B72-8726914D9EC6}"/>
                    </a:ext>
                  </a:extLst>
                </p:cNvPr>
                <p:cNvSpPr/>
                <p:nvPr/>
              </p:nvSpPr>
              <p:spPr>
                <a:xfrm>
                  <a:off x="10050235" y="5697729"/>
                  <a:ext cx="26716" cy="26509"/>
                </a:xfrm>
                <a:custGeom>
                  <a:avLst/>
                  <a:gdLst>
                    <a:gd name="connsiteX0" fmla="*/ 26480 w 26716"/>
                    <a:gd name="connsiteY0" fmla="*/ 15806 h 26509"/>
                    <a:gd name="connsiteX1" fmla="*/ 10911 w 26716"/>
                    <a:gd name="connsiteY1" fmla="*/ 26269 h 26509"/>
                    <a:gd name="connsiteX2" fmla="*/ 199 w 26716"/>
                    <a:gd name="connsiteY2" fmla="*/ 10824 h 26509"/>
                    <a:gd name="connsiteX3" fmla="*/ 15769 w 26716"/>
                    <a:gd name="connsiteY3" fmla="*/ 236 h 26509"/>
                    <a:gd name="connsiteX4" fmla="*/ 26480 w 26716"/>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9">
                      <a:moveTo>
                        <a:pt x="26480" y="15806"/>
                      </a:moveTo>
                      <a:cubicBezTo>
                        <a:pt x="25110" y="23030"/>
                        <a:pt x="18135" y="27639"/>
                        <a:pt x="10911" y="26269"/>
                      </a:cubicBezTo>
                      <a:cubicBezTo>
                        <a:pt x="3686" y="24899"/>
                        <a:pt x="-1047" y="18048"/>
                        <a:pt x="199" y="10824"/>
                      </a:cubicBezTo>
                      <a:cubicBezTo>
                        <a:pt x="1569" y="3599"/>
                        <a:pt x="8544" y="-1134"/>
                        <a:pt x="15769" y="236"/>
                      </a:cubicBezTo>
                      <a:cubicBezTo>
                        <a:pt x="23117" y="1606"/>
                        <a:pt x="27850" y="8706"/>
                        <a:pt x="26480"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4" name="Freeform 5437">
                  <a:extLst>
                    <a:ext uri="{FF2B5EF4-FFF2-40B4-BE49-F238E27FC236}">
                      <a16:creationId xmlns:a16="http://schemas.microsoft.com/office/drawing/2014/main" id="{EE8A3228-DFD7-30CE-D385-C32077242BB8}"/>
                    </a:ext>
                  </a:extLst>
                </p:cNvPr>
                <p:cNvSpPr/>
                <p:nvPr/>
              </p:nvSpPr>
              <p:spPr>
                <a:xfrm>
                  <a:off x="10045701" y="5773821"/>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861" y="43720"/>
                        <a:pt x="5107" y="37492"/>
                        <a:pt x="5481" y="33132"/>
                      </a:cubicBezTo>
                      <a:cubicBezTo>
                        <a:pt x="5979" y="26157"/>
                        <a:pt x="4484" y="22794"/>
                        <a:pt x="5356" y="15694"/>
                      </a:cubicBezTo>
                      <a:cubicBezTo>
                        <a:pt x="6103"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5" name="Freeform 5438">
                  <a:extLst>
                    <a:ext uri="{FF2B5EF4-FFF2-40B4-BE49-F238E27FC236}">
                      <a16:creationId xmlns:a16="http://schemas.microsoft.com/office/drawing/2014/main" id="{9C1D15D0-64ED-6994-FCAA-B27BA6FB4240}"/>
                    </a:ext>
                  </a:extLst>
                </p:cNvPr>
                <p:cNvSpPr/>
                <p:nvPr/>
              </p:nvSpPr>
              <p:spPr>
                <a:xfrm>
                  <a:off x="10037511" y="5777433"/>
                  <a:ext cx="9672" cy="51317"/>
                </a:xfrm>
                <a:custGeom>
                  <a:avLst/>
                  <a:gdLst>
                    <a:gd name="connsiteX0" fmla="*/ 9310 w 9672"/>
                    <a:gd name="connsiteY0" fmla="*/ 0 h 51317"/>
                    <a:gd name="connsiteX1" fmla="*/ 7816 w 9672"/>
                    <a:gd name="connsiteY1" fmla="*/ 18684 h 51317"/>
                    <a:gd name="connsiteX2" fmla="*/ 1339 w 9672"/>
                    <a:gd name="connsiteY2" fmla="*/ 34876 h 51317"/>
                    <a:gd name="connsiteX3" fmla="*/ 467 w 9672"/>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2" h="51317">
                      <a:moveTo>
                        <a:pt x="9310" y="0"/>
                      </a:moveTo>
                      <a:cubicBezTo>
                        <a:pt x="10307" y="8345"/>
                        <a:pt x="9062" y="14573"/>
                        <a:pt x="7816" y="18684"/>
                      </a:cubicBezTo>
                      <a:cubicBezTo>
                        <a:pt x="5823" y="25410"/>
                        <a:pt x="3083" y="28025"/>
                        <a:pt x="1339" y="34876"/>
                      </a:cubicBezTo>
                      <a:cubicBezTo>
                        <a:pt x="-405" y="41602"/>
                        <a:pt x="-155" y="47456"/>
                        <a:pt x="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6" name="Freeform 5439">
                  <a:extLst>
                    <a:ext uri="{FF2B5EF4-FFF2-40B4-BE49-F238E27FC236}">
                      <a16:creationId xmlns:a16="http://schemas.microsoft.com/office/drawing/2014/main" id="{EC8813FC-B958-9DC5-DEF6-42B4CB698C63}"/>
                    </a:ext>
                  </a:extLst>
                </p:cNvPr>
                <p:cNvSpPr/>
                <p:nvPr/>
              </p:nvSpPr>
              <p:spPr>
                <a:xfrm>
                  <a:off x="10027653" y="5818089"/>
                  <a:ext cx="26380" cy="26434"/>
                </a:xfrm>
                <a:custGeom>
                  <a:avLst/>
                  <a:gdLst>
                    <a:gd name="connsiteX0" fmla="*/ 236 w 26380"/>
                    <a:gd name="connsiteY0" fmla="*/ 10911 h 26434"/>
                    <a:gd name="connsiteX1" fmla="*/ 15681 w 26380"/>
                    <a:gd name="connsiteY1" fmla="*/ 199 h 26434"/>
                    <a:gd name="connsiteX2" fmla="*/ 26144 w 26380"/>
                    <a:gd name="connsiteY2" fmla="*/ 15644 h 26434"/>
                    <a:gd name="connsiteX3" fmla="*/ 10823 w 26380"/>
                    <a:gd name="connsiteY3" fmla="*/ 26231 h 26434"/>
                    <a:gd name="connsiteX4" fmla="*/ 236 w 26380"/>
                    <a:gd name="connsiteY4" fmla="*/ 10911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0911"/>
                      </a:moveTo>
                      <a:cubicBezTo>
                        <a:pt x="1606" y="3686"/>
                        <a:pt x="8457" y="-1047"/>
                        <a:pt x="15681" y="199"/>
                      </a:cubicBezTo>
                      <a:cubicBezTo>
                        <a:pt x="22781" y="1444"/>
                        <a:pt x="27514" y="8544"/>
                        <a:pt x="26144" y="15644"/>
                      </a:cubicBezTo>
                      <a:cubicBezTo>
                        <a:pt x="24774" y="22868"/>
                        <a:pt x="17923" y="27477"/>
                        <a:pt x="10823" y="26231"/>
                      </a:cubicBezTo>
                      <a:cubicBezTo>
                        <a:pt x="3599"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9" name="Graphic 2987">
                <a:extLst>
                  <a:ext uri="{FF2B5EF4-FFF2-40B4-BE49-F238E27FC236}">
                    <a16:creationId xmlns:a16="http://schemas.microsoft.com/office/drawing/2014/main" id="{D450DCD9-D7CD-182E-980B-AD576E195966}"/>
                  </a:ext>
                </a:extLst>
              </p:cNvPr>
              <p:cNvGrpSpPr/>
              <p:nvPr/>
            </p:nvGrpSpPr>
            <p:grpSpPr>
              <a:xfrm>
                <a:off x="10056421" y="5703538"/>
                <a:ext cx="49801" cy="146628"/>
                <a:chOff x="10056421" y="5703538"/>
                <a:chExt cx="49801" cy="146628"/>
              </a:xfrm>
              <a:grpFill/>
            </p:grpSpPr>
            <p:sp>
              <p:nvSpPr>
                <p:cNvPr id="4145" name="Freeform 5441">
                  <a:extLst>
                    <a:ext uri="{FF2B5EF4-FFF2-40B4-BE49-F238E27FC236}">
                      <a16:creationId xmlns:a16="http://schemas.microsoft.com/office/drawing/2014/main" id="{ADCAB658-B8C8-482B-C2DB-E152763F62BB}"/>
                    </a:ext>
                  </a:extLst>
                </p:cNvPr>
                <p:cNvSpPr/>
                <p:nvPr/>
              </p:nvSpPr>
              <p:spPr>
                <a:xfrm>
                  <a:off x="10077338" y="5723001"/>
                  <a:ext cx="10587" cy="51068"/>
                </a:xfrm>
                <a:custGeom>
                  <a:avLst/>
                  <a:gdLst>
                    <a:gd name="connsiteX0" fmla="*/ 10588 w 10587"/>
                    <a:gd name="connsiteY0" fmla="*/ 0 h 51068"/>
                    <a:gd name="connsiteX1" fmla="*/ 5107 w 10587"/>
                    <a:gd name="connsiteY1" fmla="*/ 17936 h 51068"/>
                    <a:gd name="connsiteX2" fmla="*/ 5231 w 10587"/>
                    <a:gd name="connsiteY2" fmla="*/ 35374 h 51068"/>
                    <a:gd name="connsiteX3" fmla="*/ 0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10588" y="0"/>
                      </a:moveTo>
                      <a:cubicBezTo>
                        <a:pt x="6602" y="7349"/>
                        <a:pt x="5481" y="13577"/>
                        <a:pt x="5107" y="17936"/>
                      </a:cubicBezTo>
                      <a:cubicBezTo>
                        <a:pt x="4609" y="24912"/>
                        <a:pt x="6103" y="28274"/>
                        <a:pt x="5231" y="35374"/>
                      </a:cubicBezTo>
                      <a:cubicBezTo>
                        <a:pt x="4360" y="42225"/>
                        <a:pt x="1993" y="47581"/>
                        <a:pt x="0"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6" name="Freeform 5442">
                  <a:extLst>
                    <a:ext uri="{FF2B5EF4-FFF2-40B4-BE49-F238E27FC236}">
                      <a16:creationId xmlns:a16="http://schemas.microsoft.com/office/drawing/2014/main" id="{2C7577F4-2E47-235A-46C7-F60967DE05DF}"/>
                    </a:ext>
                  </a:extLst>
                </p:cNvPr>
                <p:cNvSpPr/>
                <p:nvPr/>
              </p:nvSpPr>
              <p:spPr>
                <a:xfrm>
                  <a:off x="10086264" y="5719638"/>
                  <a:ext cx="9876" cy="51193"/>
                </a:xfrm>
                <a:custGeom>
                  <a:avLst/>
                  <a:gdLst>
                    <a:gd name="connsiteX0" fmla="*/ 291 w 9876"/>
                    <a:gd name="connsiteY0" fmla="*/ 51193 h 51193"/>
                    <a:gd name="connsiteX1" fmla="*/ 1911 w 9876"/>
                    <a:gd name="connsiteY1" fmla="*/ 32510 h 51193"/>
                    <a:gd name="connsiteX2" fmla="*/ 8513 w 9876"/>
                    <a:gd name="connsiteY2" fmla="*/ 16442 h 51193"/>
                    <a:gd name="connsiteX3" fmla="*/ 9509 w 9876"/>
                    <a:gd name="connsiteY3" fmla="*/ 0 h 51193"/>
                  </a:gdLst>
                  <a:ahLst/>
                  <a:cxnLst>
                    <a:cxn ang="0">
                      <a:pos x="connsiteX0" y="connsiteY0"/>
                    </a:cxn>
                    <a:cxn ang="0">
                      <a:pos x="connsiteX1" y="connsiteY1"/>
                    </a:cxn>
                    <a:cxn ang="0">
                      <a:pos x="connsiteX2" y="connsiteY2"/>
                    </a:cxn>
                    <a:cxn ang="0">
                      <a:pos x="connsiteX3" y="connsiteY3"/>
                    </a:cxn>
                  </a:cxnLst>
                  <a:rect l="l" t="t" r="r" b="b"/>
                  <a:pathLst>
                    <a:path w="9876" h="51193">
                      <a:moveTo>
                        <a:pt x="291" y="51193"/>
                      </a:moveTo>
                      <a:cubicBezTo>
                        <a:pt x="-581" y="42848"/>
                        <a:pt x="665" y="36620"/>
                        <a:pt x="1911" y="32510"/>
                      </a:cubicBezTo>
                      <a:cubicBezTo>
                        <a:pt x="4029" y="25784"/>
                        <a:pt x="6644" y="23292"/>
                        <a:pt x="8513" y="16442"/>
                      </a:cubicBezTo>
                      <a:cubicBezTo>
                        <a:pt x="10257"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7" name="Freeform 5443">
                  <a:extLst>
                    <a:ext uri="{FF2B5EF4-FFF2-40B4-BE49-F238E27FC236}">
                      <a16:creationId xmlns:a16="http://schemas.microsoft.com/office/drawing/2014/main" id="{00758E14-4477-AEEA-6820-7CCA73D86213}"/>
                    </a:ext>
                  </a:extLst>
                </p:cNvPr>
                <p:cNvSpPr/>
                <p:nvPr/>
              </p:nvSpPr>
              <p:spPr>
                <a:xfrm>
                  <a:off x="10079594" y="5703538"/>
                  <a:ext cx="26629" cy="26470"/>
                </a:xfrm>
                <a:custGeom>
                  <a:avLst/>
                  <a:gdLst>
                    <a:gd name="connsiteX0" fmla="*/ 26393 w 26629"/>
                    <a:gd name="connsiteY0" fmla="*/ 15851 h 26470"/>
                    <a:gd name="connsiteX1" fmla="*/ 10823 w 26629"/>
                    <a:gd name="connsiteY1" fmla="*/ 26189 h 26470"/>
                    <a:gd name="connsiteX2" fmla="*/ 236 w 26629"/>
                    <a:gd name="connsiteY2" fmla="*/ 10619 h 26470"/>
                    <a:gd name="connsiteX3" fmla="*/ 15806 w 26629"/>
                    <a:gd name="connsiteY3" fmla="*/ 281 h 26470"/>
                    <a:gd name="connsiteX4" fmla="*/ 26393 w 26629"/>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6393" y="15851"/>
                      </a:moveTo>
                      <a:cubicBezTo>
                        <a:pt x="25023" y="23075"/>
                        <a:pt x="18048" y="27684"/>
                        <a:pt x="10823" y="26189"/>
                      </a:cubicBezTo>
                      <a:cubicBezTo>
                        <a:pt x="3599" y="24694"/>
                        <a:pt x="-1134" y="17719"/>
                        <a:pt x="236" y="10619"/>
                      </a:cubicBezTo>
                      <a:cubicBezTo>
                        <a:pt x="1606" y="3395"/>
                        <a:pt x="8581" y="-1213"/>
                        <a:pt x="15806" y="281"/>
                      </a:cubicBezTo>
                      <a:cubicBezTo>
                        <a:pt x="23030" y="1651"/>
                        <a:pt x="27764" y="8751"/>
                        <a:pt x="2639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8" name="Freeform 5444">
                  <a:extLst>
                    <a:ext uri="{FF2B5EF4-FFF2-40B4-BE49-F238E27FC236}">
                      <a16:creationId xmlns:a16="http://schemas.microsoft.com/office/drawing/2014/main" id="{6BF26F30-073C-8BEF-D316-A1B3A9FAC43F}"/>
                    </a:ext>
                  </a:extLst>
                </p:cNvPr>
                <p:cNvSpPr/>
                <p:nvPr/>
              </p:nvSpPr>
              <p:spPr>
                <a:xfrm>
                  <a:off x="10074474" y="5779675"/>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107" y="37492"/>
                        <a:pt x="5481" y="33132"/>
                      </a:cubicBezTo>
                      <a:cubicBezTo>
                        <a:pt x="6103" y="26157"/>
                        <a:pt x="4609" y="22794"/>
                        <a:pt x="5356" y="15694"/>
                      </a:cubicBezTo>
                      <a:cubicBezTo>
                        <a:pt x="6228"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9" name="Freeform 5445">
                  <a:extLst>
                    <a:ext uri="{FF2B5EF4-FFF2-40B4-BE49-F238E27FC236}">
                      <a16:creationId xmlns:a16="http://schemas.microsoft.com/office/drawing/2014/main" id="{39513898-9A35-EBD4-F1B8-3446A6DEB97F}"/>
                    </a:ext>
                  </a:extLst>
                </p:cNvPr>
                <p:cNvSpPr/>
                <p:nvPr/>
              </p:nvSpPr>
              <p:spPr>
                <a:xfrm>
                  <a:off x="10066260" y="5783038"/>
                  <a:ext cx="9875" cy="51318"/>
                </a:xfrm>
                <a:custGeom>
                  <a:avLst/>
                  <a:gdLst>
                    <a:gd name="connsiteX0" fmla="*/ 9584 w 9875"/>
                    <a:gd name="connsiteY0" fmla="*/ 0 h 51318"/>
                    <a:gd name="connsiteX1" fmla="*/ 7965 w 9875"/>
                    <a:gd name="connsiteY1" fmla="*/ 18808 h 51318"/>
                    <a:gd name="connsiteX2" fmla="*/ 1364 w 9875"/>
                    <a:gd name="connsiteY2" fmla="*/ 34876 h 51318"/>
                    <a:gd name="connsiteX3" fmla="*/ 367 w 9875"/>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875" h="51318">
                      <a:moveTo>
                        <a:pt x="9584" y="0"/>
                      </a:moveTo>
                      <a:cubicBezTo>
                        <a:pt x="10456" y="8346"/>
                        <a:pt x="9211" y="14573"/>
                        <a:pt x="7965" y="18808"/>
                      </a:cubicBezTo>
                      <a:cubicBezTo>
                        <a:pt x="5847" y="25535"/>
                        <a:pt x="3231" y="28025"/>
                        <a:pt x="1364" y="34876"/>
                      </a:cubicBezTo>
                      <a:cubicBezTo>
                        <a:pt x="-380" y="41603"/>
                        <a:pt x="-131" y="47457"/>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0" name="Freeform 5446">
                  <a:extLst>
                    <a:ext uri="{FF2B5EF4-FFF2-40B4-BE49-F238E27FC236}">
                      <a16:creationId xmlns:a16="http://schemas.microsoft.com/office/drawing/2014/main" id="{F371FD9B-93CA-B202-8BB7-C61AC6B7EF02}"/>
                    </a:ext>
                  </a:extLst>
                </p:cNvPr>
                <p:cNvSpPr/>
                <p:nvPr/>
              </p:nvSpPr>
              <p:spPr>
                <a:xfrm>
                  <a:off x="10056421" y="5823652"/>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461" y="-1129"/>
                        <a:pt x="15686" y="241"/>
                      </a:cubicBezTo>
                      <a:cubicBezTo>
                        <a:pt x="22786" y="1611"/>
                        <a:pt x="27394" y="8586"/>
                        <a:pt x="26024" y="15810"/>
                      </a:cubicBezTo>
                      <a:cubicBezTo>
                        <a:pt x="24654" y="23035"/>
                        <a:pt x="17679" y="27644"/>
                        <a:pt x="10579" y="26274"/>
                      </a:cubicBezTo>
                      <a:cubicBezTo>
                        <a:pt x="3480" y="24903"/>
                        <a:pt x="-1129" y="17928"/>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0" name="Graphic 2987">
                <a:extLst>
                  <a:ext uri="{FF2B5EF4-FFF2-40B4-BE49-F238E27FC236}">
                    <a16:creationId xmlns:a16="http://schemas.microsoft.com/office/drawing/2014/main" id="{B381290D-8FD7-C65E-C51F-8AA397F90C5B}"/>
                  </a:ext>
                </a:extLst>
              </p:cNvPr>
              <p:cNvGrpSpPr/>
              <p:nvPr/>
            </p:nvGrpSpPr>
            <p:grpSpPr>
              <a:xfrm>
                <a:off x="10085194" y="5709392"/>
                <a:ext cx="50304" cy="146628"/>
                <a:chOff x="10085194" y="5709392"/>
                <a:chExt cx="50304" cy="146628"/>
              </a:xfrm>
              <a:grpFill/>
            </p:grpSpPr>
            <p:sp>
              <p:nvSpPr>
                <p:cNvPr id="4139" name="Freeform 5448">
                  <a:extLst>
                    <a:ext uri="{FF2B5EF4-FFF2-40B4-BE49-F238E27FC236}">
                      <a16:creationId xmlns:a16="http://schemas.microsoft.com/office/drawing/2014/main" id="{EF73271E-C0C4-D6EC-A52B-1F268AC8E7D0}"/>
                    </a:ext>
                  </a:extLst>
                </p:cNvPr>
                <p:cNvSpPr/>
                <p:nvPr/>
              </p:nvSpPr>
              <p:spPr>
                <a:xfrm>
                  <a:off x="10106360" y="5728855"/>
                  <a:ext cx="10836" cy="50944"/>
                </a:xfrm>
                <a:custGeom>
                  <a:avLst/>
                  <a:gdLst>
                    <a:gd name="connsiteX0" fmla="*/ 10836 w 10836"/>
                    <a:gd name="connsiteY0" fmla="*/ 0 h 50944"/>
                    <a:gd name="connsiteX1" fmla="*/ 5231 w 10836"/>
                    <a:gd name="connsiteY1" fmla="*/ 17936 h 50944"/>
                    <a:gd name="connsiteX2" fmla="*/ 5231 w 10836"/>
                    <a:gd name="connsiteY2" fmla="*/ 35374 h 50944"/>
                    <a:gd name="connsiteX3" fmla="*/ 0 w 1083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836" h="50944">
                      <a:moveTo>
                        <a:pt x="10836" y="0"/>
                      </a:moveTo>
                      <a:cubicBezTo>
                        <a:pt x="6851" y="7349"/>
                        <a:pt x="5605" y="13577"/>
                        <a:pt x="5231" y="17936"/>
                      </a:cubicBezTo>
                      <a:cubicBezTo>
                        <a:pt x="4609" y="24912"/>
                        <a:pt x="6103" y="28274"/>
                        <a:pt x="5231" y="35374"/>
                      </a:cubicBezTo>
                      <a:cubicBezTo>
                        <a:pt x="4359"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0" name="Freeform 5449">
                  <a:extLst>
                    <a:ext uri="{FF2B5EF4-FFF2-40B4-BE49-F238E27FC236}">
                      <a16:creationId xmlns:a16="http://schemas.microsoft.com/office/drawing/2014/main" id="{FF3FDD36-A095-BC72-1915-1228D09BFC6F}"/>
                    </a:ext>
                  </a:extLst>
                </p:cNvPr>
                <p:cNvSpPr/>
                <p:nvPr/>
              </p:nvSpPr>
              <p:spPr>
                <a:xfrm>
                  <a:off x="10115288" y="5725368"/>
                  <a:ext cx="10239" cy="51193"/>
                </a:xfrm>
                <a:custGeom>
                  <a:avLst/>
                  <a:gdLst>
                    <a:gd name="connsiteX0" fmla="*/ 290 w 10239"/>
                    <a:gd name="connsiteY0" fmla="*/ 51193 h 51193"/>
                    <a:gd name="connsiteX1" fmla="*/ 2034 w 10239"/>
                    <a:gd name="connsiteY1" fmla="*/ 32509 h 51193"/>
                    <a:gd name="connsiteX2" fmla="*/ 8760 w 10239"/>
                    <a:gd name="connsiteY2" fmla="*/ 16441 h 51193"/>
                    <a:gd name="connsiteX3" fmla="*/ 9881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51193"/>
                      </a:moveTo>
                      <a:cubicBezTo>
                        <a:pt x="-582" y="42848"/>
                        <a:pt x="664" y="36620"/>
                        <a:pt x="2034" y="32509"/>
                      </a:cubicBezTo>
                      <a:cubicBezTo>
                        <a:pt x="4151" y="25783"/>
                        <a:pt x="6892" y="23292"/>
                        <a:pt x="8760" y="16441"/>
                      </a:cubicBezTo>
                      <a:cubicBezTo>
                        <a:pt x="10628" y="9840"/>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1" name="Freeform 5450">
                  <a:extLst>
                    <a:ext uri="{FF2B5EF4-FFF2-40B4-BE49-F238E27FC236}">
                      <a16:creationId xmlns:a16="http://schemas.microsoft.com/office/drawing/2014/main" id="{C160D777-C4CA-B043-AFE2-66611FFAE0AC}"/>
                    </a:ext>
                  </a:extLst>
                </p:cNvPr>
                <p:cNvSpPr/>
                <p:nvPr/>
              </p:nvSpPr>
              <p:spPr>
                <a:xfrm>
                  <a:off x="10108824" y="5709392"/>
                  <a:ext cx="26674" cy="26470"/>
                </a:xfrm>
                <a:custGeom>
                  <a:avLst/>
                  <a:gdLst>
                    <a:gd name="connsiteX0" fmla="*/ 26433 w 26674"/>
                    <a:gd name="connsiteY0" fmla="*/ 15851 h 26470"/>
                    <a:gd name="connsiteX1" fmla="*/ 10739 w 26674"/>
                    <a:gd name="connsiteY1" fmla="*/ 26189 h 26470"/>
                    <a:gd name="connsiteX2" fmla="*/ 276 w 26674"/>
                    <a:gd name="connsiteY2" fmla="*/ 10619 h 26470"/>
                    <a:gd name="connsiteX3" fmla="*/ 15970 w 26674"/>
                    <a:gd name="connsiteY3" fmla="*/ 281 h 26470"/>
                    <a:gd name="connsiteX4" fmla="*/ 26433 w 26674"/>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70">
                      <a:moveTo>
                        <a:pt x="26433" y="15851"/>
                      </a:moveTo>
                      <a:cubicBezTo>
                        <a:pt x="24939" y="23075"/>
                        <a:pt x="17964" y="27684"/>
                        <a:pt x="10739" y="26189"/>
                      </a:cubicBezTo>
                      <a:cubicBezTo>
                        <a:pt x="3514" y="24694"/>
                        <a:pt x="-1219" y="17719"/>
                        <a:pt x="276" y="10619"/>
                      </a:cubicBezTo>
                      <a:cubicBezTo>
                        <a:pt x="1647" y="3395"/>
                        <a:pt x="8746" y="-1213"/>
                        <a:pt x="15970" y="281"/>
                      </a:cubicBezTo>
                      <a:cubicBezTo>
                        <a:pt x="23195" y="1776"/>
                        <a:pt x="27803" y="8751"/>
                        <a:pt x="2643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2" name="Freeform 5451">
                  <a:extLst>
                    <a:ext uri="{FF2B5EF4-FFF2-40B4-BE49-F238E27FC236}">
                      <a16:creationId xmlns:a16="http://schemas.microsoft.com/office/drawing/2014/main" id="{EC5D1520-A02E-126A-C699-E6B4E53C3549}"/>
                    </a:ext>
                  </a:extLst>
                </p:cNvPr>
                <p:cNvSpPr/>
                <p:nvPr/>
              </p:nvSpPr>
              <p:spPr>
                <a:xfrm>
                  <a:off x="10103246" y="5785529"/>
                  <a:ext cx="10961" cy="50944"/>
                </a:xfrm>
                <a:custGeom>
                  <a:avLst/>
                  <a:gdLst>
                    <a:gd name="connsiteX0" fmla="*/ 0 w 10961"/>
                    <a:gd name="connsiteY0" fmla="*/ 50944 h 50944"/>
                    <a:gd name="connsiteX1" fmla="*/ 5605 w 10961"/>
                    <a:gd name="connsiteY1" fmla="*/ 33008 h 50944"/>
                    <a:gd name="connsiteX2" fmla="*/ 5605 w 10961"/>
                    <a:gd name="connsiteY2" fmla="*/ 15570 h 50944"/>
                    <a:gd name="connsiteX3" fmla="*/ 10961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0" y="50944"/>
                      </a:moveTo>
                      <a:cubicBezTo>
                        <a:pt x="3986" y="43595"/>
                        <a:pt x="5231" y="37367"/>
                        <a:pt x="5605" y="33008"/>
                      </a:cubicBezTo>
                      <a:cubicBezTo>
                        <a:pt x="6228" y="26033"/>
                        <a:pt x="4733" y="22670"/>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3" name="Freeform 5452">
                  <a:extLst>
                    <a:ext uri="{FF2B5EF4-FFF2-40B4-BE49-F238E27FC236}">
                      <a16:creationId xmlns:a16="http://schemas.microsoft.com/office/drawing/2014/main" id="{80FE8204-9F34-2EBA-7F02-758C852C02A8}"/>
                    </a:ext>
                  </a:extLst>
                </p:cNvPr>
                <p:cNvSpPr/>
                <p:nvPr/>
              </p:nvSpPr>
              <p:spPr>
                <a:xfrm>
                  <a:off x="10095041" y="5788768"/>
                  <a:ext cx="10114" cy="51193"/>
                </a:xfrm>
                <a:custGeom>
                  <a:avLst/>
                  <a:gdLst>
                    <a:gd name="connsiteX0" fmla="*/ 9825 w 10114"/>
                    <a:gd name="connsiteY0" fmla="*/ 0 h 51193"/>
                    <a:gd name="connsiteX1" fmla="*/ 8081 w 10114"/>
                    <a:gd name="connsiteY1" fmla="*/ 18684 h 51193"/>
                    <a:gd name="connsiteX2" fmla="*/ 1480 w 10114"/>
                    <a:gd name="connsiteY2" fmla="*/ 34751 h 51193"/>
                    <a:gd name="connsiteX3" fmla="*/ 359 w 1011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114" h="51193">
                      <a:moveTo>
                        <a:pt x="9825" y="0"/>
                      </a:moveTo>
                      <a:cubicBezTo>
                        <a:pt x="10697" y="8345"/>
                        <a:pt x="9451" y="14573"/>
                        <a:pt x="8081" y="18684"/>
                      </a:cubicBezTo>
                      <a:cubicBezTo>
                        <a:pt x="5964" y="25409"/>
                        <a:pt x="3348" y="27901"/>
                        <a:pt x="1480"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4" name="Freeform 5453">
                  <a:extLst>
                    <a:ext uri="{FF2B5EF4-FFF2-40B4-BE49-F238E27FC236}">
                      <a16:creationId xmlns:a16="http://schemas.microsoft.com/office/drawing/2014/main" id="{42224342-8876-BB92-B1D1-8D566FBC01FB}"/>
                    </a:ext>
                  </a:extLst>
                </p:cNvPr>
                <p:cNvSpPr/>
                <p:nvPr/>
              </p:nvSpPr>
              <p:spPr>
                <a:xfrm>
                  <a:off x="10085194" y="5829506"/>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586" y="-1129"/>
                        <a:pt x="15686" y="241"/>
                      </a:cubicBezTo>
                      <a:cubicBezTo>
                        <a:pt x="22786" y="1611"/>
                        <a:pt x="27394" y="8586"/>
                        <a:pt x="26024" y="15810"/>
                      </a:cubicBezTo>
                      <a:cubicBezTo>
                        <a:pt x="24654" y="23035"/>
                        <a:pt x="17679" y="27644"/>
                        <a:pt x="10579" y="26274"/>
                      </a:cubicBezTo>
                      <a:cubicBezTo>
                        <a:pt x="3480" y="24779"/>
                        <a:pt x="-1129" y="17803"/>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1" name="Graphic 2987">
                <a:extLst>
                  <a:ext uri="{FF2B5EF4-FFF2-40B4-BE49-F238E27FC236}">
                    <a16:creationId xmlns:a16="http://schemas.microsoft.com/office/drawing/2014/main" id="{FB17E9DA-B82F-EF9D-6B35-47EC1BFAAE72}"/>
                  </a:ext>
                </a:extLst>
              </p:cNvPr>
              <p:cNvGrpSpPr/>
              <p:nvPr/>
            </p:nvGrpSpPr>
            <p:grpSpPr>
              <a:xfrm>
                <a:off x="10113962" y="5715252"/>
                <a:ext cx="50842" cy="146498"/>
                <a:chOff x="10113962" y="5715252"/>
                <a:chExt cx="50842" cy="146498"/>
              </a:xfrm>
              <a:grpFill/>
            </p:grpSpPr>
            <p:sp>
              <p:nvSpPr>
                <p:cNvPr id="4133" name="Freeform 5455">
                  <a:extLst>
                    <a:ext uri="{FF2B5EF4-FFF2-40B4-BE49-F238E27FC236}">
                      <a16:creationId xmlns:a16="http://schemas.microsoft.com/office/drawing/2014/main" id="{3C67FEAF-A295-6A3A-E3DF-F16340412AB4}"/>
                    </a:ext>
                  </a:extLst>
                </p:cNvPr>
                <p:cNvSpPr/>
                <p:nvPr/>
              </p:nvSpPr>
              <p:spPr>
                <a:xfrm>
                  <a:off x="10135506" y="5734710"/>
                  <a:ext cx="10961" cy="50944"/>
                </a:xfrm>
                <a:custGeom>
                  <a:avLst/>
                  <a:gdLst>
                    <a:gd name="connsiteX0" fmla="*/ 10961 w 10961"/>
                    <a:gd name="connsiteY0" fmla="*/ 0 h 50944"/>
                    <a:gd name="connsiteX1" fmla="*/ 5357 w 10961"/>
                    <a:gd name="connsiteY1" fmla="*/ 17936 h 50944"/>
                    <a:gd name="connsiteX2" fmla="*/ 5357 w 10961"/>
                    <a:gd name="connsiteY2" fmla="*/ 35374 h 50944"/>
                    <a:gd name="connsiteX3" fmla="*/ 0 w 10961"/>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0"/>
                      </a:moveTo>
                      <a:cubicBezTo>
                        <a:pt x="6976" y="7349"/>
                        <a:pt x="5730" y="13577"/>
                        <a:pt x="5357" y="17936"/>
                      </a:cubicBezTo>
                      <a:cubicBezTo>
                        <a:pt x="4733" y="24912"/>
                        <a:pt x="6228" y="28274"/>
                        <a:pt x="5357" y="35374"/>
                      </a:cubicBezTo>
                      <a:cubicBezTo>
                        <a:pt x="4485"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4" name="Freeform 5456">
                  <a:extLst>
                    <a:ext uri="{FF2B5EF4-FFF2-40B4-BE49-F238E27FC236}">
                      <a16:creationId xmlns:a16="http://schemas.microsoft.com/office/drawing/2014/main" id="{410D9FB4-0731-8581-732B-D97B4F7E8EDB}"/>
                    </a:ext>
                  </a:extLst>
                </p:cNvPr>
                <p:cNvSpPr/>
                <p:nvPr/>
              </p:nvSpPr>
              <p:spPr>
                <a:xfrm>
                  <a:off x="10144324" y="5731222"/>
                  <a:ext cx="10224" cy="51193"/>
                </a:xfrm>
                <a:custGeom>
                  <a:avLst/>
                  <a:gdLst>
                    <a:gd name="connsiteX0" fmla="*/ 275 w 10224"/>
                    <a:gd name="connsiteY0" fmla="*/ 51193 h 51193"/>
                    <a:gd name="connsiteX1" fmla="*/ 2019 w 10224"/>
                    <a:gd name="connsiteY1" fmla="*/ 32509 h 51193"/>
                    <a:gd name="connsiteX2" fmla="*/ 8745 w 10224"/>
                    <a:gd name="connsiteY2" fmla="*/ 16441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7"/>
                        <a:pt x="773" y="36620"/>
                        <a:pt x="2019" y="32509"/>
                      </a:cubicBezTo>
                      <a:cubicBezTo>
                        <a:pt x="4136" y="25783"/>
                        <a:pt x="6876" y="23292"/>
                        <a:pt x="8745" y="16441"/>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5" name="Freeform 5457">
                  <a:extLst>
                    <a:ext uri="{FF2B5EF4-FFF2-40B4-BE49-F238E27FC236}">
                      <a16:creationId xmlns:a16="http://schemas.microsoft.com/office/drawing/2014/main" id="{F754FA96-E0C1-36CF-C315-6C2386284A0D}"/>
                    </a:ext>
                  </a:extLst>
                </p:cNvPr>
                <p:cNvSpPr/>
                <p:nvPr/>
              </p:nvSpPr>
              <p:spPr>
                <a:xfrm>
                  <a:off x="10138096" y="5715252"/>
                  <a:ext cx="26708" cy="26465"/>
                </a:xfrm>
                <a:custGeom>
                  <a:avLst/>
                  <a:gdLst>
                    <a:gd name="connsiteX0" fmla="*/ 26433 w 26708"/>
                    <a:gd name="connsiteY0" fmla="*/ 15846 h 26465"/>
                    <a:gd name="connsiteX1" fmla="*/ 10738 w 26708"/>
                    <a:gd name="connsiteY1" fmla="*/ 26184 h 26465"/>
                    <a:gd name="connsiteX2" fmla="*/ 276 w 26708"/>
                    <a:gd name="connsiteY2" fmla="*/ 10614 h 26465"/>
                    <a:gd name="connsiteX3" fmla="*/ 15970 w 26708"/>
                    <a:gd name="connsiteY3" fmla="*/ 276 h 26465"/>
                    <a:gd name="connsiteX4" fmla="*/ 26433 w 26708"/>
                    <a:gd name="connsiteY4" fmla="*/ 15846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5">
                      <a:moveTo>
                        <a:pt x="26433" y="15846"/>
                      </a:moveTo>
                      <a:cubicBezTo>
                        <a:pt x="24938" y="23070"/>
                        <a:pt x="17963" y="27679"/>
                        <a:pt x="10738" y="26184"/>
                      </a:cubicBezTo>
                      <a:cubicBezTo>
                        <a:pt x="3514" y="24689"/>
                        <a:pt x="-1219" y="17714"/>
                        <a:pt x="276" y="10614"/>
                      </a:cubicBezTo>
                      <a:cubicBezTo>
                        <a:pt x="1770" y="3515"/>
                        <a:pt x="8746" y="-1219"/>
                        <a:pt x="15970" y="276"/>
                      </a:cubicBezTo>
                      <a:cubicBezTo>
                        <a:pt x="23194" y="1771"/>
                        <a:pt x="27927" y="8746"/>
                        <a:pt x="26433" y="158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6" name="Freeform 5458">
                  <a:extLst>
                    <a:ext uri="{FF2B5EF4-FFF2-40B4-BE49-F238E27FC236}">
                      <a16:creationId xmlns:a16="http://schemas.microsoft.com/office/drawing/2014/main" id="{4D5BB539-F50E-7651-0602-53E78C5DE000}"/>
                    </a:ext>
                  </a:extLst>
                </p:cNvPr>
                <p:cNvSpPr/>
                <p:nvPr/>
              </p:nvSpPr>
              <p:spPr>
                <a:xfrm>
                  <a:off x="10132019" y="5791258"/>
                  <a:ext cx="11085" cy="50944"/>
                </a:xfrm>
                <a:custGeom>
                  <a:avLst/>
                  <a:gdLst>
                    <a:gd name="connsiteX0" fmla="*/ 0 w 11085"/>
                    <a:gd name="connsiteY0" fmla="*/ 50944 h 50944"/>
                    <a:gd name="connsiteX1" fmla="*/ 5605 w 11085"/>
                    <a:gd name="connsiteY1" fmla="*/ 33008 h 50944"/>
                    <a:gd name="connsiteX2" fmla="*/ 5730 w 11085"/>
                    <a:gd name="connsiteY2" fmla="*/ 15570 h 50944"/>
                    <a:gd name="connsiteX3" fmla="*/ 11086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0" y="50944"/>
                      </a:moveTo>
                      <a:cubicBezTo>
                        <a:pt x="3986" y="43595"/>
                        <a:pt x="5231" y="37367"/>
                        <a:pt x="5605" y="33008"/>
                      </a:cubicBezTo>
                      <a:cubicBezTo>
                        <a:pt x="6228" y="26033"/>
                        <a:pt x="4733" y="22670"/>
                        <a:pt x="5730" y="15570"/>
                      </a:cubicBezTo>
                      <a:cubicBezTo>
                        <a:pt x="6601" y="8719"/>
                        <a:pt x="9092" y="3363"/>
                        <a:pt x="110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7" name="Freeform 5459">
                  <a:extLst>
                    <a:ext uri="{FF2B5EF4-FFF2-40B4-BE49-F238E27FC236}">
                      <a16:creationId xmlns:a16="http://schemas.microsoft.com/office/drawing/2014/main" id="{E51F1354-1002-C283-950B-683B37F266B1}"/>
                    </a:ext>
                  </a:extLst>
                </p:cNvPr>
                <p:cNvSpPr/>
                <p:nvPr/>
              </p:nvSpPr>
              <p:spPr>
                <a:xfrm>
                  <a:off x="10123938" y="5794622"/>
                  <a:ext cx="10224" cy="51193"/>
                </a:xfrm>
                <a:custGeom>
                  <a:avLst/>
                  <a:gdLst>
                    <a:gd name="connsiteX0" fmla="*/ 9950 w 10224"/>
                    <a:gd name="connsiteY0" fmla="*/ 0 h 51193"/>
                    <a:gd name="connsiteX1" fmla="*/ 8206 w 10224"/>
                    <a:gd name="connsiteY1" fmla="*/ 18684 h 51193"/>
                    <a:gd name="connsiteX2" fmla="*/ 1479 w 10224"/>
                    <a:gd name="connsiteY2" fmla="*/ 34751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1" y="8345"/>
                        <a:pt x="9451" y="14573"/>
                        <a:pt x="8206" y="18684"/>
                      </a:cubicBezTo>
                      <a:cubicBezTo>
                        <a:pt x="6089" y="25409"/>
                        <a:pt x="3348" y="27901"/>
                        <a:pt x="1479"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8" name="Freeform 5460">
                  <a:extLst>
                    <a:ext uri="{FF2B5EF4-FFF2-40B4-BE49-F238E27FC236}">
                      <a16:creationId xmlns:a16="http://schemas.microsoft.com/office/drawing/2014/main" id="{C608EC20-5DFF-6B56-292D-5FBB833FBDE9}"/>
                    </a:ext>
                  </a:extLst>
                </p:cNvPr>
                <p:cNvSpPr/>
                <p:nvPr/>
              </p:nvSpPr>
              <p:spPr>
                <a:xfrm>
                  <a:off x="10113962" y="5835236"/>
                  <a:ext cx="26186" cy="26514"/>
                </a:xfrm>
                <a:custGeom>
                  <a:avLst/>
                  <a:gdLst>
                    <a:gd name="connsiteX0" fmla="*/ 246 w 26186"/>
                    <a:gd name="connsiteY0" fmla="*/ 10704 h 26514"/>
                    <a:gd name="connsiteX1" fmla="*/ 15691 w 26186"/>
                    <a:gd name="connsiteY1" fmla="*/ 241 h 26514"/>
                    <a:gd name="connsiteX2" fmla="*/ 25905 w 26186"/>
                    <a:gd name="connsiteY2" fmla="*/ 15811 h 26514"/>
                    <a:gd name="connsiteX3" fmla="*/ 10460 w 26186"/>
                    <a:gd name="connsiteY3" fmla="*/ 26273 h 26514"/>
                    <a:gd name="connsiteX4" fmla="*/ 246 w 2618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513">
                      <a:moveTo>
                        <a:pt x="246" y="10704"/>
                      </a:moveTo>
                      <a:cubicBezTo>
                        <a:pt x="1741" y="3479"/>
                        <a:pt x="8591" y="-1129"/>
                        <a:pt x="15691" y="241"/>
                      </a:cubicBezTo>
                      <a:cubicBezTo>
                        <a:pt x="22791" y="1611"/>
                        <a:pt x="27399" y="8586"/>
                        <a:pt x="25905" y="15811"/>
                      </a:cubicBezTo>
                      <a:cubicBezTo>
                        <a:pt x="24410" y="23035"/>
                        <a:pt x="17435" y="27643"/>
                        <a:pt x="10460" y="26273"/>
                      </a:cubicBezTo>
                      <a:cubicBezTo>
                        <a:pt x="3360" y="24779"/>
                        <a:pt x="-1124" y="17804"/>
                        <a:pt x="246"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2" name="Graphic 2987">
                <a:extLst>
                  <a:ext uri="{FF2B5EF4-FFF2-40B4-BE49-F238E27FC236}">
                    <a16:creationId xmlns:a16="http://schemas.microsoft.com/office/drawing/2014/main" id="{3110DF11-6B6C-E125-E648-B8BAC7B6D25A}"/>
                  </a:ext>
                </a:extLst>
              </p:cNvPr>
              <p:cNvGrpSpPr/>
              <p:nvPr/>
            </p:nvGrpSpPr>
            <p:grpSpPr>
              <a:xfrm>
                <a:off x="10142699" y="5721101"/>
                <a:ext cx="51377" cy="146379"/>
                <a:chOff x="10142699" y="5721101"/>
                <a:chExt cx="51377" cy="146379"/>
              </a:xfrm>
              <a:grpFill/>
            </p:grpSpPr>
            <p:sp>
              <p:nvSpPr>
                <p:cNvPr id="4127" name="Freeform 5462">
                  <a:extLst>
                    <a:ext uri="{FF2B5EF4-FFF2-40B4-BE49-F238E27FC236}">
                      <a16:creationId xmlns:a16="http://schemas.microsoft.com/office/drawing/2014/main" id="{F2518269-670E-5FAA-086B-4AD30BCBEEDF}"/>
                    </a:ext>
                  </a:extLst>
                </p:cNvPr>
                <p:cNvSpPr/>
                <p:nvPr/>
              </p:nvSpPr>
              <p:spPr>
                <a:xfrm>
                  <a:off x="10164280" y="5740564"/>
                  <a:ext cx="11334" cy="50944"/>
                </a:xfrm>
                <a:custGeom>
                  <a:avLst/>
                  <a:gdLst>
                    <a:gd name="connsiteX0" fmla="*/ 11334 w 11334"/>
                    <a:gd name="connsiteY0" fmla="*/ 0 h 50944"/>
                    <a:gd name="connsiteX1" fmla="*/ 5604 w 11334"/>
                    <a:gd name="connsiteY1" fmla="*/ 17936 h 50944"/>
                    <a:gd name="connsiteX2" fmla="*/ 5480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4" y="0"/>
                      </a:moveTo>
                      <a:cubicBezTo>
                        <a:pt x="7224" y="7349"/>
                        <a:pt x="5979" y="13577"/>
                        <a:pt x="5604" y="17936"/>
                      </a:cubicBezTo>
                      <a:cubicBezTo>
                        <a:pt x="4982" y="24912"/>
                        <a:pt x="6476" y="28274"/>
                        <a:pt x="5480"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8" name="Freeform 5463">
                  <a:extLst>
                    <a:ext uri="{FF2B5EF4-FFF2-40B4-BE49-F238E27FC236}">
                      <a16:creationId xmlns:a16="http://schemas.microsoft.com/office/drawing/2014/main" id="{BAAB7EC1-8FF9-A4FD-6AA7-ECD8DFE16181}"/>
                    </a:ext>
                  </a:extLst>
                </p:cNvPr>
                <p:cNvSpPr/>
                <p:nvPr/>
              </p:nvSpPr>
              <p:spPr>
                <a:xfrm>
                  <a:off x="10173521" y="5737076"/>
                  <a:ext cx="10452" cy="51193"/>
                </a:xfrm>
                <a:custGeom>
                  <a:avLst/>
                  <a:gdLst>
                    <a:gd name="connsiteX0" fmla="*/ 224 w 10452"/>
                    <a:gd name="connsiteY0" fmla="*/ 51193 h 51193"/>
                    <a:gd name="connsiteX1" fmla="*/ 2093 w 10452"/>
                    <a:gd name="connsiteY1" fmla="*/ 32509 h 51193"/>
                    <a:gd name="connsiteX2" fmla="*/ 8944 w 10452"/>
                    <a:gd name="connsiteY2" fmla="*/ 16441 h 51193"/>
                    <a:gd name="connsiteX3" fmla="*/ 10190 w 10452"/>
                    <a:gd name="connsiteY3" fmla="*/ 0 h 51193"/>
                  </a:gdLst>
                  <a:ahLst/>
                  <a:cxnLst>
                    <a:cxn ang="0">
                      <a:pos x="connsiteX0" y="connsiteY0"/>
                    </a:cxn>
                    <a:cxn ang="0">
                      <a:pos x="connsiteX1" y="connsiteY1"/>
                    </a:cxn>
                    <a:cxn ang="0">
                      <a:pos x="connsiteX2" y="connsiteY2"/>
                    </a:cxn>
                    <a:cxn ang="0">
                      <a:pos x="connsiteX3" y="connsiteY3"/>
                    </a:cxn>
                  </a:cxnLst>
                  <a:rect l="l" t="t" r="r" b="b"/>
                  <a:pathLst>
                    <a:path w="10452" h="51193">
                      <a:moveTo>
                        <a:pt x="224" y="51193"/>
                      </a:moveTo>
                      <a:cubicBezTo>
                        <a:pt x="-523" y="42847"/>
                        <a:pt x="723" y="36620"/>
                        <a:pt x="2093" y="32509"/>
                      </a:cubicBezTo>
                      <a:cubicBezTo>
                        <a:pt x="4210" y="25908"/>
                        <a:pt x="6951" y="23292"/>
                        <a:pt x="8944" y="16441"/>
                      </a:cubicBezTo>
                      <a:cubicBezTo>
                        <a:pt x="10812" y="9840"/>
                        <a:pt x="10563" y="3861"/>
                        <a:pt x="101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9" name="Freeform 5464">
                  <a:extLst>
                    <a:ext uri="{FF2B5EF4-FFF2-40B4-BE49-F238E27FC236}">
                      <a16:creationId xmlns:a16="http://schemas.microsoft.com/office/drawing/2014/main" id="{52C2AB80-879B-1AE4-9AA5-03DBF0E7E2DE}"/>
                    </a:ext>
                  </a:extLst>
                </p:cNvPr>
                <p:cNvSpPr/>
                <p:nvPr/>
              </p:nvSpPr>
              <p:spPr>
                <a:xfrm>
                  <a:off x="10167277" y="5721101"/>
                  <a:ext cx="26798" cy="26470"/>
                </a:xfrm>
                <a:custGeom>
                  <a:avLst/>
                  <a:gdLst>
                    <a:gd name="connsiteX0" fmla="*/ 26523 w 26798"/>
                    <a:gd name="connsiteY0" fmla="*/ 15851 h 26470"/>
                    <a:gd name="connsiteX1" fmla="*/ 10704 w 26798"/>
                    <a:gd name="connsiteY1" fmla="*/ 26189 h 26470"/>
                    <a:gd name="connsiteX2" fmla="*/ 241 w 26798"/>
                    <a:gd name="connsiteY2" fmla="*/ 10619 h 26470"/>
                    <a:gd name="connsiteX3" fmla="*/ 16060 w 26798"/>
                    <a:gd name="connsiteY3" fmla="*/ 281 h 26470"/>
                    <a:gd name="connsiteX4" fmla="*/ 26523 w 26798"/>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8" h="26470">
                      <a:moveTo>
                        <a:pt x="26523" y="15851"/>
                      </a:moveTo>
                      <a:cubicBezTo>
                        <a:pt x="25028" y="23075"/>
                        <a:pt x="17928" y="27684"/>
                        <a:pt x="10704" y="26189"/>
                      </a:cubicBezTo>
                      <a:cubicBezTo>
                        <a:pt x="3479" y="24694"/>
                        <a:pt x="-1129" y="17719"/>
                        <a:pt x="241" y="10619"/>
                      </a:cubicBezTo>
                      <a:cubicBezTo>
                        <a:pt x="1735" y="3395"/>
                        <a:pt x="8835" y="-1213"/>
                        <a:pt x="16060" y="281"/>
                      </a:cubicBezTo>
                      <a:cubicBezTo>
                        <a:pt x="23284" y="1776"/>
                        <a:pt x="28018" y="8751"/>
                        <a:pt x="2652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0" name="Freeform 5465">
                  <a:extLst>
                    <a:ext uri="{FF2B5EF4-FFF2-40B4-BE49-F238E27FC236}">
                      <a16:creationId xmlns:a16="http://schemas.microsoft.com/office/drawing/2014/main" id="{1842153D-D3D3-B4AE-DAFA-13A8B0F4EBFC}"/>
                    </a:ext>
                  </a:extLst>
                </p:cNvPr>
                <p:cNvSpPr/>
                <p:nvPr/>
              </p:nvSpPr>
              <p:spPr>
                <a:xfrm>
                  <a:off x="10160792" y="5797113"/>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4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3986" y="43595"/>
                        <a:pt x="5356" y="37367"/>
                        <a:pt x="5730" y="33008"/>
                      </a:cubicBezTo>
                      <a:cubicBezTo>
                        <a:pt x="6353" y="26033"/>
                        <a:pt x="4983" y="22670"/>
                        <a:pt x="5854" y="15570"/>
                      </a:cubicBezTo>
                      <a:cubicBezTo>
                        <a:pt x="6726" y="8719"/>
                        <a:pt x="9342" y="3363"/>
                        <a:pt x="113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1" name="Freeform 5466">
                  <a:extLst>
                    <a:ext uri="{FF2B5EF4-FFF2-40B4-BE49-F238E27FC236}">
                      <a16:creationId xmlns:a16="http://schemas.microsoft.com/office/drawing/2014/main" id="{3A140C44-F917-87DB-5454-18F790EFA6C4}"/>
                    </a:ext>
                  </a:extLst>
                </p:cNvPr>
                <p:cNvSpPr/>
                <p:nvPr/>
              </p:nvSpPr>
              <p:spPr>
                <a:xfrm>
                  <a:off x="10152682" y="5800351"/>
                  <a:ext cx="10326" cy="51193"/>
                </a:xfrm>
                <a:custGeom>
                  <a:avLst/>
                  <a:gdLst>
                    <a:gd name="connsiteX0" fmla="*/ 10102 w 10326"/>
                    <a:gd name="connsiteY0" fmla="*/ 0 h 51193"/>
                    <a:gd name="connsiteX1" fmla="*/ 8234 w 10326"/>
                    <a:gd name="connsiteY1" fmla="*/ 18684 h 51193"/>
                    <a:gd name="connsiteX2" fmla="*/ 1508 w 10326"/>
                    <a:gd name="connsiteY2" fmla="*/ 34752 h 51193"/>
                    <a:gd name="connsiteX3" fmla="*/ 263 w 1032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26" h="51193">
                      <a:moveTo>
                        <a:pt x="10102" y="0"/>
                      </a:moveTo>
                      <a:cubicBezTo>
                        <a:pt x="10850" y="8346"/>
                        <a:pt x="9604" y="14573"/>
                        <a:pt x="8234" y="18684"/>
                      </a:cubicBezTo>
                      <a:cubicBezTo>
                        <a:pt x="6117" y="25285"/>
                        <a:pt x="3376"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2" name="Freeform 5467">
                  <a:extLst>
                    <a:ext uri="{FF2B5EF4-FFF2-40B4-BE49-F238E27FC236}">
                      <a16:creationId xmlns:a16="http://schemas.microsoft.com/office/drawing/2014/main" id="{84C103FA-A3E2-59EC-BF28-661051D77AF3}"/>
                    </a:ext>
                  </a:extLst>
                </p:cNvPr>
                <p:cNvSpPr/>
                <p:nvPr/>
              </p:nvSpPr>
              <p:spPr>
                <a:xfrm>
                  <a:off x="10142699" y="5840965"/>
                  <a:ext cx="26346" cy="26514"/>
                </a:xfrm>
                <a:custGeom>
                  <a:avLst/>
                  <a:gdLst>
                    <a:gd name="connsiteX0" fmla="*/ 282 w 26346"/>
                    <a:gd name="connsiteY0" fmla="*/ 10704 h 26514"/>
                    <a:gd name="connsiteX1" fmla="*/ 15851 w 26346"/>
                    <a:gd name="connsiteY1" fmla="*/ 241 h 26514"/>
                    <a:gd name="connsiteX2" fmla="*/ 26065 w 26346"/>
                    <a:gd name="connsiteY2" fmla="*/ 15810 h 26514"/>
                    <a:gd name="connsiteX3" fmla="*/ 10495 w 26346"/>
                    <a:gd name="connsiteY3" fmla="*/ 26273 h 26514"/>
                    <a:gd name="connsiteX4" fmla="*/ 282 w 2634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13">
                      <a:moveTo>
                        <a:pt x="282" y="10704"/>
                      </a:moveTo>
                      <a:cubicBezTo>
                        <a:pt x="1776" y="3479"/>
                        <a:pt x="8751" y="-1129"/>
                        <a:pt x="15851" y="241"/>
                      </a:cubicBezTo>
                      <a:cubicBezTo>
                        <a:pt x="22951" y="1611"/>
                        <a:pt x="27560" y="8586"/>
                        <a:pt x="26065" y="15810"/>
                      </a:cubicBezTo>
                      <a:cubicBezTo>
                        <a:pt x="24570" y="23035"/>
                        <a:pt x="17595" y="27644"/>
                        <a:pt x="10495" y="26273"/>
                      </a:cubicBezTo>
                      <a:cubicBezTo>
                        <a:pt x="3395" y="24779"/>
                        <a:pt x="-1213" y="17803"/>
                        <a:pt x="282"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3" name="Graphic 2987">
                <a:extLst>
                  <a:ext uri="{FF2B5EF4-FFF2-40B4-BE49-F238E27FC236}">
                    <a16:creationId xmlns:a16="http://schemas.microsoft.com/office/drawing/2014/main" id="{474A27F2-B9CF-08D0-8AB8-88F39180B943}"/>
                  </a:ext>
                </a:extLst>
              </p:cNvPr>
              <p:cNvGrpSpPr/>
              <p:nvPr/>
            </p:nvGrpSpPr>
            <p:grpSpPr>
              <a:xfrm>
                <a:off x="10171466" y="5727155"/>
                <a:ext cx="51761" cy="146344"/>
                <a:chOff x="10171466" y="5727155"/>
                <a:chExt cx="51761" cy="146344"/>
              </a:xfrm>
              <a:grpFill/>
            </p:grpSpPr>
            <p:sp>
              <p:nvSpPr>
                <p:cNvPr id="4121" name="Freeform 5469">
                  <a:extLst>
                    <a:ext uri="{FF2B5EF4-FFF2-40B4-BE49-F238E27FC236}">
                      <a16:creationId xmlns:a16="http://schemas.microsoft.com/office/drawing/2014/main" id="{A840BB87-2606-4281-FA5F-342415342ED0}"/>
                    </a:ext>
                  </a:extLst>
                </p:cNvPr>
                <p:cNvSpPr/>
                <p:nvPr/>
              </p:nvSpPr>
              <p:spPr>
                <a:xfrm>
                  <a:off x="10193426" y="5746542"/>
                  <a:ext cx="11459" cy="50819"/>
                </a:xfrm>
                <a:custGeom>
                  <a:avLst/>
                  <a:gdLst>
                    <a:gd name="connsiteX0" fmla="*/ 11459 w 11459"/>
                    <a:gd name="connsiteY0" fmla="*/ 0 h 50819"/>
                    <a:gd name="connsiteX1" fmla="*/ 5605 w 11459"/>
                    <a:gd name="connsiteY1" fmla="*/ 17812 h 50819"/>
                    <a:gd name="connsiteX2" fmla="*/ 5481 w 11459"/>
                    <a:gd name="connsiteY2" fmla="*/ 35250 h 50819"/>
                    <a:gd name="connsiteX3" fmla="*/ 0 w 11459"/>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459" h="50818">
                      <a:moveTo>
                        <a:pt x="11459" y="0"/>
                      </a:moveTo>
                      <a:cubicBezTo>
                        <a:pt x="7349" y="7349"/>
                        <a:pt x="6103" y="13577"/>
                        <a:pt x="5605" y="17812"/>
                      </a:cubicBezTo>
                      <a:cubicBezTo>
                        <a:pt x="4983" y="24787"/>
                        <a:pt x="6353" y="28275"/>
                        <a:pt x="5481" y="35250"/>
                      </a:cubicBezTo>
                      <a:cubicBezTo>
                        <a:pt x="4484" y="42101"/>
                        <a:pt x="1993" y="47456"/>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2" name="Freeform 5470">
                  <a:extLst>
                    <a:ext uri="{FF2B5EF4-FFF2-40B4-BE49-F238E27FC236}">
                      <a16:creationId xmlns:a16="http://schemas.microsoft.com/office/drawing/2014/main" id="{CC16FF3C-D472-AA5D-C48F-F94A2F9D91D3}"/>
                    </a:ext>
                  </a:extLst>
                </p:cNvPr>
                <p:cNvSpPr/>
                <p:nvPr/>
              </p:nvSpPr>
              <p:spPr>
                <a:xfrm>
                  <a:off x="10202432" y="5743304"/>
                  <a:ext cx="10618" cy="51068"/>
                </a:xfrm>
                <a:custGeom>
                  <a:avLst/>
                  <a:gdLst>
                    <a:gd name="connsiteX0" fmla="*/ 211 w 10618"/>
                    <a:gd name="connsiteY0" fmla="*/ 51068 h 51068"/>
                    <a:gd name="connsiteX1" fmla="*/ 2205 w 10618"/>
                    <a:gd name="connsiteY1" fmla="*/ 32385 h 51068"/>
                    <a:gd name="connsiteX2" fmla="*/ 9055 w 10618"/>
                    <a:gd name="connsiteY2" fmla="*/ 16441 h 51068"/>
                    <a:gd name="connsiteX3" fmla="*/ 10300 w 10618"/>
                    <a:gd name="connsiteY3" fmla="*/ 0 h 51068"/>
                  </a:gdLst>
                  <a:ahLst/>
                  <a:cxnLst>
                    <a:cxn ang="0">
                      <a:pos x="connsiteX0" y="connsiteY0"/>
                    </a:cxn>
                    <a:cxn ang="0">
                      <a:pos x="connsiteX1" y="connsiteY1"/>
                    </a:cxn>
                    <a:cxn ang="0">
                      <a:pos x="connsiteX2" y="connsiteY2"/>
                    </a:cxn>
                    <a:cxn ang="0">
                      <a:pos x="connsiteX3" y="connsiteY3"/>
                    </a:cxn>
                  </a:cxnLst>
                  <a:rect l="l" t="t" r="r" b="b"/>
                  <a:pathLst>
                    <a:path w="10618" h="51068">
                      <a:moveTo>
                        <a:pt x="211" y="51068"/>
                      </a:moveTo>
                      <a:cubicBezTo>
                        <a:pt x="-536" y="42723"/>
                        <a:pt x="834" y="36495"/>
                        <a:pt x="2205" y="32385"/>
                      </a:cubicBezTo>
                      <a:cubicBezTo>
                        <a:pt x="4447" y="25783"/>
                        <a:pt x="7187" y="23168"/>
                        <a:pt x="9055" y="16441"/>
                      </a:cubicBezTo>
                      <a:cubicBezTo>
                        <a:pt x="10923" y="9840"/>
                        <a:pt x="10799"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3" name="Freeform 5471">
                  <a:extLst>
                    <a:ext uri="{FF2B5EF4-FFF2-40B4-BE49-F238E27FC236}">
                      <a16:creationId xmlns:a16="http://schemas.microsoft.com/office/drawing/2014/main" id="{7EE6F295-FB66-8FE2-C4BA-5301DAC12FD6}"/>
                    </a:ext>
                  </a:extLst>
                </p:cNvPr>
                <p:cNvSpPr/>
                <p:nvPr/>
              </p:nvSpPr>
              <p:spPr>
                <a:xfrm>
                  <a:off x="10196508" y="5727155"/>
                  <a:ext cx="26719" cy="26563"/>
                </a:xfrm>
                <a:custGeom>
                  <a:avLst/>
                  <a:gdLst>
                    <a:gd name="connsiteX0" fmla="*/ 26438 w 26719"/>
                    <a:gd name="connsiteY0" fmla="*/ 16150 h 26563"/>
                    <a:gd name="connsiteX1" fmla="*/ 10619 w 26719"/>
                    <a:gd name="connsiteY1" fmla="*/ 26239 h 26563"/>
                    <a:gd name="connsiteX2" fmla="*/ 281 w 26719"/>
                    <a:gd name="connsiteY2" fmla="*/ 10420 h 26563"/>
                    <a:gd name="connsiteX3" fmla="*/ 16100 w 26719"/>
                    <a:gd name="connsiteY3" fmla="*/ 331 h 26563"/>
                    <a:gd name="connsiteX4" fmla="*/ 26438 w 26719"/>
                    <a:gd name="connsiteY4" fmla="*/ 16150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63">
                      <a:moveTo>
                        <a:pt x="26438" y="16150"/>
                      </a:moveTo>
                      <a:cubicBezTo>
                        <a:pt x="24943" y="23249"/>
                        <a:pt x="17844" y="27858"/>
                        <a:pt x="10619" y="26239"/>
                      </a:cubicBezTo>
                      <a:cubicBezTo>
                        <a:pt x="3395" y="24619"/>
                        <a:pt x="-1213" y="17520"/>
                        <a:pt x="281" y="10420"/>
                      </a:cubicBezTo>
                      <a:cubicBezTo>
                        <a:pt x="1776" y="3195"/>
                        <a:pt x="8876" y="-1289"/>
                        <a:pt x="16100" y="331"/>
                      </a:cubicBezTo>
                      <a:cubicBezTo>
                        <a:pt x="23324" y="1950"/>
                        <a:pt x="27933" y="9050"/>
                        <a:pt x="26438"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4" name="Freeform 5472">
                  <a:extLst>
                    <a:ext uri="{FF2B5EF4-FFF2-40B4-BE49-F238E27FC236}">
                      <a16:creationId xmlns:a16="http://schemas.microsoft.com/office/drawing/2014/main" id="{6A50CACE-F5CD-A22B-5ED7-E2FAA9C91648}"/>
                    </a:ext>
                  </a:extLst>
                </p:cNvPr>
                <p:cNvSpPr/>
                <p:nvPr/>
              </p:nvSpPr>
              <p:spPr>
                <a:xfrm>
                  <a:off x="10189565" y="5803216"/>
                  <a:ext cx="11583" cy="50819"/>
                </a:xfrm>
                <a:custGeom>
                  <a:avLst/>
                  <a:gdLst>
                    <a:gd name="connsiteX0" fmla="*/ 0 w 11583"/>
                    <a:gd name="connsiteY0" fmla="*/ 50819 h 50819"/>
                    <a:gd name="connsiteX1" fmla="*/ 5855 w 11583"/>
                    <a:gd name="connsiteY1" fmla="*/ 33008 h 50819"/>
                    <a:gd name="connsiteX2" fmla="*/ 6103 w 11583"/>
                    <a:gd name="connsiteY2" fmla="*/ 15570 h 50819"/>
                    <a:gd name="connsiteX3" fmla="*/ 11584 w 11583"/>
                    <a:gd name="connsiteY3" fmla="*/ 0 h 50819"/>
                  </a:gdLst>
                  <a:ahLst/>
                  <a:cxnLst>
                    <a:cxn ang="0">
                      <a:pos x="connsiteX0" y="connsiteY0"/>
                    </a:cxn>
                    <a:cxn ang="0">
                      <a:pos x="connsiteX1" y="connsiteY1"/>
                    </a:cxn>
                    <a:cxn ang="0">
                      <a:pos x="connsiteX2" y="connsiteY2"/>
                    </a:cxn>
                    <a:cxn ang="0">
                      <a:pos x="connsiteX3" y="connsiteY3"/>
                    </a:cxn>
                  </a:cxnLst>
                  <a:rect l="l" t="t" r="r" b="b"/>
                  <a:pathLst>
                    <a:path w="11583" h="50818">
                      <a:moveTo>
                        <a:pt x="0" y="50819"/>
                      </a:moveTo>
                      <a:cubicBezTo>
                        <a:pt x="4111" y="43471"/>
                        <a:pt x="5356" y="37243"/>
                        <a:pt x="5855" y="33008"/>
                      </a:cubicBezTo>
                      <a:cubicBezTo>
                        <a:pt x="6602" y="26033"/>
                        <a:pt x="5107" y="22545"/>
                        <a:pt x="6103" y="15570"/>
                      </a:cubicBezTo>
                      <a:cubicBezTo>
                        <a:pt x="7100"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5" name="Freeform 5473">
                  <a:extLst>
                    <a:ext uri="{FF2B5EF4-FFF2-40B4-BE49-F238E27FC236}">
                      <a16:creationId xmlns:a16="http://schemas.microsoft.com/office/drawing/2014/main" id="{4D570FB9-005E-AAE4-5629-296031CFF305}"/>
                    </a:ext>
                  </a:extLst>
                </p:cNvPr>
                <p:cNvSpPr/>
                <p:nvPr/>
              </p:nvSpPr>
              <p:spPr>
                <a:xfrm>
                  <a:off x="10181400" y="5806330"/>
                  <a:ext cx="10617" cy="51068"/>
                </a:xfrm>
                <a:custGeom>
                  <a:avLst/>
                  <a:gdLst>
                    <a:gd name="connsiteX0" fmla="*/ 10407 w 10617"/>
                    <a:gd name="connsiteY0" fmla="*/ 0 h 51068"/>
                    <a:gd name="connsiteX1" fmla="*/ 8414 w 10617"/>
                    <a:gd name="connsiteY1" fmla="*/ 18684 h 51068"/>
                    <a:gd name="connsiteX2" fmla="*/ 1563 w 10617"/>
                    <a:gd name="connsiteY2" fmla="*/ 34627 h 51068"/>
                    <a:gd name="connsiteX3" fmla="*/ 317 w 1061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617" h="51068">
                      <a:moveTo>
                        <a:pt x="10407" y="0"/>
                      </a:moveTo>
                      <a:cubicBezTo>
                        <a:pt x="11154" y="8345"/>
                        <a:pt x="9784" y="14573"/>
                        <a:pt x="8414" y="18684"/>
                      </a:cubicBezTo>
                      <a:cubicBezTo>
                        <a:pt x="6172" y="25285"/>
                        <a:pt x="3556" y="27901"/>
                        <a:pt x="1563" y="34627"/>
                      </a:cubicBezTo>
                      <a:cubicBezTo>
                        <a:pt x="-305" y="41229"/>
                        <a:pt x="-181" y="47207"/>
                        <a:pt x="31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6" name="Freeform 5474">
                  <a:extLst>
                    <a:ext uri="{FF2B5EF4-FFF2-40B4-BE49-F238E27FC236}">
                      <a16:creationId xmlns:a16="http://schemas.microsoft.com/office/drawing/2014/main" id="{E7AE3ED4-976A-7701-276B-16391B552740}"/>
                    </a:ext>
                  </a:extLst>
                </p:cNvPr>
                <p:cNvSpPr/>
                <p:nvPr/>
              </p:nvSpPr>
              <p:spPr>
                <a:xfrm>
                  <a:off x="10171466" y="5846898"/>
                  <a:ext cx="26233" cy="26601"/>
                </a:xfrm>
                <a:custGeom>
                  <a:avLst/>
                  <a:gdLst>
                    <a:gd name="connsiteX0" fmla="*/ 287 w 26233"/>
                    <a:gd name="connsiteY0" fmla="*/ 10500 h 26601"/>
                    <a:gd name="connsiteX1" fmla="*/ 15857 w 26233"/>
                    <a:gd name="connsiteY1" fmla="*/ 287 h 26601"/>
                    <a:gd name="connsiteX2" fmla="*/ 25946 w 26233"/>
                    <a:gd name="connsiteY2" fmla="*/ 16106 h 26601"/>
                    <a:gd name="connsiteX3" fmla="*/ 10376 w 26233"/>
                    <a:gd name="connsiteY3" fmla="*/ 26320 h 26601"/>
                    <a:gd name="connsiteX4" fmla="*/ 287 w 26233"/>
                    <a:gd name="connsiteY4" fmla="*/ 10500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3" h="26601">
                      <a:moveTo>
                        <a:pt x="287" y="10500"/>
                      </a:moveTo>
                      <a:cubicBezTo>
                        <a:pt x="1782" y="3276"/>
                        <a:pt x="8757" y="-1208"/>
                        <a:pt x="15857" y="287"/>
                      </a:cubicBezTo>
                      <a:cubicBezTo>
                        <a:pt x="22957" y="1906"/>
                        <a:pt x="27441" y="8882"/>
                        <a:pt x="25946" y="16106"/>
                      </a:cubicBezTo>
                      <a:cubicBezTo>
                        <a:pt x="24451" y="23206"/>
                        <a:pt x="17476" y="27814"/>
                        <a:pt x="10376" y="26320"/>
                      </a:cubicBezTo>
                      <a:cubicBezTo>
                        <a:pt x="3276" y="24700"/>
                        <a:pt x="-1207" y="17600"/>
                        <a:pt x="287"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4" name="Graphic 2987">
                <a:extLst>
                  <a:ext uri="{FF2B5EF4-FFF2-40B4-BE49-F238E27FC236}">
                    <a16:creationId xmlns:a16="http://schemas.microsoft.com/office/drawing/2014/main" id="{F8282FFC-B9A1-DAF8-6C9B-9CE9167D7C5A}"/>
                  </a:ext>
                </a:extLst>
              </p:cNvPr>
              <p:cNvGrpSpPr/>
              <p:nvPr/>
            </p:nvGrpSpPr>
            <p:grpSpPr>
              <a:xfrm>
                <a:off x="10200070" y="5733638"/>
                <a:ext cx="52346" cy="146132"/>
                <a:chOff x="10200070" y="5733638"/>
                <a:chExt cx="52346" cy="146132"/>
              </a:xfrm>
              <a:grpFill/>
            </p:grpSpPr>
            <p:sp>
              <p:nvSpPr>
                <p:cNvPr id="4115" name="Freeform 5476">
                  <a:extLst>
                    <a:ext uri="{FF2B5EF4-FFF2-40B4-BE49-F238E27FC236}">
                      <a16:creationId xmlns:a16="http://schemas.microsoft.com/office/drawing/2014/main" id="{0F7E45CA-E8AB-1457-219A-1FE49ACFFD18}"/>
                    </a:ext>
                  </a:extLst>
                </p:cNvPr>
                <p:cNvSpPr/>
                <p:nvPr/>
              </p:nvSpPr>
              <p:spPr>
                <a:xfrm>
                  <a:off x="10222324" y="5753020"/>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1" y="28274"/>
                        <a:pt x="5605" y="35250"/>
                      </a:cubicBezTo>
                      <a:cubicBezTo>
                        <a:pt x="4609" y="42100"/>
                        <a:pt x="1993" y="47332"/>
                        <a:pt x="0"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6" name="Freeform 5477">
                  <a:extLst>
                    <a:ext uri="{FF2B5EF4-FFF2-40B4-BE49-F238E27FC236}">
                      <a16:creationId xmlns:a16="http://schemas.microsoft.com/office/drawing/2014/main" id="{FC633153-34BC-1B7E-E1A5-C6C64B23927E}"/>
                    </a:ext>
                  </a:extLst>
                </p:cNvPr>
                <p:cNvSpPr/>
                <p:nvPr/>
              </p:nvSpPr>
              <p:spPr>
                <a:xfrm>
                  <a:off x="10231454" y="574965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7" y="25784"/>
                        <a:pt x="7187" y="23292"/>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7" name="Freeform 5478">
                  <a:extLst>
                    <a:ext uri="{FF2B5EF4-FFF2-40B4-BE49-F238E27FC236}">
                      <a16:creationId xmlns:a16="http://schemas.microsoft.com/office/drawing/2014/main" id="{5C06C162-1DB1-EACC-EB94-E44D38B2B941}"/>
                    </a:ext>
                  </a:extLst>
                </p:cNvPr>
                <p:cNvSpPr/>
                <p:nvPr/>
              </p:nvSpPr>
              <p:spPr>
                <a:xfrm>
                  <a:off x="10225736" y="5733638"/>
                  <a:ext cx="26681" cy="26556"/>
                </a:xfrm>
                <a:custGeom>
                  <a:avLst/>
                  <a:gdLst>
                    <a:gd name="connsiteX0" fmla="*/ 26357 w 26681"/>
                    <a:gd name="connsiteY0" fmla="*/ 16143 h 26556"/>
                    <a:gd name="connsiteX1" fmla="*/ 10538 w 26681"/>
                    <a:gd name="connsiteY1" fmla="*/ 26232 h 26556"/>
                    <a:gd name="connsiteX2" fmla="*/ 324 w 26681"/>
                    <a:gd name="connsiteY2" fmla="*/ 10414 h 26556"/>
                    <a:gd name="connsiteX3" fmla="*/ 16143 w 26681"/>
                    <a:gd name="connsiteY3" fmla="*/ 325 h 26556"/>
                    <a:gd name="connsiteX4" fmla="*/ 26357 w 26681"/>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56">
                      <a:moveTo>
                        <a:pt x="26357" y="16143"/>
                      </a:moveTo>
                      <a:cubicBezTo>
                        <a:pt x="24738" y="23243"/>
                        <a:pt x="17638" y="27852"/>
                        <a:pt x="10538" y="26232"/>
                      </a:cubicBezTo>
                      <a:cubicBezTo>
                        <a:pt x="3313" y="24613"/>
                        <a:pt x="-1295" y="17513"/>
                        <a:pt x="324" y="10414"/>
                      </a:cubicBezTo>
                      <a:cubicBezTo>
                        <a:pt x="1944" y="3314"/>
                        <a:pt x="8919" y="-1295"/>
                        <a:pt x="16143" y="325"/>
                      </a:cubicBezTo>
                      <a:cubicBezTo>
                        <a:pt x="23368" y="1943"/>
                        <a:pt x="27976" y="8919"/>
                        <a:pt x="2635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8" name="Freeform 5479">
                  <a:extLst>
                    <a:ext uri="{FF2B5EF4-FFF2-40B4-BE49-F238E27FC236}">
                      <a16:creationId xmlns:a16="http://schemas.microsoft.com/office/drawing/2014/main" id="{DE556A71-6987-A791-D326-009A3F29AF95}"/>
                    </a:ext>
                  </a:extLst>
                </p:cNvPr>
                <p:cNvSpPr/>
                <p:nvPr/>
              </p:nvSpPr>
              <p:spPr>
                <a:xfrm>
                  <a:off x="10218213" y="5809568"/>
                  <a:ext cx="11708" cy="50819"/>
                </a:xfrm>
                <a:custGeom>
                  <a:avLst/>
                  <a:gdLst>
                    <a:gd name="connsiteX0" fmla="*/ 0 w 11708"/>
                    <a:gd name="connsiteY0" fmla="*/ 50820 h 50819"/>
                    <a:gd name="connsiteX1" fmla="*/ 5855 w 11708"/>
                    <a:gd name="connsiteY1" fmla="*/ 33008 h 50819"/>
                    <a:gd name="connsiteX2" fmla="*/ 6103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5" y="33008"/>
                      </a:cubicBezTo>
                      <a:cubicBezTo>
                        <a:pt x="6602" y="26033"/>
                        <a:pt x="5107" y="22670"/>
                        <a:pt x="6103" y="15570"/>
                      </a:cubicBezTo>
                      <a:cubicBezTo>
                        <a:pt x="7100" y="8719"/>
                        <a:pt x="9716"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9" name="Freeform 5480">
                  <a:extLst>
                    <a:ext uri="{FF2B5EF4-FFF2-40B4-BE49-F238E27FC236}">
                      <a16:creationId xmlns:a16="http://schemas.microsoft.com/office/drawing/2014/main" id="{C87B5DC0-F3F6-6171-0FCB-ADA1C26C7681}"/>
                    </a:ext>
                  </a:extLst>
                </p:cNvPr>
                <p:cNvSpPr/>
                <p:nvPr/>
              </p:nvSpPr>
              <p:spPr>
                <a:xfrm>
                  <a:off x="10210140" y="5812682"/>
                  <a:ext cx="10775" cy="51068"/>
                </a:xfrm>
                <a:custGeom>
                  <a:avLst/>
                  <a:gdLst>
                    <a:gd name="connsiteX0" fmla="*/ 10564 w 10775"/>
                    <a:gd name="connsiteY0" fmla="*/ 0 h 51068"/>
                    <a:gd name="connsiteX1" fmla="*/ 8572 w 10775"/>
                    <a:gd name="connsiteY1" fmla="*/ 18684 h 51068"/>
                    <a:gd name="connsiteX2" fmla="*/ 1597 w 10775"/>
                    <a:gd name="connsiteY2" fmla="*/ 34627 h 51068"/>
                    <a:gd name="connsiteX3" fmla="*/ 226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0"/>
                      </a:moveTo>
                      <a:cubicBezTo>
                        <a:pt x="11312" y="8346"/>
                        <a:pt x="9942" y="14573"/>
                        <a:pt x="8572" y="18684"/>
                      </a:cubicBezTo>
                      <a:cubicBezTo>
                        <a:pt x="6329" y="25285"/>
                        <a:pt x="3589" y="27776"/>
                        <a:pt x="1597" y="34627"/>
                      </a:cubicBezTo>
                      <a:cubicBezTo>
                        <a:pt x="-272" y="41229"/>
                        <a:pt x="-147" y="47207"/>
                        <a:pt x="22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0" name="Freeform 5481">
                  <a:extLst>
                    <a:ext uri="{FF2B5EF4-FFF2-40B4-BE49-F238E27FC236}">
                      <a16:creationId xmlns:a16="http://schemas.microsoft.com/office/drawing/2014/main" id="{8C9D03CB-D705-61D7-2414-E6C476D4B50B}"/>
                    </a:ext>
                  </a:extLst>
                </p:cNvPr>
                <p:cNvSpPr/>
                <p:nvPr/>
              </p:nvSpPr>
              <p:spPr>
                <a:xfrm>
                  <a:off x="10200070" y="5853213"/>
                  <a:ext cx="26195" cy="26557"/>
                </a:xfrm>
                <a:custGeom>
                  <a:avLst/>
                  <a:gdLst>
                    <a:gd name="connsiteX0" fmla="*/ 331 w 26195"/>
                    <a:gd name="connsiteY0" fmla="*/ 10414 h 26557"/>
                    <a:gd name="connsiteX1" fmla="*/ 15901 w 26195"/>
                    <a:gd name="connsiteY1" fmla="*/ 324 h 26557"/>
                    <a:gd name="connsiteX2" fmla="*/ 25865 w 26195"/>
                    <a:gd name="connsiteY2" fmla="*/ 16144 h 26557"/>
                    <a:gd name="connsiteX3" fmla="*/ 10295 w 26195"/>
                    <a:gd name="connsiteY3" fmla="*/ 26233 h 26557"/>
                    <a:gd name="connsiteX4" fmla="*/ 331 w 26195"/>
                    <a:gd name="connsiteY4" fmla="*/ 1041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56">
                      <a:moveTo>
                        <a:pt x="331" y="10414"/>
                      </a:moveTo>
                      <a:cubicBezTo>
                        <a:pt x="1826" y="3314"/>
                        <a:pt x="8801" y="-1295"/>
                        <a:pt x="15901" y="324"/>
                      </a:cubicBezTo>
                      <a:cubicBezTo>
                        <a:pt x="23000" y="1944"/>
                        <a:pt x="27484" y="8919"/>
                        <a:pt x="25865" y="16144"/>
                      </a:cubicBezTo>
                      <a:cubicBezTo>
                        <a:pt x="24246" y="23243"/>
                        <a:pt x="17271" y="27852"/>
                        <a:pt x="10295" y="26233"/>
                      </a:cubicBezTo>
                      <a:cubicBezTo>
                        <a:pt x="3195" y="24738"/>
                        <a:pt x="-1288"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5" name="Graphic 2987">
                <a:extLst>
                  <a:ext uri="{FF2B5EF4-FFF2-40B4-BE49-F238E27FC236}">
                    <a16:creationId xmlns:a16="http://schemas.microsoft.com/office/drawing/2014/main" id="{63248BD9-7036-DC8D-A94C-CD8803588C69}"/>
                  </a:ext>
                </a:extLst>
              </p:cNvPr>
              <p:cNvGrpSpPr/>
              <p:nvPr/>
            </p:nvGrpSpPr>
            <p:grpSpPr>
              <a:xfrm>
                <a:off x="10228719" y="5739990"/>
                <a:ext cx="52850" cy="146007"/>
                <a:chOff x="10228719" y="5739990"/>
                <a:chExt cx="52850" cy="146007"/>
              </a:xfrm>
              <a:grpFill/>
            </p:grpSpPr>
            <p:sp>
              <p:nvSpPr>
                <p:cNvPr id="4109" name="Freeform 5483">
                  <a:extLst>
                    <a:ext uri="{FF2B5EF4-FFF2-40B4-BE49-F238E27FC236}">
                      <a16:creationId xmlns:a16="http://schemas.microsoft.com/office/drawing/2014/main" id="{4B87F013-7D1B-7B68-8080-F6EF355DBEDA}"/>
                    </a:ext>
                  </a:extLst>
                </p:cNvPr>
                <p:cNvSpPr/>
                <p:nvPr/>
              </p:nvSpPr>
              <p:spPr>
                <a:xfrm>
                  <a:off x="10251221" y="5759372"/>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452"/>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0" name="Freeform 5484">
                  <a:extLst>
                    <a:ext uri="{FF2B5EF4-FFF2-40B4-BE49-F238E27FC236}">
                      <a16:creationId xmlns:a16="http://schemas.microsoft.com/office/drawing/2014/main" id="{6AC90706-1752-B974-7BC2-9C1C9D4CA219}"/>
                    </a:ext>
                  </a:extLst>
                </p:cNvPr>
                <p:cNvSpPr/>
                <p:nvPr/>
              </p:nvSpPr>
              <p:spPr>
                <a:xfrm>
                  <a:off x="10260408" y="5756009"/>
                  <a:ext cx="11053" cy="51068"/>
                </a:xfrm>
                <a:custGeom>
                  <a:avLst/>
                  <a:gdLst>
                    <a:gd name="connsiteX0" fmla="*/ 155 w 11053"/>
                    <a:gd name="connsiteY0" fmla="*/ 51069 h 51068"/>
                    <a:gd name="connsiteX1" fmla="*/ 2272 w 11053"/>
                    <a:gd name="connsiteY1" fmla="*/ 32385 h 51068"/>
                    <a:gd name="connsiteX2" fmla="*/ 9372 w 11053"/>
                    <a:gd name="connsiteY2" fmla="*/ 16442 h 51068"/>
                    <a:gd name="connsiteX3" fmla="*/ 10742 w 11053"/>
                    <a:gd name="connsiteY3" fmla="*/ 0 h 51068"/>
                  </a:gdLst>
                  <a:ahLst/>
                  <a:cxnLst>
                    <a:cxn ang="0">
                      <a:pos x="connsiteX0" y="connsiteY0"/>
                    </a:cxn>
                    <a:cxn ang="0">
                      <a:pos x="connsiteX1" y="connsiteY1"/>
                    </a:cxn>
                    <a:cxn ang="0">
                      <a:pos x="connsiteX2" y="connsiteY2"/>
                    </a:cxn>
                    <a:cxn ang="0">
                      <a:pos x="connsiteX3" y="connsiteY3"/>
                    </a:cxn>
                  </a:cxnLst>
                  <a:rect l="l" t="t" r="r" b="b"/>
                  <a:pathLst>
                    <a:path w="11053" h="51068">
                      <a:moveTo>
                        <a:pt x="155" y="51069"/>
                      </a:moveTo>
                      <a:cubicBezTo>
                        <a:pt x="-468" y="42723"/>
                        <a:pt x="902" y="36495"/>
                        <a:pt x="2272" y="32385"/>
                      </a:cubicBezTo>
                      <a:cubicBezTo>
                        <a:pt x="4514" y="25784"/>
                        <a:pt x="7254" y="23292"/>
                        <a:pt x="9372" y="16442"/>
                      </a:cubicBezTo>
                      <a:cubicBezTo>
                        <a:pt x="11364" y="9840"/>
                        <a:pt x="11240" y="3986"/>
                        <a:pt x="107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1" name="Freeform 5485">
                  <a:extLst>
                    <a:ext uri="{FF2B5EF4-FFF2-40B4-BE49-F238E27FC236}">
                      <a16:creationId xmlns:a16="http://schemas.microsoft.com/office/drawing/2014/main" id="{80F054E8-106D-484F-CAE9-9206FF6C8BA9}"/>
                    </a:ext>
                  </a:extLst>
                </p:cNvPr>
                <p:cNvSpPr/>
                <p:nvPr/>
              </p:nvSpPr>
              <p:spPr>
                <a:xfrm>
                  <a:off x="10254795" y="5739990"/>
                  <a:ext cx="26773" cy="26557"/>
                </a:xfrm>
                <a:custGeom>
                  <a:avLst/>
                  <a:gdLst>
                    <a:gd name="connsiteX0" fmla="*/ 26444 w 26773"/>
                    <a:gd name="connsiteY0" fmla="*/ 16144 h 26557"/>
                    <a:gd name="connsiteX1" fmla="*/ 10501 w 26773"/>
                    <a:gd name="connsiteY1" fmla="*/ 26233 h 26557"/>
                    <a:gd name="connsiteX2" fmla="*/ 287 w 26773"/>
                    <a:gd name="connsiteY2" fmla="*/ 10414 h 26557"/>
                    <a:gd name="connsiteX3" fmla="*/ 16230 w 26773"/>
                    <a:gd name="connsiteY3" fmla="*/ 324 h 26557"/>
                    <a:gd name="connsiteX4" fmla="*/ 26444 w 26773"/>
                    <a:gd name="connsiteY4" fmla="*/ 1614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556">
                      <a:moveTo>
                        <a:pt x="26444" y="16144"/>
                      </a:moveTo>
                      <a:cubicBezTo>
                        <a:pt x="24824" y="23243"/>
                        <a:pt x="17725" y="27852"/>
                        <a:pt x="10501" y="26233"/>
                      </a:cubicBezTo>
                      <a:cubicBezTo>
                        <a:pt x="3276" y="24613"/>
                        <a:pt x="-1208" y="17514"/>
                        <a:pt x="287" y="10414"/>
                      </a:cubicBezTo>
                      <a:cubicBezTo>
                        <a:pt x="1906" y="3314"/>
                        <a:pt x="9006" y="-1295"/>
                        <a:pt x="16230" y="324"/>
                      </a:cubicBezTo>
                      <a:cubicBezTo>
                        <a:pt x="23579" y="1944"/>
                        <a:pt x="28063" y="9044"/>
                        <a:pt x="26444" y="161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2" name="Freeform 5486">
                  <a:extLst>
                    <a:ext uri="{FF2B5EF4-FFF2-40B4-BE49-F238E27FC236}">
                      <a16:creationId xmlns:a16="http://schemas.microsoft.com/office/drawing/2014/main" id="{D6689363-4382-2C0B-9683-6A8D637AF4A5}"/>
                    </a:ext>
                  </a:extLst>
                </p:cNvPr>
                <p:cNvSpPr/>
                <p:nvPr/>
              </p:nvSpPr>
              <p:spPr>
                <a:xfrm>
                  <a:off x="10246861" y="5815796"/>
                  <a:ext cx="11957" cy="50819"/>
                </a:xfrm>
                <a:custGeom>
                  <a:avLst/>
                  <a:gdLst>
                    <a:gd name="connsiteX0" fmla="*/ 0 w 11957"/>
                    <a:gd name="connsiteY0" fmla="*/ 50820 h 50819"/>
                    <a:gd name="connsiteX1" fmla="*/ 5979 w 11957"/>
                    <a:gd name="connsiteY1" fmla="*/ 33008 h 50819"/>
                    <a:gd name="connsiteX2" fmla="*/ 6353 w 11957"/>
                    <a:gd name="connsiteY2" fmla="*/ 15570 h 50819"/>
                    <a:gd name="connsiteX3" fmla="*/ 11958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0" y="50820"/>
                      </a:moveTo>
                      <a:cubicBezTo>
                        <a:pt x="4111" y="43471"/>
                        <a:pt x="5481" y="37243"/>
                        <a:pt x="5979" y="33008"/>
                      </a:cubicBezTo>
                      <a:cubicBezTo>
                        <a:pt x="6727" y="26033"/>
                        <a:pt x="5357" y="22670"/>
                        <a:pt x="6353" y="15570"/>
                      </a:cubicBezTo>
                      <a:cubicBezTo>
                        <a:pt x="7349" y="8719"/>
                        <a:pt x="9965" y="3488"/>
                        <a:pt x="119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3" name="Freeform 5487">
                  <a:extLst>
                    <a:ext uri="{FF2B5EF4-FFF2-40B4-BE49-F238E27FC236}">
                      <a16:creationId xmlns:a16="http://schemas.microsoft.com/office/drawing/2014/main" id="{DF02FB1D-07A2-67DC-EC67-1DA0634A224B}"/>
                    </a:ext>
                  </a:extLst>
                </p:cNvPr>
                <p:cNvSpPr/>
                <p:nvPr/>
              </p:nvSpPr>
              <p:spPr>
                <a:xfrm>
                  <a:off x="10238668" y="5819035"/>
                  <a:ext cx="10963" cy="51068"/>
                </a:xfrm>
                <a:custGeom>
                  <a:avLst/>
                  <a:gdLst>
                    <a:gd name="connsiteX0" fmla="*/ 10809 w 10963"/>
                    <a:gd name="connsiteY0" fmla="*/ 0 h 51068"/>
                    <a:gd name="connsiteX1" fmla="*/ 8692 w 10963"/>
                    <a:gd name="connsiteY1" fmla="*/ 18684 h 51068"/>
                    <a:gd name="connsiteX2" fmla="*/ 1716 w 10963"/>
                    <a:gd name="connsiteY2" fmla="*/ 34627 h 51068"/>
                    <a:gd name="connsiteX3" fmla="*/ 222 w 1096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0"/>
                      </a:moveTo>
                      <a:cubicBezTo>
                        <a:pt x="11431" y="8346"/>
                        <a:pt x="10061" y="14573"/>
                        <a:pt x="8692" y="18684"/>
                      </a:cubicBezTo>
                      <a:cubicBezTo>
                        <a:pt x="6450" y="25285"/>
                        <a:pt x="3709" y="27776"/>
                        <a:pt x="1716" y="34627"/>
                      </a:cubicBezTo>
                      <a:cubicBezTo>
                        <a:pt x="-277" y="41229"/>
                        <a:pt x="-152" y="47083"/>
                        <a:pt x="22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4" name="Freeform 5488">
                  <a:extLst>
                    <a:ext uri="{FF2B5EF4-FFF2-40B4-BE49-F238E27FC236}">
                      <a16:creationId xmlns:a16="http://schemas.microsoft.com/office/drawing/2014/main" id="{9BDBBCD1-2FB4-50A3-A83D-A37D2B9666F5}"/>
                    </a:ext>
                  </a:extLst>
                </p:cNvPr>
                <p:cNvSpPr/>
                <p:nvPr/>
              </p:nvSpPr>
              <p:spPr>
                <a:xfrm>
                  <a:off x="10228719" y="5859565"/>
                  <a:ext cx="26320" cy="26432"/>
                </a:xfrm>
                <a:custGeom>
                  <a:avLst/>
                  <a:gdLst>
                    <a:gd name="connsiteX0" fmla="*/ 331 w 26320"/>
                    <a:gd name="connsiteY0" fmla="*/ 10414 h 26432"/>
                    <a:gd name="connsiteX1" fmla="*/ 16025 w 26320"/>
                    <a:gd name="connsiteY1" fmla="*/ 325 h 26432"/>
                    <a:gd name="connsiteX2" fmla="*/ 25990 w 26320"/>
                    <a:gd name="connsiteY2" fmla="*/ 16019 h 26432"/>
                    <a:gd name="connsiteX3" fmla="*/ 10296 w 26320"/>
                    <a:gd name="connsiteY3" fmla="*/ 26108 h 26432"/>
                    <a:gd name="connsiteX4" fmla="*/ 331 w 26320"/>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431">
                      <a:moveTo>
                        <a:pt x="331" y="10414"/>
                      </a:moveTo>
                      <a:cubicBezTo>
                        <a:pt x="1950" y="3314"/>
                        <a:pt x="8925" y="-1295"/>
                        <a:pt x="16025" y="325"/>
                      </a:cubicBezTo>
                      <a:cubicBezTo>
                        <a:pt x="23125" y="1944"/>
                        <a:pt x="27609" y="8919"/>
                        <a:pt x="25990" y="16019"/>
                      </a:cubicBezTo>
                      <a:cubicBezTo>
                        <a:pt x="24370" y="23118"/>
                        <a:pt x="17395" y="27727"/>
                        <a:pt x="10296" y="26108"/>
                      </a:cubicBezTo>
                      <a:cubicBezTo>
                        <a:pt x="3196" y="24613"/>
                        <a:pt x="-1288" y="17514"/>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6" name="Graphic 2987">
                <a:extLst>
                  <a:ext uri="{FF2B5EF4-FFF2-40B4-BE49-F238E27FC236}">
                    <a16:creationId xmlns:a16="http://schemas.microsoft.com/office/drawing/2014/main" id="{5FB03507-A79E-9790-CE80-8C5DD852A93D}"/>
                  </a:ext>
                </a:extLst>
              </p:cNvPr>
              <p:cNvGrpSpPr/>
              <p:nvPr/>
            </p:nvGrpSpPr>
            <p:grpSpPr>
              <a:xfrm>
                <a:off x="10257280" y="5746343"/>
                <a:ext cx="53554" cy="145883"/>
                <a:chOff x="10257280" y="5746343"/>
                <a:chExt cx="53554" cy="145883"/>
              </a:xfrm>
              <a:grpFill/>
            </p:grpSpPr>
            <p:sp>
              <p:nvSpPr>
                <p:cNvPr id="4103" name="Freeform 5490">
                  <a:extLst>
                    <a:ext uri="{FF2B5EF4-FFF2-40B4-BE49-F238E27FC236}">
                      <a16:creationId xmlns:a16="http://schemas.microsoft.com/office/drawing/2014/main" id="{F057E974-DF57-176C-3848-022D88E67EDA}"/>
                    </a:ext>
                  </a:extLst>
                </p:cNvPr>
                <p:cNvSpPr/>
                <p:nvPr/>
              </p:nvSpPr>
              <p:spPr>
                <a:xfrm>
                  <a:off x="10280118" y="5765849"/>
                  <a:ext cx="12206" cy="50694"/>
                </a:xfrm>
                <a:custGeom>
                  <a:avLst/>
                  <a:gdLst>
                    <a:gd name="connsiteX0" fmla="*/ 12206 w 12206"/>
                    <a:gd name="connsiteY0" fmla="*/ 0 h 50694"/>
                    <a:gd name="connsiteX1" fmla="*/ 6103 w 12206"/>
                    <a:gd name="connsiteY1" fmla="*/ 17812 h 50694"/>
                    <a:gd name="connsiteX2" fmla="*/ 5729 w 12206"/>
                    <a:gd name="connsiteY2" fmla="*/ 35250 h 50694"/>
                    <a:gd name="connsiteX3" fmla="*/ 0 w 12206"/>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6" h="50694">
                      <a:moveTo>
                        <a:pt x="12206" y="0"/>
                      </a:moveTo>
                      <a:cubicBezTo>
                        <a:pt x="7971" y="7349"/>
                        <a:pt x="6601" y="13452"/>
                        <a:pt x="6103" y="17812"/>
                      </a:cubicBezTo>
                      <a:cubicBezTo>
                        <a:pt x="5356" y="24787"/>
                        <a:pt x="6726" y="28150"/>
                        <a:pt x="5729" y="35250"/>
                      </a:cubicBezTo>
                      <a:cubicBezTo>
                        <a:pt x="4733" y="42100"/>
                        <a:pt x="2117"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4" name="Freeform 5491">
                  <a:extLst>
                    <a:ext uri="{FF2B5EF4-FFF2-40B4-BE49-F238E27FC236}">
                      <a16:creationId xmlns:a16="http://schemas.microsoft.com/office/drawing/2014/main" id="{3CA45030-E58B-F786-4FC8-1F3627DD9DFC}"/>
                    </a:ext>
                  </a:extLst>
                </p:cNvPr>
                <p:cNvSpPr/>
                <p:nvPr/>
              </p:nvSpPr>
              <p:spPr>
                <a:xfrm>
                  <a:off x="10289306" y="5762361"/>
                  <a:ext cx="11211" cy="51068"/>
                </a:xfrm>
                <a:custGeom>
                  <a:avLst/>
                  <a:gdLst>
                    <a:gd name="connsiteX0" fmla="*/ 154 w 11211"/>
                    <a:gd name="connsiteY0" fmla="*/ 51068 h 51068"/>
                    <a:gd name="connsiteX1" fmla="*/ 2396 w 11211"/>
                    <a:gd name="connsiteY1" fmla="*/ 32385 h 51068"/>
                    <a:gd name="connsiteX2" fmla="*/ 9496 w 11211"/>
                    <a:gd name="connsiteY2" fmla="*/ 16441 h 51068"/>
                    <a:gd name="connsiteX3" fmla="*/ 10990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8"/>
                      </a:moveTo>
                      <a:cubicBezTo>
                        <a:pt x="-469" y="42723"/>
                        <a:pt x="901" y="36495"/>
                        <a:pt x="2396" y="32385"/>
                      </a:cubicBezTo>
                      <a:cubicBezTo>
                        <a:pt x="4638" y="25783"/>
                        <a:pt x="7502" y="23292"/>
                        <a:pt x="9496" y="16441"/>
                      </a:cubicBezTo>
                      <a:cubicBezTo>
                        <a:pt x="11488" y="9840"/>
                        <a:pt x="11364" y="3986"/>
                        <a:pt x="109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5" name="Freeform 5492">
                  <a:extLst>
                    <a:ext uri="{FF2B5EF4-FFF2-40B4-BE49-F238E27FC236}">
                      <a16:creationId xmlns:a16="http://schemas.microsoft.com/office/drawing/2014/main" id="{884E81B8-12C9-D77D-C546-1A1A13B36501}"/>
                    </a:ext>
                  </a:extLst>
                </p:cNvPr>
                <p:cNvSpPr/>
                <p:nvPr/>
              </p:nvSpPr>
              <p:spPr>
                <a:xfrm>
                  <a:off x="10284147" y="5746343"/>
                  <a:ext cx="26687" cy="26519"/>
                </a:xfrm>
                <a:custGeom>
                  <a:avLst/>
                  <a:gdLst>
                    <a:gd name="connsiteX0" fmla="*/ 26363 w 26687"/>
                    <a:gd name="connsiteY0" fmla="*/ 16143 h 26519"/>
                    <a:gd name="connsiteX1" fmla="*/ 10420 w 26687"/>
                    <a:gd name="connsiteY1" fmla="*/ 26232 h 26519"/>
                    <a:gd name="connsiteX2" fmla="*/ 331 w 26687"/>
                    <a:gd name="connsiteY2" fmla="*/ 10414 h 26519"/>
                    <a:gd name="connsiteX3" fmla="*/ 16274 w 26687"/>
                    <a:gd name="connsiteY3" fmla="*/ 325 h 26519"/>
                    <a:gd name="connsiteX4" fmla="*/ 26363 w 2668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19">
                      <a:moveTo>
                        <a:pt x="26363" y="16143"/>
                      </a:moveTo>
                      <a:cubicBezTo>
                        <a:pt x="24744" y="23243"/>
                        <a:pt x="17520" y="27727"/>
                        <a:pt x="10420" y="26232"/>
                      </a:cubicBezTo>
                      <a:cubicBezTo>
                        <a:pt x="3195" y="24613"/>
                        <a:pt x="-1289" y="17638"/>
                        <a:pt x="331" y="10414"/>
                      </a:cubicBezTo>
                      <a:cubicBezTo>
                        <a:pt x="1950" y="3314"/>
                        <a:pt x="9050" y="-1295"/>
                        <a:pt x="16274" y="325"/>
                      </a:cubicBezTo>
                      <a:cubicBezTo>
                        <a:pt x="23374" y="1944"/>
                        <a:pt x="27983" y="9043"/>
                        <a:pt x="26363"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6" name="Freeform 5493">
                  <a:extLst>
                    <a:ext uri="{FF2B5EF4-FFF2-40B4-BE49-F238E27FC236}">
                      <a16:creationId xmlns:a16="http://schemas.microsoft.com/office/drawing/2014/main" id="{2559440A-100C-7647-0060-88D3AFFB0F7A}"/>
                    </a:ext>
                  </a:extLst>
                </p:cNvPr>
                <p:cNvSpPr/>
                <p:nvPr/>
              </p:nvSpPr>
              <p:spPr>
                <a:xfrm>
                  <a:off x="10275510" y="5822274"/>
                  <a:ext cx="12331" cy="50694"/>
                </a:xfrm>
                <a:custGeom>
                  <a:avLst/>
                  <a:gdLst>
                    <a:gd name="connsiteX0" fmla="*/ 0 w 12331"/>
                    <a:gd name="connsiteY0" fmla="*/ 50695 h 50694"/>
                    <a:gd name="connsiteX1" fmla="*/ 6103 w 12331"/>
                    <a:gd name="connsiteY1" fmla="*/ 32883 h 50694"/>
                    <a:gd name="connsiteX2" fmla="*/ 6601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346"/>
                        <a:pt x="5604" y="37243"/>
                        <a:pt x="6103" y="32883"/>
                      </a:cubicBezTo>
                      <a:cubicBezTo>
                        <a:pt x="6851" y="25908"/>
                        <a:pt x="5481" y="22545"/>
                        <a:pt x="6601" y="15445"/>
                      </a:cubicBezTo>
                      <a:cubicBezTo>
                        <a:pt x="7598" y="8595"/>
                        <a:pt x="10214"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7" name="Freeform 5494">
                  <a:extLst>
                    <a:ext uri="{FF2B5EF4-FFF2-40B4-BE49-F238E27FC236}">
                      <a16:creationId xmlns:a16="http://schemas.microsoft.com/office/drawing/2014/main" id="{3DB70397-2F22-9716-BE1C-261ED922E344}"/>
                    </a:ext>
                  </a:extLst>
                </p:cNvPr>
                <p:cNvSpPr/>
                <p:nvPr/>
              </p:nvSpPr>
              <p:spPr>
                <a:xfrm>
                  <a:off x="10267316" y="5825388"/>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2 w 11211"/>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833" y="27776"/>
                        <a:pt x="1716" y="34627"/>
                      </a:cubicBezTo>
                      <a:cubicBezTo>
                        <a:pt x="-276" y="41229"/>
                        <a:pt x="-152" y="47083"/>
                        <a:pt x="22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8" name="Freeform 5495">
                  <a:extLst>
                    <a:ext uri="{FF2B5EF4-FFF2-40B4-BE49-F238E27FC236}">
                      <a16:creationId xmlns:a16="http://schemas.microsoft.com/office/drawing/2014/main" id="{FEF1AF39-5A74-D90A-648C-F6E1FCBD4C14}"/>
                    </a:ext>
                  </a:extLst>
                </p:cNvPr>
                <p:cNvSpPr/>
                <p:nvPr/>
              </p:nvSpPr>
              <p:spPr>
                <a:xfrm>
                  <a:off x="10257280" y="5865793"/>
                  <a:ext cx="26164" cy="26432"/>
                </a:xfrm>
                <a:custGeom>
                  <a:avLst/>
                  <a:gdLst>
                    <a:gd name="connsiteX0" fmla="*/ 293 w 26164"/>
                    <a:gd name="connsiteY0" fmla="*/ 10414 h 26432"/>
                    <a:gd name="connsiteX1" fmla="*/ 15988 w 26164"/>
                    <a:gd name="connsiteY1" fmla="*/ 325 h 26432"/>
                    <a:gd name="connsiteX2" fmla="*/ 25828 w 26164"/>
                    <a:gd name="connsiteY2" fmla="*/ 16019 h 26432"/>
                    <a:gd name="connsiteX3" fmla="*/ 10133 w 26164"/>
                    <a:gd name="connsiteY3" fmla="*/ 26108 h 26432"/>
                    <a:gd name="connsiteX4" fmla="*/ 293 w 2616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4" h="26431">
                      <a:moveTo>
                        <a:pt x="293" y="10414"/>
                      </a:moveTo>
                      <a:cubicBezTo>
                        <a:pt x="1913" y="3314"/>
                        <a:pt x="8888" y="-1295"/>
                        <a:pt x="15988" y="325"/>
                      </a:cubicBezTo>
                      <a:cubicBezTo>
                        <a:pt x="23087" y="1819"/>
                        <a:pt x="27447" y="8919"/>
                        <a:pt x="25828" y="16019"/>
                      </a:cubicBezTo>
                      <a:cubicBezTo>
                        <a:pt x="24208" y="23118"/>
                        <a:pt x="17108" y="27727"/>
                        <a:pt x="10133" y="26108"/>
                      </a:cubicBezTo>
                      <a:cubicBezTo>
                        <a:pt x="3158" y="24613"/>
                        <a:pt x="-1201" y="17638"/>
                        <a:pt x="293"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7" name="Graphic 2987">
                <a:extLst>
                  <a:ext uri="{FF2B5EF4-FFF2-40B4-BE49-F238E27FC236}">
                    <a16:creationId xmlns:a16="http://schemas.microsoft.com/office/drawing/2014/main" id="{6E0BA6B6-80B5-CF8E-FC19-66DACEC80844}"/>
                  </a:ext>
                </a:extLst>
              </p:cNvPr>
              <p:cNvGrpSpPr/>
              <p:nvPr/>
            </p:nvGrpSpPr>
            <p:grpSpPr>
              <a:xfrm>
                <a:off x="10285890" y="5753023"/>
                <a:ext cx="54017" cy="145731"/>
                <a:chOff x="10285890" y="5753023"/>
                <a:chExt cx="54017" cy="145731"/>
              </a:xfrm>
              <a:grpFill/>
            </p:grpSpPr>
            <p:sp>
              <p:nvSpPr>
                <p:cNvPr id="4097" name="Freeform 5497">
                  <a:extLst>
                    <a:ext uri="{FF2B5EF4-FFF2-40B4-BE49-F238E27FC236}">
                      <a16:creationId xmlns:a16="http://schemas.microsoft.com/office/drawing/2014/main" id="{789AB51F-FC4C-BB8D-5B3A-D43A999E0140}"/>
                    </a:ext>
                  </a:extLst>
                </p:cNvPr>
                <p:cNvSpPr/>
                <p:nvPr/>
              </p:nvSpPr>
              <p:spPr>
                <a:xfrm>
                  <a:off x="10309140" y="5772201"/>
                  <a:ext cx="12331" cy="50695"/>
                </a:xfrm>
                <a:custGeom>
                  <a:avLst/>
                  <a:gdLst>
                    <a:gd name="connsiteX0" fmla="*/ 12332 w 12331"/>
                    <a:gd name="connsiteY0" fmla="*/ 0 h 50695"/>
                    <a:gd name="connsiteX1" fmla="*/ 6228 w 12331"/>
                    <a:gd name="connsiteY1" fmla="*/ 17812 h 50695"/>
                    <a:gd name="connsiteX2" fmla="*/ 5730 w 12331"/>
                    <a:gd name="connsiteY2" fmla="*/ 35250 h 50695"/>
                    <a:gd name="connsiteX3" fmla="*/ 0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12332" y="0"/>
                      </a:moveTo>
                      <a:cubicBezTo>
                        <a:pt x="8097" y="7225"/>
                        <a:pt x="6727" y="13452"/>
                        <a:pt x="6228" y="17812"/>
                      </a:cubicBezTo>
                      <a:cubicBezTo>
                        <a:pt x="5481"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8" name="Freeform 5498">
                  <a:extLst>
                    <a:ext uri="{FF2B5EF4-FFF2-40B4-BE49-F238E27FC236}">
                      <a16:creationId xmlns:a16="http://schemas.microsoft.com/office/drawing/2014/main" id="{58D83522-F9E7-818C-7AE4-2B90CDEAB9BF}"/>
                    </a:ext>
                  </a:extLst>
                </p:cNvPr>
                <p:cNvSpPr/>
                <p:nvPr/>
              </p:nvSpPr>
              <p:spPr>
                <a:xfrm>
                  <a:off x="10318212" y="5768963"/>
                  <a:ext cx="11422" cy="50944"/>
                </a:xfrm>
                <a:custGeom>
                  <a:avLst/>
                  <a:gdLst>
                    <a:gd name="connsiteX0" fmla="*/ 146 w 11422"/>
                    <a:gd name="connsiteY0" fmla="*/ 50944 h 50944"/>
                    <a:gd name="connsiteX1" fmla="*/ 2388 w 11422"/>
                    <a:gd name="connsiteY1" fmla="*/ 32260 h 50944"/>
                    <a:gd name="connsiteX2" fmla="*/ 9611 w 11422"/>
                    <a:gd name="connsiteY2" fmla="*/ 16441 h 50944"/>
                    <a:gd name="connsiteX3" fmla="*/ 11231 w 11422"/>
                    <a:gd name="connsiteY3" fmla="*/ 0 h 50944"/>
                  </a:gdLst>
                  <a:ahLst/>
                  <a:cxnLst>
                    <a:cxn ang="0">
                      <a:pos x="connsiteX0" y="connsiteY0"/>
                    </a:cxn>
                    <a:cxn ang="0">
                      <a:pos x="connsiteX1" y="connsiteY1"/>
                    </a:cxn>
                    <a:cxn ang="0">
                      <a:pos x="connsiteX2" y="connsiteY2"/>
                    </a:cxn>
                    <a:cxn ang="0">
                      <a:pos x="connsiteX3" y="connsiteY3"/>
                    </a:cxn>
                  </a:cxnLst>
                  <a:rect l="l" t="t" r="r" b="b"/>
                  <a:pathLst>
                    <a:path w="11422" h="50944">
                      <a:moveTo>
                        <a:pt x="146" y="50944"/>
                      </a:moveTo>
                      <a:cubicBezTo>
                        <a:pt x="-478" y="42474"/>
                        <a:pt x="1017" y="36371"/>
                        <a:pt x="2388" y="32260"/>
                      </a:cubicBezTo>
                      <a:cubicBezTo>
                        <a:pt x="4754" y="25659"/>
                        <a:pt x="7494" y="23168"/>
                        <a:pt x="9611" y="16441"/>
                      </a:cubicBezTo>
                      <a:cubicBezTo>
                        <a:pt x="11605" y="9840"/>
                        <a:pt x="11605" y="3986"/>
                        <a:pt x="11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9" name="Freeform 5499">
                  <a:extLst>
                    <a:ext uri="{FF2B5EF4-FFF2-40B4-BE49-F238E27FC236}">
                      <a16:creationId xmlns:a16="http://schemas.microsoft.com/office/drawing/2014/main" id="{8E2CC78F-02FF-38E7-2D9C-D29A2099F49B}"/>
                    </a:ext>
                  </a:extLst>
                </p:cNvPr>
                <p:cNvSpPr/>
                <p:nvPr/>
              </p:nvSpPr>
              <p:spPr>
                <a:xfrm>
                  <a:off x="10313175" y="5753023"/>
                  <a:ext cx="26733" cy="26490"/>
                </a:xfrm>
                <a:custGeom>
                  <a:avLst/>
                  <a:gdLst>
                    <a:gd name="connsiteX0" fmla="*/ 26357 w 26733"/>
                    <a:gd name="connsiteY0" fmla="*/ 16313 h 26490"/>
                    <a:gd name="connsiteX1" fmla="*/ 10414 w 26733"/>
                    <a:gd name="connsiteY1" fmla="*/ 26153 h 26490"/>
                    <a:gd name="connsiteX2" fmla="*/ 325 w 26733"/>
                    <a:gd name="connsiteY2" fmla="*/ 10334 h 26490"/>
                    <a:gd name="connsiteX3" fmla="*/ 16392 w 26733"/>
                    <a:gd name="connsiteY3" fmla="*/ 370 h 26490"/>
                    <a:gd name="connsiteX4" fmla="*/ 26357 w 26733"/>
                    <a:gd name="connsiteY4" fmla="*/ 16313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490">
                      <a:moveTo>
                        <a:pt x="26357" y="16313"/>
                      </a:moveTo>
                      <a:cubicBezTo>
                        <a:pt x="24737" y="23413"/>
                        <a:pt x="17514" y="27772"/>
                        <a:pt x="10414" y="26153"/>
                      </a:cubicBezTo>
                      <a:cubicBezTo>
                        <a:pt x="3314" y="24409"/>
                        <a:pt x="-1295" y="17434"/>
                        <a:pt x="325" y="10334"/>
                      </a:cubicBezTo>
                      <a:cubicBezTo>
                        <a:pt x="1944" y="3234"/>
                        <a:pt x="9168" y="-1374"/>
                        <a:pt x="16392" y="370"/>
                      </a:cubicBezTo>
                      <a:cubicBezTo>
                        <a:pt x="23617" y="1989"/>
                        <a:pt x="28101" y="9089"/>
                        <a:pt x="26357" y="163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0" name="Freeform 5500">
                  <a:extLst>
                    <a:ext uri="{FF2B5EF4-FFF2-40B4-BE49-F238E27FC236}">
                      <a16:creationId xmlns:a16="http://schemas.microsoft.com/office/drawing/2014/main" id="{4539DBCF-83F7-FB53-A17E-ABA22EC8B3B5}"/>
                    </a:ext>
                  </a:extLst>
                </p:cNvPr>
                <p:cNvSpPr/>
                <p:nvPr/>
              </p:nvSpPr>
              <p:spPr>
                <a:xfrm>
                  <a:off x="10304158" y="5828750"/>
                  <a:ext cx="12331" cy="50695"/>
                </a:xfrm>
                <a:custGeom>
                  <a:avLst/>
                  <a:gdLst>
                    <a:gd name="connsiteX0" fmla="*/ 0 w 12331"/>
                    <a:gd name="connsiteY0" fmla="*/ 50695 h 50695"/>
                    <a:gd name="connsiteX1" fmla="*/ 6103 w 12331"/>
                    <a:gd name="connsiteY1" fmla="*/ 32883 h 50695"/>
                    <a:gd name="connsiteX2" fmla="*/ 6601 w 12331"/>
                    <a:gd name="connsiteY2" fmla="*/ 15445 h 50695"/>
                    <a:gd name="connsiteX3" fmla="*/ 12331 w 12331"/>
                    <a:gd name="connsiteY3" fmla="*/ 0 h 50695"/>
                  </a:gdLst>
                  <a:ahLst/>
                  <a:cxnLst>
                    <a:cxn ang="0">
                      <a:pos x="connsiteX0" y="connsiteY0"/>
                    </a:cxn>
                    <a:cxn ang="0">
                      <a:pos x="connsiteX1" y="connsiteY1"/>
                    </a:cxn>
                    <a:cxn ang="0">
                      <a:pos x="connsiteX2" y="connsiteY2"/>
                    </a:cxn>
                    <a:cxn ang="0">
                      <a:pos x="connsiteX3" y="connsiteY3"/>
                    </a:cxn>
                  </a:cxnLst>
                  <a:rect l="l" t="t" r="r" b="b"/>
                  <a:pathLst>
                    <a:path w="12331" h="50695">
                      <a:moveTo>
                        <a:pt x="0" y="50695"/>
                      </a:moveTo>
                      <a:cubicBezTo>
                        <a:pt x="4235" y="43471"/>
                        <a:pt x="5605" y="37243"/>
                        <a:pt x="6103" y="32883"/>
                      </a:cubicBezTo>
                      <a:cubicBezTo>
                        <a:pt x="6975" y="25908"/>
                        <a:pt x="5605" y="22420"/>
                        <a:pt x="6601" y="15445"/>
                      </a:cubicBezTo>
                      <a:cubicBezTo>
                        <a:pt x="7723" y="8595"/>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1" name="Freeform 5501">
                  <a:extLst>
                    <a:ext uri="{FF2B5EF4-FFF2-40B4-BE49-F238E27FC236}">
                      <a16:creationId xmlns:a16="http://schemas.microsoft.com/office/drawing/2014/main" id="{44BC2053-C1B9-84A4-4762-D043937E7114}"/>
                    </a:ext>
                  </a:extLst>
                </p:cNvPr>
                <p:cNvSpPr/>
                <p:nvPr/>
              </p:nvSpPr>
              <p:spPr>
                <a:xfrm>
                  <a:off x="10296119" y="5831740"/>
                  <a:ext cx="11298" cy="50944"/>
                </a:xfrm>
                <a:custGeom>
                  <a:avLst/>
                  <a:gdLst>
                    <a:gd name="connsiteX0" fmla="*/ 11153 w 11298"/>
                    <a:gd name="connsiteY0" fmla="*/ 0 h 50944"/>
                    <a:gd name="connsiteX1" fmla="*/ 8911 w 11298"/>
                    <a:gd name="connsiteY1" fmla="*/ 18684 h 50944"/>
                    <a:gd name="connsiteX2" fmla="*/ 1811 w 11298"/>
                    <a:gd name="connsiteY2" fmla="*/ 34503 h 50944"/>
                    <a:gd name="connsiteX3" fmla="*/ 192 w 11298"/>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0"/>
                      </a:moveTo>
                      <a:cubicBezTo>
                        <a:pt x="11776" y="8470"/>
                        <a:pt x="10281" y="14573"/>
                        <a:pt x="8911" y="18684"/>
                      </a:cubicBezTo>
                      <a:cubicBezTo>
                        <a:pt x="6544" y="25285"/>
                        <a:pt x="3804" y="27776"/>
                        <a:pt x="1811" y="34503"/>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2" name="Freeform 5502">
                  <a:extLst>
                    <a:ext uri="{FF2B5EF4-FFF2-40B4-BE49-F238E27FC236}">
                      <a16:creationId xmlns:a16="http://schemas.microsoft.com/office/drawing/2014/main" id="{8853E57C-6B4E-4BFF-1D9C-1B6F8029C916}"/>
                    </a:ext>
                  </a:extLst>
                </p:cNvPr>
                <p:cNvSpPr/>
                <p:nvPr/>
              </p:nvSpPr>
              <p:spPr>
                <a:xfrm>
                  <a:off x="10285890" y="5872225"/>
                  <a:ext cx="26249" cy="26529"/>
                </a:xfrm>
                <a:custGeom>
                  <a:avLst/>
                  <a:gdLst>
                    <a:gd name="connsiteX0" fmla="*/ 331 w 26249"/>
                    <a:gd name="connsiteY0" fmla="*/ 10334 h 26529"/>
                    <a:gd name="connsiteX1" fmla="*/ 16150 w 26249"/>
                    <a:gd name="connsiteY1" fmla="*/ 370 h 26529"/>
                    <a:gd name="connsiteX2" fmla="*/ 25865 w 26249"/>
                    <a:gd name="connsiteY2" fmla="*/ 16313 h 26529"/>
                    <a:gd name="connsiteX3" fmla="*/ 10171 w 26249"/>
                    <a:gd name="connsiteY3" fmla="*/ 26153 h 26529"/>
                    <a:gd name="connsiteX4" fmla="*/ 331 w 26249"/>
                    <a:gd name="connsiteY4" fmla="*/ 10334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29">
                      <a:moveTo>
                        <a:pt x="331" y="10334"/>
                      </a:moveTo>
                      <a:cubicBezTo>
                        <a:pt x="1951" y="3235"/>
                        <a:pt x="9050" y="-1374"/>
                        <a:pt x="16150" y="370"/>
                      </a:cubicBezTo>
                      <a:cubicBezTo>
                        <a:pt x="23249" y="2114"/>
                        <a:pt x="27609" y="9213"/>
                        <a:pt x="25865" y="16313"/>
                      </a:cubicBezTo>
                      <a:cubicBezTo>
                        <a:pt x="24246" y="23413"/>
                        <a:pt x="17146" y="27897"/>
                        <a:pt x="10171" y="26153"/>
                      </a:cubicBezTo>
                      <a:cubicBezTo>
                        <a:pt x="3196" y="24410"/>
                        <a:pt x="-1288" y="17559"/>
                        <a:pt x="331" y="103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8" name="Graphic 2987">
                <a:extLst>
                  <a:ext uri="{FF2B5EF4-FFF2-40B4-BE49-F238E27FC236}">
                    <a16:creationId xmlns:a16="http://schemas.microsoft.com/office/drawing/2014/main" id="{448855E8-2EFB-B985-7C39-A1632639AAC1}"/>
                  </a:ext>
                </a:extLst>
              </p:cNvPr>
              <p:cNvGrpSpPr/>
              <p:nvPr/>
            </p:nvGrpSpPr>
            <p:grpSpPr>
              <a:xfrm>
                <a:off x="10314401" y="5759860"/>
                <a:ext cx="54608" cy="145746"/>
                <a:chOff x="10314401" y="5759860"/>
                <a:chExt cx="54608" cy="145746"/>
              </a:xfrm>
              <a:grpFill/>
            </p:grpSpPr>
            <p:sp>
              <p:nvSpPr>
                <p:cNvPr id="4091" name="Freeform 5504">
                  <a:extLst>
                    <a:ext uri="{FF2B5EF4-FFF2-40B4-BE49-F238E27FC236}">
                      <a16:creationId xmlns:a16="http://schemas.microsoft.com/office/drawing/2014/main" id="{655F3E44-0752-D740-39B3-D359C71C7B4E}"/>
                    </a:ext>
                  </a:extLst>
                </p:cNvPr>
                <p:cNvSpPr/>
                <p:nvPr/>
              </p:nvSpPr>
              <p:spPr>
                <a:xfrm>
                  <a:off x="10337789" y="5779176"/>
                  <a:ext cx="12704" cy="50570"/>
                </a:xfrm>
                <a:custGeom>
                  <a:avLst/>
                  <a:gdLst>
                    <a:gd name="connsiteX0" fmla="*/ 12704 w 12704"/>
                    <a:gd name="connsiteY0" fmla="*/ 0 h 50570"/>
                    <a:gd name="connsiteX1" fmla="*/ 6476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4" y="0"/>
                      </a:moveTo>
                      <a:cubicBezTo>
                        <a:pt x="8470" y="7225"/>
                        <a:pt x="6975" y="13452"/>
                        <a:pt x="6476" y="17687"/>
                      </a:cubicBezTo>
                      <a:cubicBezTo>
                        <a:pt x="5604" y="24663"/>
                        <a:pt x="6975" y="28150"/>
                        <a:pt x="5854" y="35125"/>
                      </a:cubicBezTo>
                      <a:cubicBezTo>
                        <a:pt x="4733"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2" name="Freeform 5505">
                  <a:extLst>
                    <a:ext uri="{FF2B5EF4-FFF2-40B4-BE49-F238E27FC236}">
                      <a16:creationId xmlns:a16="http://schemas.microsoft.com/office/drawing/2014/main" id="{F33B18AD-E4F7-65C9-540D-37995BCCD4EA}"/>
                    </a:ext>
                  </a:extLst>
                </p:cNvPr>
                <p:cNvSpPr/>
                <p:nvPr/>
              </p:nvSpPr>
              <p:spPr>
                <a:xfrm>
                  <a:off x="10346985" y="5775938"/>
                  <a:ext cx="11572" cy="50944"/>
                </a:xfrm>
                <a:custGeom>
                  <a:avLst/>
                  <a:gdLst>
                    <a:gd name="connsiteX0" fmla="*/ 145 w 11572"/>
                    <a:gd name="connsiteY0" fmla="*/ 50944 h 50944"/>
                    <a:gd name="connsiteX1" fmla="*/ 2512 w 11572"/>
                    <a:gd name="connsiteY1" fmla="*/ 32260 h 50944"/>
                    <a:gd name="connsiteX2" fmla="*/ 9736 w 11572"/>
                    <a:gd name="connsiteY2" fmla="*/ 16441 h 50944"/>
                    <a:gd name="connsiteX3" fmla="*/ 11355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45" y="50944"/>
                      </a:moveTo>
                      <a:cubicBezTo>
                        <a:pt x="-478" y="42599"/>
                        <a:pt x="1017" y="36371"/>
                        <a:pt x="2512" y="32260"/>
                      </a:cubicBezTo>
                      <a:cubicBezTo>
                        <a:pt x="4878" y="25659"/>
                        <a:pt x="7618" y="23168"/>
                        <a:pt x="9736" y="16441"/>
                      </a:cubicBezTo>
                      <a:cubicBezTo>
                        <a:pt x="11854"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3" name="Freeform 5506">
                  <a:extLst>
                    <a:ext uri="{FF2B5EF4-FFF2-40B4-BE49-F238E27FC236}">
                      <a16:creationId xmlns:a16="http://schemas.microsoft.com/office/drawing/2014/main" id="{221E0A0D-9338-A80E-9BDC-BEDCD5BBD394}"/>
                    </a:ext>
                  </a:extLst>
                </p:cNvPr>
                <p:cNvSpPr/>
                <p:nvPr/>
              </p:nvSpPr>
              <p:spPr>
                <a:xfrm>
                  <a:off x="10342309" y="5759860"/>
                  <a:ext cx="26700" cy="26551"/>
                </a:xfrm>
                <a:custGeom>
                  <a:avLst/>
                  <a:gdLst>
                    <a:gd name="connsiteX0" fmla="*/ 26370 w 26700"/>
                    <a:gd name="connsiteY0" fmla="*/ 16452 h 26551"/>
                    <a:gd name="connsiteX1" fmla="*/ 10302 w 26700"/>
                    <a:gd name="connsiteY1" fmla="*/ 26168 h 26551"/>
                    <a:gd name="connsiteX2" fmla="*/ 337 w 26700"/>
                    <a:gd name="connsiteY2" fmla="*/ 10100 h 26551"/>
                    <a:gd name="connsiteX3" fmla="*/ 16406 w 26700"/>
                    <a:gd name="connsiteY3" fmla="*/ 384 h 26551"/>
                    <a:gd name="connsiteX4" fmla="*/ 26370 w 2670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9" h="26551">
                      <a:moveTo>
                        <a:pt x="26370" y="16452"/>
                      </a:moveTo>
                      <a:cubicBezTo>
                        <a:pt x="24626" y="23552"/>
                        <a:pt x="17526" y="27911"/>
                        <a:pt x="10302" y="26168"/>
                      </a:cubicBezTo>
                      <a:cubicBezTo>
                        <a:pt x="3078" y="24424"/>
                        <a:pt x="-1282" y="17324"/>
                        <a:pt x="337" y="10100"/>
                      </a:cubicBezTo>
                      <a:cubicBezTo>
                        <a:pt x="1956" y="3000"/>
                        <a:pt x="9181" y="-1360"/>
                        <a:pt x="16406" y="384"/>
                      </a:cubicBezTo>
                      <a:cubicBezTo>
                        <a:pt x="23505" y="2128"/>
                        <a:pt x="27989" y="9352"/>
                        <a:pt x="26370"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4" name="Freeform 5507">
                  <a:extLst>
                    <a:ext uri="{FF2B5EF4-FFF2-40B4-BE49-F238E27FC236}">
                      <a16:creationId xmlns:a16="http://schemas.microsoft.com/office/drawing/2014/main" id="{4F11C496-BC92-AB75-DA74-8F29BF009BEC}"/>
                    </a:ext>
                  </a:extLst>
                </p:cNvPr>
                <p:cNvSpPr/>
                <p:nvPr/>
              </p:nvSpPr>
              <p:spPr>
                <a:xfrm>
                  <a:off x="10332681" y="5835726"/>
                  <a:ext cx="12705" cy="50570"/>
                </a:xfrm>
                <a:custGeom>
                  <a:avLst/>
                  <a:gdLst>
                    <a:gd name="connsiteX0" fmla="*/ 0 w 12705"/>
                    <a:gd name="connsiteY0" fmla="*/ 50570 h 50570"/>
                    <a:gd name="connsiteX1" fmla="*/ 6228 w 12705"/>
                    <a:gd name="connsiteY1" fmla="*/ 32883 h 50570"/>
                    <a:gd name="connsiteX2" fmla="*/ 6851 w 12705"/>
                    <a:gd name="connsiteY2" fmla="*/ 15445 h 50570"/>
                    <a:gd name="connsiteX3" fmla="*/ 12705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0" y="50570"/>
                      </a:moveTo>
                      <a:cubicBezTo>
                        <a:pt x="4235" y="43346"/>
                        <a:pt x="5730" y="37118"/>
                        <a:pt x="6228" y="32883"/>
                      </a:cubicBezTo>
                      <a:cubicBezTo>
                        <a:pt x="7100" y="25908"/>
                        <a:pt x="5730" y="22420"/>
                        <a:pt x="6851" y="15445"/>
                      </a:cubicBezTo>
                      <a:cubicBezTo>
                        <a:pt x="7972" y="8595"/>
                        <a:pt x="10588"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5" name="Freeform 5508">
                  <a:extLst>
                    <a:ext uri="{FF2B5EF4-FFF2-40B4-BE49-F238E27FC236}">
                      <a16:creationId xmlns:a16="http://schemas.microsoft.com/office/drawing/2014/main" id="{765CDF7B-2C19-B859-0476-1FE88099284D}"/>
                    </a:ext>
                  </a:extLst>
                </p:cNvPr>
                <p:cNvSpPr/>
                <p:nvPr/>
              </p:nvSpPr>
              <p:spPr>
                <a:xfrm>
                  <a:off x="10324643" y="5838591"/>
                  <a:ext cx="11546" cy="50944"/>
                </a:xfrm>
                <a:custGeom>
                  <a:avLst/>
                  <a:gdLst>
                    <a:gd name="connsiteX0" fmla="*/ 11402 w 11546"/>
                    <a:gd name="connsiteY0" fmla="*/ 0 h 50944"/>
                    <a:gd name="connsiteX1" fmla="*/ 9035 w 11546"/>
                    <a:gd name="connsiteY1" fmla="*/ 18684 h 50944"/>
                    <a:gd name="connsiteX2" fmla="*/ 1811 w 11546"/>
                    <a:gd name="connsiteY2" fmla="*/ 34502 h 50944"/>
                    <a:gd name="connsiteX3" fmla="*/ 191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0"/>
                      </a:moveTo>
                      <a:cubicBezTo>
                        <a:pt x="12025" y="8345"/>
                        <a:pt x="10530" y="14573"/>
                        <a:pt x="9035" y="18684"/>
                      </a:cubicBezTo>
                      <a:cubicBezTo>
                        <a:pt x="6669" y="25285"/>
                        <a:pt x="3928" y="27776"/>
                        <a:pt x="1811" y="34502"/>
                      </a:cubicBezTo>
                      <a:cubicBezTo>
                        <a:pt x="-182" y="41104"/>
                        <a:pt x="-182" y="46958"/>
                        <a:pt x="19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6" name="Freeform 5509">
                  <a:extLst>
                    <a:ext uri="{FF2B5EF4-FFF2-40B4-BE49-F238E27FC236}">
                      <a16:creationId xmlns:a16="http://schemas.microsoft.com/office/drawing/2014/main" id="{67548AC6-5483-0397-2994-FC05D07EFA16}"/>
                    </a:ext>
                  </a:extLst>
                </p:cNvPr>
                <p:cNvSpPr/>
                <p:nvPr/>
              </p:nvSpPr>
              <p:spPr>
                <a:xfrm>
                  <a:off x="10314401" y="5879069"/>
                  <a:ext cx="26262" cy="26537"/>
                </a:xfrm>
                <a:custGeom>
                  <a:avLst/>
                  <a:gdLst>
                    <a:gd name="connsiteX0" fmla="*/ 344 w 26262"/>
                    <a:gd name="connsiteY0" fmla="*/ 10217 h 26537"/>
                    <a:gd name="connsiteX1" fmla="*/ 16163 w 26262"/>
                    <a:gd name="connsiteY1" fmla="*/ 377 h 26537"/>
                    <a:gd name="connsiteX2" fmla="*/ 25878 w 26262"/>
                    <a:gd name="connsiteY2" fmla="*/ 16320 h 26537"/>
                    <a:gd name="connsiteX3" fmla="*/ 10060 w 26262"/>
                    <a:gd name="connsiteY3" fmla="*/ 26160 h 26537"/>
                    <a:gd name="connsiteX4" fmla="*/ 344 w 26262"/>
                    <a:gd name="connsiteY4" fmla="*/ 10217 h 2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2" h="26537">
                      <a:moveTo>
                        <a:pt x="344" y="10217"/>
                      </a:moveTo>
                      <a:cubicBezTo>
                        <a:pt x="1964" y="3117"/>
                        <a:pt x="9063" y="-1367"/>
                        <a:pt x="16163" y="377"/>
                      </a:cubicBezTo>
                      <a:cubicBezTo>
                        <a:pt x="23263" y="2120"/>
                        <a:pt x="27622" y="9220"/>
                        <a:pt x="25878" y="16320"/>
                      </a:cubicBezTo>
                      <a:cubicBezTo>
                        <a:pt x="24135" y="23420"/>
                        <a:pt x="17160" y="27904"/>
                        <a:pt x="10060" y="26160"/>
                      </a:cubicBezTo>
                      <a:cubicBezTo>
                        <a:pt x="2960" y="24416"/>
                        <a:pt x="-1275" y="17316"/>
                        <a:pt x="344" y="102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9" name="Graphic 2987">
                <a:extLst>
                  <a:ext uri="{FF2B5EF4-FFF2-40B4-BE49-F238E27FC236}">
                    <a16:creationId xmlns:a16="http://schemas.microsoft.com/office/drawing/2014/main" id="{E97E6B39-4CF0-396B-CE45-467E21718CA6}"/>
                  </a:ext>
                </a:extLst>
              </p:cNvPr>
              <p:cNvGrpSpPr/>
              <p:nvPr/>
            </p:nvGrpSpPr>
            <p:grpSpPr>
              <a:xfrm>
                <a:off x="10342885" y="5766835"/>
                <a:ext cx="55192" cy="145582"/>
                <a:chOff x="10342885" y="5766835"/>
                <a:chExt cx="55192" cy="145582"/>
              </a:xfrm>
              <a:grpFill/>
            </p:grpSpPr>
            <p:sp>
              <p:nvSpPr>
                <p:cNvPr id="4085" name="Freeform 5511">
                  <a:extLst>
                    <a:ext uri="{FF2B5EF4-FFF2-40B4-BE49-F238E27FC236}">
                      <a16:creationId xmlns:a16="http://schemas.microsoft.com/office/drawing/2014/main" id="{FE065330-0DE9-05B1-0B7C-691FF5018CAF}"/>
                    </a:ext>
                  </a:extLst>
                </p:cNvPr>
                <p:cNvSpPr/>
                <p:nvPr/>
              </p:nvSpPr>
              <p:spPr>
                <a:xfrm>
                  <a:off x="10366562" y="5786152"/>
                  <a:ext cx="12953" cy="50570"/>
                </a:xfrm>
                <a:custGeom>
                  <a:avLst/>
                  <a:gdLst>
                    <a:gd name="connsiteX0" fmla="*/ 12954 w 12953"/>
                    <a:gd name="connsiteY0" fmla="*/ 0 h 50570"/>
                    <a:gd name="connsiteX1" fmla="*/ 6601 w 12953"/>
                    <a:gd name="connsiteY1" fmla="*/ 17687 h 50570"/>
                    <a:gd name="connsiteX2" fmla="*/ 5979 w 12953"/>
                    <a:gd name="connsiteY2" fmla="*/ 35125 h 50570"/>
                    <a:gd name="connsiteX3" fmla="*/ 0 w 12953"/>
                    <a:gd name="connsiteY3" fmla="*/ 50571 h 50570"/>
                  </a:gdLst>
                  <a:ahLst/>
                  <a:cxnLst>
                    <a:cxn ang="0">
                      <a:pos x="connsiteX0" y="connsiteY0"/>
                    </a:cxn>
                    <a:cxn ang="0">
                      <a:pos x="connsiteX1" y="connsiteY1"/>
                    </a:cxn>
                    <a:cxn ang="0">
                      <a:pos x="connsiteX2" y="connsiteY2"/>
                    </a:cxn>
                    <a:cxn ang="0">
                      <a:pos x="connsiteX3" y="connsiteY3"/>
                    </a:cxn>
                  </a:cxnLst>
                  <a:rect l="l" t="t" r="r" b="b"/>
                  <a:pathLst>
                    <a:path w="12952" h="50570">
                      <a:moveTo>
                        <a:pt x="12954" y="0"/>
                      </a:moveTo>
                      <a:cubicBezTo>
                        <a:pt x="8595" y="7225"/>
                        <a:pt x="7224" y="13452"/>
                        <a:pt x="6601" y="17687"/>
                      </a:cubicBezTo>
                      <a:cubicBezTo>
                        <a:pt x="5729" y="24663"/>
                        <a:pt x="7100" y="28150"/>
                        <a:pt x="5979" y="35125"/>
                      </a:cubicBezTo>
                      <a:cubicBezTo>
                        <a:pt x="4857" y="41976"/>
                        <a:pt x="2117" y="47207"/>
                        <a:pt x="0" y="5057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6" name="Freeform 5512">
                  <a:extLst>
                    <a:ext uri="{FF2B5EF4-FFF2-40B4-BE49-F238E27FC236}">
                      <a16:creationId xmlns:a16="http://schemas.microsoft.com/office/drawing/2014/main" id="{DFB3AD87-9334-0AB8-2CB5-BD2B0F47D283}"/>
                    </a:ext>
                  </a:extLst>
                </p:cNvPr>
                <p:cNvSpPr/>
                <p:nvPr/>
              </p:nvSpPr>
              <p:spPr>
                <a:xfrm>
                  <a:off x="10375930" y="5782789"/>
                  <a:ext cx="11869" cy="50944"/>
                </a:xfrm>
                <a:custGeom>
                  <a:avLst/>
                  <a:gdLst>
                    <a:gd name="connsiteX0" fmla="*/ 98 w 11869"/>
                    <a:gd name="connsiteY0" fmla="*/ 50944 h 50944"/>
                    <a:gd name="connsiteX1" fmla="*/ 2588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8" y="32260"/>
                      </a:cubicBezTo>
                      <a:cubicBezTo>
                        <a:pt x="4955" y="25659"/>
                        <a:pt x="7820"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7" name="Freeform 5513">
                  <a:extLst>
                    <a:ext uri="{FF2B5EF4-FFF2-40B4-BE49-F238E27FC236}">
                      <a16:creationId xmlns:a16="http://schemas.microsoft.com/office/drawing/2014/main" id="{AE0B6834-041E-A85C-745D-8D490BCCF8AE}"/>
                    </a:ext>
                  </a:extLst>
                </p:cNvPr>
                <p:cNvSpPr/>
                <p:nvPr/>
              </p:nvSpPr>
              <p:spPr>
                <a:xfrm>
                  <a:off x="10371409" y="5766835"/>
                  <a:ext cx="26668" cy="26551"/>
                </a:xfrm>
                <a:custGeom>
                  <a:avLst/>
                  <a:gdLst>
                    <a:gd name="connsiteX0" fmla="*/ 26292 w 26668"/>
                    <a:gd name="connsiteY0" fmla="*/ 16452 h 26551"/>
                    <a:gd name="connsiteX1" fmla="*/ 10224 w 26668"/>
                    <a:gd name="connsiteY1" fmla="*/ 26168 h 26551"/>
                    <a:gd name="connsiteX2" fmla="*/ 384 w 26668"/>
                    <a:gd name="connsiteY2" fmla="*/ 10100 h 26551"/>
                    <a:gd name="connsiteX3" fmla="*/ 16451 w 26668"/>
                    <a:gd name="connsiteY3" fmla="*/ 384 h 26551"/>
                    <a:gd name="connsiteX4" fmla="*/ 26292 w 26668"/>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1">
                      <a:moveTo>
                        <a:pt x="26292" y="16452"/>
                      </a:moveTo>
                      <a:cubicBezTo>
                        <a:pt x="24548" y="23552"/>
                        <a:pt x="17323" y="27911"/>
                        <a:pt x="10224" y="26168"/>
                      </a:cubicBezTo>
                      <a:cubicBezTo>
                        <a:pt x="3000" y="24424"/>
                        <a:pt x="-1360" y="17324"/>
                        <a:pt x="384" y="10100"/>
                      </a:cubicBezTo>
                      <a:cubicBezTo>
                        <a:pt x="2128" y="3000"/>
                        <a:pt x="9352" y="-1360"/>
                        <a:pt x="16451" y="384"/>
                      </a:cubicBezTo>
                      <a:cubicBezTo>
                        <a:pt x="23551" y="2128"/>
                        <a:pt x="28035" y="9352"/>
                        <a:pt x="262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8" name="Freeform 5514">
                  <a:extLst>
                    <a:ext uri="{FF2B5EF4-FFF2-40B4-BE49-F238E27FC236}">
                      <a16:creationId xmlns:a16="http://schemas.microsoft.com/office/drawing/2014/main" id="{1EDF340B-9AC1-E981-476C-B881C4E976F1}"/>
                    </a:ext>
                  </a:extLst>
                </p:cNvPr>
                <p:cNvSpPr/>
                <p:nvPr/>
              </p:nvSpPr>
              <p:spPr>
                <a:xfrm>
                  <a:off x="10361206" y="5842576"/>
                  <a:ext cx="13078" cy="50570"/>
                </a:xfrm>
                <a:custGeom>
                  <a:avLst/>
                  <a:gdLst>
                    <a:gd name="connsiteX0" fmla="*/ 0 w 13078"/>
                    <a:gd name="connsiteY0" fmla="*/ 50571 h 50570"/>
                    <a:gd name="connsiteX1" fmla="*/ 6352 w 13078"/>
                    <a:gd name="connsiteY1" fmla="*/ 32883 h 50570"/>
                    <a:gd name="connsiteX2" fmla="*/ 7099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1"/>
                      </a:moveTo>
                      <a:cubicBezTo>
                        <a:pt x="4235" y="43346"/>
                        <a:pt x="5729" y="37118"/>
                        <a:pt x="6352" y="32883"/>
                      </a:cubicBezTo>
                      <a:cubicBezTo>
                        <a:pt x="7224" y="25908"/>
                        <a:pt x="5854" y="22545"/>
                        <a:pt x="7099" y="15445"/>
                      </a:cubicBezTo>
                      <a:cubicBezTo>
                        <a:pt x="8220" y="8595"/>
                        <a:pt x="10960"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9" name="Freeform 5515">
                  <a:extLst>
                    <a:ext uri="{FF2B5EF4-FFF2-40B4-BE49-F238E27FC236}">
                      <a16:creationId xmlns:a16="http://schemas.microsoft.com/office/drawing/2014/main" id="{700E8F84-ED6E-BF61-D6BF-42459C131A60}"/>
                    </a:ext>
                  </a:extLst>
                </p:cNvPr>
                <p:cNvSpPr/>
                <p:nvPr/>
              </p:nvSpPr>
              <p:spPr>
                <a:xfrm>
                  <a:off x="10352920" y="5845441"/>
                  <a:ext cx="11870" cy="50944"/>
                </a:xfrm>
                <a:custGeom>
                  <a:avLst/>
                  <a:gdLst>
                    <a:gd name="connsiteX0" fmla="*/ 11772 w 11870"/>
                    <a:gd name="connsiteY0" fmla="*/ 0 h 50944"/>
                    <a:gd name="connsiteX1" fmla="*/ 9281 w 11870"/>
                    <a:gd name="connsiteY1" fmla="*/ 18684 h 50944"/>
                    <a:gd name="connsiteX2" fmla="*/ 1933 w 11870"/>
                    <a:gd name="connsiteY2" fmla="*/ 34502 h 50944"/>
                    <a:gd name="connsiteX3" fmla="*/ 189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0"/>
                      </a:moveTo>
                      <a:cubicBezTo>
                        <a:pt x="12270" y="8346"/>
                        <a:pt x="10776" y="14573"/>
                        <a:pt x="9281" y="18684"/>
                      </a:cubicBezTo>
                      <a:cubicBezTo>
                        <a:pt x="6914" y="25285"/>
                        <a:pt x="4175" y="27776"/>
                        <a:pt x="1933" y="34502"/>
                      </a:cubicBezTo>
                      <a:cubicBezTo>
                        <a:pt x="-185" y="41104"/>
                        <a:pt x="-185" y="46958"/>
                        <a:pt x="189"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0" name="Freeform 5516">
                  <a:extLst>
                    <a:ext uri="{FF2B5EF4-FFF2-40B4-BE49-F238E27FC236}">
                      <a16:creationId xmlns:a16="http://schemas.microsoft.com/office/drawing/2014/main" id="{7749DC4A-6377-31CE-224C-5F8D53C5B0CF}"/>
                    </a:ext>
                  </a:extLst>
                </p:cNvPr>
                <p:cNvSpPr/>
                <p:nvPr/>
              </p:nvSpPr>
              <p:spPr>
                <a:xfrm>
                  <a:off x="10342885" y="5885959"/>
                  <a:ext cx="26185" cy="26458"/>
                </a:xfrm>
                <a:custGeom>
                  <a:avLst/>
                  <a:gdLst>
                    <a:gd name="connsiteX0" fmla="*/ 385 w 26185"/>
                    <a:gd name="connsiteY0" fmla="*/ 10178 h 26458"/>
                    <a:gd name="connsiteX1" fmla="*/ 16203 w 26185"/>
                    <a:gd name="connsiteY1" fmla="*/ 337 h 26458"/>
                    <a:gd name="connsiteX2" fmla="*/ 25794 w 26185"/>
                    <a:gd name="connsiteY2" fmla="*/ 16281 h 26458"/>
                    <a:gd name="connsiteX3" fmla="*/ 9975 w 26185"/>
                    <a:gd name="connsiteY3" fmla="*/ 26121 h 26458"/>
                    <a:gd name="connsiteX4" fmla="*/ 385 w 26185"/>
                    <a:gd name="connsiteY4" fmla="*/ 10178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58">
                      <a:moveTo>
                        <a:pt x="385" y="10178"/>
                      </a:moveTo>
                      <a:cubicBezTo>
                        <a:pt x="2128" y="3078"/>
                        <a:pt x="9228" y="-1282"/>
                        <a:pt x="16203" y="337"/>
                      </a:cubicBezTo>
                      <a:cubicBezTo>
                        <a:pt x="23303" y="2081"/>
                        <a:pt x="27538" y="9181"/>
                        <a:pt x="25794" y="16281"/>
                      </a:cubicBezTo>
                      <a:cubicBezTo>
                        <a:pt x="24050" y="23381"/>
                        <a:pt x="16950" y="27740"/>
                        <a:pt x="9975" y="26121"/>
                      </a:cubicBezTo>
                      <a:cubicBezTo>
                        <a:pt x="3000" y="24502"/>
                        <a:pt x="-1359" y="17277"/>
                        <a:pt x="3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0" name="Graphic 2987">
                <a:extLst>
                  <a:ext uri="{FF2B5EF4-FFF2-40B4-BE49-F238E27FC236}">
                    <a16:creationId xmlns:a16="http://schemas.microsoft.com/office/drawing/2014/main" id="{E0DC6DE2-1C44-D393-5BF0-2209FE55BC08}"/>
                  </a:ext>
                </a:extLst>
              </p:cNvPr>
              <p:cNvGrpSpPr/>
              <p:nvPr/>
            </p:nvGrpSpPr>
            <p:grpSpPr>
              <a:xfrm>
                <a:off x="10371401" y="5773935"/>
                <a:ext cx="55705" cy="145332"/>
                <a:chOff x="10371401" y="5773935"/>
                <a:chExt cx="55705" cy="145332"/>
              </a:xfrm>
              <a:grpFill/>
            </p:grpSpPr>
            <p:sp>
              <p:nvSpPr>
                <p:cNvPr id="4079" name="Freeform 5518">
                  <a:extLst>
                    <a:ext uri="{FF2B5EF4-FFF2-40B4-BE49-F238E27FC236}">
                      <a16:creationId xmlns:a16="http://schemas.microsoft.com/office/drawing/2014/main" id="{4ACA9261-D875-B27C-B4F5-A4A9EC8A203F}"/>
                    </a:ext>
                  </a:extLst>
                </p:cNvPr>
                <p:cNvSpPr/>
                <p:nvPr/>
              </p:nvSpPr>
              <p:spPr>
                <a:xfrm>
                  <a:off x="10395459" y="5793127"/>
                  <a:ext cx="13078" cy="50570"/>
                </a:xfrm>
                <a:custGeom>
                  <a:avLst/>
                  <a:gdLst>
                    <a:gd name="connsiteX0" fmla="*/ 13078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0"/>
                      </a:moveTo>
                      <a:cubicBezTo>
                        <a:pt x="8718" y="7224"/>
                        <a:pt x="7224" y="13327"/>
                        <a:pt x="6726" y="17687"/>
                      </a:cubicBezTo>
                      <a:cubicBezTo>
                        <a:pt x="5854" y="24662"/>
                        <a:pt x="7224" y="28025"/>
                        <a:pt x="5979" y="35125"/>
                      </a:cubicBezTo>
                      <a:cubicBezTo>
                        <a:pt x="4857"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0" name="Freeform 5519">
                  <a:extLst>
                    <a:ext uri="{FF2B5EF4-FFF2-40B4-BE49-F238E27FC236}">
                      <a16:creationId xmlns:a16="http://schemas.microsoft.com/office/drawing/2014/main" id="{3961BBCB-1E3A-6FEC-B5EE-1C29126DB7E8}"/>
                    </a:ext>
                  </a:extLst>
                </p:cNvPr>
                <p:cNvSpPr/>
                <p:nvPr/>
              </p:nvSpPr>
              <p:spPr>
                <a:xfrm>
                  <a:off x="10404703" y="5789889"/>
                  <a:ext cx="12041" cy="50819"/>
                </a:xfrm>
                <a:custGeom>
                  <a:avLst/>
                  <a:gdLst>
                    <a:gd name="connsiteX0" fmla="*/ 98 w 12041"/>
                    <a:gd name="connsiteY0" fmla="*/ 50819 h 50819"/>
                    <a:gd name="connsiteX1" fmla="*/ 2588 w 12041"/>
                    <a:gd name="connsiteY1" fmla="*/ 32260 h 50819"/>
                    <a:gd name="connsiteX2" fmla="*/ 10062 w 12041"/>
                    <a:gd name="connsiteY2" fmla="*/ 16442 h 50819"/>
                    <a:gd name="connsiteX3" fmla="*/ 11930 w 12041"/>
                    <a:gd name="connsiteY3" fmla="*/ 0 h 50819"/>
                  </a:gdLst>
                  <a:ahLst/>
                  <a:cxnLst>
                    <a:cxn ang="0">
                      <a:pos x="connsiteX0" y="connsiteY0"/>
                    </a:cxn>
                    <a:cxn ang="0">
                      <a:pos x="connsiteX1" y="connsiteY1"/>
                    </a:cxn>
                    <a:cxn ang="0">
                      <a:pos x="connsiteX2" y="connsiteY2"/>
                    </a:cxn>
                    <a:cxn ang="0">
                      <a:pos x="connsiteX3" y="connsiteY3"/>
                    </a:cxn>
                  </a:cxnLst>
                  <a:rect l="l" t="t" r="r" b="b"/>
                  <a:pathLst>
                    <a:path w="12041" h="50818">
                      <a:moveTo>
                        <a:pt x="98" y="50819"/>
                      </a:moveTo>
                      <a:cubicBezTo>
                        <a:pt x="-401" y="42474"/>
                        <a:pt x="1094" y="36246"/>
                        <a:pt x="2588" y="32260"/>
                      </a:cubicBezTo>
                      <a:cubicBezTo>
                        <a:pt x="4955" y="25659"/>
                        <a:pt x="7820" y="23292"/>
                        <a:pt x="10062" y="16442"/>
                      </a:cubicBezTo>
                      <a:cubicBezTo>
                        <a:pt x="12180" y="9840"/>
                        <a:pt x="12180" y="3986"/>
                        <a:pt x="119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1" name="Freeform 5520">
                  <a:extLst>
                    <a:ext uri="{FF2B5EF4-FFF2-40B4-BE49-F238E27FC236}">
                      <a16:creationId xmlns:a16="http://schemas.microsoft.com/office/drawing/2014/main" id="{E56F2B91-DC2D-D8E4-741E-51B6FD197BB5}"/>
                    </a:ext>
                  </a:extLst>
                </p:cNvPr>
                <p:cNvSpPr/>
                <p:nvPr/>
              </p:nvSpPr>
              <p:spPr>
                <a:xfrm>
                  <a:off x="10400313" y="5773935"/>
                  <a:ext cx="26792" cy="26427"/>
                </a:xfrm>
                <a:custGeom>
                  <a:avLst/>
                  <a:gdLst>
                    <a:gd name="connsiteX0" fmla="*/ 26409 w 26792"/>
                    <a:gd name="connsiteY0" fmla="*/ 16328 h 26427"/>
                    <a:gd name="connsiteX1" fmla="*/ 10217 w 26792"/>
                    <a:gd name="connsiteY1" fmla="*/ 26043 h 26427"/>
                    <a:gd name="connsiteX2" fmla="*/ 377 w 26792"/>
                    <a:gd name="connsiteY2" fmla="*/ 10100 h 26427"/>
                    <a:gd name="connsiteX3" fmla="*/ 16569 w 26792"/>
                    <a:gd name="connsiteY3" fmla="*/ 384 h 26427"/>
                    <a:gd name="connsiteX4" fmla="*/ 26409 w 26792"/>
                    <a:gd name="connsiteY4" fmla="*/ 16328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27">
                      <a:moveTo>
                        <a:pt x="26409" y="16328"/>
                      </a:moveTo>
                      <a:cubicBezTo>
                        <a:pt x="24666" y="23427"/>
                        <a:pt x="17441" y="27787"/>
                        <a:pt x="10217" y="26043"/>
                      </a:cubicBezTo>
                      <a:cubicBezTo>
                        <a:pt x="3117" y="24299"/>
                        <a:pt x="-1367" y="17200"/>
                        <a:pt x="377" y="10100"/>
                      </a:cubicBezTo>
                      <a:cubicBezTo>
                        <a:pt x="2121" y="3000"/>
                        <a:pt x="9345" y="-1360"/>
                        <a:pt x="16569" y="384"/>
                      </a:cubicBezTo>
                      <a:cubicBezTo>
                        <a:pt x="23794" y="2003"/>
                        <a:pt x="28153" y="9228"/>
                        <a:pt x="26409" y="16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2" name="Freeform 5521">
                  <a:extLst>
                    <a:ext uri="{FF2B5EF4-FFF2-40B4-BE49-F238E27FC236}">
                      <a16:creationId xmlns:a16="http://schemas.microsoft.com/office/drawing/2014/main" id="{8950B458-1410-D366-3A7F-E3F03907D34F}"/>
                    </a:ext>
                  </a:extLst>
                </p:cNvPr>
                <p:cNvSpPr/>
                <p:nvPr/>
              </p:nvSpPr>
              <p:spPr>
                <a:xfrm>
                  <a:off x="10389729" y="5849427"/>
                  <a:ext cx="13078" cy="50570"/>
                </a:xfrm>
                <a:custGeom>
                  <a:avLst/>
                  <a:gdLst>
                    <a:gd name="connsiteX0" fmla="*/ 0 w 13078"/>
                    <a:gd name="connsiteY0" fmla="*/ 50570 h 50570"/>
                    <a:gd name="connsiteX1" fmla="*/ 6353 w 13078"/>
                    <a:gd name="connsiteY1" fmla="*/ 32883 h 50570"/>
                    <a:gd name="connsiteX2" fmla="*/ 7100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0"/>
                      </a:moveTo>
                      <a:cubicBezTo>
                        <a:pt x="4359" y="43346"/>
                        <a:pt x="5854" y="37118"/>
                        <a:pt x="6353" y="32883"/>
                      </a:cubicBezTo>
                      <a:cubicBezTo>
                        <a:pt x="7225" y="25908"/>
                        <a:pt x="5979" y="22545"/>
                        <a:pt x="7100" y="15445"/>
                      </a:cubicBezTo>
                      <a:cubicBezTo>
                        <a:pt x="8220" y="8595"/>
                        <a:pt x="10961"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3" name="Freeform 5522">
                  <a:extLst>
                    <a:ext uri="{FF2B5EF4-FFF2-40B4-BE49-F238E27FC236}">
                      <a16:creationId xmlns:a16="http://schemas.microsoft.com/office/drawing/2014/main" id="{00127B1E-FF54-D67E-B4FD-A23D95A3AB47}"/>
                    </a:ext>
                  </a:extLst>
                </p:cNvPr>
                <p:cNvSpPr/>
                <p:nvPr/>
              </p:nvSpPr>
              <p:spPr>
                <a:xfrm>
                  <a:off x="10381646" y="5852416"/>
                  <a:ext cx="11917" cy="50944"/>
                </a:xfrm>
                <a:custGeom>
                  <a:avLst/>
                  <a:gdLst>
                    <a:gd name="connsiteX0" fmla="*/ 11820 w 11917"/>
                    <a:gd name="connsiteY0" fmla="*/ 0 h 50944"/>
                    <a:gd name="connsiteX1" fmla="*/ 9328 w 11917"/>
                    <a:gd name="connsiteY1" fmla="*/ 18684 h 50944"/>
                    <a:gd name="connsiteX2" fmla="*/ 1980 w 11917"/>
                    <a:gd name="connsiteY2" fmla="*/ 34503 h 50944"/>
                    <a:gd name="connsiteX3" fmla="*/ 111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0"/>
                      </a:moveTo>
                      <a:cubicBezTo>
                        <a:pt x="12318" y="8346"/>
                        <a:pt x="10823" y="14573"/>
                        <a:pt x="9328" y="18684"/>
                      </a:cubicBezTo>
                      <a:cubicBezTo>
                        <a:pt x="6962" y="25285"/>
                        <a:pt x="4097" y="27776"/>
                        <a:pt x="1980" y="34503"/>
                      </a:cubicBezTo>
                      <a:cubicBezTo>
                        <a:pt x="-138" y="41104"/>
                        <a:pt x="-138" y="46958"/>
                        <a:pt x="11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4" name="Freeform 5523">
                  <a:extLst>
                    <a:ext uri="{FF2B5EF4-FFF2-40B4-BE49-F238E27FC236}">
                      <a16:creationId xmlns:a16="http://schemas.microsoft.com/office/drawing/2014/main" id="{93F5D68D-809D-2FE5-7768-2F8A636B3E35}"/>
                    </a:ext>
                  </a:extLst>
                </p:cNvPr>
                <p:cNvSpPr/>
                <p:nvPr/>
              </p:nvSpPr>
              <p:spPr>
                <a:xfrm>
                  <a:off x="10371401" y="5892810"/>
                  <a:ext cx="26317" cy="26458"/>
                </a:xfrm>
                <a:custGeom>
                  <a:avLst/>
                  <a:gdLst>
                    <a:gd name="connsiteX0" fmla="*/ 392 w 26317"/>
                    <a:gd name="connsiteY0" fmla="*/ 10177 h 26458"/>
                    <a:gd name="connsiteX1" fmla="*/ 16335 w 26317"/>
                    <a:gd name="connsiteY1" fmla="*/ 337 h 26458"/>
                    <a:gd name="connsiteX2" fmla="*/ 25926 w 26317"/>
                    <a:gd name="connsiteY2" fmla="*/ 16281 h 26458"/>
                    <a:gd name="connsiteX3" fmla="*/ 9983 w 26317"/>
                    <a:gd name="connsiteY3" fmla="*/ 26121 h 26458"/>
                    <a:gd name="connsiteX4" fmla="*/ 392 w 26317"/>
                    <a:gd name="connsiteY4" fmla="*/ 10177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58">
                      <a:moveTo>
                        <a:pt x="392" y="10177"/>
                      </a:moveTo>
                      <a:cubicBezTo>
                        <a:pt x="2136" y="3078"/>
                        <a:pt x="9236" y="-1282"/>
                        <a:pt x="16335" y="337"/>
                      </a:cubicBezTo>
                      <a:cubicBezTo>
                        <a:pt x="23435" y="2081"/>
                        <a:pt x="27670" y="9181"/>
                        <a:pt x="25926" y="16281"/>
                      </a:cubicBezTo>
                      <a:cubicBezTo>
                        <a:pt x="24182" y="23380"/>
                        <a:pt x="17083" y="27740"/>
                        <a:pt x="9983" y="26121"/>
                      </a:cubicBezTo>
                      <a:cubicBezTo>
                        <a:pt x="2883" y="24501"/>
                        <a:pt x="-1352" y="17277"/>
                        <a:pt x="3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1" name="Graphic 2987">
                <a:extLst>
                  <a:ext uri="{FF2B5EF4-FFF2-40B4-BE49-F238E27FC236}">
                    <a16:creationId xmlns:a16="http://schemas.microsoft.com/office/drawing/2014/main" id="{A4EFECCE-22FB-5A24-EED1-722A2C579E51}"/>
                  </a:ext>
                </a:extLst>
              </p:cNvPr>
              <p:cNvGrpSpPr/>
              <p:nvPr/>
            </p:nvGrpSpPr>
            <p:grpSpPr>
              <a:xfrm>
                <a:off x="10399800" y="5780910"/>
                <a:ext cx="56329" cy="145138"/>
                <a:chOff x="10399800" y="5780910"/>
                <a:chExt cx="56329" cy="145138"/>
              </a:xfrm>
              <a:grpFill/>
            </p:grpSpPr>
            <p:sp>
              <p:nvSpPr>
                <p:cNvPr id="4073" name="Freeform 5525">
                  <a:extLst>
                    <a:ext uri="{FF2B5EF4-FFF2-40B4-BE49-F238E27FC236}">
                      <a16:creationId xmlns:a16="http://schemas.microsoft.com/office/drawing/2014/main" id="{7FC35E00-0B5C-DC84-049C-99A6FC543131}"/>
                    </a:ext>
                  </a:extLst>
                </p:cNvPr>
                <p:cNvSpPr/>
                <p:nvPr/>
              </p:nvSpPr>
              <p:spPr>
                <a:xfrm>
                  <a:off x="10424107" y="5800102"/>
                  <a:ext cx="13451" cy="50321"/>
                </a:xfrm>
                <a:custGeom>
                  <a:avLst/>
                  <a:gdLst>
                    <a:gd name="connsiteX0" fmla="*/ 13452 w 13451"/>
                    <a:gd name="connsiteY0" fmla="*/ 0 h 50321"/>
                    <a:gd name="connsiteX1" fmla="*/ 6975 w 13451"/>
                    <a:gd name="connsiteY1" fmla="*/ 17687 h 50321"/>
                    <a:gd name="connsiteX2" fmla="*/ 6103 w 13451"/>
                    <a:gd name="connsiteY2" fmla="*/ 35001 h 50321"/>
                    <a:gd name="connsiteX3" fmla="*/ 0 w 1345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7"/>
                        <a:pt x="6975" y="17687"/>
                      </a:cubicBezTo>
                      <a:cubicBezTo>
                        <a:pt x="6103" y="24662"/>
                        <a:pt x="7348" y="28025"/>
                        <a:pt x="6103" y="35001"/>
                      </a:cubicBezTo>
                      <a:cubicBezTo>
                        <a:pt x="4858" y="41851"/>
                        <a:pt x="2117" y="47083"/>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4" name="Freeform 5526">
                  <a:extLst>
                    <a:ext uri="{FF2B5EF4-FFF2-40B4-BE49-F238E27FC236}">
                      <a16:creationId xmlns:a16="http://schemas.microsoft.com/office/drawing/2014/main" id="{3E15133A-3C23-6F5A-956F-ABFBC4C4C514}"/>
                    </a:ext>
                  </a:extLst>
                </p:cNvPr>
                <p:cNvSpPr/>
                <p:nvPr/>
              </p:nvSpPr>
              <p:spPr>
                <a:xfrm>
                  <a:off x="10433482" y="5796864"/>
                  <a:ext cx="12213" cy="50819"/>
                </a:xfrm>
                <a:custGeom>
                  <a:avLst/>
                  <a:gdLst>
                    <a:gd name="connsiteX0" fmla="*/ 92 w 12213"/>
                    <a:gd name="connsiteY0" fmla="*/ 50819 h 50819"/>
                    <a:gd name="connsiteX1" fmla="*/ 2707 w 12213"/>
                    <a:gd name="connsiteY1" fmla="*/ 32136 h 50819"/>
                    <a:gd name="connsiteX2" fmla="*/ 10181 w 12213"/>
                    <a:gd name="connsiteY2" fmla="*/ 16442 h 50819"/>
                    <a:gd name="connsiteX3" fmla="*/ 12049 w 12213"/>
                    <a:gd name="connsiteY3" fmla="*/ 0 h 50819"/>
                  </a:gdLst>
                  <a:ahLst/>
                  <a:cxnLst>
                    <a:cxn ang="0">
                      <a:pos x="connsiteX0" y="connsiteY0"/>
                    </a:cxn>
                    <a:cxn ang="0">
                      <a:pos x="connsiteX1" y="connsiteY1"/>
                    </a:cxn>
                    <a:cxn ang="0">
                      <a:pos x="connsiteX2" y="connsiteY2"/>
                    </a:cxn>
                    <a:cxn ang="0">
                      <a:pos x="connsiteX3" y="connsiteY3"/>
                    </a:cxn>
                  </a:cxnLst>
                  <a:rect l="l" t="t" r="r" b="b"/>
                  <a:pathLst>
                    <a:path w="12213" h="50818">
                      <a:moveTo>
                        <a:pt x="92" y="50819"/>
                      </a:moveTo>
                      <a:cubicBezTo>
                        <a:pt x="-407" y="42350"/>
                        <a:pt x="1213" y="36246"/>
                        <a:pt x="2707" y="32136"/>
                      </a:cubicBezTo>
                      <a:cubicBezTo>
                        <a:pt x="5199" y="25534"/>
                        <a:pt x="7939" y="23168"/>
                        <a:pt x="10181" y="16442"/>
                      </a:cubicBezTo>
                      <a:cubicBezTo>
                        <a:pt x="12299" y="9840"/>
                        <a:pt x="12423"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5" name="Freeform 5527">
                  <a:extLst>
                    <a:ext uri="{FF2B5EF4-FFF2-40B4-BE49-F238E27FC236}">
                      <a16:creationId xmlns:a16="http://schemas.microsoft.com/office/drawing/2014/main" id="{866C4D71-338E-D715-0FAC-8ECD5C8F34AC}"/>
                    </a:ext>
                  </a:extLst>
                </p:cNvPr>
                <p:cNvSpPr/>
                <p:nvPr/>
              </p:nvSpPr>
              <p:spPr>
                <a:xfrm>
                  <a:off x="10429404" y="5780910"/>
                  <a:ext cx="26724" cy="26484"/>
                </a:xfrm>
                <a:custGeom>
                  <a:avLst/>
                  <a:gdLst>
                    <a:gd name="connsiteX0" fmla="*/ 26341 w 26724"/>
                    <a:gd name="connsiteY0" fmla="*/ 16577 h 26484"/>
                    <a:gd name="connsiteX1" fmla="*/ 10148 w 26724"/>
                    <a:gd name="connsiteY1" fmla="*/ 26043 h 26484"/>
                    <a:gd name="connsiteX2" fmla="*/ 432 w 26724"/>
                    <a:gd name="connsiteY2" fmla="*/ 10100 h 26484"/>
                    <a:gd name="connsiteX3" fmla="*/ 16625 w 26724"/>
                    <a:gd name="connsiteY3" fmla="*/ 384 h 26484"/>
                    <a:gd name="connsiteX4" fmla="*/ 26341 w 26724"/>
                    <a:gd name="connsiteY4" fmla="*/ 16577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84">
                      <a:moveTo>
                        <a:pt x="26341" y="16577"/>
                      </a:moveTo>
                      <a:cubicBezTo>
                        <a:pt x="24597" y="23676"/>
                        <a:pt x="17248" y="27911"/>
                        <a:pt x="10148" y="26043"/>
                      </a:cubicBezTo>
                      <a:cubicBezTo>
                        <a:pt x="2924" y="24299"/>
                        <a:pt x="-1436" y="17200"/>
                        <a:pt x="432" y="10100"/>
                      </a:cubicBezTo>
                      <a:cubicBezTo>
                        <a:pt x="2176" y="3000"/>
                        <a:pt x="9401" y="-1360"/>
                        <a:pt x="16625" y="384"/>
                      </a:cubicBezTo>
                      <a:cubicBezTo>
                        <a:pt x="23725" y="2252"/>
                        <a:pt x="28085" y="9477"/>
                        <a:pt x="26341" y="165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6" name="Freeform 5528">
                  <a:extLst>
                    <a:ext uri="{FF2B5EF4-FFF2-40B4-BE49-F238E27FC236}">
                      <a16:creationId xmlns:a16="http://schemas.microsoft.com/office/drawing/2014/main" id="{2E9A0F62-B683-DABA-A93F-9D855689F03E}"/>
                    </a:ext>
                  </a:extLst>
                </p:cNvPr>
                <p:cNvSpPr/>
                <p:nvPr/>
              </p:nvSpPr>
              <p:spPr>
                <a:xfrm>
                  <a:off x="10418128" y="5856402"/>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855" y="37118"/>
                        <a:pt x="6477" y="32759"/>
                      </a:cubicBezTo>
                      <a:cubicBezTo>
                        <a:pt x="7474" y="25784"/>
                        <a:pt x="6104" y="22296"/>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7" name="Freeform 5529">
                  <a:extLst>
                    <a:ext uri="{FF2B5EF4-FFF2-40B4-BE49-F238E27FC236}">
                      <a16:creationId xmlns:a16="http://schemas.microsoft.com/office/drawing/2014/main" id="{C860763D-3879-350B-B6BB-8ABFDD16E214}"/>
                    </a:ext>
                  </a:extLst>
                </p:cNvPr>
                <p:cNvSpPr/>
                <p:nvPr/>
              </p:nvSpPr>
              <p:spPr>
                <a:xfrm>
                  <a:off x="10410117" y="5859267"/>
                  <a:ext cx="12213" cy="50694"/>
                </a:xfrm>
                <a:custGeom>
                  <a:avLst/>
                  <a:gdLst>
                    <a:gd name="connsiteX0" fmla="*/ 12122 w 12213"/>
                    <a:gd name="connsiteY0" fmla="*/ 0 h 50694"/>
                    <a:gd name="connsiteX1" fmla="*/ 9506 w 12213"/>
                    <a:gd name="connsiteY1" fmla="*/ 18559 h 50694"/>
                    <a:gd name="connsiteX2" fmla="*/ 2032 w 12213"/>
                    <a:gd name="connsiteY2" fmla="*/ 34378 h 50694"/>
                    <a:gd name="connsiteX3" fmla="*/ 165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12122" y="0"/>
                      </a:moveTo>
                      <a:cubicBezTo>
                        <a:pt x="12620" y="8345"/>
                        <a:pt x="11001" y="14573"/>
                        <a:pt x="9506" y="18559"/>
                      </a:cubicBezTo>
                      <a:cubicBezTo>
                        <a:pt x="7015" y="25161"/>
                        <a:pt x="4274" y="27527"/>
                        <a:pt x="2032" y="34378"/>
                      </a:cubicBezTo>
                      <a:cubicBezTo>
                        <a:pt x="-85" y="40979"/>
                        <a:pt x="-210" y="46833"/>
                        <a:pt x="16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8" name="Freeform 5530">
                  <a:extLst>
                    <a:ext uri="{FF2B5EF4-FFF2-40B4-BE49-F238E27FC236}">
                      <a16:creationId xmlns:a16="http://schemas.microsoft.com/office/drawing/2014/main" id="{882B1356-ED45-181C-A734-2E9D628AB93B}"/>
                    </a:ext>
                  </a:extLst>
                </p:cNvPr>
                <p:cNvSpPr/>
                <p:nvPr/>
              </p:nvSpPr>
              <p:spPr>
                <a:xfrm>
                  <a:off x="10399800" y="5899535"/>
                  <a:ext cx="26194" cy="26512"/>
                </a:xfrm>
                <a:custGeom>
                  <a:avLst/>
                  <a:gdLst>
                    <a:gd name="connsiteX0" fmla="*/ 392 w 26194"/>
                    <a:gd name="connsiteY0" fmla="*/ 10178 h 26512"/>
                    <a:gd name="connsiteX1" fmla="*/ 16336 w 26194"/>
                    <a:gd name="connsiteY1" fmla="*/ 337 h 26512"/>
                    <a:gd name="connsiteX2" fmla="*/ 25802 w 26194"/>
                    <a:gd name="connsiteY2" fmla="*/ 16530 h 26512"/>
                    <a:gd name="connsiteX3" fmla="*/ 9858 w 26194"/>
                    <a:gd name="connsiteY3" fmla="*/ 26121 h 26512"/>
                    <a:gd name="connsiteX4" fmla="*/ 392 w 26194"/>
                    <a:gd name="connsiteY4" fmla="*/ 10178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4" h="26512">
                      <a:moveTo>
                        <a:pt x="392" y="10178"/>
                      </a:moveTo>
                      <a:cubicBezTo>
                        <a:pt x="2136" y="3078"/>
                        <a:pt x="9360" y="-1282"/>
                        <a:pt x="16336" y="337"/>
                      </a:cubicBezTo>
                      <a:cubicBezTo>
                        <a:pt x="23311" y="2206"/>
                        <a:pt x="27546" y="9430"/>
                        <a:pt x="25802" y="16530"/>
                      </a:cubicBezTo>
                      <a:cubicBezTo>
                        <a:pt x="24058" y="23630"/>
                        <a:pt x="16834" y="27865"/>
                        <a:pt x="9858" y="26121"/>
                      </a:cubicBezTo>
                      <a:cubicBezTo>
                        <a:pt x="2883" y="24502"/>
                        <a:pt x="-1351" y="17402"/>
                        <a:pt x="392"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2" name="Graphic 2987">
                <a:extLst>
                  <a:ext uri="{FF2B5EF4-FFF2-40B4-BE49-F238E27FC236}">
                    <a16:creationId xmlns:a16="http://schemas.microsoft.com/office/drawing/2014/main" id="{34DA5089-9965-7540-9644-AF86FC5DE18F}"/>
                  </a:ext>
                </a:extLst>
              </p:cNvPr>
              <p:cNvGrpSpPr/>
              <p:nvPr/>
            </p:nvGrpSpPr>
            <p:grpSpPr>
              <a:xfrm>
                <a:off x="10428191" y="5788451"/>
                <a:ext cx="56884" cy="145120"/>
                <a:chOff x="10428191" y="5788451"/>
                <a:chExt cx="56884" cy="145120"/>
              </a:xfrm>
              <a:grpFill/>
            </p:grpSpPr>
            <p:sp>
              <p:nvSpPr>
                <p:cNvPr id="4067" name="Freeform 5532">
                  <a:extLst>
                    <a:ext uri="{FF2B5EF4-FFF2-40B4-BE49-F238E27FC236}">
                      <a16:creationId xmlns:a16="http://schemas.microsoft.com/office/drawing/2014/main" id="{810CF3D4-B847-3F96-50D9-D00DD9F4AD75}"/>
                    </a:ext>
                  </a:extLst>
                </p:cNvPr>
                <p:cNvSpPr/>
                <p:nvPr/>
              </p:nvSpPr>
              <p:spPr>
                <a:xfrm>
                  <a:off x="10452880" y="5807576"/>
                  <a:ext cx="13576" cy="50321"/>
                </a:xfrm>
                <a:custGeom>
                  <a:avLst/>
                  <a:gdLst>
                    <a:gd name="connsiteX0" fmla="*/ 13576 w 13576"/>
                    <a:gd name="connsiteY0" fmla="*/ 0 h 50321"/>
                    <a:gd name="connsiteX1" fmla="*/ 6975 w 13576"/>
                    <a:gd name="connsiteY1" fmla="*/ 17563 h 50321"/>
                    <a:gd name="connsiteX2" fmla="*/ 6103 w 13576"/>
                    <a:gd name="connsiteY2" fmla="*/ 35001 h 50321"/>
                    <a:gd name="connsiteX3" fmla="*/ 0 w 1357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576" h="50321">
                      <a:moveTo>
                        <a:pt x="13576" y="0"/>
                      </a:moveTo>
                      <a:cubicBezTo>
                        <a:pt x="9217" y="7100"/>
                        <a:pt x="7598" y="13328"/>
                        <a:pt x="6975" y="17563"/>
                      </a:cubicBezTo>
                      <a:cubicBezTo>
                        <a:pt x="5979" y="24538"/>
                        <a:pt x="7348" y="28025"/>
                        <a:pt x="6103" y="35001"/>
                      </a:cubicBezTo>
                      <a:cubicBezTo>
                        <a:pt x="4858" y="41852"/>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8" name="Freeform 5533">
                  <a:extLst>
                    <a:ext uri="{FF2B5EF4-FFF2-40B4-BE49-F238E27FC236}">
                      <a16:creationId xmlns:a16="http://schemas.microsoft.com/office/drawing/2014/main" id="{05910A28-074F-A663-134B-A0909C776570}"/>
                    </a:ext>
                  </a:extLst>
                </p:cNvPr>
                <p:cNvSpPr/>
                <p:nvPr/>
              </p:nvSpPr>
              <p:spPr>
                <a:xfrm>
                  <a:off x="10462167" y="5804462"/>
                  <a:ext cx="12494" cy="50695"/>
                </a:xfrm>
                <a:custGeom>
                  <a:avLst/>
                  <a:gdLst>
                    <a:gd name="connsiteX0" fmla="*/ 55 w 12494"/>
                    <a:gd name="connsiteY0" fmla="*/ 50695 h 50695"/>
                    <a:gd name="connsiteX1" fmla="*/ 2794 w 12494"/>
                    <a:gd name="connsiteY1" fmla="*/ 32136 h 50695"/>
                    <a:gd name="connsiteX2" fmla="*/ 10393 w 12494"/>
                    <a:gd name="connsiteY2" fmla="*/ 16442 h 50695"/>
                    <a:gd name="connsiteX3" fmla="*/ 12386 w 12494"/>
                    <a:gd name="connsiteY3" fmla="*/ 0 h 50695"/>
                  </a:gdLst>
                  <a:ahLst/>
                  <a:cxnLst>
                    <a:cxn ang="0">
                      <a:pos x="connsiteX0" y="connsiteY0"/>
                    </a:cxn>
                    <a:cxn ang="0">
                      <a:pos x="connsiteX1" y="connsiteY1"/>
                    </a:cxn>
                    <a:cxn ang="0">
                      <a:pos x="connsiteX2" y="connsiteY2"/>
                    </a:cxn>
                    <a:cxn ang="0">
                      <a:pos x="connsiteX3" y="connsiteY3"/>
                    </a:cxn>
                  </a:cxnLst>
                  <a:rect l="l" t="t" r="r" b="b"/>
                  <a:pathLst>
                    <a:path w="12494" h="50695">
                      <a:moveTo>
                        <a:pt x="55" y="50695"/>
                      </a:moveTo>
                      <a:cubicBezTo>
                        <a:pt x="-320" y="42225"/>
                        <a:pt x="1300" y="36122"/>
                        <a:pt x="2794" y="32136"/>
                      </a:cubicBezTo>
                      <a:cubicBezTo>
                        <a:pt x="5286" y="25535"/>
                        <a:pt x="8150" y="23168"/>
                        <a:pt x="10393" y="16442"/>
                      </a:cubicBezTo>
                      <a:cubicBezTo>
                        <a:pt x="12635" y="9840"/>
                        <a:pt x="12635" y="3986"/>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9" name="Freeform 5534">
                  <a:extLst>
                    <a:ext uri="{FF2B5EF4-FFF2-40B4-BE49-F238E27FC236}">
                      <a16:creationId xmlns:a16="http://schemas.microsoft.com/office/drawing/2014/main" id="{85BC9BB5-1E7A-20B7-A750-5AF4F9A35087}"/>
                    </a:ext>
                  </a:extLst>
                </p:cNvPr>
                <p:cNvSpPr/>
                <p:nvPr/>
              </p:nvSpPr>
              <p:spPr>
                <a:xfrm>
                  <a:off x="10458426" y="5788451"/>
                  <a:ext cx="26649" cy="26541"/>
                </a:xfrm>
                <a:custGeom>
                  <a:avLst/>
                  <a:gdLst>
                    <a:gd name="connsiteX0" fmla="*/ 26216 w 26649"/>
                    <a:gd name="connsiteY0" fmla="*/ 16634 h 26541"/>
                    <a:gd name="connsiteX1" fmla="*/ 10024 w 26649"/>
                    <a:gd name="connsiteY1" fmla="*/ 26100 h 26541"/>
                    <a:gd name="connsiteX2" fmla="*/ 433 w 26649"/>
                    <a:gd name="connsiteY2" fmla="*/ 9908 h 26541"/>
                    <a:gd name="connsiteX3" fmla="*/ 16625 w 26649"/>
                    <a:gd name="connsiteY3" fmla="*/ 441 h 26541"/>
                    <a:gd name="connsiteX4" fmla="*/ 26216 w 26649"/>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41">
                      <a:moveTo>
                        <a:pt x="26216" y="16634"/>
                      </a:moveTo>
                      <a:cubicBezTo>
                        <a:pt x="24348" y="23734"/>
                        <a:pt x="17124" y="27969"/>
                        <a:pt x="10024" y="26100"/>
                      </a:cubicBezTo>
                      <a:cubicBezTo>
                        <a:pt x="2924" y="24232"/>
                        <a:pt x="-1435" y="17008"/>
                        <a:pt x="433" y="9908"/>
                      </a:cubicBezTo>
                      <a:cubicBezTo>
                        <a:pt x="2301" y="2808"/>
                        <a:pt x="9525" y="-1427"/>
                        <a:pt x="16625" y="441"/>
                      </a:cubicBezTo>
                      <a:cubicBezTo>
                        <a:pt x="23725" y="2310"/>
                        <a:pt x="28085" y="9534"/>
                        <a:pt x="26216"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0" name="Freeform 5535">
                  <a:extLst>
                    <a:ext uri="{FF2B5EF4-FFF2-40B4-BE49-F238E27FC236}">
                      <a16:creationId xmlns:a16="http://schemas.microsoft.com/office/drawing/2014/main" id="{B5EB52B0-BBBC-1E08-EF4E-CF9E0AF15326}"/>
                    </a:ext>
                  </a:extLst>
                </p:cNvPr>
                <p:cNvSpPr/>
                <p:nvPr/>
              </p:nvSpPr>
              <p:spPr>
                <a:xfrm>
                  <a:off x="10446527" y="5864000"/>
                  <a:ext cx="13701" cy="50321"/>
                </a:xfrm>
                <a:custGeom>
                  <a:avLst/>
                  <a:gdLst>
                    <a:gd name="connsiteX0" fmla="*/ 0 w 13701"/>
                    <a:gd name="connsiteY0" fmla="*/ 50321 h 50321"/>
                    <a:gd name="connsiteX1" fmla="*/ 6601 w 13701"/>
                    <a:gd name="connsiteY1" fmla="*/ 32759 h 50321"/>
                    <a:gd name="connsiteX2" fmla="*/ 7598 w 13701"/>
                    <a:gd name="connsiteY2" fmla="*/ 15321 h 50321"/>
                    <a:gd name="connsiteX3" fmla="*/ 13701 w 13701"/>
                    <a:gd name="connsiteY3" fmla="*/ 0 h 50321"/>
                  </a:gdLst>
                  <a:ahLst/>
                  <a:cxnLst>
                    <a:cxn ang="0">
                      <a:pos x="connsiteX0" y="connsiteY0"/>
                    </a:cxn>
                    <a:cxn ang="0">
                      <a:pos x="connsiteX1" y="connsiteY1"/>
                    </a:cxn>
                    <a:cxn ang="0">
                      <a:pos x="connsiteX2" y="connsiteY2"/>
                    </a:cxn>
                    <a:cxn ang="0">
                      <a:pos x="connsiteX3" y="connsiteY3"/>
                    </a:cxn>
                  </a:cxnLst>
                  <a:rect l="l" t="t" r="r" b="b"/>
                  <a:pathLst>
                    <a:path w="13701" h="50321">
                      <a:moveTo>
                        <a:pt x="0" y="50321"/>
                      </a:moveTo>
                      <a:cubicBezTo>
                        <a:pt x="4359" y="43097"/>
                        <a:pt x="5979" y="36994"/>
                        <a:pt x="6601" y="32759"/>
                      </a:cubicBezTo>
                      <a:cubicBezTo>
                        <a:pt x="7598" y="25784"/>
                        <a:pt x="6353" y="22296"/>
                        <a:pt x="7598" y="15321"/>
                      </a:cubicBezTo>
                      <a:cubicBezTo>
                        <a:pt x="8844" y="8470"/>
                        <a:pt x="11584" y="3363"/>
                        <a:pt x="137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1" name="Freeform 5536">
                  <a:extLst>
                    <a:ext uri="{FF2B5EF4-FFF2-40B4-BE49-F238E27FC236}">
                      <a16:creationId xmlns:a16="http://schemas.microsoft.com/office/drawing/2014/main" id="{BF9E5844-7F80-3A83-A373-ADAEB0978394}"/>
                    </a:ext>
                  </a:extLst>
                </p:cNvPr>
                <p:cNvSpPr/>
                <p:nvPr/>
              </p:nvSpPr>
              <p:spPr>
                <a:xfrm>
                  <a:off x="10438463" y="5866740"/>
                  <a:ext cx="12354" cy="50695"/>
                </a:xfrm>
                <a:custGeom>
                  <a:avLst/>
                  <a:gdLst>
                    <a:gd name="connsiteX0" fmla="*/ 12300 w 12354"/>
                    <a:gd name="connsiteY0" fmla="*/ 0 h 50695"/>
                    <a:gd name="connsiteX1" fmla="*/ 9559 w 12354"/>
                    <a:gd name="connsiteY1" fmla="*/ 18559 h 50695"/>
                    <a:gd name="connsiteX2" fmla="*/ 2086 w 12354"/>
                    <a:gd name="connsiteY2" fmla="*/ 34253 h 50695"/>
                    <a:gd name="connsiteX3" fmla="*/ 93 w 12354"/>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54" h="50695">
                      <a:moveTo>
                        <a:pt x="12300" y="0"/>
                      </a:moveTo>
                      <a:cubicBezTo>
                        <a:pt x="12673" y="8470"/>
                        <a:pt x="11054" y="14573"/>
                        <a:pt x="9559" y="18559"/>
                      </a:cubicBezTo>
                      <a:cubicBezTo>
                        <a:pt x="7068" y="25161"/>
                        <a:pt x="4328" y="27528"/>
                        <a:pt x="2086" y="34253"/>
                      </a:cubicBezTo>
                      <a:cubicBezTo>
                        <a:pt x="-32" y="40855"/>
                        <a:pt x="-156" y="46709"/>
                        <a:pt x="93"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2" name="Freeform 5537">
                  <a:extLst>
                    <a:ext uri="{FF2B5EF4-FFF2-40B4-BE49-F238E27FC236}">
                      <a16:creationId xmlns:a16="http://schemas.microsoft.com/office/drawing/2014/main" id="{0287CC3F-B237-A828-58C7-6F4ED11EE5AC}"/>
                    </a:ext>
                  </a:extLst>
                </p:cNvPr>
                <p:cNvSpPr/>
                <p:nvPr/>
              </p:nvSpPr>
              <p:spPr>
                <a:xfrm>
                  <a:off x="10428191" y="5907030"/>
                  <a:ext cx="26127" cy="26541"/>
                </a:xfrm>
                <a:custGeom>
                  <a:avLst/>
                  <a:gdLst>
                    <a:gd name="connsiteX0" fmla="*/ 400 w 26127"/>
                    <a:gd name="connsiteY0" fmla="*/ 9907 h 26541"/>
                    <a:gd name="connsiteX1" fmla="*/ 16344 w 26127"/>
                    <a:gd name="connsiteY1" fmla="*/ 441 h 26541"/>
                    <a:gd name="connsiteX2" fmla="*/ 25686 w 26127"/>
                    <a:gd name="connsiteY2" fmla="*/ 16634 h 26541"/>
                    <a:gd name="connsiteX3" fmla="*/ 9742 w 26127"/>
                    <a:gd name="connsiteY3" fmla="*/ 26100 h 26541"/>
                    <a:gd name="connsiteX4" fmla="*/ 400 w 26127"/>
                    <a:gd name="connsiteY4" fmla="*/ 9907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7" h="26541">
                      <a:moveTo>
                        <a:pt x="400" y="9907"/>
                      </a:moveTo>
                      <a:cubicBezTo>
                        <a:pt x="2144" y="2808"/>
                        <a:pt x="9368" y="-1427"/>
                        <a:pt x="16344" y="441"/>
                      </a:cubicBezTo>
                      <a:cubicBezTo>
                        <a:pt x="23319" y="2310"/>
                        <a:pt x="27554" y="9534"/>
                        <a:pt x="25686" y="16634"/>
                      </a:cubicBezTo>
                      <a:cubicBezTo>
                        <a:pt x="23817" y="23734"/>
                        <a:pt x="16717" y="27968"/>
                        <a:pt x="9742" y="26100"/>
                      </a:cubicBezTo>
                      <a:cubicBezTo>
                        <a:pt x="2767" y="24232"/>
                        <a:pt x="-1344" y="17007"/>
                        <a:pt x="400" y="9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3" name="Graphic 2987">
                <a:extLst>
                  <a:ext uri="{FF2B5EF4-FFF2-40B4-BE49-F238E27FC236}">
                    <a16:creationId xmlns:a16="http://schemas.microsoft.com/office/drawing/2014/main" id="{7DCB5C88-5658-EBFD-2950-EA1AEBAE9AF7}"/>
                  </a:ext>
                </a:extLst>
              </p:cNvPr>
              <p:cNvGrpSpPr/>
              <p:nvPr/>
            </p:nvGrpSpPr>
            <p:grpSpPr>
              <a:xfrm>
                <a:off x="10456549" y="5796049"/>
                <a:ext cx="57431" cy="144995"/>
                <a:chOff x="10456549" y="5796049"/>
                <a:chExt cx="57431" cy="144995"/>
              </a:xfrm>
              <a:grpFill/>
            </p:grpSpPr>
            <p:sp>
              <p:nvSpPr>
                <p:cNvPr id="4061" name="Freeform 5539">
                  <a:extLst>
                    <a:ext uri="{FF2B5EF4-FFF2-40B4-BE49-F238E27FC236}">
                      <a16:creationId xmlns:a16="http://schemas.microsoft.com/office/drawing/2014/main" id="{994DB4AC-4769-FC37-8A53-392874E9F3AD}"/>
                    </a:ext>
                  </a:extLst>
                </p:cNvPr>
                <p:cNvSpPr/>
                <p:nvPr/>
              </p:nvSpPr>
              <p:spPr>
                <a:xfrm>
                  <a:off x="10481528" y="5815174"/>
                  <a:ext cx="13825" cy="50321"/>
                </a:xfrm>
                <a:custGeom>
                  <a:avLst/>
                  <a:gdLst>
                    <a:gd name="connsiteX0" fmla="*/ 13826 w 13825"/>
                    <a:gd name="connsiteY0" fmla="*/ 0 h 50321"/>
                    <a:gd name="connsiteX1" fmla="*/ 7225 w 13825"/>
                    <a:gd name="connsiteY1" fmla="*/ 17563 h 50321"/>
                    <a:gd name="connsiteX2" fmla="*/ 6228 w 13825"/>
                    <a:gd name="connsiteY2" fmla="*/ 35001 h 50321"/>
                    <a:gd name="connsiteX3" fmla="*/ 0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0"/>
                      </a:moveTo>
                      <a:cubicBezTo>
                        <a:pt x="9342" y="7100"/>
                        <a:pt x="7847" y="13328"/>
                        <a:pt x="7225" y="17563"/>
                      </a:cubicBezTo>
                      <a:cubicBezTo>
                        <a:pt x="6228" y="24538"/>
                        <a:pt x="7473" y="28025"/>
                        <a:pt x="6228" y="35001"/>
                      </a:cubicBezTo>
                      <a:cubicBezTo>
                        <a:pt x="4983"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2" name="Freeform 5540">
                  <a:extLst>
                    <a:ext uri="{FF2B5EF4-FFF2-40B4-BE49-F238E27FC236}">
                      <a16:creationId xmlns:a16="http://schemas.microsoft.com/office/drawing/2014/main" id="{613C48A4-61DA-582D-B178-AE4C610E1431}"/>
                    </a:ext>
                  </a:extLst>
                </p:cNvPr>
                <p:cNvSpPr/>
                <p:nvPr/>
              </p:nvSpPr>
              <p:spPr>
                <a:xfrm>
                  <a:off x="10490815" y="5812184"/>
                  <a:ext cx="12672" cy="50570"/>
                </a:xfrm>
                <a:custGeom>
                  <a:avLst/>
                  <a:gdLst>
                    <a:gd name="connsiteX0" fmla="*/ 54 w 12672"/>
                    <a:gd name="connsiteY0" fmla="*/ 50570 h 50570"/>
                    <a:gd name="connsiteX1" fmla="*/ 2919 w 12672"/>
                    <a:gd name="connsiteY1" fmla="*/ 32011 h 50570"/>
                    <a:gd name="connsiteX2" fmla="*/ 10518 w 12672"/>
                    <a:gd name="connsiteY2" fmla="*/ 16317 h 50570"/>
                    <a:gd name="connsiteX3" fmla="*/ 12510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50570"/>
                      </a:moveTo>
                      <a:cubicBezTo>
                        <a:pt x="-320" y="42225"/>
                        <a:pt x="1300" y="35997"/>
                        <a:pt x="2919" y="32011"/>
                      </a:cubicBezTo>
                      <a:cubicBezTo>
                        <a:pt x="5410" y="25534"/>
                        <a:pt x="8275" y="23043"/>
                        <a:pt x="10518" y="16317"/>
                      </a:cubicBezTo>
                      <a:cubicBezTo>
                        <a:pt x="12760" y="9840"/>
                        <a:pt x="12884" y="3861"/>
                        <a:pt x="1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3" name="Freeform 5541">
                  <a:extLst>
                    <a:ext uri="{FF2B5EF4-FFF2-40B4-BE49-F238E27FC236}">
                      <a16:creationId xmlns:a16="http://schemas.microsoft.com/office/drawing/2014/main" id="{2D691F0E-D17D-CB1F-6ECA-0FA588670190}"/>
                    </a:ext>
                  </a:extLst>
                </p:cNvPr>
                <p:cNvSpPr/>
                <p:nvPr/>
              </p:nvSpPr>
              <p:spPr>
                <a:xfrm>
                  <a:off x="10487198" y="5796049"/>
                  <a:ext cx="26781" cy="26541"/>
                </a:xfrm>
                <a:custGeom>
                  <a:avLst/>
                  <a:gdLst>
                    <a:gd name="connsiteX0" fmla="*/ 26341 w 26781"/>
                    <a:gd name="connsiteY0" fmla="*/ 16634 h 26541"/>
                    <a:gd name="connsiteX1" fmla="*/ 10024 w 26781"/>
                    <a:gd name="connsiteY1" fmla="*/ 26100 h 26541"/>
                    <a:gd name="connsiteX2" fmla="*/ 433 w 26781"/>
                    <a:gd name="connsiteY2" fmla="*/ 9908 h 26541"/>
                    <a:gd name="connsiteX3" fmla="*/ 16750 w 26781"/>
                    <a:gd name="connsiteY3" fmla="*/ 441 h 26541"/>
                    <a:gd name="connsiteX4" fmla="*/ 26341 w 2678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41">
                      <a:moveTo>
                        <a:pt x="26341" y="16634"/>
                      </a:moveTo>
                      <a:cubicBezTo>
                        <a:pt x="24472" y="23734"/>
                        <a:pt x="17124" y="27968"/>
                        <a:pt x="10024" y="26100"/>
                      </a:cubicBezTo>
                      <a:cubicBezTo>
                        <a:pt x="2924" y="24232"/>
                        <a:pt x="-1435" y="17007"/>
                        <a:pt x="433" y="9908"/>
                      </a:cubicBezTo>
                      <a:cubicBezTo>
                        <a:pt x="2301" y="2808"/>
                        <a:pt x="9525" y="-1427"/>
                        <a:pt x="16750" y="441"/>
                      </a:cubicBezTo>
                      <a:cubicBezTo>
                        <a:pt x="23974" y="2310"/>
                        <a:pt x="28209" y="9534"/>
                        <a:pt x="2634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4" name="Freeform 5542">
                  <a:extLst>
                    <a:ext uri="{FF2B5EF4-FFF2-40B4-BE49-F238E27FC236}">
                      <a16:creationId xmlns:a16="http://schemas.microsoft.com/office/drawing/2014/main" id="{E7986207-F383-A269-4E48-2DD382A56843}"/>
                    </a:ext>
                  </a:extLst>
                </p:cNvPr>
                <p:cNvSpPr/>
                <p:nvPr/>
              </p:nvSpPr>
              <p:spPr>
                <a:xfrm>
                  <a:off x="10474926" y="5871474"/>
                  <a:ext cx="13826" cy="50321"/>
                </a:xfrm>
                <a:custGeom>
                  <a:avLst/>
                  <a:gdLst>
                    <a:gd name="connsiteX0" fmla="*/ 0 w 13826"/>
                    <a:gd name="connsiteY0" fmla="*/ 50321 h 50321"/>
                    <a:gd name="connsiteX1" fmla="*/ 6602 w 13826"/>
                    <a:gd name="connsiteY1" fmla="*/ 32759 h 50321"/>
                    <a:gd name="connsiteX2" fmla="*/ 7599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360" y="43222"/>
                        <a:pt x="5979" y="36994"/>
                        <a:pt x="6602" y="32759"/>
                      </a:cubicBezTo>
                      <a:cubicBezTo>
                        <a:pt x="7599" y="25784"/>
                        <a:pt x="6353" y="22296"/>
                        <a:pt x="7599" y="15321"/>
                      </a:cubicBezTo>
                      <a:cubicBezTo>
                        <a:pt x="8844"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5" name="Freeform 5543">
                  <a:extLst>
                    <a:ext uri="{FF2B5EF4-FFF2-40B4-BE49-F238E27FC236}">
                      <a16:creationId xmlns:a16="http://schemas.microsoft.com/office/drawing/2014/main" id="{5797AC5A-0888-3514-130A-9FC000BFD592}"/>
                    </a:ext>
                  </a:extLst>
                </p:cNvPr>
                <p:cNvSpPr/>
                <p:nvPr/>
              </p:nvSpPr>
              <p:spPr>
                <a:xfrm>
                  <a:off x="10466739" y="5874214"/>
                  <a:ext cx="12726" cy="50570"/>
                </a:xfrm>
                <a:custGeom>
                  <a:avLst/>
                  <a:gdLst>
                    <a:gd name="connsiteX0" fmla="*/ 12672 w 12726"/>
                    <a:gd name="connsiteY0" fmla="*/ 0 h 50570"/>
                    <a:gd name="connsiteX1" fmla="*/ 9807 w 12726"/>
                    <a:gd name="connsiteY1" fmla="*/ 18559 h 50570"/>
                    <a:gd name="connsiteX2" fmla="*/ 2209 w 12726"/>
                    <a:gd name="connsiteY2" fmla="*/ 34253 h 50570"/>
                    <a:gd name="connsiteX3" fmla="*/ 92 w 1272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0"/>
                      </a:moveTo>
                      <a:cubicBezTo>
                        <a:pt x="13045" y="8470"/>
                        <a:pt x="11426" y="14573"/>
                        <a:pt x="9807" y="18559"/>
                      </a:cubicBezTo>
                      <a:cubicBezTo>
                        <a:pt x="7316" y="25036"/>
                        <a:pt x="4451" y="27527"/>
                        <a:pt x="2209" y="34253"/>
                      </a:cubicBezTo>
                      <a:cubicBezTo>
                        <a:pt x="-33" y="40855"/>
                        <a:pt x="-158" y="46709"/>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6" name="Freeform 5544">
                  <a:extLst>
                    <a:ext uri="{FF2B5EF4-FFF2-40B4-BE49-F238E27FC236}">
                      <a16:creationId xmlns:a16="http://schemas.microsoft.com/office/drawing/2014/main" id="{9B704B8E-A8EA-8A29-5A48-78E2962E6FEF}"/>
                    </a:ext>
                  </a:extLst>
                </p:cNvPr>
                <p:cNvSpPr/>
                <p:nvPr/>
              </p:nvSpPr>
              <p:spPr>
                <a:xfrm>
                  <a:off x="10456549" y="5914503"/>
                  <a:ext cx="26293" cy="26541"/>
                </a:xfrm>
                <a:custGeom>
                  <a:avLst/>
                  <a:gdLst>
                    <a:gd name="connsiteX0" fmla="*/ 442 w 26293"/>
                    <a:gd name="connsiteY0" fmla="*/ 9908 h 26541"/>
                    <a:gd name="connsiteX1" fmla="*/ 16510 w 26293"/>
                    <a:gd name="connsiteY1" fmla="*/ 441 h 26541"/>
                    <a:gd name="connsiteX2" fmla="*/ 25851 w 26293"/>
                    <a:gd name="connsiteY2" fmla="*/ 16634 h 26541"/>
                    <a:gd name="connsiteX3" fmla="*/ 9784 w 26293"/>
                    <a:gd name="connsiteY3" fmla="*/ 26100 h 26541"/>
                    <a:gd name="connsiteX4" fmla="*/ 442 w 26293"/>
                    <a:gd name="connsiteY4" fmla="*/ 9908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9908"/>
                      </a:moveTo>
                      <a:cubicBezTo>
                        <a:pt x="2310" y="2808"/>
                        <a:pt x="9410" y="-1427"/>
                        <a:pt x="16510" y="441"/>
                      </a:cubicBezTo>
                      <a:cubicBezTo>
                        <a:pt x="23485" y="2310"/>
                        <a:pt x="27719" y="9534"/>
                        <a:pt x="25851" y="16634"/>
                      </a:cubicBezTo>
                      <a:cubicBezTo>
                        <a:pt x="23983" y="23734"/>
                        <a:pt x="16759" y="27969"/>
                        <a:pt x="9784" y="26100"/>
                      </a:cubicBezTo>
                      <a:cubicBezTo>
                        <a:pt x="2808" y="24232"/>
                        <a:pt x="-1427" y="16883"/>
                        <a:pt x="44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4" name="Graphic 2987">
                <a:extLst>
                  <a:ext uri="{FF2B5EF4-FFF2-40B4-BE49-F238E27FC236}">
                    <a16:creationId xmlns:a16="http://schemas.microsoft.com/office/drawing/2014/main" id="{4A95BC12-50A5-A5A9-C1E6-459773F40566}"/>
                  </a:ext>
                </a:extLst>
              </p:cNvPr>
              <p:cNvGrpSpPr/>
              <p:nvPr/>
            </p:nvGrpSpPr>
            <p:grpSpPr>
              <a:xfrm>
                <a:off x="10484814" y="5803647"/>
                <a:ext cx="58188" cy="144622"/>
                <a:chOff x="10484814" y="5803647"/>
                <a:chExt cx="58188" cy="144622"/>
              </a:xfrm>
              <a:grpFill/>
            </p:grpSpPr>
            <p:sp>
              <p:nvSpPr>
                <p:cNvPr id="4055" name="Freeform 5546">
                  <a:extLst>
                    <a:ext uri="{FF2B5EF4-FFF2-40B4-BE49-F238E27FC236}">
                      <a16:creationId xmlns:a16="http://schemas.microsoft.com/office/drawing/2014/main" id="{D2C9B2B5-52C7-9E70-27B7-5C07C7B90D47}"/>
                    </a:ext>
                  </a:extLst>
                </p:cNvPr>
                <p:cNvSpPr/>
                <p:nvPr/>
              </p:nvSpPr>
              <p:spPr>
                <a:xfrm>
                  <a:off x="10510051" y="5822772"/>
                  <a:ext cx="14199" cy="50196"/>
                </a:xfrm>
                <a:custGeom>
                  <a:avLst/>
                  <a:gdLst>
                    <a:gd name="connsiteX0" fmla="*/ 14200 w 14199"/>
                    <a:gd name="connsiteY0" fmla="*/ 0 h 50196"/>
                    <a:gd name="connsiteX1" fmla="*/ 7474 w 14199"/>
                    <a:gd name="connsiteY1" fmla="*/ 17563 h 50196"/>
                    <a:gd name="connsiteX2" fmla="*/ 6353 w 14199"/>
                    <a:gd name="connsiteY2" fmla="*/ 34876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6" y="7100"/>
                        <a:pt x="8097" y="13328"/>
                        <a:pt x="7474" y="17563"/>
                      </a:cubicBezTo>
                      <a:cubicBezTo>
                        <a:pt x="6477" y="24538"/>
                        <a:pt x="7723" y="28025"/>
                        <a:pt x="6353" y="34876"/>
                      </a:cubicBezTo>
                      <a:cubicBezTo>
                        <a:pt x="5107" y="41602"/>
                        <a:pt x="2242" y="46834"/>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6" name="Freeform 5547">
                  <a:extLst>
                    <a:ext uri="{FF2B5EF4-FFF2-40B4-BE49-F238E27FC236}">
                      <a16:creationId xmlns:a16="http://schemas.microsoft.com/office/drawing/2014/main" id="{DBD113DB-18BB-4C14-BE47-E538D9657784}"/>
                    </a:ext>
                  </a:extLst>
                </p:cNvPr>
                <p:cNvSpPr/>
                <p:nvPr/>
              </p:nvSpPr>
              <p:spPr>
                <a:xfrm>
                  <a:off x="10519467" y="5819782"/>
                  <a:ext cx="12847" cy="50445"/>
                </a:xfrm>
                <a:custGeom>
                  <a:avLst/>
                  <a:gdLst>
                    <a:gd name="connsiteX0" fmla="*/ 51 w 12847"/>
                    <a:gd name="connsiteY0" fmla="*/ 50446 h 50445"/>
                    <a:gd name="connsiteX1" fmla="*/ 2916 w 12847"/>
                    <a:gd name="connsiteY1" fmla="*/ 31887 h 50445"/>
                    <a:gd name="connsiteX2" fmla="*/ 10639 w 12847"/>
                    <a:gd name="connsiteY2" fmla="*/ 16317 h 50445"/>
                    <a:gd name="connsiteX3" fmla="*/ 12756 w 12847"/>
                    <a:gd name="connsiteY3" fmla="*/ 0 h 50445"/>
                  </a:gdLst>
                  <a:ahLst/>
                  <a:cxnLst>
                    <a:cxn ang="0">
                      <a:pos x="connsiteX0" y="connsiteY0"/>
                    </a:cxn>
                    <a:cxn ang="0">
                      <a:pos x="connsiteX1" y="connsiteY1"/>
                    </a:cxn>
                    <a:cxn ang="0">
                      <a:pos x="connsiteX2" y="connsiteY2"/>
                    </a:cxn>
                    <a:cxn ang="0">
                      <a:pos x="connsiteX3" y="connsiteY3"/>
                    </a:cxn>
                  </a:cxnLst>
                  <a:rect l="l" t="t" r="r" b="b"/>
                  <a:pathLst>
                    <a:path w="12847" h="50445">
                      <a:moveTo>
                        <a:pt x="51" y="50446"/>
                      </a:moveTo>
                      <a:cubicBezTo>
                        <a:pt x="-322" y="42101"/>
                        <a:pt x="1421" y="35873"/>
                        <a:pt x="2916" y="31887"/>
                      </a:cubicBezTo>
                      <a:cubicBezTo>
                        <a:pt x="5532" y="25410"/>
                        <a:pt x="8272" y="22919"/>
                        <a:pt x="10639" y="16317"/>
                      </a:cubicBezTo>
                      <a:cubicBezTo>
                        <a:pt x="12881" y="9840"/>
                        <a:pt x="13006" y="3861"/>
                        <a:pt x="127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7" name="Freeform 5548">
                  <a:extLst>
                    <a:ext uri="{FF2B5EF4-FFF2-40B4-BE49-F238E27FC236}">
                      <a16:creationId xmlns:a16="http://schemas.microsoft.com/office/drawing/2014/main" id="{E9B59978-5F36-AC96-F910-480CBB23F1E4}"/>
                    </a:ext>
                  </a:extLst>
                </p:cNvPr>
                <p:cNvSpPr/>
                <p:nvPr/>
              </p:nvSpPr>
              <p:spPr>
                <a:xfrm>
                  <a:off x="10516337" y="5803647"/>
                  <a:ext cx="26666" cy="26541"/>
                </a:xfrm>
                <a:custGeom>
                  <a:avLst/>
                  <a:gdLst>
                    <a:gd name="connsiteX0" fmla="*/ 26225 w 26666"/>
                    <a:gd name="connsiteY0" fmla="*/ 16634 h 26541"/>
                    <a:gd name="connsiteX1" fmla="*/ 9908 w 26666"/>
                    <a:gd name="connsiteY1" fmla="*/ 26100 h 26541"/>
                    <a:gd name="connsiteX2" fmla="*/ 441 w 26666"/>
                    <a:gd name="connsiteY2" fmla="*/ 9908 h 26541"/>
                    <a:gd name="connsiteX3" fmla="*/ 16758 w 26666"/>
                    <a:gd name="connsiteY3" fmla="*/ 441 h 26541"/>
                    <a:gd name="connsiteX4" fmla="*/ 26225 w 26666"/>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41">
                      <a:moveTo>
                        <a:pt x="26225" y="16634"/>
                      </a:moveTo>
                      <a:cubicBezTo>
                        <a:pt x="24356" y="23734"/>
                        <a:pt x="17007" y="27969"/>
                        <a:pt x="9908" y="26100"/>
                      </a:cubicBezTo>
                      <a:cubicBezTo>
                        <a:pt x="2808" y="24232"/>
                        <a:pt x="-1427" y="17008"/>
                        <a:pt x="441" y="9908"/>
                      </a:cubicBezTo>
                      <a:cubicBezTo>
                        <a:pt x="2309" y="2808"/>
                        <a:pt x="9659" y="-1427"/>
                        <a:pt x="16758" y="441"/>
                      </a:cubicBezTo>
                      <a:cubicBezTo>
                        <a:pt x="23858" y="2310"/>
                        <a:pt x="28093" y="9534"/>
                        <a:pt x="26225"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8" name="Freeform 5549">
                  <a:extLst>
                    <a:ext uri="{FF2B5EF4-FFF2-40B4-BE49-F238E27FC236}">
                      <a16:creationId xmlns:a16="http://schemas.microsoft.com/office/drawing/2014/main" id="{E144CFB8-E397-2C07-36FB-905CF11A1463}"/>
                    </a:ext>
                  </a:extLst>
                </p:cNvPr>
                <p:cNvSpPr/>
                <p:nvPr/>
              </p:nvSpPr>
              <p:spPr>
                <a:xfrm>
                  <a:off x="10503201" y="5878947"/>
                  <a:ext cx="14199" cy="50196"/>
                </a:xfrm>
                <a:custGeom>
                  <a:avLst/>
                  <a:gdLst>
                    <a:gd name="connsiteX0" fmla="*/ 0 w 14199"/>
                    <a:gd name="connsiteY0" fmla="*/ 50197 h 50196"/>
                    <a:gd name="connsiteX1" fmla="*/ 6727 w 14199"/>
                    <a:gd name="connsiteY1" fmla="*/ 32634 h 50196"/>
                    <a:gd name="connsiteX2" fmla="*/ 7847 w 14199"/>
                    <a:gd name="connsiteY2" fmla="*/ 15321 h 50196"/>
                    <a:gd name="connsiteX3" fmla="*/ 1420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869"/>
                        <a:pt x="6727" y="32634"/>
                      </a:cubicBezTo>
                      <a:cubicBezTo>
                        <a:pt x="7723" y="25659"/>
                        <a:pt x="6477" y="22296"/>
                        <a:pt x="7847" y="15321"/>
                      </a:cubicBezTo>
                      <a:cubicBezTo>
                        <a:pt x="9092" y="8595"/>
                        <a:pt x="11958" y="3363"/>
                        <a:pt x="142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9" name="Freeform 5550">
                  <a:extLst>
                    <a:ext uri="{FF2B5EF4-FFF2-40B4-BE49-F238E27FC236}">
                      <a16:creationId xmlns:a16="http://schemas.microsoft.com/office/drawing/2014/main" id="{A985C77E-1BDA-398B-C4BB-CD77264D7660}"/>
                    </a:ext>
                  </a:extLst>
                </p:cNvPr>
                <p:cNvSpPr/>
                <p:nvPr/>
              </p:nvSpPr>
              <p:spPr>
                <a:xfrm>
                  <a:off x="10495138" y="5881687"/>
                  <a:ext cx="12847" cy="50570"/>
                </a:xfrm>
                <a:custGeom>
                  <a:avLst/>
                  <a:gdLst>
                    <a:gd name="connsiteX0" fmla="*/ 12796 w 12847"/>
                    <a:gd name="connsiteY0" fmla="*/ 0 h 50570"/>
                    <a:gd name="connsiteX1" fmla="*/ 9932 w 12847"/>
                    <a:gd name="connsiteY1" fmla="*/ 18559 h 50570"/>
                    <a:gd name="connsiteX2" fmla="*/ 2209 w 12847"/>
                    <a:gd name="connsiteY2" fmla="*/ 34253 h 50570"/>
                    <a:gd name="connsiteX3" fmla="*/ 91 w 12847"/>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6" y="0"/>
                      </a:moveTo>
                      <a:cubicBezTo>
                        <a:pt x="13170" y="8346"/>
                        <a:pt x="11426" y="14573"/>
                        <a:pt x="9932" y="18559"/>
                      </a:cubicBezTo>
                      <a:cubicBezTo>
                        <a:pt x="7441" y="25036"/>
                        <a:pt x="4576" y="27527"/>
                        <a:pt x="2209" y="34253"/>
                      </a:cubicBezTo>
                      <a:cubicBezTo>
                        <a:pt x="-33" y="40730"/>
                        <a:pt x="-157" y="46709"/>
                        <a:pt x="91"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0" name="Freeform 5551">
                  <a:extLst>
                    <a:ext uri="{FF2B5EF4-FFF2-40B4-BE49-F238E27FC236}">
                      <a16:creationId xmlns:a16="http://schemas.microsoft.com/office/drawing/2014/main" id="{2FB07CDC-150E-B757-679A-DEEF514FA47F}"/>
                    </a:ext>
                  </a:extLst>
                </p:cNvPr>
                <p:cNvSpPr/>
                <p:nvPr/>
              </p:nvSpPr>
              <p:spPr>
                <a:xfrm>
                  <a:off x="10484814" y="5921852"/>
                  <a:ext cx="26229" cy="26416"/>
                </a:xfrm>
                <a:custGeom>
                  <a:avLst/>
                  <a:gdLst>
                    <a:gd name="connsiteX0" fmla="*/ 450 w 26229"/>
                    <a:gd name="connsiteY0" fmla="*/ 9908 h 26416"/>
                    <a:gd name="connsiteX1" fmla="*/ 16519 w 26229"/>
                    <a:gd name="connsiteY1" fmla="*/ 441 h 26416"/>
                    <a:gd name="connsiteX2" fmla="*/ 25736 w 26229"/>
                    <a:gd name="connsiteY2" fmla="*/ 16509 h 26416"/>
                    <a:gd name="connsiteX3" fmla="*/ 9668 w 26229"/>
                    <a:gd name="connsiteY3" fmla="*/ 25976 h 26416"/>
                    <a:gd name="connsiteX4" fmla="*/ 450 w 26229"/>
                    <a:gd name="connsiteY4" fmla="*/ 9908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416">
                      <a:moveTo>
                        <a:pt x="450" y="9908"/>
                      </a:moveTo>
                      <a:cubicBezTo>
                        <a:pt x="2319" y="2808"/>
                        <a:pt x="9544" y="-1427"/>
                        <a:pt x="16519" y="441"/>
                      </a:cubicBezTo>
                      <a:cubicBezTo>
                        <a:pt x="23494" y="2310"/>
                        <a:pt x="27729" y="9534"/>
                        <a:pt x="25736" y="16509"/>
                      </a:cubicBezTo>
                      <a:cubicBezTo>
                        <a:pt x="23867" y="23609"/>
                        <a:pt x="16643" y="27844"/>
                        <a:pt x="9668" y="25976"/>
                      </a:cubicBezTo>
                      <a:cubicBezTo>
                        <a:pt x="2692" y="24232"/>
                        <a:pt x="-1417" y="17007"/>
                        <a:pt x="450"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5" name="Graphic 2987">
                <a:extLst>
                  <a:ext uri="{FF2B5EF4-FFF2-40B4-BE49-F238E27FC236}">
                    <a16:creationId xmlns:a16="http://schemas.microsoft.com/office/drawing/2014/main" id="{13C20B09-17CB-C9EE-4839-0961583DECA4}"/>
                  </a:ext>
                </a:extLst>
              </p:cNvPr>
              <p:cNvGrpSpPr/>
              <p:nvPr/>
            </p:nvGrpSpPr>
            <p:grpSpPr>
              <a:xfrm>
                <a:off x="10513089" y="5811193"/>
                <a:ext cx="58737" cy="144567"/>
                <a:chOff x="10513089" y="5811193"/>
                <a:chExt cx="58737" cy="144567"/>
              </a:xfrm>
              <a:grpFill/>
            </p:grpSpPr>
            <p:sp>
              <p:nvSpPr>
                <p:cNvPr id="4049" name="Freeform 5553">
                  <a:extLst>
                    <a:ext uri="{FF2B5EF4-FFF2-40B4-BE49-F238E27FC236}">
                      <a16:creationId xmlns:a16="http://schemas.microsoft.com/office/drawing/2014/main" id="{6037FE6E-F3FF-C143-81EF-78A1DAFC5CB3}"/>
                    </a:ext>
                  </a:extLst>
                </p:cNvPr>
                <p:cNvSpPr/>
                <p:nvPr/>
              </p:nvSpPr>
              <p:spPr>
                <a:xfrm>
                  <a:off x="10538824" y="5830370"/>
                  <a:ext cx="14324" cy="50072"/>
                </a:xfrm>
                <a:custGeom>
                  <a:avLst/>
                  <a:gdLst>
                    <a:gd name="connsiteX0" fmla="*/ 14324 w 14324"/>
                    <a:gd name="connsiteY0" fmla="*/ 0 h 50072"/>
                    <a:gd name="connsiteX1" fmla="*/ 7474 w 14324"/>
                    <a:gd name="connsiteY1" fmla="*/ 17563 h 50072"/>
                    <a:gd name="connsiteX2" fmla="*/ 6353 w 14324"/>
                    <a:gd name="connsiteY2" fmla="*/ 34876 h 50072"/>
                    <a:gd name="connsiteX3" fmla="*/ 0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14324" y="0"/>
                      </a:moveTo>
                      <a:cubicBezTo>
                        <a:pt x="9841" y="7100"/>
                        <a:pt x="8097" y="13203"/>
                        <a:pt x="7474" y="17563"/>
                      </a:cubicBezTo>
                      <a:cubicBezTo>
                        <a:pt x="6353" y="24538"/>
                        <a:pt x="7723" y="27901"/>
                        <a:pt x="6353" y="34876"/>
                      </a:cubicBezTo>
                      <a:cubicBezTo>
                        <a:pt x="4983" y="41602"/>
                        <a:pt x="2118"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0" name="Freeform 5554">
                  <a:extLst>
                    <a:ext uri="{FF2B5EF4-FFF2-40B4-BE49-F238E27FC236}">
                      <a16:creationId xmlns:a16="http://schemas.microsoft.com/office/drawing/2014/main" id="{EA764863-4B86-76CB-78C6-2BBD89AC6936}"/>
                    </a:ext>
                  </a:extLst>
                </p:cNvPr>
                <p:cNvSpPr/>
                <p:nvPr/>
              </p:nvSpPr>
              <p:spPr>
                <a:xfrm>
                  <a:off x="10548141" y="5827381"/>
                  <a:ext cx="13182" cy="50445"/>
                </a:xfrm>
                <a:custGeom>
                  <a:avLst/>
                  <a:gdLst>
                    <a:gd name="connsiteX0" fmla="*/ 25 w 13182"/>
                    <a:gd name="connsiteY0" fmla="*/ 50446 h 50445"/>
                    <a:gd name="connsiteX1" fmla="*/ 3015 w 13182"/>
                    <a:gd name="connsiteY1" fmla="*/ 31887 h 50445"/>
                    <a:gd name="connsiteX2" fmla="*/ 10862 w 13182"/>
                    <a:gd name="connsiteY2" fmla="*/ 16317 h 50445"/>
                    <a:gd name="connsiteX3" fmla="*/ 13105 w 13182"/>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25" y="50446"/>
                      </a:moveTo>
                      <a:cubicBezTo>
                        <a:pt x="-223" y="41976"/>
                        <a:pt x="1396" y="35997"/>
                        <a:pt x="3015" y="31887"/>
                      </a:cubicBezTo>
                      <a:cubicBezTo>
                        <a:pt x="5631" y="25409"/>
                        <a:pt x="8496" y="23043"/>
                        <a:pt x="10862" y="16317"/>
                      </a:cubicBezTo>
                      <a:cubicBezTo>
                        <a:pt x="13105" y="9840"/>
                        <a:pt x="13353" y="3861"/>
                        <a:pt x="13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1" name="Freeform 5555">
                  <a:extLst>
                    <a:ext uri="{FF2B5EF4-FFF2-40B4-BE49-F238E27FC236}">
                      <a16:creationId xmlns:a16="http://schemas.microsoft.com/office/drawing/2014/main" id="{5BD91460-07B0-03DA-0CC8-6AA70E251A30}"/>
                    </a:ext>
                  </a:extLst>
                </p:cNvPr>
                <p:cNvSpPr/>
                <p:nvPr/>
              </p:nvSpPr>
              <p:spPr>
                <a:xfrm>
                  <a:off x="10544985" y="5811193"/>
                  <a:ext cx="26842" cy="26486"/>
                </a:xfrm>
                <a:custGeom>
                  <a:avLst/>
                  <a:gdLst>
                    <a:gd name="connsiteX0" fmla="*/ 26350 w 26842"/>
                    <a:gd name="connsiteY0" fmla="*/ 16810 h 26486"/>
                    <a:gd name="connsiteX1" fmla="*/ 9908 w 26842"/>
                    <a:gd name="connsiteY1" fmla="*/ 26027 h 26486"/>
                    <a:gd name="connsiteX2" fmla="*/ 441 w 26842"/>
                    <a:gd name="connsiteY2" fmla="*/ 9835 h 26486"/>
                    <a:gd name="connsiteX3" fmla="*/ 16883 w 26842"/>
                    <a:gd name="connsiteY3" fmla="*/ 493 h 26486"/>
                    <a:gd name="connsiteX4" fmla="*/ 26350 w 26842"/>
                    <a:gd name="connsiteY4" fmla="*/ 16810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486">
                      <a:moveTo>
                        <a:pt x="26350" y="16810"/>
                      </a:moveTo>
                      <a:cubicBezTo>
                        <a:pt x="24356" y="23910"/>
                        <a:pt x="17132" y="27896"/>
                        <a:pt x="9908" y="26027"/>
                      </a:cubicBezTo>
                      <a:cubicBezTo>
                        <a:pt x="2808" y="24159"/>
                        <a:pt x="-1427" y="16935"/>
                        <a:pt x="441" y="9835"/>
                      </a:cubicBezTo>
                      <a:cubicBezTo>
                        <a:pt x="2310" y="2735"/>
                        <a:pt x="9659" y="-1500"/>
                        <a:pt x="16883" y="493"/>
                      </a:cubicBezTo>
                      <a:cubicBezTo>
                        <a:pt x="24108" y="2361"/>
                        <a:pt x="28342" y="9835"/>
                        <a:pt x="26350" y="16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2" name="Freeform 5556">
                  <a:extLst>
                    <a:ext uri="{FF2B5EF4-FFF2-40B4-BE49-F238E27FC236}">
                      <a16:creationId xmlns:a16="http://schemas.microsoft.com/office/drawing/2014/main" id="{2FB74AB0-5682-EAAA-3611-A3AA515A59EC}"/>
                    </a:ext>
                  </a:extLst>
                </p:cNvPr>
                <p:cNvSpPr/>
                <p:nvPr/>
              </p:nvSpPr>
              <p:spPr>
                <a:xfrm>
                  <a:off x="10531600" y="5886545"/>
                  <a:ext cx="14448" cy="50072"/>
                </a:xfrm>
                <a:custGeom>
                  <a:avLst/>
                  <a:gdLst>
                    <a:gd name="connsiteX0" fmla="*/ 0 w 14448"/>
                    <a:gd name="connsiteY0" fmla="*/ 50072 h 50072"/>
                    <a:gd name="connsiteX1" fmla="*/ 6851 w 14448"/>
                    <a:gd name="connsiteY1" fmla="*/ 32634 h 50072"/>
                    <a:gd name="connsiteX2" fmla="*/ 8096 w 14448"/>
                    <a:gd name="connsiteY2" fmla="*/ 15196 h 50072"/>
                    <a:gd name="connsiteX3" fmla="*/ 14448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4484" y="42972"/>
                        <a:pt x="6103" y="36869"/>
                        <a:pt x="6851" y="32634"/>
                      </a:cubicBezTo>
                      <a:cubicBezTo>
                        <a:pt x="7971" y="25659"/>
                        <a:pt x="6726" y="22171"/>
                        <a:pt x="8096" y="15196"/>
                      </a:cubicBezTo>
                      <a:cubicBezTo>
                        <a:pt x="9467" y="8470"/>
                        <a:pt x="12331" y="3238"/>
                        <a:pt x="144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3" name="Freeform 5557">
                  <a:extLst>
                    <a:ext uri="{FF2B5EF4-FFF2-40B4-BE49-F238E27FC236}">
                      <a16:creationId xmlns:a16="http://schemas.microsoft.com/office/drawing/2014/main" id="{E846B394-BD7F-8345-51C0-6AA45C2DAA37}"/>
                    </a:ext>
                  </a:extLst>
                </p:cNvPr>
                <p:cNvSpPr/>
                <p:nvPr/>
              </p:nvSpPr>
              <p:spPr>
                <a:xfrm>
                  <a:off x="10523551" y="5889161"/>
                  <a:ext cx="13057" cy="50445"/>
                </a:xfrm>
                <a:custGeom>
                  <a:avLst/>
                  <a:gdLst>
                    <a:gd name="connsiteX0" fmla="*/ 13032 w 13057"/>
                    <a:gd name="connsiteY0" fmla="*/ 0 h 50445"/>
                    <a:gd name="connsiteX1" fmla="*/ 10042 w 13057"/>
                    <a:gd name="connsiteY1" fmla="*/ 18559 h 50445"/>
                    <a:gd name="connsiteX2" fmla="*/ 2320 w 13057"/>
                    <a:gd name="connsiteY2" fmla="*/ 34129 h 50445"/>
                    <a:gd name="connsiteX3" fmla="*/ 78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0"/>
                      </a:moveTo>
                      <a:cubicBezTo>
                        <a:pt x="13281" y="8345"/>
                        <a:pt x="11662" y="14449"/>
                        <a:pt x="10042" y="18559"/>
                      </a:cubicBezTo>
                      <a:cubicBezTo>
                        <a:pt x="7426" y="25036"/>
                        <a:pt x="4562" y="27527"/>
                        <a:pt x="2320" y="34129"/>
                      </a:cubicBezTo>
                      <a:cubicBezTo>
                        <a:pt x="78" y="40606"/>
                        <a:pt x="-171" y="46584"/>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4" name="Freeform 5558">
                  <a:extLst>
                    <a:ext uri="{FF2B5EF4-FFF2-40B4-BE49-F238E27FC236}">
                      <a16:creationId xmlns:a16="http://schemas.microsoft.com/office/drawing/2014/main" id="{B8EB1999-EE9B-DAED-EA6B-103F4C6F735F}"/>
                    </a:ext>
                  </a:extLst>
                </p:cNvPr>
                <p:cNvSpPr/>
                <p:nvPr/>
              </p:nvSpPr>
              <p:spPr>
                <a:xfrm>
                  <a:off x="10513089" y="5929325"/>
                  <a:ext cx="26238" cy="26434"/>
                </a:xfrm>
                <a:custGeom>
                  <a:avLst/>
                  <a:gdLst>
                    <a:gd name="connsiteX0" fmla="*/ 451 w 26238"/>
                    <a:gd name="connsiteY0" fmla="*/ 9908 h 26434"/>
                    <a:gd name="connsiteX1" fmla="*/ 16643 w 26238"/>
                    <a:gd name="connsiteY1" fmla="*/ 441 h 26434"/>
                    <a:gd name="connsiteX2" fmla="*/ 25735 w 26238"/>
                    <a:gd name="connsiteY2" fmla="*/ 16759 h 26434"/>
                    <a:gd name="connsiteX3" fmla="*/ 9668 w 26238"/>
                    <a:gd name="connsiteY3" fmla="*/ 25976 h 26434"/>
                    <a:gd name="connsiteX4" fmla="*/ 451 w 26238"/>
                    <a:gd name="connsiteY4" fmla="*/ 9908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434">
                      <a:moveTo>
                        <a:pt x="451" y="9908"/>
                      </a:moveTo>
                      <a:cubicBezTo>
                        <a:pt x="2319" y="2808"/>
                        <a:pt x="9543" y="-1427"/>
                        <a:pt x="16643" y="441"/>
                      </a:cubicBezTo>
                      <a:cubicBezTo>
                        <a:pt x="23618" y="2310"/>
                        <a:pt x="27729" y="9783"/>
                        <a:pt x="25735" y="16759"/>
                      </a:cubicBezTo>
                      <a:cubicBezTo>
                        <a:pt x="23743" y="23858"/>
                        <a:pt x="16643" y="27844"/>
                        <a:pt x="9668" y="25976"/>
                      </a:cubicBezTo>
                      <a:cubicBezTo>
                        <a:pt x="2693" y="24108"/>
                        <a:pt x="-1418" y="16883"/>
                        <a:pt x="451"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6" name="Graphic 2987">
                <a:extLst>
                  <a:ext uri="{FF2B5EF4-FFF2-40B4-BE49-F238E27FC236}">
                    <a16:creationId xmlns:a16="http://schemas.microsoft.com/office/drawing/2014/main" id="{85163F3C-7333-7476-7D0D-5242358890BC}"/>
                  </a:ext>
                </a:extLst>
              </p:cNvPr>
              <p:cNvGrpSpPr/>
              <p:nvPr/>
            </p:nvGrpSpPr>
            <p:grpSpPr>
              <a:xfrm>
                <a:off x="10541310" y="5819270"/>
                <a:ext cx="59289" cy="144505"/>
                <a:chOff x="10541310" y="5819270"/>
                <a:chExt cx="59289" cy="144505"/>
              </a:xfrm>
              <a:grpFill/>
            </p:grpSpPr>
            <p:sp>
              <p:nvSpPr>
                <p:cNvPr id="4043" name="Freeform 5560">
                  <a:extLst>
                    <a:ext uri="{FF2B5EF4-FFF2-40B4-BE49-F238E27FC236}">
                      <a16:creationId xmlns:a16="http://schemas.microsoft.com/office/drawing/2014/main" id="{6E693595-BECA-F002-BB90-F2CF8435135B}"/>
                    </a:ext>
                  </a:extLst>
                </p:cNvPr>
                <p:cNvSpPr/>
                <p:nvPr/>
              </p:nvSpPr>
              <p:spPr>
                <a:xfrm>
                  <a:off x="10567224" y="5838341"/>
                  <a:ext cx="14697" cy="50072"/>
                </a:xfrm>
                <a:custGeom>
                  <a:avLst/>
                  <a:gdLst>
                    <a:gd name="connsiteX0" fmla="*/ 14698 w 14697"/>
                    <a:gd name="connsiteY0" fmla="*/ 0 h 50072"/>
                    <a:gd name="connsiteX1" fmla="*/ 7723 w 14697"/>
                    <a:gd name="connsiteY1" fmla="*/ 17438 h 50072"/>
                    <a:gd name="connsiteX2" fmla="*/ 6477 w 14697"/>
                    <a:gd name="connsiteY2" fmla="*/ 34876 h 50072"/>
                    <a:gd name="connsiteX3" fmla="*/ 0 w 1469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0"/>
                      </a:moveTo>
                      <a:cubicBezTo>
                        <a:pt x="10089" y="7100"/>
                        <a:pt x="8470" y="13203"/>
                        <a:pt x="7723" y="17438"/>
                      </a:cubicBezTo>
                      <a:cubicBezTo>
                        <a:pt x="6601" y="24414"/>
                        <a:pt x="7847" y="27901"/>
                        <a:pt x="6477" y="34876"/>
                      </a:cubicBezTo>
                      <a:cubicBezTo>
                        <a:pt x="5107" y="41602"/>
                        <a:pt x="2242"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4" name="Freeform 5561">
                  <a:extLst>
                    <a:ext uri="{FF2B5EF4-FFF2-40B4-BE49-F238E27FC236}">
                      <a16:creationId xmlns:a16="http://schemas.microsoft.com/office/drawing/2014/main" id="{00F67A89-7E9E-0206-7A40-DFA3C7277860}"/>
                    </a:ext>
                  </a:extLst>
                </p:cNvPr>
                <p:cNvSpPr/>
                <p:nvPr/>
              </p:nvSpPr>
              <p:spPr>
                <a:xfrm>
                  <a:off x="10576666" y="583547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1976"/>
                        <a:pt x="1519" y="35873"/>
                        <a:pt x="3138" y="31887"/>
                      </a:cubicBezTo>
                      <a:cubicBezTo>
                        <a:pt x="5753" y="25409"/>
                        <a:pt x="8618" y="23043"/>
                        <a:pt x="10985" y="16317"/>
                      </a:cubicBezTo>
                      <a:cubicBezTo>
                        <a:pt x="13352" y="9840"/>
                        <a:pt x="13476" y="3861"/>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5" name="Freeform 5562">
                  <a:extLst>
                    <a:ext uri="{FF2B5EF4-FFF2-40B4-BE49-F238E27FC236}">
                      <a16:creationId xmlns:a16="http://schemas.microsoft.com/office/drawing/2014/main" id="{0C51CDEB-42AD-4346-1816-06FD6D5F6FCC}"/>
                    </a:ext>
                  </a:extLst>
                </p:cNvPr>
                <p:cNvSpPr/>
                <p:nvPr/>
              </p:nvSpPr>
              <p:spPr>
                <a:xfrm>
                  <a:off x="10573874" y="5819270"/>
                  <a:ext cx="26726" cy="26558"/>
                </a:xfrm>
                <a:custGeom>
                  <a:avLst/>
                  <a:gdLst>
                    <a:gd name="connsiteX0" fmla="*/ 26234 w 26726"/>
                    <a:gd name="connsiteY0" fmla="*/ 16954 h 26558"/>
                    <a:gd name="connsiteX1" fmla="*/ 9792 w 26726"/>
                    <a:gd name="connsiteY1" fmla="*/ 26047 h 26558"/>
                    <a:gd name="connsiteX2" fmla="*/ 450 w 26726"/>
                    <a:gd name="connsiteY2" fmla="*/ 9605 h 26558"/>
                    <a:gd name="connsiteX3" fmla="*/ 16892 w 26726"/>
                    <a:gd name="connsiteY3" fmla="*/ 512 h 26558"/>
                    <a:gd name="connsiteX4" fmla="*/ 26234 w 26726"/>
                    <a:gd name="connsiteY4" fmla="*/ 16954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58">
                      <a:moveTo>
                        <a:pt x="26234" y="16954"/>
                      </a:moveTo>
                      <a:cubicBezTo>
                        <a:pt x="24240" y="24054"/>
                        <a:pt x="16892" y="28040"/>
                        <a:pt x="9792" y="26047"/>
                      </a:cubicBezTo>
                      <a:cubicBezTo>
                        <a:pt x="2692" y="24054"/>
                        <a:pt x="-1419" y="16705"/>
                        <a:pt x="450" y="9605"/>
                      </a:cubicBezTo>
                      <a:cubicBezTo>
                        <a:pt x="2443" y="2505"/>
                        <a:pt x="9792" y="-1481"/>
                        <a:pt x="16892" y="512"/>
                      </a:cubicBezTo>
                      <a:cubicBezTo>
                        <a:pt x="23992" y="2505"/>
                        <a:pt x="28226" y="9979"/>
                        <a:pt x="26234"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6" name="Freeform 5563">
                  <a:extLst>
                    <a:ext uri="{FF2B5EF4-FFF2-40B4-BE49-F238E27FC236}">
                      <a16:creationId xmlns:a16="http://schemas.microsoft.com/office/drawing/2014/main" id="{C31B08B5-C1C7-F37D-477C-FFD4A185A06C}"/>
                    </a:ext>
                  </a:extLst>
                </p:cNvPr>
                <p:cNvSpPr/>
                <p:nvPr/>
              </p:nvSpPr>
              <p:spPr>
                <a:xfrm>
                  <a:off x="10559751" y="5894517"/>
                  <a:ext cx="14821" cy="50072"/>
                </a:xfrm>
                <a:custGeom>
                  <a:avLst/>
                  <a:gdLst>
                    <a:gd name="connsiteX0" fmla="*/ 0 w 14821"/>
                    <a:gd name="connsiteY0" fmla="*/ 50072 h 50072"/>
                    <a:gd name="connsiteX1" fmla="*/ 6975 w 14821"/>
                    <a:gd name="connsiteY1" fmla="*/ 32634 h 50072"/>
                    <a:gd name="connsiteX2" fmla="*/ 8345 w 14821"/>
                    <a:gd name="connsiteY2" fmla="*/ 15196 h 50072"/>
                    <a:gd name="connsiteX3" fmla="*/ 14822 w 14821"/>
                    <a:gd name="connsiteY3" fmla="*/ 0 h 50072"/>
                  </a:gdLst>
                  <a:ahLst/>
                  <a:cxnLst>
                    <a:cxn ang="0">
                      <a:pos x="connsiteX0" y="connsiteY0"/>
                    </a:cxn>
                    <a:cxn ang="0">
                      <a:pos x="connsiteX1" y="connsiteY1"/>
                    </a:cxn>
                    <a:cxn ang="0">
                      <a:pos x="connsiteX2" y="connsiteY2"/>
                    </a:cxn>
                    <a:cxn ang="0">
                      <a:pos x="connsiteX3" y="connsiteY3"/>
                    </a:cxn>
                  </a:cxnLst>
                  <a:rect l="l" t="t" r="r" b="b"/>
                  <a:pathLst>
                    <a:path w="14821" h="50072">
                      <a:moveTo>
                        <a:pt x="0" y="50072"/>
                      </a:moveTo>
                      <a:cubicBezTo>
                        <a:pt x="4484" y="42973"/>
                        <a:pt x="6228" y="36869"/>
                        <a:pt x="6975" y="32634"/>
                      </a:cubicBezTo>
                      <a:cubicBezTo>
                        <a:pt x="8096" y="25784"/>
                        <a:pt x="6851" y="22171"/>
                        <a:pt x="8345" y="15196"/>
                      </a:cubicBezTo>
                      <a:cubicBezTo>
                        <a:pt x="9715" y="8470"/>
                        <a:pt x="12580" y="3239"/>
                        <a:pt x="148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7" name="Freeform 5564">
                  <a:extLst>
                    <a:ext uri="{FF2B5EF4-FFF2-40B4-BE49-F238E27FC236}">
                      <a16:creationId xmlns:a16="http://schemas.microsoft.com/office/drawing/2014/main" id="{330F0A4B-3E05-F3A3-D094-E15D8734D29E}"/>
                    </a:ext>
                  </a:extLst>
                </p:cNvPr>
                <p:cNvSpPr/>
                <p:nvPr/>
              </p:nvSpPr>
              <p:spPr>
                <a:xfrm>
                  <a:off x="10551621" y="5897133"/>
                  <a:ext cx="13384" cy="50446"/>
                </a:xfrm>
                <a:custGeom>
                  <a:avLst/>
                  <a:gdLst>
                    <a:gd name="connsiteX0" fmla="*/ 13360 w 13384"/>
                    <a:gd name="connsiteY0" fmla="*/ 0 h 50446"/>
                    <a:gd name="connsiteX1" fmla="*/ 10246 w 13384"/>
                    <a:gd name="connsiteY1" fmla="*/ 18559 h 50446"/>
                    <a:gd name="connsiteX2" fmla="*/ 2399 w 13384"/>
                    <a:gd name="connsiteY2" fmla="*/ 34129 h 50446"/>
                    <a:gd name="connsiteX3" fmla="*/ 33 w 13384"/>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83" h="50446">
                      <a:moveTo>
                        <a:pt x="13360" y="0"/>
                      </a:moveTo>
                      <a:cubicBezTo>
                        <a:pt x="13609" y="8470"/>
                        <a:pt x="11866" y="14573"/>
                        <a:pt x="10246" y="18559"/>
                      </a:cubicBezTo>
                      <a:cubicBezTo>
                        <a:pt x="7630" y="25036"/>
                        <a:pt x="4766" y="27403"/>
                        <a:pt x="2399" y="34129"/>
                      </a:cubicBezTo>
                      <a:cubicBezTo>
                        <a:pt x="33" y="40606"/>
                        <a:pt x="-92" y="46585"/>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8" name="Freeform 5565">
                  <a:extLst>
                    <a:ext uri="{FF2B5EF4-FFF2-40B4-BE49-F238E27FC236}">
                      <a16:creationId xmlns:a16="http://schemas.microsoft.com/office/drawing/2014/main" id="{0A600F6C-149B-CF93-9D65-818D28846A85}"/>
                    </a:ext>
                  </a:extLst>
                </p:cNvPr>
                <p:cNvSpPr/>
                <p:nvPr/>
              </p:nvSpPr>
              <p:spPr>
                <a:xfrm>
                  <a:off x="10541310" y="5937236"/>
                  <a:ext cx="26177" cy="26539"/>
                </a:xfrm>
                <a:custGeom>
                  <a:avLst/>
                  <a:gdLst>
                    <a:gd name="connsiteX0" fmla="*/ 504 w 26177"/>
                    <a:gd name="connsiteY0" fmla="*/ 9720 h 26539"/>
                    <a:gd name="connsiteX1" fmla="*/ 16696 w 26177"/>
                    <a:gd name="connsiteY1" fmla="*/ 503 h 26539"/>
                    <a:gd name="connsiteX2" fmla="*/ 25664 w 26177"/>
                    <a:gd name="connsiteY2" fmla="*/ 16820 h 26539"/>
                    <a:gd name="connsiteX3" fmla="*/ 9472 w 26177"/>
                    <a:gd name="connsiteY3" fmla="*/ 26037 h 26539"/>
                    <a:gd name="connsiteX4" fmla="*/ 504 w 26177"/>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38">
                      <a:moveTo>
                        <a:pt x="504" y="9720"/>
                      </a:moveTo>
                      <a:cubicBezTo>
                        <a:pt x="2497" y="2620"/>
                        <a:pt x="9721" y="-1490"/>
                        <a:pt x="16696" y="503"/>
                      </a:cubicBezTo>
                      <a:cubicBezTo>
                        <a:pt x="23671" y="2496"/>
                        <a:pt x="27657" y="9844"/>
                        <a:pt x="25664" y="16820"/>
                      </a:cubicBezTo>
                      <a:cubicBezTo>
                        <a:pt x="23671" y="23919"/>
                        <a:pt x="16447" y="28030"/>
                        <a:pt x="9472" y="26037"/>
                      </a:cubicBezTo>
                      <a:cubicBezTo>
                        <a:pt x="2621" y="24044"/>
                        <a:pt x="-1489" y="16695"/>
                        <a:pt x="504"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7" name="Graphic 2987">
                <a:extLst>
                  <a:ext uri="{FF2B5EF4-FFF2-40B4-BE49-F238E27FC236}">
                    <a16:creationId xmlns:a16="http://schemas.microsoft.com/office/drawing/2014/main" id="{C85769EF-47D8-6FF4-7272-D86963276324}"/>
                  </a:ext>
                </a:extLst>
              </p:cNvPr>
              <p:cNvGrpSpPr/>
              <p:nvPr/>
            </p:nvGrpSpPr>
            <p:grpSpPr>
              <a:xfrm>
                <a:off x="10569451" y="5827491"/>
                <a:ext cx="59985" cy="144204"/>
                <a:chOff x="10569451" y="5827491"/>
                <a:chExt cx="59985" cy="144204"/>
              </a:xfrm>
              <a:grpFill/>
            </p:grpSpPr>
            <p:sp>
              <p:nvSpPr>
                <p:cNvPr id="4037" name="Freeform 5567">
                  <a:extLst>
                    <a:ext uri="{FF2B5EF4-FFF2-40B4-BE49-F238E27FC236}">
                      <a16:creationId xmlns:a16="http://schemas.microsoft.com/office/drawing/2014/main" id="{E7D13003-6040-3CBF-BB93-66E2DC37F770}"/>
                    </a:ext>
                  </a:extLst>
                </p:cNvPr>
                <p:cNvSpPr/>
                <p:nvPr/>
              </p:nvSpPr>
              <p:spPr>
                <a:xfrm>
                  <a:off x="10595623" y="5846562"/>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8097" y="27901"/>
                        <a:pt x="6602" y="34752"/>
                      </a:cubicBezTo>
                      <a:cubicBezTo>
                        <a:pt x="5232" y="41478"/>
                        <a:pt x="2243"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8" name="Freeform 5568">
                  <a:extLst>
                    <a:ext uri="{FF2B5EF4-FFF2-40B4-BE49-F238E27FC236}">
                      <a16:creationId xmlns:a16="http://schemas.microsoft.com/office/drawing/2014/main" id="{A983F7BE-B4FF-409D-8D27-C91EC608789D}"/>
                    </a:ext>
                  </a:extLst>
                </p:cNvPr>
                <p:cNvSpPr/>
                <p:nvPr/>
              </p:nvSpPr>
              <p:spPr>
                <a:xfrm>
                  <a:off x="10605207" y="5843698"/>
                  <a:ext cx="13660" cy="50321"/>
                </a:xfrm>
                <a:custGeom>
                  <a:avLst/>
                  <a:gdLst>
                    <a:gd name="connsiteX0" fmla="*/ 6 w 13660"/>
                    <a:gd name="connsiteY0" fmla="*/ 50321 h 50321"/>
                    <a:gd name="connsiteX1" fmla="*/ 3245 w 13660"/>
                    <a:gd name="connsiteY1" fmla="*/ 31762 h 50321"/>
                    <a:gd name="connsiteX2" fmla="*/ 11217 w 13660"/>
                    <a:gd name="connsiteY2" fmla="*/ 16317 h 50321"/>
                    <a:gd name="connsiteX3" fmla="*/ 13583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6" y="50321"/>
                      </a:moveTo>
                      <a:cubicBezTo>
                        <a:pt x="-118" y="41851"/>
                        <a:pt x="1626" y="35872"/>
                        <a:pt x="3245" y="31762"/>
                      </a:cubicBezTo>
                      <a:cubicBezTo>
                        <a:pt x="5861" y="25285"/>
                        <a:pt x="8850" y="22919"/>
                        <a:pt x="11217" y="16317"/>
                      </a:cubicBezTo>
                      <a:cubicBezTo>
                        <a:pt x="13583" y="9840"/>
                        <a:pt x="13832" y="3986"/>
                        <a:pt x="135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9" name="Freeform 5569">
                  <a:extLst>
                    <a:ext uri="{FF2B5EF4-FFF2-40B4-BE49-F238E27FC236}">
                      <a16:creationId xmlns:a16="http://schemas.microsoft.com/office/drawing/2014/main" id="{F93AF755-B657-B715-A8F1-8E7C1E167051}"/>
                    </a:ext>
                  </a:extLst>
                </p:cNvPr>
                <p:cNvSpPr/>
                <p:nvPr/>
              </p:nvSpPr>
              <p:spPr>
                <a:xfrm>
                  <a:off x="10602594" y="5827491"/>
                  <a:ext cx="26842" cy="26549"/>
                </a:xfrm>
                <a:custGeom>
                  <a:avLst/>
                  <a:gdLst>
                    <a:gd name="connsiteX0" fmla="*/ 26286 w 26842"/>
                    <a:gd name="connsiteY0" fmla="*/ 16954 h 26549"/>
                    <a:gd name="connsiteX1" fmla="*/ 9720 w 26842"/>
                    <a:gd name="connsiteY1" fmla="*/ 26047 h 26549"/>
                    <a:gd name="connsiteX2" fmla="*/ 503 w 26842"/>
                    <a:gd name="connsiteY2" fmla="*/ 9605 h 26549"/>
                    <a:gd name="connsiteX3" fmla="*/ 17069 w 26842"/>
                    <a:gd name="connsiteY3" fmla="*/ 512 h 26549"/>
                    <a:gd name="connsiteX4" fmla="*/ 26286 w 26842"/>
                    <a:gd name="connsiteY4" fmla="*/ 16954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549">
                      <a:moveTo>
                        <a:pt x="26286" y="16954"/>
                      </a:moveTo>
                      <a:cubicBezTo>
                        <a:pt x="24293" y="23929"/>
                        <a:pt x="16820" y="28040"/>
                        <a:pt x="9720" y="26047"/>
                      </a:cubicBezTo>
                      <a:cubicBezTo>
                        <a:pt x="2620" y="24054"/>
                        <a:pt x="-1491" y="16705"/>
                        <a:pt x="503" y="9605"/>
                      </a:cubicBezTo>
                      <a:cubicBezTo>
                        <a:pt x="2495" y="2505"/>
                        <a:pt x="9845" y="-1481"/>
                        <a:pt x="17069" y="512"/>
                      </a:cubicBezTo>
                      <a:cubicBezTo>
                        <a:pt x="24293" y="2505"/>
                        <a:pt x="28404" y="9979"/>
                        <a:pt x="26286"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0" name="Freeform 5570">
                  <a:extLst>
                    <a:ext uri="{FF2B5EF4-FFF2-40B4-BE49-F238E27FC236}">
                      <a16:creationId xmlns:a16="http://schemas.microsoft.com/office/drawing/2014/main" id="{2C85C9C0-B287-3675-363D-2A3892494F87}"/>
                    </a:ext>
                  </a:extLst>
                </p:cNvPr>
                <p:cNvSpPr/>
                <p:nvPr/>
              </p:nvSpPr>
              <p:spPr>
                <a:xfrm>
                  <a:off x="10587900" y="5902738"/>
                  <a:ext cx="14947" cy="49947"/>
                </a:xfrm>
                <a:custGeom>
                  <a:avLst/>
                  <a:gdLst>
                    <a:gd name="connsiteX0" fmla="*/ 0 w 14947"/>
                    <a:gd name="connsiteY0" fmla="*/ 49948 h 49947"/>
                    <a:gd name="connsiteX1" fmla="*/ 6975 w 14947"/>
                    <a:gd name="connsiteY1" fmla="*/ 32509 h 49947"/>
                    <a:gd name="connsiteX2" fmla="*/ 8346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3" y="36745"/>
                        <a:pt x="6975" y="32509"/>
                      </a:cubicBezTo>
                      <a:cubicBezTo>
                        <a:pt x="8097" y="25659"/>
                        <a:pt x="6975" y="22047"/>
                        <a:pt x="8346" y="15196"/>
                      </a:cubicBezTo>
                      <a:cubicBezTo>
                        <a:pt x="9716"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1" name="Freeform 5571">
                  <a:extLst>
                    <a:ext uri="{FF2B5EF4-FFF2-40B4-BE49-F238E27FC236}">
                      <a16:creationId xmlns:a16="http://schemas.microsoft.com/office/drawing/2014/main" id="{18128D6C-FBED-29EC-DDB2-A90E09A9BC29}"/>
                    </a:ext>
                  </a:extLst>
                </p:cNvPr>
                <p:cNvSpPr/>
                <p:nvPr/>
              </p:nvSpPr>
              <p:spPr>
                <a:xfrm>
                  <a:off x="10579852" y="5905229"/>
                  <a:ext cx="13659" cy="50321"/>
                </a:xfrm>
                <a:custGeom>
                  <a:avLst/>
                  <a:gdLst>
                    <a:gd name="connsiteX0" fmla="*/ 13653 w 13659"/>
                    <a:gd name="connsiteY0" fmla="*/ 0 h 50321"/>
                    <a:gd name="connsiteX1" fmla="*/ 10415 w 13659"/>
                    <a:gd name="connsiteY1" fmla="*/ 18559 h 50321"/>
                    <a:gd name="connsiteX2" fmla="*/ 2444 w 13659"/>
                    <a:gd name="connsiteY2" fmla="*/ 34004 h 50321"/>
                    <a:gd name="connsiteX3" fmla="*/ 77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13653" y="0"/>
                      </a:moveTo>
                      <a:cubicBezTo>
                        <a:pt x="13778" y="8470"/>
                        <a:pt x="12034" y="14448"/>
                        <a:pt x="10415" y="18559"/>
                      </a:cubicBezTo>
                      <a:cubicBezTo>
                        <a:pt x="7800" y="25036"/>
                        <a:pt x="4934" y="27402"/>
                        <a:pt x="2444" y="34004"/>
                      </a:cubicBezTo>
                      <a:cubicBezTo>
                        <a:pt x="77" y="40481"/>
                        <a:pt x="-172" y="46335"/>
                        <a:pt x="7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2" name="Freeform 5572">
                  <a:extLst>
                    <a:ext uri="{FF2B5EF4-FFF2-40B4-BE49-F238E27FC236}">
                      <a16:creationId xmlns:a16="http://schemas.microsoft.com/office/drawing/2014/main" id="{17302B5E-B48C-0408-02AE-53D2F9134EF1}"/>
                    </a:ext>
                  </a:extLst>
                </p:cNvPr>
                <p:cNvSpPr/>
                <p:nvPr/>
              </p:nvSpPr>
              <p:spPr>
                <a:xfrm>
                  <a:off x="10569451" y="5945251"/>
                  <a:ext cx="26186" cy="26443"/>
                </a:xfrm>
                <a:custGeom>
                  <a:avLst/>
                  <a:gdLst>
                    <a:gd name="connsiteX0" fmla="*/ 513 w 26186"/>
                    <a:gd name="connsiteY0" fmla="*/ 9676 h 26443"/>
                    <a:gd name="connsiteX1" fmla="*/ 16706 w 26186"/>
                    <a:gd name="connsiteY1" fmla="*/ 459 h 26443"/>
                    <a:gd name="connsiteX2" fmla="*/ 25674 w 26186"/>
                    <a:gd name="connsiteY2" fmla="*/ 16776 h 26443"/>
                    <a:gd name="connsiteX3" fmla="*/ 9481 w 26186"/>
                    <a:gd name="connsiteY3" fmla="*/ 25993 h 26443"/>
                    <a:gd name="connsiteX4" fmla="*/ 513 w 26186"/>
                    <a:gd name="connsiteY4" fmla="*/ 9676 h 26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43">
                      <a:moveTo>
                        <a:pt x="513" y="9676"/>
                      </a:moveTo>
                      <a:cubicBezTo>
                        <a:pt x="2506" y="2576"/>
                        <a:pt x="9731" y="-1410"/>
                        <a:pt x="16706" y="459"/>
                      </a:cubicBezTo>
                      <a:cubicBezTo>
                        <a:pt x="23681" y="2452"/>
                        <a:pt x="27667" y="9801"/>
                        <a:pt x="25674" y="16776"/>
                      </a:cubicBezTo>
                      <a:cubicBezTo>
                        <a:pt x="23681" y="23751"/>
                        <a:pt x="16332" y="27862"/>
                        <a:pt x="9481" y="25993"/>
                      </a:cubicBezTo>
                      <a:cubicBezTo>
                        <a:pt x="2506" y="24000"/>
                        <a:pt x="-1480" y="16776"/>
                        <a:pt x="513"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8" name="Graphic 2987">
                <a:extLst>
                  <a:ext uri="{FF2B5EF4-FFF2-40B4-BE49-F238E27FC236}">
                    <a16:creationId xmlns:a16="http://schemas.microsoft.com/office/drawing/2014/main" id="{6FBAD2F3-0A03-44B4-41AE-43FDE1C00B71}"/>
                  </a:ext>
                </a:extLst>
              </p:cNvPr>
              <p:cNvGrpSpPr/>
              <p:nvPr/>
            </p:nvGrpSpPr>
            <p:grpSpPr>
              <a:xfrm>
                <a:off x="10597600" y="5835721"/>
                <a:ext cx="60679" cy="143998"/>
                <a:chOff x="10597600" y="5835721"/>
                <a:chExt cx="60679" cy="143998"/>
              </a:xfrm>
              <a:grpFill/>
            </p:grpSpPr>
            <p:sp>
              <p:nvSpPr>
                <p:cNvPr id="4031" name="Freeform 5574">
                  <a:extLst>
                    <a:ext uri="{FF2B5EF4-FFF2-40B4-BE49-F238E27FC236}">
                      <a16:creationId xmlns:a16="http://schemas.microsoft.com/office/drawing/2014/main" id="{2D84D849-712C-436A-86D0-757B2503C828}"/>
                    </a:ext>
                  </a:extLst>
                </p:cNvPr>
                <p:cNvSpPr/>
                <p:nvPr/>
              </p:nvSpPr>
              <p:spPr>
                <a:xfrm>
                  <a:off x="10624147" y="5854783"/>
                  <a:ext cx="15195" cy="49823"/>
                </a:xfrm>
                <a:custGeom>
                  <a:avLst/>
                  <a:gdLst>
                    <a:gd name="connsiteX0" fmla="*/ 15196 w 15195"/>
                    <a:gd name="connsiteY0" fmla="*/ 0 h 49823"/>
                    <a:gd name="connsiteX1" fmla="*/ 8096 w 15195"/>
                    <a:gd name="connsiteY1" fmla="*/ 17438 h 49823"/>
                    <a:gd name="connsiteX2" fmla="*/ 6601 w 15195"/>
                    <a:gd name="connsiteY2" fmla="*/ 34752 h 49823"/>
                    <a:gd name="connsiteX3" fmla="*/ 0 w 1519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0"/>
                      </a:moveTo>
                      <a:cubicBezTo>
                        <a:pt x="10587" y="7100"/>
                        <a:pt x="8843" y="13079"/>
                        <a:pt x="8096" y="17438"/>
                      </a:cubicBezTo>
                      <a:cubicBezTo>
                        <a:pt x="6975" y="24289"/>
                        <a:pt x="8096" y="27901"/>
                        <a:pt x="6601" y="34752"/>
                      </a:cubicBezTo>
                      <a:cubicBezTo>
                        <a:pt x="5107"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2" name="Freeform 5575">
                  <a:extLst>
                    <a:ext uri="{FF2B5EF4-FFF2-40B4-BE49-F238E27FC236}">
                      <a16:creationId xmlns:a16="http://schemas.microsoft.com/office/drawing/2014/main" id="{28751357-A4AC-8F54-0D1A-B43D5DCB5457}"/>
                    </a:ext>
                  </a:extLst>
                </p:cNvPr>
                <p:cNvSpPr/>
                <p:nvPr/>
              </p:nvSpPr>
              <p:spPr>
                <a:xfrm>
                  <a:off x="10633607" y="5851794"/>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7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8" y="41976"/>
                        <a:pt x="1626" y="35873"/>
                        <a:pt x="3369" y="31762"/>
                      </a:cubicBezTo>
                      <a:cubicBezTo>
                        <a:pt x="6110" y="25285"/>
                        <a:pt x="8974" y="22919"/>
                        <a:pt x="11465" y="16317"/>
                      </a:cubicBezTo>
                      <a:cubicBezTo>
                        <a:pt x="13832" y="9840"/>
                        <a:pt x="14081" y="3986"/>
                        <a:pt x="139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3" name="Freeform 5576">
                  <a:extLst>
                    <a:ext uri="{FF2B5EF4-FFF2-40B4-BE49-F238E27FC236}">
                      <a16:creationId xmlns:a16="http://schemas.microsoft.com/office/drawing/2014/main" id="{0DAC1930-F92A-982F-8490-271D4496EBD2}"/>
                    </a:ext>
                  </a:extLst>
                </p:cNvPr>
                <p:cNvSpPr/>
                <p:nvPr/>
              </p:nvSpPr>
              <p:spPr>
                <a:xfrm>
                  <a:off x="10631491" y="5835721"/>
                  <a:ext cx="26788" cy="26540"/>
                </a:xfrm>
                <a:custGeom>
                  <a:avLst/>
                  <a:gdLst>
                    <a:gd name="connsiteX0" fmla="*/ 26286 w 26788"/>
                    <a:gd name="connsiteY0" fmla="*/ 16945 h 26540"/>
                    <a:gd name="connsiteX1" fmla="*/ 9720 w 26788"/>
                    <a:gd name="connsiteY1" fmla="*/ 26037 h 26540"/>
                    <a:gd name="connsiteX2" fmla="*/ 503 w 26788"/>
                    <a:gd name="connsiteY2" fmla="*/ 9596 h 26540"/>
                    <a:gd name="connsiteX3" fmla="*/ 17068 w 26788"/>
                    <a:gd name="connsiteY3" fmla="*/ 503 h 26540"/>
                    <a:gd name="connsiteX4" fmla="*/ 26286 w 26788"/>
                    <a:gd name="connsiteY4" fmla="*/ 16945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540">
                      <a:moveTo>
                        <a:pt x="26286" y="16945"/>
                      </a:moveTo>
                      <a:cubicBezTo>
                        <a:pt x="24168" y="23920"/>
                        <a:pt x="16820" y="28030"/>
                        <a:pt x="9720" y="26037"/>
                      </a:cubicBezTo>
                      <a:cubicBezTo>
                        <a:pt x="2620" y="24044"/>
                        <a:pt x="-1491" y="16696"/>
                        <a:pt x="503" y="9596"/>
                      </a:cubicBezTo>
                      <a:cubicBezTo>
                        <a:pt x="2495" y="2620"/>
                        <a:pt x="9969" y="-1490"/>
                        <a:pt x="17068" y="503"/>
                      </a:cubicBezTo>
                      <a:cubicBezTo>
                        <a:pt x="24168" y="2496"/>
                        <a:pt x="28279" y="9969"/>
                        <a:pt x="26286" y="16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4" name="Freeform 5577">
                  <a:extLst>
                    <a:ext uri="{FF2B5EF4-FFF2-40B4-BE49-F238E27FC236}">
                      <a16:creationId xmlns:a16="http://schemas.microsoft.com/office/drawing/2014/main" id="{979B4D47-40B9-9657-27E3-ACB0F1742FF9}"/>
                    </a:ext>
                  </a:extLst>
                </p:cNvPr>
                <p:cNvSpPr/>
                <p:nvPr/>
              </p:nvSpPr>
              <p:spPr>
                <a:xfrm>
                  <a:off x="10616050" y="5910834"/>
                  <a:ext cx="15196" cy="49823"/>
                </a:xfrm>
                <a:custGeom>
                  <a:avLst/>
                  <a:gdLst>
                    <a:gd name="connsiteX0" fmla="*/ 0 w 15196"/>
                    <a:gd name="connsiteY0" fmla="*/ 49823 h 49823"/>
                    <a:gd name="connsiteX1" fmla="*/ 7100 w 15196"/>
                    <a:gd name="connsiteY1" fmla="*/ 32385 h 49823"/>
                    <a:gd name="connsiteX2" fmla="*/ 8595 w 15196"/>
                    <a:gd name="connsiteY2" fmla="*/ 15071 h 49823"/>
                    <a:gd name="connsiteX3" fmla="*/ 15196 w 15196"/>
                    <a:gd name="connsiteY3" fmla="*/ 0 h 49823"/>
                  </a:gdLst>
                  <a:ahLst/>
                  <a:cxnLst>
                    <a:cxn ang="0">
                      <a:pos x="connsiteX0" y="connsiteY0"/>
                    </a:cxn>
                    <a:cxn ang="0">
                      <a:pos x="connsiteX1" y="connsiteY1"/>
                    </a:cxn>
                    <a:cxn ang="0">
                      <a:pos x="connsiteX2" y="connsiteY2"/>
                    </a:cxn>
                    <a:cxn ang="0">
                      <a:pos x="connsiteX3" y="connsiteY3"/>
                    </a:cxn>
                  </a:cxnLst>
                  <a:rect l="l" t="t" r="r" b="b"/>
                  <a:pathLst>
                    <a:path w="15196" h="49823">
                      <a:moveTo>
                        <a:pt x="0" y="49823"/>
                      </a:moveTo>
                      <a:cubicBezTo>
                        <a:pt x="4609" y="42723"/>
                        <a:pt x="6353" y="36745"/>
                        <a:pt x="7100" y="32385"/>
                      </a:cubicBezTo>
                      <a:cubicBezTo>
                        <a:pt x="8345" y="25535"/>
                        <a:pt x="7100" y="22047"/>
                        <a:pt x="8595" y="15071"/>
                      </a:cubicBezTo>
                      <a:cubicBezTo>
                        <a:pt x="10089" y="8346"/>
                        <a:pt x="12954" y="3239"/>
                        <a:pt x="151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5" name="Freeform 5578">
                  <a:extLst>
                    <a:ext uri="{FF2B5EF4-FFF2-40B4-BE49-F238E27FC236}">
                      <a16:creationId xmlns:a16="http://schemas.microsoft.com/office/drawing/2014/main" id="{7BB71897-F5F1-5A86-0EF5-252826935BDE}"/>
                    </a:ext>
                  </a:extLst>
                </p:cNvPr>
                <p:cNvSpPr/>
                <p:nvPr/>
              </p:nvSpPr>
              <p:spPr>
                <a:xfrm>
                  <a:off x="10608053" y="5913325"/>
                  <a:ext cx="13858" cy="50321"/>
                </a:xfrm>
                <a:custGeom>
                  <a:avLst/>
                  <a:gdLst>
                    <a:gd name="connsiteX0" fmla="*/ 13852 w 13858"/>
                    <a:gd name="connsiteY0" fmla="*/ 0 h 50321"/>
                    <a:gd name="connsiteX1" fmla="*/ 10489 w 13858"/>
                    <a:gd name="connsiteY1" fmla="*/ 18559 h 50321"/>
                    <a:gd name="connsiteX2" fmla="*/ 2517 w 13858"/>
                    <a:gd name="connsiteY2" fmla="*/ 34004 h 50321"/>
                    <a:gd name="connsiteX3" fmla="*/ 26 w 13858"/>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58" h="50321">
                      <a:moveTo>
                        <a:pt x="13852" y="0"/>
                      </a:moveTo>
                      <a:cubicBezTo>
                        <a:pt x="13977" y="8345"/>
                        <a:pt x="12233" y="14449"/>
                        <a:pt x="10489" y="18559"/>
                      </a:cubicBezTo>
                      <a:cubicBezTo>
                        <a:pt x="7749" y="25036"/>
                        <a:pt x="4884" y="27402"/>
                        <a:pt x="2517" y="34004"/>
                      </a:cubicBezTo>
                      <a:cubicBezTo>
                        <a:pt x="150" y="40481"/>
                        <a:pt x="-98" y="46335"/>
                        <a:pt x="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6" name="Freeform 5579">
                  <a:extLst>
                    <a:ext uri="{FF2B5EF4-FFF2-40B4-BE49-F238E27FC236}">
                      <a16:creationId xmlns:a16="http://schemas.microsoft.com/office/drawing/2014/main" id="{690427F9-993C-7477-7C9D-FBAFB8743FE2}"/>
                    </a:ext>
                  </a:extLst>
                </p:cNvPr>
                <p:cNvSpPr/>
                <p:nvPr/>
              </p:nvSpPr>
              <p:spPr>
                <a:xfrm>
                  <a:off x="10597600" y="5953303"/>
                  <a:ext cx="26242" cy="26415"/>
                </a:xfrm>
                <a:custGeom>
                  <a:avLst/>
                  <a:gdLst>
                    <a:gd name="connsiteX0" fmla="*/ 514 w 26242"/>
                    <a:gd name="connsiteY0" fmla="*/ 9596 h 26415"/>
                    <a:gd name="connsiteX1" fmla="*/ 16831 w 26242"/>
                    <a:gd name="connsiteY1" fmla="*/ 503 h 26415"/>
                    <a:gd name="connsiteX2" fmla="*/ 25674 w 26242"/>
                    <a:gd name="connsiteY2" fmla="*/ 16820 h 26415"/>
                    <a:gd name="connsiteX3" fmla="*/ 9357 w 26242"/>
                    <a:gd name="connsiteY3" fmla="*/ 25913 h 26415"/>
                    <a:gd name="connsiteX4" fmla="*/ 514 w 26242"/>
                    <a:gd name="connsiteY4" fmla="*/ 9596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15">
                      <a:moveTo>
                        <a:pt x="514" y="9596"/>
                      </a:moveTo>
                      <a:cubicBezTo>
                        <a:pt x="2507" y="2620"/>
                        <a:pt x="9855" y="-1490"/>
                        <a:pt x="16831" y="503"/>
                      </a:cubicBezTo>
                      <a:cubicBezTo>
                        <a:pt x="23806" y="2496"/>
                        <a:pt x="27792" y="9845"/>
                        <a:pt x="25674" y="16820"/>
                      </a:cubicBezTo>
                      <a:cubicBezTo>
                        <a:pt x="23557" y="23795"/>
                        <a:pt x="16333" y="27906"/>
                        <a:pt x="9357" y="25913"/>
                      </a:cubicBezTo>
                      <a:cubicBezTo>
                        <a:pt x="2507" y="23920"/>
                        <a:pt x="-1479" y="16696"/>
                        <a:pt x="514"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9" name="Graphic 2987">
                <a:extLst>
                  <a:ext uri="{FF2B5EF4-FFF2-40B4-BE49-F238E27FC236}">
                    <a16:creationId xmlns:a16="http://schemas.microsoft.com/office/drawing/2014/main" id="{C848D606-51AE-A1E0-8673-97FF414F58B5}"/>
                  </a:ext>
                </a:extLst>
              </p:cNvPr>
              <p:cNvGrpSpPr/>
              <p:nvPr/>
            </p:nvGrpSpPr>
            <p:grpSpPr>
              <a:xfrm>
                <a:off x="10625695" y="5843932"/>
                <a:ext cx="61298" cy="143958"/>
                <a:chOff x="10625695" y="5843932"/>
                <a:chExt cx="61298" cy="143958"/>
              </a:xfrm>
              <a:grpFill/>
            </p:grpSpPr>
            <p:sp>
              <p:nvSpPr>
                <p:cNvPr id="4025" name="Freeform 5581">
                  <a:extLst>
                    <a:ext uri="{FF2B5EF4-FFF2-40B4-BE49-F238E27FC236}">
                      <a16:creationId xmlns:a16="http://schemas.microsoft.com/office/drawing/2014/main" id="{17D566A8-97DE-66E5-E5CF-E9B8E2541895}"/>
                    </a:ext>
                  </a:extLst>
                </p:cNvPr>
                <p:cNvSpPr/>
                <p:nvPr/>
              </p:nvSpPr>
              <p:spPr>
                <a:xfrm>
                  <a:off x="10652670" y="5863004"/>
                  <a:ext cx="15445" cy="49823"/>
                </a:xfrm>
                <a:custGeom>
                  <a:avLst/>
                  <a:gdLst>
                    <a:gd name="connsiteX0" fmla="*/ 15445 w 15445"/>
                    <a:gd name="connsiteY0" fmla="*/ 0 h 49823"/>
                    <a:gd name="connsiteX1" fmla="*/ 8221 w 15445"/>
                    <a:gd name="connsiteY1" fmla="*/ 17438 h 49823"/>
                    <a:gd name="connsiteX2" fmla="*/ 6727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712" y="6975"/>
                        <a:pt x="8969" y="13078"/>
                        <a:pt x="8221" y="17438"/>
                      </a:cubicBezTo>
                      <a:cubicBezTo>
                        <a:pt x="6975" y="24289"/>
                        <a:pt x="8221" y="27776"/>
                        <a:pt x="6727" y="34752"/>
                      </a:cubicBezTo>
                      <a:cubicBezTo>
                        <a:pt x="5231"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6" name="Freeform 5582">
                  <a:extLst>
                    <a:ext uri="{FF2B5EF4-FFF2-40B4-BE49-F238E27FC236}">
                      <a16:creationId xmlns:a16="http://schemas.microsoft.com/office/drawing/2014/main" id="{D7D1349F-37C7-ED8D-41B0-E07092666AD8}"/>
                    </a:ext>
                  </a:extLst>
                </p:cNvPr>
                <p:cNvSpPr/>
                <p:nvPr/>
              </p:nvSpPr>
              <p:spPr>
                <a:xfrm>
                  <a:off x="10662131" y="5860264"/>
                  <a:ext cx="14231" cy="50072"/>
                </a:xfrm>
                <a:custGeom>
                  <a:avLst/>
                  <a:gdLst>
                    <a:gd name="connsiteX0" fmla="*/ 6 w 14231"/>
                    <a:gd name="connsiteY0" fmla="*/ 50072 h 50072"/>
                    <a:gd name="connsiteX1" fmla="*/ 3494 w 14231"/>
                    <a:gd name="connsiteY1" fmla="*/ 31638 h 50072"/>
                    <a:gd name="connsiteX2" fmla="*/ 11590 w 14231"/>
                    <a:gd name="connsiteY2" fmla="*/ 16317 h 50072"/>
                    <a:gd name="connsiteX3" fmla="*/ 14206 w 14231"/>
                    <a:gd name="connsiteY3" fmla="*/ 0 h 50072"/>
                  </a:gdLst>
                  <a:ahLst/>
                  <a:cxnLst>
                    <a:cxn ang="0">
                      <a:pos x="connsiteX0" y="connsiteY0"/>
                    </a:cxn>
                    <a:cxn ang="0">
                      <a:pos x="connsiteX1" y="connsiteY1"/>
                    </a:cxn>
                    <a:cxn ang="0">
                      <a:pos x="connsiteX2" y="connsiteY2"/>
                    </a:cxn>
                    <a:cxn ang="0">
                      <a:pos x="connsiteX3" y="connsiteY3"/>
                    </a:cxn>
                  </a:cxnLst>
                  <a:rect l="l" t="t" r="r" b="b"/>
                  <a:pathLst>
                    <a:path w="14231" h="50072">
                      <a:moveTo>
                        <a:pt x="6" y="50072"/>
                      </a:moveTo>
                      <a:cubicBezTo>
                        <a:pt x="-119" y="41602"/>
                        <a:pt x="1750" y="35624"/>
                        <a:pt x="3494" y="31638"/>
                      </a:cubicBezTo>
                      <a:cubicBezTo>
                        <a:pt x="6234" y="25161"/>
                        <a:pt x="9098" y="22919"/>
                        <a:pt x="11590" y="16317"/>
                      </a:cubicBezTo>
                      <a:cubicBezTo>
                        <a:pt x="14081" y="9840"/>
                        <a:pt x="14330" y="3986"/>
                        <a:pt x="14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7" name="Freeform 5583">
                  <a:extLst>
                    <a:ext uri="{FF2B5EF4-FFF2-40B4-BE49-F238E27FC236}">
                      <a16:creationId xmlns:a16="http://schemas.microsoft.com/office/drawing/2014/main" id="{141492F6-A988-447F-697A-D59B5D845FD3}"/>
                    </a:ext>
                  </a:extLst>
                </p:cNvPr>
                <p:cNvSpPr/>
                <p:nvPr/>
              </p:nvSpPr>
              <p:spPr>
                <a:xfrm>
                  <a:off x="10660209" y="5843932"/>
                  <a:ext cx="26783" cy="26579"/>
                </a:xfrm>
                <a:custGeom>
                  <a:avLst/>
                  <a:gdLst>
                    <a:gd name="connsiteX0" fmla="*/ 26216 w 26783"/>
                    <a:gd name="connsiteY0" fmla="*/ 17203 h 26579"/>
                    <a:gd name="connsiteX1" fmla="*/ 9650 w 26783"/>
                    <a:gd name="connsiteY1" fmla="*/ 26047 h 26579"/>
                    <a:gd name="connsiteX2" fmla="*/ 557 w 26783"/>
                    <a:gd name="connsiteY2" fmla="*/ 9605 h 26579"/>
                    <a:gd name="connsiteX3" fmla="*/ 17248 w 26783"/>
                    <a:gd name="connsiteY3" fmla="*/ 512 h 26579"/>
                    <a:gd name="connsiteX4" fmla="*/ 26216 w 26783"/>
                    <a:gd name="connsiteY4" fmla="*/ 1720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79">
                      <a:moveTo>
                        <a:pt x="26216" y="17203"/>
                      </a:moveTo>
                      <a:cubicBezTo>
                        <a:pt x="24099" y="24303"/>
                        <a:pt x="16750" y="28040"/>
                        <a:pt x="9650" y="26047"/>
                      </a:cubicBezTo>
                      <a:cubicBezTo>
                        <a:pt x="2550" y="24054"/>
                        <a:pt x="-1561" y="16705"/>
                        <a:pt x="557" y="9605"/>
                      </a:cubicBezTo>
                      <a:cubicBezTo>
                        <a:pt x="2675" y="2505"/>
                        <a:pt x="10024" y="-1481"/>
                        <a:pt x="17248" y="512"/>
                      </a:cubicBezTo>
                      <a:cubicBezTo>
                        <a:pt x="24347" y="2630"/>
                        <a:pt x="28333" y="10228"/>
                        <a:pt x="26216"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8" name="Freeform 5584">
                  <a:extLst>
                    <a:ext uri="{FF2B5EF4-FFF2-40B4-BE49-F238E27FC236}">
                      <a16:creationId xmlns:a16="http://schemas.microsoft.com/office/drawing/2014/main" id="{4F403404-E6F8-2A6F-62D3-D8CD0266EFA8}"/>
                    </a:ext>
                  </a:extLst>
                </p:cNvPr>
                <p:cNvSpPr/>
                <p:nvPr/>
              </p:nvSpPr>
              <p:spPr>
                <a:xfrm>
                  <a:off x="10644325" y="5919055"/>
                  <a:ext cx="15569" cy="49698"/>
                </a:xfrm>
                <a:custGeom>
                  <a:avLst/>
                  <a:gdLst>
                    <a:gd name="connsiteX0" fmla="*/ 0 w 15569"/>
                    <a:gd name="connsiteY0" fmla="*/ 49698 h 49698"/>
                    <a:gd name="connsiteX1" fmla="*/ 7225 w 15569"/>
                    <a:gd name="connsiteY1" fmla="*/ 32385 h 49698"/>
                    <a:gd name="connsiteX2" fmla="*/ 8844 w 15569"/>
                    <a:gd name="connsiteY2" fmla="*/ 15071 h 49698"/>
                    <a:gd name="connsiteX3" fmla="*/ 1557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0" y="49698"/>
                      </a:moveTo>
                      <a:cubicBezTo>
                        <a:pt x="4609" y="42723"/>
                        <a:pt x="6477" y="36620"/>
                        <a:pt x="7225" y="32385"/>
                      </a:cubicBezTo>
                      <a:cubicBezTo>
                        <a:pt x="8470" y="25534"/>
                        <a:pt x="7348" y="21922"/>
                        <a:pt x="8844" y="15071"/>
                      </a:cubicBezTo>
                      <a:cubicBezTo>
                        <a:pt x="10339" y="8346"/>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9" name="Freeform 5585">
                  <a:extLst>
                    <a:ext uri="{FF2B5EF4-FFF2-40B4-BE49-F238E27FC236}">
                      <a16:creationId xmlns:a16="http://schemas.microsoft.com/office/drawing/2014/main" id="{D87D077F-D6D3-79A9-2D3C-7B0D1BFD1C69}"/>
                    </a:ext>
                  </a:extLst>
                </p:cNvPr>
                <p:cNvSpPr/>
                <p:nvPr/>
              </p:nvSpPr>
              <p:spPr>
                <a:xfrm>
                  <a:off x="10636207" y="5921421"/>
                  <a:ext cx="14102" cy="50196"/>
                </a:xfrm>
                <a:custGeom>
                  <a:avLst/>
                  <a:gdLst>
                    <a:gd name="connsiteX0" fmla="*/ 14096 w 14102"/>
                    <a:gd name="connsiteY0" fmla="*/ 0 h 50196"/>
                    <a:gd name="connsiteX1" fmla="*/ 10734 w 14102"/>
                    <a:gd name="connsiteY1" fmla="*/ 18435 h 50196"/>
                    <a:gd name="connsiteX2" fmla="*/ 2637 w 14102"/>
                    <a:gd name="connsiteY2" fmla="*/ 33880 h 50196"/>
                    <a:gd name="connsiteX3" fmla="*/ 2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14096" y="0"/>
                      </a:moveTo>
                      <a:cubicBezTo>
                        <a:pt x="14221" y="8345"/>
                        <a:pt x="12352" y="14449"/>
                        <a:pt x="10734" y="18435"/>
                      </a:cubicBezTo>
                      <a:cubicBezTo>
                        <a:pt x="7993" y="24912"/>
                        <a:pt x="5128" y="27278"/>
                        <a:pt x="2637" y="33880"/>
                      </a:cubicBezTo>
                      <a:cubicBezTo>
                        <a:pt x="270" y="40357"/>
                        <a:pt x="-104" y="46211"/>
                        <a:pt x="2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0" name="Freeform 5586">
                  <a:extLst>
                    <a:ext uri="{FF2B5EF4-FFF2-40B4-BE49-F238E27FC236}">
                      <a16:creationId xmlns:a16="http://schemas.microsoft.com/office/drawing/2014/main" id="{D5A3F1C0-B167-091F-6EE2-7426D8EB0EFC}"/>
                    </a:ext>
                  </a:extLst>
                </p:cNvPr>
                <p:cNvSpPr/>
                <p:nvPr/>
              </p:nvSpPr>
              <p:spPr>
                <a:xfrm>
                  <a:off x="10625695" y="5961399"/>
                  <a:ext cx="26184" cy="26491"/>
                </a:xfrm>
                <a:custGeom>
                  <a:avLst/>
                  <a:gdLst>
                    <a:gd name="connsiteX0" fmla="*/ 569 w 26184"/>
                    <a:gd name="connsiteY0" fmla="*/ 9596 h 26491"/>
                    <a:gd name="connsiteX1" fmla="*/ 16886 w 26184"/>
                    <a:gd name="connsiteY1" fmla="*/ 503 h 26491"/>
                    <a:gd name="connsiteX2" fmla="*/ 25605 w 26184"/>
                    <a:gd name="connsiteY2" fmla="*/ 17069 h 26491"/>
                    <a:gd name="connsiteX3" fmla="*/ 9288 w 26184"/>
                    <a:gd name="connsiteY3" fmla="*/ 25913 h 26491"/>
                    <a:gd name="connsiteX4" fmla="*/ 569 w 26184"/>
                    <a:gd name="connsiteY4" fmla="*/ 9596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91">
                      <a:moveTo>
                        <a:pt x="569" y="9596"/>
                      </a:moveTo>
                      <a:cubicBezTo>
                        <a:pt x="2686" y="2620"/>
                        <a:pt x="9911" y="-1490"/>
                        <a:pt x="16886" y="503"/>
                      </a:cubicBezTo>
                      <a:cubicBezTo>
                        <a:pt x="23861" y="2496"/>
                        <a:pt x="27723" y="10094"/>
                        <a:pt x="25605" y="17069"/>
                      </a:cubicBezTo>
                      <a:cubicBezTo>
                        <a:pt x="23488" y="24169"/>
                        <a:pt x="16263" y="28030"/>
                        <a:pt x="9288" y="25913"/>
                      </a:cubicBezTo>
                      <a:cubicBezTo>
                        <a:pt x="2438" y="23920"/>
                        <a:pt x="-1548" y="16571"/>
                        <a:pt x="569"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0" name="Graphic 2987">
                <a:extLst>
                  <a:ext uri="{FF2B5EF4-FFF2-40B4-BE49-F238E27FC236}">
                    <a16:creationId xmlns:a16="http://schemas.microsoft.com/office/drawing/2014/main" id="{71F51DD9-1074-323F-BF6E-4EF735D27A2E}"/>
                  </a:ext>
                </a:extLst>
              </p:cNvPr>
              <p:cNvGrpSpPr/>
              <p:nvPr/>
            </p:nvGrpSpPr>
            <p:grpSpPr>
              <a:xfrm>
                <a:off x="10653709" y="5852663"/>
                <a:ext cx="61931" cy="143688"/>
                <a:chOff x="10653709" y="5852663"/>
                <a:chExt cx="61931" cy="143688"/>
              </a:xfrm>
              <a:grpFill/>
            </p:grpSpPr>
            <p:sp>
              <p:nvSpPr>
                <p:cNvPr id="4019" name="Freeform 5588">
                  <a:extLst>
                    <a:ext uri="{FF2B5EF4-FFF2-40B4-BE49-F238E27FC236}">
                      <a16:creationId xmlns:a16="http://schemas.microsoft.com/office/drawing/2014/main" id="{59EED413-746C-DCB8-5092-B9D4D262C2CA}"/>
                    </a:ext>
                  </a:extLst>
                </p:cNvPr>
                <p:cNvSpPr/>
                <p:nvPr/>
              </p:nvSpPr>
              <p:spPr>
                <a:xfrm>
                  <a:off x="10680820" y="5871723"/>
                  <a:ext cx="15819" cy="49698"/>
                </a:xfrm>
                <a:custGeom>
                  <a:avLst/>
                  <a:gdLst>
                    <a:gd name="connsiteX0" fmla="*/ 15819 w 15819"/>
                    <a:gd name="connsiteY0" fmla="*/ 0 h 49698"/>
                    <a:gd name="connsiteX1" fmla="*/ 8470 w 15819"/>
                    <a:gd name="connsiteY1" fmla="*/ 17313 h 49698"/>
                    <a:gd name="connsiteX2" fmla="*/ 6851 w 15819"/>
                    <a:gd name="connsiteY2" fmla="*/ 34627 h 49698"/>
                    <a:gd name="connsiteX3" fmla="*/ 0 w 1581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0"/>
                      </a:moveTo>
                      <a:cubicBezTo>
                        <a:pt x="11086" y="6975"/>
                        <a:pt x="9342" y="13078"/>
                        <a:pt x="8470" y="17313"/>
                      </a:cubicBezTo>
                      <a:cubicBezTo>
                        <a:pt x="7225" y="24164"/>
                        <a:pt x="8345" y="27776"/>
                        <a:pt x="6851" y="34627"/>
                      </a:cubicBezTo>
                      <a:cubicBezTo>
                        <a:pt x="5356" y="41353"/>
                        <a:pt x="2367" y="46460"/>
                        <a:pt x="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0" name="Freeform 5589">
                  <a:extLst>
                    <a:ext uri="{FF2B5EF4-FFF2-40B4-BE49-F238E27FC236}">
                      <a16:creationId xmlns:a16="http://schemas.microsoft.com/office/drawing/2014/main" id="{665CECE9-9FCA-0541-5940-680A11082FAA}"/>
                    </a:ext>
                  </a:extLst>
                </p:cNvPr>
                <p:cNvSpPr/>
                <p:nvPr/>
              </p:nvSpPr>
              <p:spPr>
                <a:xfrm>
                  <a:off x="10690411" y="5868983"/>
                  <a:ext cx="14349" cy="50072"/>
                </a:xfrm>
                <a:custGeom>
                  <a:avLst/>
                  <a:gdLst>
                    <a:gd name="connsiteX0" fmla="*/ 0 w 14349"/>
                    <a:gd name="connsiteY0" fmla="*/ 50072 h 50072"/>
                    <a:gd name="connsiteX1" fmla="*/ 3487 w 14349"/>
                    <a:gd name="connsiteY1" fmla="*/ 31637 h 50072"/>
                    <a:gd name="connsiteX2" fmla="*/ 11708 w 14349"/>
                    <a:gd name="connsiteY2" fmla="*/ 16317 h 50072"/>
                    <a:gd name="connsiteX3" fmla="*/ 14324 w 14349"/>
                    <a:gd name="connsiteY3" fmla="*/ 0 h 50072"/>
                  </a:gdLst>
                  <a:ahLst/>
                  <a:cxnLst>
                    <a:cxn ang="0">
                      <a:pos x="connsiteX0" y="connsiteY0"/>
                    </a:cxn>
                    <a:cxn ang="0">
                      <a:pos x="connsiteX1" y="connsiteY1"/>
                    </a:cxn>
                    <a:cxn ang="0">
                      <a:pos x="connsiteX2" y="connsiteY2"/>
                    </a:cxn>
                    <a:cxn ang="0">
                      <a:pos x="connsiteX3" y="connsiteY3"/>
                    </a:cxn>
                  </a:cxnLst>
                  <a:rect l="l" t="t" r="r" b="b"/>
                  <a:pathLst>
                    <a:path w="14349" h="50072">
                      <a:moveTo>
                        <a:pt x="0" y="50072"/>
                      </a:moveTo>
                      <a:cubicBezTo>
                        <a:pt x="0" y="41602"/>
                        <a:pt x="1868" y="35623"/>
                        <a:pt x="3487" y="31637"/>
                      </a:cubicBezTo>
                      <a:cubicBezTo>
                        <a:pt x="6228" y="25161"/>
                        <a:pt x="9217" y="22919"/>
                        <a:pt x="11708" y="16317"/>
                      </a:cubicBezTo>
                      <a:cubicBezTo>
                        <a:pt x="14199" y="9840"/>
                        <a:pt x="14448" y="3986"/>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1" name="Freeform 5590">
                  <a:extLst>
                    <a:ext uri="{FF2B5EF4-FFF2-40B4-BE49-F238E27FC236}">
                      <a16:creationId xmlns:a16="http://schemas.microsoft.com/office/drawing/2014/main" id="{36F85799-D143-A35A-E103-3987BCC7C84F}"/>
                    </a:ext>
                  </a:extLst>
                </p:cNvPr>
                <p:cNvSpPr/>
                <p:nvPr/>
              </p:nvSpPr>
              <p:spPr>
                <a:xfrm>
                  <a:off x="10688847" y="5852663"/>
                  <a:ext cx="26793" cy="26661"/>
                </a:xfrm>
                <a:custGeom>
                  <a:avLst/>
                  <a:gdLst>
                    <a:gd name="connsiteX0" fmla="*/ 26226 w 26793"/>
                    <a:gd name="connsiteY0" fmla="*/ 17316 h 26661"/>
                    <a:gd name="connsiteX1" fmla="*/ 9535 w 26793"/>
                    <a:gd name="connsiteY1" fmla="*/ 26036 h 26661"/>
                    <a:gd name="connsiteX2" fmla="*/ 568 w 26793"/>
                    <a:gd name="connsiteY2" fmla="*/ 9345 h 26661"/>
                    <a:gd name="connsiteX3" fmla="*/ 17259 w 26793"/>
                    <a:gd name="connsiteY3" fmla="*/ 626 h 26661"/>
                    <a:gd name="connsiteX4" fmla="*/ 26226 w 26793"/>
                    <a:gd name="connsiteY4" fmla="*/ 17316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661">
                      <a:moveTo>
                        <a:pt x="26226" y="17316"/>
                      </a:moveTo>
                      <a:cubicBezTo>
                        <a:pt x="24109" y="24292"/>
                        <a:pt x="16635" y="28278"/>
                        <a:pt x="9535" y="26036"/>
                      </a:cubicBezTo>
                      <a:cubicBezTo>
                        <a:pt x="2436" y="23793"/>
                        <a:pt x="-1550" y="16444"/>
                        <a:pt x="568" y="9345"/>
                      </a:cubicBezTo>
                      <a:cubicBezTo>
                        <a:pt x="2685" y="2369"/>
                        <a:pt x="10159" y="-1616"/>
                        <a:pt x="17259" y="626"/>
                      </a:cubicBezTo>
                      <a:cubicBezTo>
                        <a:pt x="24358" y="2868"/>
                        <a:pt x="28344" y="10216"/>
                        <a:pt x="26226"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2" name="Freeform 5591">
                  <a:extLst>
                    <a:ext uri="{FF2B5EF4-FFF2-40B4-BE49-F238E27FC236}">
                      <a16:creationId xmlns:a16="http://schemas.microsoft.com/office/drawing/2014/main" id="{AD7D6979-56DF-C447-0D8B-2ED2BB06DB87}"/>
                    </a:ext>
                  </a:extLst>
                </p:cNvPr>
                <p:cNvSpPr/>
                <p:nvPr/>
              </p:nvSpPr>
              <p:spPr>
                <a:xfrm>
                  <a:off x="10672226" y="5927774"/>
                  <a:ext cx="15943" cy="49698"/>
                </a:xfrm>
                <a:custGeom>
                  <a:avLst/>
                  <a:gdLst>
                    <a:gd name="connsiteX0" fmla="*/ 0 w 15943"/>
                    <a:gd name="connsiteY0" fmla="*/ 49698 h 49698"/>
                    <a:gd name="connsiteX1" fmla="*/ 7349 w 15943"/>
                    <a:gd name="connsiteY1" fmla="*/ 32385 h 49698"/>
                    <a:gd name="connsiteX2" fmla="*/ 9092 w 15943"/>
                    <a:gd name="connsiteY2" fmla="*/ 15071 h 49698"/>
                    <a:gd name="connsiteX3" fmla="*/ 15944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8"/>
                      </a:moveTo>
                      <a:cubicBezTo>
                        <a:pt x="4733" y="42723"/>
                        <a:pt x="6477" y="36620"/>
                        <a:pt x="7349" y="32385"/>
                      </a:cubicBezTo>
                      <a:cubicBezTo>
                        <a:pt x="8595" y="25534"/>
                        <a:pt x="7473" y="21922"/>
                        <a:pt x="9092" y="15071"/>
                      </a:cubicBezTo>
                      <a:cubicBezTo>
                        <a:pt x="10587" y="8345"/>
                        <a:pt x="13577" y="3238"/>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3" name="Freeform 5592">
                  <a:extLst>
                    <a:ext uri="{FF2B5EF4-FFF2-40B4-BE49-F238E27FC236}">
                      <a16:creationId xmlns:a16="http://schemas.microsoft.com/office/drawing/2014/main" id="{5D94C074-4009-3475-7EF3-8C27C00B6CA4}"/>
                    </a:ext>
                  </a:extLst>
                </p:cNvPr>
                <p:cNvSpPr/>
                <p:nvPr/>
              </p:nvSpPr>
              <p:spPr>
                <a:xfrm>
                  <a:off x="10664129" y="5930016"/>
                  <a:ext cx="14449" cy="50072"/>
                </a:xfrm>
                <a:custGeom>
                  <a:avLst/>
                  <a:gdLst>
                    <a:gd name="connsiteX0" fmla="*/ 14449 w 14449"/>
                    <a:gd name="connsiteY0" fmla="*/ 0 h 50072"/>
                    <a:gd name="connsiteX1" fmla="*/ 10961 w 14449"/>
                    <a:gd name="connsiteY1" fmla="*/ 18434 h 50072"/>
                    <a:gd name="connsiteX2" fmla="*/ 2741 w 14449"/>
                    <a:gd name="connsiteY2" fmla="*/ 33755 h 50072"/>
                    <a:gd name="connsiteX3" fmla="*/ 0 w 144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0"/>
                      </a:moveTo>
                      <a:cubicBezTo>
                        <a:pt x="14449" y="8470"/>
                        <a:pt x="12580" y="14449"/>
                        <a:pt x="10961" y="18434"/>
                      </a:cubicBezTo>
                      <a:cubicBezTo>
                        <a:pt x="8221" y="24912"/>
                        <a:pt x="5357" y="27153"/>
                        <a:pt x="2741" y="33755"/>
                      </a:cubicBezTo>
                      <a:cubicBezTo>
                        <a:pt x="249"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4" name="Freeform 5593">
                  <a:extLst>
                    <a:ext uri="{FF2B5EF4-FFF2-40B4-BE49-F238E27FC236}">
                      <a16:creationId xmlns:a16="http://schemas.microsoft.com/office/drawing/2014/main" id="{6085A1FE-1213-740B-8105-D23B30D63E93}"/>
                    </a:ext>
                  </a:extLst>
                </p:cNvPr>
                <p:cNvSpPr/>
                <p:nvPr/>
              </p:nvSpPr>
              <p:spPr>
                <a:xfrm>
                  <a:off x="10653709" y="5969804"/>
                  <a:ext cx="26118" cy="26546"/>
                </a:xfrm>
                <a:custGeom>
                  <a:avLst/>
                  <a:gdLst>
                    <a:gd name="connsiteX0" fmla="*/ 580 w 26118"/>
                    <a:gd name="connsiteY0" fmla="*/ 9412 h 26546"/>
                    <a:gd name="connsiteX1" fmla="*/ 16897 w 26118"/>
                    <a:gd name="connsiteY1" fmla="*/ 568 h 26546"/>
                    <a:gd name="connsiteX2" fmla="*/ 25492 w 26118"/>
                    <a:gd name="connsiteY2" fmla="*/ 17135 h 26546"/>
                    <a:gd name="connsiteX3" fmla="*/ 9175 w 26118"/>
                    <a:gd name="connsiteY3" fmla="*/ 25978 h 26546"/>
                    <a:gd name="connsiteX4" fmla="*/ 580 w 26118"/>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8" h="26545">
                      <a:moveTo>
                        <a:pt x="580" y="9412"/>
                      </a:moveTo>
                      <a:cubicBezTo>
                        <a:pt x="2697" y="2437"/>
                        <a:pt x="10047" y="-1549"/>
                        <a:pt x="16897" y="568"/>
                      </a:cubicBezTo>
                      <a:cubicBezTo>
                        <a:pt x="23748" y="2686"/>
                        <a:pt x="27734" y="10160"/>
                        <a:pt x="25492" y="17135"/>
                      </a:cubicBezTo>
                      <a:cubicBezTo>
                        <a:pt x="23374" y="24110"/>
                        <a:pt x="16025" y="28095"/>
                        <a:pt x="9175" y="25978"/>
                      </a:cubicBezTo>
                      <a:cubicBezTo>
                        <a:pt x="2324" y="23861"/>
                        <a:pt x="-1537" y="16512"/>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1" name="Graphic 2987">
                <a:extLst>
                  <a:ext uri="{FF2B5EF4-FFF2-40B4-BE49-F238E27FC236}">
                    <a16:creationId xmlns:a16="http://schemas.microsoft.com/office/drawing/2014/main" id="{11DA0485-94D6-BAF9-39C4-542C408784FF}"/>
                  </a:ext>
                </a:extLst>
              </p:cNvPr>
              <p:cNvGrpSpPr/>
              <p:nvPr/>
            </p:nvGrpSpPr>
            <p:grpSpPr>
              <a:xfrm>
                <a:off x="10681610" y="5861677"/>
                <a:ext cx="62611" cy="143392"/>
                <a:chOff x="10681610" y="5861677"/>
                <a:chExt cx="62611" cy="143392"/>
              </a:xfrm>
              <a:grpFill/>
            </p:grpSpPr>
            <p:sp>
              <p:nvSpPr>
                <p:cNvPr id="4013" name="Freeform 5595">
                  <a:extLst>
                    <a:ext uri="{FF2B5EF4-FFF2-40B4-BE49-F238E27FC236}">
                      <a16:creationId xmlns:a16="http://schemas.microsoft.com/office/drawing/2014/main" id="{6CA9F757-531C-4B16-6710-7406FD00FF3F}"/>
                    </a:ext>
                  </a:extLst>
                </p:cNvPr>
                <p:cNvSpPr/>
                <p:nvPr/>
              </p:nvSpPr>
              <p:spPr>
                <a:xfrm>
                  <a:off x="10709220" y="5880567"/>
                  <a:ext cx="16067" cy="49574"/>
                </a:xfrm>
                <a:custGeom>
                  <a:avLst/>
                  <a:gdLst>
                    <a:gd name="connsiteX0" fmla="*/ 16068 w 16067"/>
                    <a:gd name="connsiteY0" fmla="*/ 0 h 49574"/>
                    <a:gd name="connsiteX1" fmla="*/ 8594 w 16067"/>
                    <a:gd name="connsiteY1" fmla="*/ 17313 h 49574"/>
                    <a:gd name="connsiteX2" fmla="*/ 6851 w 16067"/>
                    <a:gd name="connsiteY2" fmla="*/ 34627 h 49574"/>
                    <a:gd name="connsiteX3" fmla="*/ 0 w 16067"/>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067" h="49574">
                      <a:moveTo>
                        <a:pt x="16068" y="0"/>
                      </a:moveTo>
                      <a:cubicBezTo>
                        <a:pt x="11334" y="6975"/>
                        <a:pt x="9466" y="12954"/>
                        <a:pt x="8594" y="17313"/>
                      </a:cubicBezTo>
                      <a:cubicBezTo>
                        <a:pt x="7348" y="24164"/>
                        <a:pt x="8470" y="27776"/>
                        <a:pt x="6851" y="34627"/>
                      </a:cubicBezTo>
                      <a:cubicBezTo>
                        <a:pt x="5231"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4" name="Freeform 5596">
                  <a:extLst>
                    <a:ext uri="{FF2B5EF4-FFF2-40B4-BE49-F238E27FC236}">
                      <a16:creationId xmlns:a16="http://schemas.microsoft.com/office/drawing/2014/main" id="{4FC65231-D25E-1047-84AE-0FB6B8336744}"/>
                    </a:ext>
                  </a:extLst>
                </p:cNvPr>
                <p:cNvSpPr/>
                <p:nvPr/>
              </p:nvSpPr>
              <p:spPr>
                <a:xfrm>
                  <a:off x="10718810" y="5877702"/>
                  <a:ext cx="14718" cy="50072"/>
                </a:xfrm>
                <a:custGeom>
                  <a:avLst/>
                  <a:gdLst>
                    <a:gd name="connsiteX0" fmla="*/ 0 w 14718"/>
                    <a:gd name="connsiteY0" fmla="*/ 50072 h 50072"/>
                    <a:gd name="connsiteX1" fmla="*/ 3613 w 14718"/>
                    <a:gd name="connsiteY1" fmla="*/ 31638 h 50072"/>
                    <a:gd name="connsiteX2" fmla="*/ 11958 w 14718"/>
                    <a:gd name="connsiteY2" fmla="*/ 16317 h 50072"/>
                    <a:gd name="connsiteX3" fmla="*/ 14698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0" y="50072"/>
                      </a:moveTo>
                      <a:cubicBezTo>
                        <a:pt x="0" y="41602"/>
                        <a:pt x="1869" y="35624"/>
                        <a:pt x="3613" y="31638"/>
                      </a:cubicBezTo>
                      <a:cubicBezTo>
                        <a:pt x="6477" y="25161"/>
                        <a:pt x="9342" y="22919"/>
                        <a:pt x="11958" y="16317"/>
                      </a:cubicBezTo>
                      <a:cubicBezTo>
                        <a:pt x="14449" y="9840"/>
                        <a:pt x="14822" y="3986"/>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5" name="Freeform 5597">
                  <a:extLst>
                    <a:ext uri="{FF2B5EF4-FFF2-40B4-BE49-F238E27FC236}">
                      <a16:creationId xmlns:a16="http://schemas.microsoft.com/office/drawing/2014/main" id="{AB6CA4FB-E0C7-D889-4C42-A10B8955868D}"/>
                    </a:ext>
                  </a:extLst>
                </p:cNvPr>
                <p:cNvSpPr/>
                <p:nvPr/>
              </p:nvSpPr>
              <p:spPr>
                <a:xfrm>
                  <a:off x="10717438" y="5861677"/>
                  <a:ext cx="26783" cy="26444"/>
                </a:xfrm>
                <a:custGeom>
                  <a:avLst/>
                  <a:gdLst>
                    <a:gd name="connsiteX0" fmla="*/ 26159 w 26783"/>
                    <a:gd name="connsiteY0" fmla="*/ 17146 h 26444"/>
                    <a:gd name="connsiteX1" fmla="*/ 9469 w 26783"/>
                    <a:gd name="connsiteY1" fmla="*/ 25865 h 26444"/>
                    <a:gd name="connsiteX2" fmla="*/ 625 w 26783"/>
                    <a:gd name="connsiteY2" fmla="*/ 9299 h 26444"/>
                    <a:gd name="connsiteX3" fmla="*/ 17316 w 26783"/>
                    <a:gd name="connsiteY3" fmla="*/ 580 h 26444"/>
                    <a:gd name="connsiteX4" fmla="*/ 26159 w 26783"/>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444">
                      <a:moveTo>
                        <a:pt x="26159" y="17146"/>
                      </a:moveTo>
                      <a:cubicBezTo>
                        <a:pt x="23917" y="24121"/>
                        <a:pt x="16444" y="27982"/>
                        <a:pt x="9469" y="25865"/>
                      </a:cubicBezTo>
                      <a:cubicBezTo>
                        <a:pt x="2369" y="23623"/>
                        <a:pt x="-1617" y="16274"/>
                        <a:pt x="625" y="9299"/>
                      </a:cubicBezTo>
                      <a:cubicBezTo>
                        <a:pt x="2742" y="2323"/>
                        <a:pt x="10216" y="-1538"/>
                        <a:pt x="17316" y="580"/>
                      </a:cubicBezTo>
                      <a:cubicBezTo>
                        <a:pt x="24416" y="2697"/>
                        <a:pt x="28401" y="10170"/>
                        <a:pt x="2615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6" name="Freeform 5598">
                  <a:extLst>
                    <a:ext uri="{FF2B5EF4-FFF2-40B4-BE49-F238E27FC236}">
                      <a16:creationId xmlns:a16="http://schemas.microsoft.com/office/drawing/2014/main" id="{0BB4E5F2-47D4-B7E4-43A5-CBF7AA332C3E}"/>
                    </a:ext>
                  </a:extLst>
                </p:cNvPr>
                <p:cNvSpPr/>
                <p:nvPr/>
              </p:nvSpPr>
              <p:spPr>
                <a:xfrm>
                  <a:off x="10700251" y="5936493"/>
                  <a:ext cx="16192" cy="49574"/>
                </a:xfrm>
                <a:custGeom>
                  <a:avLst/>
                  <a:gdLst>
                    <a:gd name="connsiteX0" fmla="*/ 0 w 16192"/>
                    <a:gd name="connsiteY0" fmla="*/ 49574 h 49574"/>
                    <a:gd name="connsiteX1" fmla="*/ 7473 w 16192"/>
                    <a:gd name="connsiteY1" fmla="*/ 32260 h 49574"/>
                    <a:gd name="connsiteX2" fmla="*/ 9342 w 16192"/>
                    <a:gd name="connsiteY2" fmla="*/ 14947 h 49574"/>
                    <a:gd name="connsiteX3" fmla="*/ 16192 w 16192"/>
                    <a:gd name="connsiteY3" fmla="*/ 0 h 49574"/>
                  </a:gdLst>
                  <a:ahLst/>
                  <a:cxnLst>
                    <a:cxn ang="0">
                      <a:pos x="connsiteX0" y="connsiteY0"/>
                    </a:cxn>
                    <a:cxn ang="0">
                      <a:pos x="connsiteX1" y="connsiteY1"/>
                    </a:cxn>
                    <a:cxn ang="0">
                      <a:pos x="connsiteX2" y="connsiteY2"/>
                    </a:cxn>
                    <a:cxn ang="0">
                      <a:pos x="connsiteX3" y="connsiteY3"/>
                    </a:cxn>
                  </a:cxnLst>
                  <a:rect l="l" t="t" r="r" b="b"/>
                  <a:pathLst>
                    <a:path w="16192" h="49574">
                      <a:moveTo>
                        <a:pt x="0" y="49574"/>
                      </a:moveTo>
                      <a:cubicBezTo>
                        <a:pt x="4733" y="42599"/>
                        <a:pt x="6602" y="36620"/>
                        <a:pt x="7473" y="32260"/>
                      </a:cubicBezTo>
                      <a:cubicBezTo>
                        <a:pt x="8844" y="25410"/>
                        <a:pt x="7723" y="21798"/>
                        <a:pt x="9342" y="14947"/>
                      </a:cubicBezTo>
                      <a:cubicBezTo>
                        <a:pt x="10961" y="8221"/>
                        <a:pt x="13950" y="3114"/>
                        <a:pt x="16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7" name="Freeform 5599">
                  <a:extLst>
                    <a:ext uri="{FF2B5EF4-FFF2-40B4-BE49-F238E27FC236}">
                      <a16:creationId xmlns:a16="http://schemas.microsoft.com/office/drawing/2014/main" id="{895C1729-4800-ECA4-9DA7-1FA57F895C9B}"/>
                    </a:ext>
                  </a:extLst>
                </p:cNvPr>
                <p:cNvSpPr/>
                <p:nvPr/>
              </p:nvSpPr>
              <p:spPr>
                <a:xfrm>
                  <a:off x="10692134" y="5938735"/>
                  <a:ext cx="14594" cy="50072"/>
                </a:xfrm>
                <a:custGeom>
                  <a:avLst/>
                  <a:gdLst>
                    <a:gd name="connsiteX0" fmla="*/ 14595 w 14594"/>
                    <a:gd name="connsiteY0" fmla="*/ 0 h 50072"/>
                    <a:gd name="connsiteX1" fmla="*/ 10982 w 14594"/>
                    <a:gd name="connsiteY1" fmla="*/ 18435 h 50072"/>
                    <a:gd name="connsiteX2" fmla="*/ 2761 w 14594"/>
                    <a:gd name="connsiteY2" fmla="*/ 33755 h 50072"/>
                    <a:gd name="connsiteX3" fmla="*/ 21 w 1459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4" h="50072">
                      <a:moveTo>
                        <a:pt x="14595" y="0"/>
                      </a:moveTo>
                      <a:cubicBezTo>
                        <a:pt x="14595" y="8470"/>
                        <a:pt x="12726" y="14449"/>
                        <a:pt x="10982" y="18435"/>
                      </a:cubicBezTo>
                      <a:cubicBezTo>
                        <a:pt x="8242" y="24912"/>
                        <a:pt x="5253" y="27154"/>
                        <a:pt x="2761" y="33755"/>
                      </a:cubicBezTo>
                      <a:cubicBezTo>
                        <a:pt x="270" y="40232"/>
                        <a:pt x="-103"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8" name="Freeform 5600">
                  <a:extLst>
                    <a:ext uri="{FF2B5EF4-FFF2-40B4-BE49-F238E27FC236}">
                      <a16:creationId xmlns:a16="http://schemas.microsoft.com/office/drawing/2014/main" id="{F1C0B074-D328-270A-2F85-D104B9E8344B}"/>
                    </a:ext>
                  </a:extLst>
                </p:cNvPr>
                <p:cNvSpPr/>
                <p:nvPr/>
              </p:nvSpPr>
              <p:spPr>
                <a:xfrm>
                  <a:off x="10681610" y="5978523"/>
                  <a:ext cx="26207" cy="26546"/>
                </a:xfrm>
                <a:custGeom>
                  <a:avLst/>
                  <a:gdLst>
                    <a:gd name="connsiteX0" fmla="*/ 580 w 26207"/>
                    <a:gd name="connsiteY0" fmla="*/ 9412 h 26546"/>
                    <a:gd name="connsiteX1" fmla="*/ 17022 w 26207"/>
                    <a:gd name="connsiteY1" fmla="*/ 568 h 26546"/>
                    <a:gd name="connsiteX2" fmla="*/ 25616 w 26207"/>
                    <a:gd name="connsiteY2" fmla="*/ 17134 h 26546"/>
                    <a:gd name="connsiteX3" fmla="*/ 9175 w 26207"/>
                    <a:gd name="connsiteY3" fmla="*/ 25978 h 26546"/>
                    <a:gd name="connsiteX4" fmla="*/ 580 w 26207"/>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7" h="26545">
                      <a:moveTo>
                        <a:pt x="580" y="9412"/>
                      </a:moveTo>
                      <a:cubicBezTo>
                        <a:pt x="2698" y="2437"/>
                        <a:pt x="10047" y="-1549"/>
                        <a:pt x="17022" y="568"/>
                      </a:cubicBezTo>
                      <a:cubicBezTo>
                        <a:pt x="23997" y="2686"/>
                        <a:pt x="27734" y="10159"/>
                        <a:pt x="25616" y="17134"/>
                      </a:cubicBezTo>
                      <a:cubicBezTo>
                        <a:pt x="23499" y="24110"/>
                        <a:pt x="16025" y="28096"/>
                        <a:pt x="9175" y="25978"/>
                      </a:cubicBezTo>
                      <a:cubicBezTo>
                        <a:pt x="2324" y="23861"/>
                        <a:pt x="-1537" y="16387"/>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2" name="Graphic 2987">
                <a:extLst>
                  <a:ext uri="{FF2B5EF4-FFF2-40B4-BE49-F238E27FC236}">
                    <a16:creationId xmlns:a16="http://schemas.microsoft.com/office/drawing/2014/main" id="{A9F1D8A5-E139-3208-D8CA-3F12B44E27C9}"/>
                  </a:ext>
                </a:extLst>
              </p:cNvPr>
              <p:cNvGrpSpPr/>
              <p:nvPr/>
            </p:nvGrpSpPr>
            <p:grpSpPr>
              <a:xfrm>
                <a:off x="10709499" y="5870521"/>
                <a:ext cx="63371" cy="143200"/>
                <a:chOff x="10709499" y="5870521"/>
                <a:chExt cx="63371" cy="143200"/>
              </a:xfrm>
              <a:grpFill/>
            </p:grpSpPr>
            <p:sp>
              <p:nvSpPr>
                <p:cNvPr id="4007" name="Freeform 5602">
                  <a:extLst>
                    <a:ext uri="{FF2B5EF4-FFF2-40B4-BE49-F238E27FC236}">
                      <a16:creationId xmlns:a16="http://schemas.microsoft.com/office/drawing/2014/main" id="{CB628D37-2814-3067-0DD9-B3ED0C12F010}"/>
                    </a:ext>
                  </a:extLst>
                </p:cNvPr>
                <p:cNvSpPr/>
                <p:nvPr/>
              </p:nvSpPr>
              <p:spPr>
                <a:xfrm>
                  <a:off x="10737494" y="5889410"/>
                  <a:ext cx="16317" cy="49449"/>
                </a:xfrm>
                <a:custGeom>
                  <a:avLst/>
                  <a:gdLst>
                    <a:gd name="connsiteX0" fmla="*/ 16317 w 16317"/>
                    <a:gd name="connsiteY0" fmla="*/ 0 h 49449"/>
                    <a:gd name="connsiteX1" fmla="*/ 8844 w 16317"/>
                    <a:gd name="connsiteY1" fmla="*/ 17189 h 49449"/>
                    <a:gd name="connsiteX2" fmla="*/ 6975 w 16317"/>
                    <a:gd name="connsiteY2" fmla="*/ 34503 h 49449"/>
                    <a:gd name="connsiteX3" fmla="*/ 0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0"/>
                      </a:moveTo>
                      <a:cubicBezTo>
                        <a:pt x="11459" y="6975"/>
                        <a:pt x="9591" y="12954"/>
                        <a:pt x="8844" y="17189"/>
                      </a:cubicBezTo>
                      <a:cubicBezTo>
                        <a:pt x="7474" y="24040"/>
                        <a:pt x="8595" y="27652"/>
                        <a:pt x="6975" y="34503"/>
                      </a:cubicBezTo>
                      <a:cubicBezTo>
                        <a:pt x="5356"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8" name="Freeform 5603">
                  <a:extLst>
                    <a:ext uri="{FF2B5EF4-FFF2-40B4-BE49-F238E27FC236}">
                      <a16:creationId xmlns:a16="http://schemas.microsoft.com/office/drawing/2014/main" id="{767706A9-197D-73CE-7ED2-C52BCC438EB8}"/>
                    </a:ext>
                  </a:extLst>
                </p:cNvPr>
                <p:cNvSpPr/>
                <p:nvPr/>
              </p:nvSpPr>
              <p:spPr>
                <a:xfrm>
                  <a:off x="10747085" y="5886670"/>
                  <a:ext cx="15092" cy="49947"/>
                </a:xfrm>
                <a:custGeom>
                  <a:avLst/>
                  <a:gdLst>
                    <a:gd name="connsiteX0" fmla="*/ 0 w 15092"/>
                    <a:gd name="connsiteY0" fmla="*/ 49948 h 49947"/>
                    <a:gd name="connsiteX1" fmla="*/ 3737 w 15092"/>
                    <a:gd name="connsiteY1" fmla="*/ 31513 h 49947"/>
                    <a:gd name="connsiteX2" fmla="*/ 12206 w 15092"/>
                    <a:gd name="connsiteY2" fmla="*/ 16193 h 49947"/>
                    <a:gd name="connsiteX3" fmla="*/ 15072 w 15092"/>
                    <a:gd name="connsiteY3" fmla="*/ 0 h 49947"/>
                  </a:gdLst>
                  <a:ahLst/>
                  <a:cxnLst>
                    <a:cxn ang="0">
                      <a:pos x="connsiteX0" y="connsiteY0"/>
                    </a:cxn>
                    <a:cxn ang="0">
                      <a:pos x="connsiteX1" y="connsiteY1"/>
                    </a:cxn>
                    <a:cxn ang="0">
                      <a:pos x="connsiteX2" y="connsiteY2"/>
                    </a:cxn>
                    <a:cxn ang="0">
                      <a:pos x="connsiteX3" y="connsiteY3"/>
                    </a:cxn>
                  </a:cxnLst>
                  <a:rect l="l" t="t" r="r" b="b"/>
                  <a:pathLst>
                    <a:path w="15092" h="49947">
                      <a:moveTo>
                        <a:pt x="0" y="49948"/>
                      </a:moveTo>
                      <a:cubicBezTo>
                        <a:pt x="0" y="41602"/>
                        <a:pt x="1993" y="35499"/>
                        <a:pt x="3737" y="31513"/>
                      </a:cubicBezTo>
                      <a:cubicBezTo>
                        <a:pt x="6601" y="25161"/>
                        <a:pt x="9591" y="22794"/>
                        <a:pt x="12206" y="16193"/>
                      </a:cubicBezTo>
                      <a:cubicBezTo>
                        <a:pt x="14822" y="9715"/>
                        <a:pt x="15196" y="3861"/>
                        <a:pt x="150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9" name="Freeform 5604">
                  <a:extLst>
                    <a:ext uri="{FF2B5EF4-FFF2-40B4-BE49-F238E27FC236}">
                      <a16:creationId xmlns:a16="http://schemas.microsoft.com/office/drawing/2014/main" id="{F8F85A3C-FDAD-E66A-D071-36C09623BAD7}"/>
                    </a:ext>
                  </a:extLst>
                </p:cNvPr>
                <p:cNvSpPr/>
                <p:nvPr/>
              </p:nvSpPr>
              <p:spPr>
                <a:xfrm>
                  <a:off x="10746008" y="5870521"/>
                  <a:ext cx="26862" cy="26444"/>
                </a:xfrm>
                <a:custGeom>
                  <a:avLst/>
                  <a:gdLst>
                    <a:gd name="connsiteX0" fmla="*/ 26238 w 26862"/>
                    <a:gd name="connsiteY0" fmla="*/ 17146 h 26444"/>
                    <a:gd name="connsiteX1" fmla="*/ 9422 w 26862"/>
                    <a:gd name="connsiteY1" fmla="*/ 25865 h 26444"/>
                    <a:gd name="connsiteX2" fmla="*/ 579 w 26862"/>
                    <a:gd name="connsiteY2" fmla="*/ 9299 h 26444"/>
                    <a:gd name="connsiteX3" fmla="*/ 17394 w 26862"/>
                    <a:gd name="connsiteY3" fmla="*/ 579 h 26444"/>
                    <a:gd name="connsiteX4" fmla="*/ 26238 w 26862"/>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26238" y="17146"/>
                      </a:moveTo>
                      <a:cubicBezTo>
                        <a:pt x="23995" y="24121"/>
                        <a:pt x="16522" y="27982"/>
                        <a:pt x="9422" y="25865"/>
                      </a:cubicBezTo>
                      <a:cubicBezTo>
                        <a:pt x="2322" y="23623"/>
                        <a:pt x="-1539" y="16274"/>
                        <a:pt x="579" y="9299"/>
                      </a:cubicBezTo>
                      <a:cubicBezTo>
                        <a:pt x="2696" y="2323"/>
                        <a:pt x="10294" y="-1538"/>
                        <a:pt x="17394" y="579"/>
                      </a:cubicBezTo>
                      <a:cubicBezTo>
                        <a:pt x="24494" y="2697"/>
                        <a:pt x="28480" y="10171"/>
                        <a:pt x="262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0" name="Freeform 5605">
                  <a:extLst>
                    <a:ext uri="{FF2B5EF4-FFF2-40B4-BE49-F238E27FC236}">
                      <a16:creationId xmlns:a16="http://schemas.microsoft.com/office/drawing/2014/main" id="{3AC2E53D-7D9C-4DF9-76BE-B14C4DF60B02}"/>
                    </a:ext>
                  </a:extLst>
                </p:cNvPr>
                <p:cNvSpPr/>
                <p:nvPr/>
              </p:nvSpPr>
              <p:spPr>
                <a:xfrm>
                  <a:off x="10728152" y="5945336"/>
                  <a:ext cx="16317" cy="49449"/>
                </a:xfrm>
                <a:custGeom>
                  <a:avLst/>
                  <a:gdLst>
                    <a:gd name="connsiteX0" fmla="*/ 0 w 16317"/>
                    <a:gd name="connsiteY0" fmla="*/ 49449 h 49449"/>
                    <a:gd name="connsiteX1" fmla="*/ 7474 w 16317"/>
                    <a:gd name="connsiteY1" fmla="*/ 32261 h 49449"/>
                    <a:gd name="connsiteX2" fmla="*/ 9342 w 16317"/>
                    <a:gd name="connsiteY2" fmla="*/ 14947 h 49449"/>
                    <a:gd name="connsiteX3" fmla="*/ 16317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0" y="49449"/>
                      </a:moveTo>
                      <a:cubicBezTo>
                        <a:pt x="4733" y="42474"/>
                        <a:pt x="6727" y="36496"/>
                        <a:pt x="7474" y="32261"/>
                      </a:cubicBezTo>
                      <a:cubicBezTo>
                        <a:pt x="8844" y="25410"/>
                        <a:pt x="7723" y="21922"/>
                        <a:pt x="9342" y="14947"/>
                      </a:cubicBezTo>
                      <a:cubicBezTo>
                        <a:pt x="10961" y="8221"/>
                        <a:pt x="13950" y="3239"/>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1" name="Freeform 5606">
                  <a:extLst>
                    <a:ext uri="{FF2B5EF4-FFF2-40B4-BE49-F238E27FC236}">
                      <a16:creationId xmlns:a16="http://schemas.microsoft.com/office/drawing/2014/main" id="{40E9DA96-6873-F4E6-A4D5-CF967074133D}"/>
                    </a:ext>
                  </a:extLst>
                </p:cNvPr>
                <p:cNvSpPr/>
                <p:nvPr/>
              </p:nvSpPr>
              <p:spPr>
                <a:xfrm>
                  <a:off x="10720056" y="5947579"/>
                  <a:ext cx="14946" cy="49947"/>
                </a:xfrm>
                <a:custGeom>
                  <a:avLst/>
                  <a:gdLst>
                    <a:gd name="connsiteX0" fmla="*/ 14946 w 14946"/>
                    <a:gd name="connsiteY0" fmla="*/ 0 h 49947"/>
                    <a:gd name="connsiteX1" fmla="*/ 11210 w 14946"/>
                    <a:gd name="connsiteY1" fmla="*/ 18434 h 49947"/>
                    <a:gd name="connsiteX2" fmla="*/ 2865 w 14946"/>
                    <a:gd name="connsiteY2" fmla="*/ 33755 h 49947"/>
                    <a:gd name="connsiteX3" fmla="*/ 0 w 14946"/>
                    <a:gd name="connsiteY3" fmla="*/ 49947 h 49947"/>
                  </a:gdLst>
                  <a:ahLst/>
                  <a:cxnLst>
                    <a:cxn ang="0">
                      <a:pos x="connsiteX0" y="connsiteY0"/>
                    </a:cxn>
                    <a:cxn ang="0">
                      <a:pos x="connsiteX1" y="connsiteY1"/>
                    </a:cxn>
                    <a:cxn ang="0">
                      <a:pos x="connsiteX2" y="connsiteY2"/>
                    </a:cxn>
                    <a:cxn ang="0">
                      <a:pos x="connsiteX3" y="connsiteY3"/>
                    </a:cxn>
                  </a:cxnLst>
                  <a:rect l="l" t="t" r="r" b="b"/>
                  <a:pathLst>
                    <a:path w="14946" h="49947">
                      <a:moveTo>
                        <a:pt x="14946" y="0"/>
                      </a:moveTo>
                      <a:cubicBezTo>
                        <a:pt x="14946" y="8345"/>
                        <a:pt x="12954" y="14449"/>
                        <a:pt x="11210" y="18434"/>
                      </a:cubicBezTo>
                      <a:cubicBezTo>
                        <a:pt x="8345" y="24787"/>
                        <a:pt x="5481" y="27153"/>
                        <a:pt x="2865" y="33755"/>
                      </a:cubicBezTo>
                      <a:cubicBezTo>
                        <a:pt x="373" y="40232"/>
                        <a:pt x="0" y="46086"/>
                        <a:pt x="0" y="4994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2" name="Freeform 5607">
                  <a:extLst>
                    <a:ext uri="{FF2B5EF4-FFF2-40B4-BE49-F238E27FC236}">
                      <a16:creationId xmlns:a16="http://schemas.microsoft.com/office/drawing/2014/main" id="{26DBA884-CAEA-A0B3-E09C-13DEB500BC27}"/>
                    </a:ext>
                  </a:extLst>
                </p:cNvPr>
                <p:cNvSpPr/>
                <p:nvPr/>
              </p:nvSpPr>
              <p:spPr>
                <a:xfrm>
                  <a:off x="10709499" y="5987185"/>
                  <a:ext cx="26153" cy="26536"/>
                </a:xfrm>
                <a:custGeom>
                  <a:avLst/>
                  <a:gdLst>
                    <a:gd name="connsiteX0" fmla="*/ 592 w 26153"/>
                    <a:gd name="connsiteY0" fmla="*/ 9345 h 26536"/>
                    <a:gd name="connsiteX1" fmla="*/ 17033 w 26153"/>
                    <a:gd name="connsiteY1" fmla="*/ 626 h 26536"/>
                    <a:gd name="connsiteX2" fmla="*/ 25503 w 26153"/>
                    <a:gd name="connsiteY2" fmla="*/ 17192 h 26536"/>
                    <a:gd name="connsiteX3" fmla="*/ 9062 w 26153"/>
                    <a:gd name="connsiteY3" fmla="*/ 25911 h 26536"/>
                    <a:gd name="connsiteX4" fmla="*/ 592 w 26153"/>
                    <a:gd name="connsiteY4" fmla="*/ 9345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2" h="26536">
                      <a:moveTo>
                        <a:pt x="592" y="9345"/>
                      </a:moveTo>
                      <a:cubicBezTo>
                        <a:pt x="2834" y="2370"/>
                        <a:pt x="10183" y="-1616"/>
                        <a:pt x="17033" y="626"/>
                      </a:cubicBezTo>
                      <a:cubicBezTo>
                        <a:pt x="24009" y="2743"/>
                        <a:pt x="27746" y="10217"/>
                        <a:pt x="25503" y="17192"/>
                      </a:cubicBezTo>
                      <a:cubicBezTo>
                        <a:pt x="23261" y="24167"/>
                        <a:pt x="15913" y="28153"/>
                        <a:pt x="9062" y="25911"/>
                      </a:cubicBezTo>
                      <a:cubicBezTo>
                        <a:pt x="2211" y="23794"/>
                        <a:pt x="-1526" y="16320"/>
                        <a:pt x="59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3" name="Graphic 2987">
                <a:extLst>
                  <a:ext uri="{FF2B5EF4-FFF2-40B4-BE49-F238E27FC236}">
                    <a16:creationId xmlns:a16="http://schemas.microsoft.com/office/drawing/2014/main" id="{4296A4C6-4ADF-99F8-9895-CCCB847DDAA0}"/>
                  </a:ext>
                </a:extLst>
              </p:cNvPr>
              <p:cNvGrpSpPr/>
              <p:nvPr/>
            </p:nvGrpSpPr>
            <p:grpSpPr>
              <a:xfrm>
                <a:off x="10737354" y="5879306"/>
                <a:ext cx="64052" cy="143158"/>
                <a:chOff x="10737354" y="5879306"/>
                <a:chExt cx="64052" cy="143158"/>
              </a:xfrm>
              <a:grpFill/>
            </p:grpSpPr>
            <p:sp>
              <p:nvSpPr>
                <p:cNvPr id="4001" name="Freeform 5609">
                  <a:extLst>
                    <a:ext uri="{FF2B5EF4-FFF2-40B4-BE49-F238E27FC236}">
                      <a16:creationId xmlns:a16="http://schemas.microsoft.com/office/drawing/2014/main" id="{3EEF6BE3-B866-69C9-39C5-FB82C9C4068A}"/>
                    </a:ext>
                  </a:extLst>
                </p:cNvPr>
                <p:cNvSpPr/>
                <p:nvPr/>
              </p:nvSpPr>
              <p:spPr>
                <a:xfrm>
                  <a:off x="10765644" y="5898253"/>
                  <a:ext cx="16691" cy="49449"/>
                </a:xfrm>
                <a:custGeom>
                  <a:avLst/>
                  <a:gdLst>
                    <a:gd name="connsiteX0" fmla="*/ 16691 w 16691"/>
                    <a:gd name="connsiteY0" fmla="*/ 0 h 49449"/>
                    <a:gd name="connsiteX1" fmla="*/ 9092 w 16691"/>
                    <a:gd name="connsiteY1" fmla="*/ 17189 h 49449"/>
                    <a:gd name="connsiteX2" fmla="*/ 7100 w 16691"/>
                    <a:gd name="connsiteY2" fmla="*/ 34503 h 49449"/>
                    <a:gd name="connsiteX3" fmla="*/ 0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0"/>
                      </a:moveTo>
                      <a:cubicBezTo>
                        <a:pt x="11833" y="6976"/>
                        <a:pt x="9964" y="12954"/>
                        <a:pt x="9092" y="17189"/>
                      </a:cubicBezTo>
                      <a:cubicBezTo>
                        <a:pt x="7723" y="24040"/>
                        <a:pt x="8844" y="27528"/>
                        <a:pt x="7100" y="34503"/>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2" name="Freeform 5610">
                  <a:extLst>
                    <a:ext uri="{FF2B5EF4-FFF2-40B4-BE49-F238E27FC236}">
                      <a16:creationId xmlns:a16="http://schemas.microsoft.com/office/drawing/2014/main" id="{812F690B-F9F3-5079-0A0E-EED1CDFCEA4E}"/>
                    </a:ext>
                  </a:extLst>
                </p:cNvPr>
                <p:cNvSpPr/>
                <p:nvPr/>
              </p:nvSpPr>
              <p:spPr>
                <a:xfrm>
                  <a:off x="10775360" y="5895513"/>
                  <a:ext cx="15320" cy="49947"/>
                </a:xfrm>
                <a:custGeom>
                  <a:avLst/>
                  <a:gdLst>
                    <a:gd name="connsiteX0" fmla="*/ 0 w 15320"/>
                    <a:gd name="connsiteY0" fmla="*/ 49948 h 49947"/>
                    <a:gd name="connsiteX1" fmla="*/ 3861 w 15320"/>
                    <a:gd name="connsiteY1" fmla="*/ 31513 h 49947"/>
                    <a:gd name="connsiteX2" fmla="*/ 12331 w 15320"/>
                    <a:gd name="connsiteY2" fmla="*/ 16317 h 49947"/>
                    <a:gd name="connsiteX3" fmla="*/ 15320 w 15320"/>
                    <a:gd name="connsiteY3" fmla="*/ 0 h 49947"/>
                  </a:gdLst>
                  <a:ahLst/>
                  <a:cxnLst>
                    <a:cxn ang="0">
                      <a:pos x="connsiteX0" y="connsiteY0"/>
                    </a:cxn>
                    <a:cxn ang="0">
                      <a:pos x="connsiteX1" y="connsiteY1"/>
                    </a:cxn>
                    <a:cxn ang="0">
                      <a:pos x="connsiteX2" y="connsiteY2"/>
                    </a:cxn>
                    <a:cxn ang="0">
                      <a:pos x="connsiteX3" y="connsiteY3"/>
                    </a:cxn>
                  </a:cxnLst>
                  <a:rect l="l" t="t" r="r" b="b"/>
                  <a:pathLst>
                    <a:path w="15319" h="49947">
                      <a:moveTo>
                        <a:pt x="0" y="49948"/>
                      </a:moveTo>
                      <a:cubicBezTo>
                        <a:pt x="124" y="41478"/>
                        <a:pt x="2117" y="35499"/>
                        <a:pt x="3861" y="31513"/>
                      </a:cubicBezTo>
                      <a:cubicBezTo>
                        <a:pt x="6726" y="25161"/>
                        <a:pt x="9715" y="22919"/>
                        <a:pt x="12331" y="16317"/>
                      </a:cubicBezTo>
                      <a:cubicBezTo>
                        <a:pt x="14946" y="9965"/>
                        <a:pt x="15320" y="3986"/>
                        <a:pt x="153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3" name="Freeform 5611">
                  <a:extLst>
                    <a:ext uri="{FF2B5EF4-FFF2-40B4-BE49-F238E27FC236}">
                      <a16:creationId xmlns:a16="http://schemas.microsoft.com/office/drawing/2014/main" id="{4F9E685D-2F74-4F0B-ACE7-E015C3153934}"/>
                    </a:ext>
                  </a:extLst>
                </p:cNvPr>
                <p:cNvSpPr/>
                <p:nvPr/>
              </p:nvSpPr>
              <p:spPr>
                <a:xfrm>
                  <a:off x="10774599" y="5879306"/>
                  <a:ext cx="26807" cy="26509"/>
                </a:xfrm>
                <a:custGeom>
                  <a:avLst/>
                  <a:gdLst>
                    <a:gd name="connsiteX0" fmla="*/ 26171 w 26807"/>
                    <a:gd name="connsiteY0" fmla="*/ 17453 h 26509"/>
                    <a:gd name="connsiteX1" fmla="*/ 9356 w 26807"/>
                    <a:gd name="connsiteY1" fmla="*/ 25798 h 26509"/>
                    <a:gd name="connsiteX2" fmla="*/ 637 w 26807"/>
                    <a:gd name="connsiteY2" fmla="*/ 9232 h 26509"/>
                    <a:gd name="connsiteX3" fmla="*/ 17452 w 26807"/>
                    <a:gd name="connsiteY3" fmla="*/ 638 h 26509"/>
                    <a:gd name="connsiteX4" fmla="*/ 26171 w 26807"/>
                    <a:gd name="connsiteY4" fmla="*/ 17453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9">
                      <a:moveTo>
                        <a:pt x="26171" y="17453"/>
                      </a:moveTo>
                      <a:cubicBezTo>
                        <a:pt x="23929" y="24428"/>
                        <a:pt x="16331" y="28165"/>
                        <a:pt x="9356" y="25798"/>
                      </a:cubicBezTo>
                      <a:cubicBezTo>
                        <a:pt x="2256" y="23557"/>
                        <a:pt x="-1605" y="16207"/>
                        <a:pt x="637" y="9232"/>
                      </a:cubicBezTo>
                      <a:cubicBezTo>
                        <a:pt x="2879" y="2257"/>
                        <a:pt x="10352" y="-1604"/>
                        <a:pt x="17452" y="638"/>
                      </a:cubicBezTo>
                      <a:cubicBezTo>
                        <a:pt x="24552" y="3004"/>
                        <a:pt x="28413" y="10602"/>
                        <a:pt x="26171" y="174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4" name="Freeform 5612">
                  <a:extLst>
                    <a:ext uri="{FF2B5EF4-FFF2-40B4-BE49-F238E27FC236}">
                      <a16:creationId xmlns:a16="http://schemas.microsoft.com/office/drawing/2014/main" id="{F832173F-96F5-3520-1EC1-5AA3F2982DBD}"/>
                    </a:ext>
                  </a:extLst>
                </p:cNvPr>
                <p:cNvSpPr/>
                <p:nvPr/>
              </p:nvSpPr>
              <p:spPr>
                <a:xfrm>
                  <a:off x="10756053" y="5954055"/>
                  <a:ext cx="16691" cy="49449"/>
                </a:xfrm>
                <a:custGeom>
                  <a:avLst/>
                  <a:gdLst>
                    <a:gd name="connsiteX0" fmla="*/ 0 w 16691"/>
                    <a:gd name="connsiteY0" fmla="*/ 49449 h 49449"/>
                    <a:gd name="connsiteX1" fmla="*/ 7599 w 16691"/>
                    <a:gd name="connsiteY1" fmla="*/ 32260 h 49449"/>
                    <a:gd name="connsiteX2" fmla="*/ 9591 w 16691"/>
                    <a:gd name="connsiteY2" fmla="*/ 14947 h 49449"/>
                    <a:gd name="connsiteX3" fmla="*/ 16691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0" y="49449"/>
                      </a:moveTo>
                      <a:cubicBezTo>
                        <a:pt x="4733" y="42599"/>
                        <a:pt x="6727" y="36495"/>
                        <a:pt x="7599" y="32260"/>
                      </a:cubicBezTo>
                      <a:cubicBezTo>
                        <a:pt x="8969" y="25410"/>
                        <a:pt x="7972" y="21798"/>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5" name="Freeform 5613">
                  <a:extLst>
                    <a:ext uri="{FF2B5EF4-FFF2-40B4-BE49-F238E27FC236}">
                      <a16:creationId xmlns:a16="http://schemas.microsoft.com/office/drawing/2014/main" id="{6DB28E05-11BD-451B-A464-9AA95155577C}"/>
                    </a:ext>
                  </a:extLst>
                </p:cNvPr>
                <p:cNvSpPr/>
                <p:nvPr/>
              </p:nvSpPr>
              <p:spPr>
                <a:xfrm>
                  <a:off x="10747957" y="5956297"/>
                  <a:ext cx="15320" cy="49947"/>
                </a:xfrm>
                <a:custGeom>
                  <a:avLst/>
                  <a:gdLst>
                    <a:gd name="connsiteX0" fmla="*/ 15320 w 15320"/>
                    <a:gd name="connsiteY0" fmla="*/ 0 h 49947"/>
                    <a:gd name="connsiteX1" fmla="*/ 11459 w 15320"/>
                    <a:gd name="connsiteY1" fmla="*/ 18435 h 49947"/>
                    <a:gd name="connsiteX2" fmla="*/ 2989 w 15320"/>
                    <a:gd name="connsiteY2" fmla="*/ 33755 h 49947"/>
                    <a:gd name="connsiteX3" fmla="*/ 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15320" y="0"/>
                      </a:moveTo>
                      <a:cubicBezTo>
                        <a:pt x="15196" y="8346"/>
                        <a:pt x="13203" y="14449"/>
                        <a:pt x="11459" y="18435"/>
                      </a:cubicBezTo>
                      <a:cubicBezTo>
                        <a:pt x="8595" y="24787"/>
                        <a:pt x="5605" y="27154"/>
                        <a:pt x="2989" y="33755"/>
                      </a:cubicBezTo>
                      <a:cubicBezTo>
                        <a:pt x="373" y="40108"/>
                        <a:pt x="0" y="46086"/>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6" name="Freeform 5614">
                  <a:extLst>
                    <a:ext uri="{FF2B5EF4-FFF2-40B4-BE49-F238E27FC236}">
                      <a16:creationId xmlns:a16="http://schemas.microsoft.com/office/drawing/2014/main" id="{2E0FB1F3-AE67-E77B-E514-2C55997C9CCF}"/>
                    </a:ext>
                  </a:extLst>
                </p:cNvPr>
                <p:cNvSpPr/>
                <p:nvPr/>
              </p:nvSpPr>
              <p:spPr>
                <a:xfrm>
                  <a:off x="10737354" y="5995950"/>
                  <a:ext cx="26201" cy="26514"/>
                </a:xfrm>
                <a:custGeom>
                  <a:avLst/>
                  <a:gdLst>
                    <a:gd name="connsiteX0" fmla="*/ 639 w 26201"/>
                    <a:gd name="connsiteY0" fmla="*/ 9299 h 26514"/>
                    <a:gd name="connsiteX1" fmla="*/ 17204 w 26201"/>
                    <a:gd name="connsiteY1" fmla="*/ 580 h 26514"/>
                    <a:gd name="connsiteX2" fmla="*/ 25550 w 26201"/>
                    <a:gd name="connsiteY2" fmla="*/ 17395 h 26514"/>
                    <a:gd name="connsiteX3" fmla="*/ 9109 w 26201"/>
                    <a:gd name="connsiteY3" fmla="*/ 25865 h 26514"/>
                    <a:gd name="connsiteX4" fmla="*/ 639 w 26201"/>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1" h="26513">
                      <a:moveTo>
                        <a:pt x="639" y="9299"/>
                      </a:moveTo>
                      <a:cubicBezTo>
                        <a:pt x="2881" y="2323"/>
                        <a:pt x="10229" y="-1538"/>
                        <a:pt x="17204" y="580"/>
                      </a:cubicBezTo>
                      <a:cubicBezTo>
                        <a:pt x="24055" y="2821"/>
                        <a:pt x="27792" y="10420"/>
                        <a:pt x="25550" y="17395"/>
                      </a:cubicBezTo>
                      <a:cubicBezTo>
                        <a:pt x="23308" y="24370"/>
                        <a:pt x="15959" y="28107"/>
                        <a:pt x="9109" y="25865"/>
                      </a:cubicBezTo>
                      <a:cubicBezTo>
                        <a:pt x="2257" y="23623"/>
                        <a:pt x="-1604" y="16274"/>
                        <a:pt x="639"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4" name="Graphic 2987">
                <a:extLst>
                  <a:ext uri="{FF2B5EF4-FFF2-40B4-BE49-F238E27FC236}">
                    <a16:creationId xmlns:a16="http://schemas.microsoft.com/office/drawing/2014/main" id="{3DF5AF96-91D4-A50D-5E83-C213BDBE2156}"/>
                  </a:ext>
                </a:extLst>
              </p:cNvPr>
              <p:cNvGrpSpPr/>
              <p:nvPr/>
            </p:nvGrpSpPr>
            <p:grpSpPr>
              <a:xfrm>
                <a:off x="10765105" y="5888824"/>
                <a:ext cx="64759" cy="142722"/>
                <a:chOff x="10765105" y="5888824"/>
                <a:chExt cx="64759" cy="142722"/>
              </a:xfrm>
              <a:grpFill/>
            </p:grpSpPr>
            <p:sp>
              <p:nvSpPr>
                <p:cNvPr id="3995" name="Freeform 5616">
                  <a:extLst>
                    <a:ext uri="{FF2B5EF4-FFF2-40B4-BE49-F238E27FC236}">
                      <a16:creationId xmlns:a16="http://schemas.microsoft.com/office/drawing/2014/main" id="{352B2B6C-03F5-7724-2E7A-B56F07F8C7D1}"/>
                    </a:ext>
                  </a:extLst>
                </p:cNvPr>
                <p:cNvSpPr/>
                <p:nvPr/>
              </p:nvSpPr>
              <p:spPr>
                <a:xfrm>
                  <a:off x="10793919" y="5907595"/>
                  <a:ext cx="16939" cy="49325"/>
                </a:xfrm>
                <a:custGeom>
                  <a:avLst/>
                  <a:gdLst>
                    <a:gd name="connsiteX0" fmla="*/ 16940 w 16939"/>
                    <a:gd name="connsiteY0" fmla="*/ 0 h 49325"/>
                    <a:gd name="connsiteX1" fmla="*/ 9217 w 16939"/>
                    <a:gd name="connsiteY1" fmla="*/ 17189 h 49325"/>
                    <a:gd name="connsiteX2" fmla="*/ 7100 w 16939"/>
                    <a:gd name="connsiteY2" fmla="*/ 34503 h 49325"/>
                    <a:gd name="connsiteX3" fmla="*/ 0 w 16939"/>
                    <a:gd name="connsiteY3" fmla="*/ 49325 h 49325"/>
                  </a:gdLst>
                  <a:ahLst/>
                  <a:cxnLst>
                    <a:cxn ang="0">
                      <a:pos x="connsiteX0" y="connsiteY0"/>
                    </a:cxn>
                    <a:cxn ang="0">
                      <a:pos x="connsiteX1" y="connsiteY1"/>
                    </a:cxn>
                    <a:cxn ang="0">
                      <a:pos x="connsiteX2" y="connsiteY2"/>
                    </a:cxn>
                    <a:cxn ang="0">
                      <a:pos x="connsiteX3" y="connsiteY3"/>
                    </a:cxn>
                  </a:cxnLst>
                  <a:rect l="l" t="t" r="r" b="b"/>
                  <a:pathLst>
                    <a:path w="16939" h="49325">
                      <a:moveTo>
                        <a:pt x="16940" y="0"/>
                      </a:moveTo>
                      <a:cubicBezTo>
                        <a:pt x="12082" y="6851"/>
                        <a:pt x="10089" y="12829"/>
                        <a:pt x="9217" y="17189"/>
                      </a:cubicBezTo>
                      <a:cubicBezTo>
                        <a:pt x="7847" y="24040"/>
                        <a:pt x="8843" y="27652"/>
                        <a:pt x="7100" y="34503"/>
                      </a:cubicBezTo>
                      <a:cubicBezTo>
                        <a:pt x="5356" y="41229"/>
                        <a:pt x="2242" y="46211"/>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6" name="Freeform 5617">
                  <a:extLst>
                    <a:ext uri="{FF2B5EF4-FFF2-40B4-BE49-F238E27FC236}">
                      <a16:creationId xmlns:a16="http://schemas.microsoft.com/office/drawing/2014/main" id="{86CD6A17-04A8-A130-C988-1CE87755F533}"/>
                    </a:ext>
                  </a:extLst>
                </p:cNvPr>
                <p:cNvSpPr/>
                <p:nvPr/>
              </p:nvSpPr>
              <p:spPr>
                <a:xfrm>
                  <a:off x="10803385" y="5905104"/>
                  <a:ext cx="15693" cy="49698"/>
                </a:xfrm>
                <a:custGeom>
                  <a:avLst/>
                  <a:gdLst>
                    <a:gd name="connsiteX0" fmla="*/ 0 w 15693"/>
                    <a:gd name="connsiteY0" fmla="*/ 49698 h 49698"/>
                    <a:gd name="connsiteX1" fmla="*/ 3985 w 15693"/>
                    <a:gd name="connsiteY1" fmla="*/ 31264 h 49698"/>
                    <a:gd name="connsiteX2" fmla="*/ 12580 w 15693"/>
                    <a:gd name="connsiteY2" fmla="*/ 16192 h 49698"/>
                    <a:gd name="connsiteX3" fmla="*/ 15694 w 15693"/>
                    <a:gd name="connsiteY3" fmla="*/ 0 h 49698"/>
                  </a:gdLst>
                  <a:ahLst/>
                  <a:cxnLst>
                    <a:cxn ang="0">
                      <a:pos x="connsiteX0" y="connsiteY0"/>
                    </a:cxn>
                    <a:cxn ang="0">
                      <a:pos x="connsiteX1" y="connsiteY1"/>
                    </a:cxn>
                    <a:cxn ang="0">
                      <a:pos x="connsiteX2" y="connsiteY2"/>
                    </a:cxn>
                    <a:cxn ang="0">
                      <a:pos x="connsiteX3" y="connsiteY3"/>
                    </a:cxn>
                  </a:cxnLst>
                  <a:rect l="l" t="t" r="r" b="b"/>
                  <a:pathLst>
                    <a:path w="15693" h="49698">
                      <a:moveTo>
                        <a:pt x="0" y="49698"/>
                      </a:moveTo>
                      <a:cubicBezTo>
                        <a:pt x="124" y="41229"/>
                        <a:pt x="2117" y="35250"/>
                        <a:pt x="3985" y="31264"/>
                      </a:cubicBezTo>
                      <a:cubicBezTo>
                        <a:pt x="6851" y="24912"/>
                        <a:pt x="9840" y="22670"/>
                        <a:pt x="12580" y="16192"/>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7" name="Freeform 5618">
                  <a:extLst>
                    <a:ext uri="{FF2B5EF4-FFF2-40B4-BE49-F238E27FC236}">
                      <a16:creationId xmlns:a16="http://schemas.microsoft.com/office/drawing/2014/main" id="{3EB19C86-FBBB-930D-6341-DEA9CC83A42D}"/>
                    </a:ext>
                  </a:extLst>
                </p:cNvPr>
                <p:cNvSpPr/>
                <p:nvPr/>
              </p:nvSpPr>
              <p:spPr>
                <a:xfrm>
                  <a:off x="10803121" y="5888824"/>
                  <a:ext cx="26743" cy="26581"/>
                </a:xfrm>
                <a:custGeom>
                  <a:avLst/>
                  <a:gdLst>
                    <a:gd name="connsiteX0" fmla="*/ 26047 w 26743"/>
                    <a:gd name="connsiteY0" fmla="*/ 17526 h 26581"/>
                    <a:gd name="connsiteX1" fmla="*/ 9232 w 26743"/>
                    <a:gd name="connsiteY1" fmla="*/ 25871 h 26581"/>
                    <a:gd name="connsiteX2" fmla="*/ 638 w 26743"/>
                    <a:gd name="connsiteY2" fmla="*/ 9056 h 26581"/>
                    <a:gd name="connsiteX3" fmla="*/ 17453 w 26743"/>
                    <a:gd name="connsiteY3" fmla="*/ 711 h 26581"/>
                    <a:gd name="connsiteX4" fmla="*/ 26047 w 26743"/>
                    <a:gd name="connsiteY4" fmla="*/ 17526 h 2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 h="26581">
                      <a:moveTo>
                        <a:pt x="26047" y="17526"/>
                      </a:moveTo>
                      <a:cubicBezTo>
                        <a:pt x="23680" y="24501"/>
                        <a:pt x="16207" y="28238"/>
                        <a:pt x="9232" y="25871"/>
                      </a:cubicBezTo>
                      <a:cubicBezTo>
                        <a:pt x="2257" y="23505"/>
                        <a:pt x="-1604" y="16031"/>
                        <a:pt x="638" y="9056"/>
                      </a:cubicBezTo>
                      <a:cubicBezTo>
                        <a:pt x="2880" y="2081"/>
                        <a:pt x="10477" y="-1656"/>
                        <a:pt x="17453" y="711"/>
                      </a:cubicBezTo>
                      <a:cubicBezTo>
                        <a:pt x="24552" y="3077"/>
                        <a:pt x="28414" y="10551"/>
                        <a:pt x="2604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8" name="Freeform 5619">
                  <a:extLst>
                    <a:ext uri="{FF2B5EF4-FFF2-40B4-BE49-F238E27FC236}">
                      <a16:creationId xmlns:a16="http://schemas.microsoft.com/office/drawing/2014/main" id="{EF511670-B84C-E438-0F20-FE3B97B9B9C1}"/>
                    </a:ext>
                  </a:extLst>
                </p:cNvPr>
                <p:cNvSpPr/>
                <p:nvPr/>
              </p:nvSpPr>
              <p:spPr>
                <a:xfrm>
                  <a:off x="10783830" y="5963397"/>
                  <a:ext cx="17064" cy="49324"/>
                </a:xfrm>
                <a:custGeom>
                  <a:avLst/>
                  <a:gdLst>
                    <a:gd name="connsiteX0" fmla="*/ 0 w 17064"/>
                    <a:gd name="connsiteY0" fmla="*/ 49325 h 49324"/>
                    <a:gd name="connsiteX1" fmla="*/ 7723 w 17064"/>
                    <a:gd name="connsiteY1" fmla="*/ 32136 h 49324"/>
                    <a:gd name="connsiteX2" fmla="*/ 9840 w 17064"/>
                    <a:gd name="connsiteY2" fmla="*/ 14822 h 49324"/>
                    <a:gd name="connsiteX3" fmla="*/ 17064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0" y="49325"/>
                      </a:moveTo>
                      <a:cubicBezTo>
                        <a:pt x="4857" y="42474"/>
                        <a:pt x="6851" y="36495"/>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9" name="Freeform 5620">
                  <a:extLst>
                    <a:ext uri="{FF2B5EF4-FFF2-40B4-BE49-F238E27FC236}">
                      <a16:creationId xmlns:a16="http://schemas.microsoft.com/office/drawing/2014/main" id="{E7E0B037-CFC8-32DC-BDA7-79BA0DC1E0B0}"/>
                    </a:ext>
                  </a:extLst>
                </p:cNvPr>
                <p:cNvSpPr/>
                <p:nvPr/>
              </p:nvSpPr>
              <p:spPr>
                <a:xfrm>
                  <a:off x="10775609" y="5965515"/>
                  <a:ext cx="15694" cy="49823"/>
                </a:xfrm>
                <a:custGeom>
                  <a:avLst/>
                  <a:gdLst>
                    <a:gd name="connsiteX0" fmla="*/ 15694 w 15694"/>
                    <a:gd name="connsiteY0" fmla="*/ 0 h 49823"/>
                    <a:gd name="connsiteX1" fmla="*/ 11708 w 15694"/>
                    <a:gd name="connsiteY1" fmla="*/ 18434 h 49823"/>
                    <a:gd name="connsiteX2" fmla="*/ 3114 w 15694"/>
                    <a:gd name="connsiteY2" fmla="*/ 33630 h 49823"/>
                    <a:gd name="connsiteX3" fmla="*/ 0 w 15694"/>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694" h="49823">
                      <a:moveTo>
                        <a:pt x="15694" y="0"/>
                      </a:moveTo>
                      <a:cubicBezTo>
                        <a:pt x="15570" y="8470"/>
                        <a:pt x="13577" y="14449"/>
                        <a:pt x="11708" y="18434"/>
                      </a:cubicBezTo>
                      <a:cubicBezTo>
                        <a:pt x="8844" y="24787"/>
                        <a:pt x="5855" y="27029"/>
                        <a:pt x="3114" y="33630"/>
                      </a:cubicBezTo>
                      <a:cubicBezTo>
                        <a:pt x="499"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0" name="Freeform 5621">
                  <a:extLst>
                    <a:ext uri="{FF2B5EF4-FFF2-40B4-BE49-F238E27FC236}">
                      <a16:creationId xmlns:a16="http://schemas.microsoft.com/office/drawing/2014/main" id="{A9709D16-B215-8A87-3576-F0646CF71F10}"/>
                    </a:ext>
                  </a:extLst>
                </p:cNvPr>
                <p:cNvSpPr/>
                <p:nvPr/>
              </p:nvSpPr>
              <p:spPr>
                <a:xfrm>
                  <a:off x="10765105" y="6005097"/>
                  <a:ext cx="26162" cy="26449"/>
                </a:xfrm>
                <a:custGeom>
                  <a:avLst/>
                  <a:gdLst>
                    <a:gd name="connsiteX0" fmla="*/ 664 w 26162"/>
                    <a:gd name="connsiteY0" fmla="*/ 9120 h 26449"/>
                    <a:gd name="connsiteX1" fmla="*/ 17230 w 26162"/>
                    <a:gd name="connsiteY1" fmla="*/ 650 h 26449"/>
                    <a:gd name="connsiteX2" fmla="*/ 25450 w 26162"/>
                    <a:gd name="connsiteY2" fmla="*/ 17341 h 26449"/>
                    <a:gd name="connsiteX3" fmla="*/ 8884 w 26162"/>
                    <a:gd name="connsiteY3" fmla="*/ 25811 h 26449"/>
                    <a:gd name="connsiteX4" fmla="*/ 664 w 26162"/>
                    <a:gd name="connsiteY4" fmla="*/ 9120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49">
                      <a:moveTo>
                        <a:pt x="664" y="9120"/>
                      </a:moveTo>
                      <a:cubicBezTo>
                        <a:pt x="2906" y="2145"/>
                        <a:pt x="10379" y="-1592"/>
                        <a:pt x="17230" y="650"/>
                      </a:cubicBezTo>
                      <a:cubicBezTo>
                        <a:pt x="24081" y="2892"/>
                        <a:pt x="27817" y="10490"/>
                        <a:pt x="25450" y="17341"/>
                      </a:cubicBezTo>
                      <a:cubicBezTo>
                        <a:pt x="23084" y="24191"/>
                        <a:pt x="15735" y="28053"/>
                        <a:pt x="8884" y="25811"/>
                      </a:cubicBezTo>
                      <a:cubicBezTo>
                        <a:pt x="2034" y="23568"/>
                        <a:pt x="-1578" y="16095"/>
                        <a:pt x="664"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5" name="Graphic 2987">
                <a:extLst>
                  <a:ext uri="{FF2B5EF4-FFF2-40B4-BE49-F238E27FC236}">
                    <a16:creationId xmlns:a16="http://schemas.microsoft.com/office/drawing/2014/main" id="{6538B41A-94E7-6AC3-1F93-524D90506C5A}"/>
                  </a:ext>
                </a:extLst>
              </p:cNvPr>
              <p:cNvGrpSpPr/>
              <p:nvPr/>
            </p:nvGrpSpPr>
            <p:grpSpPr>
              <a:xfrm>
                <a:off x="10792845" y="5898290"/>
                <a:ext cx="65432" cy="142484"/>
                <a:chOff x="10792845" y="5898290"/>
                <a:chExt cx="65432" cy="142484"/>
              </a:xfrm>
              <a:grpFill/>
            </p:grpSpPr>
            <p:sp>
              <p:nvSpPr>
                <p:cNvPr id="3989" name="Freeform 5623">
                  <a:extLst>
                    <a:ext uri="{FF2B5EF4-FFF2-40B4-BE49-F238E27FC236}">
                      <a16:creationId xmlns:a16="http://schemas.microsoft.com/office/drawing/2014/main" id="{5F8CF9C1-C168-0957-8548-89132C694F4F}"/>
                    </a:ext>
                  </a:extLst>
                </p:cNvPr>
                <p:cNvSpPr/>
                <p:nvPr/>
              </p:nvSpPr>
              <p:spPr>
                <a:xfrm>
                  <a:off x="10821944" y="5917187"/>
                  <a:ext cx="17189" cy="49200"/>
                </a:xfrm>
                <a:custGeom>
                  <a:avLst/>
                  <a:gdLst>
                    <a:gd name="connsiteX0" fmla="*/ 17189 w 17189"/>
                    <a:gd name="connsiteY0" fmla="*/ 0 h 49200"/>
                    <a:gd name="connsiteX1" fmla="*/ 9342 w 17189"/>
                    <a:gd name="connsiteY1" fmla="*/ 17064 h 49200"/>
                    <a:gd name="connsiteX2" fmla="*/ 7224 w 17189"/>
                    <a:gd name="connsiteY2" fmla="*/ 34378 h 49200"/>
                    <a:gd name="connsiteX3" fmla="*/ 0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0"/>
                      </a:moveTo>
                      <a:cubicBezTo>
                        <a:pt x="12206"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0" name="Freeform 5624">
                  <a:extLst>
                    <a:ext uri="{FF2B5EF4-FFF2-40B4-BE49-F238E27FC236}">
                      <a16:creationId xmlns:a16="http://schemas.microsoft.com/office/drawing/2014/main" id="{DEB1F11F-53E6-E627-8A13-58BC7F327CC3}"/>
                    </a:ext>
                  </a:extLst>
                </p:cNvPr>
                <p:cNvSpPr/>
                <p:nvPr/>
              </p:nvSpPr>
              <p:spPr>
                <a:xfrm>
                  <a:off x="10831535" y="5914695"/>
                  <a:ext cx="15943" cy="49574"/>
                </a:xfrm>
                <a:custGeom>
                  <a:avLst/>
                  <a:gdLst>
                    <a:gd name="connsiteX0" fmla="*/ 0 w 15943"/>
                    <a:gd name="connsiteY0" fmla="*/ 49574 h 49574"/>
                    <a:gd name="connsiteX1" fmla="*/ 4111 w 15943"/>
                    <a:gd name="connsiteY1" fmla="*/ 31264 h 49574"/>
                    <a:gd name="connsiteX2" fmla="*/ 12830 w 15943"/>
                    <a:gd name="connsiteY2" fmla="*/ 16193 h 49574"/>
                    <a:gd name="connsiteX3" fmla="*/ 15944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0" y="49574"/>
                      </a:moveTo>
                      <a:cubicBezTo>
                        <a:pt x="249" y="41104"/>
                        <a:pt x="2243" y="35125"/>
                        <a:pt x="4111" y="31264"/>
                      </a:cubicBezTo>
                      <a:cubicBezTo>
                        <a:pt x="7100" y="24912"/>
                        <a:pt x="10089" y="22670"/>
                        <a:pt x="12830" y="16193"/>
                      </a:cubicBezTo>
                      <a:cubicBezTo>
                        <a:pt x="15446" y="9840"/>
                        <a:pt x="15944" y="3986"/>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1" name="Freeform 5625">
                  <a:extLst>
                    <a:ext uri="{FF2B5EF4-FFF2-40B4-BE49-F238E27FC236}">
                      <a16:creationId xmlns:a16="http://schemas.microsoft.com/office/drawing/2014/main" id="{61F2771B-DD34-FE41-E39D-117D3F8C317B}"/>
                    </a:ext>
                  </a:extLst>
                </p:cNvPr>
                <p:cNvSpPr/>
                <p:nvPr/>
              </p:nvSpPr>
              <p:spPr>
                <a:xfrm>
                  <a:off x="10831461" y="5898290"/>
                  <a:ext cx="26816" cy="26533"/>
                </a:xfrm>
                <a:custGeom>
                  <a:avLst/>
                  <a:gdLst>
                    <a:gd name="connsiteX0" fmla="*/ 26107 w 26816"/>
                    <a:gd name="connsiteY0" fmla="*/ 17526 h 26533"/>
                    <a:gd name="connsiteX1" fmla="*/ 9167 w 26816"/>
                    <a:gd name="connsiteY1" fmla="*/ 25871 h 26533"/>
                    <a:gd name="connsiteX2" fmla="*/ 698 w 26816"/>
                    <a:gd name="connsiteY2" fmla="*/ 9056 h 26533"/>
                    <a:gd name="connsiteX3" fmla="*/ 17637 w 26816"/>
                    <a:gd name="connsiteY3" fmla="*/ 711 h 26533"/>
                    <a:gd name="connsiteX4" fmla="*/ 26107 w 26816"/>
                    <a:gd name="connsiteY4" fmla="*/ 17526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6" h="26533">
                      <a:moveTo>
                        <a:pt x="26107" y="17526"/>
                      </a:moveTo>
                      <a:cubicBezTo>
                        <a:pt x="23740" y="24501"/>
                        <a:pt x="16143" y="28113"/>
                        <a:pt x="9167" y="25871"/>
                      </a:cubicBezTo>
                      <a:cubicBezTo>
                        <a:pt x="2192" y="23505"/>
                        <a:pt x="-1669" y="16031"/>
                        <a:pt x="698" y="9056"/>
                      </a:cubicBezTo>
                      <a:cubicBezTo>
                        <a:pt x="3064" y="2081"/>
                        <a:pt x="10537" y="-1656"/>
                        <a:pt x="17637" y="711"/>
                      </a:cubicBezTo>
                      <a:cubicBezTo>
                        <a:pt x="24737" y="3077"/>
                        <a:pt x="28474" y="10675"/>
                        <a:pt x="2610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2" name="Freeform 5626">
                  <a:extLst>
                    <a:ext uri="{FF2B5EF4-FFF2-40B4-BE49-F238E27FC236}">
                      <a16:creationId xmlns:a16="http://schemas.microsoft.com/office/drawing/2014/main" id="{DF7EE3A5-6B0F-4D88-126A-3B64938FD3A2}"/>
                    </a:ext>
                  </a:extLst>
                </p:cNvPr>
                <p:cNvSpPr/>
                <p:nvPr/>
              </p:nvSpPr>
              <p:spPr>
                <a:xfrm>
                  <a:off x="10811606" y="5972864"/>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858" y="42350"/>
                        <a:pt x="6851" y="36371"/>
                        <a:pt x="7847" y="32136"/>
                      </a:cubicBezTo>
                      <a:cubicBezTo>
                        <a:pt x="9342" y="25285"/>
                        <a:pt x="8345" y="21798"/>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3" name="Freeform 5627">
                  <a:extLst>
                    <a:ext uri="{FF2B5EF4-FFF2-40B4-BE49-F238E27FC236}">
                      <a16:creationId xmlns:a16="http://schemas.microsoft.com/office/drawing/2014/main" id="{76F5F2D7-B1F6-A80C-D25C-82EC498F67D7}"/>
                    </a:ext>
                  </a:extLst>
                </p:cNvPr>
                <p:cNvSpPr/>
                <p:nvPr/>
              </p:nvSpPr>
              <p:spPr>
                <a:xfrm>
                  <a:off x="10803385" y="5974981"/>
                  <a:ext cx="15942" cy="49574"/>
                </a:xfrm>
                <a:custGeom>
                  <a:avLst/>
                  <a:gdLst>
                    <a:gd name="connsiteX0" fmla="*/ 15943 w 15942"/>
                    <a:gd name="connsiteY0" fmla="*/ 0 h 49574"/>
                    <a:gd name="connsiteX1" fmla="*/ 11832 w 15942"/>
                    <a:gd name="connsiteY1" fmla="*/ 18310 h 49574"/>
                    <a:gd name="connsiteX2" fmla="*/ 3238 w 15942"/>
                    <a:gd name="connsiteY2" fmla="*/ 33382 h 49574"/>
                    <a:gd name="connsiteX3" fmla="*/ 0 w 1594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2" h="49574">
                      <a:moveTo>
                        <a:pt x="15943" y="0"/>
                      </a:moveTo>
                      <a:cubicBezTo>
                        <a:pt x="15694" y="8470"/>
                        <a:pt x="13701" y="14449"/>
                        <a:pt x="11832" y="18310"/>
                      </a:cubicBezTo>
                      <a:cubicBezTo>
                        <a:pt x="8843" y="24663"/>
                        <a:pt x="5854" y="26905"/>
                        <a:pt x="3238" y="33382"/>
                      </a:cubicBezTo>
                      <a:cubicBezTo>
                        <a:pt x="623" y="39734"/>
                        <a:pt x="124"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4" name="Freeform 5628">
                  <a:extLst>
                    <a:ext uri="{FF2B5EF4-FFF2-40B4-BE49-F238E27FC236}">
                      <a16:creationId xmlns:a16="http://schemas.microsoft.com/office/drawing/2014/main" id="{544EA1F7-346E-1A07-1E8B-0A1D80BA436A}"/>
                    </a:ext>
                  </a:extLst>
                </p:cNvPr>
                <p:cNvSpPr/>
                <p:nvPr/>
              </p:nvSpPr>
              <p:spPr>
                <a:xfrm>
                  <a:off x="10792845" y="6014314"/>
                  <a:ext cx="26150" cy="26460"/>
                </a:xfrm>
                <a:custGeom>
                  <a:avLst/>
                  <a:gdLst>
                    <a:gd name="connsiteX0" fmla="*/ 700 w 26150"/>
                    <a:gd name="connsiteY0" fmla="*/ 9120 h 26460"/>
                    <a:gd name="connsiteX1" fmla="*/ 17266 w 26150"/>
                    <a:gd name="connsiteY1" fmla="*/ 650 h 26460"/>
                    <a:gd name="connsiteX2" fmla="*/ 25486 w 26150"/>
                    <a:gd name="connsiteY2" fmla="*/ 17341 h 26460"/>
                    <a:gd name="connsiteX3" fmla="*/ 8921 w 26150"/>
                    <a:gd name="connsiteY3" fmla="*/ 25811 h 26460"/>
                    <a:gd name="connsiteX4" fmla="*/ 700 w 26150"/>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0" h="26460">
                      <a:moveTo>
                        <a:pt x="700" y="9120"/>
                      </a:moveTo>
                      <a:cubicBezTo>
                        <a:pt x="3066" y="2145"/>
                        <a:pt x="10415" y="-1592"/>
                        <a:pt x="17266" y="650"/>
                      </a:cubicBezTo>
                      <a:cubicBezTo>
                        <a:pt x="24116" y="2892"/>
                        <a:pt x="27728" y="10490"/>
                        <a:pt x="25486" y="17341"/>
                      </a:cubicBezTo>
                      <a:cubicBezTo>
                        <a:pt x="23120" y="24316"/>
                        <a:pt x="15647" y="28052"/>
                        <a:pt x="8921" y="25811"/>
                      </a:cubicBezTo>
                      <a:cubicBezTo>
                        <a:pt x="2194" y="23569"/>
                        <a:pt x="-1667" y="16095"/>
                        <a:pt x="700"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6" name="Graphic 2987">
                <a:extLst>
                  <a:ext uri="{FF2B5EF4-FFF2-40B4-BE49-F238E27FC236}">
                    <a16:creationId xmlns:a16="http://schemas.microsoft.com/office/drawing/2014/main" id="{1BAE4A2A-98BF-BE9E-7023-36A4E20E48D8}"/>
                  </a:ext>
                </a:extLst>
              </p:cNvPr>
              <p:cNvGrpSpPr/>
              <p:nvPr/>
            </p:nvGrpSpPr>
            <p:grpSpPr>
              <a:xfrm>
                <a:off x="10820472" y="5907868"/>
                <a:ext cx="66329" cy="142309"/>
                <a:chOff x="10820472" y="5907868"/>
                <a:chExt cx="66329" cy="142309"/>
              </a:xfrm>
              <a:grpFill/>
            </p:grpSpPr>
            <p:sp>
              <p:nvSpPr>
                <p:cNvPr id="3983" name="Freeform 5630">
                  <a:extLst>
                    <a:ext uri="{FF2B5EF4-FFF2-40B4-BE49-F238E27FC236}">
                      <a16:creationId xmlns:a16="http://schemas.microsoft.com/office/drawing/2014/main" id="{66337DAF-2C52-0533-EE5C-7DA0ADE95B73}"/>
                    </a:ext>
                  </a:extLst>
                </p:cNvPr>
                <p:cNvSpPr/>
                <p:nvPr/>
              </p:nvSpPr>
              <p:spPr>
                <a:xfrm>
                  <a:off x="10849970" y="5926653"/>
                  <a:ext cx="17562" cy="49200"/>
                </a:xfrm>
                <a:custGeom>
                  <a:avLst/>
                  <a:gdLst>
                    <a:gd name="connsiteX0" fmla="*/ 17562 w 17562"/>
                    <a:gd name="connsiteY0" fmla="*/ 0 h 49200"/>
                    <a:gd name="connsiteX1" fmla="*/ 9590 w 17562"/>
                    <a:gd name="connsiteY1" fmla="*/ 17065 h 49200"/>
                    <a:gd name="connsiteX2" fmla="*/ 7348 w 17562"/>
                    <a:gd name="connsiteY2" fmla="*/ 34378 h 49200"/>
                    <a:gd name="connsiteX3" fmla="*/ 0 w 17562"/>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562" h="49200">
                      <a:moveTo>
                        <a:pt x="17562" y="0"/>
                      </a:moveTo>
                      <a:cubicBezTo>
                        <a:pt x="12580" y="6851"/>
                        <a:pt x="10587" y="12830"/>
                        <a:pt x="9590" y="17065"/>
                      </a:cubicBezTo>
                      <a:cubicBezTo>
                        <a:pt x="8096" y="23915"/>
                        <a:pt x="9092" y="27403"/>
                        <a:pt x="7348" y="34378"/>
                      </a:cubicBezTo>
                      <a:cubicBezTo>
                        <a:pt x="5605"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4" name="Freeform 5631">
                  <a:extLst>
                    <a:ext uri="{FF2B5EF4-FFF2-40B4-BE49-F238E27FC236}">
                      <a16:creationId xmlns:a16="http://schemas.microsoft.com/office/drawing/2014/main" id="{AD8ECCC3-C13F-73EE-676C-F844A6F250B5}"/>
                    </a:ext>
                  </a:extLst>
                </p:cNvPr>
                <p:cNvSpPr/>
                <p:nvPr/>
              </p:nvSpPr>
              <p:spPr>
                <a:xfrm>
                  <a:off x="10859685" y="5924162"/>
                  <a:ext cx="16317" cy="49574"/>
                </a:xfrm>
                <a:custGeom>
                  <a:avLst/>
                  <a:gdLst>
                    <a:gd name="connsiteX0" fmla="*/ 0 w 16317"/>
                    <a:gd name="connsiteY0" fmla="*/ 49574 h 49574"/>
                    <a:gd name="connsiteX1" fmla="*/ 4235 w 16317"/>
                    <a:gd name="connsiteY1" fmla="*/ 31264 h 49574"/>
                    <a:gd name="connsiteX2" fmla="*/ 13078 w 16317"/>
                    <a:gd name="connsiteY2" fmla="*/ 16192 h 49574"/>
                    <a:gd name="connsiteX3" fmla="*/ 16317 w 16317"/>
                    <a:gd name="connsiteY3" fmla="*/ 0 h 49574"/>
                  </a:gdLst>
                  <a:ahLst/>
                  <a:cxnLst>
                    <a:cxn ang="0">
                      <a:pos x="connsiteX0" y="connsiteY0"/>
                    </a:cxn>
                    <a:cxn ang="0">
                      <a:pos x="connsiteX1" y="connsiteY1"/>
                    </a:cxn>
                    <a:cxn ang="0">
                      <a:pos x="connsiteX2" y="connsiteY2"/>
                    </a:cxn>
                    <a:cxn ang="0">
                      <a:pos x="connsiteX3" y="connsiteY3"/>
                    </a:cxn>
                  </a:cxnLst>
                  <a:rect l="l" t="t" r="r" b="b"/>
                  <a:pathLst>
                    <a:path w="16317" h="49574">
                      <a:moveTo>
                        <a:pt x="0" y="49574"/>
                      </a:moveTo>
                      <a:cubicBezTo>
                        <a:pt x="249" y="41229"/>
                        <a:pt x="2367" y="35250"/>
                        <a:pt x="4235" y="31264"/>
                      </a:cubicBezTo>
                      <a:cubicBezTo>
                        <a:pt x="7225" y="24912"/>
                        <a:pt x="10214" y="22794"/>
                        <a:pt x="13078" y="16192"/>
                      </a:cubicBezTo>
                      <a:cubicBezTo>
                        <a:pt x="15819" y="9840"/>
                        <a:pt x="16317" y="3986"/>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5" name="Freeform 5632">
                  <a:extLst>
                    <a:ext uri="{FF2B5EF4-FFF2-40B4-BE49-F238E27FC236}">
                      <a16:creationId xmlns:a16="http://schemas.microsoft.com/office/drawing/2014/main" id="{C867723E-39A9-2DF1-5044-33DA2F139477}"/>
                    </a:ext>
                  </a:extLst>
                </p:cNvPr>
                <p:cNvSpPr/>
                <p:nvPr/>
              </p:nvSpPr>
              <p:spPr>
                <a:xfrm>
                  <a:off x="10859907" y="5907868"/>
                  <a:ext cx="26893" cy="26484"/>
                </a:xfrm>
                <a:custGeom>
                  <a:avLst/>
                  <a:gdLst>
                    <a:gd name="connsiteX0" fmla="*/ 26184 w 26893"/>
                    <a:gd name="connsiteY0" fmla="*/ 17540 h 26484"/>
                    <a:gd name="connsiteX1" fmla="*/ 9120 w 26893"/>
                    <a:gd name="connsiteY1" fmla="*/ 25761 h 26484"/>
                    <a:gd name="connsiteX2" fmla="*/ 650 w 26893"/>
                    <a:gd name="connsiteY2" fmla="*/ 8945 h 26484"/>
                    <a:gd name="connsiteX3" fmla="*/ 17714 w 26893"/>
                    <a:gd name="connsiteY3" fmla="*/ 724 h 26484"/>
                    <a:gd name="connsiteX4" fmla="*/ 26184 w 26893"/>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2" h="26484">
                      <a:moveTo>
                        <a:pt x="26184" y="17540"/>
                      </a:moveTo>
                      <a:cubicBezTo>
                        <a:pt x="23817" y="24515"/>
                        <a:pt x="16220" y="28127"/>
                        <a:pt x="9120" y="25761"/>
                      </a:cubicBezTo>
                      <a:cubicBezTo>
                        <a:pt x="2145" y="23394"/>
                        <a:pt x="-1592" y="15920"/>
                        <a:pt x="650" y="8945"/>
                      </a:cubicBezTo>
                      <a:cubicBezTo>
                        <a:pt x="3017" y="1970"/>
                        <a:pt x="10614" y="-1642"/>
                        <a:pt x="17714" y="724"/>
                      </a:cubicBezTo>
                      <a:cubicBezTo>
                        <a:pt x="24814" y="3091"/>
                        <a:pt x="28551" y="10564"/>
                        <a:pt x="26184"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6" name="Freeform 5633">
                  <a:extLst>
                    <a:ext uri="{FF2B5EF4-FFF2-40B4-BE49-F238E27FC236}">
                      <a16:creationId xmlns:a16="http://schemas.microsoft.com/office/drawing/2014/main" id="{711D3988-FFE2-B89E-C67F-BD681A3D88D2}"/>
                    </a:ext>
                  </a:extLst>
                </p:cNvPr>
                <p:cNvSpPr/>
                <p:nvPr/>
              </p:nvSpPr>
              <p:spPr>
                <a:xfrm>
                  <a:off x="10839257" y="5982330"/>
                  <a:ext cx="17687" cy="49075"/>
                </a:xfrm>
                <a:custGeom>
                  <a:avLst/>
                  <a:gdLst>
                    <a:gd name="connsiteX0" fmla="*/ 0 w 17687"/>
                    <a:gd name="connsiteY0" fmla="*/ 49076 h 49075"/>
                    <a:gd name="connsiteX1" fmla="*/ 7972 w 17687"/>
                    <a:gd name="connsiteY1" fmla="*/ 32011 h 49075"/>
                    <a:gd name="connsiteX2" fmla="*/ 10339 w 17687"/>
                    <a:gd name="connsiteY2" fmla="*/ 14822 h 49075"/>
                    <a:gd name="connsiteX3" fmla="*/ 17688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3" y="42225"/>
                        <a:pt x="6976" y="36246"/>
                        <a:pt x="7972" y="32011"/>
                      </a:cubicBezTo>
                      <a:cubicBezTo>
                        <a:pt x="9467" y="25161"/>
                        <a:pt x="8471" y="21673"/>
                        <a:pt x="10339" y="14822"/>
                      </a:cubicBezTo>
                      <a:cubicBezTo>
                        <a:pt x="12082" y="8097"/>
                        <a:pt x="15321" y="3239"/>
                        <a:pt x="176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7" name="Freeform 5634">
                  <a:extLst>
                    <a:ext uri="{FF2B5EF4-FFF2-40B4-BE49-F238E27FC236}">
                      <a16:creationId xmlns:a16="http://schemas.microsoft.com/office/drawing/2014/main" id="{7B908098-34BD-2A62-08D9-B18C8F821E39}"/>
                    </a:ext>
                  </a:extLst>
                </p:cNvPr>
                <p:cNvSpPr/>
                <p:nvPr/>
              </p:nvSpPr>
              <p:spPr>
                <a:xfrm>
                  <a:off x="10831162" y="5984323"/>
                  <a:ext cx="16192" cy="49574"/>
                </a:xfrm>
                <a:custGeom>
                  <a:avLst/>
                  <a:gdLst>
                    <a:gd name="connsiteX0" fmla="*/ 16192 w 16192"/>
                    <a:gd name="connsiteY0" fmla="*/ 0 h 49574"/>
                    <a:gd name="connsiteX1" fmla="*/ 11958 w 16192"/>
                    <a:gd name="connsiteY1" fmla="*/ 18310 h 49574"/>
                    <a:gd name="connsiteX2" fmla="*/ 3239 w 16192"/>
                    <a:gd name="connsiteY2" fmla="*/ 33382 h 49574"/>
                    <a:gd name="connsiteX3" fmla="*/ 0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16192" y="0"/>
                      </a:moveTo>
                      <a:cubicBezTo>
                        <a:pt x="15943" y="8346"/>
                        <a:pt x="13826" y="14324"/>
                        <a:pt x="11958" y="18310"/>
                      </a:cubicBezTo>
                      <a:cubicBezTo>
                        <a:pt x="8968" y="24663"/>
                        <a:pt x="5979" y="26905"/>
                        <a:pt x="3239" y="33382"/>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8" name="Freeform 5635">
                  <a:extLst>
                    <a:ext uri="{FF2B5EF4-FFF2-40B4-BE49-F238E27FC236}">
                      <a16:creationId xmlns:a16="http://schemas.microsoft.com/office/drawing/2014/main" id="{E44F3CAD-DC17-C72A-4DCA-755BC5EA9E6F}"/>
                    </a:ext>
                  </a:extLst>
                </p:cNvPr>
                <p:cNvSpPr/>
                <p:nvPr/>
              </p:nvSpPr>
              <p:spPr>
                <a:xfrm>
                  <a:off x="10820472" y="6023720"/>
                  <a:ext cx="26237" cy="26457"/>
                </a:xfrm>
                <a:custGeom>
                  <a:avLst/>
                  <a:gdLst>
                    <a:gd name="connsiteX0" fmla="*/ 725 w 26237"/>
                    <a:gd name="connsiteY0" fmla="*/ 9056 h 26457"/>
                    <a:gd name="connsiteX1" fmla="*/ 17416 w 26237"/>
                    <a:gd name="connsiteY1" fmla="*/ 711 h 26457"/>
                    <a:gd name="connsiteX2" fmla="*/ 25512 w 26237"/>
                    <a:gd name="connsiteY2" fmla="*/ 17401 h 26457"/>
                    <a:gd name="connsiteX3" fmla="*/ 8821 w 26237"/>
                    <a:gd name="connsiteY3" fmla="*/ 25747 h 26457"/>
                    <a:gd name="connsiteX4" fmla="*/ 725 w 26237"/>
                    <a:gd name="connsiteY4" fmla="*/ 9056 h 26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56">
                      <a:moveTo>
                        <a:pt x="725" y="9056"/>
                      </a:moveTo>
                      <a:cubicBezTo>
                        <a:pt x="3092" y="2081"/>
                        <a:pt x="10565" y="-1656"/>
                        <a:pt x="17416" y="711"/>
                      </a:cubicBezTo>
                      <a:cubicBezTo>
                        <a:pt x="24266" y="2953"/>
                        <a:pt x="27879" y="10426"/>
                        <a:pt x="25512" y="17401"/>
                      </a:cubicBezTo>
                      <a:cubicBezTo>
                        <a:pt x="23146" y="24377"/>
                        <a:pt x="15672" y="28114"/>
                        <a:pt x="8821" y="25747"/>
                      </a:cubicBezTo>
                      <a:cubicBezTo>
                        <a:pt x="1971" y="23505"/>
                        <a:pt x="-1641" y="16031"/>
                        <a:pt x="725" y="90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7" name="Graphic 2987">
                <a:extLst>
                  <a:ext uri="{FF2B5EF4-FFF2-40B4-BE49-F238E27FC236}">
                    <a16:creationId xmlns:a16="http://schemas.microsoft.com/office/drawing/2014/main" id="{C4076419-CC8F-3307-6692-8DA513392104}"/>
                  </a:ext>
                </a:extLst>
              </p:cNvPr>
              <p:cNvGrpSpPr/>
              <p:nvPr/>
            </p:nvGrpSpPr>
            <p:grpSpPr>
              <a:xfrm>
                <a:off x="10848121" y="5917484"/>
                <a:ext cx="66968" cy="142050"/>
                <a:chOff x="10848121" y="5917484"/>
                <a:chExt cx="66968" cy="142050"/>
              </a:xfrm>
              <a:grpFill/>
            </p:grpSpPr>
            <p:sp>
              <p:nvSpPr>
                <p:cNvPr id="3977" name="Freeform 5637">
                  <a:extLst>
                    <a:ext uri="{FF2B5EF4-FFF2-40B4-BE49-F238E27FC236}">
                      <a16:creationId xmlns:a16="http://schemas.microsoft.com/office/drawing/2014/main" id="{4399522C-E2DD-B53C-5193-ECD019AB0B9A}"/>
                    </a:ext>
                  </a:extLst>
                </p:cNvPr>
                <p:cNvSpPr/>
                <p:nvPr/>
              </p:nvSpPr>
              <p:spPr>
                <a:xfrm>
                  <a:off x="10877995" y="5936244"/>
                  <a:ext cx="17936" cy="48951"/>
                </a:xfrm>
                <a:custGeom>
                  <a:avLst/>
                  <a:gdLst>
                    <a:gd name="connsiteX0" fmla="*/ 17936 w 17936"/>
                    <a:gd name="connsiteY0" fmla="*/ 0 h 48951"/>
                    <a:gd name="connsiteX1" fmla="*/ 9840 w 17936"/>
                    <a:gd name="connsiteY1" fmla="*/ 16940 h 48951"/>
                    <a:gd name="connsiteX2" fmla="*/ 7473 w 17936"/>
                    <a:gd name="connsiteY2" fmla="*/ 3425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2954" y="6726"/>
                        <a:pt x="10836" y="12705"/>
                        <a:pt x="9840" y="16940"/>
                      </a:cubicBezTo>
                      <a:cubicBezTo>
                        <a:pt x="8345" y="23791"/>
                        <a:pt x="9342" y="27402"/>
                        <a:pt x="7473" y="34253"/>
                      </a:cubicBezTo>
                      <a:cubicBezTo>
                        <a:pt x="5605" y="40980"/>
                        <a:pt x="2491"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8" name="Freeform 5638">
                  <a:extLst>
                    <a:ext uri="{FF2B5EF4-FFF2-40B4-BE49-F238E27FC236}">
                      <a16:creationId xmlns:a16="http://schemas.microsoft.com/office/drawing/2014/main" id="{89D377A2-1123-1869-3ABC-CC51EC5FB53C}"/>
                    </a:ext>
                  </a:extLst>
                </p:cNvPr>
                <p:cNvSpPr/>
                <p:nvPr/>
              </p:nvSpPr>
              <p:spPr>
                <a:xfrm>
                  <a:off x="10887586" y="5933877"/>
                  <a:ext cx="16566" cy="49449"/>
                </a:xfrm>
                <a:custGeom>
                  <a:avLst/>
                  <a:gdLst>
                    <a:gd name="connsiteX0" fmla="*/ 0 w 16566"/>
                    <a:gd name="connsiteY0" fmla="*/ 49449 h 49449"/>
                    <a:gd name="connsiteX1" fmla="*/ 4360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0980"/>
                        <a:pt x="2491" y="35001"/>
                        <a:pt x="4360" y="31139"/>
                      </a:cubicBezTo>
                      <a:cubicBezTo>
                        <a:pt x="7349" y="24787"/>
                        <a:pt x="10463" y="22670"/>
                        <a:pt x="13203" y="16192"/>
                      </a:cubicBezTo>
                      <a:cubicBezTo>
                        <a:pt x="15944"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9" name="Freeform 5639">
                  <a:extLst>
                    <a:ext uri="{FF2B5EF4-FFF2-40B4-BE49-F238E27FC236}">
                      <a16:creationId xmlns:a16="http://schemas.microsoft.com/office/drawing/2014/main" id="{775D68C5-5BF9-E1E1-C79E-2B918150E4EE}"/>
                    </a:ext>
                  </a:extLst>
                </p:cNvPr>
                <p:cNvSpPr/>
                <p:nvPr/>
              </p:nvSpPr>
              <p:spPr>
                <a:xfrm>
                  <a:off x="10888246" y="5917484"/>
                  <a:ext cx="26843" cy="26648"/>
                </a:xfrm>
                <a:custGeom>
                  <a:avLst/>
                  <a:gdLst>
                    <a:gd name="connsiteX0" fmla="*/ 26120 w 26843"/>
                    <a:gd name="connsiteY0" fmla="*/ 17888 h 26648"/>
                    <a:gd name="connsiteX1" fmla="*/ 9056 w 26843"/>
                    <a:gd name="connsiteY1" fmla="*/ 25860 h 26648"/>
                    <a:gd name="connsiteX2" fmla="*/ 711 w 26843"/>
                    <a:gd name="connsiteY2" fmla="*/ 8920 h 26648"/>
                    <a:gd name="connsiteX3" fmla="*/ 17775 w 26843"/>
                    <a:gd name="connsiteY3" fmla="*/ 824 h 26648"/>
                    <a:gd name="connsiteX4" fmla="*/ 26120 w 26843"/>
                    <a:gd name="connsiteY4" fmla="*/ 17888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648">
                      <a:moveTo>
                        <a:pt x="26120" y="17888"/>
                      </a:moveTo>
                      <a:cubicBezTo>
                        <a:pt x="23629" y="24738"/>
                        <a:pt x="16031" y="28351"/>
                        <a:pt x="9056" y="25860"/>
                      </a:cubicBezTo>
                      <a:cubicBezTo>
                        <a:pt x="2081" y="23244"/>
                        <a:pt x="-1656" y="15895"/>
                        <a:pt x="711" y="8920"/>
                      </a:cubicBezTo>
                      <a:cubicBezTo>
                        <a:pt x="3077" y="2069"/>
                        <a:pt x="10800" y="-1792"/>
                        <a:pt x="17775" y="824"/>
                      </a:cubicBezTo>
                      <a:cubicBezTo>
                        <a:pt x="24875" y="3315"/>
                        <a:pt x="28487" y="11037"/>
                        <a:pt x="26120" y="178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0" name="Freeform 5640">
                  <a:extLst>
                    <a:ext uri="{FF2B5EF4-FFF2-40B4-BE49-F238E27FC236}">
                      <a16:creationId xmlns:a16="http://schemas.microsoft.com/office/drawing/2014/main" id="{CFC7FC4E-F52A-51E7-6B9A-0EF7D5283535}"/>
                    </a:ext>
                  </a:extLst>
                </p:cNvPr>
                <p:cNvSpPr/>
                <p:nvPr/>
              </p:nvSpPr>
              <p:spPr>
                <a:xfrm>
                  <a:off x="10866910" y="5991921"/>
                  <a:ext cx="18061" cy="48951"/>
                </a:xfrm>
                <a:custGeom>
                  <a:avLst/>
                  <a:gdLst>
                    <a:gd name="connsiteX0" fmla="*/ 0 w 18061"/>
                    <a:gd name="connsiteY0" fmla="*/ 48951 h 48951"/>
                    <a:gd name="connsiteX1" fmla="*/ 8097 w 18061"/>
                    <a:gd name="connsiteY1" fmla="*/ 32011 h 48951"/>
                    <a:gd name="connsiteX2" fmla="*/ 10587 w 18061"/>
                    <a:gd name="connsiteY2" fmla="*/ 1469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4983" y="42225"/>
                        <a:pt x="7100" y="36246"/>
                        <a:pt x="8097" y="32011"/>
                      </a:cubicBezTo>
                      <a:cubicBezTo>
                        <a:pt x="9715" y="25161"/>
                        <a:pt x="8719" y="21548"/>
                        <a:pt x="10587" y="14698"/>
                      </a:cubicBezTo>
                      <a:cubicBezTo>
                        <a:pt x="12456" y="7971"/>
                        <a:pt x="15570" y="3114"/>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1" name="Freeform 5641">
                  <a:extLst>
                    <a:ext uri="{FF2B5EF4-FFF2-40B4-BE49-F238E27FC236}">
                      <a16:creationId xmlns:a16="http://schemas.microsoft.com/office/drawing/2014/main" id="{B5D82693-D118-073F-5648-4BA1DEE72E06}"/>
                    </a:ext>
                  </a:extLst>
                </p:cNvPr>
                <p:cNvSpPr/>
                <p:nvPr/>
              </p:nvSpPr>
              <p:spPr>
                <a:xfrm>
                  <a:off x="10858689" y="5993789"/>
                  <a:ext cx="16565" cy="49449"/>
                </a:xfrm>
                <a:custGeom>
                  <a:avLst/>
                  <a:gdLst>
                    <a:gd name="connsiteX0" fmla="*/ 16566 w 16565"/>
                    <a:gd name="connsiteY0" fmla="*/ 0 h 49449"/>
                    <a:gd name="connsiteX1" fmla="*/ 12206 w 16565"/>
                    <a:gd name="connsiteY1" fmla="*/ 18310 h 49449"/>
                    <a:gd name="connsiteX2" fmla="*/ 3363 w 16565"/>
                    <a:gd name="connsiteY2" fmla="*/ 33257 h 49449"/>
                    <a:gd name="connsiteX3" fmla="*/ 0 w 16565"/>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5" h="49449">
                      <a:moveTo>
                        <a:pt x="16566" y="0"/>
                      </a:moveTo>
                      <a:cubicBezTo>
                        <a:pt x="16192" y="8470"/>
                        <a:pt x="14074" y="14449"/>
                        <a:pt x="12206" y="18310"/>
                      </a:cubicBezTo>
                      <a:cubicBezTo>
                        <a:pt x="9217" y="24663"/>
                        <a:pt x="6228" y="26780"/>
                        <a:pt x="3363" y="33257"/>
                      </a:cubicBezTo>
                      <a:cubicBezTo>
                        <a:pt x="623" y="39609"/>
                        <a:pt x="0"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2" name="Freeform 5642">
                  <a:extLst>
                    <a:ext uri="{FF2B5EF4-FFF2-40B4-BE49-F238E27FC236}">
                      <a16:creationId xmlns:a16="http://schemas.microsoft.com/office/drawing/2014/main" id="{445A1EAC-3FBA-AA99-AD9D-CFBAE55F5F13}"/>
                    </a:ext>
                  </a:extLst>
                </p:cNvPr>
                <p:cNvSpPr/>
                <p:nvPr/>
              </p:nvSpPr>
              <p:spPr>
                <a:xfrm>
                  <a:off x="10848121" y="6032963"/>
                  <a:ext cx="26069" cy="26570"/>
                </a:xfrm>
                <a:custGeom>
                  <a:avLst/>
                  <a:gdLst>
                    <a:gd name="connsiteX0" fmla="*/ 728 w 26069"/>
                    <a:gd name="connsiteY0" fmla="*/ 9030 h 26570"/>
                    <a:gd name="connsiteX1" fmla="*/ 17419 w 26069"/>
                    <a:gd name="connsiteY1" fmla="*/ 809 h 26570"/>
                    <a:gd name="connsiteX2" fmla="*/ 25266 w 26069"/>
                    <a:gd name="connsiteY2" fmla="*/ 17749 h 26570"/>
                    <a:gd name="connsiteX3" fmla="*/ 8575 w 26069"/>
                    <a:gd name="connsiteY3" fmla="*/ 25845 h 26570"/>
                    <a:gd name="connsiteX4" fmla="*/ 728 w 26069"/>
                    <a:gd name="connsiteY4" fmla="*/ 9030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9" h="26570">
                      <a:moveTo>
                        <a:pt x="728" y="9030"/>
                      </a:moveTo>
                      <a:cubicBezTo>
                        <a:pt x="3094" y="2179"/>
                        <a:pt x="10692" y="-1807"/>
                        <a:pt x="17419" y="809"/>
                      </a:cubicBezTo>
                      <a:cubicBezTo>
                        <a:pt x="24269" y="3300"/>
                        <a:pt x="27756" y="10898"/>
                        <a:pt x="25266" y="17749"/>
                      </a:cubicBezTo>
                      <a:cubicBezTo>
                        <a:pt x="22775" y="24600"/>
                        <a:pt x="15425" y="28212"/>
                        <a:pt x="8575" y="25845"/>
                      </a:cubicBezTo>
                      <a:cubicBezTo>
                        <a:pt x="1974" y="23354"/>
                        <a:pt x="-1639" y="16005"/>
                        <a:pt x="728" y="90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8" name="Graphic 2987">
                <a:extLst>
                  <a:ext uri="{FF2B5EF4-FFF2-40B4-BE49-F238E27FC236}">
                    <a16:creationId xmlns:a16="http://schemas.microsoft.com/office/drawing/2014/main" id="{20555D1A-0289-384D-2608-53FF96939334}"/>
                  </a:ext>
                </a:extLst>
              </p:cNvPr>
              <p:cNvGrpSpPr/>
              <p:nvPr/>
            </p:nvGrpSpPr>
            <p:grpSpPr>
              <a:xfrm>
                <a:off x="10875572" y="5927667"/>
                <a:ext cx="67731" cy="141894"/>
                <a:chOff x="10875572" y="5927667"/>
                <a:chExt cx="67731" cy="141894"/>
              </a:xfrm>
              <a:grpFill/>
            </p:grpSpPr>
            <p:sp>
              <p:nvSpPr>
                <p:cNvPr id="3971" name="Freeform 5644">
                  <a:extLst>
                    <a:ext uri="{FF2B5EF4-FFF2-40B4-BE49-F238E27FC236}">
                      <a16:creationId xmlns:a16="http://schemas.microsoft.com/office/drawing/2014/main" id="{1CA24606-8206-6936-208A-53BE35DFE3BA}"/>
                    </a:ext>
                  </a:extLst>
                </p:cNvPr>
                <p:cNvSpPr/>
                <p:nvPr/>
              </p:nvSpPr>
              <p:spPr>
                <a:xfrm>
                  <a:off x="10905896" y="5946458"/>
                  <a:ext cx="18185" cy="48951"/>
                </a:xfrm>
                <a:custGeom>
                  <a:avLst/>
                  <a:gdLst>
                    <a:gd name="connsiteX0" fmla="*/ 18186 w 18185"/>
                    <a:gd name="connsiteY0" fmla="*/ 0 h 48951"/>
                    <a:gd name="connsiteX1" fmla="*/ 9964 w 18185"/>
                    <a:gd name="connsiteY1" fmla="*/ 16940 h 48951"/>
                    <a:gd name="connsiteX2" fmla="*/ 7473 w 18185"/>
                    <a:gd name="connsiteY2" fmla="*/ 34253 h 48951"/>
                    <a:gd name="connsiteX3" fmla="*/ 0 w 18185"/>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185" h="48951">
                      <a:moveTo>
                        <a:pt x="18186" y="0"/>
                      </a:moveTo>
                      <a:cubicBezTo>
                        <a:pt x="13078" y="6726"/>
                        <a:pt x="10961" y="12705"/>
                        <a:pt x="9964" y="16940"/>
                      </a:cubicBezTo>
                      <a:cubicBezTo>
                        <a:pt x="8345" y="23790"/>
                        <a:pt x="9342" y="27402"/>
                        <a:pt x="7473" y="34253"/>
                      </a:cubicBezTo>
                      <a:cubicBezTo>
                        <a:pt x="5605" y="40855"/>
                        <a:pt x="2367"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2" name="Freeform 5645">
                  <a:extLst>
                    <a:ext uri="{FF2B5EF4-FFF2-40B4-BE49-F238E27FC236}">
                      <a16:creationId xmlns:a16="http://schemas.microsoft.com/office/drawing/2014/main" id="{A7769957-77C7-70E0-B470-1E548CE696EF}"/>
                    </a:ext>
                  </a:extLst>
                </p:cNvPr>
                <p:cNvSpPr/>
                <p:nvPr/>
              </p:nvSpPr>
              <p:spPr>
                <a:xfrm>
                  <a:off x="10915487" y="5943966"/>
                  <a:ext cx="16939" cy="49449"/>
                </a:xfrm>
                <a:custGeom>
                  <a:avLst/>
                  <a:gdLst>
                    <a:gd name="connsiteX0" fmla="*/ 0 w 16939"/>
                    <a:gd name="connsiteY0" fmla="*/ 49449 h 49449"/>
                    <a:gd name="connsiteX1" fmla="*/ 4484 w 16939"/>
                    <a:gd name="connsiteY1" fmla="*/ 31139 h 49449"/>
                    <a:gd name="connsiteX2" fmla="*/ 13452 w 16939"/>
                    <a:gd name="connsiteY2" fmla="*/ 16192 h 49449"/>
                    <a:gd name="connsiteX3" fmla="*/ 1694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0" y="49449"/>
                      </a:moveTo>
                      <a:cubicBezTo>
                        <a:pt x="373" y="40980"/>
                        <a:pt x="2491" y="35125"/>
                        <a:pt x="4484" y="31139"/>
                      </a:cubicBezTo>
                      <a:cubicBezTo>
                        <a:pt x="7598" y="24912"/>
                        <a:pt x="10587" y="22670"/>
                        <a:pt x="13452" y="16192"/>
                      </a:cubicBezTo>
                      <a:cubicBezTo>
                        <a:pt x="16192" y="9840"/>
                        <a:pt x="16815" y="3986"/>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3" name="Freeform 5646">
                  <a:extLst>
                    <a:ext uri="{FF2B5EF4-FFF2-40B4-BE49-F238E27FC236}">
                      <a16:creationId xmlns:a16="http://schemas.microsoft.com/office/drawing/2014/main" id="{E67E8683-FB90-B786-2428-88EC2D9125F4}"/>
                    </a:ext>
                  </a:extLst>
                </p:cNvPr>
                <p:cNvSpPr/>
                <p:nvPr/>
              </p:nvSpPr>
              <p:spPr>
                <a:xfrm>
                  <a:off x="10916568" y="5927667"/>
                  <a:ext cx="26736" cy="26619"/>
                </a:xfrm>
                <a:custGeom>
                  <a:avLst/>
                  <a:gdLst>
                    <a:gd name="connsiteX0" fmla="*/ 25949 w 26736"/>
                    <a:gd name="connsiteY0" fmla="*/ 17918 h 26619"/>
                    <a:gd name="connsiteX1" fmla="*/ 8884 w 26736"/>
                    <a:gd name="connsiteY1" fmla="*/ 25766 h 26619"/>
                    <a:gd name="connsiteX2" fmla="*/ 788 w 26736"/>
                    <a:gd name="connsiteY2" fmla="*/ 8701 h 26619"/>
                    <a:gd name="connsiteX3" fmla="*/ 17852 w 26736"/>
                    <a:gd name="connsiteY3" fmla="*/ 854 h 26619"/>
                    <a:gd name="connsiteX4" fmla="*/ 25949 w 26736"/>
                    <a:gd name="connsiteY4" fmla="*/ 17918 h 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19">
                      <a:moveTo>
                        <a:pt x="25949" y="17918"/>
                      </a:moveTo>
                      <a:cubicBezTo>
                        <a:pt x="23457" y="24769"/>
                        <a:pt x="15859" y="28381"/>
                        <a:pt x="8884" y="25766"/>
                      </a:cubicBezTo>
                      <a:cubicBezTo>
                        <a:pt x="1909" y="23150"/>
                        <a:pt x="-1704" y="15552"/>
                        <a:pt x="788" y="8701"/>
                      </a:cubicBezTo>
                      <a:cubicBezTo>
                        <a:pt x="3279" y="1850"/>
                        <a:pt x="10877" y="-1762"/>
                        <a:pt x="17852" y="854"/>
                      </a:cubicBezTo>
                      <a:cubicBezTo>
                        <a:pt x="24827" y="3470"/>
                        <a:pt x="28440" y="11068"/>
                        <a:pt x="25949" y="179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4" name="Freeform 5647">
                  <a:extLst>
                    <a:ext uri="{FF2B5EF4-FFF2-40B4-BE49-F238E27FC236}">
                      <a16:creationId xmlns:a16="http://schemas.microsoft.com/office/drawing/2014/main" id="{32F806B6-C7BF-A2DF-2286-C8D873E20026}"/>
                    </a:ext>
                  </a:extLst>
                </p:cNvPr>
                <p:cNvSpPr/>
                <p:nvPr/>
              </p:nvSpPr>
              <p:spPr>
                <a:xfrm>
                  <a:off x="10894437" y="6002010"/>
                  <a:ext cx="18434" cy="48826"/>
                </a:xfrm>
                <a:custGeom>
                  <a:avLst/>
                  <a:gdLst>
                    <a:gd name="connsiteX0" fmla="*/ 0 w 18434"/>
                    <a:gd name="connsiteY0" fmla="*/ 48826 h 48826"/>
                    <a:gd name="connsiteX1" fmla="*/ 8220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6"/>
                      </a:moveTo>
                      <a:cubicBezTo>
                        <a:pt x="4982" y="42101"/>
                        <a:pt x="7099" y="36122"/>
                        <a:pt x="8220" y="31887"/>
                      </a:cubicBezTo>
                      <a:cubicBezTo>
                        <a:pt x="9840" y="25036"/>
                        <a:pt x="8843" y="21549"/>
                        <a:pt x="10836" y="14698"/>
                      </a:cubicBezTo>
                      <a:cubicBezTo>
                        <a:pt x="12704"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5" name="Freeform 5648">
                  <a:extLst>
                    <a:ext uri="{FF2B5EF4-FFF2-40B4-BE49-F238E27FC236}">
                      <a16:creationId xmlns:a16="http://schemas.microsoft.com/office/drawing/2014/main" id="{83D1F719-B7BD-853B-B991-4A59B85603FA}"/>
                    </a:ext>
                  </a:extLst>
                </p:cNvPr>
                <p:cNvSpPr/>
                <p:nvPr/>
              </p:nvSpPr>
              <p:spPr>
                <a:xfrm>
                  <a:off x="10886091" y="6003879"/>
                  <a:ext cx="16940" cy="49449"/>
                </a:xfrm>
                <a:custGeom>
                  <a:avLst/>
                  <a:gdLst>
                    <a:gd name="connsiteX0" fmla="*/ 16940 w 16940"/>
                    <a:gd name="connsiteY0" fmla="*/ 0 h 49449"/>
                    <a:gd name="connsiteX1" fmla="*/ 12456 w 16940"/>
                    <a:gd name="connsiteY1" fmla="*/ 18310 h 49449"/>
                    <a:gd name="connsiteX2" fmla="*/ 3488 w 16940"/>
                    <a:gd name="connsiteY2" fmla="*/ 33257 h 49449"/>
                    <a:gd name="connsiteX3" fmla="*/ 0 w 169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940" h="49449">
                      <a:moveTo>
                        <a:pt x="16940" y="0"/>
                      </a:moveTo>
                      <a:cubicBezTo>
                        <a:pt x="16566" y="8470"/>
                        <a:pt x="14449" y="14324"/>
                        <a:pt x="12456" y="18310"/>
                      </a:cubicBezTo>
                      <a:cubicBezTo>
                        <a:pt x="9342" y="24538"/>
                        <a:pt x="6353" y="26780"/>
                        <a:pt x="3488" y="33257"/>
                      </a:cubicBezTo>
                      <a:cubicBezTo>
                        <a:pt x="747" y="39609"/>
                        <a:pt x="125"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6" name="Freeform 5649">
                  <a:extLst>
                    <a:ext uri="{FF2B5EF4-FFF2-40B4-BE49-F238E27FC236}">
                      <a16:creationId xmlns:a16="http://schemas.microsoft.com/office/drawing/2014/main" id="{30A2383D-B429-A925-5CA3-CCFB3E8088C1}"/>
                    </a:ext>
                  </a:extLst>
                </p:cNvPr>
                <p:cNvSpPr/>
                <p:nvPr/>
              </p:nvSpPr>
              <p:spPr>
                <a:xfrm>
                  <a:off x="10875572" y="6043073"/>
                  <a:ext cx="26145" cy="26489"/>
                </a:xfrm>
                <a:custGeom>
                  <a:avLst/>
                  <a:gdLst>
                    <a:gd name="connsiteX0" fmla="*/ 804 w 26145"/>
                    <a:gd name="connsiteY0" fmla="*/ 8761 h 26489"/>
                    <a:gd name="connsiteX1" fmla="*/ 17494 w 26145"/>
                    <a:gd name="connsiteY1" fmla="*/ 789 h 26489"/>
                    <a:gd name="connsiteX2" fmla="*/ 25341 w 26145"/>
                    <a:gd name="connsiteY2" fmla="*/ 17729 h 26489"/>
                    <a:gd name="connsiteX3" fmla="*/ 8651 w 26145"/>
                    <a:gd name="connsiteY3" fmla="*/ 25700 h 26489"/>
                    <a:gd name="connsiteX4" fmla="*/ 804 w 26145"/>
                    <a:gd name="connsiteY4" fmla="*/ 8761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5" h="26488">
                      <a:moveTo>
                        <a:pt x="804" y="8761"/>
                      </a:moveTo>
                      <a:cubicBezTo>
                        <a:pt x="3295" y="1910"/>
                        <a:pt x="10768" y="-1702"/>
                        <a:pt x="17494" y="789"/>
                      </a:cubicBezTo>
                      <a:cubicBezTo>
                        <a:pt x="24346" y="3280"/>
                        <a:pt x="27833" y="10878"/>
                        <a:pt x="25341" y="17729"/>
                      </a:cubicBezTo>
                      <a:cubicBezTo>
                        <a:pt x="22850" y="24579"/>
                        <a:pt x="15377" y="28192"/>
                        <a:pt x="8651" y="25700"/>
                      </a:cubicBezTo>
                      <a:cubicBezTo>
                        <a:pt x="1801" y="23209"/>
                        <a:pt x="-1687" y="15611"/>
                        <a:pt x="804"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9" name="Graphic 2987">
                <a:extLst>
                  <a:ext uri="{FF2B5EF4-FFF2-40B4-BE49-F238E27FC236}">
                    <a16:creationId xmlns:a16="http://schemas.microsoft.com/office/drawing/2014/main" id="{895B9373-EBCE-60AB-44BE-B5938DF3C3AB}"/>
                  </a:ext>
                </a:extLst>
              </p:cNvPr>
              <p:cNvGrpSpPr/>
              <p:nvPr/>
            </p:nvGrpSpPr>
            <p:grpSpPr>
              <a:xfrm>
                <a:off x="10902974" y="5937881"/>
                <a:ext cx="68604" cy="141645"/>
                <a:chOff x="10902974" y="5937881"/>
                <a:chExt cx="68604" cy="141645"/>
              </a:xfrm>
              <a:grpFill/>
            </p:grpSpPr>
            <p:sp>
              <p:nvSpPr>
                <p:cNvPr id="3965" name="Freeform 5651">
                  <a:extLst>
                    <a:ext uri="{FF2B5EF4-FFF2-40B4-BE49-F238E27FC236}">
                      <a16:creationId xmlns:a16="http://schemas.microsoft.com/office/drawing/2014/main" id="{858EF662-7126-EE62-CFAE-9925A8537A9D}"/>
                    </a:ext>
                  </a:extLst>
                </p:cNvPr>
                <p:cNvSpPr/>
                <p:nvPr/>
              </p:nvSpPr>
              <p:spPr>
                <a:xfrm>
                  <a:off x="10933797" y="5956671"/>
                  <a:ext cx="18434" cy="48702"/>
                </a:xfrm>
                <a:custGeom>
                  <a:avLst/>
                  <a:gdLst>
                    <a:gd name="connsiteX0" fmla="*/ 18434 w 18434"/>
                    <a:gd name="connsiteY0" fmla="*/ 0 h 48702"/>
                    <a:gd name="connsiteX1" fmla="*/ 10214 w 18434"/>
                    <a:gd name="connsiteY1" fmla="*/ 16940 h 48702"/>
                    <a:gd name="connsiteX2" fmla="*/ 7598 w 18434"/>
                    <a:gd name="connsiteY2" fmla="*/ 34129 h 48702"/>
                    <a:gd name="connsiteX3" fmla="*/ 0 w 18434"/>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434" h="48702">
                      <a:moveTo>
                        <a:pt x="18434" y="0"/>
                      </a:moveTo>
                      <a:cubicBezTo>
                        <a:pt x="13328" y="6726"/>
                        <a:pt x="11210" y="12705"/>
                        <a:pt x="10214" y="16940"/>
                      </a:cubicBezTo>
                      <a:cubicBezTo>
                        <a:pt x="8595" y="23791"/>
                        <a:pt x="9591" y="27278"/>
                        <a:pt x="7598" y="34129"/>
                      </a:cubicBezTo>
                      <a:cubicBezTo>
                        <a:pt x="5730" y="40731"/>
                        <a:pt x="2367" y="45713"/>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6" name="Freeform 5652">
                  <a:extLst>
                    <a:ext uri="{FF2B5EF4-FFF2-40B4-BE49-F238E27FC236}">
                      <a16:creationId xmlns:a16="http://schemas.microsoft.com/office/drawing/2014/main" id="{65F770D7-EF37-34E8-E7C6-C84EF9C268BA}"/>
                    </a:ext>
                  </a:extLst>
                </p:cNvPr>
                <p:cNvSpPr/>
                <p:nvPr/>
              </p:nvSpPr>
              <p:spPr>
                <a:xfrm>
                  <a:off x="10943388" y="5954554"/>
                  <a:ext cx="17312" cy="49075"/>
                </a:xfrm>
                <a:custGeom>
                  <a:avLst/>
                  <a:gdLst>
                    <a:gd name="connsiteX0" fmla="*/ 0 w 17312"/>
                    <a:gd name="connsiteY0" fmla="*/ 49076 h 49075"/>
                    <a:gd name="connsiteX1" fmla="*/ 4609 w 17312"/>
                    <a:gd name="connsiteY1" fmla="*/ 30890 h 49075"/>
                    <a:gd name="connsiteX2" fmla="*/ 13701 w 17312"/>
                    <a:gd name="connsiteY2" fmla="*/ 16068 h 49075"/>
                    <a:gd name="connsiteX3" fmla="*/ 17313 w 17312"/>
                    <a:gd name="connsiteY3" fmla="*/ 0 h 49075"/>
                  </a:gdLst>
                  <a:ahLst/>
                  <a:cxnLst>
                    <a:cxn ang="0">
                      <a:pos x="connsiteX0" y="connsiteY0"/>
                    </a:cxn>
                    <a:cxn ang="0">
                      <a:pos x="connsiteX1" y="connsiteY1"/>
                    </a:cxn>
                    <a:cxn ang="0">
                      <a:pos x="connsiteX2" y="connsiteY2"/>
                    </a:cxn>
                    <a:cxn ang="0">
                      <a:pos x="connsiteX3" y="connsiteY3"/>
                    </a:cxn>
                  </a:cxnLst>
                  <a:rect l="l" t="t" r="r" b="b"/>
                  <a:pathLst>
                    <a:path w="17312" h="49075">
                      <a:moveTo>
                        <a:pt x="0" y="49076"/>
                      </a:moveTo>
                      <a:cubicBezTo>
                        <a:pt x="498" y="40730"/>
                        <a:pt x="2615" y="34752"/>
                        <a:pt x="4609" y="30890"/>
                      </a:cubicBezTo>
                      <a:cubicBezTo>
                        <a:pt x="7723" y="24662"/>
                        <a:pt x="10836" y="22545"/>
                        <a:pt x="13701" y="16068"/>
                      </a:cubicBezTo>
                      <a:cubicBezTo>
                        <a:pt x="16566" y="9715"/>
                        <a:pt x="17189" y="3861"/>
                        <a:pt x="173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7" name="Freeform 5653">
                  <a:extLst>
                    <a:ext uri="{FF2B5EF4-FFF2-40B4-BE49-F238E27FC236}">
                      <a16:creationId xmlns:a16="http://schemas.microsoft.com/office/drawing/2014/main" id="{5379E1CF-9C26-D92F-EB91-37B6025557F7}"/>
                    </a:ext>
                  </a:extLst>
                </p:cNvPr>
                <p:cNvSpPr/>
                <p:nvPr/>
              </p:nvSpPr>
              <p:spPr>
                <a:xfrm>
                  <a:off x="10944718" y="5937881"/>
                  <a:ext cx="26860" cy="26569"/>
                </a:xfrm>
                <a:custGeom>
                  <a:avLst/>
                  <a:gdLst>
                    <a:gd name="connsiteX0" fmla="*/ 26073 w 26860"/>
                    <a:gd name="connsiteY0" fmla="*/ 17919 h 26569"/>
                    <a:gd name="connsiteX1" fmla="*/ 8884 w 26860"/>
                    <a:gd name="connsiteY1" fmla="*/ 25765 h 26569"/>
                    <a:gd name="connsiteX2" fmla="*/ 788 w 26860"/>
                    <a:gd name="connsiteY2" fmla="*/ 8701 h 26569"/>
                    <a:gd name="connsiteX3" fmla="*/ 17977 w 26860"/>
                    <a:gd name="connsiteY3" fmla="*/ 854 h 26569"/>
                    <a:gd name="connsiteX4" fmla="*/ 26073 w 26860"/>
                    <a:gd name="connsiteY4" fmla="*/ 17919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569">
                      <a:moveTo>
                        <a:pt x="26073" y="17919"/>
                      </a:moveTo>
                      <a:cubicBezTo>
                        <a:pt x="23582" y="24769"/>
                        <a:pt x="15859" y="28257"/>
                        <a:pt x="8884" y="25765"/>
                      </a:cubicBezTo>
                      <a:cubicBezTo>
                        <a:pt x="1909" y="23275"/>
                        <a:pt x="-1704" y="15676"/>
                        <a:pt x="788" y="8701"/>
                      </a:cubicBezTo>
                      <a:cubicBezTo>
                        <a:pt x="3279" y="1851"/>
                        <a:pt x="11001" y="-1762"/>
                        <a:pt x="17977" y="854"/>
                      </a:cubicBezTo>
                      <a:cubicBezTo>
                        <a:pt x="24952" y="3470"/>
                        <a:pt x="28564" y="11068"/>
                        <a:pt x="26073" y="17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8" name="Freeform 5654">
                  <a:extLst>
                    <a:ext uri="{FF2B5EF4-FFF2-40B4-BE49-F238E27FC236}">
                      <a16:creationId xmlns:a16="http://schemas.microsoft.com/office/drawing/2014/main" id="{2B031F1A-00FB-53B8-76B4-0E7E86FCFD8B}"/>
                    </a:ext>
                  </a:extLst>
                </p:cNvPr>
                <p:cNvSpPr/>
                <p:nvPr/>
              </p:nvSpPr>
              <p:spPr>
                <a:xfrm>
                  <a:off x="10921839" y="6012099"/>
                  <a:ext cx="18559" cy="48702"/>
                </a:xfrm>
                <a:custGeom>
                  <a:avLst/>
                  <a:gdLst>
                    <a:gd name="connsiteX0" fmla="*/ 0 w 18559"/>
                    <a:gd name="connsiteY0" fmla="*/ 48702 h 48702"/>
                    <a:gd name="connsiteX1" fmla="*/ 8221 w 18559"/>
                    <a:gd name="connsiteY1" fmla="*/ 31762 h 48702"/>
                    <a:gd name="connsiteX2" fmla="*/ 10961 w 18559"/>
                    <a:gd name="connsiteY2" fmla="*/ 14573 h 48702"/>
                    <a:gd name="connsiteX3" fmla="*/ 18560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5107" y="41976"/>
                        <a:pt x="7225" y="35997"/>
                        <a:pt x="8221" y="31762"/>
                      </a:cubicBezTo>
                      <a:cubicBezTo>
                        <a:pt x="9841" y="24912"/>
                        <a:pt x="8969" y="21424"/>
                        <a:pt x="10961" y="14573"/>
                      </a:cubicBezTo>
                      <a:cubicBezTo>
                        <a:pt x="12830" y="7971"/>
                        <a:pt x="16193" y="2989"/>
                        <a:pt x="185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9" name="Freeform 5655">
                  <a:extLst>
                    <a:ext uri="{FF2B5EF4-FFF2-40B4-BE49-F238E27FC236}">
                      <a16:creationId xmlns:a16="http://schemas.microsoft.com/office/drawing/2014/main" id="{60E0A405-CAA2-CA53-77F8-DBDEFD7AD6B7}"/>
                    </a:ext>
                  </a:extLst>
                </p:cNvPr>
                <p:cNvSpPr/>
                <p:nvPr/>
              </p:nvSpPr>
              <p:spPr>
                <a:xfrm>
                  <a:off x="10913494" y="6013968"/>
                  <a:ext cx="17313" cy="49200"/>
                </a:xfrm>
                <a:custGeom>
                  <a:avLst/>
                  <a:gdLst>
                    <a:gd name="connsiteX0" fmla="*/ 17314 w 17313"/>
                    <a:gd name="connsiteY0" fmla="*/ 0 h 49200"/>
                    <a:gd name="connsiteX1" fmla="*/ 12705 w 17313"/>
                    <a:gd name="connsiteY1" fmla="*/ 18185 h 49200"/>
                    <a:gd name="connsiteX2" fmla="*/ 3612 w 17313"/>
                    <a:gd name="connsiteY2" fmla="*/ 33132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6940" y="8346"/>
                        <a:pt x="14698" y="14324"/>
                        <a:pt x="12705" y="18185"/>
                      </a:cubicBezTo>
                      <a:cubicBezTo>
                        <a:pt x="9591" y="24413"/>
                        <a:pt x="6602" y="26656"/>
                        <a:pt x="3612" y="33132"/>
                      </a:cubicBezTo>
                      <a:cubicBezTo>
                        <a:pt x="747" y="39485"/>
                        <a:pt x="125"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0" name="Freeform 5656">
                  <a:extLst>
                    <a:ext uri="{FF2B5EF4-FFF2-40B4-BE49-F238E27FC236}">
                      <a16:creationId xmlns:a16="http://schemas.microsoft.com/office/drawing/2014/main" id="{84CE184F-8E89-BA5C-C928-7887AD9DE0A4}"/>
                    </a:ext>
                  </a:extLst>
                </p:cNvPr>
                <p:cNvSpPr/>
                <p:nvPr/>
              </p:nvSpPr>
              <p:spPr>
                <a:xfrm>
                  <a:off x="10902974" y="6053037"/>
                  <a:ext cx="26162" cy="26489"/>
                </a:xfrm>
                <a:custGeom>
                  <a:avLst/>
                  <a:gdLst>
                    <a:gd name="connsiteX0" fmla="*/ 805 w 26162"/>
                    <a:gd name="connsiteY0" fmla="*/ 8760 h 26489"/>
                    <a:gd name="connsiteX1" fmla="*/ 17620 w 26162"/>
                    <a:gd name="connsiteY1" fmla="*/ 789 h 26489"/>
                    <a:gd name="connsiteX2" fmla="*/ 25343 w 26162"/>
                    <a:gd name="connsiteY2" fmla="*/ 17729 h 26489"/>
                    <a:gd name="connsiteX3" fmla="*/ 8528 w 26162"/>
                    <a:gd name="connsiteY3" fmla="*/ 25700 h 26489"/>
                    <a:gd name="connsiteX4" fmla="*/ 805 w 26162"/>
                    <a:gd name="connsiteY4" fmla="*/ 8760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88">
                      <a:moveTo>
                        <a:pt x="805" y="8760"/>
                      </a:moveTo>
                      <a:cubicBezTo>
                        <a:pt x="3296" y="1910"/>
                        <a:pt x="10770" y="-1702"/>
                        <a:pt x="17620" y="789"/>
                      </a:cubicBezTo>
                      <a:cubicBezTo>
                        <a:pt x="24471" y="3280"/>
                        <a:pt x="27834" y="10878"/>
                        <a:pt x="25343" y="17729"/>
                      </a:cubicBezTo>
                      <a:cubicBezTo>
                        <a:pt x="22852" y="24580"/>
                        <a:pt x="15254" y="28191"/>
                        <a:pt x="8528" y="25700"/>
                      </a:cubicBezTo>
                      <a:cubicBezTo>
                        <a:pt x="1801" y="23209"/>
                        <a:pt x="-1686" y="15611"/>
                        <a:pt x="805" y="87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0" name="Graphic 2987">
                <a:extLst>
                  <a:ext uri="{FF2B5EF4-FFF2-40B4-BE49-F238E27FC236}">
                    <a16:creationId xmlns:a16="http://schemas.microsoft.com/office/drawing/2014/main" id="{45EDDE57-CA26-9A05-CC7B-BDEB151FE280}"/>
                  </a:ext>
                </a:extLst>
              </p:cNvPr>
              <p:cNvGrpSpPr/>
              <p:nvPr/>
            </p:nvGrpSpPr>
            <p:grpSpPr>
              <a:xfrm>
                <a:off x="10930360" y="5948394"/>
                <a:ext cx="69432" cy="140972"/>
                <a:chOff x="10930360" y="5948394"/>
                <a:chExt cx="69432" cy="140972"/>
              </a:xfrm>
              <a:grpFill/>
            </p:grpSpPr>
            <p:sp>
              <p:nvSpPr>
                <p:cNvPr id="3959" name="Freeform 5658">
                  <a:extLst>
                    <a:ext uri="{FF2B5EF4-FFF2-40B4-BE49-F238E27FC236}">
                      <a16:creationId xmlns:a16="http://schemas.microsoft.com/office/drawing/2014/main" id="{614ACC59-13B0-B799-3B75-FB194C72AE98}"/>
                    </a:ext>
                  </a:extLst>
                </p:cNvPr>
                <p:cNvSpPr/>
                <p:nvPr/>
              </p:nvSpPr>
              <p:spPr>
                <a:xfrm>
                  <a:off x="10961573" y="5966885"/>
                  <a:ext cx="18808" cy="48577"/>
                </a:xfrm>
                <a:custGeom>
                  <a:avLst/>
                  <a:gdLst>
                    <a:gd name="connsiteX0" fmla="*/ 18808 w 18808"/>
                    <a:gd name="connsiteY0" fmla="*/ 0 h 48577"/>
                    <a:gd name="connsiteX1" fmla="*/ 10463 w 18808"/>
                    <a:gd name="connsiteY1" fmla="*/ 16815 h 48577"/>
                    <a:gd name="connsiteX2" fmla="*/ 7723 w 18808"/>
                    <a:gd name="connsiteY2" fmla="*/ 3400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3702" y="6726"/>
                        <a:pt x="11460" y="12580"/>
                        <a:pt x="10463" y="16815"/>
                      </a:cubicBezTo>
                      <a:cubicBezTo>
                        <a:pt x="8719" y="23666"/>
                        <a:pt x="9716" y="27153"/>
                        <a:pt x="7723" y="34004"/>
                      </a:cubicBezTo>
                      <a:cubicBezTo>
                        <a:pt x="5730" y="40606"/>
                        <a:pt x="2491" y="45463"/>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0" name="Freeform 5659">
                  <a:extLst>
                    <a:ext uri="{FF2B5EF4-FFF2-40B4-BE49-F238E27FC236}">
                      <a16:creationId xmlns:a16="http://schemas.microsoft.com/office/drawing/2014/main" id="{3DADB84C-0155-ABB1-45C3-5B129610E707}"/>
                    </a:ext>
                  </a:extLst>
                </p:cNvPr>
                <p:cNvSpPr/>
                <p:nvPr/>
              </p:nvSpPr>
              <p:spPr>
                <a:xfrm>
                  <a:off x="10971164" y="5964643"/>
                  <a:ext cx="17686" cy="49075"/>
                </a:xfrm>
                <a:custGeom>
                  <a:avLst/>
                  <a:gdLst>
                    <a:gd name="connsiteX0" fmla="*/ 0 w 17686"/>
                    <a:gd name="connsiteY0" fmla="*/ 49076 h 49075"/>
                    <a:gd name="connsiteX1" fmla="*/ 4733 w 17686"/>
                    <a:gd name="connsiteY1" fmla="*/ 30890 h 49075"/>
                    <a:gd name="connsiteX2" fmla="*/ 13950 w 17686"/>
                    <a:gd name="connsiteY2" fmla="*/ 16068 h 49075"/>
                    <a:gd name="connsiteX3" fmla="*/ 17687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0" y="49076"/>
                      </a:moveTo>
                      <a:cubicBezTo>
                        <a:pt x="498" y="40730"/>
                        <a:pt x="2741" y="34752"/>
                        <a:pt x="4733" y="30890"/>
                      </a:cubicBezTo>
                      <a:cubicBezTo>
                        <a:pt x="7847" y="24663"/>
                        <a:pt x="10961" y="22545"/>
                        <a:pt x="13950" y="16068"/>
                      </a:cubicBezTo>
                      <a:cubicBezTo>
                        <a:pt x="16815" y="9840"/>
                        <a:pt x="17562"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1" name="Freeform 5660">
                  <a:extLst>
                    <a:ext uri="{FF2B5EF4-FFF2-40B4-BE49-F238E27FC236}">
                      <a16:creationId xmlns:a16="http://schemas.microsoft.com/office/drawing/2014/main" id="{469EE631-1429-CD51-E97D-9C1F9E138D4F}"/>
                    </a:ext>
                  </a:extLst>
                </p:cNvPr>
                <p:cNvSpPr/>
                <p:nvPr/>
              </p:nvSpPr>
              <p:spPr>
                <a:xfrm>
                  <a:off x="10972853" y="5948394"/>
                  <a:ext cx="26940" cy="26394"/>
                </a:xfrm>
                <a:custGeom>
                  <a:avLst/>
                  <a:gdLst>
                    <a:gd name="connsiteX0" fmla="*/ 26087 w 26940"/>
                    <a:gd name="connsiteY0" fmla="*/ 17744 h 26394"/>
                    <a:gd name="connsiteX1" fmla="*/ 8775 w 26940"/>
                    <a:gd name="connsiteY1" fmla="*/ 25591 h 26394"/>
                    <a:gd name="connsiteX2" fmla="*/ 803 w 26940"/>
                    <a:gd name="connsiteY2" fmla="*/ 8651 h 26394"/>
                    <a:gd name="connsiteX3" fmla="*/ 18116 w 26940"/>
                    <a:gd name="connsiteY3" fmla="*/ 804 h 26394"/>
                    <a:gd name="connsiteX4" fmla="*/ 26087 w 26940"/>
                    <a:gd name="connsiteY4" fmla="*/ 17744 h 2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0" h="26394">
                      <a:moveTo>
                        <a:pt x="26087" y="17744"/>
                      </a:moveTo>
                      <a:cubicBezTo>
                        <a:pt x="23472" y="24594"/>
                        <a:pt x="15750" y="28082"/>
                        <a:pt x="8775" y="25591"/>
                      </a:cubicBezTo>
                      <a:cubicBezTo>
                        <a:pt x="1799" y="23100"/>
                        <a:pt x="-1689" y="15502"/>
                        <a:pt x="803" y="8651"/>
                      </a:cubicBezTo>
                      <a:cubicBezTo>
                        <a:pt x="3294" y="1800"/>
                        <a:pt x="11016" y="-1687"/>
                        <a:pt x="18116" y="804"/>
                      </a:cubicBezTo>
                      <a:cubicBezTo>
                        <a:pt x="25092" y="3295"/>
                        <a:pt x="28703" y="10893"/>
                        <a:pt x="26087" y="177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2" name="Freeform 5661">
                  <a:extLst>
                    <a:ext uri="{FF2B5EF4-FFF2-40B4-BE49-F238E27FC236}">
                      <a16:creationId xmlns:a16="http://schemas.microsoft.com/office/drawing/2014/main" id="{96146421-1F4C-5891-05AE-59E3628C8203}"/>
                    </a:ext>
                  </a:extLst>
                </p:cNvPr>
                <p:cNvSpPr/>
                <p:nvPr/>
              </p:nvSpPr>
              <p:spPr>
                <a:xfrm>
                  <a:off x="10949367" y="6022189"/>
                  <a:ext cx="18933" cy="48577"/>
                </a:xfrm>
                <a:custGeom>
                  <a:avLst/>
                  <a:gdLst>
                    <a:gd name="connsiteX0" fmla="*/ 0 w 18933"/>
                    <a:gd name="connsiteY0" fmla="*/ 48577 h 48577"/>
                    <a:gd name="connsiteX1" fmla="*/ 8345 w 18933"/>
                    <a:gd name="connsiteY1" fmla="*/ 31762 h 48577"/>
                    <a:gd name="connsiteX2" fmla="*/ 11210 w 18933"/>
                    <a:gd name="connsiteY2" fmla="*/ 14573 h 48577"/>
                    <a:gd name="connsiteX3" fmla="*/ 18933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0" y="48577"/>
                      </a:moveTo>
                      <a:cubicBezTo>
                        <a:pt x="5107" y="41852"/>
                        <a:pt x="7349" y="35997"/>
                        <a:pt x="8345" y="31762"/>
                      </a:cubicBezTo>
                      <a:cubicBezTo>
                        <a:pt x="10089" y="25036"/>
                        <a:pt x="9092" y="21424"/>
                        <a:pt x="11210" y="14573"/>
                      </a:cubicBezTo>
                      <a:cubicBezTo>
                        <a:pt x="13203" y="7972"/>
                        <a:pt x="16442" y="3114"/>
                        <a:pt x="189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3" name="Freeform 5662">
                  <a:extLst>
                    <a:ext uri="{FF2B5EF4-FFF2-40B4-BE49-F238E27FC236}">
                      <a16:creationId xmlns:a16="http://schemas.microsoft.com/office/drawing/2014/main" id="{DEB79EA2-B8CB-0AF5-9C80-61F4736E360F}"/>
                    </a:ext>
                  </a:extLst>
                </p:cNvPr>
                <p:cNvSpPr/>
                <p:nvPr/>
              </p:nvSpPr>
              <p:spPr>
                <a:xfrm>
                  <a:off x="10941021" y="6024057"/>
                  <a:ext cx="17562" cy="49075"/>
                </a:xfrm>
                <a:custGeom>
                  <a:avLst/>
                  <a:gdLst>
                    <a:gd name="connsiteX0" fmla="*/ 17562 w 17562"/>
                    <a:gd name="connsiteY0" fmla="*/ 0 h 49075"/>
                    <a:gd name="connsiteX1" fmla="*/ 12829 w 17562"/>
                    <a:gd name="connsiteY1" fmla="*/ 18186 h 49075"/>
                    <a:gd name="connsiteX2" fmla="*/ 3737 w 17562"/>
                    <a:gd name="connsiteY2" fmla="*/ 33008 h 49075"/>
                    <a:gd name="connsiteX3" fmla="*/ 0 w 17562"/>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2" h="49075">
                      <a:moveTo>
                        <a:pt x="17562" y="0"/>
                      </a:moveTo>
                      <a:cubicBezTo>
                        <a:pt x="17064" y="8346"/>
                        <a:pt x="14822" y="14324"/>
                        <a:pt x="12829" y="18186"/>
                      </a:cubicBezTo>
                      <a:cubicBezTo>
                        <a:pt x="9715" y="24414"/>
                        <a:pt x="6601" y="26531"/>
                        <a:pt x="3737" y="33008"/>
                      </a:cubicBezTo>
                      <a:cubicBezTo>
                        <a:pt x="872" y="39236"/>
                        <a:pt x="125" y="45090"/>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4" name="Freeform 5663">
                  <a:extLst>
                    <a:ext uri="{FF2B5EF4-FFF2-40B4-BE49-F238E27FC236}">
                      <a16:creationId xmlns:a16="http://schemas.microsoft.com/office/drawing/2014/main" id="{8C5116F4-C2E6-02F6-0501-60CA814E3B02}"/>
                    </a:ext>
                  </a:extLst>
                </p:cNvPr>
                <p:cNvSpPr/>
                <p:nvPr/>
              </p:nvSpPr>
              <p:spPr>
                <a:xfrm>
                  <a:off x="10930360" y="6063002"/>
                  <a:ext cx="26245" cy="26364"/>
                </a:xfrm>
                <a:custGeom>
                  <a:avLst/>
                  <a:gdLst>
                    <a:gd name="connsiteX0" fmla="*/ 821 w 26245"/>
                    <a:gd name="connsiteY0" fmla="*/ 8761 h 26364"/>
                    <a:gd name="connsiteX1" fmla="*/ 17761 w 26245"/>
                    <a:gd name="connsiteY1" fmla="*/ 789 h 26364"/>
                    <a:gd name="connsiteX2" fmla="*/ 25359 w 26245"/>
                    <a:gd name="connsiteY2" fmla="*/ 17604 h 26364"/>
                    <a:gd name="connsiteX3" fmla="*/ 8419 w 26245"/>
                    <a:gd name="connsiteY3" fmla="*/ 25576 h 26364"/>
                    <a:gd name="connsiteX4" fmla="*/ 821 w 26245"/>
                    <a:gd name="connsiteY4" fmla="*/ 8761 h 2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5" h="26363">
                      <a:moveTo>
                        <a:pt x="821" y="8761"/>
                      </a:moveTo>
                      <a:cubicBezTo>
                        <a:pt x="3312" y="1910"/>
                        <a:pt x="10910" y="-1702"/>
                        <a:pt x="17761" y="789"/>
                      </a:cubicBezTo>
                      <a:cubicBezTo>
                        <a:pt x="24612" y="3280"/>
                        <a:pt x="27975" y="10754"/>
                        <a:pt x="25359" y="17604"/>
                      </a:cubicBezTo>
                      <a:cubicBezTo>
                        <a:pt x="22743" y="24455"/>
                        <a:pt x="15145" y="28067"/>
                        <a:pt x="8419" y="25576"/>
                      </a:cubicBezTo>
                      <a:cubicBezTo>
                        <a:pt x="1693" y="23209"/>
                        <a:pt x="-1670" y="15611"/>
                        <a:pt x="821"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1" name="Graphic 2987">
                <a:extLst>
                  <a:ext uri="{FF2B5EF4-FFF2-40B4-BE49-F238E27FC236}">
                    <a16:creationId xmlns:a16="http://schemas.microsoft.com/office/drawing/2014/main" id="{E4674184-F7A9-0CDC-06E3-D0B5F2BA5D9F}"/>
                  </a:ext>
                </a:extLst>
              </p:cNvPr>
              <p:cNvGrpSpPr/>
              <p:nvPr/>
            </p:nvGrpSpPr>
            <p:grpSpPr>
              <a:xfrm>
                <a:off x="10957745" y="5958706"/>
                <a:ext cx="70089" cy="141096"/>
                <a:chOff x="10957745" y="5958706"/>
                <a:chExt cx="70089" cy="141096"/>
              </a:xfrm>
              <a:grpFill/>
            </p:grpSpPr>
            <p:sp>
              <p:nvSpPr>
                <p:cNvPr id="3953" name="Freeform 5665">
                  <a:extLst>
                    <a:ext uri="{FF2B5EF4-FFF2-40B4-BE49-F238E27FC236}">
                      <a16:creationId xmlns:a16="http://schemas.microsoft.com/office/drawing/2014/main" id="{69BEAF52-0F30-F16F-2137-6A78C1262497}"/>
                    </a:ext>
                  </a:extLst>
                </p:cNvPr>
                <p:cNvSpPr/>
                <p:nvPr/>
              </p:nvSpPr>
              <p:spPr>
                <a:xfrm>
                  <a:off x="10989350" y="5977348"/>
                  <a:ext cx="19181" cy="48328"/>
                </a:xfrm>
                <a:custGeom>
                  <a:avLst/>
                  <a:gdLst>
                    <a:gd name="connsiteX0" fmla="*/ 19182 w 19181"/>
                    <a:gd name="connsiteY0" fmla="*/ 0 h 48328"/>
                    <a:gd name="connsiteX1" fmla="*/ 10712 w 19181"/>
                    <a:gd name="connsiteY1" fmla="*/ 16691 h 48328"/>
                    <a:gd name="connsiteX2" fmla="*/ 7847 w 19181"/>
                    <a:gd name="connsiteY2" fmla="*/ 33880 h 48328"/>
                    <a:gd name="connsiteX3" fmla="*/ 0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19182" y="0"/>
                      </a:moveTo>
                      <a:cubicBezTo>
                        <a:pt x="13950" y="6602"/>
                        <a:pt x="11708" y="12580"/>
                        <a:pt x="10712" y="16691"/>
                      </a:cubicBezTo>
                      <a:cubicBezTo>
                        <a:pt x="8968" y="23542"/>
                        <a:pt x="9840" y="27153"/>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4" name="Freeform 5666">
                  <a:extLst>
                    <a:ext uri="{FF2B5EF4-FFF2-40B4-BE49-F238E27FC236}">
                      <a16:creationId xmlns:a16="http://schemas.microsoft.com/office/drawing/2014/main" id="{AEF27493-5BAF-CF95-F1BA-CA12E68B2CE5}"/>
                    </a:ext>
                  </a:extLst>
                </p:cNvPr>
                <p:cNvSpPr/>
                <p:nvPr/>
              </p:nvSpPr>
              <p:spPr>
                <a:xfrm>
                  <a:off x="10998940" y="5975230"/>
                  <a:ext cx="18061" cy="48951"/>
                </a:xfrm>
                <a:custGeom>
                  <a:avLst/>
                  <a:gdLst>
                    <a:gd name="connsiteX0" fmla="*/ 0 w 18061"/>
                    <a:gd name="connsiteY0" fmla="*/ 48951 h 48951"/>
                    <a:gd name="connsiteX1" fmla="*/ 4858 w 18061"/>
                    <a:gd name="connsiteY1" fmla="*/ 30766 h 48951"/>
                    <a:gd name="connsiteX2" fmla="*/ 14200 w 18061"/>
                    <a:gd name="connsiteY2" fmla="*/ 1606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623" y="40481"/>
                        <a:pt x="2865" y="34627"/>
                        <a:pt x="4858" y="30766"/>
                      </a:cubicBezTo>
                      <a:cubicBezTo>
                        <a:pt x="8097" y="24538"/>
                        <a:pt x="11210" y="22545"/>
                        <a:pt x="14200" y="16068"/>
                      </a:cubicBezTo>
                      <a:cubicBezTo>
                        <a:pt x="17189" y="9840"/>
                        <a:pt x="17812"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5" name="Freeform 5667">
                  <a:extLst>
                    <a:ext uri="{FF2B5EF4-FFF2-40B4-BE49-F238E27FC236}">
                      <a16:creationId xmlns:a16="http://schemas.microsoft.com/office/drawing/2014/main" id="{C5A84812-8C9B-D71A-EE08-E269D0585B6B}"/>
                    </a:ext>
                  </a:extLst>
                </p:cNvPr>
                <p:cNvSpPr/>
                <p:nvPr/>
              </p:nvSpPr>
              <p:spPr>
                <a:xfrm>
                  <a:off x="11001126" y="5958706"/>
                  <a:ext cx="26708" cy="26696"/>
                </a:xfrm>
                <a:custGeom>
                  <a:avLst/>
                  <a:gdLst>
                    <a:gd name="connsiteX0" fmla="*/ 25840 w 26708"/>
                    <a:gd name="connsiteY0" fmla="*/ 18268 h 26696"/>
                    <a:gd name="connsiteX1" fmla="*/ 8650 w 26708"/>
                    <a:gd name="connsiteY1" fmla="*/ 25742 h 26696"/>
                    <a:gd name="connsiteX2" fmla="*/ 804 w 26708"/>
                    <a:gd name="connsiteY2" fmla="*/ 8428 h 26696"/>
                    <a:gd name="connsiteX3" fmla="*/ 17992 w 26708"/>
                    <a:gd name="connsiteY3" fmla="*/ 955 h 26696"/>
                    <a:gd name="connsiteX4" fmla="*/ 25840 w 26708"/>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696">
                      <a:moveTo>
                        <a:pt x="25840" y="18268"/>
                      </a:moveTo>
                      <a:cubicBezTo>
                        <a:pt x="23224" y="25119"/>
                        <a:pt x="15502" y="28482"/>
                        <a:pt x="8650" y="25742"/>
                      </a:cubicBezTo>
                      <a:cubicBezTo>
                        <a:pt x="1800" y="23001"/>
                        <a:pt x="-1687" y="15279"/>
                        <a:pt x="804" y="8428"/>
                      </a:cubicBezTo>
                      <a:cubicBezTo>
                        <a:pt x="3419" y="1577"/>
                        <a:pt x="11142" y="-1786"/>
                        <a:pt x="17992" y="955"/>
                      </a:cubicBezTo>
                      <a:cubicBezTo>
                        <a:pt x="24968" y="3695"/>
                        <a:pt x="28455" y="11418"/>
                        <a:pt x="2584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6" name="Freeform 5668">
                  <a:extLst>
                    <a:ext uri="{FF2B5EF4-FFF2-40B4-BE49-F238E27FC236}">
                      <a16:creationId xmlns:a16="http://schemas.microsoft.com/office/drawing/2014/main" id="{8A636070-422D-2964-FFE3-4FFDDE64FA1C}"/>
                    </a:ext>
                  </a:extLst>
                </p:cNvPr>
                <p:cNvSpPr/>
                <p:nvPr/>
              </p:nvSpPr>
              <p:spPr>
                <a:xfrm>
                  <a:off x="10976645" y="6032776"/>
                  <a:ext cx="19306" cy="48328"/>
                </a:xfrm>
                <a:custGeom>
                  <a:avLst/>
                  <a:gdLst>
                    <a:gd name="connsiteX0" fmla="*/ 0 w 19306"/>
                    <a:gd name="connsiteY0" fmla="*/ 48328 h 48328"/>
                    <a:gd name="connsiteX1" fmla="*/ 8470 w 19306"/>
                    <a:gd name="connsiteY1" fmla="*/ 31638 h 48328"/>
                    <a:gd name="connsiteX2" fmla="*/ 11459 w 19306"/>
                    <a:gd name="connsiteY2" fmla="*/ 14449 h 48328"/>
                    <a:gd name="connsiteX3" fmla="*/ 19306 w 19306"/>
                    <a:gd name="connsiteY3" fmla="*/ 0 h 48328"/>
                  </a:gdLst>
                  <a:ahLst/>
                  <a:cxnLst>
                    <a:cxn ang="0">
                      <a:pos x="connsiteX0" y="connsiteY0"/>
                    </a:cxn>
                    <a:cxn ang="0">
                      <a:pos x="connsiteX1" y="connsiteY1"/>
                    </a:cxn>
                    <a:cxn ang="0">
                      <a:pos x="connsiteX2" y="connsiteY2"/>
                    </a:cxn>
                    <a:cxn ang="0">
                      <a:pos x="connsiteX3" y="connsiteY3"/>
                    </a:cxn>
                  </a:cxnLst>
                  <a:rect l="l" t="t" r="r" b="b"/>
                  <a:pathLst>
                    <a:path w="19306" h="48328">
                      <a:moveTo>
                        <a:pt x="0" y="48328"/>
                      </a:moveTo>
                      <a:cubicBezTo>
                        <a:pt x="5107" y="41727"/>
                        <a:pt x="7349" y="35748"/>
                        <a:pt x="8470" y="31638"/>
                      </a:cubicBezTo>
                      <a:cubicBezTo>
                        <a:pt x="10214" y="24912"/>
                        <a:pt x="9342" y="21299"/>
                        <a:pt x="11459" y="14449"/>
                      </a:cubicBezTo>
                      <a:cubicBezTo>
                        <a:pt x="13452" y="7847"/>
                        <a:pt x="16815" y="2989"/>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7" name="Freeform 5669">
                  <a:extLst>
                    <a:ext uri="{FF2B5EF4-FFF2-40B4-BE49-F238E27FC236}">
                      <a16:creationId xmlns:a16="http://schemas.microsoft.com/office/drawing/2014/main" id="{4F4385F1-36F1-4B3B-A67E-182005D3456E}"/>
                    </a:ext>
                  </a:extLst>
                </p:cNvPr>
                <p:cNvSpPr/>
                <p:nvPr/>
              </p:nvSpPr>
              <p:spPr>
                <a:xfrm>
                  <a:off x="10968300" y="6034395"/>
                  <a:ext cx="17936" cy="48951"/>
                </a:xfrm>
                <a:custGeom>
                  <a:avLst/>
                  <a:gdLst>
                    <a:gd name="connsiteX0" fmla="*/ 17936 w 17936"/>
                    <a:gd name="connsiteY0" fmla="*/ 0 h 48951"/>
                    <a:gd name="connsiteX1" fmla="*/ 13078 w 17936"/>
                    <a:gd name="connsiteY1" fmla="*/ 18185 h 48951"/>
                    <a:gd name="connsiteX2" fmla="*/ 3861 w 17936"/>
                    <a:gd name="connsiteY2" fmla="*/ 3288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7438" y="8470"/>
                        <a:pt x="15071" y="14324"/>
                        <a:pt x="13078" y="18185"/>
                      </a:cubicBezTo>
                      <a:cubicBezTo>
                        <a:pt x="9840" y="24413"/>
                        <a:pt x="6851" y="26531"/>
                        <a:pt x="3861"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8" name="Freeform 5670">
                  <a:extLst>
                    <a:ext uri="{FF2B5EF4-FFF2-40B4-BE49-F238E27FC236}">
                      <a16:creationId xmlns:a16="http://schemas.microsoft.com/office/drawing/2014/main" id="{FE75D557-FB93-1C78-993C-F9A6B97151D0}"/>
                    </a:ext>
                  </a:extLst>
                </p:cNvPr>
                <p:cNvSpPr/>
                <p:nvPr/>
              </p:nvSpPr>
              <p:spPr>
                <a:xfrm>
                  <a:off x="10957745" y="6073243"/>
                  <a:ext cx="25959" cy="26559"/>
                </a:xfrm>
                <a:custGeom>
                  <a:avLst/>
                  <a:gdLst>
                    <a:gd name="connsiteX0" fmla="*/ 839 w 25959"/>
                    <a:gd name="connsiteY0" fmla="*/ 8484 h 26559"/>
                    <a:gd name="connsiteX1" fmla="*/ 17654 w 25959"/>
                    <a:gd name="connsiteY1" fmla="*/ 886 h 26559"/>
                    <a:gd name="connsiteX2" fmla="*/ 25003 w 25959"/>
                    <a:gd name="connsiteY2" fmla="*/ 18075 h 26559"/>
                    <a:gd name="connsiteX3" fmla="*/ 8188 w 25959"/>
                    <a:gd name="connsiteY3" fmla="*/ 25673 h 26559"/>
                    <a:gd name="connsiteX4" fmla="*/ 839 w 2595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59" h="26559">
                      <a:moveTo>
                        <a:pt x="839" y="8484"/>
                      </a:moveTo>
                      <a:cubicBezTo>
                        <a:pt x="3454" y="1634"/>
                        <a:pt x="10928" y="-1730"/>
                        <a:pt x="17654" y="886"/>
                      </a:cubicBezTo>
                      <a:cubicBezTo>
                        <a:pt x="24380" y="3502"/>
                        <a:pt x="27743" y="11225"/>
                        <a:pt x="25003" y="18075"/>
                      </a:cubicBezTo>
                      <a:cubicBezTo>
                        <a:pt x="22388" y="24926"/>
                        <a:pt x="14789" y="28289"/>
                        <a:pt x="8188" y="25673"/>
                      </a:cubicBezTo>
                      <a:cubicBezTo>
                        <a:pt x="1586" y="22933"/>
                        <a:pt x="-1653" y="15335"/>
                        <a:pt x="839"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2" name="Graphic 2987">
                <a:extLst>
                  <a:ext uri="{FF2B5EF4-FFF2-40B4-BE49-F238E27FC236}">
                    <a16:creationId xmlns:a16="http://schemas.microsoft.com/office/drawing/2014/main" id="{77D587EC-339F-020C-DB3E-1D5902C5FFF8}"/>
                  </a:ext>
                </a:extLst>
              </p:cNvPr>
              <p:cNvGrpSpPr/>
              <p:nvPr/>
            </p:nvGrpSpPr>
            <p:grpSpPr>
              <a:xfrm>
                <a:off x="10984833" y="5969667"/>
                <a:ext cx="70970" cy="140583"/>
                <a:chOff x="10984833" y="5969667"/>
                <a:chExt cx="70970" cy="140583"/>
              </a:xfrm>
              <a:grpFill/>
            </p:grpSpPr>
            <p:sp>
              <p:nvSpPr>
                <p:cNvPr id="3947" name="Freeform 5672">
                  <a:extLst>
                    <a:ext uri="{FF2B5EF4-FFF2-40B4-BE49-F238E27FC236}">
                      <a16:creationId xmlns:a16="http://schemas.microsoft.com/office/drawing/2014/main" id="{6BE205E0-BF99-4234-BAC0-03249220841F}"/>
                    </a:ext>
                  </a:extLst>
                </p:cNvPr>
                <p:cNvSpPr/>
                <p:nvPr/>
              </p:nvSpPr>
              <p:spPr>
                <a:xfrm>
                  <a:off x="11016877" y="5988309"/>
                  <a:ext cx="19555" cy="48328"/>
                </a:xfrm>
                <a:custGeom>
                  <a:avLst/>
                  <a:gdLst>
                    <a:gd name="connsiteX0" fmla="*/ 19556 w 19555"/>
                    <a:gd name="connsiteY0" fmla="*/ 0 h 48328"/>
                    <a:gd name="connsiteX1" fmla="*/ 10961 w 19555"/>
                    <a:gd name="connsiteY1" fmla="*/ 16691 h 48328"/>
                    <a:gd name="connsiteX2" fmla="*/ 7972 w 19555"/>
                    <a:gd name="connsiteY2" fmla="*/ 33880 h 48328"/>
                    <a:gd name="connsiteX3" fmla="*/ 0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19556" y="0"/>
                      </a:moveTo>
                      <a:cubicBezTo>
                        <a:pt x="14324" y="6602"/>
                        <a:pt x="12082" y="12456"/>
                        <a:pt x="10961"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8" name="Freeform 5673">
                  <a:extLst>
                    <a:ext uri="{FF2B5EF4-FFF2-40B4-BE49-F238E27FC236}">
                      <a16:creationId xmlns:a16="http://schemas.microsoft.com/office/drawing/2014/main" id="{29EF48E4-D378-5D4F-04FE-C1BAC41B5E73}"/>
                    </a:ext>
                  </a:extLst>
                </p:cNvPr>
                <p:cNvSpPr/>
                <p:nvPr/>
              </p:nvSpPr>
              <p:spPr>
                <a:xfrm>
                  <a:off x="11026468" y="5986067"/>
                  <a:ext cx="18434" cy="48951"/>
                </a:xfrm>
                <a:custGeom>
                  <a:avLst/>
                  <a:gdLst>
                    <a:gd name="connsiteX0" fmla="*/ 0 w 18434"/>
                    <a:gd name="connsiteY0" fmla="*/ 48951 h 48951"/>
                    <a:gd name="connsiteX1" fmla="*/ 4983 w 18434"/>
                    <a:gd name="connsiteY1" fmla="*/ 30766 h 48951"/>
                    <a:gd name="connsiteX2" fmla="*/ 14448 w 18434"/>
                    <a:gd name="connsiteY2" fmla="*/ 16068 h 48951"/>
                    <a:gd name="connsiteX3" fmla="*/ 18434 w 18434"/>
                    <a:gd name="connsiteY3" fmla="*/ 0 h 48951"/>
                  </a:gdLst>
                  <a:ahLst/>
                  <a:cxnLst>
                    <a:cxn ang="0">
                      <a:pos x="connsiteX0" y="connsiteY0"/>
                    </a:cxn>
                    <a:cxn ang="0">
                      <a:pos x="connsiteX1" y="connsiteY1"/>
                    </a:cxn>
                    <a:cxn ang="0">
                      <a:pos x="connsiteX2" y="connsiteY2"/>
                    </a:cxn>
                    <a:cxn ang="0">
                      <a:pos x="connsiteX3" y="connsiteY3"/>
                    </a:cxn>
                  </a:cxnLst>
                  <a:rect l="l" t="t" r="r" b="b"/>
                  <a:pathLst>
                    <a:path w="18434" h="48951">
                      <a:moveTo>
                        <a:pt x="0" y="48951"/>
                      </a:moveTo>
                      <a:cubicBezTo>
                        <a:pt x="623" y="40606"/>
                        <a:pt x="2989" y="34627"/>
                        <a:pt x="4983" y="30766"/>
                      </a:cubicBezTo>
                      <a:cubicBezTo>
                        <a:pt x="8220" y="24538"/>
                        <a:pt x="11334" y="22545"/>
                        <a:pt x="14448" y="16068"/>
                      </a:cubicBezTo>
                      <a:cubicBezTo>
                        <a:pt x="17438" y="9840"/>
                        <a:pt x="18186" y="3986"/>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9" name="Freeform 5674">
                  <a:extLst>
                    <a:ext uri="{FF2B5EF4-FFF2-40B4-BE49-F238E27FC236}">
                      <a16:creationId xmlns:a16="http://schemas.microsoft.com/office/drawing/2014/main" id="{0A0482E7-2445-F481-2C73-637A802FA778}"/>
                    </a:ext>
                  </a:extLst>
                </p:cNvPr>
                <p:cNvSpPr/>
                <p:nvPr/>
              </p:nvSpPr>
              <p:spPr>
                <a:xfrm>
                  <a:off x="11028961" y="5969667"/>
                  <a:ext cx="26841" cy="26644"/>
                </a:xfrm>
                <a:custGeom>
                  <a:avLst/>
                  <a:gdLst>
                    <a:gd name="connsiteX0" fmla="*/ 25906 w 26841"/>
                    <a:gd name="connsiteY0" fmla="*/ 18268 h 26644"/>
                    <a:gd name="connsiteX1" fmla="*/ 8593 w 26841"/>
                    <a:gd name="connsiteY1" fmla="*/ 25742 h 26644"/>
                    <a:gd name="connsiteX2" fmla="*/ 870 w 26841"/>
                    <a:gd name="connsiteY2" fmla="*/ 8428 h 26644"/>
                    <a:gd name="connsiteX3" fmla="*/ 18183 w 26841"/>
                    <a:gd name="connsiteY3" fmla="*/ 955 h 26644"/>
                    <a:gd name="connsiteX4" fmla="*/ 25906 w 26841"/>
                    <a:gd name="connsiteY4" fmla="*/ 18268 h 2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644">
                      <a:moveTo>
                        <a:pt x="25906" y="18268"/>
                      </a:moveTo>
                      <a:cubicBezTo>
                        <a:pt x="23166" y="25119"/>
                        <a:pt x="15443" y="28357"/>
                        <a:pt x="8593" y="25742"/>
                      </a:cubicBezTo>
                      <a:cubicBezTo>
                        <a:pt x="1742" y="23001"/>
                        <a:pt x="-1746" y="15279"/>
                        <a:pt x="870" y="8428"/>
                      </a:cubicBezTo>
                      <a:cubicBezTo>
                        <a:pt x="3485" y="1577"/>
                        <a:pt x="11208" y="-1786"/>
                        <a:pt x="18183" y="955"/>
                      </a:cubicBezTo>
                      <a:cubicBezTo>
                        <a:pt x="25158" y="3819"/>
                        <a:pt x="28646" y="11542"/>
                        <a:pt x="25906"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0" name="Freeform 5675">
                  <a:extLst>
                    <a:ext uri="{FF2B5EF4-FFF2-40B4-BE49-F238E27FC236}">
                      <a16:creationId xmlns:a16="http://schemas.microsoft.com/office/drawing/2014/main" id="{1F61BBEA-2F4E-4AB8-F1DE-8C8178444600}"/>
                    </a:ext>
                  </a:extLst>
                </p:cNvPr>
                <p:cNvSpPr/>
                <p:nvPr/>
              </p:nvSpPr>
              <p:spPr>
                <a:xfrm>
                  <a:off x="11003798" y="6043488"/>
                  <a:ext cx="19680" cy="48328"/>
                </a:xfrm>
                <a:custGeom>
                  <a:avLst/>
                  <a:gdLst>
                    <a:gd name="connsiteX0" fmla="*/ 0 w 19680"/>
                    <a:gd name="connsiteY0" fmla="*/ 48328 h 48328"/>
                    <a:gd name="connsiteX1" fmla="*/ 8595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1" y="41727"/>
                        <a:pt x="7474" y="35873"/>
                        <a:pt x="8595" y="31638"/>
                      </a:cubicBezTo>
                      <a:cubicBezTo>
                        <a:pt x="10463" y="24912"/>
                        <a:pt x="9591" y="21300"/>
                        <a:pt x="11708" y="14449"/>
                      </a:cubicBezTo>
                      <a:cubicBezTo>
                        <a:pt x="13702" y="7847"/>
                        <a:pt x="17189" y="2990"/>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1" name="Freeform 5676">
                  <a:extLst>
                    <a:ext uri="{FF2B5EF4-FFF2-40B4-BE49-F238E27FC236}">
                      <a16:creationId xmlns:a16="http://schemas.microsoft.com/office/drawing/2014/main" id="{7434A775-C0EF-99E7-2269-338164C938E3}"/>
                    </a:ext>
                  </a:extLst>
                </p:cNvPr>
                <p:cNvSpPr/>
                <p:nvPr/>
              </p:nvSpPr>
              <p:spPr>
                <a:xfrm>
                  <a:off x="10995453" y="6045107"/>
                  <a:ext cx="18309" cy="48951"/>
                </a:xfrm>
                <a:custGeom>
                  <a:avLst/>
                  <a:gdLst>
                    <a:gd name="connsiteX0" fmla="*/ 18310 w 18309"/>
                    <a:gd name="connsiteY0" fmla="*/ 0 h 48951"/>
                    <a:gd name="connsiteX1" fmla="*/ 13328 w 18309"/>
                    <a:gd name="connsiteY1" fmla="*/ 18185 h 48951"/>
                    <a:gd name="connsiteX2" fmla="*/ 3986 w 18309"/>
                    <a:gd name="connsiteY2" fmla="*/ 32883 h 48951"/>
                    <a:gd name="connsiteX3" fmla="*/ 0 w 18309"/>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09" h="48951">
                      <a:moveTo>
                        <a:pt x="18310" y="0"/>
                      </a:moveTo>
                      <a:cubicBezTo>
                        <a:pt x="17687" y="8346"/>
                        <a:pt x="15320" y="14324"/>
                        <a:pt x="13328" y="18185"/>
                      </a:cubicBezTo>
                      <a:cubicBezTo>
                        <a:pt x="10089" y="24413"/>
                        <a:pt x="6975" y="26406"/>
                        <a:pt x="3986" y="32883"/>
                      </a:cubicBezTo>
                      <a:cubicBezTo>
                        <a:pt x="997" y="39111"/>
                        <a:pt x="249" y="44966"/>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2" name="Freeform 5677">
                  <a:extLst>
                    <a:ext uri="{FF2B5EF4-FFF2-40B4-BE49-F238E27FC236}">
                      <a16:creationId xmlns:a16="http://schemas.microsoft.com/office/drawing/2014/main" id="{7371DCAF-AF49-3440-1C1A-20E432A3C5A7}"/>
                    </a:ext>
                  </a:extLst>
                </p:cNvPr>
                <p:cNvSpPr/>
                <p:nvPr/>
              </p:nvSpPr>
              <p:spPr>
                <a:xfrm>
                  <a:off x="10984833" y="6083830"/>
                  <a:ext cx="26098" cy="26420"/>
                </a:xfrm>
                <a:custGeom>
                  <a:avLst/>
                  <a:gdLst>
                    <a:gd name="connsiteX0" fmla="*/ 905 w 26098"/>
                    <a:gd name="connsiteY0" fmla="*/ 8484 h 26420"/>
                    <a:gd name="connsiteX1" fmla="*/ 17845 w 26098"/>
                    <a:gd name="connsiteY1" fmla="*/ 886 h 26420"/>
                    <a:gd name="connsiteX2" fmla="*/ 25194 w 26098"/>
                    <a:gd name="connsiteY2" fmla="*/ 17951 h 26420"/>
                    <a:gd name="connsiteX3" fmla="*/ 8254 w 26098"/>
                    <a:gd name="connsiteY3" fmla="*/ 25549 h 26420"/>
                    <a:gd name="connsiteX4" fmla="*/ 905 w 26098"/>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8" h="26420">
                      <a:moveTo>
                        <a:pt x="905" y="8484"/>
                      </a:moveTo>
                      <a:cubicBezTo>
                        <a:pt x="3521" y="1634"/>
                        <a:pt x="11118" y="-1729"/>
                        <a:pt x="17845" y="886"/>
                      </a:cubicBezTo>
                      <a:cubicBezTo>
                        <a:pt x="24571" y="3502"/>
                        <a:pt x="27810" y="11225"/>
                        <a:pt x="25194" y="17951"/>
                      </a:cubicBezTo>
                      <a:cubicBezTo>
                        <a:pt x="22578" y="24677"/>
                        <a:pt x="14980" y="28164"/>
                        <a:pt x="8254" y="25549"/>
                      </a:cubicBezTo>
                      <a:cubicBezTo>
                        <a:pt x="1528" y="23058"/>
                        <a:pt x="-1711" y="15335"/>
                        <a:pt x="905"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3" name="Graphic 2987">
                <a:extLst>
                  <a:ext uri="{FF2B5EF4-FFF2-40B4-BE49-F238E27FC236}">
                    <a16:creationId xmlns:a16="http://schemas.microsoft.com/office/drawing/2014/main" id="{9FA1524F-D324-5674-8822-149952E88731}"/>
                  </a:ext>
                </a:extLst>
              </p:cNvPr>
              <p:cNvGrpSpPr/>
              <p:nvPr/>
            </p:nvGrpSpPr>
            <p:grpSpPr>
              <a:xfrm>
                <a:off x="11011917" y="5980859"/>
                <a:ext cx="71913" cy="140102"/>
                <a:chOff x="11011917" y="5980859"/>
                <a:chExt cx="71913" cy="140102"/>
              </a:xfrm>
              <a:grpFill/>
            </p:grpSpPr>
            <p:sp>
              <p:nvSpPr>
                <p:cNvPr id="3941" name="Freeform 5679">
                  <a:extLst>
                    <a:ext uri="{FF2B5EF4-FFF2-40B4-BE49-F238E27FC236}">
                      <a16:creationId xmlns:a16="http://schemas.microsoft.com/office/drawing/2014/main" id="{AA13E71D-12D3-6F10-4F45-AF9F9A681C74}"/>
                    </a:ext>
                  </a:extLst>
                </p:cNvPr>
                <p:cNvSpPr/>
                <p:nvPr/>
              </p:nvSpPr>
              <p:spPr>
                <a:xfrm>
                  <a:off x="11044404" y="5999270"/>
                  <a:ext cx="19928" cy="48328"/>
                </a:xfrm>
                <a:custGeom>
                  <a:avLst/>
                  <a:gdLst>
                    <a:gd name="connsiteX0" fmla="*/ 19929 w 19928"/>
                    <a:gd name="connsiteY0" fmla="*/ 0 h 48328"/>
                    <a:gd name="connsiteX1" fmla="*/ 11210 w 19928"/>
                    <a:gd name="connsiteY1" fmla="*/ 16691 h 48328"/>
                    <a:gd name="connsiteX2" fmla="*/ 8097 w 19928"/>
                    <a:gd name="connsiteY2" fmla="*/ 33880 h 48328"/>
                    <a:gd name="connsiteX3" fmla="*/ 0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19929" y="0"/>
                      </a:moveTo>
                      <a:cubicBezTo>
                        <a:pt x="14573" y="6602"/>
                        <a:pt x="12331" y="12456"/>
                        <a:pt x="11210" y="16691"/>
                      </a:cubicBezTo>
                      <a:cubicBezTo>
                        <a:pt x="9342" y="23417"/>
                        <a:pt x="10214" y="27029"/>
                        <a:pt x="8097" y="33880"/>
                      </a:cubicBezTo>
                      <a:cubicBezTo>
                        <a:pt x="5979" y="40481"/>
                        <a:pt x="2616" y="45214"/>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2" name="Freeform 5680">
                  <a:extLst>
                    <a:ext uri="{FF2B5EF4-FFF2-40B4-BE49-F238E27FC236}">
                      <a16:creationId xmlns:a16="http://schemas.microsoft.com/office/drawing/2014/main" id="{7105D5CF-E9E9-5D49-B6C4-B8B3669BB09B}"/>
                    </a:ext>
                  </a:extLst>
                </p:cNvPr>
                <p:cNvSpPr/>
                <p:nvPr/>
              </p:nvSpPr>
              <p:spPr>
                <a:xfrm>
                  <a:off x="11054119" y="5997277"/>
                  <a:ext cx="18683" cy="48577"/>
                </a:xfrm>
                <a:custGeom>
                  <a:avLst/>
                  <a:gdLst>
                    <a:gd name="connsiteX0" fmla="*/ 0 w 18683"/>
                    <a:gd name="connsiteY0" fmla="*/ 48577 h 48577"/>
                    <a:gd name="connsiteX1" fmla="*/ 5107 w 18683"/>
                    <a:gd name="connsiteY1" fmla="*/ 30517 h 48577"/>
                    <a:gd name="connsiteX2" fmla="*/ 14698 w 18683"/>
                    <a:gd name="connsiteY2" fmla="*/ 15943 h 48577"/>
                    <a:gd name="connsiteX3" fmla="*/ 18684 w 18683"/>
                    <a:gd name="connsiteY3" fmla="*/ 0 h 48577"/>
                  </a:gdLst>
                  <a:ahLst/>
                  <a:cxnLst>
                    <a:cxn ang="0">
                      <a:pos x="connsiteX0" y="connsiteY0"/>
                    </a:cxn>
                    <a:cxn ang="0">
                      <a:pos x="connsiteX1" y="connsiteY1"/>
                    </a:cxn>
                    <a:cxn ang="0">
                      <a:pos x="connsiteX2" y="connsiteY2"/>
                    </a:cxn>
                    <a:cxn ang="0">
                      <a:pos x="connsiteX3" y="connsiteY3"/>
                    </a:cxn>
                  </a:cxnLst>
                  <a:rect l="l" t="t" r="r" b="b"/>
                  <a:pathLst>
                    <a:path w="18683" h="48577">
                      <a:moveTo>
                        <a:pt x="0" y="48577"/>
                      </a:moveTo>
                      <a:cubicBezTo>
                        <a:pt x="623" y="40232"/>
                        <a:pt x="2990" y="34378"/>
                        <a:pt x="5107" y="30517"/>
                      </a:cubicBezTo>
                      <a:cubicBezTo>
                        <a:pt x="8471" y="24289"/>
                        <a:pt x="11585" y="22296"/>
                        <a:pt x="14698" y="15943"/>
                      </a:cubicBezTo>
                      <a:cubicBezTo>
                        <a:pt x="17688" y="9715"/>
                        <a:pt x="18560" y="3861"/>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3" name="Freeform 5681">
                  <a:extLst>
                    <a:ext uri="{FF2B5EF4-FFF2-40B4-BE49-F238E27FC236}">
                      <a16:creationId xmlns:a16="http://schemas.microsoft.com/office/drawing/2014/main" id="{F3965C24-CAF5-E0A5-55D9-018BCB5CDACA}"/>
                    </a:ext>
                  </a:extLst>
                </p:cNvPr>
                <p:cNvSpPr/>
                <p:nvPr/>
              </p:nvSpPr>
              <p:spPr>
                <a:xfrm>
                  <a:off x="11056919" y="5980859"/>
                  <a:ext cx="26910" cy="26483"/>
                </a:xfrm>
                <a:custGeom>
                  <a:avLst/>
                  <a:gdLst>
                    <a:gd name="connsiteX0" fmla="*/ 25974 w 26910"/>
                    <a:gd name="connsiteY0" fmla="*/ 18162 h 26483"/>
                    <a:gd name="connsiteX1" fmla="*/ 8535 w 26910"/>
                    <a:gd name="connsiteY1" fmla="*/ 25511 h 26483"/>
                    <a:gd name="connsiteX2" fmla="*/ 938 w 26910"/>
                    <a:gd name="connsiteY2" fmla="*/ 8321 h 26483"/>
                    <a:gd name="connsiteX3" fmla="*/ 18375 w 26910"/>
                    <a:gd name="connsiteY3" fmla="*/ 973 h 26483"/>
                    <a:gd name="connsiteX4" fmla="*/ 25974 w 26910"/>
                    <a:gd name="connsiteY4" fmla="*/ 18162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483">
                      <a:moveTo>
                        <a:pt x="25974" y="18162"/>
                      </a:moveTo>
                      <a:cubicBezTo>
                        <a:pt x="23233" y="25012"/>
                        <a:pt x="15386" y="28251"/>
                        <a:pt x="8535" y="25511"/>
                      </a:cubicBezTo>
                      <a:cubicBezTo>
                        <a:pt x="1685" y="22770"/>
                        <a:pt x="-1803" y="15048"/>
                        <a:pt x="938" y="8321"/>
                      </a:cubicBezTo>
                      <a:cubicBezTo>
                        <a:pt x="3677" y="1471"/>
                        <a:pt x="11400" y="-1768"/>
                        <a:pt x="18375" y="973"/>
                      </a:cubicBezTo>
                      <a:cubicBezTo>
                        <a:pt x="25226" y="3588"/>
                        <a:pt x="28714" y="11311"/>
                        <a:pt x="25974" y="181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4" name="Freeform 5682">
                  <a:extLst>
                    <a:ext uri="{FF2B5EF4-FFF2-40B4-BE49-F238E27FC236}">
                      <a16:creationId xmlns:a16="http://schemas.microsoft.com/office/drawing/2014/main" id="{8CEE72A0-8B3E-E47A-C34A-43F6C923BFC9}"/>
                    </a:ext>
                  </a:extLst>
                </p:cNvPr>
                <p:cNvSpPr/>
                <p:nvPr/>
              </p:nvSpPr>
              <p:spPr>
                <a:xfrm>
                  <a:off x="11030952" y="6054324"/>
                  <a:ext cx="20053" cy="48204"/>
                </a:xfrm>
                <a:custGeom>
                  <a:avLst/>
                  <a:gdLst>
                    <a:gd name="connsiteX0" fmla="*/ 0 w 20053"/>
                    <a:gd name="connsiteY0" fmla="*/ 48204 h 48204"/>
                    <a:gd name="connsiteX1" fmla="*/ 8719 w 20053"/>
                    <a:gd name="connsiteY1" fmla="*/ 31513 h 48204"/>
                    <a:gd name="connsiteX2" fmla="*/ 11958 w 20053"/>
                    <a:gd name="connsiteY2" fmla="*/ 14449 h 48204"/>
                    <a:gd name="connsiteX3" fmla="*/ 20054 w 20053"/>
                    <a:gd name="connsiteY3" fmla="*/ 0 h 48204"/>
                  </a:gdLst>
                  <a:ahLst/>
                  <a:cxnLst>
                    <a:cxn ang="0">
                      <a:pos x="connsiteX0" y="connsiteY0"/>
                    </a:cxn>
                    <a:cxn ang="0">
                      <a:pos x="connsiteX1" y="connsiteY1"/>
                    </a:cxn>
                    <a:cxn ang="0">
                      <a:pos x="connsiteX2" y="connsiteY2"/>
                    </a:cxn>
                    <a:cxn ang="0">
                      <a:pos x="connsiteX3" y="connsiteY3"/>
                    </a:cxn>
                  </a:cxnLst>
                  <a:rect l="l" t="t" r="r" b="b"/>
                  <a:pathLst>
                    <a:path w="20053" h="48204">
                      <a:moveTo>
                        <a:pt x="0" y="48204"/>
                      </a:moveTo>
                      <a:cubicBezTo>
                        <a:pt x="5232" y="41603"/>
                        <a:pt x="7598" y="35748"/>
                        <a:pt x="8719" y="31513"/>
                      </a:cubicBezTo>
                      <a:cubicBezTo>
                        <a:pt x="10588" y="24787"/>
                        <a:pt x="9716" y="21175"/>
                        <a:pt x="11958" y="14449"/>
                      </a:cubicBezTo>
                      <a:cubicBezTo>
                        <a:pt x="14075" y="7847"/>
                        <a:pt x="17438"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5" name="Freeform 5683">
                  <a:extLst>
                    <a:ext uri="{FF2B5EF4-FFF2-40B4-BE49-F238E27FC236}">
                      <a16:creationId xmlns:a16="http://schemas.microsoft.com/office/drawing/2014/main" id="{022181A0-F11C-F6DB-2024-CF0F34C288C3}"/>
                    </a:ext>
                  </a:extLst>
                </p:cNvPr>
                <p:cNvSpPr/>
                <p:nvPr/>
              </p:nvSpPr>
              <p:spPr>
                <a:xfrm>
                  <a:off x="11022607" y="6055944"/>
                  <a:ext cx="18683" cy="48702"/>
                </a:xfrm>
                <a:custGeom>
                  <a:avLst/>
                  <a:gdLst>
                    <a:gd name="connsiteX0" fmla="*/ 18684 w 18683"/>
                    <a:gd name="connsiteY0" fmla="*/ 0 h 48702"/>
                    <a:gd name="connsiteX1" fmla="*/ 13577 w 18683"/>
                    <a:gd name="connsiteY1" fmla="*/ 18061 h 48702"/>
                    <a:gd name="connsiteX2" fmla="*/ 4111 w 18683"/>
                    <a:gd name="connsiteY2" fmla="*/ 32759 h 48702"/>
                    <a:gd name="connsiteX3" fmla="*/ 0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18684" y="0"/>
                      </a:moveTo>
                      <a:cubicBezTo>
                        <a:pt x="18061" y="8346"/>
                        <a:pt x="15694" y="14200"/>
                        <a:pt x="13577" y="18061"/>
                      </a:cubicBezTo>
                      <a:cubicBezTo>
                        <a:pt x="10339" y="24289"/>
                        <a:pt x="7225" y="26282"/>
                        <a:pt x="4111" y="32759"/>
                      </a:cubicBezTo>
                      <a:cubicBezTo>
                        <a:pt x="1121" y="38987"/>
                        <a:pt x="249" y="44841"/>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6" name="Freeform 5684">
                  <a:extLst>
                    <a:ext uri="{FF2B5EF4-FFF2-40B4-BE49-F238E27FC236}">
                      <a16:creationId xmlns:a16="http://schemas.microsoft.com/office/drawing/2014/main" id="{90F6541B-2213-3B4B-4043-0EFF31536E7A}"/>
                    </a:ext>
                  </a:extLst>
                </p:cNvPr>
                <p:cNvSpPr/>
                <p:nvPr/>
              </p:nvSpPr>
              <p:spPr>
                <a:xfrm>
                  <a:off x="11011917" y="6094542"/>
                  <a:ext cx="26237" cy="26420"/>
                </a:xfrm>
                <a:custGeom>
                  <a:avLst/>
                  <a:gdLst>
                    <a:gd name="connsiteX0" fmla="*/ 974 w 26237"/>
                    <a:gd name="connsiteY0" fmla="*/ 8484 h 26420"/>
                    <a:gd name="connsiteX1" fmla="*/ 18039 w 26237"/>
                    <a:gd name="connsiteY1" fmla="*/ 886 h 26420"/>
                    <a:gd name="connsiteX2" fmla="*/ 25263 w 26237"/>
                    <a:gd name="connsiteY2" fmla="*/ 17951 h 26420"/>
                    <a:gd name="connsiteX3" fmla="*/ 8199 w 26237"/>
                    <a:gd name="connsiteY3" fmla="*/ 25549 h 26420"/>
                    <a:gd name="connsiteX4" fmla="*/ 974 w 26237"/>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20">
                      <a:moveTo>
                        <a:pt x="974" y="8484"/>
                      </a:moveTo>
                      <a:cubicBezTo>
                        <a:pt x="3715" y="1634"/>
                        <a:pt x="11313" y="-1729"/>
                        <a:pt x="18039" y="886"/>
                      </a:cubicBezTo>
                      <a:cubicBezTo>
                        <a:pt x="24765" y="3502"/>
                        <a:pt x="28004" y="11224"/>
                        <a:pt x="25263" y="17951"/>
                      </a:cubicBezTo>
                      <a:cubicBezTo>
                        <a:pt x="22523" y="24677"/>
                        <a:pt x="14925" y="28164"/>
                        <a:pt x="8199" y="25549"/>
                      </a:cubicBezTo>
                      <a:cubicBezTo>
                        <a:pt x="1473" y="22933"/>
                        <a:pt x="-1766" y="15335"/>
                        <a:pt x="974"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4" name="Graphic 2987">
                <a:extLst>
                  <a:ext uri="{FF2B5EF4-FFF2-40B4-BE49-F238E27FC236}">
                    <a16:creationId xmlns:a16="http://schemas.microsoft.com/office/drawing/2014/main" id="{A1F1B143-2453-D0E3-818E-E3E14B7DD547}"/>
                  </a:ext>
                </a:extLst>
              </p:cNvPr>
              <p:cNvGrpSpPr/>
              <p:nvPr/>
            </p:nvGrpSpPr>
            <p:grpSpPr>
              <a:xfrm>
                <a:off x="11039054" y="5991837"/>
                <a:ext cx="72712" cy="139710"/>
                <a:chOff x="11039054" y="5991837"/>
                <a:chExt cx="72712" cy="139710"/>
              </a:xfrm>
              <a:grpFill/>
            </p:grpSpPr>
            <p:sp>
              <p:nvSpPr>
                <p:cNvPr id="3935" name="Freeform 5686">
                  <a:extLst>
                    <a:ext uri="{FF2B5EF4-FFF2-40B4-BE49-F238E27FC236}">
                      <a16:creationId xmlns:a16="http://schemas.microsoft.com/office/drawing/2014/main" id="{22BF5251-424F-4A64-7643-D590AB00A38B}"/>
                    </a:ext>
                  </a:extLst>
                </p:cNvPr>
                <p:cNvSpPr/>
                <p:nvPr/>
              </p:nvSpPr>
              <p:spPr>
                <a:xfrm>
                  <a:off x="11071932" y="6010231"/>
                  <a:ext cx="20302" cy="47954"/>
                </a:xfrm>
                <a:custGeom>
                  <a:avLst/>
                  <a:gdLst>
                    <a:gd name="connsiteX0" fmla="*/ 20303 w 20302"/>
                    <a:gd name="connsiteY0" fmla="*/ 0 h 47954"/>
                    <a:gd name="connsiteX1" fmla="*/ 11459 w 20302"/>
                    <a:gd name="connsiteY1" fmla="*/ 16566 h 47954"/>
                    <a:gd name="connsiteX2" fmla="*/ 8220 w 20302"/>
                    <a:gd name="connsiteY2" fmla="*/ 33630 h 47954"/>
                    <a:gd name="connsiteX3" fmla="*/ 0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0"/>
                      </a:moveTo>
                      <a:cubicBezTo>
                        <a:pt x="14946" y="6477"/>
                        <a:pt x="12580" y="12456"/>
                        <a:pt x="11459" y="16566"/>
                      </a:cubicBezTo>
                      <a:cubicBezTo>
                        <a:pt x="9590" y="23292"/>
                        <a:pt x="10462" y="26905"/>
                        <a:pt x="8220" y="33630"/>
                      </a:cubicBezTo>
                      <a:cubicBezTo>
                        <a:pt x="6103" y="40232"/>
                        <a:pt x="2615" y="44965"/>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6" name="Freeform 5687">
                  <a:extLst>
                    <a:ext uri="{FF2B5EF4-FFF2-40B4-BE49-F238E27FC236}">
                      <a16:creationId xmlns:a16="http://schemas.microsoft.com/office/drawing/2014/main" id="{CCCE742A-C26E-9A8F-223E-D60C97A04666}"/>
                    </a:ext>
                  </a:extLst>
                </p:cNvPr>
                <p:cNvSpPr/>
                <p:nvPr/>
              </p:nvSpPr>
              <p:spPr>
                <a:xfrm>
                  <a:off x="11081647" y="6008113"/>
                  <a:ext cx="19057" cy="48577"/>
                </a:xfrm>
                <a:custGeom>
                  <a:avLst/>
                  <a:gdLst>
                    <a:gd name="connsiteX0" fmla="*/ 0 w 19057"/>
                    <a:gd name="connsiteY0" fmla="*/ 48577 h 48577"/>
                    <a:gd name="connsiteX1" fmla="*/ 5231 w 19057"/>
                    <a:gd name="connsiteY1" fmla="*/ 30517 h 48577"/>
                    <a:gd name="connsiteX2" fmla="*/ 14947 w 19057"/>
                    <a:gd name="connsiteY2" fmla="*/ 15943 h 48577"/>
                    <a:gd name="connsiteX3" fmla="*/ 19058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5" y="24413"/>
                        <a:pt x="11708" y="22296"/>
                        <a:pt x="14947" y="15943"/>
                      </a:cubicBezTo>
                      <a:cubicBezTo>
                        <a:pt x="18061" y="9715"/>
                        <a:pt x="18933" y="3861"/>
                        <a:pt x="190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7" name="Freeform 5688">
                  <a:extLst>
                    <a:ext uri="{FF2B5EF4-FFF2-40B4-BE49-F238E27FC236}">
                      <a16:creationId xmlns:a16="http://schemas.microsoft.com/office/drawing/2014/main" id="{442B0487-D19C-270F-0CA3-A26A9817AEA1}"/>
                    </a:ext>
                  </a:extLst>
                </p:cNvPr>
                <p:cNvSpPr/>
                <p:nvPr/>
              </p:nvSpPr>
              <p:spPr>
                <a:xfrm>
                  <a:off x="11084927" y="5991837"/>
                  <a:ext cx="26838" cy="26504"/>
                </a:xfrm>
                <a:custGeom>
                  <a:avLst/>
                  <a:gdLst>
                    <a:gd name="connsiteX0" fmla="*/ 25866 w 26838"/>
                    <a:gd name="connsiteY0" fmla="*/ 18394 h 26504"/>
                    <a:gd name="connsiteX1" fmla="*/ 8428 w 26838"/>
                    <a:gd name="connsiteY1" fmla="*/ 25494 h 26504"/>
                    <a:gd name="connsiteX2" fmla="*/ 955 w 26838"/>
                    <a:gd name="connsiteY2" fmla="*/ 8305 h 26504"/>
                    <a:gd name="connsiteX3" fmla="*/ 18517 w 26838"/>
                    <a:gd name="connsiteY3" fmla="*/ 956 h 26504"/>
                    <a:gd name="connsiteX4" fmla="*/ 25866 w 26838"/>
                    <a:gd name="connsiteY4" fmla="*/ 1839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8" h="26504">
                      <a:moveTo>
                        <a:pt x="25866" y="18394"/>
                      </a:moveTo>
                      <a:cubicBezTo>
                        <a:pt x="23001" y="25245"/>
                        <a:pt x="15403" y="28234"/>
                        <a:pt x="8428" y="25494"/>
                      </a:cubicBezTo>
                      <a:cubicBezTo>
                        <a:pt x="1578" y="22754"/>
                        <a:pt x="-1786" y="15031"/>
                        <a:pt x="955" y="8305"/>
                      </a:cubicBezTo>
                      <a:cubicBezTo>
                        <a:pt x="3695" y="1579"/>
                        <a:pt x="11542" y="-1784"/>
                        <a:pt x="18517" y="956"/>
                      </a:cubicBezTo>
                      <a:cubicBezTo>
                        <a:pt x="25368" y="3572"/>
                        <a:pt x="28606" y="11668"/>
                        <a:pt x="25866" y="183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8" name="Freeform 5689">
                  <a:extLst>
                    <a:ext uri="{FF2B5EF4-FFF2-40B4-BE49-F238E27FC236}">
                      <a16:creationId xmlns:a16="http://schemas.microsoft.com/office/drawing/2014/main" id="{C32919F2-2DE6-076A-4767-EFC1FC577045}"/>
                    </a:ext>
                  </a:extLst>
                </p:cNvPr>
                <p:cNvSpPr/>
                <p:nvPr/>
              </p:nvSpPr>
              <p:spPr>
                <a:xfrm>
                  <a:off x="11058105" y="6065285"/>
                  <a:ext cx="20427" cy="47954"/>
                </a:xfrm>
                <a:custGeom>
                  <a:avLst/>
                  <a:gdLst>
                    <a:gd name="connsiteX0" fmla="*/ 0 w 20427"/>
                    <a:gd name="connsiteY0" fmla="*/ 47955 h 47954"/>
                    <a:gd name="connsiteX1" fmla="*/ 8844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353"/>
                        <a:pt x="7723" y="35499"/>
                        <a:pt x="8844" y="31389"/>
                      </a:cubicBezTo>
                      <a:cubicBezTo>
                        <a:pt x="10713" y="24663"/>
                        <a:pt x="9965" y="21050"/>
                        <a:pt x="12207" y="14324"/>
                      </a:cubicBezTo>
                      <a:cubicBezTo>
                        <a:pt x="14324" y="7723"/>
                        <a:pt x="17812" y="2990"/>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9" name="Freeform 5690">
                  <a:extLst>
                    <a:ext uri="{FF2B5EF4-FFF2-40B4-BE49-F238E27FC236}">
                      <a16:creationId xmlns:a16="http://schemas.microsoft.com/office/drawing/2014/main" id="{68775F42-6195-568B-9CDD-177B8563EBC9}"/>
                    </a:ext>
                  </a:extLst>
                </p:cNvPr>
                <p:cNvSpPr/>
                <p:nvPr/>
              </p:nvSpPr>
              <p:spPr>
                <a:xfrm>
                  <a:off x="11049885" y="6066780"/>
                  <a:ext cx="18933" cy="48577"/>
                </a:xfrm>
                <a:custGeom>
                  <a:avLst/>
                  <a:gdLst>
                    <a:gd name="connsiteX0" fmla="*/ 18933 w 18933"/>
                    <a:gd name="connsiteY0" fmla="*/ 0 h 48577"/>
                    <a:gd name="connsiteX1" fmla="*/ 13701 w 18933"/>
                    <a:gd name="connsiteY1" fmla="*/ 18061 h 48577"/>
                    <a:gd name="connsiteX2" fmla="*/ 4111 w 18933"/>
                    <a:gd name="connsiteY2" fmla="*/ 32634 h 48577"/>
                    <a:gd name="connsiteX3" fmla="*/ 0 w 1893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0"/>
                      </a:moveTo>
                      <a:cubicBezTo>
                        <a:pt x="18186" y="8346"/>
                        <a:pt x="15819" y="14200"/>
                        <a:pt x="13701" y="18061"/>
                      </a:cubicBezTo>
                      <a:cubicBezTo>
                        <a:pt x="10339" y="24164"/>
                        <a:pt x="7225" y="26282"/>
                        <a:pt x="4111" y="32634"/>
                      </a:cubicBezTo>
                      <a:cubicBezTo>
                        <a:pt x="1121" y="38862"/>
                        <a:pt x="249" y="44717"/>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0" name="Freeform 5691">
                  <a:extLst>
                    <a:ext uri="{FF2B5EF4-FFF2-40B4-BE49-F238E27FC236}">
                      <a16:creationId xmlns:a16="http://schemas.microsoft.com/office/drawing/2014/main" id="{CFAA9CA2-B773-C292-3995-498E6D019A66}"/>
                    </a:ext>
                  </a:extLst>
                </p:cNvPr>
                <p:cNvSpPr/>
                <p:nvPr/>
              </p:nvSpPr>
              <p:spPr>
                <a:xfrm>
                  <a:off x="11039054" y="6105186"/>
                  <a:ext cx="26272" cy="26361"/>
                </a:xfrm>
                <a:custGeom>
                  <a:avLst/>
                  <a:gdLst>
                    <a:gd name="connsiteX0" fmla="*/ 991 w 26272"/>
                    <a:gd name="connsiteY0" fmla="*/ 8428 h 26361"/>
                    <a:gd name="connsiteX1" fmla="*/ 18180 w 26272"/>
                    <a:gd name="connsiteY1" fmla="*/ 955 h 26361"/>
                    <a:gd name="connsiteX2" fmla="*/ 25279 w 26272"/>
                    <a:gd name="connsiteY2" fmla="*/ 18144 h 26361"/>
                    <a:gd name="connsiteX3" fmla="*/ 8215 w 26272"/>
                    <a:gd name="connsiteY3" fmla="*/ 25493 h 26361"/>
                    <a:gd name="connsiteX4" fmla="*/ 991 w 26272"/>
                    <a:gd name="connsiteY4" fmla="*/ 8428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361">
                      <a:moveTo>
                        <a:pt x="991" y="8428"/>
                      </a:moveTo>
                      <a:cubicBezTo>
                        <a:pt x="3731" y="1578"/>
                        <a:pt x="11454" y="-1786"/>
                        <a:pt x="18180" y="955"/>
                      </a:cubicBezTo>
                      <a:cubicBezTo>
                        <a:pt x="24906" y="3571"/>
                        <a:pt x="28020" y="11542"/>
                        <a:pt x="25279" y="18144"/>
                      </a:cubicBezTo>
                      <a:cubicBezTo>
                        <a:pt x="22415" y="24995"/>
                        <a:pt x="14942" y="27984"/>
                        <a:pt x="8215" y="25493"/>
                      </a:cubicBezTo>
                      <a:cubicBezTo>
                        <a:pt x="1365" y="22877"/>
                        <a:pt x="-1749" y="15279"/>
                        <a:pt x="991"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5" name="Graphic 2987">
                <a:extLst>
                  <a:ext uri="{FF2B5EF4-FFF2-40B4-BE49-F238E27FC236}">
                    <a16:creationId xmlns:a16="http://schemas.microsoft.com/office/drawing/2014/main" id="{5E01DAE0-D03E-02EB-D0A5-B01984DBBF82}"/>
                  </a:ext>
                </a:extLst>
              </p:cNvPr>
              <p:cNvGrpSpPr/>
              <p:nvPr/>
            </p:nvGrpSpPr>
            <p:grpSpPr>
              <a:xfrm>
                <a:off x="11065953" y="6003437"/>
                <a:ext cx="73516" cy="139497"/>
                <a:chOff x="11065953" y="6003437"/>
                <a:chExt cx="73516" cy="139497"/>
              </a:xfrm>
              <a:grpFill/>
            </p:grpSpPr>
            <p:sp>
              <p:nvSpPr>
                <p:cNvPr id="3929" name="Freeform 5693">
                  <a:extLst>
                    <a:ext uri="{FF2B5EF4-FFF2-40B4-BE49-F238E27FC236}">
                      <a16:creationId xmlns:a16="http://schemas.microsoft.com/office/drawing/2014/main" id="{C7ED414D-B514-CA12-4222-030DBC140949}"/>
                    </a:ext>
                  </a:extLst>
                </p:cNvPr>
                <p:cNvSpPr/>
                <p:nvPr/>
              </p:nvSpPr>
              <p:spPr>
                <a:xfrm>
                  <a:off x="11099334" y="6021815"/>
                  <a:ext cx="20552" cy="47830"/>
                </a:xfrm>
                <a:custGeom>
                  <a:avLst/>
                  <a:gdLst>
                    <a:gd name="connsiteX0" fmla="*/ 20552 w 20552"/>
                    <a:gd name="connsiteY0" fmla="*/ 0 h 47830"/>
                    <a:gd name="connsiteX1" fmla="*/ 11585 w 20552"/>
                    <a:gd name="connsiteY1" fmla="*/ 16442 h 47830"/>
                    <a:gd name="connsiteX2" fmla="*/ 8221 w 20552"/>
                    <a:gd name="connsiteY2" fmla="*/ 33506 h 47830"/>
                    <a:gd name="connsiteX3" fmla="*/ 0 w 20552"/>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552" h="47830">
                      <a:moveTo>
                        <a:pt x="20552" y="0"/>
                      </a:moveTo>
                      <a:cubicBezTo>
                        <a:pt x="15196" y="6477"/>
                        <a:pt x="12705" y="12331"/>
                        <a:pt x="11585" y="16442"/>
                      </a:cubicBezTo>
                      <a:cubicBezTo>
                        <a:pt x="9591" y="23168"/>
                        <a:pt x="10463" y="26780"/>
                        <a:pt x="8221" y="33506"/>
                      </a:cubicBezTo>
                      <a:cubicBezTo>
                        <a:pt x="5979" y="40108"/>
                        <a:pt x="2491" y="44841"/>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0" name="Freeform 5694">
                  <a:extLst>
                    <a:ext uri="{FF2B5EF4-FFF2-40B4-BE49-F238E27FC236}">
                      <a16:creationId xmlns:a16="http://schemas.microsoft.com/office/drawing/2014/main" id="{126B9804-BB9D-6C46-137F-C43D8405F0AC}"/>
                    </a:ext>
                  </a:extLst>
                </p:cNvPr>
                <p:cNvSpPr/>
                <p:nvPr/>
              </p:nvSpPr>
              <p:spPr>
                <a:xfrm>
                  <a:off x="11108925" y="6019822"/>
                  <a:ext cx="19306" cy="48453"/>
                </a:xfrm>
                <a:custGeom>
                  <a:avLst/>
                  <a:gdLst>
                    <a:gd name="connsiteX0" fmla="*/ 0 w 19306"/>
                    <a:gd name="connsiteY0" fmla="*/ 48453 h 48453"/>
                    <a:gd name="connsiteX1" fmla="*/ 5356 w 19306"/>
                    <a:gd name="connsiteY1" fmla="*/ 30392 h 48453"/>
                    <a:gd name="connsiteX2" fmla="*/ 15072 w 19306"/>
                    <a:gd name="connsiteY2" fmla="*/ 15943 h 48453"/>
                    <a:gd name="connsiteX3" fmla="*/ 19306 w 19306"/>
                    <a:gd name="connsiteY3" fmla="*/ 0 h 48453"/>
                  </a:gdLst>
                  <a:ahLst/>
                  <a:cxnLst>
                    <a:cxn ang="0">
                      <a:pos x="connsiteX0" y="connsiteY0"/>
                    </a:cxn>
                    <a:cxn ang="0">
                      <a:pos x="connsiteX1" y="connsiteY1"/>
                    </a:cxn>
                    <a:cxn ang="0">
                      <a:pos x="connsiteX2" y="connsiteY2"/>
                    </a:cxn>
                    <a:cxn ang="0">
                      <a:pos x="connsiteX3" y="connsiteY3"/>
                    </a:cxn>
                  </a:cxnLst>
                  <a:rect l="l" t="t" r="r" b="b"/>
                  <a:pathLst>
                    <a:path w="19306" h="48453">
                      <a:moveTo>
                        <a:pt x="0" y="48453"/>
                      </a:moveTo>
                      <a:cubicBezTo>
                        <a:pt x="872" y="40108"/>
                        <a:pt x="3239" y="34253"/>
                        <a:pt x="5356" y="30392"/>
                      </a:cubicBezTo>
                      <a:cubicBezTo>
                        <a:pt x="8719" y="24289"/>
                        <a:pt x="11958" y="22296"/>
                        <a:pt x="15072" y="15943"/>
                      </a:cubicBezTo>
                      <a:cubicBezTo>
                        <a:pt x="18186" y="9840"/>
                        <a:pt x="19058" y="3986"/>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1" name="Freeform 5695">
                  <a:extLst>
                    <a:ext uri="{FF2B5EF4-FFF2-40B4-BE49-F238E27FC236}">
                      <a16:creationId xmlns:a16="http://schemas.microsoft.com/office/drawing/2014/main" id="{CDE5DEC0-825E-CFFB-C1A4-134CD13D52C4}"/>
                    </a:ext>
                  </a:extLst>
                </p:cNvPr>
                <p:cNvSpPr/>
                <p:nvPr/>
              </p:nvSpPr>
              <p:spPr>
                <a:xfrm>
                  <a:off x="11112686" y="6003437"/>
                  <a:ext cx="26783" cy="26542"/>
                </a:xfrm>
                <a:custGeom>
                  <a:avLst/>
                  <a:gdLst>
                    <a:gd name="connsiteX0" fmla="*/ 25759 w 26783"/>
                    <a:gd name="connsiteY0" fmla="*/ 18503 h 26542"/>
                    <a:gd name="connsiteX1" fmla="*/ 8322 w 26783"/>
                    <a:gd name="connsiteY1" fmla="*/ 25478 h 26542"/>
                    <a:gd name="connsiteX2" fmla="*/ 972 w 26783"/>
                    <a:gd name="connsiteY2" fmla="*/ 8040 h 26542"/>
                    <a:gd name="connsiteX3" fmla="*/ 18411 w 26783"/>
                    <a:gd name="connsiteY3" fmla="*/ 1065 h 26542"/>
                    <a:gd name="connsiteX4" fmla="*/ 25759 w 2678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42">
                      <a:moveTo>
                        <a:pt x="25759" y="18503"/>
                      </a:moveTo>
                      <a:cubicBezTo>
                        <a:pt x="22895" y="25229"/>
                        <a:pt x="15048" y="28343"/>
                        <a:pt x="8322" y="25478"/>
                      </a:cubicBezTo>
                      <a:cubicBezTo>
                        <a:pt x="1470" y="22613"/>
                        <a:pt x="-1767" y="14766"/>
                        <a:pt x="972" y="8040"/>
                      </a:cubicBezTo>
                      <a:cubicBezTo>
                        <a:pt x="3712" y="1314"/>
                        <a:pt x="11560" y="-1800"/>
                        <a:pt x="18411" y="1065"/>
                      </a:cubicBezTo>
                      <a:cubicBezTo>
                        <a:pt x="25261" y="3929"/>
                        <a:pt x="28624" y="11777"/>
                        <a:pt x="2575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2" name="Freeform 5696">
                  <a:extLst>
                    <a:ext uri="{FF2B5EF4-FFF2-40B4-BE49-F238E27FC236}">
                      <a16:creationId xmlns:a16="http://schemas.microsoft.com/office/drawing/2014/main" id="{68845065-2D6B-B2E6-AABD-E2D88B91ADDD}"/>
                    </a:ext>
                  </a:extLst>
                </p:cNvPr>
                <p:cNvSpPr/>
                <p:nvPr/>
              </p:nvSpPr>
              <p:spPr>
                <a:xfrm>
                  <a:off x="11085010" y="6076870"/>
                  <a:ext cx="20676" cy="47705"/>
                </a:xfrm>
                <a:custGeom>
                  <a:avLst/>
                  <a:gdLst>
                    <a:gd name="connsiteX0" fmla="*/ 0 w 20676"/>
                    <a:gd name="connsiteY0" fmla="*/ 47705 h 47705"/>
                    <a:gd name="connsiteX1" fmla="*/ 8968 w 20676"/>
                    <a:gd name="connsiteY1" fmla="*/ 31264 h 47705"/>
                    <a:gd name="connsiteX2" fmla="*/ 12456 w 20676"/>
                    <a:gd name="connsiteY2" fmla="*/ 14199 h 47705"/>
                    <a:gd name="connsiteX3" fmla="*/ 20676 w 20676"/>
                    <a:gd name="connsiteY3" fmla="*/ 0 h 47705"/>
                  </a:gdLst>
                  <a:ahLst/>
                  <a:cxnLst>
                    <a:cxn ang="0">
                      <a:pos x="connsiteX0" y="connsiteY0"/>
                    </a:cxn>
                    <a:cxn ang="0">
                      <a:pos x="connsiteX1" y="connsiteY1"/>
                    </a:cxn>
                    <a:cxn ang="0">
                      <a:pos x="connsiteX2" y="connsiteY2"/>
                    </a:cxn>
                    <a:cxn ang="0">
                      <a:pos x="connsiteX3" y="connsiteY3"/>
                    </a:cxn>
                  </a:cxnLst>
                  <a:rect l="l" t="t" r="r" b="b"/>
                  <a:pathLst>
                    <a:path w="20676" h="47705">
                      <a:moveTo>
                        <a:pt x="0" y="47705"/>
                      </a:moveTo>
                      <a:cubicBezTo>
                        <a:pt x="5356" y="41229"/>
                        <a:pt x="7723" y="35374"/>
                        <a:pt x="8968" y="31264"/>
                      </a:cubicBezTo>
                      <a:cubicBezTo>
                        <a:pt x="10961" y="24538"/>
                        <a:pt x="10214" y="20926"/>
                        <a:pt x="12456" y="14199"/>
                      </a:cubicBezTo>
                      <a:cubicBezTo>
                        <a:pt x="14698" y="7598"/>
                        <a:pt x="18185" y="2865"/>
                        <a:pt x="20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3" name="Freeform 5697">
                  <a:extLst>
                    <a:ext uri="{FF2B5EF4-FFF2-40B4-BE49-F238E27FC236}">
                      <a16:creationId xmlns:a16="http://schemas.microsoft.com/office/drawing/2014/main" id="{FDF40933-7E33-EA0D-28A5-980A297E21EF}"/>
                    </a:ext>
                  </a:extLst>
                </p:cNvPr>
                <p:cNvSpPr/>
                <p:nvPr/>
              </p:nvSpPr>
              <p:spPr>
                <a:xfrm>
                  <a:off x="11076665" y="6078115"/>
                  <a:ext cx="19430" cy="48453"/>
                </a:xfrm>
                <a:custGeom>
                  <a:avLst/>
                  <a:gdLst>
                    <a:gd name="connsiteX0" fmla="*/ 19431 w 19430"/>
                    <a:gd name="connsiteY0" fmla="*/ 0 h 48453"/>
                    <a:gd name="connsiteX1" fmla="*/ 14074 w 19430"/>
                    <a:gd name="connsiteY1" fmla="*/ 18061 h 48453"/>
                    <a:gd name="connsiteX2" fmla="*/ 4359 w 19430"/>
                    <a:gd name="connsiteY2" fmla="*/ 32510 h 48453"/>
                    <a:gd name="connsiteX3" fmla="*/ 0 w 19430"/>
                    <a:gd name="connsiteY3" fmla="*/ 48453 h 48453"/>
                  </a:gdLst>
                  <a:ahLst/>
                  <a:cxnLst>
                    <a:cxn ang="0">
                      <a:pos x="connsiteX0" y="connsiteY0"/>
                    </a:cxn>
                    <a:cxn ang="0">
                      <a:pos x="connsiteX1" y="connsiteY1"/>
                    </a:cxn>
                    <a:cxn ang="0">
                      <a:pos x="connsiteX2" y="connsiteY2"/>
                    </a:cxn>
                    <a:cxn ang="0">
                      <a:pos x="connsiteX3" y="connsiteY3"/>
                    </a:cxn>
                  </a:cxnLst>
                  <a:rect l="l" t="t" r="r" b="b"/>
                  <a:pathLst>
                    <a:path w="19430" h="48453">
                      <a:moveTo>
                        <a:pt x="19431" y="0"/>
                      </a:moveTo>
                      <a:cubicBezTo>
                        <a:pt x="18684" y="8346"/>
                        <a:pt x="16192" y="14200"/>
                        <a:pt x="14074" y="18061"/>
                      </a:cubicBezTo>
                      <a:cubicBezTo>
                        <a:pt x="10712" y="24164"/>
                        <a:pt x="7598" y="26157"/>
                        <a:pt x="4359" y="32510"/>
                      </a:cubicBezTo>
                      <a:cubicBezTo>
                        <a:pt x="1245" y="38738"/>
                        <a:pt x="373"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4" name="Freeform 5698">
                  <a:extLst>
                    <a:ext uri="{FF2B5EF4-FFF2-40B4-BE49-F238E27FC236}">
                      <a16:creationId xmlns:a16="http://schemas.microsoft.com/office/drawing/2014/main" id="{369936D2-B1BE-3679-F042-5531F9C77691}"/>
                    </a:ext>
                  </a:extLst>
                </p:cNvPr>
                <p:cNvSpPr/>
                <p:nvPr/>
              </p:nvSpPr>
              <p:spPr>
                <a:xfrm>
                  <a:off x="11065953" y="6116430"/>
                  <a:ext cx="25978" cy="26503"/>
                </a:xfrm>
                <a:custGeom>
                  <a:avLst/>
                  <a:gdLst>
                    <a:gd name="connsiteX0" fmla="*/ 996 w 25978"/>
                    <a:gd name="connsiteY0" fmla="*/ 8145 h 26503"/>
                    <a:gd name="connsiteX1" fmla="*/ 18061 w 25978"/>
                    <a:gd name="connsiteY1" fmla="*/ 1045 h 26503"/>
                    <a:gd name="connsiteX2" fmla="*/ 24911 w 25978"/>
                    <a:gd name="connsiteY2" fmla="*/ 18359 h 26503"/>
                    <a:gd name="connsiteX3" fmla="*/ 7847 w 25978"/>
                    <a:gd name="connsiteY3" fmla="*/ 25459 h 26503"/>
                    <a:gd name="connsiteX4" fmla="*/ 996 w 25978"/>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7" h="26503">
                      <a:moveTo>
                        <a:pt x="996" y="8145"/>
                      </a:moveTo>
                      <a:cubicBezTo>
                        <a:pt x="3736" y="1419"/>
                        <a:pt x="11460" y="-1819"/>
                        <a:pt x="18061" y="1045"/>
                      </a:cubicBezTo>
                      <a:cubicBezTo>
                        <a:pt x="24663" y="3910"/>
                        <a:pt x="27777" y="11633"/>
                        <a:pt x="24911" y="18359"/>
                      </a:cubicBezTo>
                      <a:cubicBezTo>
                        <a:pt x="22047" y="25085"/>
                        <a:pt x="14449" y="28323"/>
                        <a:pt x="7847" y="25459"/>
                      </a:cubicBezTo>
                      <a:cubicBezTo>
                        <a:pt x="1370" y="22718"/>
                        <a:pt x="-1744" y="14995"/>
                        <a:pt x="996"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6" name="Graphic 2987">
                <a:extLst>
                  <a:ext uri="{FF2B5EF4-FFF2-40B4-BE49-F238E27FC236}">
                    <a16:creationId xmlns:a16="http://schemas.microsoft.com/office/drawing/2014/main" id="{20380EAC-653E-103D-CC3D-A7160E5C7806}"/>
                  </a:ext>
                </a:extLst>
              </p:cNvPr>
              <p:cNvGrpSpPr/>
              <p:nvPr/>
            </p:nvGrpSpPr>
            <p:grpSpPr>
              <a:xfrm>
                <a:off x="11092715" y="6015145"/>
                <a:ext cx="74425" cy="139247"/>
                <a:chOff x="11092715" y="6015145"/>
                <a:chExt cx="74425" cy="139247"/>
              </a:xfrm>
              <a:grpFill/>
            </p:grpSpPr>
            <p:sp>
              <p:nvSpPr>
                <p:cNvPr id="3923" name="Freeform 5700">
                  <a:extLst>
                    <a:ext uri="{FF2B5EF4-FFF2-40B4-BE49-F238E27FC236}">
                      <a16:creationId xmlns:a16="http://schemas.microsoft.com/office/drawing/2014/main" id="{C430ED08-0F69-86AB-43FC-34E556D52942}"/>
                    </a:ext>
                  </a:extLst>
                </p:cNvPr>
                <p:cNvSpPr/>
                <p:nvPr/>
              </p:nvSpPr>
              <p:spPr>
                <a:xfrm>
                  <a:off x="11126612" y="6033523"/>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5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446" y="6477"/>
                        <a:pt x="13079" y="12207"/>
                        <a:pt x="11833" y="16442"/>
                      </a:cubicBezTo>
                      <a:cubicBezTo>
                        <a:pt x="9841" y="23168"/>
                        <a:pt x="10588" y="26780"/>
                        <a:pt x="8346" y="33506"/>
                      </a:cubicBezTo>
                      <a:cubicBezTo>
                        <a:pt x="6104" y="39983"/>
                        <a:pt x="2616" y="44716"/>
                        <a:pt x="0" y="4770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4" name="Freeform 5701">
                  <a:extLst>
                    <a:ext uri="{FF2B5EF4-FFF2-40B4-BE49-F238E27FC236}">
                      <a16:creationId xmlns:a16="http://schemas.microsoft.com/office/drawing/2014/main" id="{36C14179-999C-478B-1579-D14A409B551C}"/>
                    </a:ext>
                  </a:extLst>
                </p:cNvPr>
                <p:cNvSpPr/>
                <p:nvPr/>
              </p:nvSpPr>
              <p:spPr>
                <a:xfrm>
                  <a:off x="11136203" y="6031655"/>
                  <a:ext cx="19680" cy="48203"/>
                </a:xfrm>
                <a:custGeom>
                  <a:avLst/>
                  <a:gdLst>
                    <a:gd name="connsiteX0" fmla="*/ 0 w 19680"/>
                    <a:gd name="connsiteY0" fmla="*/ 48204 h 48203"/>
                    <a:gd name="connsiteX1" fmla="*/ 5481 w 19680"/>
                    <a:gd name="connsiteY1" fmla="*/ 30267 h 48203"/>
                    <a:gd name="connsiteX2" fmla="*/ 15320 w 19680"/>
                    <a:gd name="connsiteY2" fmla="*/ 15943 h 48203"/>
                    <a:gd name="connsiteX3" fmla="*/ 19680 w 19680"/>
                    <a:gd name="connsiteY3" fmla="*/ 0 h 48203"/>
                  </a:gdLst>
                  <a:ahLst/>
                  <a:cxnLst>
                    <a:cxn ang="0">
                      <a:pos x="connsiteX0" y="connsiteY0"/>
                    </a:cxn>
                    <a:cxn ang="0">
                      <a:pos x="connsiteX1" y="connsiteY1"/>
                    </a:cxn>
                    <a:cxn ang="0">
                      <a:pos x="connsiteX2" y="connsiteY2"/>
                    </a:cxn>
                    <a:cxn ang="0">
                      <a:pos x="connsiteX3" y="connsiteY3"/>
                    </a:cxn>
                  </a:cxnLst>
                  <a:rect l="l" t="t" r="r" b="b"/>
                  <a:pathLst>
                    <a:path w="19680" h="48203">
                      <a:moveTo>
                        <a:pt x="0" y="48204"/>
                      </a:moveTo>
                      <a:cubicBezTo>
                        <a:pt x="872" y="39858"/>
                        <a:pt x="3363" y="34004"/>
                        <a:pt x="5481" y="30267"/>
                      </a:cubicBezTo>
                      <a:cubicBezTo>
                        <a:pt x="8969" y="24164"/>
                        <a:pt x="12082" y="22171"/>
                        <a:pt x="15320" y="15943"/>
                      </a:cubicBezTo>
                      <a:cubicBezTo>
                        <a:pt x="18434" y="9840"/>
                        <a:pt x="19431" y="3986"/>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5" name="Freeform 5702">
                  <a:extLst>
                    <a:ext uri="{FF2B5EF4-FFF2-40B4-BE49-F238E27FC236}">
                      <a16:creationId xmlns:a16="http://schemas.microsoft.com/office/drawing/2014/main" id="{47A99888-69E5-52E1-D717-A47883D7DA1F}"/>
                    </a:ext>
                  </a:extLst>
                </p:cNvPr>
                <p:cNvSpPr/>
                <p:nvPr/>
              </p:nvSpPr>
              <p:spPr>
                <a:xfrm>
                  <a:off x="11140267" y="6015145"/>
                  <a:ext cx="26873" cy="26542"/>
                </a:xfrm>
                <a:custGeom>
                  <a:avLst/>
                  <a:gdLst>
                    <a:gd name="connsiteX0" fmla="*/ 25831 w 26873"/>
                    <a:gd name="connsiteY0" fmla="*/ 18503 h 26542"/>
                    <a:gd name="connsiteX1" fmla="*/ 8268 w 26873"/>
                    <a:gd name="connsiteY1" fmla="*/ 25478 h 26542"/>
                    <a:gd name="connsiteX2" fmla="*/ 1043 w 26873"/>
                    <a:gd name="connsiteY2" fmla="*/ 8040 h 26542"/>
                    <a:gd name="connsiteX3" fmla="*/ 18606 w 26873"/>
                    <a:gd name="connsiteY3" fmla="*/ 1065 h 26542"/>
                    <a:gd name="connsiteX4" fmla="*/ 25831 w 2687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542">
                      <a:moveTo>
                        <a:pt x="25831" y="18503"/>
                      </a:moveTo>
                      <a:cubicBezTo>
                        <a:pt x="22965" y="25229"/>
                        <a:pt x="15118" y="28343"/>
                        <a:pt x="8268" y="25478"/>
                      </a:cubicBezTo>
                      <a:cubicBezTo>
                        <a:pt x="1417" y="22613"/>
                        <a:pt x="-1821" y="14766"/>
                        <a:pt x="1043" y="8040"/>
                      </a:cubicBezTo>
                      <a:cubicBezTo>
                        <a:pt x="3908" y="1314"/>
                        <a:pt x="11756" y="-1800"/>
                        <a:pt x="18606" y="1065"/>
                      </a:cubicBezTo>
                      <a:cubicBezTo>
                        <a:pt x="25457" y="3929"/>
                        <a:pt x="28695" y="11901"/>
                        <a:pt x="25831"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6" name="Freeform 5703">
                  <a:extLst>
                    <a:ext uri="{FF2B5EF4-FFF2-40B4-BE49-F238E27FC236}">
                      <a16:creationId xmlns:a16="http://schemas.microsoft.com/office/drawing/2014/main" id="{E4A22087-2C8F-F000-8294-744057FEA788}"/>
                    </a:ext>
                  </a:extLst>
                </p:cNvPr>
                <p:cNvSpPr/>
                <p:nvPr/>
              </p:nvSpPr>
              <p:spPr>
                <a:xfrm>
                  <a:off x="11111790" y="6088204"/>
                  <a:ext cx="21050" cy="47705"/>
                </a:xfrm>
                <a:custGeom>
                  <a:avLst/>
                  <a:gdLst>
                    <a:gd name="connsiteX0" fmla="*/ 0 w 21050"/>
                    <a:gd name="connsiteY0" fmla="*/ 47706 h 47705"/>
                    <a:gd name="connsiteX1" fmla="*/ 9093 w 21050"/>
                    <a:gd name="connsiteY1" fmla="*/ 31264 h 47705"/>
                    <a:gd name="connsiteX2" fmla="*/ 12705 w 21050"/>
                    <a:gd name="connsiteY2" fmla="*/ 14200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5357" y="41229"/>
                        <a:pt x="7847" y="35375"/>
                        <a:pt x="9093" y="31264"/>
                      </a:cubicBezTo>
                      <a:cubicBezTo>
                        <a:pt x="11086" y="24538"/>
                        <a:pt x="10339" y="20926"/>
                        <a:pt x="12705" y="14200"/>
                      </a:cubicBezTo>
                      <a:cubicBezTo>
                        <a:pt x="14947" y="7723"/>
                        <a:pt x="18435" y="2990"/>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7" name="Freeform 5704">
                  <a:extLst>
                    <a:ext uri="{FF2B5EF4-FFF2-40B4-BE49-F238E27FC236}">
                      <a16:creationId xmlns:a16="http://schemas.microsoft.com/office/drawing/2014/main" id="{4D090F89-9134-0285-1EDC-AF95489C3861}"/>
                    </a:ext>
                  </a:extLst>
                </p:cNvPr>
                <p:cNvSpPr/>
                <p:nvPr/>
              </p:nvSpPr>
              <p:spPr>
                <a:xfrm>
                  <a:off x="11103444" y="6089574"/>
                  <a:ext cx="19805" cy="48328"/>
                </a:xfrm>
                <a:custGeom>
                  <a:avLst/>
                  <a:gdLst>
                    <a:gd name="connsiteX0" fmla="*/ 19805 w 19805"/>
                    <a:gd name="connsiteY0" fmla="*/ 0 h 48328"/>
                    <a:gd name="connsiteX1" fmla="*/ 14324 w 19805"/>
                    <a:gd name="connsiteY1" fmla="*/ 17936 h 48328"/>
                    <a:gd name="connsiteX2" fmla="*/ 4484 w 19805"/>
                    <a:gd name="connsiteY2" fmla="*/ 32385 h 48328"/>
                    <a:gd name="connsiteX3" fmla="*/ 0 w 1980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0"/>
                      </a:moveTo>
                      <a:cubicBezTo>
                        <a:pt x="18933" y="8345"/>
                        <a:pt x="16442" y="14199"/>
                        <a:pt x="14324" y="17936"/>
                      </a:cubicBezTo>
                      <a:cubicBezTo>
                        <a:pt x="10836" y="24040"/>
                        <a:pt x="7723" y="26033"/>
                        <a:pt x="4484" y="32385"/>
                      </a:cubicBezTo>
                      <a:cubicBezTo>
                        <a:pt x="1370" y="38488"/>
                        <a:pt x="374"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8" name="Freeform 5705">
                  <a:extLst>
                    <a:ext uri="{FF2B5EF4-FFF2-40B4-BE49-F238E27FC236}">
                      <a16:creationId xmlns:a16="http://schemas.microsoft.com/office/drawing/2014/main" id="{24E56731-FC72-40AA-662C-97C2F2549D23}"/>
                    </a:ext>
                  </a:extLst>
                </p:cNvPr>
                <p:cNvSpPr/>
                <p:nvPr/>
              </p:nvSpPr>
              <p:spPr>
                <a:xfrm>
                  <a:off x="11092715" y="6127889"/>
                  <a:ext cx="26120" cy="26503"/>
                </a:xfrm>
                <a:custGeom>
                  <a:avLst/>
                  <a:gdLst>
                    <a:gd name="connsiteX0" fmla="*/ 1014 w 26120"/>
                    <a:gd name="connsiteY0" fmla="*/ 8145 h 26503"/>
                    <a:gd name="connsiteX1" fmla="*/ 18203 w 26120"/>
                    <a:gd name="connsiteY1" fmla="*/ 1045 h 26503"/>
                    <a:gd name="connsiteX2" fmla="*/ 25054 w 26120"/>
                    <a:gd name="connsiteY2" fmla="*/ 18359 h 26503"/>
                    <a:gd name="connsiteX3" fmla="*/ 7865 w 26120"/>
                    <a:gd name="connsiteY3" fmla="*/ 25458 h 26503"/>
                    <a:gd name="connsiteX4" fmla="*/ 1014 w 26120"/>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0" h="26503">
                      <a:moveTo>
                        <a:pt x="1014" y="8145"/>
                      </a:moveTo>
                      <a:cubicBezTo>
                        <a:pt x="3879" y="1419"/>
                        <a:pt x="11601" y="-1820"/>
                        <a:pt x="18203" y="1045"/>
                      </a:cubicBezTo>
                      <a:cubicBezTo>
                        <a:pt x="24804" y="3910"/>
                        <a:pt x="27918" y="11633"/>
                        <a:pt x="25054" y="18359"/>
                      </a:cubicBezTo>
                      <a:cubicBezTo>
                        <a:pt x="22188" y="25085"/>
                        <a:pt x="14466" y="28323"/>
                        <a:pt x="7865" y="25458"/>
                      </a:cubicBezTo>
                      <a:cubicBezTo>
                        <a:pt x="1263" y="22593"/>
                        <a:pt x="-1726" y="14871"/>
                        <a:pt x="1014"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7" name="Graphic 2987">
                <a:extLst>
                  <a:ext uri="{FF2B5EF4-FFF2-40B4-BE49-F238E27FC236}">
                    <a16:creationId xmlns:a16="http://schemas.microsoft.com/office/drawing/2014/main" id="{D3BF09FC-1BE5-7D64-DBA1-A2AF1AAC95F3}"/>
                  </a:ext>
                </a:extLst>
              </p:cNvPr>
              <p:cNvGrpSpPr/>
              <p:nvPr/>
            </p:nvGrpSpPr>
            <p:grpSpPr>
              <a:xfrm>
                <a:off x="11119422" y="6026905"/>
                <a:ext cx="75441" cy="138628"/>
                <a:chOff x="11119422" y="6026905"/>
                <a:chExt cx="75441" cy="138628"/>
              </a:xfrm>
              <a:grpFill/>
            </p:grpSpPr>
            <p:sp>
              <p:nvSpPr>
                <p:cNvPr id="3917" name="Freeform 5707">
                  <a:extLst>
                    <a:ext uri="{FF2B5EF4-FFF2-40B4-BE49-F238E27FC236}">
                      <a16:creationId xmlns:a16="http://schemas.microsoft.com/office/drawing/2014/main" id="{B3C080AC-6CCA-B11E-147A-CB5521D06390}"/>
                    </a:ext>
                  </a:extLst>
                </p:cNvPr>
                <p:cNvSpPr/>
                <p:nvPr/>
              </p:nvSpPr>
              <p:spPr>
                <a:xfrm>
                  <a:off x="11153765" y="6045232"/>
                  <a:ext cx="21424" cy="47581"/>
                </a:xfrm>
                <a:custGeom>
                  <a:avLst/>
                  <a:gdLst>
                    <a:gd name="connsiteX0" fmla="*/ 21424 w 21424"/>
                    <a:gd name="connsiteY0" fmla="*/ 0 h 47581"/>
                    <a:gd name="connsiteX1" fmla="*/ 12082 w 21424"/>
                    <a:gd name="connsiteY1" fmla="*/ 16317 h 47581"/>
                    <a:gd name="connsiteX2" fmla="*/ 8471 w 21424"/>
                    <a:gd name="connsiteY2" fmla="*/ 33381 h 47581"/>
                    <a:gd name="connsiteX3" fmla="*/ 0 w 21424"/>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4" h="47581">
                      <a:moveTo>
                        <a:pt x="21424" y="0"/>
                      </a:moveTo>
                      <a:cubicBezTo>
                        <a:pt x="15944" y="6353"/>
                        <a:pt x="13452" y="12206"/>
                        <a:pt x="12082" y="16317"/>
                      </a:cubicBezTo>
                      <a:cubicBezTo>
                        <a:pt x="10090" y="23043"/>
                        <a:pt x="10837" y="26655"/>
                        <a:pt x="8471" y="33381"/>
                      </a:cubicBezTo>
                      <a:cubicBezTo>
                        <a:pt x="6228" y="39858"/>
                        <a:pt x="2616" y="44591"/>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8" name="Freeform 5708">
                  <a:extLst>
                    <a:ext uri="{FF2B5EF4-FFF2-40B4-BE49-F238E27FC236}">
                      <a16:creationId xmlns:a16="http://schemas.microsoft.com/office/drawing/2014/main" id="{2A48DB18-2138-1193-6F1E-9BDA92EFD865}"/>
                    </a:ext>
                  </a:extLst>
                </p:cNvPr>
                <p:cNvSpPr/>
                <p:nvPr/>
              </p:nvSpPr>
              <p:spPr>
                <a:xfrm>
                  <a:off x="11163606" y="6043488"/>
                  <a:ext cx="20053" cy="48079"/>
                </a:xfrm>
                <a:custGeom>
                  <a:avLst/>
                  <a:gdLst>
                    <a:gd name="connsiteX0" fmla="*/ 0 w 20053"/>
                    <a:gd name="connsiteY0" fmla="*/ 48079 h 48079"/>
                    <a:gd name="connsiteX1" fmla="*/ 5605 w 20053"/>
                    <a:gd name="connsiteY1" fmla="*/ 30143 h 48079"/>
                    <a:gd name="connsiteX2" fmla="*/ 15570 w 20053"/>
                    <a:gd name="connsiteY2" fmla="*/ 1581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872" y="39734"/>
                        <a:pt x="3487" y="33880"/>
                        <a:pt x="5605" y="30143"/>
                      </a:cubicBezTo>
                      <a:cubicBezTo>
                        <a:pt x="9092" y="24040"/>
                        <a:pt x="12331" y="22171"/>
                        <a:pt x="15570" y="15819"/>
                      </a:cubicBezTo>
                      <a:cubicBezTo>
                        <a:pt x="18808" y="9715"/>
                        <a:pt x="19804" y="3861"/>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9" name="Freeform 5709">
                  <a:extLst>
                    <a:ext uri="{FF2B5EF4-FFF2-40B4-BE49-F238E27FC236}">
                      <a16:creationId xmlns:a16="http://schemas.microsoft.com/office/drawing/2014/main" id="{1434FF0E-56D1-C308-C57D-8D4158CED3C9}"/>
                    </a:ext>
                  </a:extLst>
                </p:cNvPr>
                <p:cNvSpPr/>
                <p:nvPr/>
              </p:nvSpPr>
              <p:spPr>
                <a:xfrm>
                  <a:off x="11167899" y="6026905"/>
                  <a:ext cx="26964" cy="26564"/>
                </a:xfrm>
                <a:custGeom>
                  <a:avLst/>
                  <a:gdLst>
                    <a:gd name="connsiteX0" fmla="*/ 25849 w 26964"/>
                    <a:gd name="connsiteY0" fmla="*/ 18576 h 26564"/>
                    <a:gd name="connsiteX1" fmla="*/ 8162 w 26964"/>
                    <a:gd name="connsiteY1" fmla="*/ 25427 h 26564"/>
                    <a:gd name="connsiteX2" fmla="*/ 1063 w 26964"/>
                    <a:gd name="connsiteY2" fmla="*/ 7988 h 26564"/>
                    <a:gd name="connsiteX3" fmla="*/ 18750 w 26964"/>
                    <a:gd name="connsiteY3" fmla="*/ 1138 h 26564"/>
                    <a:gd name="connsiteX4" fmla="*/ 25849 w 26964"/>
                    <a:gd name="connsiteY4" fmla="*/ 18576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4" h="26563">
                      <a:moveTo>
                        <a:pt x="25849" y="18576"/>
                      </a:moveTo>
                      <a:cubicBezTo>
                        <a:pt x="22860" y="25302"/>
                        <a:pt x="15013" y="28416"/>
                        <a:pt x="8162" y="25427"/>
                      </a:cubicBezTo>
                      <a:cubicBezTo>
                        <a:pt x="1312" y="22562"/>
                        <a:pt x="-1802" y="14714"/>
                        <a:pt x="1063" y="7988"/>
                      </a:cubicBezTo>
                      <a:cubicBezTo>
                        <a:pt x="3927" y="1262"/>
                        <a:pt x="11899" y="-1852"/>
                        <a:pt x="18750" y="1138"/>
                      </a:cubicBezTo>
                      <a:cubicBezTo>
                        <a:pt x="25600" y="4127"/>
                        <a:pt x="28839" y="11849"/>
                        <a:pt x="25849" y="185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0" name="Freeform 5710">
                  <a:extLst>
                    <a:ext uri="{FF2B5EF4-FFF2-40B4-BE49-F238E27FC236}">
                      <a16:creationId xmlns:a16="http://schemas.microsoft.com/office/drawing/2014/main" id="{88347DD8-D21C-2E0B-59E8-7CFB878F595E}"/>
                    </a:ext>
                  </a:extLst>
                </p:cNvPr>
                <p:cNvSpPr/>
                <p:nvPr/>
              </p:nvSpPr>
              <p:spPr>
                <a:xfrm>
                  <a:off x="11138694" y="6099912"/>
                  <a:ext cx="21548" cy="47456"/>
                </a:xfrm>
                <a:custGeom>
                  <a:avLst/>
                  <a:gdLst>
                    <a:gd name="connsiteX0" fmla="*/ 0 w 21548"/>
                    <a:gd name="connsiteY0" fmla="*/ 47456 h 47456"/>
                    <a:gd name="connsiteX1" fmla="*/ 9342 w 21548"/>
                    <a:gd name="connsiteY1" fmla="*/ 31139 h 47456"/>
                    <a:gd name="connsiteX2" fmla="*/ 13078 w 21548"/>
                    <a:gd name="connsiteY2" fmla="*/ 14200 h 47456"/>
                    <a:gd name="connsiteX3" fmla="*/ 21548 w 21548"/>
                    <a:gd name="connsiteY3" fmla="*/ 0 h 47456"/>
                  </a:gdLst>
                  <a:ahLst/>
                  <a:cxnLst>
                    <a:cxn ang="0">
                      <a:pos x="connsiteX0" y="connsiteY0"/>
                    </a:cxn>
                    <a:cxn ang="0">
                      <a:pos x="connsiteX1" y="connsiteY1"/>
                    </a:cxn>
                    <a:cxn ang="0">
                      <a:pos x="connsiteX2" y="connsiteY2"/>
                    </a:cxn>
                    <a:cxn ang="0">
                      <a:pos x="connsiteX3" y="connsiteY3"/>
                    </a:cxn>
                  </a:cxnLst>
                  <a:rect l="l" t="t" r="r" b="b"/>
                  <a:pathLst>
                    <a:path w="21548" h="47456">
                      <a:moveTo>
                        <a:pt x="0" y="47456"/>
                      </a:moveTo>
                      <a:cubicBezTo>
                        <a:pt x="5481" y="40980"/>
                        <a:pt x="7972" y="35250"/>
                        <a:pt x="9342" y="31139"/>
                      </a:cubicBezTo>
                      <a:cubicBezTo>
                        <a:pt x="11459" y="24414"/>
                        <a:pt x="10712" y="20801"/>
                        <a:pt x="13078" y="14200"/>
                      </a:cubicBezTo>
                      <a:cubicBezTo>
                        <a:pt x="15320" y="7723"/>
                        <a:pt x="18933" y="2990"/>
                        <a:pt x="215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1" name="Freeform 5711">
                  <a:extLst>
                    <a:ext uri="{FF2B5EF4-FFF2-40B4-BE49-F238E27FC236}">
                      <a16:creationId xmlns:a16="http://schemas.microsoft.com/office/drawing/2014/main" id="{D80CE43B-3D61-8E7B-3FA8-5E12336E4C4E}"/>
                    </a:ext>
                  </a:extLst>
                </p:cNvPr>
                <p:cNvSpPr/>
                <p:nvPr/>
              </p:nvSpPr>
              <p:spPr>
                <a:xfrm>
                  <a:off x="11130225" y="6101158"/>
                  <a:ext cx="20178" cy="48079"/>
                </a:xfrm>
                <a:custGeom>
                  <a:avLst/>
                  <a:gdLst>
                    <a:gd name="connsiteX0" fmla="*/ 20178 w 20178"/>
                    <a:gd name="connsiteY0" fmla="*/ 0 h 48079"/>
                    <a:gd name="connsiteX1" fmla="*/ 14573 w 20178"/>
                    <a:gd name="connsiteY1" fmla="*/ 17936 h 48079"/>
                    <a:gd name="connsiteX2" fmla="*/ 4609 w 20178"/>
                    <a:gd name="connsiteY2" fmla="*/ 32260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9306" y="8346"/>
                        <a:pt x="16690" y="14200"/>
                        <a:pt x="14573" y="17936"/>
                      </a:cubicBezTo>
                      <a:cubicBezTo>
                        <a:pt x="11085" y="24040"/>
                        <a:pt x="7971" y="26033"/>
                        <a:pt x="4609" y="32260"/>
                      </a:cubicBezTo>
                      <a:cubicBezTo>
                        <a:pt x="1370" y="38364"/>
                        <a:pt x="373"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2" name="Freeform 5712">
                  <a:extLst>
                    <a:ext uri="{FF2B5EF4-FFF2-40B4-BE49-F238E27FC236}">
                      <a16:creationId xmlns:a16="http://schemas.microsoft.com/office/drawing/2014/main" id="{DD60A468-8172-3314-CCD1-9662CC1E1232}"/>
                    </a:ext>
                  </a:extLst>
                </p:cNvPr>
                <p:cNvSpPr/>
                <p:nvPr/>
              </p:nvSpPr>
              <p:spPr>
                <a:xfrm>
                  <a:off x="11119422" y="6139276"/>
                  <a:ext cx="26213" cy="26257"/>
                </a:xfrm>
                <a:custGeom>
                  <a:avLst/>
                  <a:gdLst>
                    <a:gd name="connsiteX0" fmla="*/ 1087 w 26213"/>
                    <a:gd name="connsiteY0" fmla="*/ 8092 h 26257"/>
                    <a:gd name="connsiteX1" fmla="*/ 18400 w 26213"/>
                    <a:gd name="connsiteY1" fmla="*/ 993 h 26257"/>
                    <a:gd name="connsiteX2" fmla="*/ 25126 w 26213"/>
                    <a:gd name="connsiteY2" fmla="*/ 18182 h 26257"/>
                    <a:gd name="connsiteX3" fmla="*/ 7813 w 26213"/>
                    <a:gd name="connsiteY3" fmla="*/ 25281 h 26257"/>
                    <a:gd name="connsiteX4" fmla="*/ 1087 w 26213"/>
                    <a:gd name="connsiteY4" fmla="*/ 8092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257">
                      <a:moveTo>
                        <a:pt x="1087" y="8092"/>
                      </a:moveTo>
                      <a:cubicBezTo>
                        <a:pt x="3952" y="1367"/>
                        <a:pt x="11675" y="-1747"/>
                        <a:pt x="18400" y="993"/>
                      </a:cubicBezTo>
                      <a:cubicBezTo>
                        <a:pt x="25002" y="3857"/>
                        <a:pt x="27992" y="11580"/>
                        <a:pt x="25126" y="18182"/>
                      </a:cubicBezTo>
                      <a:cubicBezTo>
                        <a:pt x="22262" y="24783"/>
                        <a:pt x="14414" y="28022"/>
                        <a:pt x="7813" y="25281"/>
                      </a:cubicBezTo>
                      <a:cubicBezTo>
                        <a:pt x="1211" y="22541"/>
                        <a:pt x="-1778" y="14819"/>
                        <a:pt x="1087" y="80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8" name="Graphic 2987">
                <a:extLst>
                  <a:ext uri="{FF2B5EF4-FFF2-40B4-BE49-F238E27FC236}">
                    <a16:creationId xmlns:a16="http://schemas.microsoft.com/office/drawing/2014/main" id="{F654A590-E085-04B4-E15C-23C8CEBADE77}"/>
                  </a:ext>
                </a:extLst>
              </p:cNvPr>
              <p:cNvGrpSpPr/>
              <p:nvPr/>
            </p:nvGrpSpPr>
            <p:grpSpPr>
              <a:xfrm>
                <a:off x="11146200" y="6038837"/>
                <a:ext cx="76214" cy="138463"/>
                <a:chOff x="11146200" y="6038837"/>
                <a:chExt cx="76214" cy="138463"/>
              </a:xfrm>
              <a:grpFill/>
            </p:grpSpPr>
            <p:sp>
              <p:nvSpPr>
                <p:cNvPr id="3911" name="Freeform 5714">
                  <a:extLst>
                    <a:ext uri="{FF2B5EF4-FFF2-40B4-BE49-F238E27FC236}">
                      <a16:creationId xmlns:a16="http://schemas.microsoft.com/office/drawing/2014/main" id="{F93A22EE-F486-BE2D-C34B-D128B25446CC}"/>
                    </a:ext>
                  </a:extLst>
                </p:cNvPr>
                <p:cNvSpPr/>
                <p:nvPr/>
              </p:nvSpPr>
              <p:spPr>
                <a:xfrm>
                  <a:off x="11180920" y="6057189"/>
                  <a:ext cx="21797" cy="47456"/>
                </a:xfrm>
                <a:custGeom>
                  <a:avLst/>
                  <a:gdLst>
                    <a:gd name="connsiteX0" fmla="*/ 21798 w 21797"/>
                    <a:gd name="connsiteY0" fmla="*/ 0 h 47456"/>
                    <a:gd name="connsiteX1" fmla="*/ 12456 w 21797"/>
                    <a:gd name="connsiteY1" fmla="*/ 16317 h 47456"/>
                    <a:gd name="connsiteX2" fmla="*/ 8595 w 21797"/>
                    <a:gd name="connsiteY2" fmla="*/ 33381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16192" y="6353"/>
                        <a:pt x="13701" y="12082"/>
                        <a:pt x="12456" y="16317"/>
                      </a:cubicBezTo>
                      <a:cubicBezTo>
                        <a:pt x="10338" y="23043"/>
                        <a:pt x="11085" y="26656"/>
                        <a:pt x="8595" y="33381"/>
                      </a:cubicBezTo>
                      <a:cubicBezTo>
                        <a:pt x="6228" y="39859"/>
                        <a:pt x="2615" y="44592"/>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2" name="Freeform 5715">
                  <a:extLst>
                    <a:ext uri="{FF2B5EF4-FFF2-40B4-BE49-F238E27FC236}">
                      <a16:creationId xmlns:a16="http://schemas.microsoft.com/office/drawing/2014/main" id="{F7E0AD1B-1419-FB78-D10D-2D51A7AAEDE6}"/>
                    </a:ext>
                  </a:extLst>
                </p:cNvPr>
                <p:cNvSpPr/>
                <p:nvPr/>
              </p:nvSpPr>
              <p:spPr>
                <a:xfrm>
                  <a:off x="11190635" y="6055446"/>
                  <a:ext cx="20677" cy="47954"/>
                </a:xfrm>
                <a:custGeom>
                  <a:avLst/>
                  <a:gdLst>
                    <a:gd name="connsiteX0" fmla="*/ 0 w 20677"/>
                    <a:gd name="connsiteY0" fmla="*/ 47954 h 47954"/>
                    <a:gd name="connsiteX1" fmla="*/ 5855 w 20677"/>
                    <a:gd name="connsiteY1" fmla="*/ 30018 h 47954"/>
                    <a:gd name="connsiteX2" fmla="*/ 15944 w 20677"/>
                    <a:gd name="connsiteY2" fmla="*/ 15819 h 47954"/>
                    <a:gd name="connsiteX3" fmla="*/ 20677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0" y="47954"/>
                      </a:moveTo>
                      <a:cubicBezTo>
                        <a:pt x="997" y="39609"/>
                        <a:pt x="3612" y="33755"/>
                        <a:pt x="5855" y="30018"/>
                      </a:cubicBezTo>
                      <a:cubicBezTo>
                        <a:pt x="9342" y="24040"/>
                        <a:pt x="12580" y="22171"/>
                        <a:pt x="15944" y="15819"/>
                      </a:cubicBezTo>
                      <a:cubicBezTo>
                        <a:pt x="19182" y="9715"/>
                        <a:pt x="20303" y="3861"/>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3" name="Freeform 5716">
                  <a:extLst>
                    <a:ext uri="{FF2B5EF4-FFF2-40B4-BE49-F238E27FC236}">
                      <a16:creationId xmlns:a16="http://schemas.microsoft.com/office/drawing/2014/main" id="{A3C708F8-15AA-1EBD-33D0-4A7ECA4ABFFF}"/>
                    </a:ext>
                  </a:extLst>
                </p:cNvPr>
                <p:cNvSpPr/>
                <p:nvPr/>
              </p:nvSpPr>
              <p:spPr>
                <a:xfrm>
                  <a:off x="11195600" y="6038837"/>
                  <a:ext cx="26813" cy="26708"/>
                </a:xfrm>
                <a:custGeom>
                  <a:avLst/>
                  <a:gdLst>
                    <a:gd name="connsiteX0" fmla="*/ 25676 w 26813"/>
                    <a:gd name="connsiteY0" fmla="*/ 18975 h 26708"/>
                    <a:gd name="connsiteX1" fmla="*/ 7988 w 26813"/>
                    <a:gd name="connsiteY1" fmla="*/ 25452 h 26708"/>
                    <a:gd name="connsiteX2" fmla="*/ 1138 w 26813"/>
                    <a:gd name="connsiteY2" fmla="*/ 7889 h 26708"/>
                    <a:gd name="connsiteX3" fmla="*/ 18825 w 26813"/>
                    <a:gd name="connsiteY3" fmla="*/ 1288 h 26708"/>
                    <a:gd name="connsiteX4" fmla="*/ 25676 w 26813"/>
                    <a:gd name="connsiteY4" fmla="*/ 18975 h 2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708">
                      <a:moveTo>
                        <a:pt x="25676" y="18975"/>
                      </a:moveTo>
                      <a:cubicBezTo>
                        <a:pt x="22687" y="25701"/>
                        <a:pt x="14715" y="28566"/>
                        <a:pt x="7988" y="25452"/>
                      </a:cubicBezTo>
                      <a:cubicBezTo>
                        <a:pt x="1262" y="22338"/>
                        <a:pt x="-1852" y="14491"/>
                        <a:pt x="1138" y="7889"/>
                      </a:cubicBezTo>
                      <a:cubicBezTo>
                        <a:pt x="4127" y="1163"/>
                        <a:pt x="12099" y="-1951"/>
                        <a:pt x="18825" y="1288"/>
                      </a:cubicBezTo>
                      <a:cubicBezTo>
                        <a:pt x="25551" y="4402"/>
                        <a:pt x="28665" y="12373"/>
                        <a:pt x="25676" y="18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4" name="Freeform 5717">
                  <a:extLst>
                    <a:ext uri="{FF2B5EF4-FFF2-40B4-BE49-F238E27FC236}">
                      <a16:creationId xmlns:a16="http://schemas.microsoft.com/office/drawing/2014/main" id="{D9AF6D95-5B31-70F8-5DD6-33D39AF74135}"/>
                    </a:ext>
                  </a:extLst>
                </p:cNvPr>
                <p:cNvSpPr/>
                <p:nvPr/>
              </p:nvSpPr>
              <p:spPr>
                <a:xfrm>
                  <a:off x="11165350" y="6111621"/>
                  <a:ext cx="21797" cy="47456"/>
                </a:xfrm>
                <a:custGeom>
                  <a:avLst/>
                  <a:gdLst>
                    <a:gd name="connsiteX0" fmla="*/ 0 w 21797"/>
                    <a:gd name="connsiteY0" fmla="*/ 47456 h 47456"/>
                    <a:gd name="connsiteX1" fmla="*/ 9342 w 21797"/>
                    <a:gd name="connsiteY1" fmla="*/ 31139 h 47456"/>
                    <a:gd name="connsiteX2" fmla="*/ 13203 w 21797"/>
                    <a:gd name="connsiteY2" fmla="*/ 14075 h 47456"/>
                    <a:gd name="connsiteX3" fmla="*/ 21798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0" y="47456"/>
                      </a:moveTo>
                      <a:cubicBezTo>
                        <a:pt x="5481" y="41104"/>
                        <a:pt x="8096" y="35374"/>
                        <a:pt x="9342" y="31139"/>
                      </a:cubicBezTo>
                      <a:cubicBezTo>
                        <a:pt x="11459" y="24414"/>
                        <a:pt x="10836" y="20801"/>
                        <a:pt x="13203" y="14075"/>
                      </a:cubicBezTo>
                      <a:cubicBezTo>
                        <a:pt x="15570" y="7598"/>
                        <a:pt x="19182" y="2990"/>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5" name="Freeform 5718">
                  <a:extLst>
                    <a:ext uri="{FF2B5EF4-FFF2-40B4-BE49-F238E27FC236}">
                      <a16:creationId xmlns:a16="http://schemas.microsoft.com/office/drawing/2014/main" id="{EF48D091-5763-9502-6EB9-9D33047F734E}"/>
                    </a:ext>
                  </a:extLst>
                </p:cNvPr>
                <p:cNvSpPr/>
                <p:nvPr/>
              </p:nvSpPr>
              <p:spPr>
                <a:xfrm>
                  <a:off x="11157004" y="6112867"/>
                  <a:ext cx="20552" cy="47954"/>
                </a:xfrm>
                <a:custGeom>
                  <a:avLst/>
                  <a:gdLst>
                    <a:gd name="connsiteX0" fmla="*/ 20552 w 20552"/>
                    <a:gd name="connsiteY0" fmla="*/ 0 h 47954"/>
                    <a:gd name="connsiteX1" fmla="*/ 14698 w 20552"/>
                    <a:gd name="connsiteY1" fmla="*/ 17936 h 47954"/>
                    <a:gd name="connsiteX2" fmla="*/ 4733 w 20552"/>
                    <a:gd name="connsiteY2" fmla="*/ 32136 h 47954"/>
                    <a:gd name="connsiteX3" fmla="*/ 0 w 2055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0"/>
                      </a:moveTo>
                      <a:cubicBezTo>
                        <a:pt x="19556" y="8346"/>
                        <a:pt x="16940" y="14200"/>
                        <a:pt x="14698" y="17936"/>
                      </a:cubicBezTo>
                      <a:cubicBezTo>
                        <a:pt x="11210" y="23915"/>
                        <a:pt x="7972" y="25908"/>
                        <a:pt x="4733" y="32136"/>
                      </a:cubicBezTo>
                      <a:cubicBezTo>
                        <a:pt x="1495" y="38239"/>
                        <a:pt x="374" y="44094"/>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6" name="Freeform 5719">
                  <a:extLst>
                    <a:ext uri="{FF2B5EF4-FFF2-40B4-BE49-F238E27FC236}">
                      <a16:creationId xmlns:a16="http://schemas.microsoft.com/office/drawing/2014/main" id="{C394D35C-8F2E-D07D-8045-F811A72048F5}"/>
                    </a:ext>
                  </a:extLst>
                </p:cNvPr>
                <p:cNvSpPr/>
                <p:nvPr/>
              </p:nvSpPr>
              <p:spPr>
                <a:xfrm>
                  <a:off x="11146200" y="6150715"/>
                  <a:ext cx="26062" cy="26585"/>
                </a:xfrm>
                <a:custGeom>
                  <a:avLst/>
                  <a:gdLst>
                    <a:gd name="connsiteX0" fmla="*/ 1089 w 26062"/>
                    <a:gd name="connsiteY0" fmla="*/ 7988 h 26585"/>
                    <a:gd name="connsiteX1" fmla="*/ 18403 w 26062"/>
                    <a:gd name="connsiteY1" fmla="*/ 1138 h 26585"/>
                    <a:gd name="connsiteX2" fmla="*/ 24879 w 26062"/>
                    <a:gd name="connsiteY2" fmla="*/ 18700 h 26585"/>
                    <a:gd name="connsiteX3" fmla="*/ 7690 w 26062"/>
                    <a:gd name="connsiteY3" fmla="*/ 25427 h 26585"/>
                    <a:gd name="connsiteX4" fmla="*/ 1089 w 26062"/>
                    <a:gd name="connsiteY4" fmla="*/ 7988 h 26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2" h="26585">
                      <a:moveTo>
                        <a:pt x="1089" y="7988"/>
                      </a:moveTo>
                      <a:cubicBezTo>
                        <a:pt x="4078" y="1262"/>
                        <a:pt x="11801" y="-1852"/>
                        <a:pt x="18403" y="1138"/>
                      </a:cubicBezTo>
                      <a:cubicBezTo>
                        <a:pt x="25004" y="4127"/>
                        <a:pt x="27869" y="11974"/>
                        <a:pt x="24879" y="18700"/>
                      </a:cubicBezTo>
                      <a:cubicBezTo>
                        <a:pt x="21890" y="25427"/>
                        <a:pt x="14168" y="28416"/>
                        <a:pt x="7690" y="25427"/>
                      </a:cubicBezTo>
                      <a:cubicBezTo>
                        <a:pt x="1214" y="22437"/>
                        <a:pt x="-1776" y="14714"/>
                        <a:pt x="1089"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9" name="Graphic 2987">
                <a:extLst>
                  <a:ext uri="{FF2B5EF4-FFF2-40B4-BE49-F238E27FC236}">
                    <a16:creationId xmlns:a16="http://schemas.microsoft.com/office/drawing/2014/main" id="{24BDC47D-6064-0714-3566-A6ED60CE9A65}"/>
                  </a:ext>
                </a:extLst>
              </p:cNvPr>
              <p:cNvGrpSpPr/>
              <p:nvPr/>
            </p:nvGrpSpPr>
            <p:grpSpPr>
              <a:xfrm>
                <a:off x="11172635" y="6051449"/>
                <a:ext cx="77151" cy="137936"/>
                <a:chOff x="11172635" y="6051449"/>
                <a:chExt cx="77151" cy="137936"/>
              </a:xfrm>
              <a:grpFill/>
            </p:grpSpPr>
            <p:sp>
              <p:nvSpPr>
                <p:cNvPr id="3905" name="Freeform 5721">
                  <a:extLst>
                    <a:ext uri="{FF2B5EF4-FFF2-40B4-BE49-F238E27FC236}">
                      <a16:creationId xmlns:a16="http://schemas.microsoft.com/office/drawing/2014/main" id="{208504A3-BB81-3A9F-E0D8-46AA8A5BB344}"/>
                    </a:ext>
                  </a:extLst>
                </p:cNvPr>
                <p:cNvSpPr/>
                <p:nvPr/>
              </p:nvSpPr>
              <p:spPr>
                <a:xfrm>
                  <a:off x="11207824" y="6069645"/>
                  <a:ext cx="22295" cy="47082"/>
                </a:xfrm>
                <a:custGeom>
                  <a:avLst/>
                  <a:gdLst>
                    <a:gd name="connsiteX0" fmla="*/ 22296 w 22295"/>
                    <a:gd name="connsiteY0" fmla="*/ 0 h 47082"/>
                    <a:gd name="connsiteX1" fmla="*/ 12705 w 22295"/>
                    <a:gd name="connsiteY1" fmla="*/ 16193 h 47082"/>
                    <a:gd name="connsiteX2" fmla="*/ 8719 w 22295"/>
                    <a:gd name="connsiteY2" fmla="*/ 33132 h 47082"/>
                    <a:gd name="connsiteX3" fmla="*/ 0 w 22295"/>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295" h="47082">
                      <a:moveTo>
                        <a:pt x="22296" y="0"/>
                      </a:moveTo>
                      <a:cubicBezTo>
                        <a:pt x="16691" y="6228"/>
                        <a:pt x="14075" y="12082"/>
                        <a:pt x="12705" y="16193"/>
                      </a:cubicBezTo>
                      <a:cubicBezTo>
                        <a:pt x="10587" y="22919"/>
                        <a:pt x="11210" y="26531"/>
                        <a:pt x="8719" y="33132"/>
                      </a:cubicBezTo>
                      <a:cubicBezTo>
                        <a:pt x="6353" y="39609"/>
                        <a:pt x="2616" y="44218"/>
                        <a:pt x="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6" name="Freeform 5722">
                  <a:extLst>
                    <a:ext uri="{FF2B5EF4-FFF2-40B4-BE49-F238E27FC236}">
                      <a16:creationId xmlns:a16="http://schemas.microsoft.com/office/drawing/2014/main" id="{94182B90-45E3-F331-0CD8-4F85B7B10722}"/>
                    </a:ext>
                  </a:extLst>
                </p:cNvPr>
                <p:cNvSpPr/>
                <p:nvPr/>
              </p:nvSpPr>
              <p:spPr>
                <a:xfrm>
                  <a:off x="11217664" y="6068150"/>
                  <a:ext cx="21050" cy="47705"/>
                </a:xfrm>
                <a:custGeom>
                  <a:avLst/>
                  <a:gdLst>
                    <a:gd name="connsiteX0" fmla="*/ 0 w 21050"/>
                    <a:gd name="connsiteY0" fmla="*/ 47705 h 47705"/>
                    <a:gd name="connsiteX1" fmla="*/ 5979 w 21050"/>
                    <a:gd name="connsiteY1" fmla="*/ 29894 h 47705"/>
                    <a:gd name="connsiteX2" fmla="*/ 16193 w 21050"/>
                    <a:gd name="connsiteY2" fmla="*/ 15819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5"/>
                      </a:moveTo>
                      <a:cubicBezTo>
                        <a:pt x="1121" y="39360"/>
                        <a:pt x="3737" y="33631"/>
                        <a:pt x="5979" y="29894"/>
                      </a:cubicBezTo>
                      <a:cubicBezTo>
                        <a:pt x="9591" y="23915"/>
                        <a:pt x="12830" y="22047"/>
                        <a:pt x="16193" y="15819"/>
                      </a:cubicBezTo>
                      <a:cubicBezTo>
                        <a:pt x="19556" y="9715"/>
                        <a:pt x="20552" y="3986"/>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7" name="Freeform 5723">
                  <a:extLst>
                    <a:ext uri="{FF2B5EF4-FFF2-40B4-BE49-F238E27FC236}">
                      <a16:creationId xmlns:a16="http://schemas.microsoft.com/office/drawing/2014/main" id="{77E9797B-0C21-BBF6-4A31-914F395E6865}"/>
                    </a:ext>
                  </a:extLst>
                </p:cNvPr>
                <p:cNvSpPr/>
                <p:nvPr/>
              </p:nvSpPr>
              <p:spPr>
                <a:xfrm>
                  <a:off x="11222982" y="6051449"/>
                  <a:ext cx="26803" cy="26603"/>
                </a:xfrm>
                <a:custGeom>
                  <a:avLst/>
                  <a:gdLst>
                    <a:gd name="connsiteX0" fmla="*/ 25572 w 26803"/>
                    <a:gd name="connsiteY0" fmla="*/ 18944 h 26603"/>
                    <a:gd name="connsiteX1" fmla="*/ 7885 w 26803"/>
                    <a:gd name="connsiteY1" fmla="*/ 25421 h 26603"/>
                    <a:gd name="connsiteX2" fmla="*/ 1159 w 26803"/>
                    <a:gd name="connsiteY2" fmla="*/ 7734 h 26603"/>
                    <a:gd name="connsiteX3" fmla="*/ 18846 w 26803"/>
                    <a:gd name="connsiteY3" fmla="*/ 1257 h 26603"/>
                    <a:gd name="connsiteX4" fmla="*/ 25572 w 26803"/>
                    <a:gd name="connsiteY4" fmla="*/ 18944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03">
                      <a:moveTo>
                        <a:pt x="25572" y="18944"/>
                      </a:moveTo>
                      <a:cubicBezTo>
                        <a:pt x="22458" y="25545"/>
                        <a:pt x="14611" y="28410"/>
                        <a:pt x="7885" y="25421"/>
                      </a:cubicBezTo>
                      <a:cubicBezTo>
                        <a:pt x="1159" y="22307"/>
                        <a:pt x="-1831" y="14460"/>
                        <a:pt x="1159" y="7734"/>
                      </a:cubicBezTo>
                      <a:cubicBezTo>
                        <a:pt x="4148" y="1007"/>
                        <a:pt x="12120" y="-1857"/>
                        <a:pt x="18846" y="1257"/>
                      </a:cubicBezTo>
                      <a:cubicBezTo>
                        <a:pt x="25697" y="4371"/>
                        <a:pt x="28686" y="12342"/>
                        <a:pt x="25572" y="18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8" name="Freeform 5724">
                  <a:extLst>
                    <a:ext uri="{FF2B5EF4-FFF2-40B4-BE49-F238E27FC236}">
                      <a16:creationId xmlns:a16="http://schemas.microsoft.com/office/drawing/2014/main" id="{88558395-CA40-79F1-24C4-7F32E986EE28}"/>
                    </a:ext>
                  </a:extLst>
                </p:cNvPr>
                <p:cNvSpPr/>
                <p:nvPr/>
              </p:nvSpPr>
              <p:spPr>
                <a:xfrm>
                  <a:off x="11191756" y="6124201"/>
                  <a:ext cx="22295" cy="47082"/>
                </a:xfrm>
                <a:custGeom>
                  <a:avLst/>
                  <a:gdLst>
                    <a:gd name="connsiteX0" fmla="*/ 0 w 22295"/>
                    <a:gd name="connsiteY0" fmla="*/ 47083 h 47082"/>
                    <a:gd name="connsiteX1" fmla="*/ 9590 w 22295"/>
                    <a:gd name="connsiteY1" fmla="*/ 30890 h 47082"/>
                    <a:gd name="connsiteX2" fmla="*/ 13576 w 22295"/>
                    <a:gd name="connsiteY2" fmla="*/ 1395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5604" y="40730"/>
                        <a:pt x="8220" y="35001"/>
                        <a:pt x="9590" y="30890"/>
                      </a:cubicBezTo>
                      <a:cubicBezTo>
                        <a:pt x="11832" y="24289"/>
                        <a:pt x="11085" y="20552"/>
                        <a:pt x="13576" y="13950"/>
                      </a:cubicBezTo>
                      <a:cubicBezTo>
                        <a:pt x="15943" y="7474"/>
                        <a:pt x="19680" y="2865"/>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9" name="Freeform 5725">
                  <a:extLst>
                    <a:ext uri="{FF2B5EF4-FFF2-40B4-BE49-F238E27FC236}">
                      <a16:creationId xmlns:a16="http://schemas.microsoft.com/office/drawing/2014/main" id="{88336718-0FF8-CA9A-3419-F7DF7BC63994}"/>
                    </a:ext>
                  </a:extLst>
                </p:cNvPr>
                <p:cNvSpPr/>
                <p:nvPr/>
              </p:nvSpPr>
              <p:spPr>
                <a:xfrm>
                  <a:off x="11183410" y="6125198"/>
                  <a:ext cx="20926" cy="47830"/>
                </a:xfrm>
                <a:custGeom>
                  <a:avLst/>
                  <a:gdLst>
                    <a:gd name="connsiteX0" fmla="*/ 20926 w 20926"/>
                    <a:gd name="connsiteY0" fmla="*/ 0 h 47830"/>
                    <a:gd name="connsiteX1" fmla="*/ 14947 w 20926"/>
                    <a:gd name="connsiteY1" fmla="*/ 17812 h 47830"/>
                    <a:gd name="connsiteX2" fmla="*/ 4858 w 20926"/>
                    <a:gd name="connsiteY2" fmla="*/ 32011 h 47830"/>
                    <a:gd name="connsiteX3" fmla="*/ 0 w 20926"/>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926" h="47830">
                      <a:moveTo>
                        <a:pt x="20926" y="0"/>
                      </a:moveTo>
                      <a:cubicBezTo>
                        <a:pt x="19805" y="8346"/>
                        <a:pt x="17189" y="14075"/>
                        <a:pt x="14947" y="17812"/>
                      </a:cubicBezTo>
                      <a:cubicBezTo>
                        <a:pt x="11335" y="23791"/>
                        <a:pt x="8221" y="25659"/>
                        <a:pt x="4858" y="32011"/>
                      </a:cubicBezTo>
                      <a:cubicBezTo>
                        <a:pt x="1619" y="38115"/>
                        <a:pt x="499" y="43845"/>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0" name="Freeform 5726">
                  <a:extLst>
                    <a:ext uri="{FF2B5EF4-FFF2-40B4-BE49-F238E27FC236}">
                      <a16:creationId xmlns:a16="http://schemas.microsoft.com/office/drawing/2014/main" id="{717F9CF0-3251-A811-9FD3-584164CFE67A}"/>
                    </a:ext>
                  </a:extLst>
                </p:cNvPr>
                <p:cNvSpPr/>
                <p:nvPr/>
              </p:nvSpPr>
              <p:spPr>
                <a:xfrm>
                  <a:off x="11172635" y="6163004"/>
                  <a:ext cx="26055" cy="26381"/>
                </a:xfrm>
                <a:custGeom>
                  <a:avLst/>
                  <a:gdLst>
                    <a:gd name="connsiteX0" fmla="*/ 1185 w 26055"/>
                    <a:gd name="connsiteY0" fmla="*/ 7782 h 26381"/>
                    <a:gd name="connsiteX1" fmla="*/ 18498 w 26055"/>
                    <a:gd name="connsiteY1" fmla="*/ 1180 h 26381"/>
                    <a:gd name="connsiteX2" fmla="*/ 24851 w 26055"/>
                    <a:gd name="connsiteY2" fmla="*/ 18618 h 26381"/>
                    <a:gd name="connsiteX3" fmla="*/ 7538 w 26055"/>
                    <a:gd name="connsiteY3" fmla="*/ 25220 h 26381"/>
                    <a:gd name="connsiteX4" fmla="*/ 1185 w 26055"/>
                    <a:gd name="connsiteY4" fmla="*/ 7782 h 2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55" h="26381">
                      <a:moveTo>
                        <a:pt x="1185" y="7782"/>
                      </a:moveTo>
                      <a:cubicBezTo>
                        <a:pt x="4174" y="1056"/>
                        <a:pt x="11897" y="-1809"/>
                        <a:pt x="18498" y="1180"/>
                      </a:cubicBezTo>
                      <a:cubicBezTo>
                        <a:pt x="25100" y="4170"/>
                        <a:pt x="27840" y="12017"/>
                        <a:pt x="24851" y="18618"/>
                      </a:cubicBezTo>
                      <a:cubicBezTo>
                        <a:pt x="21861" y="25220"/>
                        <a:pt x="14014" y="28210"/>
                        <a:pt x="7538" y="25220"/>
                      </a:cubicBezTo>
                      <a:cubicBezTo>
                        <a:pt x="1061" y="22231"/>
                        <a:pt x="-1804" y="14383"/>
                        <a:pt x="1185" y="778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0" name="Graphic 2987">
                <a:extLst>
                  <a:ext uri="{FF2B5EF4-FFF2-40B4-BE49-F238E27FC236}">
                    <a16:creationId xmlns:a16="http://schemas.microsoft.com/office/drawing/2014/main" id="{5090B328-F187-7B64-2C78-86C1109C8EB4}"/>
                  </a:ext>
                </a:extLst>
              </p:cNvPr>
              <p:cNvGrpSpPr/>
              <p:nvPr/>
            </p:nvGrpSpPr>
            <p:grpSpPr>
              <a:xfrm>
                <a:off x="11198964" y="6064026"/>
                <a:ext cx="78227" cy="137440"/>
                <a:chOff x="11198964" y="6064026"/>
                <a:chExt cx="78227" cy="137440"/>
              </a:xfrm>
              <a:grpFill/>
            </p:grpSpPr>
            <p:sp>
              <p:nvSpPr>
                <p:cNvPr id="3899" name="Freeform 5728">
                  <a:extLst>
                    <a:ext uri="{FF2B5EF4-FFF2-40B4-BE49-F238E27FC236}">
                      <a16:creationId xmlns:a16="http://schemas.microsoft.com/office/drawing/2014/main" id="{D9AEC4C8-44C2-2B08-4D25-90BBCD55226D}"/>
                    </a:ext>
                  </a:extLst>
                </p:cNvPr>
                <p:cNvSpPr/>
                <p:nvPr/>
              </p:nvSpPr>
              <p:spPr>
                <a:xfrm>
                  <a:off x="11234728" y="6082225"/>
                  <a:ext cx="22669" cy="46958"/>
                </a:xfrm>
                <a:custGeom>
                  <a:avLst/>
                  <a:gdLst>
                    <a:gd name="connsiteX0" fmla="*/ 22670 w 22669"/>
                    <a:gd name="connsiteY0" fmla="*/ 0 h 46958"/>
                    <a:gd name="connsiteX1" fmla="*/ 12954 w 22669"/>
                    <a:gd name="connsiteY1" fmla="*/ 16068 h 46958"/>
                    <a:gd name="connsiteX2" fmla="*/ 8844 w 22669"/>
                    <a:gd name="connsiteY2" fmla="*/ 33008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16940" y="6228"/>
                        <a:pt x="14324" y="11957"/>
                        <a:pt x="12954" y="16068"/>
                      </a:cubicBezTo>
                      <a:cubicBezTo>
                        <a:pt x="10713" y="22670"/>
                        <a:pt x="11460" y="26406"/>
                        <a:pt x="8844" y="33008"/>
                      </a:cubicBezTo>
                      <a:cubicBezTo>
                        <a:pt x="6353" y="39485"/>
                        <a:pt x="2741" y="44094"/>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0" name="Freeform 5729">
                  <a:extLst>
                    <a:ext uri="{FF2B5EF4-FFF2-40B4-BE49-F238E27FC236}">
                      <a16:creationId xmlns:a16="http://schemas.microsoft.com/office/drawing/2014/main" id="{BC0E1FCF-BE2C-FBB7-2CB0-6011739D5E4C}"/>
                    </a:ext>
                  </a:extLst>
                </p:cNvPr>
                <p:cNvSpPr/>
                <p:nvPr/>
              </p:nvSpPr>
              <p:spPr>
                <a:xfrm>
                  <a:off x="11244568" y="6080606"/>
                  <a:ext cx="21423" cy="47581"/>
                </a:xfrm>
                <a:custGeom>
                  <a:avLst/>
                  <a:gdLst>
                    <a:gd name="connsiteX0" fmla="*/ 0 w 21423"/>
                    <a:gd name="connsiteY0" fmla="*/ 47581 h 47581"/>
                    <a:gd name="connsiteX1" fmla="*/ 6103 w 21423"/>
                    <a:gd name="connsiteY1" fmla="*/ 29769 h 47581"/>
                    <a:gd name="connsiteX2" fmla="*/ 16442 w 21423"/>
                    <a:gd name="connsiteY2" fmla="*/ 15694 h 47581"/>
                    <a:gd name="connsiteX3" fmla="*/ 21424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0" y="47581"/>
                      </a:moveTo>
                      <a:cubicBezTo>
                        <a:pt x="1121" y="39236"/>
                        <a:pt x="3861" y="33506"/>
                        <a:pt x="6103" y="29769"/>
                      </a:cubicBezTo>
                      <a:cubicBezTo>
                        <a:pt x="9715" y="23791"/>
                        <a:pt x="12954" y="21922"/>
                        <a:pt x="16442" y="15694"/>
                      </a:cubicBezTo>
                      <a:cubicBezTo>
                        <a:pt x="19804" y="9715"/>
                        <a:pt x="20926" y="3861"/>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1" name="Freeform 5730">
                  <a:extLst>
                    <a:ext uri="{FF2B5EF4-FFF2-40B4-BE49-F238E27FC236}">
                      <a16:creationId xmlns:a16="http://schemas.microsoft.com/office/drawing/2014/main" id="{46715A4D-C82C-5302-6CBB-004157D164C2}"/>
                    </a:ext>
                  </a:extLst>
                </p:cNvPr>
                <p:cNvSpPr/>
                <p:nvPr/>
              </p:nvSpPr>
              <p:spPr>
                <a:xfrm>
                  <a:off x="11250310" y="6064026"/>
                  <a:ext cx="26881" cy="26558"/>
                </a:xfrm>
                <a:custGeom>
                  <a:avLst/>
                  <a:gdLst>
                    <a:gd name="connsiteX0" fmla="*/ 25648 w 26881"/>
                    <a:gd name="connsiteY0" fmla="*/ 18947 h 26558"/>
                    <a:gd name="connsiteX1" fmla="*/ 7835 w 26881"/>
                    <a:gd name="connsiteY1" fmla="*/ 25299 h 26558"/>
                    <a:gd name="connsiteX2" fmla="*/ 1234 w 26881"/>
                    <a:gd name="connsiteY2" fmla="*/ 7612 h 26558"/>
                    <a:gd name="connsiteX3" fmla="*/ 19046 w 26881"/>
                    <a:gd name="connsiteY3" fmla="*/ 1259 h 26558"/>
                    <a:gd name="connsiteX4" fmla="*/ 25648 w 26881"/>
                    <a:gd name="connsiteY4" fmla="*/ 1894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1" h="26558">
                      <a:moveTo>
                        <a:pt x="25648" y="18947"/>
                      </a:moveTo>
                      <a:cubicBezTo>
                        <a:pt x="22534" y="25548"/>
                        <a:pt x="14562" y="28413"/>
                        <a:pt x="7835" y="25299"/>
                      </a:cubicBezTo>
                      <a:cubicBezTo>
                        <a:pt x="1109" y="22185"/>
                        <a:pt x="-1880" y="14338"/>
                        <a:pt x="1234" y="7612"/>
                      </a:cubicBezTo>
                      <a:cubicBezTo>
                        <a:pt x="4348" y="1010"/>
                        <a:pt x="12320" y="-1855"/>
                        <a:pt x="19046" y="1259"/>
                      </a:cubicBezTo>
                      <a:cubicBezTo>
                        <a:pt x="25772" y="4498"/>
                        <a:pt x="28762" y="12345"/>
                        <a:pt x="25648" y="18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2" name="Freeform 5731">
                  <a:extLst>
                    <a:ext uri="{FF2B5EF4-FFF2-40B4-BE49-F238E27FC236}">
                      <a16:creationId xmlns:a16="http://schemas.microsoft.com/office/drawing/2014/main" id="{F676214E-6DBA-8E8C-0D2C-DBDD996A8440}"/>
                    </a:ext>
                  </a:extLst>
                </p:cNvPr>
                <p:cNvSpPr/>
                <p:nvPr/>
              </p:nvSpPr>
              <p:spPr>
                <a:xfrm>
                  <a:off x="11218287" y="6136408"/>
                  <a:ext cx="22668" cy="46958"/>
                </a:xfrm>
                <a:custGeom>
                  <a:avLst/>
                  <a:gdLst>
                    <a:gd name="connsiteX0" fmla="*/ 0 w 22668"/>
                    <a:gd name="connsiteY0" fmla="*/ 46958 h 46958"/>
                    <a:gd name="connsiteX1" fmla="*/ 9715 w 22668"/>
                    <a:gd name="connsiteY1" fmla="*/ 30890 h 46958"/>
                    <a:gd name="connsiteX2" fmla="*/ 13826 w 22668"/>
                    <a:gd name="connsiteY2" fmla="*/ 13950 h 46958"/>
                    <a:gd name="connsiteX3" fmla="*/ 22669 w 22668"/>
                    <a:gd name="connsiteY3" fmla="*/ 0 h 46958"/>
                  </a:gdLst>
                  <a:ahLst/>
                  <a:cxnLst>
                    <a:cxn ang="0">
                      <a:pos x="connsiteX0" y="connsiteY0"/>
                    </a:cxn>
                    <a:cxn ang="0">
                      <a:pos x="connsiteX1" y="connsiteY1"/>
                    </a:cxn>
                    <a:cxn ang="0">
                      <a:pos x="connsiteX2" y="connsiteY2"/>
                    </a:cxn>
                    <a:cxn ang="0">
                      <a:pos x="connsiteX3" y="connsiteY3"/>
                    </a:cxn>
                  </a:cxnLst>
                  <a:rect l="l" t="t" r="r" b="b"/>
                  <a:pathLst>
                    <a:path w="22668" h="46958">
                      <a:moveTo>
                        <a:pt x="0" y="46958"/>
                      </a:moveTo>
                      <a:cubicBezTo>
                        <a:pt x="5604" y="40730"/>
                        <a:pt x="8345" y="35001"/>
                        <a:pt x="9715" y="30890"/>
                      </a:cubicBezTo>
                      <a:cubicBezTo>
                        <a:pt x="11957" y="24289"/>
                        <a:pt x="11334" y="20676"/>
                        <a:pt x="13826" y="13950"/>
                      </a:cubicBezTo>
                      <a:cubicBezTo>
                        <a:pt x="16317" y="7473"/>
                        <a:pt x="19929" y="2865"/>
                        <a:pt x="226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3" name="Freeform 5732">
                  <a:extLst>
                    <a:ext uri="{FF2B5EF4-FFF2-40B4-BE49-F238E27FC236}">
                      <a16:creationId xmlns:a16="http://schemas.microsoft.com/office/drawing/2014/main" id="{F7823FA2-2360-ED48-44BD-E51DD73D39F4}"/>
                    </a:ext>
                  </a:extLst>
                </p:cNvPr>
                <p:cNvSpPr/>
                <p:nvPr/>
              </p:nvSpPr>
              <p:spPr>
                <a:xfrm>
                  <a:off x="11209941" y="6137529"/>
                  <a:ext cx="21299" cy="47580"/>
                </a:xfrm>
                <a:custGeom>
                  <a:avLst/>
                  <a:gdLst>
                    <a:gd name="connsiteX0" fmla="*/ 21300 w 21299"/>
                    <a:gd name="connsiteY0" fmla="*/ 0 h 47580"/>
                    <a:gd name="connsiteX1" fmla="*/ 15196 w 21299"/>
                    <a:gd name="connsiteY1" fmla="*/ 17812 h 47580"/>
                    <a:gd name="connsiteX2" fmla="*/ 4983 w 21299"/>
                    <a:gd name="connsiteY2" fmla="*/ 31887 h 47580"/>
                    <a:gd name="connsiteX3" fmla="*/ 0 w 21299"/>
                    <a:gd name="connsiteY3" fmla="*/ 47581 h 47580"/>
                  </a:gdLst>
                  <a:ahLst/>
                  <a:cxnLst>
                    <a:cxn ang="0">
                      <a:pos x="connsiteX0" y="connsiteY0"/>
                    </a:cxn>
                    <a:cxn ang="0">
                      <a:pos x="connsiteX1" y="connsiteY1"/>
                    </a:cxn>
                    <a:cxn ang="0">
                      <a:pos x="connsiteX2" y="connsiteY2"/>
                    </a:cxn>
                    <a:cxn ang="0">
                      <a:pos x="connsiteX3" y="connsiteY3"/>
                    </a:cxn>
                  </a:cxnLst>
                  <a:rect l="l" t="t" r="r" b="b"/>
                  <a:pathLst>
                    <a:path w="21299" h="47580">
                      <a:moveTo>
                        <a:pt x="21300" y="0"/>
                      </a:moveTo>
                      <a:cubicBezTo>
                        <a:pt x="20178" y="8345"/>
                        <a:pt x="17438" y="14075"/>
                        <a:pt x="15196" y="17812"/>
                      </a:cubicBezTo>
                      <a:cubicBezTo>
                        <a:pt x="11584" y="23791"/>
                        <a:pt x="8346" y="25659"/>
                        <a:pt x="4983" y="31887"/>
                      </a:cubicBezTo>
                      <a:cubicBezTo>
                        <a:pt x="1619" y="37990"/>
                        <a:pt x="499" y="43719"/>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4" name="Freeform 5733">
                  <a:extLst>
                    <a:ext uri="{FF2B5EF4-FFF2-40B4-BE49-F238E27FC236}">
                      <a16:creationId xmlns:a16="http://schemas.microsoft.com/office/drawing/2014/main" id="{0EBD9474-800C-995E-9FBA-4DF7F12E65E7}"/>
                    </a:ext>
                  </a:extLst>
                </p:cNvPr>
                <p:cNvSpPr/>
                <p:nvPr/>
              </p:nvSpPr>
              <p:spPr>
                <a:xfrm>
                  <a:off x="11198964" y="6175105"/>
                  <a:ext cx="26209" cy="26361"/>
                </a:xfrm>
                <a:custGeom>
                  <a:avLst/>
                  <a:gdLst>
                    <a:gd name="connsiteX0" fmla="*/ 1262 w 26209"/>
                    <a:gd name="connsiteY0" fmla="*/ 7763 h 26361"/>
                    <a:gd name="connsiteX1" fmla="*/ 18699 w 26209"/>
                    <a:gd name="connsiteY1" fmla="*/ 1161 h 26361"/>
                    <a:gd name="connsiteX2" fmla="*/ 24927 w 26209"/>
                    <a:gd name="connsiteY2" fmla="*/ 18599 h 26361"/>
                    <a:gd name="connsiteX3" fmla="*/ 7490 w 26209"/>
                    <a:gd name="connsiteY3" fmla="*/ 25201 h 26361"/>
                    <a:gd name="connsiteX4" fmla="*/ 1262 w 26209"/>
                    <a:gd name="connsiteY4" fmla="*/ 7763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361">
                      <a:moveTo>
                        <a:pt x="1262" y="7763"/>
                      </a:moveTo>
                      <a:cubicBezTo>
                        <a:pt x="4376" y="1161"/>
                        <a:pt x="12098" y="-1828"/>
                        <a:pt x="18699" y="1161"/>
                      </a:cubicBezTo>
                      <a:cubicBezTo>
                        <a:pt x="25301" y="4151"/>
                        <a:pt x="28041" y="11997"/>
                        <a:pt x="24927" y="18599"/>
                      </a:cubicBezTo>
                      <a:cubicBezTo>
                        <a:pt x="21813" y="25201"/>
                        <a:pt x="13966" y="28190"/>
                        <a:pt x="7490" y="25201"/>
                      </a:cubicBezTo>
                      <a:cubicBezTo>
                        <a:pt x="1012" y="22211"/>
                        <a:pt x="-1852" y="14489"/>
                        <a:pt x="1262" y="77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1" name="Graphic 2987">
                <a:extLst>
                  <a:ext uri="{FF2B5EF4-FFF2-40B4-BE49-F238E27FC236}">
                    <a16:creationId xmlns:a16="http://schemas.microsoft.com/office/drawing/2014/main" id="{2D68238C-DA7C-FAAD-EC74-BB4A4818B58D}"/>
                  </a:ext>
                </a:extLst>
              </p:cNvPr>
              <p:cNvGrpSpPr/>
              <p:nvPr/>
            </p:nvGrpSpPr>
            <p:grpSpPr>
              <a:xfrm>
                <a:off x="11225347" y="6076731"/>
                <a:ext cx="79165" cy="137057"/>
                <a:chOff x="11225347" y="6076731"/>
                <a:chExt cx="79165" cy="137057"/>
              </a:xfrm>
              <a:grpFill/>
            </p:grpSpPr>
            <p:sp>
              <p:nvSpPr>
                <p:cNvPr id="3893" name="Freeform 5735">
                  <a:extLst>
                    <a:ext uri="{FF2B5EF4-FFF2-40B4-BE49-F238E27FC236}">
                      <a16:creationId xmlns:a16="http://schemas.microsoft.com/office/drawing/2014/main" id="{F536F6BF-F84F-14C1-A28E-87AE761870A7}"/>
                    </a:ext>
                  </a:extLst>
                </p:cNvPr>
                <p:cNvSpPr/>
                <p:nvPr/>
              </p:nvSpPr>
              <p:spPr>
                <a:xfrm>
                  <a:off x="11261633" y="6094805"/>
                  <a:ext cx="23042" cy="46709"/>
                </a:xfrm>
                <a:custGeom>
                  <a:avLst/>
                  <a:gdLst>
                    <a:gd name="connsiteX0" fmla="*/ 23043 w 23042"/>
                    <a:gd name="connsiteY0" fmla="*/ 0 h 46709"/>
                    <a:gd name="connsiteX1" fmla="*/ 13203 w 23042"/>
                    <a:gd name="connsiteY1" fmla="*/ 16068 h 46709"/>
                    <a:gd name="connsiteX2" fmla="*/ 8968 w 23042"/>
                    <a:gd name="connsiteY2" fmla="*/ 32883 h 46709"/>
                    <a:gd name="connsiteX3" fmla="*/ 0 w 23042"/>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042" h="46709">
                      <a:moveTo>
                        <a:pt x="23043" y="0"/>
                      </a:moveTo>
                      <a:cubicBezTo>
                        <a:pt x="17314" y="6228"/>
                        <a:pt x="14573" y="11958"/>
                        <a:pt x="13203" y="16068"/>
                      </a:cubicBezTo>
                      <a:cubicBezTo>
                        <a:pt x="10961" y="22670"/>
                        <a:pt x="11584" y="26282"/>
                        <a:pt x="8968" y="32883"/>
                      </a:cubicBezTo>
                      <a:cubicBezTo>
                        <a:pt x="6477" y="39360"/>
                        <a:pt x="2740" y="43845"/>
                        <a:pt x="0"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4" name="Freeform 5736">
                  <a:extLst>
                    <a:ext uri="{FF2B5EF4-FFF2-40B4-BE49-F238E27FC236}">
                      <a16:creationId xmlns:a16="http://schemas.microsoft.com/office/drawing/2014/main" id="{802B2B12-E746-BECB-0BA9-32C171537D36}"/>
                    </a:ext>
                  </a:extLst>
                </p:cNvPr>
                <p:cNvSpPr/>
                <p:nvPr/>
              </p:nvSpPr>
              <p:spPr>
                <a:xfrm>
                  <a:off x="11271473" y="6093311"/>
                  <a:ext cx="21797" cy="47332"/>
                </a:xfrm>
                <a:custGeom>
                  <a:avLst/>
                  <a:gdLst>
                    <a:gd name="connsiteX0" fmla="*/ 0 w 21797"/>
                    <a:gd name="connsiteY0" fmla="*/ 47332 h 47332"/>
                    <a:gd name="connsiteX1" fmla="*/ 6228 w 21797"/>
                    <a:gd name="connsiteY1" fmla="*/ 29645 h 47332"/>
                    <a:gd name="connsiteX2" fmla="*/ 16691 w 21797"/>
                    <a:gd name="connsiteY2" fmla="*/ 15694 h 47332"/>
                    <a:gd name="connsiteX3" fmla="*/ 21798 w 21797"/>
                    <a:gd name="connsiteY3" fmla="*/ 0 h 47332"/>
                  </a:gdLst>
                  <a:ahLst/>
                  <a:cxnLst>
                    <a:cxn ang="0">
                      <a:pos x="connsiteX0" y="connsiteY0"/>
                    </a:cxn>
                    <a:cxn ang="0">
                      <a:pos x="connsiteX1" y="connsiteY1"/>
                    </a:cxn>
                    <a:cxn ang="0">
                      <a:pos x="connsiteX2" y="connsiteY2"/>
                    </a:cxn>
                    <a:cxn ang="0">
                      <a:pos x="connsiteX3" y="connsiteY3"/>
                    </a:cxn>
                  </a:cxnLst>
                  <a:rect l="l" t="t" r="r" b="b"/>
                  <a:pathLst>
                    <a:path w="21797" h="47332">
                      <a:moveTo>
                        <a:pt x="0" y="47332"/>
                      </a:moveTo>
                      <a:cubicBezTo>
                        <a:pt x="1246" y="38987"/>
                        <a:pt x="3986" y="33382"/>
                        <a:pt x="6228" y="29645"/>
                      </a:cubicBezTo>
                      <a:cubicBezTo>
                        <a:pt x="9964" y="23666"/>
                        <a:pt x="13203" y="21798"/>
                        <a:pt x="16691" y="15694"/>
                      </a:cubicBezTo>
                      <a:cubicBezTo>
                        <a:pt x="20054" y="9715"/>
                        <a:pt x="21300" y="3861"/>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5" name="Freeform 5737">
                  <a:extLst>
                    <a:ext uri="{FF2B5EF4-FFF2-40B4-BE49-F238E27FC236}">
                      <a16:creationId xmlns:a16="http://schemas.microsoft.com/office/drawing/2014/main" id="{03B55746-4A9E-23E1-AA70-8FDFD7D67C75}"/>
                    </a:ext>
                  </a:extLst>
                </p:cNvPr>
                <p:cNvSpPr/>
                <p:nvPr/>
              </p:nvSpPr>
              <p:spPr>
                <a:xfrm>
                  <a:off x="11277588" y="6076731"/>
                  <a:ext cx="26924" cy="26426"/>
                </a:xfrm>
                <a:custGeom>
                  <a:avLst/>
                  <a:gdLst>
                    <a:gd name="connsiteX0" fmla="*/ 25647 w 26924"/>
                    <a:gd name="connsiteY0" fmla="*/ 19071 h 26426"/>
                    <a:gd name="connsiteX1" fmla="*/ 7835 w 26924"/>
                    <a:gd name="connsiteY1" fmla="*/ 25174 h 26426"/>
                    <a:gd name="connsiteX2" fmla="*/ 1234 w 26924"/>
                    <a:gd name="connsiteY2" fmla="*/ 7611 h 26426"/>
                    <a:gd name="connsiteX3" fmla="*/ 19170 w 26924"/>
                    <a:gd name="connsiteY3" fmla="*/ 1259 h 26426"/>
                    <a:gd name="connsiteX4" fmla="*/ 25647 w 26924"/>
                    <a:gd name="connsiteY4" fmla="*/ 19071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 h="26426">
                      <a:moveTo>
                        <a:pt x="25647" y="19071"/>
                      </a:moveTo>
                      <a:cubicBezTo>
                        <a:pt x="22409" y="25672"/>
                        <a:pt x="14562" y="28164"/>
                        <a:pt x="7835" y="25174"/>
                      </a:cubicBezTo>
                      <a:cubicBezTo>
                        <a:pt x="1109" y="22060"/>
                        <a:pt x="-1880" y="14213"/>
                        <a:pt x="1234" y="7611"/>
                      </a:cubicBezTo>
                      <a:cubicBezTo>
                        <a:pt x="4348" y="1010"/>
                        <a:pt x="12444" y="-1855"/>
                        <a:pt x="19170" y="1259"/>
                      </a:cubicBezTo>
                      <a:cubicBezTo>
                        <a:pt x="26021" y="4373"/>
                        <a:pt x="28761" y="12594"/>
                        <a:pt x="25647" y="19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6" name="Freeform 5738">
                  <a:extLst>
                    <a:ext uri="{FF2B5EF4-FFF2-40B4-BE49-F238E27FC236}">
                      <a16:creationId xmlns:a16="http://schemas.microsoft.com/office/drawing/2014/main" id="{FDF56111-6A0F-BFB1-1919-3B8190E36002}"/>
                    </a:ext>
                  </a:extLst>
                </p:cNvPr>
                <p:cNvSpPr/>
                <p:nvPr/>
              </p:nvSpPr>
              <p:spPr>
                <a:xfrm>
                  <a:off x="11244693" y="6148864"/>
                  <a:ext cx="23167" cy="46709"/>
                </a:xfrm>
                <a:custGeom>
                  <a:avLst/>
                  <a:gdLst>
                    <a:gd name="connsiteX0" fmla="*/ 0 w 23167"/>
                    <a:gd name="connsiteY0" fmla="*/ 46709 h 46709"/>
                    <a:gd name="connsiteX1" fmla="*/ 9840 w 23167"/>
                    <a:gd name="connsiteY1" fmla="*/ 30641 h 46709"/>
                    <a:gd name="connsiteX2" fmla="*/ 14199 w 23167"/>
                    <a:gd name="connsiteY2" fmla="*/ 13826 h 46709"/>
                    <a:gd name="connsiteX3" fmla="*/ 23168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0" y="46709"/>
                      </a:moveTo>
                      <a:cubicBezTo>
                        <a:pt x="5729" y="40481"/>
                        <a:pt x="8345" y="34751"/>
                        <a:pt x="9840" y="30641"/>
                      </a:cubicBezTo>
                      <a:cubicBezTo>
                        <a:pt x="12206" y="24040"/>
                        <a:pt x="11584" y="20427"/>
                        <a:pt x="14199" y="13826"/>
                      </a:cubicBezTo>
                      <a:cubicBezTo>
                        <a:pt x="16690" y="7349"/>
                        <a:pt x="20427" y="2865"/>
                        <a:pt x="231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7" name="Freeform 5739">
                  <a:extLst>
                    <a:ext uri="{FF2B5EF4-FFF2-40B4-BE49-F238E27FC236}">
                      <a16:creationId xmlns:a16="http://schemas.microsoft.com/office/drawing/2014/main" id="{3829FAA6-0E9F-E268-79B8-0F971AB47454}"/>
                    </a:ext>
                  </a:extLst>
                </p:cNvPr>
                <p:cNvSpPr/>
                <p:nvPr/>
              </p:nvSpPr>
              <p:spPr>
                <a:xfrm>
                  <a:off x="11236223" y="6149860"/>
                  <a:ext cx="21797" cy="47456"/>
                </a:xfrm>
                <a:custGeom>
                  <a:avLst/>
                  <a:gdLst>
                    <a:gd name="connsiteX0" fmla="*/ 21798 w 21797"/>
                    <a:gd name="connsiteY0" fmla="*/ 0 h 47456"/>
                    <a:gd name="connsiteX1" fmla="*/ 15570 w 21797"/>
                    <a:gd name="connsiteY1" fmla="*/ 17687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6"/>
                        <a:pt x="17812" y="13950"/>
                        <a:pt x="15570" y="17687"/>
                      </a:cubicBezTo>
                      <a:cubicBezTo>
                        <a:pt x="11832" y="23666"/>
                        <a:pt x="8595" y="25534"/>
                        <a:pt x="5107" y="31762"/>
                      </a:cubicBezTo>
                      <a:cubicBezTo>
                        <a:pt x="1743"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8" name="Freeform 5740">
                  <a:extLst>
                    <a:ext uri="{FF2B5EF4-FFF2-40B4-BE49-F238E27FC236}">
                      <a16:creationId xmlns:a16="http://schemas.microsoft.com/office/drawing/2014/main" id="{376990F6-E880-E129-CD4A-6BDB176F1780}"/>
                    </a:ext>
                  </a:extLst>
                </p:cNvPr>
                <p:cNvSpPr/>
                <p:nvPr/>
              </p:nvSpPr>
              <p:spPr>
                <a:xfrm>
                  <a:off x="11225347" y="6187361"/>
                  <a:ext cx="26158" cy="26427"/>
                </a:xfrm>
                <a:custGeom>
                  <a:avLst/>
                  <a:gdLst>
                    <a:gd name="connsiteX0" fmla="*/ 1285 w 26158"/>
                    <a:gd name="connsiteY0" fmla="*/ 7713 h 26427"/>
                    <a:gd name="connsiteX1" fmla="*/ 18848 w 26158"/>
                    <a:gd name="connsiteY1" fmla="*/ 1237 h 26427"/>
                    <a:gd name="connsiteX2" fmla="*/ 24827 w 26158"/>
                    <a:gd name="connsiteY2" fmla="*/ 18924 h 26427"/>
                    <a:gd name="connsiteX3" fmla="*/ 7389 w 26158"/>
                    <a:gd name="connsiteY3" fmla="*/ 25276 h 26427"/>
                    <a:gd name="connsiteX4" fmla="*/ 1285 w 26158"/>
                    <a:gd name="connsiteY4" fmla="*/ 7713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8" h="26427">
                      <a:moveTo>
                        <a:pt x="1285" y="7713"/>
                      </a:moveTo>
                      <a:cubicBezTo>
                        <a:pt x="4399" y="1112"/>
                        <a:pt x="12246" y="-1877"/>
                        <a:pt x="18848" y="1237"/>
                      </a:cubicBezTo>
                      <a:cubicBezTo>
                        <a:pt x="25450" y="4226"/>
                        <a:pt x="27941" y="12322"/>
                        <a:pt x="24827" y="18924"/>
                      </a:cubicBezTo>
                      <a:cubicBezTo>
                        <a:pt x="21588" y="25525"/>
                        <a:pt x="13990" y="28141"/>
                        <a:pt x="7389" y="25276"/>
                      </a:cubicBezTo>
                      <a:cubicBezTo>
                        <a:pt x="911" y="22037"/>
                        <a:pt x="-1829" y="14315"/>
                        <a:pt x="1285" y="7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2" name="Graphic 2987">
                <a:extLst>
                  <a:ext uri="{FF2B5EF4-FFF2-40B4-BE49-F238E27FC236}">
                    <a16:creationId xmlns:a16="http://schemas.microsoft.com/office/drawing/2014/main" id="{79099D6A-881B-96AF-1DF7-A7B4EC1F366A}"/>
                  </a:ext>
                </a:extLst>
              </p:cNvPr>
              <p:cNvGrpSpPr/>
              <p:nvPr/>
            </p:nvGrpSpPr>
            <p:grpSpPr>
              <a:xfrm>
                <a:off x="11251477" y="6089851"/>
                <a:ext cx="80145" cy="136727"/>
                <a:chOff x="11251477" y="6089851"/>
                <a:chExt cx="80145" cy="136727"/>
              </a:xfrm>
              <a:grpFill/>
            </p:grpSpPr>
            <p:sp>
              <p:nvSpPr>
                <p:cNvPr id="3887" name="Freeform 5742">
                  <a:extLst>
                    <a:ext uri="{FF2B5EF4-FFF2-40B4-BE49-F238E27FC236}">
                      <a16:creationId xmlns:a16="http://schemas.microsoft.com/office/drawing/2014/main" id="{A7CDF914-697A-294D-AA1C-C5F9CDB2DB3D}"/>
                    </a:ext>
                  </a:extLst>
                </p:cNvPr>
                <p:cNvSpPr/>
                <p:nvPr/>
              </p:nvSpPr>
              <p:spPr>
                <a:xfrm>
                  <a:off x="11288288" y="6108009"/>
                  <a:ext cx="23416" cy="46584"/>
                </a:xfrm>
                <a:custGeom>
                  <a:avLst/>
                  <a:gdLst>
                    <a:gd name="connsiteX0" fmla="*/ 23417 w 23416"/>
                    <a:gd name="connsiteY0" fmla="*/ 0 h 46584"/>
                    <a:gd name="connsiteX1" fmla="*/ 13452 w 23416"/>
                    <a:gd name="connsiteY1" fmla="*/ 15943 h 46584"/>
                    <a:gd name="connsiteX2" fmla="*/ 9092 w 23416"/>
                    <a:gd name="connsiteY2" fmla="*/ 32883 h 46584"/>
                    <a:gd name="connsiteX3" fmla="*/ 0 w 23416"/>
                    <a:gd name="connsiteY3" fmla="*/ 46584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103"/>
                        <a:pt x="14946" y="11833"/>
                        <a:pt x="13452" y="15943"/>
                      </a:cubicBezTo>
                      <a:cubicBezTo>
                        <a:pt x="11085" y="22545"/>
                        <a:pt x="11708" y="26281"/>
                        <a:pt x="9092" y="32883"/>
                      </a:cubicBezTo>
                      <a:cubicBezTo>
                        <a:pt x="6476" y="39236"/>
                        <a:pt x="2740" y="43844"/>
                        <a:pt x="0" y="4658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8" name="Freeform 5743">
                  <a:extLst>
                    <a:ext uri="{FF2B5EF4-FFF2-40B4-BE49-F238E27FC236}">
                      <a16:creationId xmlns:a16="http://schemas.microsoft.com/office/drawing/2014/main" id="{ABC3FFA7-5D32-D77B-31A9-AE4528E02ECE}"/>
                    </a:ext>
                  </a:extLst>
                </p:cNvPr>
                <p:cNvSpPr/>
                <p:nvPr/>
              </p:nvSpPr>
              <p:spPr>
                <a:xfrm>
                  <a:off x="11298003" y="6106639"/>
                  <a:ext cx="22296" cy="47207"/>
                </a:xfrm>
                <a:custGeom>
                  <a:avLst/>
                  <a:gdLst>
                    <a:gd name="connsiteX0" fmla="*/ 0 w 22296"/>
                    <a:gd name="connsiteY0" fmla="*/ 47207 h 47207"/>
                    <a:gd name="connsiteX1" fmla="*/ 6477 w 22296"/>
                    <a:gd name="connsiteY1" fmla="*/ 29520 h 47207"/>
                    <a:gd name="connsiteX2" fmla="*/ 17064 w 22296"/>
                    <a:gd name="connsiteY2" fmla="*/ 15694 h 47207"/>
                    <a:gd name="connsiteX3" fmla="*/ 22296 w 22296"/>
                    <a:gd name="connsiteY3" fmla="*/ 0 h 47207"/>
                  </a:gdLst>
                  <a:ahLst/>
                  <a:cxnLst>
                    <a:cxn ang="0">
                      <a:pos x="connsiteX0" y="connsiteY0"/>
                    </a:cxn>
                    <a:cxn ang="0">
                      <a:pos x="connsiteX1" y="connsiteY1"/>
                    </a:cxn>
                    <a:cxn ang="0">
                      <a:pos x="connsiteX2" y="connsiteY2"/>
                    </a:cxn>
                    <a:cxn ang="0">
                      <a:pos x="connsiteX3" y="connsiteY3"/>
                    </a:cxn>
                  </a:cxnLst>
                  <a:rect l="l" t="t" r="r" b="b"/>
                  <a:pathLst>
                    <a:path w="22296" h="47207">
                      <a:moveTo>
                        <a:pt x="0" y="47207"/>
                      </a:moveTo>
                      <a:cubicBezTo>
                        <a:pt x="1370" y="38862"/>
                        <a:pt x="4111" y="33132"/>
                        <a:pt x="6477" y="29520"/>
                      </a:cubicBezTo>
                      <a:cubicBezTo>
                        <a:pt x="10214" y="23666"/>
                        <a:pt x="13452" y="21798"/>
                        <a:pt x="17064" y="15694"/>
                      </a:cubicBezTo>
                      <a:cubicBezTo>
                        <a:pt x="20552" y="9715"/>
                        <a:pt x="21798" y="3986"/>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9" name="Freeform 5744">
                  <a:extLst>
                    <a:ext uri="{FF2B5EF4-FFF2-40B4-BE49-F238E27FC236}">
                      <a16:creationId xmlns:a16="http://schemas.microsoft.com/office/drawing/2014/main" id="{3E192594-8496-1B4E-5EFD-A65F66742CD8}"/>
                    </a:ext>
                  </a:extLst>
                </p:cNvPr>
                <p:cNvSpPr/>
                <p:nvPr/>
              </p:nvSpPr>
              <p:spPr>
                <a:xfrm>
                  <a:off x="11304763" y="6089851"/>
                  <a:ext cx="26859" cy="26723"/>
                </a:xfrm>
                <a:custGeom>
                  <a:avLst/>
                  <a:gdLst>
                    <a:gd name="connsiteX0" fmla="*/ 25501 w 26859"/>
                    <a:gd name="connsiteY0" fmla="*/ 19403 h 26723"/>
                    <a:gd name="connsiteX1" fmla="*/ 7565 w 26859"/>
                    <a:gd name="connsiteY1" fmla="*/ 25257 h 26723"/>
                    <a:gd name="connsiteX2" fmla="*/ 1337 w 26859"/>
                    <a:gd name="connsiteY2" fmla="*/ 7321 h 26723"/>
                    <a:gd name="connsiteX3" fmla="*/ 19273 w 26859"/>
                    <a:gd name="connsiteY3" fmla="*/ 1467 h 26723"/>
                    <a:gd name="connsiteX4" fmla="*/ 25501 w 26859"/>
                    <a:gd name="connsiteY4" fmla="*/ 19403 h 26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723">
                      <a:moveTo>
                        <a:pt x="25501" y="19403"/>
                      </a:moveTo>
                      <a:cubicBezTo>
                        <a:pt x="22263" y="26004"/>
                        <a:pt x="14291" y="28620"/>
                        <a:pt x="7565" y="25257"/>
                      </a:cubicBezTo>
                      <a:cubicBezTo>
                        <a:pt x="963" y="21894"/>
                        <a:pt x="-1902" y="13922"/>
                        <a:pt x="1337" y="7321"/>
                      </a:cubicBezTo>
                      <a:cubicBezTo>
                        <a:pt x="4576" y="719"/>
                        <a:pt x="12547" y="-1896"/>
                        <a:pt x="19273" y="1467"/>
                      </a:cubicBezTo>
                      <a:cubicBezTo>
                        <a:pt x="25999" y="4830"/>
                        <a:pt x="28740" y="12926"/>
                        <a:pt x="25501" y="194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0" name="Freeform 5745">
                  <a:extLst>
                    <a:ext uri="{FF2B5EF4-FFF2-40B4-BE49-F238E27FC236}">
                      <a16:creationId xmlns:a16="http://schemas.microsoft.com/office/drawing/2014/main" id="{473E755F-667D-0B90-DE7A-2E33009194B9}"/>
                    </a:ext>
                  </a:extLst>
                </p:cNvPr>
                <p:cNvSpPr/>
                <p:nvPr/>
              </p:nvSpPr>
              <p:spPr>
                <a:xfrm>
                  <a:off x="11270725" y="6162067"/>
                  <a:ext cx="23541" cy="46459"/>
                </a:xfrm>
                <a:custGeom>
                  <a:avLst/>
                  <a:gdLst>
                    <a:gd name="connsiteX0" fmla="*/ 0 w 23541"/>
                    <a:gd name="connsiteY0" fmla="*/ 46460 h 46459"/>
                    <a:gd name="connsiteX1" fmla="*/ 9964 w 23541"/>
                    <a:gd name="connsiteY1" fmla="*/ 30516 h 46459"/>
                    <a:gd name="connsiteX2" fmla="*/ 14449 w 23541"/>
                    <a:gd name="connsiteY2" fmla="*/ 13701 h 46459"/>
                    <a:gd name="connsiteX3" fmla="*/ 23542 w 23541"/>
                    <a:gd name="connsiteY3" fmla="*/ 0 h 46459"/>
                  </a:gdLst>
                  <a:ahLst/>
                  <a:cxnLst>
                    <a:cxn ang="0">
                      <a:pos x="connsiteX0" y="connsiteY0"/>
                    </a:cxn>
                    <a:cxn ang="0">
                      <a:pos x="connsiteX1" y="connsiteY1"/>
                    </a:cxn>
                    <a:cxn ang="0">
                      <a:pos x="connsiteX2" y="connsiteY2"/>
                    </a:cxn>
                    <a:cxn ang="0">
                      <a:pos x="connsiteX3" y="connsiteY3"/>
                    </a:cxn>
                  </a:cxnLst>
                  <a:rect l="l" t="t" r="r" b="b"/>
                  <a:pathLst>
                    <a:path w="23541" h="46459">
                      <a:moveTo>
                        <a:pt x="0" y="46460"/>
                      </a:moveTo>
                      <a:cubicBezTo>
                        <a:pt x="5730" y="40357"/>
                        <a:pt x="8470" y="34627"/>
                        <a:pt x="9964" y="30516"/>
                      </a:cubicBezTo>
                      <a:cubicBezTo>
                        <a:pt x="12331" y="23915"/>
                        <a:pt x="11833" y="20303"/>
                        <a:pt x="14449" y="13701"/>
                      </a:cubicBezTo>
                      <a:cubicBezTo>
                        <a:pt x="17064" y="7349"/>
                        <a:pt x="20802" y="2740"/>
                        <a:pt x="235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1" name="Freeform 5746">
                  <a:extLst>
                    <a:ext uri="{FF2B5EF4-FFF2-40B4-BE49-F238E27FC236}">
                      <a16:creationId xmlns:a16="http://schemas.microsoft.com/office/drawing/2014/main" id="{466AA415-A4AE-616C-1BB8-31DD7E398DB9}"/>
                    </a:ext>
                  </a:extLst>
                </p:cNvPr>
                <p:cNvSpPr/>
                <p:nvPr/>
              </p:nvSpPr>
              <p:spPr>
                <a:xfrm>
                  <a:off x="11262380" y="6162814"/>
                  <a:ext cx="22170" cy="47207"/>
                </a:xfrm>
                <a:custGeom>
                  <a:avLst/>
                  <a:gdLst>
                    <a:gd name="connsiteX0" fmla="*/ 22171 w 22170"/>
                    <a:gd name="connsiteY0" fmla="*/ 0 h 47207"/>
                    <a:gd name="connsiteX1" fmla="*/ 15694 w 22170"/>
                    <a:gd name="connsiteY1" fmla="*/ 17687 h 47207"/>
                    <a:gd name="connsiteX2" fmla="*/ 5231 w 22170"/>
                    <a:gd name="connsiteY2" fmla="*/ 31513 h 47207"/>
                    <a:gd name="connsiteX3" fmla="*/ 0 w 2217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170" h="47207">
                      <a:moveTo>
                        <a:pt x="22171" y="0"/>
                      </a:moveTo>
                      <a:cubicBezTo>
                        <a:pt x="20801" y="8345"/>
                        <a:pt x="18061" y="14075"/>
                        <a:pt x="15694" y="17687"/>
                      </a:cubicBezTo>
                      <a:cubicBezTo>
                        <a:pt x="11958" y="23541"/>
                        <a:pt x="8719" y="25409"/>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2" name="Freeform 5747">
                  <a:extLst>
                    <a:ext uri="{FF2B5EF4-FFF2-40B4-BE49-F238E27FC236}">
                      <a16:creationId xmlns:a16="http://schemas.microsoft.com/office/drawing/2014/main" id="{294E8282-5E4D-484A-F510-1A55301D87B4}"/>
                    </a:ext>
                  </a:extLst>
                </p:cNvPr>
                <p:cNvSpPr/>
                <p:nvPr/>
              </p:nvSpPr>
              <p:spPr>
                <a:xfrm>
                  <a:off x="11251477" y="6200066"/>
                  <a:ext cx="25993" cy="26512"/>
                </a:xfrm>
                <a:custGeom>
                  <a:avLst/>
                  <a:gdLst>
                    <a:gd name="connsiteX0" fmla="*/ 1312 w 25993"/>
                    <a:gd name="connsiteY0" fmla="*/ 7464 h 26512"/>
                    <a:gd name="connsiteX1" fmla="*/ 18751 w 25993"/>
                    <a:gd name="connsiteY1" fmla="*/ 1361 h 26512"/>
                    <a:gd name="connsiteX2" fmla="*/ 24605 w 25993"/>
                    <a:gd name="connsiteY2" fmla="*/ 19048 h 26512"/>
                    <a:gd name="connsiteX3" fmla="*/ 7167 w 25993"/>
                    <a:gd name="connsiteY3" fmla="*/ 25151 h 26512"/>
                    <a:gd name="connsiteX4" fmla="*/ 1312 w 25993"/>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93" h="26512">
                      <a:moveTo>
                        <a:pt x="1312" y="7464"/>
                      </a:moveTo>
                      <a:cubicBezTo>
                        <a:pt x="4551" y="863"/>
                        <a:pt x="12273" y="-1877"/>
                        <a:pt x="18751" y="1361"/>
                      </a:cubicBezTo>
                      <a:cubicBezTo>
                        <a:pt x="25228" y="4599"/>
                        <a:pt x="27843" y="12447"/>
                        <a:pt x="24605" y="19048"/>
                      </a:cubicBezTo>
                      <a:cubicBezTo>
                        <a:pt x="21367" y="25650"/>
                        <a:pt x="13520" y="28390"/>
                        <a:pt x="7167" y="25151"/>
                      </a:cubicBezTo>
                      <a:cubicBezTo>
                        <a:pt x="814" y="21913"/>
                        <a:pt x="-1802" y="14066"/>
                        <a:pt x="1312"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3" name="Graphic 2987">
                <a:extLst>
                  <a:ext uri="{FF2B5EF4-FFF2-40B4-BE49-F238E27FC236}">
                    <a16:creationId xmlns:a16="http://schemas.microsoft.com/office/drawing/2014/main" id="{6EB96C1E-D13C-4D29-452C-DD82C1A17563}"/>
                  </a:ext>
                </a:extLst>
              </p:cNvPr>
              <p:cNvGrpSpPr/>
              <p:nvPr/>
            </p:nvGrpSpPr>
            <p:grpSpPr>
              <a:xfrm>
                <a:off x="11277407" y="6103428"/>
                <a:ext cx="81247" cy="136028"/>
                <a:chOff x="11277407" y="6103428"/>
                <a:chExt cx="81247" cy="136028"/>
              </a:xfrm>
              <a:grpFill/>
            </p:grpSpPr>
            <p:sp>
              <p:nvSpPr>
                <p:cNvPr id="3881" name="Freeform 5749">
                  <a:extLst>
                    <a:ext uri="{FF2B5EF4-FFF2-40B4-BE49-F238E27FC236}">
                      <a16:creationId xmlns:a16="http://schemas.microsoft.com/office/drawing/2014/main" id="{68DB3C2B-97FB-D4F8-85DC-AF1527B1EB9D}"/>
                    </a:ext>
                  </a:extLst>
                </p:cNvPr>
                <p:cNvSpPr/>
                <p:nvPr/>
              </p:nvSpPr>
              <p:spPr>
                <a:xfrm>
                  <a:off x="11314943" y="6121461"/>
                  <a:ext cx="23790" cy="46335"/>
                </a:xfrm>
                <a:custGeom>
                  <a:avLst/>
                  <a:gdLst>
                    <a:gd name="connsiteX0" fmla="*/ 23791 w 23790"/>
                    <a:gd name="connsiteY0" fmla="*/ 0 h 46335"/>
                    <a:gd name="connsiteX1" fmla="*/ 13702 w 23790"/>
                    <a:gd name="connsiteY1" fmla="*/ 15819 h 46335"/>
                    <a:gd name="connsiteX2" fmla="*/ 9218 w 23790"/>
                    <a:gd name="connsiteY2" fmla="*/ 32634 h 46335"/>
                    <a:gd name="connsiteX3" fmla="*/ 0 w 23790"/>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790" h="46335">
                      <a:moveTo>
                        <a:pt x="23791" y="0"/>
                      </a:moveTo>
                      <a:cubicBezTo>
                        <a:pt x="17936" y="6103"/>
                        <a:pt x="15196" y="11708"/>
                        <a:pt x="13702" y="15819"/>
                      </a:cubicBezTo>
                      <a:cubicBezTo>
                        <a:pt x="11335" y="22420"/>
                        <a:pt x="11833" y="26033"/>
                        <a:pt x="9218" y="32634"/>
                      </a:cubicBezTo>
                      <a:cubicBezTo>
                        <a:pt x="6602" y="38987"/>
                        <a:pt x="2741"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2" name="Freeform 5750">
                  <a:extLst>
                    <a:ext uri="{FF2B5EF4-FFF2-40B4-BE49-F238E27FC236}">
                      <a16:creationId xmlns:a16="http://schemas.microsoft.com/office/drawing/2014/main" id="{B5A83164-A18B-E1E0-1577-7A294BA3E562}"/>
                    </a:ext>
                  </a:extLst>
                </p:cNvPr>
                <p:cNvSpPr/>
                <p:nvPr/>
              </p:nvSpPr>
              <p:spPr>
                <a:xfrm>
                  <a:off x="11324659" y="6120215"/>
                  <a:ext cx="22669" cy="46833"/>
                </a:xfrm>
                <a:custGeom>
                  <a:avLst/>
                  <a:gdLst>
                    <a:gd name="connsiteX0" fmla="*/ 0 w 22669"/>
                    <a:gd name="connsiteY0" fmla="*/ 46834 h 46833"/>
                    <a:gd name="connsiteX1" fmla="*/ 6601 w 22669"/>
                    <a:gd name="connsiteY1" fmla="*/ 29271 h 46833"/>
                    <a:gd name="connsiteX2" fmla="*/ 17314 w 22669"/>
                    <a:gd name="connsiteY2" fmla="*/ 15570 h 46833"/>
                    <a:gd name="connsiteX3" fmla="*/ 2267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0" y="46834"/>
                      </a:moveTo>
                      <a:cubicBezTo>
                        <a:pt x="1370" y="38488"/>
                        <a:pt x="4235" y="32883"/>
                        <a:pt x="6601" y="29271"/>
                      </a:cubicBezTo>
                      <a:cubicBezTo>
                        <a:pt x="10463" y="23417"/>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3" name="Freeform 5751">
                  <a:extLst>
                    <a:ext uri="{FF2B5EF4-FFF2-40B4-BE49-F238E27FC236}">
                      <a16:creationId xmlns:a16="http://schemas.microsoft.com/office/drawing/2014/main" id="{F9D43012-2077-37B1-D686-A4671F1FF47F}"/>
                    </a:ext>
                  </a:extLst>
                </p:cNvPr>
                <p:cNvSpPr/>
                <p:nvPr/>
              </p:nvSpPr>
              <p:spPr>
                <a:xfrm>
                  <a:off x="11331746" y="6103428"/>
                  <a:ext cx="26908" cy="26521"/>
                </a:xfrm>
                <a:custGeom>
                  <a:avLst/>
                  <a:gdLst>
                    <a:gd name="connsiteX0" fmla="*/ 25547 w 26908"/>
                    <a:gd name="connsiteY0" fmla="*/ 19278 h 26521"/>
                    <a:gd name="connsiteX1" fmla="*/ 7486 w 26908"/>
                    <a:gd name="connsiteY1" fmla="*/ 25133 h 26521"/>
                    <a:gd name="connsiteX2" fmla="*/ 1383 w 26908"/>
                    <a:gd name="connsiteY2" fmla="*/ 7321 h 26521"/>
                    <a:gd name="connsiteX3" fmla="*/ 19444 w 26908"/>
                    <a:gd name="connsiteY3" fmla="*/ 1467 h 26521"/>
                    <a:gd name="connsiteX4" fmla="*/ 25547 w 26908"/>
                    <a:gd name="connsiteY4" fmla="*/ 19278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520">
                      <a:moveTo>
                        <a:pt x="25547" y="19278"/>
                      </a:moveTo>
                      <a:cubicBezTo>
                        <a:pt x="22184" y="25755"/>
                        <a:pt x="14213" y="28371"/>
                        <a:pt x="7486" y="25133"/>
                      </a:cubicBezTo>
                      <a:cubicBezTo>
                        <a:pt x="760" y="21894"/>
                        <a:pt x="-1856" y="13798"/>
                        <a:pt x="1383" y="7321"/>
                      </a:cubicBezTo>
                      <a:cubicBezTo>
                        <a:pt x="4622" y="719"/>
                        <a:pt x="12718" y="-1897"/>
                        <a:pt x="19444" y="1467"/>
                      </a:cubicBezTo>
                      <a:cubicBezTo>
                        <a:pt x="26045" y="4830"/>
                        <a:pt x="28786" y="12801"/>
                        <a:pt x="25547" y="192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4" name="Freeform 5752">
                  <a:extLst>
                    <a:ext uri="{FF2B5EF4-FFF2-40B4-BE49-F238E27FC236}">
                      <a16:creationId xmlns:a16="http://schemas.microsoft.com/office/drawing/2014/main" id="{2F4750DA-BB9A-54B9-AB97-BC3C48BF3BD3}"/>
                    </a:ext>
                  </a:extLst>
                </p:cNvPr>
                <p:cNvSpPr/>
                <p:nvPr/>
              </p:nvSpPr>
              <p:spPr>
                <a:xfrm>
                  <a:off x="11296758" y="6175145"/>
                  <a:ext cx="23914" cy="46335"/>
                </a:xfrm>
                <a:custGeom>
                  <a:avLst/>
                  <a:gdLst>
                    <a:gd name="connsiteX0" fmla="*/ 0 w 23914"/>
                    <a:gd name="connsiteY0" fmla="*/ 46335 h 46335"/>
                    <a:gd name="connsiteX1" fmla="*/ 10089 w 23914"/>
                    <a:gd name="connsiteY1" fmla="*/ 30517 h 46335"/>
                    <a:gd name="connsiteX2" fmla="*/ 14698 w 23914"/>
                    <a:gd name="connsiteY2" fmla="*/ 13701 h 46335"/>
                    <a:gd name="connsiteX3" fmla="*/ 23915 w 23914"/>
                    <a:gd name="connsiteY3" fmla="*/ 0 h 46335"/>
                  </a:gdLst>
                  <a:ahLst/>
                  <a:cxnLst>
                    <a:cxn ang="0">
                      <a:pos x="connsiteX0" y="connsiteY0"/>
                    </a:cxn>
                    <a:cxn ang="0">
                      <a:pos x="connsiteX1" y="connsiteY1"/>
                    </a:cxn>
                    <a:cxn ang="0">
                      <a:pos x="connsiteX2" y="connsiteY2"/>
                    </a:cxn>
                    <a:cxn ang="0">
                      <a:pos x="connsiteX3" y="connsiteY3"/>
                    </a:cxn>
                  </a:cxnLst>
                  <a:rect l="l" t="t" r="r" b="b"/>
                  <a:pathLst>
                    <a:path w="23914" h="46335">
                      <a:moveTo>
                        <a:pt x="0" y="46335"/>
                      </a:moveTo>
                      <a:cubicBezTo>
                        <a:pt x="5729" y="40232"/>
                        <a:pt x="8595" y="34502"/>
                        <a:pt x="10089" y="30517"/>
                      </a:cubicBezTo>
                      <a:cubicBezTo>
                        <a:pt x="12580" y="23915"/>
                        <a:pt x="11957" y="20303"/>
                        <a:pt x="14698" y="13701"/>
                      </a:cubicBezTo>
                      <a:cubicBezTo>
                        <a:pt x="17314" y="7349"/>
                        <a:pt x="21175" y="2865"/>
                        <a:pt x="23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5" name="Freeform 5753">
                  <a:extLst>
                    <a:ext uri="{FF2B5EF4-FFF2-40B4-BE49-F238E27FC236}">
                      <a16:creationId xmlns:a16="http://schemas.microsoft.com/office/drawing/2014/main" id="{00B61B2A-CBB0-7CDD-0270-B21C1E98B284}"/>
                    </a:ext>
                  </a:extLst>
                </p:cNvPr>
                <p:cNvSpPr/>
                <p:nvPr/>
              </p:nvSpPr>
              <p:spPr>
                <a:xfrm>
                  <a:off x="11288413" y="6175893"/>
                  <a:ext cx="22544" cy="46958"/>
                </a:xfrm>
                <a:custGeom>
                  <a:avLst/>
                  <a:gdLst>
                    <a:gd name="connsiteX0" fmla="*/ 22545 w 22544"/>
                    <a:gd name="connsiteY0" fmla="*/ 0 h 46958"/>
                    <a:gd name="connsiteX1" fmla="*/ 15943 w 22544"/>
                    <a:gd name="connsiteY1" fmla="*/ 17563 h 46958"/>
                    <a:gd name="connsiteX2" fmla="*/ 5356 w 22544"/>
                    <a:gd name="connsiteY2" fmla="*/ 31389 h 46958"/>
                    <a:gd name="connsiteX3" fmla="*/ 0 w 2254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544" h="46958">
                      <a:moveTo>
                        <a:pt x="22545" y="0"/>
                      </a:moveTo>
                      <a:cubicBezTo>
                        <a:pt x="21174" y="8346"/>
                        <a:pt x="18310" y="13950"/>
                        <a:pt x="15943" y="17563"/>
                      </a:cubicBezTo>
                      <a:cubicBezTo>
                        <a:pt x="12082" y="23417"/>
                        <a:pt x="8843"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6" name="Freeform 5754">
                  <a:extLst>
                    <a:ext uri="{FF2B5EF4-FFF2-40B4-BE49-F238E27FC236}">
                      <a16:creationId xmlns:a16="http://schemas.microsoft.com/office/drawing/2014/main" id="{116D0885-2BDE-A94D-DCE2-FC2E6B54C16F}"/>
                    </a:ext>
                  </a:extLst>
                </p:cNvPr>
                <p:cNvSpPr/>
                <p:nvPr/>
              </p:nvSpPr>
              <p:spPr>
                <a:xfrm>
                  <a:off x="11277407" y="6213020"/>
                  <a:ext cx="26122" cy="26436"/>
                </a:xfrm>
                <a:custGeom>
                  <a:avLst/>
                  <a:gdLst>
                    <a:gd name="connsiteX0" fmla="*/ 1415 w 26122"/>
                    <a:gd name="connsiteY0" fmla="*/ 7464 h 26436"/>
                    <a:gd name="connsiteX1" fmla="*/ 18977 w 26122"/>
                    <a:gd name="connsiteY1" fmla="*/ 1361 h 26436"/>
                    <a:gd name="connsiteX2" fmla="*/ 24707 w 26122"/>
                    <a:gd name="connsiteY2" fmla="*/ 19048 h 26436"/>
                    <a:gd name="connsiteX3" fmla="*/ 7144 w 26122"/>
                    <a:gd name="connsiteY3" fmla="*/ 25151 h 26436"/>
                    <a:gd name="connsiteX4" fmla="*/ 1415 w 26122"/>
                    <a:gd name="connsiteY4" fmla="*/ 7464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2" h="26436">
                      <a:moveTo>
                        <a:pt x="1415" y="7464"/>
                      </a:moveTo>
                      <a:cubicBezTo>
                        <a:pt x="4654" y="863"/>
                        <a:pt x="12501" y="-1877"/>
                        <a:pt x="18977" y="1361"/>
                      </a:cubicBezTo>
                      <a:cubicBezTo>
                        <a:pt x="25455" y="4600"/>
                        <a:pt x="27946" y="12447"/>
                        <a:pt x="24707" y="19048"/>
                      </a:cubicBezTo>
                      <a:cubicBezTo>
                        <a:pt x="21344" y="25525"/>
                        <a:pt x="13497" y="28265"/>
                        <a:pt x="7144" y="25151"/>
                      </a:cubicBezTo>
                      <a:cubicBezTo>
                        <a:pt x="668" y="21913"/>
                        <a:pt x="-1824" y="13941"/>
                        <a:pt x="1415"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4" name="Graphic 2987">
                <a:extLst>
                  <a:ext uri="{FF2B5EF4-FFF2-40B4-BE49-F238E27FC236}">
                    <a16:creationId xmlns:a16="http://schemas.microsoft.com/office/drawing/2014/main" id="{74E0540D-2E4E-14CD-EEB2-181FBED9338A}"/>
                  </a:ext>
                </a:extLst>
              </p:cNvPr>
              <p:cNvGrpSpPr/>
              <p:nvPr/>
            </p:nvGrpSpPr>
            <p:grpSpPr>
              <a:xfrm>
                <a:off x="11303312" y="6116877"/>
                <a:ext cx="82447" cy="135363"/>
                <a:chOff x="11303312" y="6116877"/>
                <a:chExt cx="82447" cy="135363"/>
              </a:xfrm>
              <a:grpFill/>
            </p:grpSpPr>
            <p:sp>
              <p:nvSpPr>
                <p:cNvPr id="3875" name="Freeform 5756">
                  <a:extLst>
                    <a:ext uri="{FF2B5EF4-FFF2-40B4-BE49-F238E27FC236}">
                      <a16:creationId xmlns:a16="http://schemas.microsoft.com/office/drawing/2014/main" id="{D706E980-7A98-FCE0-C7EA-73A93B832D5D}"/>
                    </a:ext>
                  </a:extLst>
                </p:cNvPr>
                <p:cNvSpPr/>
                <p:nvPr/>
              </p:nvSpPr>
              <p:spPr>
                <a:xfrm>
                  <a:off x="11341225" y="6134789"/>
                  <a:ext cx="24412" cy="46086"/>
                </a:xfrm>
                <a:custGeom>
                  <a:avLst/>
                  <a:gdLst>
                    <a:gd name="connsiteX0" fmla="*/ 24413 w 24412"/>
                    <a:gd name="connsiteY0" fmla="*/ 0 h 46086"/>
                    <a:gd name="connsiteX1" fmla="*/ 14075 w 24412"/>
                    <a:gd name="connsiteY1" fmla="*/ 15819 h 46086"/>
                    <a:gd name="connsiteX2" fmla="*/ 9342 w 24412"/>
                    <a:gd name="connsiteY2" fmla="*/ 32509 h 46086"/>
                    <a:gd name="connsiteX3" fmla="*/ 0 w 24412"/>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412" h="46086">
                      <a:moveTo>
                        <a:pt x="24413" y="0"/>
                      </a:moveTo>
                      <a:cubicBezTo>
                        <a:pt x="18559" y="5979"/>
                        <a:pt x="15694" y="11708"/>
                        <a:pt x="14075" y="15819"/>
                      </a:cubicBezTo>
                      <a:cubicBezTo>
                        <a:pt x="11584" y="22420"/>
                        <a:pt x="12206" y="26033"/>
                        <a:pt x="9342" y="32509"/>
                      </a:cubicBezTo>
                      <a:cubicBezTo>
                        <a:pt x="6601" y="38862"/>
                        <a:pt x="2740" y="43346"/>
                        <a:pt x="0"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6" name="Freeform 5757">
                  <a:extLst>
                    <a:ext uri="{FF2B5EF4-FFF2-40B4-BE49-F238E27FC236}">
                      <a16:creationId xmlns:a16="http://schemas.microsoft.com/office/drawing/2014/main" id="{60284FBA-F2D5-44DB-E084-CCD7516D7CD7}"/>
                    </a:ext>
                  </a:extLst>
                </p:cNvPr>
                <p:cNvSpPr/>
                <p:nvPr/>
              </p:nvSpPr>
              <p:spPr>
                <a:xfrm>
                  <a:off x="11351190" y="6133418"/>
                  <a:ext cx="23042" cy="46833"/>
                </a:xfrm>
                <a:custGeom>
                  <a:avLst/>
                  <a:gdLst>
                    <a:gd name="connsiteX0" fmla="*/ 0 w 23042"/>
                    <a:gd name="connsiteY0" fmla="*/ 46834 h 46833"/>
                    <a:gd name="connsiteX1" fmla="*/ 6726 w 23042"/>
                    <a:gd name="connsiteY1" fmla="*/ 29271 h 46833"/>
                    <a:gd name="connsiteX2" fmla="*/ 17562 w 23042"/>
                    <a:gd name="connsiteY2" fmla="*/ 15570 h 46833"/>
                    <a:gd name="connsiteX3" fmla="*/ 23043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0" y="46834"/>
                      </a:moveTo>
                      <a:cubicBezTo>
                        <a:pt x="1495" y="38613"/>
                        <a:pt x="4359" y="32883"/>
                        <a:pt x="6726" y="29271"/>
                      </a:cubicBezTo>
                      <a:cubicBezTo>
                        <a:pt x="10587" y="23417"/>
                        <a:pt x="13950" y="21673"/>
                        <a:pt x="17562" y="15570"/>
                      </a:cubicBezTo>
                      <a:cubicBezTo>
                        <a:pt x="21175" y="9715"/>
                        <a:pt x="22545" y="3986"/>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7" name="Freeform 5758">
                  <a:extLst>
                    <a:ext uri="{FF2B5EF4-FFF2-40B4-BE49-F238E27FC236}">
                      <a16:creationId xmlns:a16="http://schemas.microsoft.com/office/drawing/2014/main" id="{A4FDB1A2-3AD8-A7E1-DED4-ADB69EF4BE59}"/>
                    </a:ext>
                  </a:extLst>
                </p:cNvPr>
                <p:cNvSpPr/>
                <p:nvPr/>
              </p:nvSpPr>
              <p:spPr>
                <a:xfrm>
                  <a:off x="11358672" y="6116877"/>
                  <a:ext cx="27087" cy="26481"/>
                </a:xfrm>
                <a:custGeom>
                  <a:avLst/>
                  <a:gdLst>
                    <a:gd name="connsiteX0" fmla="*/ 25649 w 27087"/>
                    <a:gd name="connsiteY0" fmla="*/ 19281 h 26481"/>
                    <a:gd name="connsiteX1" fmla="*/ 7464 w 27087"/>
                    <a:gd name="connsiteY1" fmla="*/ 25011 h 26481"/>
                    <a:gd name="connsiteX2" fmla="*/ 1361 w 27087"/>
                    <a:gd name="connsiteY2" fmla="*/ 7199 h 26481"/>
                    <a:gd name="connsiteX3" fmla="*/ 19546 w 27087"/>
                    <a:gd name="connsiteY3" fmla="*/ 1470 h 26481"/>
                    <a:gd name="connsiteX4" fmla="*/ 25649 w 27087"/>
                    <a:gd name="connsiteY4" fmla="*/ 192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87" h="26481">
                      <a:moveTo>
                        <a:pt x="25649" y="19281"/>
                      </a:moveTo>
                      <a:cubicBezTo>
                        <a:pt x="22287" y="25759"/>
                        <a:pt x="14190" y="28374"/>
                        <a:pt x="7464" y="25011"/>
                      </a:cubicBezTo>
                      <a:cubicBezTo>
                        <a:pt x="862" y="21648"/>
                        <a:pt x="-1877" y="13677"/>
                        <a:pt x="1361" y="7199"/>
                      </a:cubicBezTo>
                      <a:cubicBezTo>
                        <a:pt x="4599" y="722"/>
                        <a:pt x="12820" y="-1893"/>
                        <a:pt x="19546" y="1470"/>
                      </a:cubicBezTo>
                      <a:cubicBezTo>
                        <a:pt x="26273" y="4833"/>
                        <a:pt x="29013" y="12805"/>
                        <a:pt x="25649" y="19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8" name="Freeform 5759">
                  <a:extLst>
                    <a:ext uri="{FF2B5EF4-FFF2-40B4-BE49-F238E27FC236}">
                      <a16:creationId xmlns:a16="http://schemas.microsoft.com/office/drawing/2014/main" id="{90A0D62C-9458-A985-C861-A0B68E551467}"/>
                    </a:ext>
                  </a:extLst>
                </p:cNvPr>
                <p:cNvSpPr/>
                <p:nvPr/>
              </p:nvSpPr>
              <p:spPr>
                <a:xfrm>
                  <a:off x="11322790" y="6188348"/>
                  <a:ext cx="24413" cy="46086"/>
                </a:xfrm>
                <a:custGeom>
                  <a:avLst/>
                  <a:gdLst>
                    <a:gd name="connsiteX0" fmla="*/ 0 w 24413"/>
                    <a:gd name="connsiteY0" fmla="*/ 46086 h 46086"/>
                    <a:gd name="connsiteX1" fmla="*/ 10339 w 24413"/>
                    <a:gd name="connsiteY1" fmla="*/ 30267 h 46086"/>
                    <a:gd name="connsiteX2" fmla="*/ 15072 w 24413"/>
                    <a:gd name="connsiteY2" fmla="*/ 13577 h 46086"/>
                    <a:gd name="connsiteX3" fmla="*/ 24414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0" y="46086"/>
                      </a:moveTo>
                      <a:cubicBezTo>
                        <a:pt x="5855" y="39983"/>
                        <a:pt x="8719" y="34378"/>
                        <a:pt x="10339" y="30267"/>
                      </a:cubicBezTo>
                      <a:cubicBezTo>
                        <a:pt x="12830" y="23791"/>
                        <a:pt x="12332" y="20054"/>
                        <a:pt x="15072" y="13577"/>
                      </a:cubicBezTo>
                      <a:cubicBezTo>
                        <a:pt x="17812" y="7225"/>
                        <a:pt x="21674" y="2740"/>
                        <a:pt x="244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9" name="Freeform 5760">
                  <a:extLst>
                    <a:ext uri="{FF2B5EF4-FFF2-40B4-BE49-F238E27FC236}">
                      <a16:creationId xmlns:a16="http://schemas.microsoft.com/office/drawing/2014/main" id="{54005480-2974-F87E-C753-0B9CDE12FF87}"/>
                    </a:ext>
                  </a:extLst>
                </p:cNvPr>
                <p:cNvSpPr/>
                <p:nvPr/>
              </p:nvSpPr>
              <p:spPr>
                <a:xfrm>
                  <a:off x="11314320" y="6189096"/>
                  <a:ext cx="23043" cy="46833"/>
                </a:xfrm>
                <a:custGeom>
                  <a:avLst/>
                  <a:gdLst>
                    <a:gd name="connsiteX0" fmla="*/ 23044 w 23043"/>
                    <a:gd name="connsiteY0" fmla="*/ 0 h 46833"/>
                    <a:gd name="connsiteX1" fmla="*/ 16317 w 23043"/>
                    <a:gd name="connsiteY1" fmla="*/ 17563 h 46833"/>
                    <a:gd name="connsiteX2" fmla="*/ 5481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4" y="0"/>
                      </a:moveTo>
                      <a:cubicBezTo>
                        <a:pt x="21549" y="8221"/>
                        <a:pt x="18684" y="13950"/>
                        <a:pt x="16317" y="17563"/>
                      </a:cubicBezTo>
                      <a:cubicBezTo>
                        <a:pt x="12456" y="23417"/>
                        <a:pt x="9217" y="25161"/>
                        <a:pt x="5481" y="31264"/>
                      </a:cubicBezTo>
                      <a:cubicBezTo>
                        <a:pt x="1869" y="37243"/>
                        <a:pt x="499"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0" name="Freeform 5761">
                  <a:extLst>
                    <a:ext uri="{FF2B5EF4-FFF2-40B4-BE49-F238E27FC236}">
                      <a16:creationId xmlns:a16="http://schemas.microsoft.com/office/drawing/2014/main" id="{45B47BE3-0DF8-326B-1400-9DD25E333921}"/>
                    </a:ext>
                  </a:extLst>
                </p:cNvPr>
                <p:cNvSpPr/>
                <p:nvPr/>
              </p:nvSpPr>
              <p:spPr>
                <a:xfrm>
                  <a:off x="11303312" y="6225971"/>
                  <a:ext cx="26206" cy="26269"/>
                </a:xfrm>
                <a:custGeom>
                  <a:avLst/>
                  <a:gdLst>
                    <a:gd name="connsiteX0" fmla="*/ 1418 w 26206"/>
                    <a:gd name="connsiteY0" fmla="*/ 7343 h 26269"/>
                    <a:gd name="connsiteX1" fmla="*/ 19105 w 26206"/>
                    <a:gd name="connsiteY1" fmla="*/ 1364 h 26269"/>
                    <a:gd name="connsiteX2" fmla="*/ 24711 w 26206"/>
                    <a:gd name="connsiteY2" fmla="*/ 18927 h 26269"/>
                    <a:gd name="connsiteX3" fmla="*/ 7023 w 26206"/>
                    <a:gd name="connsiteY3" fmla="*/ 24906 h 26269"/>
                    <a:gd name="connsiteX4" fmla="*/ 1418 w 26206"/>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6" h="26269">
                      <a:moveTo>
                        <a:pt x="1418" y="7343"/>
                      </a:moveTo>
                      <a:cubicBezTo>
                        <a:pt x="4781" y="866"/>
                        <a:pt x="12628" y="-1875"/>
                        <a:pt x="19105" y="1364"/>
                      </a:cubicBezTo>
                      <a:cubicBezTo>
                        <a:pt x="25583" y="4603"/>
                        <a:pt x="28073" y="12450"/>
                        <a:pt x="24711" y="18927"/>
                      </a:cubicBezTo>
                      <a:cubicBezTo>
                        <a:pt x="21347" y="25404"/>
                        <a:pt x="13375" y="28144"/>
                        <a:pt x="7023" y="24906"/>
                      </a:cubicBezTo>
                      <a:cubicBezTo>
                        <a:pt x="671" y="21792"/>
                        <a:pt x="-1820" y="13944"/>
                        <a:pt x="141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37" name="Freeform 8876">
              <a:extLst>
                <a:ext uri="{FF2B5EF4-FFF2-40B4-BE49-F238E27FC236}">
                  <a16:creationId xmlns:a16="http://schemas.microsoft.com/office/drawing/2014/main" id="{8E6B91D2-CD11-C04D-6BFF-2CED4BCCFD9C}"/>
                </a:ext>
              </a:extLst>
            </p:cNvPr>
            <p:cNvSpPr/>
            <p:nvPr/>
          </p:nvSpPr>
          <p:spPr>
            <a:xfrm>
              <a:off x="6624769" y="4929284"/>
              <a:ext cx="461313" cy="373027"/>
            </a:xfrm>
            <a:custGeom>
              <a:avLst/>
              <a:gdLst>
                <a:gd name="connsiteX0" fmla="*/ 398187 w 461313"/>
                <a:gd name="connsiteY0" fmla="*/ 22670 h 373026"/>
                <a:gd name="connsiteX1" fmla="*/ 415999 w 461313"/>
                <a:gd name="connsiteY1" fmla="*/ 0 h 373026"/>
                <a:gd name="connsiteX2" fmla="*/ 432316 w 461313"/>
                <a:gd name="connsiteY2" fmla="*/ 15071 h 373026"/>
                <a:gd name="connsiteX3" fmla="*/ 437298 w 461313"/>
                <a:gd name="connsiteY3" fmla="*/ 142743 h 373026"/>
                <a:gd name="connsiteX4" fmla="*/ 251084 w 461313"/>
                <a:gd name="connsiteY4" fmla="*/ 344028 h 373026"/>
                <a:gd name="connsiteX5" fmla="*/ 123413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1"/>
                  </a:lnTo>
                  <a:cubicBezTo>
                    <a:pt x="468936" y="48951"/>
                    <a:pt x="471178" y="106123"/>
                    <a:pt x="437298" y="142743"/>
                  </a:cubicBezTo>
                  <a:lnTo>
                    <a:pt x="251084" y="344028"/>
                  </a:lnTo>
                  <a:cubicBezTo>
                    <a:pt x="217205" y="380648"/>
                    <a:pt x="160033" y="382891"/>
                    <a:pt x="123413" y="349011"/>
                  </a:cubicBezTo>
                  <a:lnTo>
                    <a:pt x="28998" y="261696"/>
                  </a:lnTo>
                  <a:cubicBezTo>
                    <a:pt x="-7622" y="227816"/>
                    <a:pt x="-9864" y="170644"/>
                    <a:pt x="24016" y="134024"/>
                  </a:cubicBezTo>
                  <a:lnTo>
                    <a:pt x="122914" y="27029"/>
                  </a:lnTo>
                  <a:cubicBezTo>
                    <a:pt x="124907" y="29022"/>
                    <a:pt x="126776" y="31139"/>
                    <a:pt x="128893" y="33132"/>
                  </a:cubicBezTo>
                  <a:cubicBezTo>
                    <a:pt x="206119" y="104753"/>
                    <a:pt x="326691" y="100020"/>
                    <a:pt x="398187" y="22670"/>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8" name="Freeform 8942">
              <a:extLst>
                <a:ext uri="{FF2B5EF4-FFF2-40B4-BE49-F238E27FC236}">
                  <a16:creationId xmlns:a16="http://schemas.microsoft.com/office/drawing/2014/main" id="{E2265EDB-99DD-397E-F9F7-1BCD8CAFF32A}"/>
                </a:ext>
              </a:extLst>
            </p:cNvPr>
            <p:cNvSpPr/>
            <p:nvPr/>
          </p:nvSpPr>
          <p:spPr>
            <a:xfrm>
              <a:off x="6045322" y="4795029"/>
              <a:ext cx="291589" cy="428727"/>
            </a:xfrm>
            <a:custGeom>
              <a:avLst/>
              <a:gdLst>
                <a:gd name="connsiteX0" fmla="*/ 205147 w 291589"/>
                <a:gd name="connsiteY0" fmla="*/ 428728 h 428727"/>
                <a:gd name="connsiteX1" fmla="*/ 86443 w 291589"/>
                <a:gd name="connsiteY1" fmla="*/ 428728 h 428727"/>
                <a:gd name="connsiteX2" fmla="*/ 0 w 291589"/>
                <a:gd name="connsiteY2" fmla="*/ 342285 h 428727"/>
                <a:gd name="connsiteX3" fmla="*/ 0 w 291589"/>
                <a:gd name="connsiteY3" fmla="*/ 86443 h 428727"/>
                <a:gd name="connsiteX4" fmla="*/ 86443 w 291589"/>
                <a:gd name="connsiteY4" fmla="*/ 0 h 428727"/>
                <a:gd name="connsiteX5" fmla="*/ 205147 w 291589"/>
                <a:gd name="connsiteY5" fmla="*/ 0 h 428727"/>
                <a:gd name="connsiteX6" fmla="*/ 291589 w 291589"/>
                <a:gd name="connsiteY6" fmla="*/ 86443 h 428727"/>
                <a:gd name="connsiteX7" fmla="*/ 291589 w 291589"/>
                <a:gd name="connsiteY7" fmla="*/ 342285 h 428727"/>
                <a:gd name="connsiteX8" fmla="*/ 205147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7" y="428728"/>
                  </a:moveTo>
                  <a:lnTo>
                    <a:pt x="86443" y="428728"/>
                  </a:lnTo>
                  <a:cubicBezTo>
                    <a:pt x="38737" y="428728"/>
                    <a:pt x="0" y="389990"/>
                    <a:pt x="0" y="342285"/>
                  </a:cubicBezTo>
                  <a:lnTo>
                    <a:pt x="0" y="86443"/>
                  </a:lnTo>
                  <a:cubicBezTo>
                    <a:pt x="0" y="38738"/>
                    <a:pt x="38737" y="0"/>
                    <a:pt x="86443" y="0"/>
                  </a:cubicBezTo>
                  <a:lnTo>
                    <a:pt x="205147" y="0"/>
                  </a:lnTo>
                  <a:cubicBezTo>
                    <a:pt x="252852" y="0"/>
                    <a:pt x="291589" y="38738"/>
                    <a:pt x="291589" y="86443"/>
                  </a:cubicBezTo>
                  <a:lnTo>
                    <a:pt x="291589" y="342285"/>
                  </a:lnTo>
                  <a:cubicBezTo>
                    <a:pt x="291589" y="390115"/>
                    <a:pt x="252852" y="428728"/>
                    <a:pt x="205147" y="428728"/>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9" name="TextBox 5596">
              <a:extLst>
                <a:ext uri="{FF2B5EF4-FFF2-40B4-BE49-F238E27FC236}">
                  <a16:creationId xmlns:a16="http://schemas.microsoft.com/office/drawing/2014/main" id="{9E0C03A4-D444-B8DD-09A2-EABDAC26CBCB}"/>
                </a:ext>
              </a:extLst>
            </p:cNvPr>
            <p:cNvSpPr txBox="1"/>
            <p:nvPr/>
          </p:nvSpPr>
          <p:spPr>
            <a:xfrm>
              <a:off x="6022703" y="4873117"/>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a:t>
              </a:r>
            </a:p>
          </p:txBody>
        </p:sp>
        <p:sp>
          <p:nvSpPr>
            <p:cNvPr id="7140" name="Freeform 8944">
              <a:extLst>
                <a:ext uri="{FF2B5EF4-FFF2-40B4-BE49-F238E27FC236}">
                  <a16:creationId xmlns:a16="http://schemas.microsoft.com/office/drawing/2014/main" id="{A04FC3E0-3F45-2221-7928-936B90ADDF8B}"/>
                </a:ext>
              </a:extLst>
            </p:cNvPr>
            <p:cNvSpPr/>
            <p:nvPr/>
          </p:nvSpPr>
          <p:spPr>
            <a:xfrm>
              <a:off x="7493290" y="4994214"/>
              <a:ext cx="428727" cy="291589"/>
            </a:xfrm>
            <a:custGeom>
              <a:avLst/>
              <a:gdLst>
                <a:gd name="connsiteX0" fmla="*/ 428727 w 428727"/>
                <a:gd name="connsiteY0" fmla="*/ 86443 h 291589"/>
                <a:gd name="connsiteX1" fmla="*/ 428727 w 428727"/>
                <a:gd name="connsiteY1" fmla="*/ 205147 h 291589"/>
                <a:gd name="connsiteX2" fmla="*/ 342284 w 428727"/>
                <a:gd name="connsiteY2" fmla="*/ 291590 h 291589"/>
                <a:gd name="connsiteX3" fmla="*/ 86443 w 428727"/>
                <a:gd name="connsiteY3" fmla="*/ 291590 h 291589"/>
                <a:gd name="connsiteX4" fmla="*/ 0 w 428727"/>
                <a:gd name="connsiteY4" fmla="*/ 205147 h 291589"/>
                <a:gd name="connsiteX5" fmla="*/ 0 w 428727"/>
                <a:gd name="connsiteY5" fmla="*/ 86443 h 291589"/>
                <a:gd name="connsiteX6" fmla="*/ 86443 w 428727"/>
                <a:gd name="connsiteY6" fmla="*/ 0 h 291589"/>
                <a:gd name="connsiteX7" fmla="*/ 342284 w 428727"/>
                <a:gd name="connsiteY7" fmla="*/ 0 h 291589"/>
                <a:gd name="connsiteX8" fmla="*/ 428727 w 428727"/>
                <a:gd name="connsiteY8" fmla="*/ 86443 h 29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27" h="291589">
                  <a:moveTo>
                    <a:pt x="428727" y="86443"/>
                  </a:moveTo>
                  <a:lnTo>
                    <a:pt x="428727" y="205147"/>
                  </a:lnTo>
                  <a:cubicBezTo>
                    <a:pt x="428727" y="252852"/>
                    <a:pt x="389990" y="291590"/>
                    <a:pt x="342284" y="291590"/>
                  </a:cubicBezTo>
                  <a:lnTo>
                    <a:pt x="86443" y="291590"/>
                  </a:lnTo>
                  <a:cubicBezTo>
                    <a:pt x="38737" y="291590"/>
                    <a:pt x="0" y="252852"/>
                    <a:pt x="0" y="205147"/>
                  </a:cubicBezTo>
                  <a:lnTo>
                    <a:pt x="0" y="86443"/>
                  </a:lnTo>
                  <a:cubicBezTo>
                    <a:pt x="0" y="38738"/>
                    <a:pt x="38737" y="0"/>
                    <a:pt x="86443" y="0"/>
                  </a:cubicBezTo>
                  <a:lnTo>
                    <a:pt x="342284" y="0"/>
                  </a:lnTo>
                  <a:cubicBezTo>
                    <a:pt x="390115" y="0"/>
                    <a:pt x="428727" y="38738"/>
                    <a:pt x="428727" y="86443"/>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41" name="TextBox 5598">
              <a:extLst>
                <a:ext uri="{FF2B5EF4-FFF2-40B4-BE49-F238E27FC236}">
                  <a16:creationId xmlns:a16="http://schemas.microsoft.com/office/drawing/2014/main" id="{BB74A297-512B-E703-1E9D-E0D542AC0DD1}"/>
                </a:ext>
              </a:extLst>
            </p:cNvPr>
            <p:cNvSpPr txBox="1"/>
            <p:nvPr/>
          </p:nvSpPr>
          <p:spPr>
            <a:xfrm>
              <a:off x="7498552" y="4999286"/>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6</a:t>
              </a:r>
            </a:p>
          </p:txBody>
        </p:sp>
        <p:sp>
          <p:nvSpPr>
            <p:cNvPr id="7142" name="TextBox 5599">
              <a:extLst>
                <a:ext uri="{FF2B5EF4-FFF2-40B4-BE49-F238E27FC236}">
                  <a16:creationId xmlns:a16="http://schemas.microsoft.com/office/drawing/2014/main" id="{94B03545-8957-E77F-890E-32FB95536011}"/>
                </a:ext>
              </a:extLst>
            </p:cNvPr>
            <p:cNvSpPr txBox="1"/>
            <p:nvPr/>
          </p:nvSpPr>
          <p:spPr>
            <a:xfrm>
              <a:off x="5160259" y="5067747"/>
              <a:ext cx="393056"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accent4"/>
                  </a:solidFill>
                  <a:ea typeface="ヒラギノ角ゴ Pro W3" panose="020B0300000000000000" pitchFamily="34" charset="-128"/>
                  <a:cs typeface="Arial"/>
                  <a:sym typeface="Arial"/>
                </a:rPr>
                <a:t>C5a</a:t>
              </a:r>
            </a:p>
          </p:txBody>
        </p:sp>
        <p:sp>
          <p:nvSpPr>
            <p:cNvPr id="7143" name="TextBox 5600">
              <a:extLst>
                <a:ext uri="{FF2B5EF4-FFF2-40B4-BE49-F238E27FC236}">
                  <a16:creationId xmlns:a16="http://schemas.microsoft.com/office/drawing/2014/main" id="{96088445-8A26-0007-CBEB-478259C3A5F5}"/>
                </a:ext>
              </a:extLst>
            </p:cNvPr>
            <p:cNvSpPr txBox="1"/>
            <p:nvPr/>
          </p:nvSpPr>
          <p:spPr>
            <a:xfrm>
              <a:off x="6606216" y="4985935"/>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bg1"/>
                  </a:solidFill>
                  <a:ea typeface="ヒラギノ角ゴ Pro W3" panose="020B0300000000000000" pitchFamily="34" charset="-128"/>
                  <a:cs typeface="Arial"/>
                  <a:sym typeface="Arial"/>
                </a:rPr>
                <a:t>C5b</a:t>
              </a:r>
            </a:p>
          </p:txBody>
        </p:sp>
        <p:sp>
          <p:nvSpPr>
            <p:cNvPr id="7144" name="Freeform 8952">
              <a:extLst>
                <a:ext uri="{FF2B5EF4-FFF2-40B4-BE49-F238E27FC236}">
                  <a16:creationId xmlns:a16="http://schemas.microsoft.com/office/drawing/2014/main" id="{B879049D-882C-2E8A-9839-36CFBE273596}"/>
                </a:ext>
              </a:extLst>
            </p:cNvPr>
            <p:cNvSpPr/>
            <p:nvPr/>
          </p:nvSpPr>
          <p:spPr>
            <a:xfrm>
              <a:off x="7936415" y="4994214"/>
              <a:ext cx="457155" cy="312031"/>
            </a:xfrm>
            <a:custGeom>
              <a:avLst/>
              <a:gdLst>
                <a:gd name="connsiteX0" fmla="*/ 428119 w 457154"/>
                <a:gd name="connsiteY0" fmla="*/ 195929 h 312030"/>
                <a:gd name="connsiteX1" fmla="*/ 456767 w 457154"/>
                <a:gd name="connsiteY1" fmla="*/ 193064 h 312030"/>
                <a:gd name="connsiteX2" fmla="*/ 457141 w 457154"/>
                <a:gd name="connsiteY2" fmla="*/ 215236 h 312030"/>
                <a:gd name="connsiteX3" fmla="*/ 368331 w 457154"/>
                <a:gd name="connsiteY3" fmla="*/ 307159 h 312030"/>
                <a:gd name="connsiteX4" fmla="*/ 94180 w 457154"/>
                <a:gd name="connsiteY4" fmla="*/ 312017 h 312030"/>
                <a:gd name="connsiteX5" fmla="*/ 2256 w 457154"/>
                <a:gd name="connsiteY5" fmla="*/ 223208 h 312030"/>
                <a:gd name="connsiteX6" fmla="*/ 14 w 457154"/>
                <a:gd name="connsiteY6" fmla="*/ 94539 h 312030"/>
                <a:gd name="connsiteX7" fmla="*/ 88824 w 457154"/>
                <a:gd name="connsiteY7" fmla="*/ 2616 h 312030"/>
                <a:gd name="connsiteX8" fmla="*/ 234432 w 457154"/>
                <a:gd name="connsiteY8" fmla="*/ 0 h 312030"/>
                <a:gd name="connsiteX9" fmla="*/ 234182 w 457154"/>
                <a:gd name="connsiteY9" fmla="*/ 8595 h 312030"/>
                <a:gd name="connsiteX10" fmla="*/ 428119 w 457154"/>
                <a:gd name="connsiteY10" fmla="*/ 195929 h 3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54" h="312030">
                  <a:moveTo>
                    <a:pt x="428119" y="195929"/>
                  </a:moveTo>
                  <a:cubicBezTo>
                    <a:pt x="437959" y="195805"/>
                    <a:pt x="447425" y="194559"/>
                    <a:pt x="456767" y="193064"/>
                  </a:cubicBezTo>
                  <a:lnTo>
                    <a:pt x="457141" y="215236"/>
                  </a:lnTo>
                  <a:cubicBezTo>
                    <a:pt x="458013" y="265183"/>
                    <a:pt x="418279" y="306287"/>
                    <a:pt x="368331" y="307159"/>
                  </a:cubicBezTo>
                  <a:lnTo>
                    <a:pt x="94180" y="312017"/>
                  </a:lnTo>
                  <a:cubicBezTo>
                    <a:pt x="44232" y="312889"/>
                    <a:pt x="3128" y="273155"/>
                    <a:pt x="2256" y="223208"/>
                  </a:cubicBezTo>
                  <a:lnTo>
                    <a:pt x="14" y="94539"/>
                  </a:lnTo>
                  <a:cubicBezTo>
                    <a:pt x="-858" y="44591"/>
                    <a:pt x="38876" y="3488"/>
                    <a:pt x="88824" y="2616"/>
                  </a:cubicBezTo>
                  <a:lnTo>
                    <a:pt x="234432" y="0"/>
                  </a:lnTo>
                  <a:cubicBezTo>
                    <a:pt x="234307" y="2865"/>
                    <a:pt x="234058" y="5605"/>
                    <a:pt x="234182" y="8595"/>
                  </a:cubicBezTo>
                  <a:cubicBezTo>
                    <a:pt x="236051" y="113970"/>
                    <a:pt x="322867" y="197798"/>
                    <a:pt x="428119" y="195929"/>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kern="0">
                <a:solidFill>
                  <a:srgbClr val="37302C"/>
                </a:solidFill>
                <a:ea typeface="ヒラギノ角ゴ Pro W3" panose="020B0300000000000000" pitchFamily="34" charset="-128"/>
                <a:cs typeface="Arial"/>
              </a:endParaRPr>
            </a:p>
          </p:txBody>
        </p:sp>
        <p:sp>
          <p:nvSpPr>
            <p:cNvPr id="7145" name="TextBox 5603">
              <a:extLst>
                <a:ext uri="{FF2B5EF4-FFF2-40B4-BE49-F238E27FC236}">
                  <a16:creationId xmlns:a16="http://schemas.microsoft.com/office/drawing/2014/main" id="{8AEEF56B-9EED-5083-12E5-4A0F89C08DE4}"/>
                </a:ext>
              </a:extLst>
            </p:cNvPr>
            <p:cNvSpPr txBox="1"/>
            <p:nvPr/>
          </p:nvSpPr>
          <p:spPr>
            <a:xfrm>
              <a:off x="7903527" y="5043601"/>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b</a:t>
              </a:r>
            </a:p>
          </p:txBody>
        </p:sp>
        <p:sp>
          <p:nvSpPr>
            <p:cNvPr id="7146" name="TextBox 5604">
              <a:extLst>
                <a:ext uri="{FF2B5EF4-FFF2-40B4-BE49-F238E27FC236}">
                  <a16:creationId xmlns:a16="http://schemas.microsoft.com/office/drawing/2014/main" id="{23BA8C48-6F93-46F9-E257-3BC45FD4DDF6}"/>
                </a:ext>
              </a:extLst>
            </p:cNvPr>
            <p:cNvSpPr txBox="1"/>
            <p:nvPr/>
          </p:nvSpPr>
          <p:spPr>
            <a:xfrm>
              <a:off x="8371524" y="5157317"/>
              <a:ext cx="375424"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C9</a:t>
              </a:r>
              <a:r>
                <a:rPr lang="en-US" sz="1067" b="1" baseline="-25000" dirty="0">
                  <a:solidFill>
                    <a:srgbClr val="000000"/>
                  </a:solidFill>
                  <a:ea typeface="ヒラギノ角ゴ Pro W3" panose="020B0300000000000000" pitchFamily="34" charset="-128"/>
                  <a:cs typeface="Arial"/>
                  <a:sym typeface="Arial"/>
                </a:rPr>
                <a:t>n</a:t>
              </a:r>
            </a:p>
          </p:txBody>
        </p:sp>
        <p:sp>
          <p:nvSpPr>
            <p:cNvPr id="7149" name="TextBox 5607">
              <a:extLst>
                <a:ext uri="{FF2B5EF4-FFF2-40B4-BE49-F238E27FC236}">
                  <a16:creationId xmlns:a16="http://schemas.microsoft.com/office/drawing/2014/main" id="{7013A298-ED54-F010-AD7F-131BFAD53086}"/>
                </a:ext>
              </a:extLst>
            </p:cNvPr>
            <p:cNvSpPr txBox="1"/>
            <p:nvPr/>
          </p:nvSpPr>
          <p:spPr>
            <a:xfrm>
              <a:off x="4670523" y="4450867"/>
              <a:ext cx="1393587" cy="297454"/>
            </a:xfrm>
            <a:prstGeom prst="rect">
              <a:avLst/>
            </a:prstGeom>
            <a:noFill/>
          </p:spPr>
          <p:txBody>
            <a:bodyPr wrap="none" rtlCol="0">
              <a:spAutoFit/>
            </a:bodyPr>
            <a:lstStyle/>
            <a:p>
              <a:pPr defTabSz="914377" fontAlgn="base">
                <a:spcBef>
                  <a:spcPct val="0"/>
                </a:spcBef>
                <a:spcAft>
                  <a:spcPct val="0"/>
                </a:spcAft>
                <a:defRPr/>
              </a:pPr>
              <a:r>
                <a:rPr lang="en-US" sz="1333" b="1" dirty="0" err="1">
                  <a:solidFill>
                    <a:schemeClr val="tx2"/>
                  </a:solidFill>
                  <a:ea typeface="ヒラギノ角ゴ Pro W3" panose="020B0300000000000000" pitchFamily="34" charset="-128"/>
                  <a:cs typeface="Arial"/>
                  <a:sym typeface="Arial"/>
                </a:rPr>
                <a:t>Conversão</a:t>
              </a:r>
              <a:r>
                <a:rPr lang="en-US" sz="1333" b="1" dirty="0">
                  <a:solidFill>
                    <a:schemeClr val="tx2"/>
                  </a:solidFill>
                  <a:ea typeface="ヒラギノ角ゴ Pro W3" panose="020B0300000000000000" pitchFamily="34" charset="-128"/>
                  <a:cs typeface="Arial"/>
                  <a:sym typeface="Arial"/>
                </a:rPr>
                <a:t> de C5 </a:t>
              </a:r>
            </a:p>
          </p:txBody>
        </p:sp>
        <p:sp>
          <p:nvSpPr>
            <p:cNvPr id="7151" name="Freeform 8976">
              <a:extLst>
                <a:ext uri="{FF2B5EF4-FFF2-40B4-BE49-F238E27FC236}">
                  <a16:creationId xmlns:a16="http://schemas.microsoft.com/office/drawing/2014/main" id="{63FAF389-4410-1BA8-BBE3-D889C2095184}"/>
                </a:ext>
              </a:extLst>
            </p:cNvPr>
            <p:cNvSpPr/>
            <p:nvPr/>
          </p:nvSpPr>
          <p:spPr>
            <a:xfrm>
              <a:off x="5565273" y="5071179"/>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8 w 178681"/>
                <a:gd name="connsiteY4" fmla="*/ 291839 h 291838"/>
                <a:gd name="connsiteX5" fmla="*/ 163021 w 178681"/>
                <a:gd name="connsiteY5" fmla="*/ 185716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1" y="227940"/>
                    <a:pt x="83180" y="287354"/>
                  </a:cubicBezTo>
                  <a:cubicBezTo>
                    <a:pt x="85546" y="288974"/>
                    <a:pt x="88038" y="290344"/>
                    <a:pt x="90528" y="291839"/>
                  </a:cubicBezTo>
                  <a:lnTo>
                    <a:pt x="163021" y="185716"/>
                  </a:lnTo>
                  <a:cubicBezTo>
                    <a:pt x="191047" y="144362"/>
                    <a:pt x="180459" y="88187"/>
                    <a:pt x="139231" y="60037"/>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9" name="TextBox 5619">
              <a:extLst>
                <a:ext uri="{FF2B5EF4-FFF2-40B4-BE49-F238E27FC236}">
                  <a16:creationId xmlns:a16="http://schemas.microsoft.com/office/drawing/2014/main" id="{614ABBCC-5C29-FAD5-8D67-AC2BDEDD9FB5}"/>
                </a:ext>
              </a:extLst>
            </p:cNvPr>
            <p:cNvSpPr txBox="1"/>
            <p:nvPr/>
          </p:nvSpPr>
          <p:spPr>
            <a:xfrm>
              <a:off x="7414454" y="4483968"/>
              <a:ext cx="1648671"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chemeClr val="tx2"/>
                  </a:solidFill>
                  <a:ea typeface="ヒラギノ角ゴ Pro W3" panose="020B0300000000000000" pitchFamily="34" charset="-128"/>
                  <a:cs typeface="Arial"/>
                  <a:sym typeface="Arial"/>
                </a:rPr>
                <a:t>Complexo</a:t>
              </a:r>
              <a:r>
                <a:rPr lang="en-US" sz="1067" b="1" dirty="0">
                  <a:solidFill>
                    <a:schemeClr val="tx2"/>
                  </a:solidFill>
                  <a:ea typeface="ヒラギノ角ゴ Pro W3" panose="020B0300000000000000" pitchFamily="34" charset="-128"/>
                  <a:cs typeface="Arial"/>
                  <a:sym typeface="Arial"/>
                </a:rPr>
                <a:t> de </a:t>
              </a:r>
              <a:r>
                <a:rPr lang="en-US" sz="1067" b="1" dirty="0" err="1">
                  <a:solidFill>
                    <a:schemeClr val="tx2"/>
                  </a:solidFill>
                  <a:ea typeface="ヒラギノ角ゴ Pro W3" panose="020B0300000000000000" pitchFamily="34" charset="-128"/>
                  <a:cs typeface="Arial"/>
                  <a:sym typeface="Arial"/>
                </a:rPr>
                <a:t>ataque</a:t>
              </a:r>
              <a:r>
                <a:rPr lang="en-US" sz="1067" b="1" dirty="0">
                  <a:solidFill>
                    <a:schemeClr val="tx2"/>
                  </a:solidFill>
                  <a:ea typeface="ヒラギノ角ゴ Pro W3" panose="020B0300000000000000" pitchFamily="34" charset="-128"/>
                  <a:cs typeface="Arial"/>
                  <a:sym typeface="Arial"/>
                </a:rPr>
                <a:t> à membrana (MAC)</a:t>
              </a:r>
            </a:p>
          </p:txBody>
        </p:sp>
        <p:sp>
          <p:nvSpPr>
            <p:cNvPr id="7165" name="TextBox 5626">
              <a:extLst>
                <a:ext uri="{FF2B5EF4-FFF2-40B4-BE49-F238E27FC236}">
                  <a16:creationId xmlns:a16="http://schemas.microsoft.com/office/drawing/2014/main" id="{32083606-8616-9976-649B-E4E680567E39}"/>
                </a:ext>
              </a:extLst>
            </p:cNvPr>
            <p:cNvSpPr txBox="1"/>
            <p:nvPr/>
          </p:nvSpPr>
          <p:spPr>
            <a:xfrm>
              <a:off x="258143" y="4747145"/>
              <a:ext cx="2921427" cy="584775"/>
            </a:xfrm>
            <a:prstGeom prst="rect">
              <a:avLst/>
            </a:prstGeom>
            <a:noFill/>
          </p:spPr>
          <p:txBody>
            <a:bodyPr wrap="square" rtlCol="0">
              <a:spAutoFit/>
            </a:bodyPr>
            <a:lstStyle/>
            <a:p>
              <a:pPr defTabSz="914377" fontAlgn="base">
                <a:spcBef>
                  <a:spcPct val="0"/>
                </a:spcBef>
                <a:spcAft>
                  <a:spcPct val="0"/>
                </a:spcAft>
                <a:defRPr/>
              </a:pPr>
              <a:r>
                <a:rPr lang="en-US" sz="1600" b="1" dirty="0" err="1">
                  <a:solidFill>
                    <a:schemeClr val="tx2"/>
                  </a:solidFill>
                  <a:latin typeface="+mj-lt"/>
                  <a:ea typeface="ヒラギノ角ゴ Pro W3" panose="020B0300000000000000" pitchFamily="34" charset="-128"/>
                  <a:cs typeface="Arial"/>
                  <a:sym typeface="Arial"/>
                </a:rPr>
                <a:t>Complemento</a:t>
              </a:r>
              <a:r>
                <a:rPr lang="en-US" sz="1600" b="1" dirty="0">
                  <a:solidFill>
                    <a:schemeClr val="tx2"/>
                  </a:solidFill>
                  <a:latin typeface="+mj-lt"/>
                  <a:ea typeface="ヒラギノ角ゴ Pro W3" panose="020B0300000000000000" pitchFamily="34" charset="-128"/>
                  <a:cs typeface="Arial"/>
                  <a:sym typeface="Arial"/>
                </a:rPr>
                <a:t> </a:t>
              </a:r>
            </a:p>
            <a:p>
              <a:pPr defTabSz="914377" fontAlgn="base">
                <a:spcBef>
                  <a:spcPct val="0"/>
                </a:spcBef>
                <a:spcAft>
                  <a:spcPct val="0"/>
                </a:spcAft>
                <a:defRPr/>
              </a:pPr>
              <a:r>
                <a:rPr lang="en-US" sz="1600" b="1" dirty="0">
                  <a:solidFill>
                    <a:schemeClr val="tx2"/>
                  </a:solidFill>
                  <a:latin typeface="+mj-lt"/>
                  <a:ea typeface="ヒラギノ角ゴ Pro W3" panose="020B0300000000000000" pitchFamily="34" charset="-128"/>
                  <a:cs typeface="Arial"/>
                  <a:sym typeface="Arial"/>
                </a:rPr>
                <a:t>terminal</a:t>
              </a:r>
            </a:p>
          </p:txBody>
        </p:sp>
        <p:grpSp>
          <p:nvGrpSpPr>
            <p:cNvPr id="7172" name="Graphic 2987">
              <a:extLst>
                <a:ext uri="{FF2B5EF4-FFF2-40B4-BE49-F238E27FC236}">
                  <a16:creationId xmlns:a16="http://schemas.microsoft.com/office/drawing/2014/main" id="{467AF6AB-6351-0559-9C38-90CA0909589E}"/>
                </a:ext>
              </a:extLst>
            </p:cNvPr>
            <p:cNvGrpSpPr/>
            <p:nvPr/>
          </p:nvGrpSpPr>
          <p:grpSpPr>
            <a:xfrm>
              <a:off x="5790243" y="4908619"/>
              <a:ext cx="230560" cy="306163"/>
              <a:chOff x="5579561" y="3590947"/>
              <a:chExt cx="230560" cy="306162"/>
            </a:xfrm>
            <a:solidFill>
              <a:schemeClr val="accent4">
                <a:lumMod val="50000"/>
                <a:lumOff val="50000"/>
              </a:schemeClr>
            </a:solidFill>
          </p:grpSpPr>
          <p:sp>
            <p:nvSpPr>
              <p:cNvPr id="7173" name="Freeform 3647">
                <a:extLst>
                  <a:ext uri="{FF2B5EF4-FFF2-40B4-BE49-F238E27FC236}">
                    <a16:creationId xmlns:a16="http://schemas.microsoft.com/office/drawing/2014/main" id="{6042D5E1-FA84-18C5-7958-7E84BE508C8A}"/>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74" name="Freeform 3648">
                <a:extLst>
                  <a:ext uri="{FF2B5EF4-FFF2-40B4-BE49-F238E27FC236}">
                    <a16:creationId xmlns:a16="http://schemas.microsoft.com/office/drawing/2014/main" id="{5EB1758C-159A-BD98-F60D-E974A9C672F4}"/>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7175" name="Graphic 2987">
              <a:extLst>
                <a:ext uri="{FF2B5EF4-FFF2-40B4-BE49-F238E27FC236}">
                  <a16:creationId xmlns:a16="http://schemas.microsoft.com/office/drawing/2014/main" id="{F797D285-A23D-EE2D-5BF7-84CD44408553}"/>
                </a:ext>
              </a:extLst>
            </p:cNvPr>
            <p:cNvGrpSpPr/>
            <p:nvPr/>
          </p:nvGrpSpPr>
          <p:grpSpPr>
            <a:xfrm flipH="1">
              <a:off x="6364285" y="4908619"/>
              <a:ext cx="230560" cy="306163"/>
              <a:chOff x="5579561" y="3590947"/>
              <a:chExt cx="230560" cy="306162"/>
            </a:xfrm>
            <a:solidFill>
              <a:schemeClr val="accent4">
                <a:lumMod val="50000"/>
                <a:lumOff val="50000"/>
              </a:schemeClr>
            </a:solidFill>
          </p:grpSpPr>
          <p:sp>
            <p:nvSpPr>
              <p:cNvPr id="7176" name="Freeform 3650">
                <a:extLst>
                  <a:ext uri="{FF2B5EF4-FFF2-40B4-BE49-F238E27FC236}">
                    <a16:creationId xmlns:a16="http://schemas.microsoft.com/office/drawing/2014/main" id="{0C8C9A13-8ADD-DA35-15F0-1DC891E94742}"/>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77" name="Freeform 3654">
                <a:extLst>
                  <a:ext uri="{FF2B5EF4-FFF2-40B4-BE49-F238E27FC236}">
                    <a16:creationId xmlns:a16="http://schemas.microsoft.com/office/drawing/2014/main" id="{5F636005-2CDB-2C05-D2C8-A510C954DA42}"/>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7180" name="Graphic 2987">
              <a:extLst>
                <a:ext uri="{FF2B5EF4-FFF2-40B4-BE49-F238E27FC236}">
                  <a16:creationId xmlns:a16="http://schemas.microsoft.com/office/drawing/2014/main" id="{7DE11D2F-801A-5280-6DD4-B02E69CC600B}"/>
                </a:ext>
              </a:extLst>
            </p:cNvPr>
            <p:cNvGrpSpPr/>
            <p:nvPr/>
          </p:nvGrpSpPr>
          <p:grpSpPr>
            <a:xfrm rot="19436672">
              <a:off x="6147043" y="4408305"/>
              <a:ext cx="230567" cy="306155"/>
              <a:chOff x="5579554" y="3590947"/>
              <a:chExt cx="230567" cy="306153"/>
            </a:xfrm>
            <a:solidFill>
              <a:schemeClr val="accent4">
                <a:lumMod val="50000"/>
                <a:lumOff val="50000"/>
              </a:schemeClr>
            </a:solidFill>
          </p:grpSpPr>
          <p:sp>
            <p:nvSpPr>
              <p:cNvPr id="7181" name="Freeform 3678">
                <a:extLst>
                  <a:ext uri="{FF2B5EF4-FFF2-40B4-BE49-F238E27FC236}">
                    <a16:creationId xmlns:a16="http://schemas.microsoft.com/office/drawing/2014/main" id="{DEFDC289-E1F7-EFB6-70AC-0EC1F08F19FA}"/>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82" name="Freeform 3679">
                <a:extLst>
                  <a:ext uri="{FF2B5EF4-FFF2-40B4-BE49-F238E27FC236}">
                    <a16:creationId xmlns:a16="http://schemas.microsoft.com/office/drawing/2014/main" id="{065788CA-4CB8-9E6D-BD81-BD96008DC5EA}"/>
                  </a:ext>
                </a:extLst>
              </p:cNvPr>
              <p:cNvSpPr/>
              <p:nvPr/>
            </p:nvSpPr>
            <p:spPr>
              <a:xfrm>
                <a:off x="5579554" y="3770053"/>
                <a:ext cx="138382" cy="127047"/>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sp>
          <p:nvSpPr>
            <p:cNvPr id="7183" name="Freeform 2993">
              <a:extLst>
                <a:ext uri="{FF2B5EF4-FFF2-40B4-BE49-F238E27FC236}">
                  <a16:creationId xmlns:a16="http://schemas.microsoft.com/office/drawing/2014/main" id="{CD5C6D12-33DE-473E-430F-0B89D21E32A2}"/>
                </a:ext>
              </a:extLst>
            </p:cNvPr>
            <p:cNvSpPr/>
            <p:nvPr/>
          </p:nvSpPr>
          <p:spPr>
            <a:xfrm>
              <a:off x="4767819" y="5626301"/>
              <a:ext cx="6571413" cy="558867"/>
            </a:xfrm>
            <a:custGeom>
              <a:avLst/>
              <a:gdLst>
                <a:gd name="connsiteX0" fmla="*/ 6571414 w 6571413"/>
                <a:gd name="connsiteY0" fmla="*/ 558868 h 558867"/>
                <a:gd name="connsiteX1" fmla="*/ 2284513 w 6571413"/>
                <a:gd name="connsiteY1" fmla="*/ 72221 h 558867"/>
                <a:gd name="connsiteX2" fmla="*/ 0 w 6571413"/>
                <a:gd name="connsiteY2" fmla="*/ 558868 h 558867"/>
                <a:gd name="connsiteX3" fmla="*/ 6571414 w 6571413"/>
                <a:gd name="connsiteY3" fmla="*/ 558868 h 558867"/>
              </a:gdLst>
              <a:ahLst/>
              <a:cxnLst>
                <a:cxn ang="0">
                  <a:pos x="connsiteX0" y="connsiteY0"/>
                </a:cxn>
                <a:cxn ang="0">
                  <a:pos x="connsiteX1" y="connsiteY1"/>
                </a:cxn>
                <a:cxn ang="0">
                  <a:pos x="connsiteX2" y="connsiteY2"/>
                </a:cxn>
                <a:cxn ang="0">
                  <a:pos x="connsiteX3" y="connsiteY3"/>
                </a:cxn>
              </a:cxnLst>
              <a:rect l="l" t="t" r="r" b="b"/>
              <a:pathLst>
                <a:path w="6571413" h="558867">
                  <a:moveTo>
                    <a:pt x="6571414" y="558868"/>
                  </a:moveTo>
                  <a:cubicBezTo>
                    <a:pt x="5644456" y="86420"/>
                    <a:pt x="4052982" y="-121715"/>
                    <a:pt x="2284513" y="72221"/>
                  </a:cubicBezTo>
                  <a:cubicBezTo>
                    <a:pt x="1449353" y="163895"/>
                    <a:pt x="672238" y="334539"/>
                    <a:pt x="0" y="558868"/>
                  </a:cubicBezTo>
                  <a:lnTo>
                    <a:pt x="6571414" y="558868"/>
                  </a:lnTo>
                  <a:close/>
                </a:path>
              </a:pathLst>
            </a:custGeom>
            <a:gradFill>
              <a:gsLst>
                <a:gs pos="99000">
                  <a:srgbClr val="B52455">
                    <a:lumMod val="60000"/>
                    <a:lumOff val="40000"/>
                  </a:srgbClr>
                </a:gs>
                <a:gs pos="0">
                  <a:srgbClr val="FFFFFF"/>
                </a:gs>
              </a:gsLst>
              <a:lin ang="162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nvGrpSpPr>
            <p:cNvPr id="7184" name="Graphic 2987">
              <a:extLst>
                <a:ext uri="{FF2B5EF4-FFF2-40B4-BE49-F238E27FC236}">
                  <a16:creationId xmlns:a16="http://schemas.microsoft.com/office/drawing/2014/main" id="{DC307774-240D-8C87-2487-D5F163D5E73F}"/>
                </a:ext>
              </a:extLst>
            </p:cNvPr>
            <p:cNvGrpSpPr/>
            <p:nvPr/>
          </p:nvGrpSpPr>
          <p:grpSpPr>
            <a:xfrm>
              <a:off x="8216729" y="5428032"/>
              <a:ext cx="654659" cy="689069"/>
              <a:chOff x="7861128" y="5428032"/>
              <a:chExt cx="654659" cy="689069"/>
            </a:xfrm>
            <a:solidFill>
              <a:srgbClr val="FFF4B5"/>
            </a:solidFill>
          </p:grpSpPr>
          <p:sp>
            <p:nvSpPr>
              <p:cNvPr id="7185" name="Freeform 8866">
                <a:extLst>
                  <a:ext uri="{FF2B5EF4-FFF2-40B4-BE49-F238E27FC236}">
                    <a16:creationId xmlns:a16="http://schemas.microsoft.com/office/drawing/2014/main" id="{60FF6E94-A0C7-3BC2-834E-6705D3C29AEE}"/>
                  </a:ext>
                </a:extLst>
              </p:cNvPr>
              <p:cNvSpPr/>
              <p:nvPr/>
            </p:nvSpPr>
            <p:spPr>
              <a:xfrm>
                <a:off x="8046923" y="5428173"/>
                <a:ext cx="277888" cy="606222"/>
              </a:xfrm>
              <a:custGeom>
                <a:avLst/>
                <a:gdLst>
                  <a:gd name="connsiteX0" fmla="*/ 272782 w 277888"/>
                  <a:gd name="connsiteY0" fmla="*/ 606222 h 606222"/>
                  <a:gd name="connsiteX1" fmla="*/ 0 w 277888"/>
                  <a:gd name="connsiteY1" fmla="*/ 603980 h 606222"/>
                  <a:gd name="connsiteX2" fmla="*/ 5107 w 277888"/>
                  <a:gd name="connsiteY2" fmla="*/ 0 h 606222"/>
                  <a:gd name="connsiteX3" fmla="*/ 277888 w 277888"/>
                  <a:gd name="connsiteY3" fmla="*/ 2242 h 606222"/>
                </a:gdLst>
                <a:ahLst/>
                <a:cxnLst>
                  <a:cxn ang="0">
                    <a:pos x="connsiteX0" y="connsiteY0"/>
                  </a:cxn>
                  <a:cxn ang="0">
                    <a:pos x="connsiteX1" y="connsiteY1"/>
                  </a:cxn>
                  <a:cxn ang="0">
                    <a:pos x="connsiteX2" y="connsiteY2"/>
                  </a:cxn>
                  <a:cxn ang="0">
                    <a:pos x="connsiteX3" y="connsiteY3"/>
                  </a:cxn>
                </a:cxnLst>
                <a:rect l="l" t="t" r="r" b="b"/>
                <a:pathLst>
                  <a:path w="277888" h="606222">
                    <a:moveTo>
                      <a:pt x="272782" y="606222"/>
                    </a:moveTo>
                    <a:lnTo>
                      <a:pt x="0" y="603980"/>
                    </a:lnTo>
                    <a:lnTo>
                      <a:pt x="5107" y="0"/>
                    </a:lnTo>
                    <a:lnTo>
                      <a:pt x="277888" y="2242"/>
                    </a:ln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nvGrpSpPr>
              <p:cNvPr id="7186" name="Graphic 2987">
                <a:extLst>
                  <a:ext uri="{FF2B5EF4-FFF2-40B4-BE49-F238E27FC236}">
                    <a16:creationId xmlns:a16="http://schemas.microsoft.com/office/drawing/2014/main" id="{3FAD056D-5F0E-D0F3-405A-FCC23E1521F2}"/>
                  </a:ext>
                </a:extLst>
              </p:cNvPr>
              <p:cNvGrpSpPr/>
              <p:nvPr/>
            </p:nvGrpSpPr>
            <p:grpSpPr>
              <a:xfrm>
                <a:off x="7861128" y="5428032"/>
                <a:ext cx="253183" cy="684711"/>
                <a:chOff x="7861128" y="5428032"/>
                <a:chExt cx="253183" cy="684711"/>
              </a:xfrm>
              <a:solidFill>
                <a:srgbClr val="FFF4B5"/>
              </a:solidFill>
            </p:grpSpPr>
            <p:sp>
              <p:nvSpPr>
                <p:cNvPr id="7191" name="Freeform 8868">
                  <a:extLst>
                    <a:ext uri="{FF2B5EF4-FFF2-40B4-BE49-F238E27FC236}">
                      <a16:creationId xmlns:a16="http://schemas.microsoft.com/office/drawing/2014/main" id="{CB769C21-0274-094C-A464-503D5EAEB735}"/>
                    </a:ext>
                  </a:extLst>
                </p:cNvPr>
                <p:cNvSpPr/>
                <p:nvPr/>
              </p:nvSpPr>
              <p:spPr>
                <a:xfrm>
                  <a:off x="7948772" y="5428032"/>
                  <a:ext cx="165539" cy="618321"/>
                </a:xfrm>
                <a:custGeom>
                  <a:avLst/>
                  <a:gdLst>
                    <a:gd name="connsiteX0" fmla="*/ 102387 w 165539"/>
                    <a:gd name="connsiteY0" fmla="*/ 17 h 618321"/>
                    <a:gd name="connsiteX1" fmla="*/ 165538 w 165539"/>
                    <a:gd name="connsiteY1" fmla="*/ 56441 h 618321"/>
                    <a:gd name="connsiteX2" fmla="*/ 160804 w 165539"/>
                    <a:gd name="connsiteY2" fmla="*/ 606613 h 618321"/>
                    <a:gd name="connsiteX3" fmla="*/ 115465 w 165539"/>
                    <a:gd name="connsiteY3" fmla="*/ 608107 h 618321"/>
                    <a:gd name="connsiteX4" fmla="*/ 74859 w 165539"/>
                    <a:gd name="connsiteY4" fmla="*/ 618321 h 618321"/>
                    <a:gd name="connsiteX5" fmla="*/ 79468 w 165539"/>
                    <a:gd name="connsiteY5" fmla="*/ 79734 h 618321"/>
                    <a:gd name="connsiteX6" fmla="*/ 0 w 165539"/>
                    <a:gd name="connsiteY6" fmla="*/ 16458 h 618321"/>
                    <a:gd name="connsiteX7" fmla="*/ 102387 w 165539"/>
                    <a:gd name="connsiteY7" fmla="*/ 17 h 6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39" h="618321">
                      <a:moveTo>
                        <a:pt x="102387" y="17"/>
                      </a:moveTo>
                      <a:cubicBezTo>
                        <a:pt x="144737" y="390"/>
                        <a:pt x="165786" y="24679"/>
                        <a:pt x="165538" y="56441"/>
                      </a:cubicBezTo>
                      <a:cubicBezTo>
                        <a:pt x="165288" y="88204"/>
                        <a:pt x="160804" y="606613"/>
                        <a:pt x="160804" y="606613"/>
                      </a:cubicBezTo>
                      <a:cubicBezTo>
                        <a:pt x="160804" y="606613"/>
                        <a:pt x="142494" y="604495"/>
                        <a:pt x="115465" y="608107"/>
                      </a:cubicBezTo>
                      <a:cubicBezTo>
                        <a:pt x="88436" y="611720"/>
                        <a:pt x="74859" y="618321"/>
                        <a:pt x="74859" y="618321"/>
                      </a:cubicBezTo>
                      <a:lnTo>
                        <a:pt x="79468" y="79734"/>
                      </a:lnTo>
                      <a:lnTo>
                        <a:pt x="0" y="16458"/>
                      </a:lnTo>
                      <a:cubicBezTo>
                        <a:pt x="0" y="16458"/>
                        <a:pt x="35873" y="-606"/>
                        <a:pt x="102387" y="17"/>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2" name="Freeform 8869">
                  <a:extLst>
                    <a:ext uri="{FF2B5EF4-FFF2-40B4-BE49-F238E27FC236}">
                      <a16:creationId xmlns:a16="http://schemas.microsoft.com/office/drawing/2014/main" id="{05ED7E10-1870-B3BE-AC6E-1F3075D0D1E2}"/>
                    </a:ext>
                  </a:extLst>
                </p:cNvPr>
                <p:cNvSpPr/>
                <p:nvPr/>
              </p:nvSpPr>
              <p:spPr>
                <a:xfrm>
                  <a:off x="7884750" y="5441747"/>
                  <a:ext cx="144613" cy="658414"/>
                </a:xfrm>
                <a:custGeom>
                  <a:avLst/>
                  <a:gdLst>
                    <a:gd name="connsiteX0" fmla="*/ 138881 w 144613"/>
                    <a:gd name="connsiteY0" fmla="*/ 604606 h 658414"/>
                    <a:gd name="connsiteX1" fmla="*/ 102137 w 144613"/>
                    <a:gd name="connsiteY1" fmla="*/ 623538 h 658414"/>
                    <a:gd name="connsiteX2" fmla="*/ 74236 w 144613"/>
                    <a:gd name="connsiteY2" fmla="*/ 658415 h 658414"/>
                    <a:gd name="connsiteX3" fmla="*/ 79592 w 144613"/>
                    <a:gd name="connsiteY3" fmla="*/ 91428 h 658414"/>
                    <a:gd name="connsiteX4" fmla="*/ 0 w 144613"/>
                    <a:gd name="connsiteY4" fmla="*/ 38367 h 658414"/>
                    <a:gd name="connsiteX5" fmla="*/ 92920 w 144613"/>
                    <a:gd name="connsiteY5" fmla="*/ 3 h 658414"/>
                    <a:gd name="connsiteX6" fmla="*/ 144611 w 144613"/>
                    <a:gd name="connsiteY6" fmla="*/ 44844 h 658414"/>
                    <a:gd name="connsiteX7" fmla="*/ 138881 w 144613"/>
                    <a:gd name="connsiteY7" fmla="*/ 604606 h 65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13" h="658414">
                      <a:moveTo>
                        <a:pt x="138881" y="604606"/>
                      </a:moveTo>
                      <a:cubicBezTo>
                        <a:pt x="138881" y="604606"/>
                        <a:pt x="123436" y="608342"/>
                        <a:pt x="102137" y="623538"/>
                      </a:cubicBezTo>
                      <a:cubicBezTo>
                        <a:pt x="80838" y="638734"/>
                        <a:pt x="74236" y="658415"/>
                        <a:pt x="74236" y="658415"/>
                      </a:cubicBezTo>
                      <a:lnTo>
                        <a:pt x="79592" y="91428"/>
                      </a:lnTo>
                      <a:lnTo>
                        <a:pt x="0" y="38367"/>
                      </a:lnTo>
                      <a:cubicBezTo>
                        <a:pt x="0" y="38367"/>
                        <a:pt x="42848" y="-371"/>
                        <a:pt x="92920" y="3"/>
                      </a:cubicBezTo>
                      <a:cubicBezTo>
                        <a:pt x="125678" y="252"/>
                        <a:pt x="144861" y="16818"/>
                        <a:pt x="144611" y="44844"/>
                      </a:cubicBezTo>
                      <a:cubicBezTo>
                        <a:pt x="144611" y="44844"/>
                        <a:pt x="138881" y="604606"/>
                        <a:pt x="138881" y="604606"/>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3" name="Freeform 8870">
                  <a:extLst>
                    <a:ext uri="{FF2B5EF4-FFF2-40B4-BE49-F238E27FC236}">
                      <a16:creationId xmlns:a16="http://schemas.microsoft.com/office/drawing/2014/main" id="{5C6B07F2-FA29-C67F-F3C6-B748465A32A4}"/>
                    </a:ext>
                  </a:extLst>
                </p:cNvPr>
                <p:cNvSpPr/>
                <p:nvPr/>
              </p:nvSpPr>
              <p:spPr>
                <a:xfrm>
                  <a:off x="7861128" y="5465538"/>
                  <a:ext cx="104003" cy="647204"/>
                </a:xfrm>
                <a:custGeom>
                  <a:avLst/>
                  <a:gdLst>
                    <a:gd name="connsiteX0" fmla="*/ 103961 w 104003"/>
                    <a:gd name="connsiteY0" fmla="*/ 49700 h 647204"/>
                    <a:gd name="connsiteX1" fmla="*/ 89140 w 104003"/>
                    <a:gd name="connsiteY1" fmla="*/ 16817 h 647204"/>
                    <a:gd name="connsiteX2" fmla="*/ 53391 w 104003"/>
                    <a:gd name="connsiteY2" fmla="*/ 2 h 647204"/>
                    <a:gd name="connsiteX3" fmla="*/ 23622 w 104003"/>
                    <a:gd name="connsiteY3" fmla="*/ 14575 h 647204"/>
                    <a:gd name="connsiteX4" fmla="*/ 5312 w 104003"/>
                    <a:gd name="connsiteY4" fmla="*/ 47334 h 647204"/>
                    <a:gd name="connsiteX5" fmla="*/ 3568 w 104003"/>
                    <a:gd name="connsiteY5" fmla="*/ 52316 h 647204"/>
                    <a:gd name="connsiteX6" fmla="*/ 6433 w 104003"/>
                    <a:gd name="connsiteY6" fmla="*/ 91676 h 647204"/>
                    <a:gd name="connsiteX7" fmla="*/ 49904 w 104003"/>
                    <a:gd name="connsiteY7" fmla="*/ 93295 h 647204"/>
                    <a:gd name="connsiteX8" fmla="*/ 84032 w 104003"/>
                    <a:gd name="connsiteY8" fmla="*/ 113972 h 647204"/>
                    <a:gd name="connsiteX9" fmla="*/ 78302 w 104003"/>
                    <a:gd name="connsiteY9" fmla="*/ 635869 h 647204"/>
                    <a:gd name="connsiteX10" fmla="*/ 88143 w 104003"/>
                    <a:gd name="connsiteY10" fmla="*/ 647203 h 647204"/>
                    <a:gd name="connsiteX11" fmla="*/ 97983 w 104003"/>
                    <a:gd name="connsiteY11" fmla="*/ 634499 h 647204"/>
                    <a:gd name="connsiteX12" fmla="*/ 103961 w 104003"/>
                    <a:gd name="connsiteY12" fmla="*/ 49700 h 64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003" h="647204">
                      <a:moveTo>
                        <a:pt x="103961" y="49700"/>
                      </a:moveTo>
                      <a:cubicBezTo>
                        <a:pt x="102716" y="37494"/>
                        <a:pt x="97983" y="25661"/>
                        <a:pt x="89140" y="16817"/>
                      </a:cubicBezTo>
                      <a:cubicBezTo>
                        <a:pt x="84406" y="12084"/>
                        <a:pt x="68463" y="126"/>
                        <a:pt x="53391" y="2"/>
                      </a:cubicBezTo>
                      <a:cubicBezTo>
                        <a:pt x="38320" y="-123"/>
                        <a:pt x="31469" y="6354"/>
                        <a:pt x="23622" y="14575"/>
                      </a:cubicBezTo>
                      <a:cubicBezTo>
                        <a:pt x="14903" y="23792"/>
                        <a:pt x="8550" y="35127"/>
                        <a:pt x="5312" y="47334"/>
                      </a:cubicBezTo>
                      <a:cubicBezTo>
                        <a:pt x="4689" y="48953"/>
                        <a:pt x="4066" y="50697"/>
                        <a:pt x="3568" y="52316"/>
                      </a:cubicBezTo>
                      <a:cubicBezTo>
                        <a:pt x="-542" y="65270"/>
                        <a:pt x="-2784" y="80217"/>
                        <a:pt x="6433" y="91676"/>
                      </a:cubicBezTo>
                      <a:cubicBezTo>
                        <a:pt x="18017" y="105876"/>
                        <a:pt x="35579" y="95039"/>
                        <a:pt x="49904" y="93295"/>
                      </a:cubicBezTo>
                      <a:cubicBezTo>
                        <a:pt x="57501" y="92424"/>
                        <a:pt x="84157" y="90181"/>
                        <a:pt x="84032" y="113972"/>
                      </a:cubicBezTo>
                      <a:cubicBezTo>
                        <a:pt x="83908" y="122816"/>
                        <a:pt x="77804" y="634748"/>
                        <a:pt x="78302" y="635869"/>
                      </a:cubicBezTo>
                      <a:cubicBezTo>
                        <a:pt x="77804" y="641349"/>
                        <a:pt x="81043" y="647203"/>
                        <a:pt x="88143" y="647203"/>
                      </a:cubicBezTo>
                      <a:cubicBezTo>
                        <a:pt x="95865" y="647328"/>
                        <a:pt x="99104" y="640353"/>
                        <a:pt x="97983" y="634499"/>
                      </a:cubicBezTo>
                      <a:cubicBezTo>
                        <a:pt x="98107" y="634000"/>
                        <a:pt x="104585" y="55181"/>
                        <a:pt x="103961" y="49700"/>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nvGrpSpPr>
              <p:cNvPr id="7187" name="Graphic 2987">
                <a:extLst>
                  <a:ext uri="{FF2B5EF4-FFF2-40B4-BE49-F238E27FC236}">
                    <a16:creationId xmlns:a16="http://schemas.microsoft.com/office/drawing/2014/main" id="{28C88741-BC70-A67E-2E06-C202C8DFE115}"/>
                  </a:ext>
                </a:extLst>
              </p:cNvPr>
              <p:cNvGrpSpPr/>
              <p:nvPr/>
            </p:nvGrpSpPr>
            <p:grpSpPr>
              <a:xfrm>
                <a:off x="8258796" y="5430411"/>
                <a:ext cx="256991" cy="686690"/>
                <a:chOff x="8258796" y="5430411"/>
                <a:chExt cx="256991" cy="686690"/>
              </a:xfrm>
              <a:solidFill>
                <a:srgbClr val="FFF4B5"/>
              </a:solidFill>
            </p:grpSpPr>
            <p:sp>
              <p:nvSpPr>
                <p:cNvPr id="7188" name="Freeform 8872">
                  <a:extLst>
                    <a:ext uri="{FF2B5EF4-FFF2-40B4-BE49-F238E27FC236}">
                      <a16:creationId xmlns:a16="http://schemas.microsoft.com/office/drawing/2014/main" id="{CA6CDFA2-54A5-DF25-8E3F-3CCA12A1CBC5}"/>
                    </a:ext>
                  </a:extLst>
                </p:cNvPr>
                <p:cNvSpPr/>
                <p:nvPr/>
              </p:nvSpPr>
              <p:spPr>
                <a:xfrm>
                  <a:off x="8258796" y="5430411"/>
                  <a:ext cx="170893" cy="618807"/>
                </a:xfrm>
                <a:custGeom>
                  <a:avLst/>
                  <a:gdLst>
                    <a:gd name="connsiteX0" fmla="*/ 68881 w 170893"/>
                    <a:gd name="connsiteY0" fmla="*/ 4 h 618807"/>
                    <a:gd name="connsiteX1" fmla="*/ 4733 w 170893"/>
                    <a:gd name="connsiteY1" fmla="*/ 55308 h 618807"/>
                    <a:gd name="connsiteX2" fmla="*/ 0 w 170893"/>
                    <a:gd name="connsiteY2" fmla="*/ 605479 h 618807"/>
                    <a:gd name="connsiteX3" fmla="*/ 45339 w 170893"/>
                    <a:gd name="connsiteY3" fmla="*/ 607846 h 618807"/>
                    <a:gd name="connsiteX4" fmla="*/ 85696 w 170893"/>
                    <a:gd name="connsiteY4" fmla="*/ 618807 h 618807"/>
                    <a:gd name="connsiteX5" fmla="*/ 90304 w 170893"/>
                    <a:gd name="connsiteY5" fmla="*/ 80219 h 618807"/>
                    <a:gd name="connsiteX6" fmla="*/ 170894 w 170893"/>
                    <a:gd name="connsiteY6" fmla="*/ 18190 h 618807"/>
                    <a:gd name="connsiteX7" fmla="*/ 68881 w 170893"/>
                    <a:gd name="connsiteY7" fmla="*/ 4 h 6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93" h="618807">
                      <a:moveTo>
                        <a:pt x="68881" y="4"/>
                      </a:moveTo>
                      <a:cubicBezTo>
                        <a:pt x="26531" y="-369"/>
                        <a:pt x="5107" y="23546"/>
                        <a:pt x="4733" y="55308"/>
                      </a:cubicBezTo>
                      <a:cubicBezTo>
                        <a:pt x="4484" y="87070"/>
                        <a:pt x="0" y="605479"/>
                        <a:pt x="0" y="605479"/>
                      </a:cubicBezTo>
                      <a:cubicBezTo>
                        <a:pt x="0" y="605479"/>
                        <a:pt x="18310" y="603735"/>
                        <a:pt x="45339" y="607846"/>
                      </a:cubicBezTo>
                      <a:cubicBezTo>
                        <a:pt x="72243" y="611956"/>
                        <a:pt x="85696" y="618807"/>
                        <a:pt x="85696" y="618807"/>
                      </a:cubicBezTo>
                      <a:lnTo>
                        <a:pt x="90304" y="80219"/>
                      </a:lnTo>
                      <a:lnTo>
                        <a:pt x="170894" y="18190"/>
                      </a:lnTo>
                      <a:cubicBezTo>
                        <a:pt x="170894" y="18190"/>
                        <a:pt x="135394" y="503"/>
                        <a:pt x="68881" y="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89" name="Freeform 8873">
                  <a:extLst>
                    <a:ext uri="{FF2B5EF4-FFF2-40B4-BE49-F238E27FC236}">
                      <a16:creationId xmlns:a16="http://schemas.microsoft.com/office/drawing/2014/main" id="{E9FC8CB3-A68C-5D87-5775-A00B3FDC2D0F}"/>
                    </a:ext>
                  </a:extLst>
                </p:cNvPr>
                <p:cNvSpPr/>
                <p:nvPr/>
              </p:nvSpPr>
              <p:spPr>
                <a:xfrm>
                  <a:off x="8344617" y="5445359"/>
                  <a:ext cx="148472" cy="658663"/>
                </a:xfrm>
                <a:custGeom>
                  <a:avLst/>
                  <a:gdLst>
                    <a:gd name="connsiteX0" fmla="*/ 0 w 148472"/>
                    <a:gd name="connsiteY0" fmla="*/ 603734 h 658663"/>
                    <a:gd name="connsiteX1" fmla="*/ 36495 w 148472"/>
                    <a:gd name="connsiteY1" fmla="*/ 623290 h 658663"/>
                    <a:gd name="connsiteX2" fmla="*/ 63773 w 148472"/>
                    <a:gd name="connsiteY2" fmla="*/ 658664 h 658663"/>
                    <a:gd name="connsiteX3" fmla="*/ 68009 w 148472"/>
                    <a:gd name="connsiteY3" fmla="*/ 91677 h 658663"/>
                    <a:gd name="connsiteX4" fmla="*/ 148473 w 148472"/>
                    <a:gd name="connsiteY4" fmla="*/ 39986 h 658663"/>
                    <a:gd name="connsiteX5" fmla="*/ 56176 w 148472"/>
                    <a:gd name="connsiteY5" fmla="*/ 3 h 658663"/>
                    <a:gd name="connsiteX6" fmla="*/ 3737 w 148472"/>
                    <a:gd name="connsiteY6" fmla="*/ 43847 h 658663"/>
                    <a:gd name="connsiteX7" fmla="*/ 0 w 148472"/>
                    <a:gd name="connsiteY7" fmla="*/ 603734 h 6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72" h="658663">
                      <a:moveTo>
                        <a:pt x="0" y="603734"/>
                      </a:moveTo>
                      <a:cubicBezTo>
                        <a:pt x="0" y="603734"/>
                        <a:pt x="15445" y="607720"/>
                        <a:pt x="36495" y="623290"/>
                      </a:cubicBezTo>
                      <a:cubicBezTo>
                        <a:pt x="57546" y="638859"/>
                        <a:pt x="63773" y="658664"/>
                        <a:pt x="63773" y="658664"/>
                      </a:cubicBezTo>
                      <a:lnTo>
                        <a:pt x="68009" y="91677"/>
                      </a:lnTo>
                      <a:lnTo>
                        <a:pt x="148473" y="39986"/>
                      </a:lnTo>
                      <a:cubicBezTo>
                        <a:pt x="148473" y="39986"/>
                        <a:pt x="106372" y="501"/>
                        <a:pt x="56176" y="3"/>
                      </a:cubicBezTo>
                      <a:cubicBezTo>
                        <a:pt x="23417" y="-246"/>
                        <a:pt x="3986" y="15946"/>
                        <a:pt x="3737" y="43847"/>
                      </a:cubicBezTo>
                      <a:cubicBezTo>
                        <a:pt x="3861" y="43972"/>
                        <a:pt x="0" y="603734"/>
                        <a:pt x="0" y="60373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0" name="Freeform 8874">
                  <a:extLst>
                    <a:ext uri="{FF2B5EF4-FFF2-40B4-BE49-F238E27FC236}">
                      <a16:creationId xmlns:a16="http://schemas.microsoft.com/office/drawing/2014/main" id="{8143E384-FC2D-0A90-60C9-6D90824E017F}"/>
                    </a:ext>
                  </a:extLst>
                </p:cNvPr>
                <p:cNvSpPr/>
                <p:nvPr/>
              </p:nvSpPr>
              <p:spPr>
                <a:xfrm>
                  <a:off x="8407999" y="5470148"/>
                  <a:ext cx="107788" cy="646953"/>
                </a:xfrm>
                <a:custGeom>
                  <a:avLst/>
                  <a:gdLst>
                    <a:gd name="connsiteX0" fmla="*/ 4252 w 107788"/>
                    <a:gd name="connsiteY0" fmla="*/ 48828 h 646953"/>
                    <a:gd name="connsiteX1" fmla="*/ 19572 w 107788"/>
                    <a:gd name="connsiteY1" fmla="*/ 16194 h 646953"/>
                    <a:gd name="connsiteX2" fmla="*/ 55570 w 107788"/>
                    <a:gd name="connsiteY2" fmla="*/ 1 h 646953"/>
                    <a:gd name="connsiteX3" fmla="*/ 85090 w 107788"/>
                    <a:gd name="connsiteY3" fmla="*/ 15197 h 646953"/>
                    <a:gd name="connsiteX4" fmla="*/ 102901 w 107788"/>
                    <a:gd name="connsiteY4" fmla="*/ 48329 h 646953"/>
                    <a:gd name="connsiteX5" fmla="*/ 104521 w 107788"/>
                    <a:gd name="connsiteY5" fmla="*/ 53436 h 646953"/>
                    <a:gd name="connsiteX6" fmla="*/ 101034 w 107788"/>
                    <a:gd name="connsiteY6" fmla="*/ 92672 h 646953"/>
                    <a:gd name="connsiteX7" fmla="*/ 57438 w 107788"/>
                    <a:gd name="connsiteY7" fmla="*/ 93669 h 646953"/>
                    <a:gd name="connsiteX8" fmla="*/ 23060 w 107788"/>
                    <a:gd name="connsiteY8" fmla="*/ 113847 h 646953"/>
                    <a:gd name="connsiteX9" fmla="*/ 19946 w 107788"/>
                    <a:gd name="connsiteY9" fmla="*/ 635744 h 646953"/>
                    <a:gd name="connsiteX10" fmla="*/ 9857 w 107788"/>
                    <a:gd name="connsiteY10" fmla="*/ 646954 h 646953"/>
                    <a:gd name="connsiteX11" fmla="*/ 266 w 107788"/>
                    <a:gd name="connsiteY11" fmla="*/ 634124 h 646953"/>
                    <a:gd name="connsiteX12" fmla="*/ 4252 w 107788"/>
                    <a:gd name="connsiteY12" fmla="*/ 48828 h 64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787" h="646953">
                      <a:moveTo>
                        <a:pt x="4252" y="48828"/>
                      </a:moveTo>
                      <a:cubicBezTo>
                        <a:pt x="5747" y="36621"/>
                        <a:pt x="10729" y="24913"/>
                        <a:pt x="19572" y="16194"/>
                      </a:cubicBezTo>
                      <a:cubicBezTo>
                        <a:pt x="24430" y="11460"/>
                        <a:pt x="40499" y="-123"/>
                        <a:pt x="55570" y="1"/>
                      </a:cubicBezTo>
                      <a:cubicBezTo>
                        <a:pt x="70641" y="126"/>
                        <a:pt x="77367" y="6727"/>
                        <a:pt x="85090" y="15197"/>
                      </a:cubicBezTo>
                      <a:cubicBezTo>
                        <a:pt x="93684" y="24539"/>
                        <a:pt x="99788" y="35998"/>
                        <a:pt x="102901" y="48329"/>
                      </a:cubicBezTo>
                      <a:cubicBezTo>
                        <a:pt x="103400" y="50073"/>
                        <a:pt x="104023" y="51692"/>
                        <a:pt x="104521" y="53436"/>
                      </a:cubicBezTo>
                      <a:cubicBezTo>
                        <a:pt x="108382" y="66515"/>
                        <a:pt x="110500" y="81462"/>
                        <a:pt x="101034" y="92672"/>
                      </a:cubicBezTo>
                      <a:cubicBezTo>
                        <a:pt x="89325" y="106747"/>
                        <a:pt x="71887" y="95537"/>
                        <a:pt x="57438" y="93669"/>
                      </a:cubicBezTo>
                      <a:cubicBezTo>
                        <a:pt x="49964" y="92672"/>
                        <a:pt x="23185" y="90056"/>
                        <a:pt x="23060" y="113847"/>
                      </a:cubicBezTo>
                      <a:cubicBezTo>
                        <a:pt x="22936" y="122690"/>
                        <a:pt x="20444" y="634623"/>
                        <a:pt x="19946" y="635744"/>
                      </a:cubicBezTo>
                      <a:cubicBezTo>
                        <a:pt x="20320" y="641224"/>
                        <a:pt x="16957" y="646954"/>
                        <a:pt x="9857" y="646954"/>
                      </a:cubicBezTo>
                      <a:cubicBezTo>
                        <a:pt x="2135" y="646829"/>
                        <a:pt x="-979" y="639854"/>
                        <a:pt x="266" y="634124"/>
                      </a:cubicBezTo>
                      <a:cubicBezTo>
                        <a:pt x="141" y="633128"/>
                        <a:pt x="3629" y="54433"/>
                        <a:pt x="4252" y="48828"/>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sp>
          <p:nvSpPr>
            <p:cNvPr id="7194" name="Freeform 8946">
              <a:extLst>
                <a:ext uri="{FF2B5EF4-FFF2-40B4-BE49-F238E27FC236}">
                  <a16:creationId xmlns:a16="http://schemas.microsoft.com/office/drawing/2014/main" id="{23087F76-3ADF-48FE-AFCB-2BE60E1E6D19}"/>
                </a:ext>
              </a:extLst>
            </p:cNvPr>
            <p:cNvSpPr/>
            <p:nvPr/>
          </p:nvSpPr>
          <p:spPr>
            <a:xfrm>
              <a:off x="7669698"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852" y="428727"/>
                    <a:pt x="205146" y="428727"/>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5" name="Freeform 8948">
              <a:extLst>
                <a:ext uri="{FF2B5EF4-FFF2-40B4-BE49-F238E27FC236}">
                  <a16:creationId xmlns:a16="http://schemas.microsoft.com/office/drawing/2014/main" id="{6B915EFC-77C0-1005-4664-14070FC86CD5}"/>
                </a:ext>
              </a:extLst>
            </p:cNvPr>
            <p:cNvSpPr/>
            <p:nvPr/>
          </p:nvSpPr>
          <p:spPr>
            <a:xfrm>
              <a:off x="7981856"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977" y="428727"/>
                    <a:pt x="205146" y="42872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2452" cap="flat">
              <a:solidFill>
                <a:schemeClr val="bg1">
                  <a:lumMod val="6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6" name="TextBox 5662">
              <a:extLst>
                <a:ext uri="{FF2B5EF4-FFF2-40B4-BE49-F238E27FC236}">
                  <a16:creationId xmlns:a16="http://schemas.microsoft.com/office/drawing/2014/main" id="{D6286727-AB20-88AD-8AFD-4A3D282EFFEC}"/>
                </a:ext>
              </a:extLst>
            </p:cNvPr>
            <p:cNvSpPr txBox="1"/>
            <p:nvPr/>
          </p:nvSpPr>
          <p:spPr>
            <a:xfrm>
              <a:off x="7966420"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8</a:t>
              </a:r>
            </a:p>
          </p:txBody>
        </p:sp>
        <p:sp>
          <p:nvSpPr>
            <p:cNvPr id="7197" name="TextBox 5663">
              <a:extLst>
                <a:ext uri="{FF2B5EF4-FFF2-40B4-BE49-F238E27FC236}">
                  <a16:creationId xmlns:a16="http://schemas.microsoft.com/office/drawing/2014/main" id="{4EA81FB5-47DE-6020-6850-44BE28A2F617}"/>
                </a:ext>
              </a:extLst>
            </p:cNvPr>
            <p:cNvSpPr txBox="1"/>
            <p:nvPr/>
          </p:nvSpPr>
          <p:spPr>
            <a:xfrm>
              <a:off x="7660393"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7</a:t>
              </a:r>
            </a:p>
          </p:txBody>
        </p:sp>
        <p:sp>
          <p:nvSpPr>
            <p:cNvPr id="7214" name="TextBox 5">
              <a:extLst>
                <a:ext uri="{FF2B5EF4-FFF2-40B4-BE49-F238E27FC236}">
                  <a16:creationId xmlns:a16="http://schemas.microsoft.com/office/drawing/2014/main" id="{1729DBE7-8C98-3150-A739-4780CD03272A}"/>
                </a:ext>
              </a:extLst>
            </p:cNvPr>
            <p:cNvSpPr txBox="1"/>
            <p:nvPr/>
          </p:nvSpPr>
          <p:spPr>
            <a:xfrm>
              <a:off x="292912" y="5954847"/>
              <a:ext cx="2972289" cy="215444"/>
            </a:xfrm>
            <a:prstGeom prst="rect">
              <a:avLst/>
            </a:prstGeom>
            <a:noFill/>
          </p:spPr>
          <p:txBody>
            <a:bodyPr wrap="none" rtlCol="0">
              <a:spAutoFit/>
            </a:bodyPr>
            <a:lstStyle/>
            <a:p>
              <a:pPr fontAlgn="base">
                <a:spcBef>
                  <a:spcPct val="0"/>
                </a:spcBef>
                <a:spcAft>
                  <a:spcPct val="0"/>
                </a:spcAft>
                <a:defRPr/>
              </a:pPr>
              <a:r>
                <a:rPr lang="en-US" sz="800" dirty="0" err="1">
                  <a:ea typeface="ヒラギノ角ゴ Pro W3" panose="020B0300000000000000" pitchFamily="34" charset="-128"/>
                  <a:cs typeface="Arial"/>
                </a:rPr>
                <a:t>Adaptado</a:t>
              </a:r>
              <a:r>
                <a:rPr lang="en-US" sz="800" dirty="0">
                  <a:ea typeface="ヒラギノ角ゴ Pro W3" panose="020B0300000000000000" pitchFamily="34" charset="-128"/>
                  <a:cs typeface="Arial"/>
                </a:rPr>
                <a:t> de </a:t>
              </a:r>
              <a:r>
                <a:rPr lang="en-US" sz="800" dirty="0" err="1">
                  <a:ea typeface="ヒラギノ角ゴ Pro W3" panose="020B0300000000000000" pitchFamily="34" charset="-128"/>
                  <a:cs typeface="Arial"/>
                </a:rPr>
                <a:t>Walport</a:t>
              </a:r>
              <a:r>
                <a:rPr lang="en-US" sz="800" dirty="0">
                  <a:ea typeface="ヒラギノ角ゴ Pro W3" panose="020B0300000000000000" pitchFamily="34" charset="-128"/>
                  <a:cs typeface="Arial"/>
                </a:rPr>
                <a:t> MJ. </a:t>
              </a:r>
              <a:r>
                <a:rPr lang="en-US" sz="800" i="1" dirty="0">
                  <a:ea typeface="ヒラギノ角ゴ Pro W3" panose="020B0300000000000000" pitchFamily="34" charset="-128"/>
                  <a:cs typeface="Arial"/>
                </a:rPr>
                <a:t>N Engl J Med. </a:t>
              </a:r>
              <a:r>
                <a:rPr lang="en-US" sz="800" dirty="0">
                  <a:ea typeface="ヒラギノ角ゴ Pro W3" panose="020B0300000000000000" pitchFamily="34" charset="-128"/>
                  <a:cs typeface="Arial"/>
                </a:rPr>
                <a:t>2001;344(14):1058-1066. </a:t>
              </a:r>
            </a:p>
          </p:txBody>
        </p:sp>
      </p:grpSp>
      <p:grpSp>
        <p:nvGrpSpPr>
          <p:cNvPr id="7218" name="Agrupar 7217">
            <a:extLst>
              <a:ext uri="{FF2B5EF4-FFF2-40B4-BE49-F238E27FC236}">
                <a16:creationId xmlns:a16="http://schemas.microsoft.com/office/drawing/2014/main" id="{98C4402F-DDBD-D8B4-B88C-564531E65350}"/>
              </a:ext>
            </a:extLst>
          </p:cNvPr>
          <p:cNvGrpSpPr/>
          <p:nvPr/>
        </p:nvGrpSpPr>
        <p:grpSpPr>
          <a:xfrm>
            <a:off x="166909" y="2510649"/>
            <a:ext cx="11793926" cy="1943252"/>
            <a:chOff x="166909" y="2510649"/>
            <a:chExt cx="11793926" cy="1943252"/>
          </a:xfrm>
        </p:grpSpPr>
        <p:grpSp>
          <p:nvGrpSpPr>
            <p:cNvPr id="3640" name="Group 63">
              <a:extLst>
                <a:ext uri="{FF2B5EF4-FFF2-40B4-BE49-F238E27FC236}">
                  <a16:creationId xmlns:a16="http://schemas.microsoft.com/office/drawing/2014/main" id="{0B1C1ACC-84F5-0797-933E-9B3B595007C3}"/>
                </a:ext>
              </a:extLst>
            </p:cNvPr>
            <p:cNvGrpSpPr>
              <a:grpSpLocks noChangeAspect="1"/>
            </p:cNvGrpSpPr>
            <p:nvPr/>
          </p:nvGrpSpPr>
          <p:grpSpPr>
            <a:xfrm flipV="1">
              <a:off x="5361519" y="2857499"/>
              <a:ext cx="1559983" cy="1557867"/>
              <a:chOff x="2527" y="1356"/>
              <a:chExt cx="737" cy="736"/>
            </a:xfrm>
            <a:solidFill>
              <a:schemeClr val="accent1"/>
            </a:solidFill>
          </p:grpSpPr>
          <p:sp>
            <p:nvSpPr>
              <p:cNvPr id="3641" name="Freeform 64">
                <a:extLst>
                  <a:ext uri="{FF2B5EF4-FFF2-40B4-BE49-F238E27FC236}">
                    <a16:creationId xmlns:a16="http://schemas.microsoft.com/office/drawing/2014/main" id="{A912EE83-6DDD-AE1E-1822-E7ED93F25B24}"/>
                  </a:ext>
                </a:extLst>
              </p:cNvPr>
              <p:cNvSpPr/>
              <p:nvPr/>
            </p:nvSpPr>
            <p:spPr bwMode="auto">
              <a:xfrm>
                <a:off x="2527" y="1503"/>
                <a:ext cx="139" cy="491"/>
              </a:xfrm>
              <a:custGeom>
                <a:avLst/>
                <a:gdLst>
                  <a:gd name="T0" fmla="*/ 139 w 139"/>
                  <a:gd name="T1" fmla="*/ 491 h 491"/>
                  <a:gd name="T2" fmla="*/ 139 w 139"/>
                  <a:gd name="T3" fmla="*/ 491 h 491"/>
                  <a:gd name="T4" fmla="*/ 116 w 139"/>
                  <a:gd name="T5" fmla="*/ 470 h 491"/>
                  <a:gd name="T6" fmla="*/ 98 w 139"/>
                  <a:gd name="T7" fmla="*/ 447 h 491"/>
                  <a:gd name="T8" fmla="*/ 80 w 139"/>
                  <a:gd name="T9" fmla="*/ 422 h 491"/>
                  <a:gd name="T10" fmla="*/ 66 w 139"/>
                  <a:gd name="T11" fmla="*/ 395 h 491"/>
                  <a:gd name="T12" fmla="*/ 54 w 139"/>
                  <a:gd name="T13" fmla="*/ 368 h 491"/>
                  <a:gd name="T14" fmla="*/ 43 w 139"/>
                  <a:gd name="T15" fmla="*/ 340 h 491"/>
                  <a:gd name="T16" fmla="*/ 36 w 139"/>
                  <a:gd name="T17" fmla="*/ 311 h 491"/>
                  <a:gd name="T18" fmla="*/ 31 w 139"/>
                  <a:gd name="T19" fmla="*/ 281 h 491"/>
                  <a:gd name="T20" fmla="*/ 28 w 139"/>
                  <a:gd name="T21" fmla="*/ 252 h 491"/>
                  <a:gd name="T22" fmla="*/ 28 w 139"/>
                  <a:gd name="T23" fmla="*/ 222 h 491"/>
                  <a:gd name="T24" fmla="*/ 29 w 139"/>
                  <a:gd name="T25" fmla="*/ 193 h 491"/>
                  <a:gd name="T26" fmla="*/ 35 w 139"/>
                  <a:gd name="T27" fmla="*/ 163 h 491"/>
                  <a:gd name="T28" fmla="*/ 41 w 139"/>
                  <a:gd name="T29" fmla="*/ 135 h 491"/>
                  <a:gd name="T30" fmla="*/ 52 w 139"/>
                  <a:gd name="T31" fmla="*/ 109 h 491"/>
                  <a:gd name="T32" fmla="*/ 64 w 139"/>
                  <a:gd name="T33" fmla="*/ 82 h 491"/>
                  <a:gd name="T34" fmla="*/ 79 w 139"/>
                  <a:gd name="T35" fmla="*/ 58 h 491"/>
                  <a:gd name="T36" fmla="*/ 90 w 139"/>
                  <a:gd name="T37" fmla="*/ 63 h 491"/>
                  <a:gd name="T38" fmla="*/ 90 w 139"/>
                  <a:gd name="T39" fmla="*/ 63 h 491"/>
                  <a:gd name="T40" fmla="*/ 88 w 139"/>
                  <a:gd name="T41" fmla="*/ 48 h 491"/>
                  <a:gd name="T42" fmla="*/ 88 w 139"/>
                  <a:gd name="T43" fmla="*/ 32 h 491"/>
                  <a:gd name="T44" fmla="*/ 91 w 139"/>
                  <a:gd name="T45" fmla="*/ 0 h 491"/>
                  <a:gd name="T46" fmla="*/ 91 w 139"/>
                  <a:gd name="T47" fmla="*/ 0 h 491"/>
                  <a:gd name="T48" fmla="*/ 60 w 139"/>
                  <a:gd name="T49" fmla="*/ 14 h 491"/>
                  <a:gd name="T50" fmla="*/ 45 w 139"/>
                  <a:gd name="T51" fmla="*/ 20 h 491"/>
                  <a:gd name="T52" fmla="*/ 31 w 139"/>
                  <a:gd name="T53" fmla="*/ 30 h 491"/>
                  <a:gd name="T54" fmla="*/ 41 w 139"/>
                  <a:gd name="T55" fmla="*/ 36 h 491"/>
                  <a:gd name="T56" fmla="*/ 41 w 139"/>
                  <a:gd name="T57" fmla="*/ 36 h 491"/>
                  <a:gd name="T58" fmla="*/ 33 w 139"/>
                  <a:gd name="T59" fmla="*/ 51 h 491"/>
                  <a:gd name="T60" fmla="*/ 27 w 139"/>
                  <a:gd name="T61" fmla="*/ 66 h 491"/>
                  <a:gd name="T62" fmla="*/ 16 w 139"/>
                  <a:gd name="T63" fmla="*/ 95 h 491"/>
                  <a:gd name="T64" fmla="*/ 8 w 139"/>
                  <a:gd name="T65" fmla="*/ 127 h 491"/>
                  <a:gd name="T66" fmla="*/ 3 w 139"/>
                  <a:gd name="T67" fmla="*/ 158 h 491"/>
                  <a:gd name="T68" fmla="*/ 0 w 139"/>
                  <a:gd name="T69" fmla="*/ 190 h 491"/>
                  <a:gd name="T70" fmla="*/ 0 w 139"/>
                  <a:gd name="T71" fmla="*/ 222 h 491"/>
                  <a:gd name="T72" fmla="*/ 4 w 139"/>
                  <a:gd name="T73" fmla="*/ 254 h 491"/>
                  <a:gd name="T74" fmla="*/ 9 w 139"/>
                  <a:gd name="T75" fmla="*/ 285 h 491"/>
                  <a:gd name="T76" fmla="*/ 17 w 139"/>
                  <a:gd name="T77" fmla="*/ 316 h 491"/>
                  <a:gd name="T78" fmla="*/ 28 w 139"/>
                  <a:gd name="T79" fmla="*/ 345 h 491"/>
                  <a:gd name="T80" fmla="*/ 40 w 139"/>
                  <a:gd name="T81" fmla="*/ 374 h 491"/>
                  <a:gd name="T82" fmla="*/ 56 w 139"/>
                  <a:gd name="T83" fmla="*/ 400 h 491"/>
                  <a:gd name="T84" fmla="*/ 74 w 139"/>
                  <a:gd name="T85" fmla="*/ 426 h 491"/>
                  <a:gd name="T86" fmla="*/ 94 w 139"/>
                  <a:gd name="T87" fmla="*/ 450 h 491"/>
                  <a:gd name="T88" fmla="*/ 115 w 139"/>
                  <a:gd name="T89" fmla="*/ 473 h 491"/>
                  <a:gd name="T90" fmla="*/ 139 w 139"/>
                  <a:gd name="T91" fmla="*/ 491 h 491"/>
                  <a:gd name="T92" fmla="*/ 139 w 139"/>
                  <a:gd name="T93"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491">
                    <a:moveTo>
                      <a:pt x="139" y="491"/>
                    </a:moveTo>
                    <a:lnTo>
                      <a:pt x="139" y="491"/>
                    </a:lnTo>
                    <a:lnTo>
                      <a:pt x="116" y="470"/>
                    </a:lnTo>
                    <a:lnTo>
                      <a:pt x="98" y="447"/>
                    </a:lnTo>
                    <a:lnTo>
                      <a:pt x="80" y="422"/>
                    </a:lnTo>
                    <a:lnTo>
                      <a:pt x="66" y="395"/>
                    </a:lnTo>
                    <a:lnTo>
                      <a:pt x="54" y="368"/>
                    </a:lnTo>
                    <a:lnTo>
                      <a:pt x="43" y="340"/>
                    </a:lnTo>
                    <a:lnTo>
                      <a:pt x="36" y="311"/>
                    </a:lnTo>
                    <a:lnTo>
                      <a:pt x="31" y="281"/>
                    </a:lnTo>
                    <a:lnTo>
                      <a:pt x="28" y="252"/>
                    </a:lnTo>
                    <a:lnTo>
                      <a:pt x="28" y="222"/>
                    </a:lnTo>
                    <a:lnTo>
                      <a:pt x="29" y="193"/>
                    </a:lnTo>
                    <a:lnTo>
                      <a:pt x="35" y="163"/>
                    </a:lnTo>
                    <a:lnTo>
                      <a:pt x="41" y="135"/>
                    </a:lnTo>
                    <a:lnTo>
                      <a:pt x="52" y="109"/>
                    </a:lnTo>
                    <a:lnTo>
                      <a:pt x="64" y="82"/>
                    </a:lnTo>
                    <a:lnTo>
                      <a:pt x="79" y="58"/>
                    </a:lnTo>
                    <a:lnTo>
                      <a:pt x="90" y="63"/>
                    </a:lnTo>
                    <a:lnTo>
                      <a:pt x="90" y="63"/>
                    </a:lnTo>
                    <a:lnTo>
                      <a:pt x="88" y="48"/>
                    </a:lnTo>
                    <a:lnTo>
                      <a:pt x="88" y="32"/>
                    </a:lnTo>
                    <a:lnTo>
                      <a:pt x="91" y="0"/>
                    </a:lnTo>
                    <a:lnTo>
                      <a:pt x="91" y="0"/>
                    </a:lnTo>
                    <a:lnTo>
                      <a:pt x="60" y="14"/>
                    </a:lnTo>
                    <a:lnTo>
                      <a:pt x="45" y="20"/>
                    </a:lnTo>
                    <a:lnTo>
                      <a:pt x="31" y="30"/>
                    </a:lnTo>
                    <a:lnTo>
                      <a:pt x="41" y="36"/>
                    </a:lnTo>
                    <a:lnTo>
                      <a:pt x="41" y="36"/>
                    </a:lnTo>
                    <a:lnTo>
                      <a:pt x="33" y="51"/>
                    </a:lnTo>
                    <a:lnTo>
                      <a:pt x="27" y="66"/>
                    </a:lnTo>
                    <a:lnTo>
                      <a:pt x="16" y="95"/>
                    </a:lnTo>
                    <a:lnTo>
                      <a:pt x="8" y="127"/>
                    </a:lnTo>
                    <a:lnTo>
                      <a:pt x="3" y="158"/>
                    </a:lnTo>
                    <a:lnTo>
                      <a:pt x="0" y="190"/>
                    </a:lnTo>
                    <a:lnTo>
                      <a:pt x="0" y="222"/>
                    </a:lnTo>
                    <a:lnTo>
                      <a:pt x="4" y="254"/>
                    </a:lnTo>
                    <a:lnTo>
                      <a:pt x="9" y="285"/>
                    </a:lnTo>
                    <a:lnTo>
                      <a:pt x="17" y="316"/>
                    </a:lnTo>
                    <a:lnTo>
                      <a:pt x="28" y="345"/>
                    </a:lnTo>
                    <a:lnTo>
                      <a:pt x="40" y="374"/>
                    </a:lnTo>
                    <a:lnTo>
                      <a:pt x="56" y="400"/>
                    </a:lnTo>
                    <a:lnTo>
                      <a:pt x="74" y="426"/>
                    </a:lnTo>
                    <a:lnTo>
                      <a:pt x="94" y="450"/>
                    </a:lnTo>
                    <a:lnTo>
                      <a:pt x="115" y="473"/>
                    </a:lnTo>
                    <a:lnTo>
                      <a:pt x="139" y="491"/>
                    </a:lnTo>
                    <a:lnTo>
                      <a:pt x="139" y="4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2" name="Freeform 65">
                <a:extLst>
                  <a:ext uri="{FF2B5EF4-FFF2-40B4-BE49-F238E27FC236}">
                    <a16:creationId xmlns:a16="http://schemas.microsoft.com/office/drawing/2014/main" id="{7DFE0995-659D-2430-7C63-4155723EA29C}"/>
                  </a:ext>
                </a:extLst>
              </p:cNvPr>
              <p:cNvSpPr/>
              <p:nvPr/>
            </p:nvSpPr>
            <p:spPr bwMode="auto">
              <a:xfrm>
                <a:off x="2675" y="1954"/>
                <a:ext cx="490" cy="138"/>
              </a:xfrm>
              <a:custGeom>
                <a:avLst/>
                <a:gdLst>
                  <a:gd name="T0" fmla="*/ 490 w 490"/>
                  <a:gd name="T1" fmla="*/ 0 h 138"/>
                  <a:gd name="T2" fmla="*/ 490 w 490"/>
                  <a:gd name="T3" fmla="*/ 0 h 138"/>
                  <a:gd name="T4" fmla="*/ 469 w 490"/>
                  <a:gd name="T5" fmla="*/ 22 h 138"/>
                  <a:gd name="T6" fmla="*/ 446 w 490"/>
                  <a:gd name="T7" fmla="*/ 42 h 138"/>
                  <a:gd name="T8" fmla="*/ 420 w 490"/>
                  <a:gd name="T9" fmla="*/ 59 h 138"/>
                  <a:gd name="T10" fmla="*/ 394 w 490"/>
                  <a:gd name="T11" fmla="*/ 74 h 138"/>
                  <a:gd name="T12" fmla="*/ 367 w 490"/>
                  <a:gd name="T13" fmla="*/ 86 h 138"/>
                  <a:gd name="T14" fmla="*/ 339 w 490"/>
                  <a:gd name="T15" fmla="*/ 95 h 138"/>
                  <a:gd name="T16" fmla="*/ 309 w 490"/>
                  <a:gd name="T17" fmla="*/ 103 h 138"/>
                  <a:gd name="T18" fmla="*/ 280 w 490"/>
                  <a:gd name="T19" fmla="*/ 109 h 138"/>
                  <a:gd name="T20" fmla="*/ 251 w 490"/>
                  <a:gd name="T21" fmla="*/ 111 h 138"/>
                  <a:gd name="T22" fmla="*/ 221 w 490"/>
                  <a:gd name="T23" fmla="*/ 111 h 138"/>
                  <a:gd name="T24" fmla="*/ 192 w 490"/>
                  <a:gd name="T25" fmla="*/ 109 h 138"/>
                  <a:gd name="T26" fmla="*/ 164 w 490"/>
                  <a:gd name="T27" fmla="*/ 105 h 138"/>
                  <a:gd name="T28" fmla="*/ 136 w 490"/>
                  <a:gd name="T29" fmla="*/ 97 h 138"/>
                  <a:gd name="T30" fmla="*/ 107 w 490"/>
                  <a:gd name="T31" fmla="*/ 87 h 138"/>
                  <a:gd name="T32" fmla="*/ 81 w 490"/>
                  <a:gd name="T33" fmla="*/ 75 h 138"/>
                  <a:gd name="T34" fmla="*/ 57 w 490"/>
                  <a:gd name="T35" fmla="*/ 60 h 138"/>
                  <a:gd name="T36" fmla="*/ 63 w 490"/>
                  <a:gd name="T37" fmla="*/ 48 h 138"/>
                  <a:gd name="T38" fmla="*/ 63 w 490"/>
                  <a:gd name="T39" fmla="*/ 48 h 138"/>
                  <a:gd name="T40" fmla="*/ 47 w 490"/>
                  <a:gd name="T41" fmla="*/ 50 h 138"/>
                  <a:gd name="T42" fmla="*/ 33 w 490"/>
                  <a:gd name="T43" fmla="*/ 50 h 138"/>
                  <a:gd name="T44" fmla="*/ 0 w 490"/>
                  <a:gd name="T45" fmla="*/ 48 h 138"/>
                  <a:gd name="T46" fmla="*/ 0 w 490"/>
                  <a:gd name="T47" fmla="*/ 48 h 138"/>
                  <a:gd name="T48" fmla="*/ 13 w 490"/>
                  <a:gd name="T49" fmla="*/ 79 h 138"/>
                  <a:gd name="T50" fmla="*/ 21 w 490"/>
                  <a:gd name="T51" fmla="*/ 94 h 138"/>
                  <a:gd name="T52" fmla="*/ 29 w 490"/>
                  <a:gd name="T53" fmla="*/ 109 h 138"/>
                  <a:gd name="T54" fmla="*/ 35 w 490"/>
                  <a:gd name="T55" fmla="*/ 98 h 138"/>
                  <a:gd name="T56" fmla="*/ 35 w 490"/>
                  <a:gd name="T57" fmla="*/ 98 h 138"/>
                  <a:gd name="T58" fmla="*/ 65 w 490"/>
                  <a:gd name="T59" fmla="*/ 111 h 138"/>
                  <a:gd name="T60" fmla="*/ 95 w 490"/>
                  <a:gd name="T61" fmla="*/ 123 h 138"/>
                  <a:gd name="T62" fmla="*/ 126 w 490"/>
                  <a:gd name="T63" fmla="*/ 131 h 138"/>
                  <a:gd name="T64" fmla="*/ 158 w 490"/>
                  <a:gd name="T65" fmla="*/ 135 h 138"/>
                  <a:gd name="T66" fmla="*/ 189 w 490"/>
                  <a:gd name="T67" fmla="*/ 138 h 138"/>
                  <a:gd name="T68" fmla="*/ 221 w 490"/>
                  <a:gd name="T69" fmla="*/ 138 h 138"/>
                  <a:gd name="T70" fmla="*/ 253 w 490"/>
                  <a:gd name="T71" fmla="*/ 135 h 138"/>
                  <a:gd name="T72" fmla="*/ 284 w 490"/>
                  <a:gd name="T73" fmla="*/ 130 h 138"/>
                  <a:gd name="T74" fmla="*/ 315 w 490"/>
                  <a:gd name="T75" fmla="*/ 122 h 138"/>
                  <a:gd name="T76" fmla="*/ 344 w 490"/>
                  <a:gd name="T77" fmla="*/ 111 h 138"/>
                  <a:gd name="T78" fmla="*/ 372 w 490"/>
                  <a:gd name="T79" fmla="*/ 98 h 138"/>
                  <a:gd name="T80" fmla="*/ 399 w 490"/>
                  <a:gd name="T81" fmla="*/ 83 h 138"/>
                  <a:gd name="T82" fmla="*/ 424 w 490"/>
                  <a:gd name="T83" fmla="*/ 66 h 138"/>
                  <a:gd name="T84" fmla="*/ 449 w 490"/>
                  <a:gd name="T85" fmla="*/ 46 h 138"/>
                  <a:gd name="T86" fmla="*/ 471 w 490"/>
                  <a:gd name="T87" fmla="*/ 24 h 138"/>
                  <a:gd name="T88" fmla="*/ 490 w 490"/>
                  <a:gd name="T89" fmla="*/ 0 h 138"/>
                  <a:gd name="T90" fmla="*/ 490 w 490"/>
                  <a:gd name="T9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490" y="0"/>
                    </a:moveTo>
                    <a:lnTo>
                      <a:pt x="490" y="0"/>
                    </a:lnTo>
                    <a:lnTo>
                      <a:pt x="469" y="22"/>
                    </a:lnTo>
                    <a:lnTo>
                      <a:pt x="446" y="42"/>
                    </a:lnTo>
                    <a:lnTo>
                      <a:pt x="420" y="59"/>
                    </a:lnTo>
                    <a:lnTo>
                      <a:pt x="394" y="74"/>
                    </a:lnTo>
                    <a:lnTo>
                      <a:pt x="367" y="86"/>
                    </a:lnTo>
                    <a:lnTo>
                      <a:pt x="339" y="95"/>
                    </a:lnTo>
                    <a:lnTo>
                      <a:pt x="309" y="103"/>
                    </a:lnTo>
                    <a:lnTo>
                      <a:pt x="280" y="109"/>
                    </a:lnTo>
                    <a:lnTo>
                      <a:pt x="251" y="111"/>
                    </a:lnTo>
                    <a:lnTo>
                      <a:pt x="221" y="111"/>
                    </a:lnTo>
                    <a:lnTo>
                      <a:pt x="192" y="109"/>
                    </a:lnTo>
                    <a:lnTo>
                      <a:pt x="164" y="105"/>
                    </a:lnTo>
                    <a:lnTo>
                      <a:pt x="136" y="97"/>
                    </a:lnTo>
                    <a:lnTo>
                      <a:pt x="107" y="87"/>
                    </a:lnTo>
                    <a:lnTo>
                      <a:pt x="81" y="75"/>
                    </a:lnTo>
                    <a:lnTo>
                      <a:pt x="57" y="60"/>
                    </a:lnTo>
                    <a:lnTo>
                      <a:pt x="63" y="48"/>
                    </a:lnTo>
                    <a:lnTo>
                      <a:pt x="63" y="48"/>
                    </a:lnTo>
                    <a:lnTo>
                      <a:pt x="47" y="50"/>
                    </a:lnTo>
                    <a:lnTo>
                      <a:pt x="33" y="50"/>
                    </a:lnTo>
                    <a:lnTo>
                      <a:pt x="0" y="48"/>
                    </a:lnTo>
                    <a:lnTo>
                      <a:pt x="0" y="48"/>
                    </a:lnTo>
                    <a:lnTo>
                      <a:pt x="13" y="79"/>
                    </a:lnTo>
                    <a:lnTo>
                      <a:pt x="21" y="94"/>
                    </a:lnTo>
                    <a:lnTo>
                      <a:pt x="29" y="109"/>
                    </a:lnTo>
                    <a:lnTo>
                      <a:pt x="35" y="98"/>
                    </a:lnTo>
                    <a:lnTo>
                      <a:pt x="35" y="98"/>
                    </a:lnTo>
                    <a:lnTo>
                      <a:pt x="65" y="111"/>
                    </a:lnTo>
                    <a:lnTo>
                      <a:pt x="95" y="123"/>
                    </a:lnTo>
                    <a:lnTo>
                      <a:pt x="126" y="131"/>
                    </a:lnTo>
                    <a:lnTo>
                      <a:pt x="158" y="135"/>
                    </a:lnTo>
                    <a:lnTo>
                      <a:pt x="189" y="138"/>
                    </a:lnTo>
                    <a:lnTo>
                      <a:pt x="221" y="138"/>
                    </a:lnTo>
                    <a:lnTo>
                      <a:pt x="253" y="135"/>
                    </a:lnTo>
                    <a:lnTo>
                      <a:pt x="284" y="130"/>
                    </a:lnTo>
                    <a:lnTo>
                      <a:pt x="315" y="122"/>
                    </a:lnTo>
                    <a:lnTo>
                      <a:pt x="344" y="111"/>
                    </a:lnTo>
                    <a:lnTo>
                      <a:pt x="372" y="98"/>
                    </a:lnTo>
                    <a:lnTo>
                      <a:pt x="399" y="83"/>
                    </a:lnTo>
                    <a:lnTo>
                      <a:pt x="424" y="66"/>
                    </a:lnTo>
                    <a:lnTo>
                      <a:pt x="449" y="46"/>
                    </a:lnTo>
                    <a:lnTo>
                      <a:pt x="471" y="24"/>
                    </a:lnTo>
                    <a:lnTo>
                      <a:pt x="490" y="0"/>
                    </a:lnTo>
                    <a:lnTo>
                      <a:pt x="4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3" name="Freeform 66">
                <a:extLst>
                  <a:ext uri="{FF2B5EF4-FFF2-40B4-BE49-F238E27FC236}">
                    <a16:creationId xmlns:a16="http://schemas.microsoft.com/office/drawing/2014/main" id="{022D8BEE-E85B-0A95-7BCD-8F0C5F0DEA58}"/>
                  </a:ext>
                </a:extLst>
              </p:cNvPr>
              <p:cNvSpPr/>
              <p:nvPr/>
            </p:nvSpPr>
            <p:spPr bwMode="auto">
              <a:xfrm>
                <a:off x="3125" y="1454"/>
                <a:ext cx="139" cy="491"/>
              </a:xfrm>
              <a:custGeom>
                <a:avLst/>
                <a:gdLst>
                  <a:gd name="T0" fmla="*/ 0 w 139"/>
                  <a:gd name="T1" fmla="*/ 0 h 491"/>
                  <a:gd name="T2" fmla="*/ 0 w 139"/>
                  <a:gd name="T3" fmla="*/ 0 h 491"/>
                  <a:gd name="T4" fmla="*/ 23 w 139"/>
                  <a:gd name="T5" fmla="*/ 22 h 491"/>
                  <a:gd name="T6" fmla="*/ 41 w 139"/>
                  <a:gd name="T7" fmla="*/ 45 h 491"/>
                  <a:gd name="T8" fmla="*/ 59 w 139"/>
                  <a:gd name="T9" fmla="*/ 71 h 491"/>
                  <a:gd name="T10" fmla="*/ 73 w 139"/>
                  <a:gd name="T11" fmla="*/ 97 h 491"/>
                  <a:gd name="T12" fmla="*/ 85 w 139"/>
                  <a:gd name="T13" fmla="*/ 124 h 491"/>
                  <a:gd name="T14" fmla="*/ 96 w 139"/>
                  <a:gd name="T15" fmla="*/ 152 h 491"/>
                  <a:gd name="T16" fmla="*/ 103 w 139"/>
                  <a:gd name="T17" fmla="*/ 182 h 491"/>
                  <a:gd name="T18" fmla="*/ 108 w 139"/>
                  <a:gd name="T19" fmla="*/ 211 h 491"/>
                  <a:gd name="T20" fmla="*/ 111 w 139"/>
                  <a:gd name="T21" fmla="*/ 241 h 491"/>
                  <a:gd name="T22" fmla="*/ 111 w 139"/>
                  <a:gd name="T23" fmla="*/ 270 h 491"/>
                  <a:gd name="T24" fmla="*/ 108 w 139"/>
                  <a:gd name="T25" fmla="*/ 299 h 491"/>
                  <a:gd name="T26" fmla="*/ 104 w 139"/>
                  <a:gd name="T27" fmla="*/ 328 h 491"/>
                  <a:gd name="T28" fmla="*/ 96 w 139"/>
                  <a:gd name="T29" fmla="*/ 356 h 491"/>
                  <a:gd name="T30" fmla="*/ 87 w 139"/>
                  <a:gd name="T31" fmla="*/ 384 h 491"/>
                  <a:gd name="T32" fmla="*/ 75 w 139"/>
                  <a:gd name="T33" fmla="*/ 409 h 491"/>
                  <a:gd name="T34" fmla="*/ 60 w 139"/>
                  <a:gd name="T35" fmla="*/ 435 h 491"/>
                  <a:gd name="T36" fmla="*/ 49 w 139"/>
                  <a:gd name="T37" fmla="*/ 428 h 491"/>
                  <a:gd name="T38" fmla="*/ 49 w 139"/>
                  <a:gd name="T39" fmla="*/ 428 h 491"/>
                  <a:gd name="T40" fmla="*/ 49 w 139"/>
                  <a:gd name="T41" fmla="*/ 444 h 491"/>
                  <a:gd name="T42" fmla="*/ 49 w 139"/>
                  <a:gd name="T43" fmla="*/ 459 h 491"/>
                  <a:gd name="T44" fmla="*/ 48 w 139"/>
                  <a:gd name="T45" fmla="*/ 491 h 491"/>
                  <a:gd name="T46" fmla="*/ 48 w 139"/>
                  <a:gd name="T47" fmla="*/ 491 h 491"/>
                  <a:gd name="T48" fmla="*/ 79 w 139"/>
                  <a:gd name="T49" fmla="*/ 479 h 491"/>
                  <a:gd name="T50" fmla="*/ 94 w 139"/>
                  <a:gd name="T51" fmla="*/ 471 h 491"/>
                  <a:gd name="T52" fmla="*/ 108 w 139"/>
                  <a:gd name="T53" fmla="*/ 461 h 491"/>
                  <a:gd name="T54" fmla="*/ 98 w 139"/>
                  <a:gd name="T55" fmla="*/ 456 h 491"/>
                  <a:gd name="T56" fmla="*/ 98 w 139"/>
                  <a:gd name="T57" fmla="*/ 456 h 491"/>
                  <a:gd name="T58" fmla="*/ 111 w 139"/>
                  <a:gd name="T59" fmla="*/ 427 h 491"/>
                  <a:gd name="T60" fmla="*/ 123 w 139"/>
                  <a:gd name="T61" fmla="*/ 396 h 491"/>
                  <a:gd name="T62" fmla="*/ 131 w 139"/>
                  <a:gd name="T63" fmla="*/ 365 h 491"/>
                  <a:gd name="T64" fmla="*/ 136 w 139"/>
                  <a:gd name="T65" fmla="*/ 333 h 491"/>
                  <a:gd name="T66" fmla="*/ 139 w 139"/>
                  <a:gd name="T67" fmla="*/ 301 h 491"/>
                  <a:gd name="T68" fmla="*/ 138 w 139"/>
                  <a:gd name="T69" fmla="*/ 270 h 491"/>
                  <a:gd name="T70" fmla="*/ 135 w 139"/>
                  <a:gd name="T71" fmla="*/ 238 h 491"/>
                  <a:gd name="T72" fmla="*/ 130 w 139"/>
                  <a:gd name="T73" fmla="*/ 207 h 491"/>
                  <a:gd name="T74" fmla="*/ 122 w 139"/>
                  <a:gd name="T75" fmla="*/ 176 h 491"/>
                  <a:gd name="T76" fmla="*/ 111 w 139"/>
                  <a:gd name="T77" fmla="*/ 147 h 491"/>
                  <a:gd name="T78" fmla="*/ 98 w 139"/>
                  <a:gd name="T79" fmla="*/ 119 h 491"/>
                  <a:gd name="T80" fmla="*/ 83 w 139"/>
                  <a:gd name="T81" fmla="*/ 91 h 491"/>
                  <a:gd name="T82" fmla="*/ 65 w 139"/>
                  <a:gd name="T83" fmla="*/ 65 h 491"/>
                  <a:gd name="T84" fmla="*/ 45 w 139"/>
                  <a:gd name="T85" fmla="*/ 41 h 491"/>
                  <a:gd name="T86" fmla="*/ 24 w 139"/>
                  <a:gd name="T87" fmla="*/ 20 h 491"/>
                  <a:gd name="T88" fmla="*/ 0 w 139"/>
                  <a:gd name="T89" fmla="*/ 0 h 491"/>
                  <a:gd name="T90" fmla="*/ 0 w 139"/>
                  <a:gd name="T9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491">
                    <a:moveTo>
                      <a:pt x="0" y="0"/>
                    </a:moveTo>
                    <a:lnTo>
                      <a:pt x="0" y="0"/>
                    </a:lnTo>
                    <a:lnTo>
                      <a:pt x="23" y="22"/>
                    </a:lnTo>
                    <a:lnTo>
                      <a:pt x="41" y="45"/>
                    </a:lnTo>
                    <a:lnTo>
                      <a:pt x="59" y="71"/>
                    </a:lnTo>
                    <a:lnTo>
                      <a:pt x="73" y="97"/>
                    </a:lnTo>
                    <a:lnTo>
                      <a:pt x="85" y="124"/>
                    </a:lnTo>
                    <a:lnTo>
                      <a:pt x="96" y="152"/>
                    </a:lnTo>
                    <a:lnTo>
                      <a:pt x="103" y="182"/>
                    </a:lnTo>
                    <a:lnTo>
                      <a:pt x="108" y="211"/>
                    </a:lnTo>
                    <a:lnTo>
                      <a:pt x="111" y="241"/>
                    </a:lnTo>
                    <a:lnTo>
                      <a:pt x="111" y="270"/>
                    </a:lnTo>
                    <a:lnTo>
                      <a:pt x="108" y="299"/>
                    </a:lnTo>
                    <a:lnTo>
                      <a:pt x="104" y="328"/>
                    </a:lnTo>
                    <a:lnTo>
                      <a:pt x="96" y="356"/>
                    </a:lnTo>
                    <a:lnTo>
                      <a:pt x="87" y="384"/>
                    </a:lnTo>
                    <a:lnTo>
                      <a:pt x="75" y="409"/>
                    </a:lnTo>
                    <a:lnTo>
                      <a:pt x="60" y="435"/>
                    </a:lnTo>
                    <a:lnTo>
                      <a:pt x="49" y="428"/>
                    </a:lnTo>
                    <a:lnTo>
                      <a:pt x="49" y="428"/>
                    </a:lnTo>
                    <a:lnTo>
                      <a:pt x="49" y="444"/>
                    </a:lnTo>
                    <a:lnTo>
                      <a:pt x="49" y="459"/>
                    </a:lnTo>
                    <a:lnTo>
                      <a:pt x="48" y="491"/>
                    </a:lnTo>
                    <a:lnTo>
                      <a:pt x="48" y="491"/>
                    </a:lnTo>
                    <a:lnTo>
                      <a:pt x="79" y="479"/>
                    </a:lnTo>
                    <a:lnTo>
                      <a:pt x="94" y="471"/>
                    </a:lnTo>
                    <a:lnTo>
                      <a:pt x="108" y="461"/>
                    </a:lnTo>
                    <a:lnTo>
                      <a:pt x="98" y="456"/>
                    </a:lnTo>
                    <a:lnTo>
                      <a:pt x="98" y="456"/>
                    </a:lnTo>
                    <a:lnTo>
                      <a:pt x="111" y="427"/>
                    </a:lnTo>
                    <a:lnTo>
                      <a:pt x="123" y="396"/>
                    </a:lnTo>
                    <a:lnTo>
                      <a:pt x="131" y="365"/>
                    </a:lnTo>
                    <a:lnTo>
                      <a:pt x="136" y="333"/>
                    </a:lnTo>
                    <a:lnTo>
                      <a:pt x="139" y="301"/>
                    </a:lnTo>
                    <a:lnTo>
                      <a:pt x="138" y="270"/>
                    </a:lnTo>
                    <a:lnTo>
                      <a:pt x="135" y="238"/>
                    </a:lnTo>
                    <a:lnTo>
                      <a:pt x="130" y="207"/>
                    </a:lnTo>
                    <a:lnTo>
                      <a:pt x="122" y="176"/>
                    </a:lnTo>
                    <a:lnTo>
                      <a:pt x="111" y="147"/>
                    </a:lnTo>
                    <a:lnTo>
                      <a:pt x="98" y="119"/>
                    </a:lnTo>
                    <a:lnTo>
                      <a:pt x="83" y="91"/>
                    </a:lnTo>
                    <a:lnTo>
                      <a:pt x="65" y="65"/>
                    </a:lnTo>
                    <a:lnTo>
                      <a:pt x="45" y="41"/>
                    </a:lnTo>
                    <a:lnTo>
                      <a:pt x="24" y="2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4" name="Freeform 67">
                <a:extLst>
                  <a:ext uri="{FF2B5EF4-FFF2-40B4-BE49-F238E27FC236}">
                    <a16:creationId xmlns:a16="http://schemas.microsoft.com/office/drawing/2014/main" id="{1CE6A897-A122-4614-F53E-1BC628330574}"/>
                  </a:ext>
                </a:extLst>
              </p:cNvPr>
              <p:cNvSpPr/>
              <p:nvPr/>
            </p:nvSpPr>
            <p:spPr bwMode="auto">
              <a:xfrm>
                <a:off x="2626" y="1356"/>
                <a:ext cx="490" cy="138"/>
              </a:xfrm>
              <a:custGeom>
                <a:avLst/>
                <a:gdLst>
                  <a:gd name="T0" fmla="*/ 0 w 490"/>
                  <a:gd name="T1" fmla="*/ 138 h 138"/>
                  <a:gd name="T2" fmla="*/ 0 w 490"/>
                  <a:gd name="T3" fmla="*/ 138 h 138"/>
                  <a:gd name="T4" fmla="*/ 21 w 490"/>
                  <a:gd name="T5" fmla="*/ 116 h 138"/>
                  <a:gd name="T6" fmla="*/ 44 w 490"/>
                  <a:gd name="T7" fmla="*/ 96 h 138"/>
                  <a:gd name="T8" fmla="*/ 70 w 490"/>
                  <a:gd name="T9" fmla="*/ 79 h 138"/>
                  <a:gd name="T10" fmla="*/ 96 w 490"/>
                  <a:gd name="T11" fmla="*/ 64 h 138"/>
                  <a:gd name="T12" fmla="*/ 123 w 490"/>
                  <a:gd name="T13" fmla="*/ 52 h 138"/>
                  <a:gd name="T14" fmla="*/ 151 w 490"/>
                  <a:gd name="T15" fmla="*/ 43 h 138"/>
                  <a:gd name="T16" fmla="*/ 181 w 490"/>
                  <a:gd name="T17" fmla="*/ 35 h 138"/>
                  <a:gd name="T18" fmla="*/ 210 w 490"/>
                  <a:gd name="T19" fmla="*/ 31 h 138"/>
                  <a:gd name="T20" fmla="*/ 239 w 490"/>
                  <a:gd name="T21" fmla="*/ 28 h 138"/>
                  <a:gd name="T22" fmla="*/ 269 w 490"/>
                  <a:gd name="T23" fmla="*/ 27 h 138"/>
                  <a:gd name="T24" fmla="*/ 298 w 490"/>
                  <a:gd name="T25" fmla="*/ 29 h 138"/>
                  <a:gd name="T26" fmla="*/ 326 w 490"/>
                  <a:gd name="T27" fmla="*/ 35 h 138"/>
                  <a:gd name="T28" fmla="*/ 354 w 490"/>
                  <a:gd name="T29" fmla="*/ 41 h 138"/>
                  <a:gd name="T30" fmla="*/ 383 w 490"/>
                  <a:gd name="T31" fmla="*/ 51 h 138"/>
                  <a:gd name="T32" fmla="*/ 409 w 490"/>
                  <a:gd name="T33" fmla="*/ 64 h 138"/>
                  <a:gd name="T34" fmla="*/ 433 w 490"/>
                  <a:gd name="T35" fmla="*/ 79 h 138"/>
                  <a:gd name="T36" fmla="*/ 427 w 490"/>
                  <a:gd name="T37" fmla="*/ 90 h 138"/>
                  <a:gd name="T38" fmla="*/ 427 w 490"/>
                  <a:gd name="T39" fmla="*/ 90 h 138"/>
                  <a:gd name="T40" fmla="*/ 443 w 490"/>
                  <a:gd name="T41" fmla="*/ 88 h 138"/>
                  <a:gd name="T42" fmla="*/ 457 w 490"/>
                  <a:gd name="T43" fmla="*/ 88 h 138"/>
                  <a:gd name="T44" fmla="*/ 490 w 490"/>
                  <a:gd name="T45" fmla="*/ 91 h 138"/>
                  <a:gd name="T46" fmla="*/ 490 w 490"/>
                  <a:gd name="T47" fmla="*/ 91 h 138"/>
                  <a:gd name="T48" fmla="*/ 477 w 490"/>
                  <a:gd name="T49" fmla="*/ 60 h 138"/>
                  <a:gd name="T50" fmla="*/ 469 w 490"/>
                  <a:gd name="T51" fmla="*/ 45 h 138"/>
                  <a:gd name="T52" fmla="*/ 461 w 490"/>
                  <a:gd name="T53" fmla="*/ 29 h 138"/>
                  <a:gd name="T54" fmla="*/ 455 w 490"/>
                  <a:gd name="T55" fmla="*/ 41 h 138"/>
                  <a:gd name="T56" fmla="*/ 455 w 490"/>
                  <a:gd name="T57" fmla="*/ 41 h 138"/>
                  <a:gd name="T58" fmla="*/ 425 w 490"/>
                  <a:gd name="T59" fmla="*/ 27 h 138"/>
                  <a:gd name="T60" fmla="*/ 395 w 490"/>
                  <a:gd name="T61" fmla="*/ 16 h 138"/>
                  <a:gd name="T62" fmla="*/ 364 w 490"/>
                  <a:gd name="T63" fmla="*/ 8 h 138"/>
                  <a:gd name="T64" fmla="*/ 332 w 490"/>
                  <a:gd name="T65" fmla="*/ 3 h 138"/>
                  <a:gd name="T66" fmla="*/ 301 w 490"/>
                  <a:gd name="T67" fmla="*/ 0 h 138"/>
                  <a:gd name="T68" fmla="*/ 269 w 490"/>
                  <a:gd name="T69" fmla="*/ 0 h 138"/>
                  <a:gd name="T70" fmla="*/ 237 w 490"/>
                  <a:gd name="T71" fmla="*/ 4 h 138"/>
                  <a:gd name="T72" fmla="*/ 206 w 490"/>
                  <a:gd name="T73" fmla="*/ 9 h 138"/>
                  <a:gd name="T74" fmla="*/ 175 w 490"/>
                  <a:gd name="T75" fmla="*/ 17 h 138"/>
                  <a:gd name="T76" fmla="*/ 146 w 490"/>
                  <a:gd name="T77" fmla="*/ 28 h 138"/>
                  <a:gd name="T78" fmla="*/ 118 w 490"/>
                  <a:gd name="T79" fmla="*/ 40 h 138"/>
                  <a:gd name="T80" fmla="*/ 91 w 490"/>
                  <a:gd name="T81" fmla="*/ 56 h 138"/>
                  <a:gd name="T82" fmla="*/ 66 w 490"/>
                  <a:gd name="T83" fmla="*/ 74 h 138"/>
                  <a:gd name="T84" fmla="*/ 41 w 490"/>
                  <a:gd name="T85" fmla="*/ 92 h 138"/>
                  <a:gd name="T86" fmla="*/ 19 w 490"/>
                  <a:gd name="T87" fmla="*/ 114 h 138"/>
                  <a:gd name="T88" fmla="*/ 0 w 490"/>
                  <a:gd name="T89" fmla="*/ 138 h 138"/>
                  <a:gd name="T90" fmla="*/ 0 w 490"/>
                  <a:gd name="T9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0" y="138"/>
                    </a:moveTo>
                    <a:lnTo>
                      <a:pt x="0" y="138"/>
                    </a:lnTo>
                    <a:lnTo>
                      <a:pt x="21" y="116"/>
                    </a:lnTo>
                    <a:lnTo>
                      <a:pt x="44" y="96"/>
                    </a:lnTo>
                    <a:lnTo>
                      <a:pt x="70" y="79"/>
                    </a:lnTo>
                    <a:lnTo>
                      <a:pt x="96" y="64"/>
                    </a:lnTo>
                    <a:lnTo>
                      <a:pt x="123" y="52"/>
                    </a:lnTo>
                    <a:lnTo>
                      <a:pt x="151" y="43"/>
                    </a:lnTo>
                    <a:lnTo>
                      <a:pt x="181" y="35"/>
                    </a:lnTo>
                    <a:lnTo>
                      <a:pt x="210" y="31"/>
                    </a:lnTo>
                    <a:lnTo>
                      <a:pt x="239" y="28"/>
                    </a:lnTo>
                    <a:lnTo>
                      <a:pt x="269" y="27"/>
                    </a:lnTo>
                    <a:lnTo>
                      <a:pt x="298" y="29"/>
                    </a:lnTo>
                    <a:lnTo>
                      <a:pt x="326" y="35"/>
                    </a:lnTo>
                    <a:lnTo>
                      <a:pt x="354" y="41"/>
                    </a:lnTo>
                    <a:lnTo>
                      <a:pt x="383" y="51"/>
                    </a:lnTo>
                    <a:lnTo>
                      <a:pt x="409" y="64"/>
                    </a:lnTo>
                    <a:lnTo>
                      <a:pt x="433" y="79"/>
                    </a:lnTo>
                    <a:lnTo>
                      <a:pt x="427" y="90"/>
                    </a:lnTo>
                    <a:lnTo>
                      <a:pt x="427" y="90"/>
                    </a:lnTo>
                    <a:lnTo>
                      <a:pt x="443" y="88"/>
                    </a:lnTo>
                    <a:lnTo>
                      <a:pt x="457" y="88"/>
                    </a:lnTo>
                    <a:lnTo>
                      <a:pt x="490" y="91"/>
                    </a:lnTo>
                    <a:lnTo>
                      <a:pt x="490" y="91"/>
                    </a:lnTo>
                    <a:lnTo>
                      <a:pt x="477" y="60"/>
                    </a:lnTo>
                    <a:lnTo>
                      <a:pt x="469" y="45"/>
                    </a:lnTo>
                    <a:lnTo>
                      <a:pt x="461" y="29"/>
                    </a:lnTo>
                    <a:lnTo>
                      <a:pt x="455" y="41"/>
                    </a:lnTo>
                    <a:lnTo>
                      <a:pt x="455" y="41"/>
                    </a:lnTo>
                    <a:lnTo>
                      <a:pt x="425" y="27"/>
                    </a:lnTo>
                    <a:lnTo>
                      <a:pt x="395" y="16"/>
                    </a:lnTo>
                    <a:lnTo>
                      <a:pt x="364" y="8"/>
                    </a:lnTo>
                    <a:lnTo>
                      <a:pt x="332" y="3"/>
                    </a:lnTo>
                    <a:lnTo>
                      <a:pt x="301" y="0"/>
                    </a:lnTo>
                    <a:lnTo>
                      <a:pt x="269" y="0"/>
                    </a:lnTo>
                    <a:lnTo>
                      <a:pt x="237" y="4"/>
                    </a:lnTo>
                    <a:lnTo>
                      <a:pt x="206" y="9"/>
                    </a:lnTo>
                    <a:lnTo>
                      <a:pt x="175" y="17"/>
                    </a:lnTo>
                    <a:lnTo>
                      <a:pt x="146" y="28"/>
                    </a:lnTo>
                    <a:lnTo>
                      <a:pt x="118" y="40"/>
                    </a:lnTo>
                    <a:lnTo>
                      <a:pt x="91" y="56"/>
                    </a:lnTo>
                    <a:lnTo>
                      <a:pt x="66" y="74"/>
                    </a:lnTo>
                    <a:lnTo>
                      <a:pt x="41" y="92"/>
                    </a:lnTo>
                    <a:lnTo>
                      <a:pt x="19" y="114"/>
                    </a:lnTo>
                    <a:lnTo>
                      <a:pt x="0" y="138"/>
                    </a:ln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grpSp>
        <p:grpSp>
          <p:nvGrpSpPr>
            <p:cNvPr id="7134" name="Graphic 2987">
              <a:extLst>
                <a:ext uri="{FF2B5EF4-FFF2-40B4-BE49-F238E27FC236}">
                  <a16:creationId xmlns:a16="http://schemas.microsoft.com/office/drawing/2014/main" id="{E7899141-F7FE-2A30-8FDF-2BF40E1F6BA6}"/>
                </a:ext>
              </a:extLst>
            </p:cNvPr>
            <p:cNvGrpSpPr/>
            <p:nvPr/>
          </p:nvGrpSpPr>
          <p:grpSpPr>
            <a:xfrm>
              <a:off x="5147620" y="3585279"/>
              <a:ext cx="230560" cy="306163"/>
              <a:chOff x="5579561" y="3590947"/>
              <a:chExt cx="230560" cy="306162"/>
            </a:xfrm>
            <a:solidFill>
              <a:schemeClr val="accent1"/>
            </a:solidFill>
          </p:grpSpPr>
          <p:sp>
            <p:nvSpPr>
              <p:cNvPr id="7135" name="Freeform 8806">
                <a:extLst>
                  <a:ext uri="{FF2B5EF4-FFF2-40B4-BE49-F238E27FC236}">
                    <a16:creationId xmlns:a16="http://schemas.microsoft.com/office/drawing/2014/main" id="{C935B185-3200-8315-ECC1-472494838072}"/>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6" name="Freeform 8807">
                <a:extLst>
                  <a:ext uri="{FF2B5EF4-FFF2-40B4-BE49-F238E27FC236}">
                    <a16:creationId xmlns:a16="http://schemas.microsoft.com/office/drawing/2014/main" id="{CA4B5022-A620-2BF8-6C87-99B7D83360DB}"/>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sp>
          <p:nvSpPr>
            <p:cNvPr id="7147" name="TextBox 5605">
              <a:extLst>
                <a:ext uri="{FF2B5EF4-FFF2-40B4-BE49-F238E27FC236}">
                  <a16:creationId xmlns:a16="http://schemas.microsoft.com/office/drawing/2014/main" id="{0BBA47AC-D6C7-1827-FCAC-B967F35B1FC6}"/>
                </a:ext>
              </a:extLst>
            </p:cNvPr>
            <p:cNvSpPr txBox="1"/>
            <p:nvPr/>
          </p:nvSpPr>
          <p:spPr>
            <a:xfrm>
              <a:off x="5578150" y="3348918"/>
              <a:ext cx="1147622" cy="523220"/>
            </a:xfrm>
            <a:prstGeom prst="rect">
              <a:avLst/>
            </a:prstGeom>
            <a:noFill/>
          </p:spPr>
          <p:txBody>
            <a:bodyPr wrap="none" rtlCol="0">
              <a:spAutoFit/>
            </a:bodyPr>
            <a:lstStyle/>
            <a:p>
              <a:pP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Amplificação</a:t>
              </a:r>
              <a:endParaRPr lang="en-US" sz="1400" b="1" dirty="0">
                <a:solidFill>
                  <a:schemeClr val="accent1"/>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iclo</a:t>
              </a:r>
              <a:endParaRPr lang="en-US" sz="1400" b="1" dirty="0">
                <a:solidFill>
                  <a:schemeClr val="accent1"/>
                </a:solidFill>
                <a:ea typeface="ヒラギノ角ゴ Pro W3" panose="020B0300000000000000" pitchFamily="34" charset="-128"/>
                <a:cs typeface="Arial"/>
                <a:sym typeface="Arial"/>
              </a:endParaRPr>
            </a:p>
          </p:txBody>
        </p:sp>
        <p:sp>
          <p:nvSpPr>
            <p:cNvPr id="7150" name="Freeform 8975">
              <a:extLst>
                <a:ext uri="{FF2B5EF4-FFF2-40B4-BE49-F238E27FC236}">
                  <a16:creationId xmlns:a16="http://schemas.microsoft.com/office/drawing/2014/main" id="{0A9540B6-6E49-B59F-678D-8F5E9F2FF790}"/>
                </a:ext>
              </a:extLst>
            </p:cNvPr>
            <p:cNvSpPr/>
            <p:nvPr/>
          </p:nvSpPr>
          <p:spPr>
            <a:xfrm>
              <a:off x="4897597" y="3738770"/>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4" name="Freeform 8974">
              <a:extLst>
                <a:ext uri="{FF2B5EF4-FFF2-40B4-BE49-F238E27FC236}">
                  <a16:creationId xmlns:a16="http://schemas.microsoft.com/office/drawing/2014/main" id="{D83A5ED8-3730-53F3-C908-32FB4E288086}"/>
                </a:ext>
              </a:extLst>
            </p:cNvPr>
            <p:cNvSpPr/>
            <p:nvPr/>
          </p:nvSpPr>
          <p:spPr>
            <a:xfrm>
              <a:off x="6033504" y="4036955"/>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55" name="TextBox 5614">
              <a:extLst>
                <a:ext uri="{FF2B5EF4-FFF2-40B4-BE49-F238E27FC236}">
                  <a16:creationId xmlns:a16="http://schemas.microsoft.com/office/drawing/2014/main" id="{DB14BAC0-B6B0-1BE6-266A-67F74A516E1B}"/>
                </a:ext>
              </a:extLst>
            </p:cNvPr>
            <p:cNvSpPr txBox="1"/>
            <p:nvPr/>
          </p:nvSpPr>
          <p:spPr>
            <a:xfrm>
              <a:off x="6021721" y="4093367"/>
              <a:ext cx="399468"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b</a:t>
              </a:r>
            </a:p>
          </p:txBody>
        </p:sp>
        <p:sp>
          <p:nvSpPr>
            <p:cNvPr id="7156" name="TextBox 5616">
              <a:extLst>
                <a:ext uri="{FF2B5EF4-FFF2-40B4-BE49-F238E27FC236}">
                  <a16:creationId xmlns:a16="http://schemas.microsoft.com/office/drawing/2014/main" id="{105F77D3-4361-8529-09F4-CDA975DA54BE}"/>
                </a:ext>
              </a:extLst>
            </p:cNvPr>
            <p:cNvSpPr txBox="1"/>
            <p:nvPr/>
          </p:nvSpPr>
          <p:spPr>
            <a:xfrm>
              <a:off x="4551649" y="3764628"/>
              <a:ext cx="393056"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accent1"/>
                  </a:solidFill>
                  <a:ea typeface="ヒラギノ角ゴ Pro W3" panose="020B0300000000000000" pitchFamily="34" charset="-128"/>
                  <a:cs typeface="Arial"/>
                  <a:sym typeface="Arial"/>
                </a:rPr>
                <a:t>C3a</a:t>
              </a:r>
            </a:p>
          </p:txBody>
        </p:sp>
        <p:sp>
          <p:nvSpPr>
            <p:cNvPr id="7164" name="TextBox 5625">
              <a:extLst>
                <a:ext uri="{FF2B5EF4-FFF2-40B4-BE49-F238E27FC236}">
                  <a16:creationId xmlns:a16="http://schemas.microsoft.com/office/drawing/2014/main" id="{140F391C-A2A2-E14C-47FD-D66DF5A6D784}"/>
                </a:ext>
              </a:extLst>
            </p:cNvPr>
            <p:cNvSpPr txBox="1"/>
            <p:nvPr/>
          </p:nvSpPr>
          <p:spPr>
            <a:xfrm>
              <a:off x="276344" y="2655396"/>
              <a:ext cx="2762792" cy="584775"/>
            </a:xfrm>
            <a:prstGeom prst="rect">
              <a:avLst/>
            </a:prstGeom>
            <a:noFill/>
          </p:spPr>
          <p:txBody>
            <a:bodyPr wrap="squar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accent1"/>
                  </a:solidFill>
                  <a:effectLst/>
                  <a:uLnTx/>
                  <a:uFillTx/>
                  <a:latin typeface="+mj-lt"/>
                  <a:ea typeface="ヒラギノ角ゴ Pro W3" panose="020B0300000000000000" pitchFamily="34" charset="-128"/>
                  <a:cs typeface="Arial"/>
                  <a:sym typeface="Arial"/>
                </a:rPr>
                <a:t>Complemento</a:t>
              </a:r>
              <a:endPar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endParaRPr>
            </a:p>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rPr>
                <a:t>Proximal </a:t>
              </a:r>
            </a:p>
          </p:txBody>
        </p:sp>
        <p:sp>
          <p:nvSpPr>
            <p:cNvPr id="7169" name="Freeform 8973">
              <a:extLst>
                <a:ext uri="{FF2B5EF4-FFF2-40B4-BE49-F238E27FC236}">
                  <a16:creationId xmlns:a16="http://schemas.microsoft.com/office/drawing/2014/main" id="{74B9A309-E7B8-16AC-866A-9DC628AC74D1}"/>
                </a:ext>
              </a:extLst>
            </p:cNvPr>
            <p:cNvSpPr/>
            <p:nvPr/>
          </p:nvSpPr>
          <p:spPr>
            <a:xfrm>
              <a:off x="5988179" y="2788682"/>
              <a:ext cx="291589" cy="428727"/>
            </a:xfrm>
            <a:custGeom>
              <a:avLst/>
              <a:gdLst>
                <a:gd name="connsiteX0" fmla="*/ 206392 w 291589"/>
                <a:gd name="connsiteY0" fmla="*/ 428728 h 428727"/>
                <a:gd name="connsiteX1" fmla="*/ 85197 w 291589"/>
                <a:gd name="connsiteY1" fmla="*/ 428728 h 428727"/>
                <a:gd name="connsiteX2" fmla="*/ 0 w 291589"/>
                <a:gd name="connsiteY2" fmla="*/ 343530 h 428727"/>
                <a:gd name="connsiteX3" fmla="*/ 0 w 291589"/>
                <a:gd name="connsiteY3" fmla="*/ 85197 h 428727"/>
                <a:gd name="connsiteX4" fmla="*/ 85197 w 291589"/>
                <a:gd name="connsiteY4" fmla="*/ 0 h 428727"/>
                <a:gd name="connsiteX5" fmla="*/ 206392 w 291589"/>
                <a:gd name="connsiteY5" fmla="*/ 0 h 428727"/>
                <a:gd name="connsiteX6" fmla="*/ 291590 w 291589"/>
                <a:gd name="connsiteY6" fmla="*/ 85197 h 428727"/>
                <a:gd name="connsiteX7" fmla="*/ 291590 w 291589"/>
                <a:gd name="connsiteY7" fmla="*/ 343530 h 428727"/>
                <a:gd name="connsiteX8" fmla="*/ 206392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6392" y="428728"/>
                  </a:moveTo>
                  <a:lnTo>
                    <a:pt x="85197" y="428728"/>
                  </a:lnTo>
                  <a:cubicBezTo>
                    <a:pt x="38115" y="428728"/>
                    <a:pt x="0" y="390613"/>
                    <a:pt x="0" y="343530"/>
                  </a:cubicBezTo>
                  <a:lnTo>
                    <a:pt x="0" y="85197"/>
                  </a:lnTo>
                  <a:cubicBezTo>
                    <a:pt x="0" y="38115"/>
                    <a:pt x="38115" y="0"/>
                    <a:pt x="85197" y="0"/>
                  </a:cubicBezTo>
                  <a:lnTo>
                    <a:pt x="206392" y="0"/>
                  </a:lnTo>
                  <a:cubicBezTo>
                    <a:pt x="253475" y="0"/>
                    <a:pt x="291590" y="38115"/>
                    <a:pt x="291590" y="85197"/>
                  </a:cubicBezTo>
                  <a:lnTo>
                    <a:pt x="291590" y="343530"/>
                  </a:lnTo>
                  <a:cubicBezTo>
                    <a:pt x="291590" y="390613"/>
                    <a:pt x="253475" y="428728"/>
                    <a:pt x="206392" y="428728"/>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70" name="TextBox 5632">
              <a:extLst>
                <a:ext uri="{FF2B5EF4-FFF2-40B4-BE49-F238E27FC236}">
                  <a16:creationId xmlns:a16="http://schemas.microsoft.com/office/drawing/2014/main" id="{6466CDE8-E9ED-780A-86AE-A8BE608E9A0E}"/>
                </a:ext>
              </a:extLst>
            </p:cNvPr>
            <p:cNvSpPr txBox="1"/>
            <p:nvPr/>
          </p:nvSpPr>
          <p:spPr>
            <a:xfrm>
              <a:off x="5975280" y="2872421"/>
              <a:ext cx="325729"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a:t>
              </a:r>
            </a:p>
          </p:txBody>
        </p:sp>
        <p:sp>
          <p:nvSpPr>
            <p:cNvPr id="7171" name="TextBox 5633">
              <a:extLst>
                <a:ext uri="{FF2B5EF4-FFF2-40B4-BE49-F238E27FC236}">
                  <a16:creationId xmlns:a16="http://schemas.microsoft.com/office/drawing/2014/main" id="{AF384C4C-0105-3F03-CC5B-5DA0ED274C7D}"/>
                </a:ext>
              </a:extLst>
            </p:cNvPr>
            <p:cNvSpPr txBox="1"/>
            <p:nvPr/>
          </p:nvSpPr>
          <p:spPr>
            <a:xfrm>
              <a:off x="71158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FFFFFF"/>
                  </a:solidFill>
                  <a:ea typeface="ヒラギノ角ゴ Pro W3" panose="020B0300000000000000" pitchFamily="34" charset="-128"/>
                  <a:cs typeface="Arial"/>
                  <a:sym typeface="Arial"/>
                </a:rPr>
                <a:t>C3b</a:t>
              </a:r>
            </a:p>
          </p:txBody>
        </p:sp>
        <p:sp>
          <p:nvSpPr>
            <p:cNvPr id="7202" name="TextBox 5669">
              <a:extLst>
                <a:ext uri="{FF2B5EF4-FFF2-40B4-BE49-F238E27FC236}">
                  <a16:creationId xmlns:a16="http://schemas.microsoft.com/office/drawing/2014/main" id="{95353DE7-9B04-8999-202A-0177CA2218CF}"/>
                </a:ext>
              </a:extLst>
            </p:cNvPr>
            <p:cNvSpPr txBox="1"/>
            <p:nvPr/>
          </p:nvSpPr>
          <p:spPr>
            <a:xfrm>
              <a:off x="5302172" y="2510649"/>
              <a:ext cx="1649736" cy="307777"/>
            </a:xfrm>
            <a:prstGeom prst="rect">
              <a:avLst/>
            </a:prstGeom>
            <a:noFill/>
          </p:spPr>
          <p:txBody>
            <a:bodyPr wrap="square" rtlCol="0">
              <a:spAutoFit/>
            </a:bodyPr>
            <a:lstStyle/>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onversão</a:t>
              </a:r>
              <a:r>
                <a:rPr lang="en-US" sz="1400" b="1" dirty="0">
                  <a:solidFill>
                    <a:schemeClr val="accent1"/>
                  </a:solidFill>
                  <a:ea typeface="ヒラギノ角ゴ Pro W3" panose="020B0300000000000000" pitchFamily="34" charset="-128"/>
                  <a:cs typeface="Arial"/>
                  <a:sym typeface="Arial"/>
                </a:rPr>
                <a:t> de C3</a:t>
              </a:r>
            </a:p>
          </p:txBody>
        </p:sp>
        <p:sp>
          <p:nvSpPr>
            <p:cNvPr id="7205" name="Rounded Rectangle 3632">
              <a:extLst>
                <a:ext uri="{FF2B5EF4-FFF2-40B4-BE49-F238E27FC236}">
                  <a16:creationId xmlns:a16="http://schemas.microsoft.com/office/drawing/2014/main" id="{06057863-CB17-A4DE-50B9-8324B81E0EE9}"/>
                </a:ext>
              </a:extLst>
            </p:cNvPr>
            <p:cNvSpPr/>
            <p:nvPr/>
          </p:nvSpPr>
          <p:spPr>
            <a:xfrm>
              <a:off x="2466894" y="3672741"/>
              <a:ext cx="1491853" cy="471050"/>
            </a:xfrm>
            <a:prstGeom prst="roundRect">
              <a:avLst>
                <a:gd name="adj" fmla="val 0"/>
              </a:avLst>
            </a:prstGeom>
            <a:solidFill>
              <a:srgbClr val="FFFFFF"/>
            </a:solidFill>
            <a:ln w="12700" cap="flat" cmpd="sng" algn="ctr">
              <a:solidFill>
                <a:schemeClr val="accent1"/>
              </a:solidFill>
              <a:prstDash val="sys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accent1"/>
                  </a:solidFill>
                  <a:effectLst/>
                  <a:uLnTx/>
                  <a:uFillTx/>
                  <a:cs typeface="Arial"/>
                </a:rPr>
                <a:t>Inflamação</a:t>
              </a:r>
              <a:endParaRPr kumimoji="0" lang="en-US" sz="1100" b="1" i="0" u="none" strike="noStrike" kern="0" cap="none" spc="0" normalizeH="0" baseline="0" noProof="0" dirty="0">
                <a:ln>
                  <a:noFill/>
                </a:ln>
                <a:solidFill>
                  <a:schemeClr val="accent1"/>
                </a:solidFill>
                <a:effectLst/>
                <a:uLnTx/>
                <a:uFillTx/>
                <a:cs typeface="Arial"/>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accent1"/>
                  </a:solidFill>
                  <a:effectLst/>
                  <a:uLnTx/>
                  <a:uFillTx/>
                  <a:cs typeface="Arial"/>
                </a:rPr>
                <a:t>Anafilaxia</a:t>
              </a:r>
              <a:endParaRPr kumimoji="0" lang="en-US" sz="1100" b="1" i="0" u="none" strike="noStrike" kern="0" cap="none" spc="0" normalizeH="0" baseline="0" noProof="0" dirty="0">
                <a:ln>
                  <a:noFill/>
                </a:ln>
                <a:solidFill>
                  <a:schemeClr val="accent1"/>
                </a:solidFill>
                <a:effectLst/>
                <a:uLnTx/>
                <a:uFillTx/>
                <a:cs typeface="Arial"/>
              </a:endParaRPr>
            </a:p>
          </p:txBody>
        </p:sp>
        <p:sp>
          <p:nvSpPr>
            <p:cNvPr id="7206" name="Right Arrow 3633">
              <a:extLst>
                <a:ext uri="{FF2B5EF4-FFF2-40B4-BE49-F238E27FC236}">
                  <a16:creationId xmlns:a16="http://schemas.microsoft.com/office/drawing/2014/main" id="{A7054FF7-7F17-3B2E-6B67-819B854E6A67}"/>
                </a:ext>
              </a:extLst>
            </p:cNvPr>
            <p:cNvSpPr/>
            <p:nvPr/>
          </p:nvSpPr>
          <p:spPr>
            <a:xfrm flipH="1" flipV="1">
              <a:off x="4060701" y="3776745"/>
              <a:ext cx="436880" cy="243840"/>
            </a:xfrm>
            <a:prstGeom prst="rightArrow">
              <a:avLst/>
            </a:prstGeom>
            <a:solidFill>
              <a:schemeClr val="accent1"/>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Arial" panose="020B0604020202020204" pitchFamily="34" charset="0"/>
              </a:endParaRPr>
            </a:p>
          </p:txBody>
        </p:sp>
        <p:sp>
          <p:nvSpPr>
            <p:cNvPr id="7207" name="Right Arrow 3634">
              <a:extLst>
                <a:ext uri="{FF2B5EF4-FFF2-40B4-BE49-F238E27FC236}">
                  <a16:creationId xmlns:a16="http://schemas.microsoft.com/office/drawing/2014/main" id="{E79084C1-7A43-677A-AEB4-108D8D2C9601}"/>
                </a:ext>
              </a:extLst>
            </p:cNvPr>
            <p:cNvSpPr/>
            <p:nvPr/>
          </p:nvSpPr>
          <p:spPr>
            <a:xfrm flipV="1">
              <a:off x="7732855" y="3776745"/>
              <a:ext cx="436880" cy="243840"/>
            </a:xfrm>
            <a:prstGeom prst="rightArrow">
              <a:avLst/>
            </a:prstGeom>
            <a:solidFill>
              <a:schemeClr val="accent1"/>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cs typeface="Arial" panose="020B0604020202020204" pitchFamily="34" charset="0"/>
              </a:endParaRPr>
            </a:p>
          </p:txBody>
        </p:sp>
        <p:sp>
          <p:nvSpPr>
            <p:cNvPr id="7208" name="Rounded Rectangle 3635">
              <a:extLst>
                <a:ext uri="{FF2B5EF4-FFF2-40B4-BE49-F238E27FC236}">
                  <a16:creationId xmlns:a16="http://schemas.microsoft.com/office/drawing/2014/main" id="{B7242F8A-496B-97AC-BC08-242F5F745DC0}"/>
                </a:ext>
              </a:extLst>
            </p:cNvPr>
            <p:cNvSpPr/>
            <p:nvPr/>
          </p:nvSpPr>
          <p:spPr>
            <a:xfrm>
              <a:off x="8284207" y="3672741"/>
              <a:ext cx="1491853" cy="471050"/>
            </a:xfrm>
            <a:prstGeom prst="roundRect">
              <a:avLst>
                <a:gd name="adj" fmla="val 0"/>
              </a:avLst>
            </a:prstGeom>
            <a:solidFill>
              <a:srgbClr val="FFFFFF"/>
            </a:solidFill>
            <a:ln w="12700" cap="flat" cmpd="sng" algn="ctr">
              <a:solidFill>
                <a:schemeClr val="accent1"/>
              </a:solidFill>
              <a:prstDash val="sys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accent1"/>
                  </a:solidFill>
                  <a:effectLst/>
                  <a:uLnTx/>
                  <a:uFillTx/>
                  <a:cs typeface="Arial"/>
                </a:rPr>
                <a:t>Opsonização</a:t>
              </a:r>
            </a:p>
          </p:txBody>
        </p:sp>
        <p:sp>
          <p:nvSpPr>
            <p:cNvPr id="7209" name="Freeform 3672">
              <a:extLst>
                <a:ext uri="{FF2B5EF4-FFF2-40B4-BE49-F238E27FC236}">
                  <a16:creationId xmlns:a16="http://schemas.microsoft.com/office/drawing/2014/main" id="{460E699A-A47A-DDAC-E8AB-AF28240C106B}"/>
                </a:ext>
              </a:extLst>
            </p:cNvPr>
            <p:cNvSpPr/>
            <p:nvPr/>
          </p:nvSpPr>
          <p:spPr>
            <a:xfrm>
              <a:off x="7178478" y="3654033"/>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0" name="TextBox 5679">
              <a:extLst>
                <a:ext uri="{FF2B5EF4-FFF2-40B4-BE49-F238E27FC236}">
                  <a16:creationId xmlns:a16="http://schemas.microsoft.com/office/drawing/2014/main" id="{37152788-7C01-C169-DEB6-BAAE4239CAD9}"/>
                </a:ext>
              </a:extLst>
            </p:cNvPr>
            <p:cNvSpPr txBox="1"/>
            <p:nvPr/>
          </p:nvSpPr>
          <p:spPr>
            <a:xfrm>
              <a:off x="71666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FFFFFF"/>
                  </a:solidFill>
                  <a:ea typeface="ヒラギノ角ゴ Pro W3" panose="020B0300000000000000" pitchFamily="34" charset="-128"/>
                  <a:cs typeface="Arial"/>
                  <a:sym typeface="Arial"/>
                </a:rPr>
                <a:t>C3b</a:t>
              </a:r>
            </a:p>
          </p:txBody>
        </p:sp>
        <p:grpSp>
          <p:nvGrpSpPr>
            <p:cNvPr id="7211" name="Graphic 2987">
              <a:extLst>
                <a:ext uri="{FF2B5EF4-FFF2-40B4-BE49-F238E27FC236}">
                  <a16:creationId xmlns:a16="http://schemas.microsoft.com/office/drawing/2014/main" id="{5840535C-F5AE-99E2-06E6-451BE55346FC}"/>
                </a:ext>
              </a:extLst>
            </p:cNvPr>
            <p:cNvGrpSpPr/>
            <p:nvPr/>
          </p:nvGrpSpPr>
          <p:grpSpPr>
            <a:xfrm rot="2286810" flipH="1" flipV="1">
              <a:off x="6916689" y="3600573"/>
              <a:ext cx="230560" cy="306163"/>
              <a:chOff x="5579561" y="3590947"/>
              <a:chExt cx="230560" cy="306162"/>
            </a:xfrm>
            <a:solidFill>
              <a:schemeClr val="accent1"/>
            </a:solidFill>
          </p:grpSpPr>
          <p:sp>
            <p:nvSpPr>
              <p:cNvPr id="7212" name="Freeform 3675">
                <a:extLst>
                  <a:ext uri="{FF2B5EF4-FFF2-40B4-BE49-F238E27FC236}">
                    <a16:creationId xmlns:a16="http://schemas.microsoft.com/office/drawing/2014/main" id="{AF0C0EE8-94E4-B73D-D3E1-7EC2F1CF3791}"/>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3" name="Freeform 3676">
                <a:extLst>
                  <a:ext uri="{FF2B5EF4-FFF2-40B4-BE49-F238E27FC236}">
                    <a16:creationId xmlns:a16="http://schemas.microsoft.com/office/drawing/2014/main" id="{552B4669-50D8-4443-606E-9F3A3A8CFCD3}"/>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cxnSp>
          <p:nvCxnSpPr>
            <p:cNvPr id="7204" name="Straight Connector 5672">
              <a:extLst>
                <a:ext uri="{FF2B5EF4-FFF2-40B4-BE49-F238E27FC236}">
                  <a16:creationId xmlns:a16="http://schemas.microsoft.com/office/drawing/2014/main" id="{ACFF6347-1E42-122B-CAA6-7F6E66498F7B}"/>
                </a:ext>
              </a:extLst>
            </p:cNvPr>
            <p:cNvCxnSpPr>
              <a:cxnSpLocks/>
            </p:cNvCxnSpPr>
            <p:nvPr/>
          </p:nvCxnSpPr>
          <p:spPr>
            <a:xfrm>
              <a:off x="166909" y="4453901"/>
              <a:ext cx="11793926" cy="0"/>
            </a:xfrm>
            <a:prstGeom prst="line">
              <a:avLst/>
            </a:prstGeom>
            <a:noFill/>
            <a:ln w="19050" cap="flat" cmpd="sng" algn="ctr">
              <a:solidFill>
                <a:schemeClr val="bg1">
                  <a:lumMod val="65000"/>
                </a:schemeClr>
              </a:solidFill>
              <a:prstDash val="sysDash"/>
              <a:miter lim="800000"/>
            </a:ln>
            <a:effectLst/>
          </p:spPr>
        </p:cxnSp>
      </p:grpSp>
      <p:sp>
        <p:nvSpPr>
          <p:cNvPr id="3" name="Rectangle 5670">
            <a:extLst>
              <a:ext uri="{FF2B5EF4-FFF2-40B4-BE49-F238E27FC236}">
                <a16:creationId xmlns:a16="http://schemas.microsoft.com/office/drawing/2014/main" id="{8C14B07D-6BBD-02DA-8665-E247366406E8}"/>
              </a:ext>
            </a:extLst>
          </p:cNvPr>
          <p:cNvSpPr/>
          <p:nvPr/>
        </p:nvSpPr>
        <p:spPr>
          <a:xfrm>
            <a:off x="191930" y="966525"/>
            <a:ext cx="11768903" cy="3451302"/>
          </a:xfrm>
          <a:prstGeom prst="rect">
            <a:avLst/>
          </a:prstGeom>
          <a:solidFill>
            <a:srgbClr val="FFFFFF">
              <a:alpha val="74902"/>
            </a:srgbClr>
          </a:solidFill>
          <a:ln w="9525" cap="flat" cmpd="sng" algn="ctr">
            <a:noFill/>
            <a:prstDash val="solid"/>
            <a:miter lim="800000"/>
          </a:ln>
          <a:effectLst/>
        </p:spPr>
        <p:txBody>
          <a:bodyPr lIns="60960" rIns="6096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cs typeface="Arial" panose="020B0604020202020204" pitchFamily="34" charset="0"/>
            </a:endParaRPr>
          </a:p>
        </p:txBody>
      </p:sp>
      <p:grpSp>
        <p:nvGrpSpPr>
          <p:cNvPr id="10" name="Agrupar 9">
            <a:extLst>
              <a:ext uri="{FF2B5EF4-FFF2-40B4-BE49-F238E27FC236}">
                <a16:creationId xmlns:a16="http://schemas.microsoft.com/office/drawing/2014/main" id="{40C42565-9710-0BA4-8828-EE400AC95244}"/>
              </a:ext>
            </a:extLst>
          </p:cNvPr>
          <p:cNvGrpSpPr/>
          <p:nvPr/>
        </p:nvGrpSpPr>
        <p:grpSpPr>
          <a:xfrm>
            <a:off x="261326" y="4829884"/>
            <a:ext cx="11079522" cy="1026111"/>
            <a:chOff x="261326" y="4829884"/>
            <a:chExt cx="11079522" cy="1026111"/>
          </a:xfrm>
        </p:grpSpPr>
        <p:sp>
          <p:nvSpPr>
            <p:cNvPr id="4" name="Rounded Rectangle 3636">
              <a:extLst>
                <a:ext uri="{FF2B5EF4-FFF2-40B4-BE49-F238E27FC236}">
                  <a16:creationId xmlns:a16="http://schemas.microsoft.com/office/drawing/2014/main" id="{52747AE5-2114-EC68-2D18-570DFA35B597}"/>
                </a:ext>
              </a:extLst>
            </p:cNvPr>
            <p:cNvSpPr/>
            <p:nvPr/>
          </p:nvSpPr>
          <p:spPr>
            <a:xfrm>
              <a:off x="3419205" y="4835350"/>
              <a:ext cx="1184075" cy="707556"/>
            </a:xfrm>
            <a:prstGeom prst="roundRect">
              <a:avLst>
                <a:gd name="adj" fmla="val 0"/>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Inflamação</a:t>
              </a:r>
              <a:endParaRPr kumimoji="0" lang="en-US" sz="1050" b="1" i="0" u="none" strike="noStrike" kern="1200" cap="none" spc="0" normalizeH="0" baseline="0" noProof="0" dirty="0">
                <a:ln>
                  <a:noFill/>
                </a:ln>
                <a:solidFill>
                  <a:schemeClr val="tx2"/>
                </a:solidFill>
                <a:effectLst/>
                <a:uLnTx/>
                <a:uFillTx/>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Quimiotaxia</a:t>
              </a:r>
              <a:endParaRPr kumimoji="0" lang="en-US" sz="1050" b="1" i="0" u="none" strike="noStrike" kern="1200" cap="none" spc="0" normalizeH="0" baseline="0" noProof="0" dirty="0">
                <a:ln>
                  <a:noFill/>
                </a:ln>
                <a:solidFill>
                  <a:schemeClr val="tx2"/>
                </a:solidFill>
                <a:effectLst/>
                <a:uLnTx/>
                <a:uFillTx/>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Anafilaxia</a:t>
              </a:r>
              <a:endParaRPr kumimoji="0" lang="en-US" sz="1050" b="1" i="0" u="none" strike="noStrike" kern="1200" cap="none" spc="0" normalizeH="0" baseline="0" noProof="0" dirty="0">
                <a:ln>
                  <a:noFill/>
                </a:ln>
                <a:solidFill>
                  <a:schemeClr val="tx2"/>
                </a:solidFill>
                <a:effectLst/>
                <a:uLnTx/>
                <a:uFillTx/>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Trombose</a:t>
              </a:r>
              <a:endParaRPr kumimoji="0" lang="en-US" sz="1050" b="1" i="0" u="none" strike="noStrike" kern="1200" cap="none" spc="0" normalizeH="0" baseline="0" noProof="0" dirty="0">
                <a:ln>
                  <a:noFill/>
                </a:ln>
                <a:solidFill>
                  <a:schemeClr val="tx2"/>
                </a:solidFill>
                <a:effectLst/>
                <a:uLnTx/>
                <a:uFillTx/>
                <a:cs typeface="Arial"/>
              </a:endParaRPr>
            </a:p>
          </p:txBody>
        </p:sp>
        <p:sp>
          <p:nvSpPr>
            <p:cNvPr id="5" name="Right Arrow 3637">
              <a:extLst>
                <a:ext uri="{FF2B5EF4-FFF2-40B4-BE49-F238E27FC236}">
                  <a16:creationId xmlns:a16="http://schemas.microsoft.com/office/drawing/2014/main" id="{D6F2065C-96EB-785E-7D90-DEAE62D8EE0D}"/>
                </a:ext>
              </a:extLst>
            </p:cNvPr>
            <p:cNvSpPr/>
            <p:nvPr/>
          </p:nvSpPr>
          <p:spPr>
            <a:xfrm flipH="1" flipV="1">
              <a:off x="4709570" y="5067208"/>
              <a:ext cx="436880" cy="243840"/>
            </a:xfrm>
            <a:prstGeom prst="rightArrow">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 name="Right Arrow 3638">
              <a:extLst>
                <a:ext uri="{FF2B5EF4-FFF2-40B4-BE49-F238E27FC236}">
                  <a16:creationId xmlns:a16="http://schemas.microsoft.com/office/drawing/2014/main" id="{E2FBDDCB-DB41-82C1-1809-17F9DC8CB2F6}"/>
                </a:ext>
              </a:extLst>
            </p:cNvPr>
            <p:cNvSpPr/>
            <p:nvPr/>
          </p:nvSpPr>
          <p:spPr>
            <a:xfrm flipV="1">
              <a:off x="8831773" y="5009392"/>
              <a:ext cx="436880" cy="243840"/>
            </a:xfrm>
            <a:prstGeom prst="rightArrow">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33"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 name="Rounded Rectangle 3639">
              <a:extLst>
                <a:ext uri="{FF2B5EF4-FFF2-40B4-BE49-F238E27FC236}">
                  <a16:creationId xmlns:a16="http://schemas.microsoft.com/office/drawing/2014/main" id="{572DB854-10FB-D6BF-1219-C0AE85D68B94}"/>
                </a:ext>
              </a:extLst>
            </p:cNvPr>
            <p:cNvSpPr/>
            <p:nvPr/>
          </p:nvSpPr>
          <p:spPr>
            <a:xfrm>
              <a:off x="9392158" y="4857944"/>
              <a:ext cx="1113134" cy="537292"/>
            </a:xfrm>
            <a:prstGeom prst="roundRect">
              <a:avLst>
                <a:gd name="adj" fmla="val 0"/>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chemeClr val="tx2"/>
                  </a:solidFill>
                  <a:effectLst/>
                  <a:uLnTx/>
                  <a:uFillTx/>
                  <a:cs typeface="Arial"/>
                </a:rPr>
                <a:t>Li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Inflamação</a:t>
              </a:r>
              <a:endParaRPr kumimoji="0" lang="en-US" sz="1050" b="1" i="0" u="none" strike="noStrike" kern="1200" cap="none" spc="0" normalizeH="0" baseline="0" noProof="0" dirty="0">
                <a:ln>
                  <a:noFill/>
                </a:ln>
                <a:solidFill>
                  <a:schemeClr val="tx2"/>
                </a:solidFill>
                <a:effectLst/>
                <a:uLnTx/>
                <a:uFillTx/>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chemeClr val="tx2"/>
                  </a:solidFill>
                  <a:effectLst/>
                  <a:uLnTx/>
                  <a:uFillTx/>
                  <a:cs typeface="Arial"/>
                </a:rPr>
                <a:t>Trombose</a:t>
              </a:r>
              <a:endParaRPr kumimoji="0" lang="en-US" sz="1050" b="1" i="0" u="none" strike="noStrike" kern="1200" cap="none" spc="0" normalizeH="0" baseline="0" noProof="0" dirty="0">
                <a:ln>
                  <a:noFill/>
                </a:ln>
                <a:solidFill>
                  <a:schemeClr val="tx2"/>
                </a:solidFill>
                <a:effectLst/>
                <a:uLnTx/>
                <a:uFillTx/>
                <a:cs typeface="Arial"/>
              </a:endParaRPr>
            </a:p>
          </p:txBody>
        </p:sp>
        <p:sp>
          <p:nvSpPr>
            <p:cNvPr id="8" name="TextBox 10738">
              <a:extLst>
                <a:ext uri="{FF2B5EF4-FFF2-40B4-BE49-F238E27FC236}">
                  <a16:creationId xmlns:a16="http://schemas.microsoft.com/office/drawing/2014/main" id="{0527E7C2-4920-26C3-7AEB-8D31BFA60785}"/>
                </a:ext>
              </a:extLst>
            </p:cNvPr>
            <p:cNvSpPr txBox="1"/>
            <p:nvPr/>
          </p:nvSpPr>
          <p:spPr>
            <a:xfrm>
              <a:off x="261326" y="5255831"/>
              <a:ext cx="2792827" cy="600164"/>
            </a:xfrm>
            <a:prstGeom prst="rect">
              <a:avLst/>
            </a:prstGeom>
            <a:noFill/>
          </p:spPr>
          <p:txBody>
            <a:bodyPr wrap="square" rtlCol="0">
              <a:spAutoFit/>
            </a:bodyPr>
            <a:lstStyle/>
            <a:p>
              <a:pPr marR="0" lvl="0" algn="l" defTabSz="914400" rtl="0" eaLnBrk="1" fontAlgn="base" latinLnBrk="0" hangingPunct="1">
                <a:lnSpc>
                  <a:spcPct val="100000"/>
                </a:lnSpc>
                <a:spcAft>
                  <a:spcPct val="0"/>
                </a:spcAft>
                <a:buClrTx/>
                <a:buSzTx/>
                <a:buFontTx/>
                <a:buNone/>
                <a:tabLst/>
                <a:defRPr/>
              </a:pP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Anafilatoxinas</a:t>
              </a:r>
              <a:endPar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endParaRPr>
            </a:p>
            <a:p>
              <a:pPr marR="0" lvl="0" algn="l" defTabSz="914400" rtl="0" eaLnBrk="1" fontAlgn="base" latinLnBrk="0" hangingPunct="1">
                <a:lnSpc>
                  <a:spcPct val="100000"/>
                </a:lnSpc>
                <a:spcAft>
                  <a:spcPct val="0"/>
                </a:spcAft>
                <a:buClrTx/>
                <a:buSzTx/>
                <a:buFontTx/>
                <a:buNone/>
                <a:tabLst/>
                <a:defRPr/>
              </a:pP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Quimiotaxia</a:t>
              </a:r>
              <a:r>
                <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rPr>
                <a:t> das </a:t>
              </a: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células</a:t>
              </a:r>
              <a:r>
                <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rPr>
                <a:t> do </a:t>
              </a: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sistema</a:t>
              </a:r>
              <a:r>
                <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rPr>
                <a:t> </a:t>
              </a: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imune</a:t>
              </a:r>
              <a:endPar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endParaRPr>
            </a:p>
            <a:p>
              <a:pPr marR="0" lvl="0" algn="l" defTabSz="914400" rtl="0" eaLnBrk="1" fontAlgn="base" latinLnBrk="0" hangingPunct="1">
                <a:lnSpc>
                  <a:spcPct val="100000"/>
                </a:lnSpc>
                <a:spcAft>
                  <a:spcPct val="0"/>
                </a:spcAft>
                <a:buClrTx/>
                <a:buSzTx/>
                <a:buFontTx/>
                <a:buNone/>
                <a:tabLst/>
                <a:defRPr/>
              </a:pPr>
              <a:r>
                <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rPr>
                <a:t>Storm de </a:t>
              </a:r>
              <a:r>
                <a:rPr kumimoji="0" lang="en-US" sz="1100" b="0" i="0" u="none" strike="noStrike" kern="1200" cap="none" spc="0" normalizeH="0" baseline="0" noProof="0" dirty="0" err="1">
                  <a:ln>
                    <a:noFill/>
                  </a:ln>
                  <a:solidFill>
                    <a:schemeClr val="tx2"/>
                  </a:solidFill>
                  <a:effectLst/>
                  <a:uLnTx/>
                  <a:uFillTx/>
                  <a:ea typeface="ヒラギノ角ゴ Pro W3" panose="020B0300000000000000" pitchFamily="34" charset="-128"/>
                  <a:cs typeface="Arial"/>
                </a:rPr>
                <a:t>citocinas</a:t>
              </a:r>
              <a:endParaRPr kumimoji="0" lang="en-US" sz="1100" b="0" i="0" u="none" strike="noStrike" kern="1200" cap="none" spc="0" normalizeH="0" baseline="0" noProof="0" dirty="0">
                <a:ln>
                  <a:noFill/>
                </a:ln>
                <a:solidFill>
                  <a:schemeClr val="tx2"/>
                </a:solidFill>
                <a:effectLst/>
                <a:uLnTx/>
                <a:uFillTx/>
                <a:ea typeface="ヒラギノ角ゴ Pro W3" panose="020B0300000000000000" pitchFamily="34" charset="-128"/>
                <a:cs typeface="Arial"/>
              </a:endParaRPr>
            </a:p>
          </p:txBody>
        </p:sp>
        <p:pic>
          <p:nvPicPr>
            <p:cNvPr id="9" name="Picture 33">
              <a:extLst>
                <a:ext uri="{FF2B5EF4-FFF2-40B4-BE49-F238E27FC236}">
                  <a16:creationId xmlns:a16="http://schemas.microsoft.com/office/drawing/2014/main" id="{00E6B899-1124-D2C4-23A8-DCF9F3B58E11}"/>
                </a:ext>
              </a:extLst>
            </p:cNvPr>
            <p:cNvPicPr>
              <a:picLocks noChangeAspect="1"/>
            </p:cNvPicPr>
            <p:nvPr/>
          </p:nvPicPr>
          <p:blipFill>
            <a:blip r:embed="rId5"/>
            <a:stretch>
              <a:fillRect/>
            </a:stretch>
          </p:blipFill>
          <p:spPr>
            <a:xfrm>
              <a:off x="10528945" y="4829884"/>
              <a:ext cx="811903" cy="613439"/>
            </a:xfrm>
            <a:prstGeom prst="rect">
              <a:avLst/>
            </a:prstGeom>
          </p:spPr>
        </p:pic>
      </p:grpSp>
    </p:spTree>
    <p:extLst>
      <p:ext uri="{BB962C8B-B14F-4D97-AF65-F5344CB8AC3E}">
        <p14:creationId xmlns:p14="http://schemas.microsoft.com/office/powerpoint/2010/main" val="71093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7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ângulo 27">
            <a:extLst>
              <a:ext uri="{FF2B5EF4-FFF2-40B4-BE49-F238E27FC236}">
                <a16:creationId xmlns:a16="http://schemas.microsoft.com/office/drawing/2014/main" id="{AC59185F-BE43-AEB2-A2FD-5A29A80D6B79}"/>
              </a:ext>
            </a:extLst>
          </p:cNvPr>
          <p:cNvSpPr/>
          <p:nvPr/>
        </p:nvSpPr>
        <p:spPr>
          <a:xfrm>
            <a:off x="505609" y="4533881"/>
            <a:ext cx="11230984" cy="1527641"/>
          </a:xfrm>
          <a:prstGeom prst="rect">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err="1">
              <a:solidFill>
                <a:srgbClr val="FFFFFF"/>
              </a:solidFill>
              <a:cs typeface="Arial" panose="020B0604020202020204" pitchFamily="34" charset="0"/>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9712364" cy="978729"/>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O sistema do complemento é um componente vital do sistema imunológico inato</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p:txBody>
          <a:bodyPr/>
          <a:lstStyle/>
          <a:p>
            <a:r>
              <a:rPr lang="pt-BR" b="0" i="0" dirty="0" err="1">
                <a:solidFill>
                  <a:srgbClr val="1D1D1D"/>
                </a:solidFill>
                <a:effectLst/>
                <a:latin typeface="Arial" panose="020B0604020202020204" pitchFamily="34" charset="0"/>
              </a:rPr>
              <a:t>Degasperi</a:t>
            </a:r>
            <a:r>
              <a:rPr lang="pt-BR" b="0" i="0" dirty="0">
                <a:solidFill>
                  <a:srgbClr val="1D1D1D"/>
                </a:solidFill>
                <a:effectLst/>
                <a:latin typeface="Arial" panose="020B0604020202020204" pitchFamily="34" charset="0"/>
              </a:rPr>
              <a:t> GR, Paschoal CS, Aoki ISA, Fernandes AM. Revisitando o Sistema Complemento – Revisão de Literatura. J </a:t>
            </a:r>
            <a:r>
              <a:rPr lang="pt-BR" b="0" i="0" dirty="0" err="1">
                <a:solidFill>
                  <a:srgbClr val="1D1D1D"/>
                </a:solidFill>
                <a:effectLst/>
                <a:latin typeface="Arial" panose="020B0604020202020204" pitchFamily="34" charset="0"/>
              </a:rPr>
              <a:t>Interdiscip</a:t>
            </a:r>
            <a:r>
              <a:rPr lang="pt-BR" b="0" i="0" dirty="0">
                <a:solidFill>
                  <a:srgbClr val="1D1D1D"/>
                </a:solidFill>
                <a:effectLst/>
                <a:latin typeface="Arial" panose="020B0604020202020204" pitchFamily="34" charset="0"/>
              </a:rPr>
              <a:t> Biociências. 2019;4(1):30-34.</a:t>
            </a:r>
            <a:endParaRPr lang="pt-BR" dirty="0"/>
          </a:p>
        </p:txBody>
      </p:sp>
      <p:sp>
        <p:nvSpPr>
          <p:cNvPr id="10" name="Content Placeholder 2">
            <a:extLst>
              <a:ext uri="{FF2B5EF4-FFF2-40B4-BE49-F238E27FC236}">
                <a16:creationId xmlns:a16="http://schemas.microsoft.com/office/drawing/2014/main" id="{C71C51C2-0444-1AA9-1A45-33276071FD42}"/>
              </a:ext>
            </a:extLst>
          </p:cNvPr>
          <p:cNvSpPr txBox="1">
            <a:spLocks/>
          </p:cNvSpPr>
          <p:nvPr/>
        </p:nvSpPr>
        <p:spPr>
          <a:xfrm>
            <a:off x="1392175" y="4735821"/>
            <a:ext cx="2590203" cy="1050744"/>
          </a:xfrm>
          <a:prstGeom prst="rect">
            <a:avLst/>
          </a:prstGeom>
        </p:spPr>
        <p:txBody>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dirty="0">
                <a:solidFill>
                  <a:schemeClr val="bg1"/>
                </a:solidFill>
              </a:rPr>
              <a:t>A maioria das proteínas do complemento existe em </a:t>
            </a:r>
            <a:r>
              <a:rPr lang="pt-BR" sz="1600" b="1" dirty="0">
                <a:solidFill>
                  <a:schemeClr val="bg1"/>
                </a:solidFill>
              </a:rPr>
              <a:t>estado inativo e a ativação desencadeia uma cascata</a:t>
            </a:r>
          </a:p>
        </p:txBody>
      </p:sp>
      <p:sp>
        <p:nvSpPr>
          <p:cNvPr id="11" name="Retângulo 10">
            <a:extLst>
              <a:ext uri="{FF2B5EF4-FFF2-40B4-BE49-F238E27FC236}">
                <a16:creationId xmlns:a16="http://schemas.microsoft.com/office/drawing/2014/main" id="{95BC5EF8-AF05-89A8-4D11-CA913B383A04}"/>
              </a:ext>
            </a:extLst>
          </p:cNvPr>
          <p:cNvSpPr/>
          <p:nvPr/>
        </p:nvSpPr>
        <p:spPr>
          <a:xfrm>
            <a:off x="505609" y="1839558"/>
            <a:ext cx="11230984" cy="242047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3" name="Content Placeholder 2">
            <a:extLst>
              <a:ext uri="{FF2B5EF4-FFF2-40B4-BE49-F238E27FC236}">
                <a16:creationId xmlns:a16="http://schemas.microsoft.com/office/drawing/2014/main" id="{E0794F95-21BD-C349-B6D9-40A5881FC39F}"/>
              </a:ext>
            </a:extLst>
          </p:cNvPr>
          <p:cNvSpPr txBox="1">
            <a:spLocks/>
          </p:cNvSpPr>
          <p:nvPr/>
        </p:nvSpPr>
        <p:spPr>
          <a:xfrm>
            <a:off x="2560321" y="1483290"/>
            <a:ext cx="6697036" cy="622964"/>
          </a:xfrm>
          <a:prstGeom prst="rect">
            <a:avLst/>
          </a:prstGeom>
          <a:solidFill>
            <a:schemeClr val="bg1"/>
          </a:solidFill>
        </p:spPr>
        <p:txBody>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200"/>
              </a:spcAft>
              <a:buNone/>
            </a:pPr>
            <a:r>
              <a:rPr lang="pt-BR" sz="2000" dirty="0">
                <a:solidFill>
                  <a:schemeClr val="bg2"/>
                </a:solidFill>
                <a:latin typeface="+mj-lt"/>
              </a:rPr>
              <a:t>O complemento é um sistem</a:t>
            </a:r>
            <a:r>
              <a:rPr lang="pt-BR" sz="2000" b="1" dirty="0">
                <a:solidFill>
                  <a:schemeClr val="bg2"/>
                </a:solidFill>
                <a:latin typeface="+mj-lt"/>
              </a:rPr>
              <a:t>a de mais de trinta proteínas plasmáticas</a:t>
            </a:r>
            <a:r>
              <a:rPr lang="pt-BR" sz="2000" dirty="0">
                <a:solidFill>
                  <a:schemeClr val="bg2"/>
                </a:solidFill>
                <a:latin typeface="+mj-lt"/>
              </a:rPr>
              <a:t> que </a:t>
            </a:r>
            <a:r>
              <a:rPr lang="pt-BR" sz="2000" b="1" dirty="0">
                <a:solidFill>
                  <a:schemeClr val="bg2"/>
                </a:solidFill>
                <a:latin typeface="+mj-lt"/>
              </a:rPr>
              <a:t>detecta e elimina rapidamente as ameaças</a:t>
            </a:r>
          </a:p>
        </p:txBody>
      </p:sp>
      <p:sp>
        <p:nvSpPr>
          <p:cNvPr id="13" name="Retângulo: Cantos Arredondados 12">
            <a:extLst>
              <a:ext uri="{FF2B5EF4-FFF2-40B4-BE49-F238E27FC236}">
                <a16:creationId xmlns:a16="http://schemas.microsoft.com/office/drawing/2014/main" id="{40F18D35-8DB7-171A-7B27-812F61C80542}"/>
              </a:ext>
            </a:extLst>
          </p:cNvPr>
          <p:cNvSpPr/>
          <p:nvPr/>
        </p:nvSpPr>
        <p:spPr>
          <a:xfrm>
            <a:off x="830538" y="2329543"/>
            <a:ext cx="10530923" cy="622963"/>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CaixaDeTexto 13">
            <a:extLst>
              <a:ext uri="{FF2B5EF4-FFF2-40B4-BE49-F238E27FC236}">
                <a16:creationId xmlns:a16="http://schemas.microsoft.com/office/drawing/2014/main" id="{23AB7887-6713-7557-CB6E-DCAFEE3A593A}"/>
              </a:ext>
            </a:extLst>
          </p:cNvPr>
          <p:cNvSpPr txBox="1"/>
          <p:nvPr/>
        </p:nvSpPr>
        <p:spPr>
          <a:xfrm>
            <a:off x="1566446" y="2506844"/>
            <a:ext cx="1587294"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CLÁSSICA</a:t>
            </a:r>
          </a:p>
        </p:txBody>
      </p:sp>
      <p:sp>
        <p:nvSpPr>
          <p:cNvPr id="15" name="CaixaDeTexto 14">
            <a:extLst>
              <a:ext uri="{FF2B5EF4-FFF2-40B4-BE49-F238E27FC236}">
                <a16:creationId xmlns:a16="http://schemas.microsoft.com/office/drawing/2014/main" id="{FDEF4865-5C5B-9C4D-C62A-2B93B88C63C2}"/>
              </a:ext>
            </a:extLst>
          </p:cNvPr>
          <p:cNvSpPr txBox="1"/>
          <p:nvPr/>
        </p:nvSpPr>
        <p:spPr>
          <a:xfrm>
            <a:off x="5079568" y="2506844"/>
            <a:ext cx="2032864"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ALTERNATIVA</a:t>
            </a:r>
          </a:p>
        </p:txBody>
      </p:sp>
      <p:sp>
        <p:nvSpPr>
          <p:cNvPr id="16" name="CaixaDeTexto 15">
            <a:extLst>
              <a:ext uri="{FF2B5EF4-FFF2-40B4-BE49-F238E27FC236}">
                <a16:creationId xmlns:a16="http://schemas.microsoft.com/office/drawing/2014/main" id="{30112B11-FA74-58A0-4925-3C6E8216D334}"/>
              </a:ext>
            </a:extLst>
          </p:cNvPr>
          <p:cNvSpPr txBox="1"/>
          <p:nvPr/>
        </p:nvSpPr>
        <p:spPr>
          <a:xfrm>
            <a:off x="9036424" y="2506844"/>
            <a:ext cx="1743362"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da LECTINA</a:t>
            </a:r>
          </a:p>
        </p:txBody>
      </p:sp>
      <p:sp>
        <p:nvSpPr>
          <p:cNvPr id="21" name="CaixaDeTexto 20">
            <a:extLst>
              <a:ext uri="{FF2B5EF4-FFF2-40B4-BE49-F238E27FC236}">
                <a16:creationId xmlns:a16="http://schemas.microsoft.com/office/drawing/2014/main" id="{0F934536-98D6-54F6-E98C-8FBC55C1EB6E}"/>
              </a:ext>
            </a:extLst>
          </p:cNvPr>
          <p:cNvSpPr txBox="1"/>
          <p:nvPr/>
        </p:nvSpPr>
        <p:spPr>
          <a:xfrm>
            <a:off x="1428154" y="3043557"/>
            <a:ext cx="1863877" cy="584775"/>
          </a:xfrm>
          <a:prstGeom prst="rect">
            <a:avLst/>
          </a:prstGeom>
          <a:noFill/>
        </p:spPr>
        <p:txBody>
          <a:bodyPr wrap="square">
            <a:spAutoFit/>
          </a:bodyPr>
          <a:lstStyle/>
          <a:p>
            <a:pPr algn="ctr"/>
            <a:r>
              <a:rPr lang="pt-BR" sz="1600" dirty="0"/>
              <a:t>ativada pela </a:t>
            </a:r>
            <a:r>
              <a:rPr lang="pt-BR" sz="1600" b="1" dirty="0"/>
              <a:t>ligação a anticorpos</a:t>
            </a:r>
          </a:p>
        </p:txBody>
      </p:sp>
      <p:sp>
        <p:nvSpPr>
          <p:cNvPr id="23" name="CaixaDeTexto 22">
            <a:extLst>
              <a:ext uri="{FF2B5EF4-FFF2-40B4-BE49-F238E27FC236}">
                <a16:creationId xmlns:a16="http://schemas.microsoft.com/office/drawing/2014/main" id="{E85C5BA9-2181-7531-9093-94A885D5364C}"/>
              </a:ext>
            </a:extLst>
          </p:cNvPr>
          <p:cNvSpPr txBox="1"/>
          <p:nvPr/>
        </p:nvSpPr>
        <p:spPr>
          <a:xfrm>
            <a:off x="4816818" y="3043557"/>
            <a:ext cx="2558361" cy="830997"/>
          </a:xfrm>
          <a:prstGeom prst="rect">
            <a:avLst/>
          </a:prstGeom>
          <a:noFill/>
        </p:spPr>
        <p:txBody>
          <a:bodyPr wrap="square">
            <a:spAutoFit/>
          </a:bodyPr>
          <a:lstStyle/>
          <a:p>
            <a:pPr algn="ctr"/>
            <a:r>
              <a:rPr lang="pt-BR" sz="1600" dirty="0"/>
              <a:t>ativada em nível constante por </a:t>
            </a:r>
            <a:r>
              <a:rPr lang="pt-BR" sz="1600" b="1" dirty="0"/>
              <a:t>“</a:t>
            </a:r>
            <a:r>
              <a:rPr lang="pt-BR" sz="1600" b="1" dirty="0" err="1"/>
              <a:t>tick</a:t>
            </a:r>
            <a:r>
              <a:rPr lang="pt-BR" sz="1600" b="1" dirty="0"/>
              <a:t>-over” (hidrólise espontânea) de C3</a:t>
            </a:r>
          </a:p>
        </p:txBody>
      </p:sp>
      <p:sp>
        <p:nvSpPr>
          <p:cNvPr id="24" name="CaixaDeTexto 23">
            <a:extLst>
              <a:ext uri="{FF2B5EF4-FFF2-40B4-BE49-F238E27FC236}">
                <a16:creationId xmlns:a16="http://schemas.microsoft.com/office/drawing/2014/main" id="{3C973B4A-AD8D-D63F-E1DB-194FF1455226}"/>
              </a:ext>
            </a:extLst>
          </p:cNvPr>
          <p:cNvSpPr txBox="1"/>
          <p:nvPr/>
        </p:nvSpPr>
        <p:spPr>
          <a:xfrm>
            <a:off x="8628924" y="3043557"/>
            <a:ext cx="2732537" cy="1077218"/>
          </a:xfrm>
          <a:prstGeom prst="rect">
            <a:avLst/>
          </a:prstGeom>
          <a:noFill/>
        </p:spPr>
        <p:txBody>
          <a:bodyPr wrap="square">
            <a:spAutoFit/>
          </a:bodyPr>
          <a:lstStyle/>
          <a:p>
            <a:pPr algn="ctr"/>
            <a:r>
              <a:rPr lang="pt-BR" sz="1600" dirty="0"/>
              <a:t>ativada pela </a:t>
            </a:r>
            <a:r>
              <a:rPr lang="pt-BR" sz="1600" b="1" dirty="0"/>
              <a:t>ligação a carboidratos </a:t>
            </a:r>
            <a:r>
              <a:rPr lang="pt-BR" sz="1600" dirty="0"/>
              <a:t>encontrados frequentemente na </a:t>
            </a:r>
            <a:r>
              <a:rPr lang="pt-BR" sz="1600" b="1" dirty="0"/>
              <a:t>superfície de micróbios </a:t>
            </a:r>
          </a:p>
        </p:txBody>
      </p:sp>
      <p:cxnSp>
        <p:nvCxnSpPr>
          <p:cNvPr id="26" name="Conector reto 25">
            <a:extLst>
              <a:ext uri="{FF2B5EF4-FFF2-40B4-BE49-F238E27FC236}">
                <a16:creationId xmlns:a16="http://schemas.microsoft.com/office/drawing/2014/main" id="{08AD4083-C40D-A151-1E03-9F6EC1E32767}"/>
              </a:ext>
            </a:extLst>
          </p:cNvPr>
          <p:cNvCxnSpPr/>
          <p:nvPr/>
        </p:nvCxnSpPr>
        <p:spPr>
          <a:xfrm>
            <a:off x="4152452" y="2431228"/>
            <a:ext cx="0" cy="1635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EAEC3940-4652-0C65-1C75-28BF9F2B2627}"/>
              </a:ext>
            </a:extLst>
          </p:cNvPr>
          <p:cNvCxnSpPr/>
          <p:nvPr/>
        </p:nvCxnSpPr>
        <p:spPr>
          <a:xfrm>
            <a:off x="8111266" y="2431228"/>
            <a:ext cx="0" cy="1635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Conector reto 34">
            <a:extLst>
              <a:ext uri="{FF2B5EF4-FFF2-40B4-BE49-F238E27FC236}">
                <a16:creationId xmlns:a16="http://schemas.microsoft.com/office/drawing/2014/main" id="{54C6B9C5-B268-B949-4F5F-5F9FFAAF2B00}"/>
              </a:ext>
            </a:extLst>
          </p:cNvPr>
          <p:cNvCxnSpPr/>
          <p:nvPr/>
        </p:nvCxnSpPr>
        <p:spPr>
          <a:xfrm>
            <a:off x="3883512" y="4712098"/>
            <a:ext cx="0" cy="1170127"/>
          </a:xfrm>
          <a:prstGeom prst="line">
            <a:avLst/>
          </a:prstGeom>
          <a:ln w="12700">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40" name="Agrupar 39">
            <a:extLst>
              <a:ext uri="{FF2B5EF4-FFF2-40B4-BE49-F238E27FC236}">
                <a16:creationId xmlns:a16="http://schemas.microsoft.com/office/drawing/2014/main" id="{9A5766F2-D9F9-2D29-14DB-4A63486BA388}"/>
              </a:ext>
            </a:extLst>
          </p:cNvPr>
          <p:cNvGrpSpPr/>
          <p:nvPr/>
        </p:nvGrpSpPr>
        <p:grpSpPr>
          <a:xfrm>
            <a:off x="4165329" y="4651406"/>
            <a:ext cx="7386482" cy="1410116"/>
            <a:chOff x="4165329" y="4651406"/>
            <a:chExt cx="7386482" cy="1410116"/>
          </a:xfrm>
        </p:grpSpPr>
        <p:sp>
          <p:nvSpPr>
            <p:cNvPr id="30" name="Content Placeholder 2">
              <a:extLst>
                <a:ext uri="{FF2B5EF4-FFF2-40B4-BE49-F238E27FC236}">
                  <a16:creationId xmlns:a16="http://schemas.microsoft.com/office/drawing/2014/main" id="{044E034B-1FC3-239C-493B-49C855D57151}"/>
                </a:ext>
              </a:extLst>
            </p:cNvPr>
            <p:cNvSpPr txBox="1">
              <a:spLocks/>
            </p:cNvSpPr>
            <p:nvPr/>
          </p:nvSpPr>
          <p:spPr>
            <a:xfrm>
              <a:off x="4165329" y="4873145"/>
              <a:ext cx="3228097" cy="913420"/>
            </a:xfrm>
            <a:prstGeom prst="rect">
              <a:avLst/>
            </a:prstGeom>
          </p:spPr>
          <p:txBody>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Aft>
                  <a:spcPts val="1200"/>
                </a:spcAft>
                <a:buNone/>
              </a:pPr>
              <a:r>
                <a:rPr lang="pt-BR" sz="1600" dirty="0">
                  <a:solidFill>
                    <a:schemeClr val="bg1"/>
                  </a:solidFill>
                </a:rPr>
                <a:t>O complemento </a:t>
              </a:r>
              <a:r>
                <a:rPr lang="pt-BR" sz="1600" b="1" dirty="0">
                  <a:solidFill>
                    <a:schemeClr val="bg1"/>
                  </a:solidFill>
                </a:rPr>
                <a:t>está sempre “ligado” através da via alternativa </a:t>
              </a:r>
              <a:r>
                <a:rPr lang="pt-BR" sz="1600" dirty="0">
                  <a:solidFill>
                    <a:schemeClr val="bg1"/>
                  </a:solidFill>
                </a:rPr>
                <a:t>para permitir resposta imune rápida</a:t>
              </a:r>
            </a:p>
          </p:txBody>
        </p:sp>
        <p:sp>
          <p:nvSpPr>
            <p:cNvPr id="31" name="Content Placeholder 2">
              <a:extLst>
                <a:ext uri="{FF2B5EF4-FFF2-40B4-BE49-F238E27FC236}">
                  <a16:creationId xmlns:a16="http://schemas.microsoft.com/office/drawing/2014/main" id="{E67D211D-09AF-94C0-65F3-05298B573760}"/>
                </a:ext>
              </a:extLst>
            </p:cNvPr>
            <p:cNvSpPr txBox="1">
              <a:spLocks/>
            </p:cNvSpPr>
            <p:nvPr/>
          </p:nvSpPr>
          <p:spPr>
            <a:xfrm>
              <a:off x="7590113" y="4651406"/>
              <a:ext cx="3961698" cy="1410116"/>
            </a:xfrm>
            <a:prstGeom prst="rect">
              <a:avLst/>
            </a:prstGeom>
          </p:spPr>
          <p:txBody>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2200" lvl="1" indent="0">
                <a:spcAft>
                  <a:spcPts val="1200"/>
                </a:spcAft>
                <a:buNone/>
                <a:tabLst>
                  <a:tab pos="4743450" algn="l"/>
                  <a:tab pos="4852988" algn="l"/>
                </a:tabLst>
              </a:pPr>
              <a:r>
                <a:rPr lang="pt-BR" sz="1400" dirty="0">
                  <a:solidFill>
                    <a:schemeClr val="bg1"/>
                  </a:solidFill>
                </a:rPr>
                <a:t>A amplificação rápida leva a </a:t>
              </a:r>
              <a:r>
                <a:rPr lang="pt-BR" sz="1400" b="1" dirty="0">
                  <a:solidFill>
                    <a:schemeClr val="bg1"/>
                  </a:solidFill>
                </a:rPr>
                <a:t>reações imunes</a:t>
              </a:r>
              <a:r>
                <a:rPr lang="pt-BR" sz="1400" b="1" i="0" u="none" strike="noStrike" cap="none" baseline="0" dirty="0">
                  <a:solidFill>
                    <a:schemeClr val="bg1"/>
                  </a:solidFill>
                  <a:uFillTx/>
                </a:rPr>
                <a:t> </a:t>
              </a:r>
              <a:r>
                <a:rPr lang="pt-BR" sz="1400" b="1" i="0" u="none" strike="noStrike" cap="none" baseline="0" dirty="0">
                  <a:solidFill>
                    <a:schemeClr val="bg1"/>
                  </a:solidFill>
                  <a:uFillTx/>
                  <a:cs typeface="Arial" panose="020B0604020202020204" pitchFamily="34" charset="0"/>
                </a:rPr>
                <a:t>poderosas e destrutivas</a:t>
              </a:r>
            </a:p>
            <a:p>
              <a:pPr marL="232200" lvl="1" indent="0">
                <a:spcAft>
                  <a:spcPts val="1200"/>
                </a:spcAft>
                <a:buNone/>
                <a:tabLst>
                  <a:tab pos="4743450" algn="l"/>
                  <a:tab pos="4852988" algn="l"/>
                </a:tabLst>
              </a:pPr>
              <a:r>
                <a:rPr lang="pt-BR" sz="1400" dirty="0">
                  <a:solidFill>
                    <a:schemeClr val="bg1"/>
                  </a:solidFill>
                </a:rPr>
                <a:t>As proteínas reguladoras do complemento </a:t>
              </a:r>
              <a:r>
                <a:rPr lang="pt-BR" sz="1400" b="1" dirty="0">
                  <a:solidFill>
                    <a:schemeClr val="bg1"/>
                  </a:solidFill>
                </a:rPr>
                <a:t>mantêm a amplificação sob controle </a:t>
              </a:r>
              <a:r>
                <a:rPr lang="pt-BR" sz="1400" dirty="0">
                  <a:solidFill>
                    <a:schemeClr val="bg1"/>
                  </a:solidFill>
                </a:rPr>
                <a:t>e </a:t>
              </a:r>
              <a:r>
                <a:rPr lang="pt-BR" sz="1400" b="1" dirty="0">
                  <a:solidFill>
                    <a:schemeClr val="bg1"/>
                  </a:solidFill>
                </a:rPr>
                <a:t>previnem a ativação desregulada do complemento</a:t>
              </a:r>
            </a:p>
            <a:p>
              <a:pPr marL="232200" lvl="1" indent="0">
                <a:spcAft>
                  <a:spcPts val="1200"/>
                </a:spcAft>
                <a:buNone/>
              </a:pPr>
              <a:endParaRPr lang="pt-BR" sz="1400" dirty="0">
                <a:solidFill>
                  <a:schemeClr val="bg1"/>
                </a:solidFill>
              </a:endParaRPr>
            </a:p>
          </p:txBody>
        </p:sp>
        <p:sp>
          <p:nvSpPr>
            <p:cNvPr id="37" name="Forma Livre: Forma 36">
              <a:extLst>
                <a:ext uri="{FF2B5EF4-FFF2-40B4-BE49-F238E27FC236}">
                  <a16:creationId xmlns:a16="http://schemas.microsoft.com/office/drawing/2014/main" id="{E08CA9F4-10CF-99CF-7095-BE1834409696}"/>
                </a:ext>
              </a:extLst>
            </p:cNvPr>
            <p:cNvSpPr/>
            <p:nvPr/>
          </p:nvSpPr>
          <p:spPr>
            <a:xfrm>
              <a:off x="7524630" y="4916246"/>
              <a:ext cx="290456" cy="731520"/>
            </a:xfrm>
            <a:custGeom>
              <a:avLst/>
              <a:gdLst>
                <a:gd name="connsiteX0" fmla="*/ 279699 w 290456"/>
                <a:gd name="connsiteY0" fmla="*/ 0 h 742277"/>
                <a:gd name="connsiteX1" fmla="*/ 0 w 290456"/>
                <a:gd name="connsiteY1" fmla="*/ 0 h 742277"/>
                <a:gd name="connsiteX2" fmla="*/ 0 w 290456"/>
                <a:gd name="connsiteY2" fmla="*/ 742277 h 742277"/>
                <a:gd name="connsiteX3" fmla="*/ 290456 w 290456"/>
                <a:gd name="connsiteY3" fmla="*/ 742277 h 742277"/>
              </a:gdLst>
              <a:ahLst/>
              <a:cxnLst>
                <a:cxn ang="0">
                  <a:pos x="connsiteX0" y="connsiteY0"/>
                </a:cxn>
                <a:cxn ang="0">
                  <a:pos x="connsiteX1" y="connsiteY1"/>
                </a:cxn>
                <a:cxn ang="0">
                  <a:pos x="connsiteX2" y="connsiteY2"/>
                </a:cxn>
                <a:cxn ang="0">
                  <a:pos x="connsiteX3" y="connsiteY3"/>
                </a:cxn>
              </a:cxnLst>
              <a:rect l="l" t="t" r="r" b="b"/>
              <a:pathLst>
                <a:path w="290456" h="742277">
                  <a:moveTo>
                    <a:pt x="279699" y="0"/>
                  </a:moveTo>
                  <a:lnTo>
                    <a:pt x="0" y="0"/>
                  </a:lnTo>
                  <a:lnTo>
                    <a:pt x="0" y="742277"/>
                  </a:lnTo>
                  <a:lnTo>
                    <a:pt x="290456" y="74227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9" name="Gráfico 44">
            <a:extLst>
              <a:ext uri="{FF2B5EF4-FFF2-40B4-BE49-F238E27FC236}">
                <a16:creationId xmlns:a16="http://schemas.microsoft.com/office/drawing/2014/main" id="{8CAE37A4-84DB-4C37-7916-949D7C202683}"/>
              </a:ext>
            </a:extLst>
          </p:cNvPr>
          <p:cNvGrpSpPr/>
          <p:nvPr/>
        </p:nvGrpSpPr>
        <p:grpSpPr>
          <a:xfrm>
            <a:off x="640190" y="4944688"/>
            <a:ext cx="674636" cy="674636"/>
            <a:chOff x="-1105356" y="3335944"/>
            <a:chExt cx="590550" cy="590550"/>
          </a:xfrm>
          <a:solidFill>
            <a:schemeClr val="bg1"/>
          </a:solidFill>
        </p:grpSpPr>
        <p:sp>
          <p:nvSpPr>
            <p:cNvPr id="59" name="Forma Livre: Forma 58">
              <a:extLst>
                <a:ext uri="{FF2B5EF4-FFF2-40B4-BE49-F238E27FC236}">
                  <a16:creationId xmlns:a16="http://schemas.microsoft.com/office/drawing/2014/main" id="{48932D5C-3741-897B-C264-B0E420AEA7B8}"/>
                </a:ext>
              </a:extLst>
            </p:cNvPr>
            <p:cNvSpPr/>
            <p:nvPr/>
          </p:nvSpPr>
          <p:spPr>
            <a:xfrm>
              <a:off x="-914856" y="3335944"/>
              <a:ext cx="209550" cy="209550"/>
            </a:xfrm>
            <a:custGeom>
              <a:avLst/>
              <a:gdLst>
                <a:gd name="connsiteX0" fmla="*/ 19050 w 209550"/>
                <a:gd name="connsiteY0" fmla="*/ 114300 h 209550"/>
                <a:gd name="connsiteX1" fmla="*/ 38862 w 209550"/>
                <a:gd name="connsiteY1" fmla="*/ 114300 h 209550"/>
                <a:gd name="connsiteX2" fmla="*/ 51454 w 209550"/>
                <a:gd name="connsiteY2" fmla="*/ 144628 h 209550"/>
                <a:gd name="connsiteX3" fmla="*/ 38100 w 209550"/>
                <a:gd name="connsiteY3" fmla="*/ 157982 h 209550"/>
                <a:gd name="connsiteX4" fmla="*/ 25784 w 209550"/>
                <a:gd name="connsiteY4" fmla="*/ 145666 h 209550"/>
                <a:gd name="connsiteX5" fmla="*/ 12316 w 209550"/>
                <a:gd name="connsiteY5" fmla="*/ 159134 h 209550"/>
                <a:gd name="connsiteX6" fmla="*/ 50416 w 209550"/>
                <a:gd name="connsiteY6" fmla="*/ 197234 h 209550"/>
                <a:gd name="connsiteX7" fmla="*/ 63884 w 209550"/>
                <a:gd name="connsiteY7" fmla="*/ 183766 h 209550"/>
                <a:gd name="connsiteX8" fmla="*/ 51568 w 209550"/>
                <a:gd name="connsiteY8" fmla="*/ 171450 h 209550"/>
                <a:gd name="connsiteX9" fmla="*/ 64922 w 209550"/>
                <a:gd name="connsiteY9" fmla="*/ 158096 h 209550"/>
                <a:gd name="connsiteX10" fmla="*/ 95250 w 209550"/>
                <a:gd name="connsiteY10" fmla="*/ 170688 h 209550"/>
                <a:gd name="connsiteX11" fmla="*/ 95250 w 209550"/>
                <a:gd name="connsiteY11" fmla="*/ 190500 h 209550"/>
                <a:gd name="connsiteX12" fmla="*/ 76200 w 209550"/>
                <a:gd name="connsiteY12" fmla="*/ 190500 h 209550"/>
                <a:gd name="connsiteX13" fmla="*/ 76200 w 209550"/>
                <a:gd name="connsiteY13" fmla="*/ 209550 h 209550"/>
                <a:gd name="connsiteX14" fmla="*/ 133350 w 209550"/>
                <a:gd name="connsiteY14" fmla="*/ 209550 h 209550"/>
                <a:gd name="connsiteX15" fmla="*/ 133350 w 209550"/>
                <a:gd name="connsiteY15" fmla="*/ 190500 h 209550"/>
                <a:gd name="connsiteX16" fmla="*/ 114300 w 209550"/>
                <a:gd name="connsiteY16" fmla="*/ 190500 h 209550"/>
                <a:gd name="connsiteX17" fmla="*/ 114300 w 209550"/>
                <a:gd name="connsiteY17" fmla="*/ 170688 h 209550"/>
                <a:gd name="connsiteX18" fmla="*/ 144628 w 209550"/>
                <a:gd name="connsiteY18" fmla="*/ 158096 h 209550"/>
                <a:gd name="connsiteX19" fmla="*/ 157982 w 209550"/>
                <a:gd name="connsiteY19" fmla="*/ 171450 h 209550"/>
                <a:gd name="connsiteX20" fmla="*/ 145666 w 209550"/>
                <a:gd name="connsiteY20" fmla="*/ 183766 h 209550"/>
                <a:gd name="connsiteX21" fmla="*/ 159134 w 209550"/>
                <a:gd name="connsiteY21" fmla="*/ 197234 h 209550"/>
                <a:gd name="connsiteX22" fmla="*/ 197234 w 209550"/>
                <a:gd name="connsiteY22" fmla="*/ 159134 h 209550"/>
                <a:gd name="connsiteX23" fmla="*/ 183766 w 209550"/>
                <a:gd name="connsiteY23" fmla="*/ 145666 h 209550"/>
                <a:gd name="connsiteX24" fmla="*/ 171450 w 209550"/>
                <a:gd name="connsiteY24" fmla="*/ 157982 h 209550"/>
                <a:gd name="connsiteX25" fmla="*/ 158096 w 209550"/>
                <a:gd name="connsiteY25" fmla="*/ 144628 h 209550"/>
                <a:gd name="connsiteX26" fmla="*/ 170688 w 209550"/>
                <a:gd name="connsiteY26" fmla="*/ 114300 h 209550"/>
                <a:gd name="connsiteX27" fmla="*/ 190500 w 209550"/>
                <a:gd name="connsiteY27" fmla="*/ 114300 h 209550"/>
                <a:gd name="connsiteX28" fmla="*/ 190500 w 209550"/>
                <a:gd name="connsiteY28" fmla="*/ 133350 h 209550"/>
                <a:gd name="connsiteX29" fmla="*/ 209550 w 209550"/>
                <a:gd name="connsiteY29" fmla="*/ 133350 h 209550"/>
                <a:gd name="connsiteX30" fmla="*/ 209550 w 209550"/>
                <a:gd name="connsiteY30" fmla="*/ 76200 h 209550"/>
                <a:gd name="connsiteX31" fmla="*/ 190500 w 209550"/>
                <a:gd name="connsiteY31" fmla="*/ 76200 h 209550"/>
                <a:gd name="connsiteX32" fmla="*/ 190500 w 209550"/>
                <a:gd name="connsiteY32" fmla="*/ 95250 h 209550"/>
                <a:gd name="connsiteX33" fmla="*/ 170688 w 209550"/>
                <a:gd name="connsiteY33" fmla="*/ 95250 h 209550"/>
                <a:gd name="connsiteX34" fmla="*/ 158096 w 209550"/>
                <a:gd name="connsiteY34" fmla="*/ 64922 h 209550"/>
                <a:gd name="connsiteX35" fmla="*/ 171450 w 209550"/>
                <a:gd name="connsiteY35" fmla="*/ 51568 h 209550"/>
                <a:gd name="connsiteX36" fmla="*/ 183766 w 209550"/>
                <a:gd name="connsiteY36" fmla="*/ 63884 h 209550"/>
                <a:gd name="connsiteX37" fmla="*/ 197234 w 209550"/>
                <a:gd name="connsiteY37" fmla="*/ 50416 h 209550"/>
                <a:gd name="connsiteX38" fmla="*/ 159134 w 209550"/>
                <a:gd name="connsiteY38" fmla="*/ 12316 h 209550"/>
                <a:gd name="connsiteX39" fmla="*/ 145666 w 209550"/>
                <a:gd name="connsiteY39" fmla="*/ 25784 h 209550"/>
                <a:gd name="connsiteX40" fmla="*/ 157982 w 209550"/>
                <a:gd name="connsiteY40" fmla="*/ 38100 h 209550"/>
                <a:gd name="connsiteX41" fmla="*/ 144628 w 209550"/>
                <a:gd name="connsiteY41" fmla="*/ 51454 h 209550"/>
                <a:gd name="connsiteX42" fmla="*/ 114300 w 209550"/>
                <a:gd name="connsiteY42" fmla="*/ 38862 h 209550"/>
                <a:gd name="connsiteX43" fmla="*/ 114300 w 209550"/>
                <a:gd name="connsiteY43" fmla="*/ 19050 h 209550"/>
                <a:gd name="connsiteX44" fmla="*/ 133350 w 209550"/>
                <a:gd name="connsiteY44" fmla="*/ 19050 h 209550"/>
                <a:gd name="connsiteX45" fmla="*/ 133350 w 209550"/>
                <a:gd name="connsiteY45" fmla="*/ 0 h 209550"/>
                <a:gd name="connsiteX46" fmla="*/ 76200 w 209550"/>
                <a:gd name="connsiteY46" fmla="*/ 0 h 209550"/>
                <a:gd name="connsiteX47" fmla="*/ 76200 w 209550"/>
                <a:gd name="connsiteY47" fmla="*/ 19050 h 209550"/>
                <a:gd name="connsiteX48" fmla="*/ 95250 w 209550"/>
                <a:gd name="connsiteY48" fmla="*/ 19050 h 209550"/>
                <a:gd name="connsiteX49" fmla="*/ 95250 w 209550"/>
                <a:gd name="connsiteY49" fmla="*/ 38862 h 209550"/>
                <a:gd name="connsiteX50" fmla="*/ 64922 w 209550"/>
                <a:gd name="connsiteY50" fmla="*/ 51454 h 209550"/>
                <a:gd name="connsiteX51" fmla="*/ 51568 w 209550"/>
                <a:gd name="connsiteY51" fmla="*/ 38100 h 209550"/>
                <a:gd name="connsiteX52" fmla="*/ 63884 w 209550"/>
                <a:gd name="connsiteY52" fmla="*/ 25784 h 209550"/>
                <a:gd name="connsiteX53" fmla="*/ 50416 w 209550"/>
                <a:gd name="connsiteY53" fmla="*/ 12316 h 209550"/>
                <a:gd name="connsiteX54" fmla="*/ 12316 w 209550"/>
                <a:gd name="connsiteY54" fmla="*/ 50416 h 209550"/>
                <a:gd name="connsiteX55" fmla="*/ 25784 w 209550"/>
                <a:gd name="connsiteY55" fmla="*/ 63884 h 209550"/>
                <a:gd name="connsiteX56" fmla="*/ 38100 w 209550"/>
                <a:gd name="connsiteY56" fmla="*/ 51568 h 209550"/>
                <a:gd name="connsiteX57" fmla="*/ 51454 w 209550"/>
                <a:gd name="connsiteY57" fmla="*/ 64922 h 209550"/>
                <a:gd name="connsiteX58" fmla="*/ 38862 w 209550"/>
                <a:gd name="connsiteY58" fmla="*/ 95250 h 209550"/>
                <a:gd name="connsiteX59" fmla="*/ 19050 w 209550"/>
                <a:gd name="connsiteY59" fmla="*/ 95250 h 209550"/>
                <a:gd name="connsiteX60" fmla="*/ 19050 w 209550"/>
                <a:gd name="connsiteY60" fmla="*/ 76200 h 209550"/>
                <a:gd name="connsiteX61" fmla="*/ 0 w 209550"/>
                <a:gd name="connsiteY61" fmla="*/ 76200 h 209550"/>
                <a:gd name="connsiteX62" fmla="*/ 0 w 209550"/>
                <a:gd name="connsiteY62" fmla="*/ 133350 h 209550"/>
                <a:gd name="connsiteX63" fmla="*/ 19050 w 209550"/>
                <a:gd name="connsiteY63" fmla="*/ 133350 h 209550"/>
                <a:gd name="connsiteX64" fmla="*/ 19050 w 209550"/>
                <a:gd name="connsiteY64" fmla="*/ 114300 h 209550"/>
                <a:gd name="connsiteX65" fmla="*/ 91659 w 209550"/>
                <a:gd name="connsiteY65" fmla="*/ 150333 h 209550"/>
                <a:gd name="connsiteX66" fmla="*/ 76238 w 209550"/>
                <a:gd name="connsiteY66" fmla="*/ 142665 h 209550"/>
                <a:gd name="connsiteX67" fmla="*/ 85725 w 209550"/>
                <a:gd name="connsiteY67" fmla="*/ 133350 h 209550"/>
                <a:gd name="connsiteX68" fmla="*/ 95250 w 209550"/>
                <a:gd name="connsiteY68" fmla="*/ 142875 h 209550"/>
                <a:gd name="connsiteX69" fmla="*/ 91659 w 209550"/>
                <a:gd name="connsiteY69" fmla="*/ 150333 h 209550"/>
                <a:gd name="connsiteX70" fmla="*/ 142875 w 209550"/>
                <a:gd name="connsiteY70" fmla="*/ 114300 h 209550"/>
                <a:gd name="connsiteX71" fmla="*/ 133350 w 209550"/>
                <a:gd name="connsiteY71" fmla="*/ 104775 h 209550"/>
                <a:gd name="connsiteX72" fmla="*/ 142875 w 209550"/>
                <a:gd name="connsiteY72" fmla="*/ 95250 h 209550"/>
                <a:gd name="connsiteX73" fmla="*/ 152400 w 209550"/>
                <a:gd name="connsiteY73" fmla="*/ 104775 h 209550"/>
                <a:gd name="connsiteX74" fmla="*/ 142875 w 209550"/>
                <a:gd name="connsiteY74" fmla="*/ 114300 h 209550"/>
                <a:gd name="connsiteX75" fmla="*/ 142646 w 209550"/>
                <a:gd name="connsiteY75" fmla="*/ 76219 h 209550"/>
                <a:gd name="connsiteX76" fmla="*/ 114300 w 209550"/>
                <a:gd name="connsiteY76" fmla="*/ 104775 h 209550"/>
                <a:gd name="connsiteX77" fmla="*/ 142646 w 209550"/>
                <a:gd name="connsiteY77" fmla="*/ 133331 h 209550"/>
                <a:gd name="connsiteX78" fmla="*/ 112957 w 209550"/>
                <a:gd name="connsiteY78" fmla="*/ 151581 h 209550"/>
                <a:gd name="connsiteX79" fmla="*/ 114300 w 209550"/>
                <a:gd name="connsiteY79" fmla="*/ 142875 h 209550"/>
                <a:gd name="connsiteX80" fmla="*/ 85725 w 209550"/>
                <a:gd name="connsiteY80" fmla="*/ 114300 h 209550"/>
                <a:gd name="connsiteX81" fmla="*/ 62532 w 209550"/>
                <a:gd name="connsiteY81" fmla="*/ 126302 h 209550"/>
                <a:gd name="connsiteX82" fmla="*/ 57150 w 209550"/>
                <a:gd name="connsiteY82" fmla="*/ 104775 h 209550"/>
                <a:gd name="connsiteX83" fmla="*/ 62532 w 209550"/>
                <a:gd name="connsiteY83" fmla="*/ 83249 h 209550"/>
                <a:gd name="connsiteX84" fmla="*/ 85725 w 209550"/>
                <a:gd name="connsiteY84" fmla="*/ 95250 h 209550"/>
                <a:gd name="connsiteX85" fmla="*/ 114300 w 209550"/>
                <a:gd name="connsiteY85" fmla="*/ 66675 h 209550"/>
                <a:gd name="connsiteX86" fmla="*/ 112957 w 209550"/>
                <a:gd name="connsiteY86" fmla="*/ 57979 h 209550"/>
                <a:gd name="connsiteX87" fmla="*/ 142646 w 209550"/>
                <a:gd name="connsiteY87" fmla="*/ 76219 h 209550"/>
                <a:gd name="connsiteX88" fmla="*/ 95250 w 209550"/>
                <a:gd name="connsiteY88" fmla="*/ 66675 h 209550"/>
                <a:gd name="connsiteX89" fmla="*/ 85725 w 209550"/>
                <a:gd name="connsiteY89" fmla="*/ 76200 h 209550"/>
                <a:gd name="connsiteX90" fmla="*/ 76238 w 209550"/>
                <a:gd name="connsiteY90" fmla="*/ 66885 h 209550"/>
                <a:gd name="connsiteX91" fmla="*/ 91659 w 209550"/>
                <a:gd name="connsiteY91" fmla="*/ 59217 h 209550"/>
                <a:gd name="connsiteX92" fmla="*/ 95250 w 209550"/>
                <a:gd name="connsiteY92" fmla="*/ 6667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9550" h="209550">
                  <a:moveTo>
                    <a:pt x="19050" y="114300"/>
                  </a:moveTo>
                  <a:lnTo>
                    <a:pt x="38862" y="114300"/>
                  </a:lnTo>
                  <a:cubicBezTo>
                    <a:pt x="40481" y="125568"/>
                    <a:pt x="44920" y="135912"/>
                    <a:pt x="51454" y="144628"/>
                  </a:cubicBezTo>
                  <a:lnTo>
                    <a:pt x="38100" y="157982"/>
                  </a:lnTo>
                  <a:lnTo>
                    <a:pt x="25784" y="145666"/>
                  </a:lnTo>
                  <a:lnTo>
                    <a:pt x="12316" y="159134"/>
                  </a:lnTo>
                  <a:lnTo>
                    <a:pt x="50416" y="197234"/>
                  </a:lnTo>
                  <a:lnTo>
                    <a:pt x="63884" y="183766"/>
                  </a:lnTo>
                  <a:lnTo>
                    <a:pt x="51568" y="171450"/>
                  </a:lnTo>
                  <a:lnTo>
                    <a:pt x="64922" y="158096"/>
                  </a:lnTo>
                  <a:cubicBezTo>
                    <a:pt x="73638" y="164630"/>
                    <a:pt x="83982" y="169059"/>
                    <a:pt x="95250" y="170688"/>
                  </a:cubicBezTo>
                  <a:lnTo>
                    <a:pt x="95250" y="190500"/>
                  </a:lnTo>
                  <a:lnTo>
                    <a:pt x="76200" y="190500"/>
                  </a:lnTo>
                  <a:lnTo>
                    <a:pt x="76200" y="209550"/>
                  </a:lnTo>
                  <a:lnTo>
                    <a:pt x="133350" y="209550"/>
                  </a:lnTo>
                  <a:lnTo>
                    <a:pt x="133350" y="190500"/>
                  </a:lnTo>
                  <a:lnTo>
                    <a:pt x="114300" y="190500"/>
                  </a:lnTo>
                  <a:lnTo>
                    <a:pt x="114300" y="170688"/>
                  </a:lnTo>
                  <a:cubicBezTo>
                    <a:pt x="125568" y="169069"/>
                    <a:pt x="135912" y="164630"/>
                    <a:pt x="144628" y="158096"/>
                  </a:cubicBezTo>
                  <a:lnTo>
                    <a:pt x="157982" y="171450"/>
                  </a:lnTo>
                  <a:lnTo>
                    <a:pt x="145666" y="183766"/>
                  </a:lnTo>
                  <a:lnTo>
                    <a:pt x="159134" y="197234"/>
                  </a:lnTo>
                  <a:lnTo>
                    <a:pt x="197234" y="159134"/>
                  </a:lnTo>
                  <a:lnTo>
                    <a:pt x="183766" y="145666"/>
                  </a:lnTo>
                  <a:lnTo>
                    <a:pt x="171450" y="157982"/>
                  </a:lnTo>
                  <a:lnTo>
                    <a:pt x="158096" y="144628"/>
                  </a:lnTo>
                  <a:cubicBezTo>
                    <a:pt x="164630" y="135912"/>
                    <a:pt x="169059" y="125568"/>
                    <a:pt x="170688" y="114300"/>
                  </a:cubicBezTo>
                  <a:lnTo>
                    <a:pt x="190500" y="114300"/>
                  </a:lnTo>
                  <a:lnTo>
                    <a:pt x="190500" y="133350"/>
                  </a:lnTo>
                  <a:lnTo>
                    <a:pt x="209550" y="133350"/>
                  </a:lnTo>
                  <a:lnTo>
                    <a:pt x="209550" y="76200"/>
                  </a:lnTo>
                  <a:lnTo>
                    <a:pt x="190500" y="76200"/>
                  </a:lnTo>
                  <a:lnTo>
                    <a:pt x="190500" y="95250"/>
                  </a:lnTo>
                  <a:lnTo>
                    <a:pt x="170688" y="95250"/>
                  </a:lnTo>
                  <a:cubicBezTo>
                    <a:pt x="169069" y="83982"/>
                    <a:pt x="164630" y="73638"/>
                    <a:pt x="158096" y="64922"/>
                  </a:cubicBezTo>
                  <a:lnTo>
                    <a:pt x="171450" y="51568"/>
                  </a:lnTo>
                  <a:lnTo>
                    <a:pt x="183766" y="63884"/>
                  </a:lnTo>
                  <a:lnTo>
                    <a:pt x="197234" y="50416"/>
                  </a:lnTo>
                  <a:lnTo>
                    <a:pt x="159134" y="12316"/>
                  </a:lnTo>
                  <a:lnTo>
                    <a:pt x="145666" y="25784"/>
                  </a:lnTo>
                  <a:lnTo>
                    <a:pt x="157982" y="38100"/>
                  </a:lnTo>
                  <a:lnTo>
                    <a:pt x="144628" y="51454"/>
                  </a:lnTo>
                  <a:cubicBezTo>
                    <a:pt x="135912" y="44920"/>
                    <a:pt x="125568" y="40481"/>
                    <a:pt x="114300" y="38862"/>
                  </a:cubicBezTo>
                  <a:lnTo>
                    <a:pt x="114300" y="19050"/>
                  </a:lnTo>
                  <a:lnTo>
                    <a:pt x="133350" y="19050"/>
                  </a:lnTo>
                  <a:lnTo>
                    <a:pt x="133350" y="0"/>
                  </a:lnTo>
                  <a:lnTo>
                    <a:pt x="76200" y="0"/>
                  </a:lnTo>
                  <a:lnTo>
                    <a:pt x="76200" y="19050"/>
                  </a:lnTo>
                  <a:lnTo>
                    <a:pt x="95250" y="19050"/>
                  </a:lnTo>
                  <a:lnTo>
                    <a:pt x="95250" y="38862"/>
                  </a:lnTo>
                  <a:cubicBezTo>
                    <a:pt x="83982" y="40481"/>
                    <a:pt x="73638" y="44920"/>
                    <a:pt x="64922" y="51454"/>
                  </a:cubicBezTo>
                  <a:lnTo>
                    <a:pt x="51568" y="38100"/>
                  </a:lnTo>
                  <a:lnTo>
                    <a:pt x="63884" y="25784"/>
                  </a:lnTo>
                  <a:lnTo>
                    <a:pt x="50416" y="12316"/>
                  </a:lnTo>
                  <a:lnTo>
                    <a:pt x="12316" y="50416"/>
                  </a:lnTo>
                  <a:lnTo>
                    <a:pt x="25784" y="63884"/>
                  </a:lnTo>
                  <a:lnTo>
                    <a:pt x="38100" y="51568"/>
                  </a:lnTo>
                  <a:lnTo>
                    <a:pt x="51454" y="64922"/>
                  </a:lnTo>
                  <a:cubicBezTo>
                    <a:pt x="44920" y="73638"/>
                    <a:pt x="40481" y="83982"/>
                    <a:pt x="38862" y="95250"/>
                  </a:cubicBezTo>
                  <a:lnTo>
                    <a:pt x="19050" y="95250"/>
                  </a:lnTo>
                  <a:lnTo>
                    <a:pt x="19050" y="76200"/>
                  </a:lnTo>
                  <a:lnTo>
                    <a:pt x="0" y="76200"/>
                  </a:lnTo>
                  <a:lnTo>
                    <a:pt x="0" y="133350"/>
                  </a:lnTo>
                  <a:lnTo>
                    <a:pt x="19050" y="133350"/>
                  </a:lnTo>
                  <a:lnTo>
                    <a:pt x="19050" y="114300"/>
                  </a:lnTo>
                  <a:close/>
                  <a:moveTo>
                    <a:pt x="91659" y="150333"/>
                  </a:moveTo>
                  <a:cubicBezTo>
                    <a:pt x="86011" y="148704"/>
                    <a:pt x="80820" y="146123"/>
                    <a:pt x="76238" y="142665"/>
                  </a:cubicBezTo>
                  <a:cubicBezTo>
                    <a:pt x="76362" y="137522"/>
                    <a:pt x="80543" y="133350"/>
                    <a:pt x="85725" y="133350"/>
                  </a:cubicBezTo>
                  <a:cubicBezTo>
                    <a:pt x="90973" y="133350"/>
                    <a:pt x="95250" y="137627"/>
                    <a:pt x="95250" y="142875"/>
                  </a:cubicBezTo>
                  <a:cubicBezTo>
                    <a:pt x="95250" y="145856"/>
                    <a:pt x="93897" y="148561"/>
                    <a:pt x="91659" y="150333"/>
                  </a:cubicBezTo>
                  <a:close/>
                  <a:moveTo>
                    <a:pt x="142875" y="114300"/>
                  </a:moveTo>
                  <a:cubicBezTo>
                    <a:pt x="137627" y="114300"/>
                    <a:pt x="133350" y="110023"/>
                    <a:pt x="133350" y="104775"/>
                  </a:cubicBezTo>
                  <a:cubicBezTo>
                    <a:pt x="133350" y="99527"/>
                    <a:pt x="137627" y="95250"/>
                    <a:pt x="142875" y="95250"/>
                  </a:cubicBezTo>
                  <a:cubicBezTo>
                    <a:pt x="148123" y="95250"/>
                    <a:pt x="152400" y="99527"/>
                    <a:pt x="152400" y="104775"/>
                  </a:cubicBezTo>
                  <a:cubicBezTo>
                    <a:pt x="152400" y="110023"/>
                    <a:pt x="148123" y="114300"/>
                    <a:pt x="142875" y="114300"/>
                  </a:cubicBezTo>
                  <a:close/>
                  <a:moveTo>
                    <a:pt x="142646" y="76219"/>
                  </a:moveTo>
                  <a:cubicBezTo>
                    <a:pt x="126997" y="76343"/>
                    <a:pt x="114300" y="89097"/>
                    <a:pt x="114300" y="104775"/>
                  </a:cubicBezTo>
                  <a:cubicBezTo>
                    <a:pt x="114300" y="120453"/>
                    <a:pt x="126997" y="133207"/>
                    <a:pt x="142646" y="133331"/>
                  </a:cubicBezTo>
                  <a:cubicBezTo>
                    <a:pt x="135522" y="142761"/>
                    <a:pt x="125063" y="149457"/>
                    <a:pt x="112957" y="151581"/>
                  </a:cubicBezTo>
                  <a:cubicBezTo>
                    <a:pt x="113833" y="148819"/>
                    <a:pt x="114300" y="145894"/>
                    <a:pt x="114300" y="142875"/>
                  </a:cubicBezTo>
                  <a:cubicBezTo>
                    <a:pt x="114300" y="127121"/>
                    <a:pt x="101479" y="114300"/>
                    <a:pt x="85725" y="114300"/>
                  </a:cubicBezTo>
                  <a:cubicBezTo>
                    <a:pt x="76162" y="114300"/>
                    <a:pt x="67723" y="119063"/>
                    <a:pt x="62532" y="126302"/>
                  </a:cubicBezTo>
                  <a:cubicBezTo>
                    <a:pt x="59207" y="119805"/>
                    <a:pt x="57150" y="112566"/>
                    <a:pt x="57150" y="104775"/>
                  </a:cubicBezTo>
                  <a:cubicBezTo>
                    <a:pt x="57150" y="96984"/>
                    <a:pt x="59207" y="89745"/>
                    <a:pt x="62532" y="83249"/>
                  </a:cubicBezTo>
                  <a:cubicBezTo>
                    <a:pt x="67723" y="90488"/>
                    <a:pt x="76162" y="95250"/>
                    <a:pt x="85725" y="95250"/>
                  </a:cubicBezTo>
                  <a:cubicBezTo>
                    <a:pt x="101479" y="95250"/>
                    <a:pt x="114300" y="82429"/>
                    <a:pt x="114300" y="66675"/>
                  </a:cubicBezTo>
                  <a:cubicBezTo>
                    <a:pt x="114300" y="63656"/>
                    <a:pt x="113833" y="60731"/>
                    <a:pt x="112957" y="57979"/>
                  </a:cubicBezTo>
                  <a:cubicBezTo>
                    <a:pt x="125063" y="60093"/>
                    <a:pt x="135522" y="66789"/>
                    <a:pt x="142646" y="76219"/>
                  </a:cubicBezTo>
                  <a:close/>
                  <a:moveTo>
                    <a:pt x="95250" y="66675"/>
                  </a:moveTo>
                  <a:cubicBezTo>
                    <a:pt x="95250" y="71923"/>
                    <a:pt x="90973" y="76200"/>
                    <a:pt x="85725" y="76200"/>
                  </a:cubicBezTo>
                  <a:cubicBezTo>
                    <a:pt x="80543" y="76200"/>
                    <a:pt x="76362" y="72028"/>
                    <a:pt x="76238" y="66885"/>
                  </a:cubicBezTo>
                  <a:cubicBezTo>
                    <a:pt x="80820" y="63427"/>
                    <a:pt x="86011" y="60846"/>
                    <a:pt x="91659" y="59217"/>
                  </a:cubicBezTo>
                  <a:cubicBezTo>
                    <a:pt x="93897" y="60989"/>
                    <a:pt x="95250" y="63694"/>
                    <a:pt x="95250" y="66675"/>
                  </a:cubicBezTo>
                  <a:close/>
                </a:path>
              </a:pathLst>
            </a:custGeom>
            <a:grpFill/>
            <a:ln w="9525" cap="flat">
              <a:noFill/>
              <a:prstDash val="solid"/>
              <a:miter/>
            </a:ln>
          </p:spPr>
          <p:txBody>
            <a:bodyPr rtlCol="0" anchor="ctr"/>
            <a:lstStyle/>
            <a:p>
              <a:endParaRPr lang="pt-BR"/>
            </a:p>
          </p:txBody>
        </p:sp>
        <p:sp>
          <p:nvSpPr>
            <p:cNvPr id="60" name="Forma Livre: Forma 59">
              <a:extLst>
                <a:ext uri="{FF2B5EF4-FFF2-40B4-BE49-F238E27FC236}">
                  <a16:creationId xmlns:a16="http://schemas.microsoft.com/office/drawing/2014/main" id="{D8FA401C-FDF3-6F88-6F9F-72A9AB72C1E7}"/>
                </a:ext>
              </a:extLst>
            </p:cNvPr>
            <p:cNvSpPr/>
            <p:nvPr/>
          </p:nvSpPr>
          <p:spPr>
            <a:xfrm>
              <a:off x="-1105356" y="3374044"/>
              <a:ext cx="285750" cy="552450"/>
            </a:xfrm>
            <a:custGeom>
              <a:avLst/>
              <a:gdLst>
                <a:gd name="connsiteX0" fmla="*/ 260737 w 285750"/>
                <a:gd name="connsiteY0" fmla="*/ 250107 h 552450"/>
                <a:gd name="connsiteX1" fmla="*/ 266700 w 285750"/>
                <a:gd name="connsiteY1" fmla="*/ 230229 h 552450"/>
                <a:gd name="connsiteX2" fmla="*/ 256013 w 285750"/>
                <a:gd name="connsiteY2" fmla="*/ 204445 h 552450"/>
                <a:gd name="connsiteX3" fmla="*/ 62255 w 285750"/>
                <a:gd name="connsiteY3" fmla="*/ 10687 h 552450"/>
                <a:gd name="connsiteX4" fmla="*/ 36471 w 285750"/>
                <a:gd name="connsiteY4" fmla="*/ 0 h 552450"/>
                <a:gd name="connsiteX5" fmla="*/ 0 w 285750"/>
                <a:gd name="connsiteY5" fmla="*/ 36471 h 552450"/>
                <a:gd name="connsiteX6" fmla="*/ 10687 w 285750"/>
                <a:gd name="connsiteY6" fmla="*/ 62255 h 552450"/>
                <a:gd name="connsiteX7" fmla="*/ 204454 w 285750"/>
                <a:gd name="connsiteY7" fmla="*/ 256022 h 552450"/>
                <a:gd name="connsiteX8" fmla="*/ 216456 w 285750"/>
                <a:gd name="connsiteY8" fmla="*/ 264004 h 552450"/>
                <a:gd name="connsiteX9" fmla="*/ 209550 w 285750"/>
                <a:gd name="connsiteY9" fmla="*/ 285750 h 552450"/>
                <a:gd name="connsiteX10" fmla="*/ 209550 w 285750"/>
                <a:gd name="connsiteY10" fmla="*/ 514350 h 552450"/>
                <a:gd name="connsiteX11" fmla="*/ 247650 w 285750"/>
                <a:gd name="connsiteY11" fmla="*/ 552450 h 552450"/>
                <a:gd name="connsiteX12" fmla="*/ 285750 w 285750"/>
                <a:gd name="connsiteY12" fmla="*/ 514350 h 552450"/>
                <a:gd name="connsiteX13" fmla="*/ 285750 w 285750"/>
                <a:gd name="connsiteY13" fmla="*/ 285750 h 552450"/>
                <a:gd name="connsiteX14" fmla="*/ 260737 w 285750"/>
                <a:gd name="connsiteY14" fmla="*/ 250107 h 552450"/>
                <a:gd name="connsiteX15" fmla="*/ 266700 w 285750"/>
                <a:gd name="connsiteY15" fmla="*/ 285750 h 552450"/>
                <a:gd name="connsiteX16" fmla="*/ 266700 w 285750"/>
                <a:gd name="connsiteY16" fmla="*/ 342900 h 552450"/>
                <a:gd name="connsiteX17" fmla="*/ 228600 w 285750"/>
                <a:gd name="connsiteY17" fmla="*/ 342900 h 552450"/>
                <a:gd name="connsiteX18" fmla="*/ 228600 w 285750"/>
                <a:gd name="connsiteY18" fmla="*/ 285750 h 552450"/>
                <a:gd name="connsiteX19" fmla="*/ 247650 w 285750"/>
                <a:gd name="connsiteY19" fmla="*/ 266700 h 552450"/>
                <a:gd name="connsiteX20" fmla="*/ 266700 w 285750"/>
                <a:gd name="connsiteY20" fmla="*/ 285750 h 552450"/>
                <a:gd name="connsiteX21" fmla="*/ 228600 w 285750"/>
                <a:gd name="connsiteY21" fmla="*/ 361950 h 552450"/>
                <a:gd name="connsiteX22" fmla="*/ 266700 w 285750"/>
                <a:gd name="connsiteY22" fmla="*/ 361950 h 552450"/>
                <a:gd name="connsiteX23" fmla="*/ 266700 w 285750"/>
                <a:gd name="connsiteY23" fmla="*/ 438150 h 552450"/>
                <a:gd name="connsiteX24" fmla="*/ 228600 w 285750"/>
                <a:gd name="connsiteY24" fmla="*/ 438150 h 552450"/>
                <a:gd name="connsiteX25" fmla="*/ 228600 w 285750"/>
                <a:gd name="connsiteY25" fmla="*/ 361950 h 552450"/>
                <a:gd name="connsiteX26" fmla="*/ 181794 w 285750"/>
                <a:gd name="connsiteY26" fmla="*/ 157163 h 552450"/>
                <a:gd name="connsiteX27" fmla="*/ 157163 w 285750"/>
                <a:gd name="connsiteY27" fmla="*/ 181794 h 552450"/>
                <a:gd name="connsiteX28" fmla="*/ 84906 w 285750"/>
                <a:gd name="connsiteY28" fmla="*/ 109538 h 552450"/>
                <a:gd name="connsiteX29" fmla="*/ 109538 w 285750"/>
                <a:gd name="connsiteY29" fmla="*/ 84906 h 552450"/>
                <a:gd name="connsiteX30" fmla="*/ 181794 w 285750"/>
                <a:gd name="connsiteY30" fmla="*/ 157163 h 552450"/>
                <a:gd name="connsiteX31" fmla="*/ 19050 w 285750"/>
                <a:gd name="connsiteY31" fmla="*/ 36471 h 552450"/>
                <a:gd name="connsiteX32" fmla="*/ 36471 w 285750"/>
                <a:gd name="connsiteY32" fmla="*/ 19050 h 552450"/>
                <a:gd name="connsiteX33" fmla="*/ 48787 w 285750"/>
                <a:gd name="connsiteY33" fmla="*/ 24155 h 552450"/>
                <a:gd name="connsiteX34" fmla="*/ 96069 w 285750"/>
                <a:gd name="connsiteY34" fmla="*/ 71438 h 552450"/>
                <a:gd name="connsiteX35" fmla="*/ 71438 w 285750"/>
                <a:gd name="connsiteY35" fmla="*/ 96069 h 552450"/>
                <a:gd name="connsiteX36" fmla="*/ 24155 w 285750"/>
                <a:gd name="connsiteY36" fmla="*/ 48787 h 552450"/>
                <a:gd name="connsiteX37" fmla="*/ 19050 w 285750"/>
                <a:gd name="connsiteY37" fmla="*/ 36471 h 552450"/>
                <a:gd name="connsiteX38" fmla="*/ 170631 w 285750"/>
                <a:gd name="connsiteY38" fmla="*/ 195263 h 552450"/>
                <a:gd name="connsiteX39" fmla="*/ 195263 w 285750"/>
                <a:gd name="connsiteY39" fmla="*/ 170631 h 552450"/>
                <a:gd name="connsiteX40" fmla="*/ 242545 w 285750"/>
                <a:gd name="connsiteY40" fmla="*/ 217913 h 552450"/>
                <a:gd name="connsiteX41" fmla="*/ 247650 w 285750"/>
                <a:gd name="connsiteY41" fmla="*/ 230229 h 552450"/>
                <a:gd name="connsiteX42" fmla="*/ 230229 w 285750"/>
                <a:gd name="connsiteY42" fmla="*/ 247650 h 552450"/>
                <a:gd name="connsiteX43" fmla="*/ 217913 w 285750"/>
                <a:gd name="connsiteY43" fmla="*/ 242545 h 552450"/>
                <a:gd name="connsiteX44" fmla="*/ 170631 w 285750"/>
                <a:gd name="connsiteY44" fmla="*/ 195263 h 552450"/>
                <a:gd name="connsiteX45" fmla="*/ 247650 w 285750"/>
                <a:gd name="connsiteY45" fmla="*/ 533400 h 552450"/>
                <a:gd name="connsiteX46" fmla="*/ 228600 w 285750"/>
                <a:gd name="connsiteY46" fmla="*/ 514350 h 552450"/>
                <a:gd name="connsiteX47" fmla="*/ 228600 w 285750"/>
                <a:gd name="connsiteY47" fmla="*/ 457200 h 552450"/>
                <a:gd name="connsiteX48" fmla="*/ 266700 w 285750"/>
                <a:gd name="connsiteY48" fmla="*/ 457200 h 552450"/>
                <a:gd name="connsiteX49" fmla="*/ 266700 w 285750"/>
                <a:gd name="connsiteY49" fmla="*/ 514350 h 552450"/>
                <a:gd name="connsiteX50" fmla="*/ 247650 w 285750"/>
                <a:gd name="connsiteY50" fmla="*/ 53340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60737" y="250107"/>
                  </a:moveTo>
                  <a:cubicBezTo>
                    <a:pt x="264481" y="244383"/>
                    <a:pt x="266700" y="237573"/>
                    <a:pt x="266700" y="230229"/>
                  </a:cubicBezTo>
                  <a:cubicBezTo>
                    <a:pt x="266700" y="220494"/>
                    <a:pt x="262909" y="211331"/>
                    <a:pt x="256013" y="204445"/>
                  </a:cubicBezTo>
                  <a:lnTo>
                    <a:pt x="62255" y="10687"/>
                  </a:lnTo>
                  <a:cubicBezTo>
                    <a:pt x="55369" y="3791"/>
                    <a:pt x="46206" y="0"/>
                    <a:pt x="36471" y="0"/>
                  </a:cubicBezTo>
                  <a:cubicBezTo>
                    <a:pt x="16354" y="0"/>
                    <a:pt x="0" y="16354"/>
                    <a:pt x="0" y="36471"/>
                  </a:cubicBezTo>
                  <a:cubicBezTo>
                    <a:pt x="0" y="46206"/>
                    <a:pt x="3791" y="55369"/>
                    <a:pt x="10687" y="62255"/>
                  </a:cubicBezTo>
                  <a:lnTo>
                    <a:pt x="204454" y="256022"/>
                  </a:lnTo>
                  <a:cubicBezTo>
                    <a:pt x="207940" y="259509"/>
                    <a:pt x="212027" y="262195"/>
                    <a:pt x="216456" y="264004"/>
                  </a:cubicBezTo>
                  <a:cubicBezTo>
                    <a:pt x="212131" y="270177"/>
                    <a:pt x="209550" y="277654"/>
                    <a:pt x="209550" y="285750"/>
                  </a:cubicBezTo>
                  <a:lnTo>
                    <a:pt x="209550" y="514350"/>
                  </a:lnTo>
                  <a:cubicBezTo>
                    <a:pt x="209550" y="535362"/>
                    <a:pt x="226638" y="552450"/>
                    <a:pt x="247650" y="552450"/>
                  </a:cubicBezTo>
                  <a:cubicBezTo>
                    <a:pt x="268662" y="552450"/>
                    <a:pt x="285750" y="535362"/>
                    <a:pt x="285750" y="514350"/>
                  </a:cubicBezTo>
                  <a:lnTo>
                    <a:pt x="285750" y="285750"/>
                  </a:lnTo>
                  <a:cubicBezTo>
                    <a:pt x="285750" y="269357"/>
                    <a:pt x="275292" y="255480"/>
                    <a:pt x="260737" y="250107"/>
                  </a:cubicBezTo>
                  <a:close/>
                  <a:moveTo>
                    <a:pt x="266700" y="285750"/>
                  </a:moveTo>
                  <a:lnTo>
                    <a:pt x="266700" y="342900"/>
                  </a:lnTo>
                  <a:lnTo>
                    <a:pt x="228600" y="342900"/>
                  </a:lnTo>
                  <a:lnTo>
                    <a:pt x="228600" y="285750"/>
                  </a:lnTo>
                  <a:cubicBezTo>
                    <a:pt x="228600" y="275244"/>
                    <a:pt x="237144" y="266700"/>
                    <a:pt x="247650" y="266700"/>
                  </a:cubicBezTo>
                  <a:cubicBezTo>
                    <a:pt x="258156" y="266700"/>
                    <a:pt x="266700" y="275244"/>
                    <a:pt x="266700" y="285750"/>
                  </a:cubicBezTo>
                  <a:close/>
                  <a:moveTo>
                    <a:pt x="228600" y="361950"/>
                  </a:moveTo>
                  <a:lnTo>
                    <a:pt x="266700" y="361950"/>
                  </a:lnTo>
                  <a:lnTo>
                    <a:pt x="266700" y="438150"/>
                  </a:lnTo>
                  <a:lnTo>
                    <a:pt x="228600" y="438150"/>
                  </a:lnTo>
                  <a:lnTo>
                    <a:pt x="228600" y="361950"/>
                  </a:lnTo>
                  <a:close/>
                  <a:moveTo>
                    <a:pt x="181794" y="157163"/>
                  </a:moveTo>
                  <a:lnTo>
                    <a:pt x="157163" y="181794"/>
                  </a:lnTo>
                  <a:lnTo>
                    <a:pt x="84906" y="109538"/>
                  </a:lnTo>
                  <a:lnTo>
                    <a:pt x="109538" y="84906"/>
                  </a:lnTo>
                  <a:lnTo>
                    <a:pt x="181794" y="157163"/>
                  </a:lnTo>
                  <a:close/>
                  <a:moveTo>
                    <a:pt x="19050" y="36471"/>
                  </a:moveTo>
                  <a:cubicBezTo>
                    <a:pt x="19050" y="26861"/>
                    <a:pt x="26861" y="19050"/>
                    <a:pt x="36471" y="19050"/>
                  </a:cubicBezTo>
                  <a:cubicBezTo>
                    <a:pt x="41119" y="19050"/>
                    <a:pt x="45491" y="20860"/>
                    <a:pt x="48787" y="24155"/>
                  </a:cubicBezTo>
                  <a:lnTo>
                    <a:pt x="96069" y="71438"/>
                  </a:lnTo>
                  <a:lnTo>
                    <a:pt x="71438" y="96069"/>
                  </a:lnTo>
                  <a:lnTo>
                    <a:pt x="24155" y="48787"/>
                  </a:lnTo>
                  <a:cubicBezTo>
                    <a:pt x="20860" y="45491"/>
                    <a:pt x="19050" y="41119"/>
                    <a:pt x="19050" y="36471"/>
                  </a:cubicBezTo>
                  <a:close/>
                  <a:moveTo>
                    <a:pt x="170631" y="195263"/>
                  </a:moveTo>
                  <a:lnTo>
                    <a:pt x="195263" y="170631"/>
                  </a:lnTo>
                  <a:lnTo>
                    <a:pt x="242545" y="217913"/>
                  </a:lnTo>
                  <a:cubicBezTo>
                    <a:pt x="245840" y="221209"/>
                    <a:pt x="247650" y="225581"/>
                    <a:pt x="247650" y="230229"/>
                  </a:cubicBezTo>
                  <a:cubicBezTo>
                    <a:pt x="247650" y="239840"/>
                    <a:pt x="239840" y="247650"/>
                    <a:pt x="230229" y="247650"/>
                  </a:cubicBezTo>
                  <a:cubicBezTo>
                    <a:pt x="225581" y="247650"/>
                    <a:pt x="221209" y="245840"/>
                    <a:pt x="217913" y="242545"/>
                  </a:cubicBezTo>
                  <a:lnTo>
                    <a:pt x="170631" y="195263"/>
                  </a:lnTo>
                  <a:close/>
                  <a:moveTo>
                    <a:pt x="247650" y="533400"/>
                  </a:moveTo>
                  <a:cubicBezTo>
                    <a:pt x="237144" y="533400"/>
                    <a:pt x="228600" y="524856"/>
                    <a:pt x="228600" y="514350"/>
                  </a:cubicBezTo>
                  <a:lnTo>
                    <a:pt x="228600" y="457200"/>
                  </a:lnTo>
                  <a:lnTo>
                    <a:pt x="266700" y="457200"/>
                  </a:lnTo>
                  <a:lnTo>
                    <a:pt x="266700" y="514350"/>
                  </a:lnTo>
                  <a:cubicBezTo>
                    <a:pt x="266700" y="524856"/>
                    <a:pt x="258156" y="533400"/>
                    <a:pt x="247650" y="533400"/>
                  </a:cubicBezTo>
                  <a:close/>
                </a:path>
              </a:pathLst>
            </a:custGeom>
            <a:grpFill/>
            <a:ln w="9525" cap="flat">
              <a:noFill/>
              <a:prstDash val="solid"/>
              <a:miter/>
            </a:ln>
          </p:spPr>
          <p:txBody>
            <a:bodyPr rtlCol="0" anchor="ctr"/>
            <a:lstStyle/>
            <a:p>
              <a:endParaRPr lang="pt-BR"/>
            </a:p>
          </p:txBody>
        </p:sp>
        <p:sp>
          <p:nvSpPr>
            <p:cNvPr id="62" name="Forma Livre: Forma 61">
              <a:extLst>
                <a:ext uri="{FF2B5EF4-FFF2-40B4-BE49-F238E27FC236}">
                  <a16:creationId xmlns:a16="http://schemas.microsoft.com/office/drawing/2014/main" id="{3ACEDD1B-7BDE-A4D7-C2C0-1B9089471286}"/>
                </a:ext>
              </a:extLst>
            </p:cNvPr>
            <p:cNvSpPr/>
            <p:nvPr/>
          </p:nvSpPr>
          <p:spPr>
            <a:xfrm>
              <a:off x="-1048206" y="3555019"/>
              <a:ext cx="114300" cy="114300"/>
            </a:xfrm>
            <a:custGeom>
              <a:avLst/>
              <a:gdLst>
                <a:gd name="connsiteX0" fmla="*/ 50749 w 114300"/>
                <a:gd name="connsiteY0" fmla="*/ 8706 h 114300"/>
                <a:gd name="connsiteX1" fmla="*/ 29728 w 114300"/>
                <a:gd name="connsiteY1" fmla="*/ 0 h 114300"/>
                <a:gd name="connsiteX2" fmla="*/ 0 w 114300"/>
                <a:gd name="connsiteY2" fmla="*/ 29728 h 114300"/>
                <a:gd name="connsiteX3" fmla="*/ 8706 w 114300"/>
                <a:gd name="connsiteY3" fmla="*/ 50749 h 114300"/>
                <a:gd name="connsiteX4" fmla="*/ 63551 w 114300"/>
                <a:gd name="connsiteY4" fmla="*/ 105594 h 114300"/>
                <a:gd name="connsiteX5" fmla="*/ 84572 w 114300"/>
                <a:gd name="connsiteY5" fmla="*/ 114300 h 114300"/>
                <a:gd name="connsiteX6" fmla="*/ 114300 w 114300"/>
                <a:gd name="connsiteY6" fmla="*/ 84572 h 114300"/>
                <a:gd name="connsiteX7" fmla="*/ 105594 w 114300"/>
                <a:gd name="connsiteY7" fmla="*/ 63551 h 114300"/>
                <a:gd name="connsiteX8" fmla="*/ 50749 w 114300"/>
                <a:gd name="connsiteY8" fmla="*/ 8706 h 114300"/>
                <a:gd name="connsiteX9" fmla="*/ 19050 w 114300"/>
                <a:gd name="connsiteY9" fmla="*/ 29728 h 114300"/>
                <a:gd name="connsiteX10" fmla="*/ 29728 w 114300"/>
                <a:gd name="connsiteY10" fmla="*/ 19050 h 114300"/>
                <a:gd name="connsiteX11" fmla="*/ 37281 w 114300"/>
                <a:gd name="connsiteY11" fmla="*/ 22174 h 114300"/>
                <a:gd name="connsiteX12" fmla="*/ 57969 w 114300"/>
                <a:gd name="connsiteY12" fmla="*/ 42863 h 114300"/>
                <a:gd name="connsiteX13" fmla="*/ 42863 w 114300"/>
                <a:gd name="connsiteY13" fmla="*/ 57969 h 114300"/>
                <a:gd name="connsiteX14" fmla="*/ 22174 w 114300"/>
                <a:gd name="connsiteY14" fmla="*/ 37281 h 114300"/>
                <a:gd name="connsiteX15" fmla="*/ 19050 w 114300"/>
                <a:gd name="connsiteY15" fmla="*/ 29728 h 114300"/>
                <a:gd name="connsiteX16" fmla="*/ 84572 w 114300"/>
                <a:gd name="connsiteY16" fmla="*/ 95250 h 114300"/>
                <a:gd name="connsiteX17" fmla="*/ 77019 w 114300"/>
                <a:gd name="connsiteY17" fmla="*/ 92126 h 114300"/>
                <a:gd name="connsiteX18" fmla="*/ 56331 w 114300"/>
                <a:gd name="connsiteY18" fmla="*/ 71438 h 114300"/>
                <a:gd name="connsiteX19" fmla="*/ 71438 w 114300"/>
                <a:gd name="connsiteY19" fmla="*/ 56331 h 114300"/>
                <a:gd name="connsiteX20" fmla="*/ 92126 w 114300"/>
                <a:gd name="connsiteY20" fmla="*/ 77019 h 114300"/>
                <a:gd name="connsiteX21" fmla="*/ 95250 w 114300"/>
                <a:gd name="connsiteY21" fmla="*/ 84572 h 114300"/>
                <a:gd name="connsiteX22" fmla="*/ 84572 w 114300"/>
                <a:gd name="connsiteY22"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50749" y="8706"/>
                  </a:moveTo>
                  <a:cubicBezTo>
                    <a:pt x="45139" y="3096"/>
                    <a:pt x="37671" y="0"/>
                    <a:pt x="29728" y="0"/>
                  </a:cubicBezTo>
                  <a:cubicBezTo>
                    <a:pt x="13335" y="0"/>
                    <a:pt x="0" y="13335"/>
                    <a:pt x="0" y="29728"/>
                  </a:cubicBezTo>
                  <a:cubicBezTo>
                    <a:pt x="0" y="37671"/>
                    <a:pt x="3096" y="45139"/>
                    <a:pt x="8706" y="50749"/>
                  </a:cubicBezTo>
                  <a:lnTo>
                    <a:pt x="63551" y="105594"/>
                  </a:lnTo>
                  <a:cubicBezTo>
                    <a:pt x="69161" y="111204"/>
                    <a:pt x="76629" y="114300"/>
                    <a:pt x="84572" y="114300"/>
                  </a:cubicBezTo>
                  <a:cubicBezTo>
                    <a:pt x="100965" y="114300"/>
                    <a:pt x="114300" y="100965"/>
                    <a:pt x="114300" y="84572"/>
                  </a:cubicBezTo>
                  <a:cubicBezTo>
                    <a:pt x="114300" y="76629"/>
                    <a:pt x="111204" y="69161"/>
                    <a:pt x="105594" y="63551"/>
                  </a:cubicBezTo>
                  <a:lnTo>
                    <a:pt x="50749" y="8706"/>
                  </a:lnTo>
                  <a:close/>
                  <a:moveTo>
                    <a:pt x="19050" y="29728"/>
                  </a:moveTo>
                  <a:cubicBezTo>
                    <a:pt x="19050" y="23841"/>
                    <a:pt x="23841" y="19050"/>
                    <a:pt x="29728" y="19050"/>
                  </a:cubicBezTo>
                  <a:cubicBezTo>
                    <a:pt x="32585" y="19050"/>
                    <a:pt x="35262" y="20164"/>
                    <a:pt x="37281" y="22174"/>
                  </a:cubicBezTo>
                  <a:lnTo>
                    <a:pt x="57969" y="42863"/>
                  </a:lnTo>
                  <a:lnTo>
                    <a:pt x="42863" y="57969"/>
                  </a:lnTo>
                  <a:lnTo>
                    <a:pt x="22174" y="37281"/>
                  </a:lnTo>
                  <a:cubicBezTo>
                    <a:pt x="20164" y="35262"/>
                    <a:pt x="19050" y="32585"/>
                    <a:pt x="19050" y="29728"/>
                  </a:cubicBezTo>
                  <a:close/>
                  <a:moveTo>
                    <a:pt x="84572" y="95250"/>
                  </a:moveTo>
                  <a:cubicBezTo>
                    <a:pt x="81715" y="95250"/>
                    <a:pt x="79038" y="94136"/>
                    <a:pt x="77019" y="92126"/>
                  </a:cubicBezTo>
                  <a:lnTo>
                    <a:pt x="56331" y="71438"/>
                  </a:lnTo>
                  <a:lnTo>
                    <a:pt x="71438" y="56331"/>
                  </a:lnTo>
                  <a:lnTo>
                    <a:pt x="92126" y="77019"/>
                  </a:lnTo>
                  <a:cubicBezTo>
                    <a:pt x="94136" y="79038"/>
                    <a:pt x="95250" y="81715"/>
                    <a:pt x="95250" y="84572"/>
                  </a:cubicBezTo>
                  <a:cubicBezTo>
                    <a:pt x="95250" y="90459"/>
                    <a:pt x="90459" y="95250"/>
                    <a:pt x="84572" y="95250"/>
                  </a:cubicBezTo>
                  <a:close/>
                </a:path>
              </a:pathLst>
            </a:custGeom>
            <a:grpFill/>
            <a:ln w="9525"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A9EFD462-DF3C-60D4-8A87-F68999C68A3F}"/>
                </a:ext>
              </a:extLst>
            </p:cNvPr>
            <p:cNvSpPr/>
            <p:nvPr/>
          </p:nvSpPr>
          <p:spPr>
            <a:xfrm>
              <a:off x="-800556" y="3374044"/>
              <a:ext cx="285750" cy="552450"/>
            </a:xfrm>
            <a:custGeom>
              <a:avLst/>
              <a:gdLst>
                <a:gd name="connsiteX0" fmla="*/ 249279 w 285750"/>
                <a:gd name="connsiteY0" fmla="*/ 0 h 552450"/>
                <a:gd name="connsiteX1" fmla="*/ 223495 w 285750"/>
                <a:gd name="connsiteY1" fmla="*/ 10687 h 552450"/>
                <a:gd name="connsiteX2" fmla="*/ 29737 w 285750"/>
                <a:gd name="connsiteY2" fmla="*/ 204445 h 552450"/>
                <a:gd name="connsiteX3" fmla="*/ 19050 w 285750"/>
                <a:gd name="connsiteY3" fmla="*/ 230229 h 552450"/>
                <a:gd name="connsiteX4" fmla="*/ 25013 w 285750"/>
                <a:gd name="connsiteY4" fmla="*/ 250107 h 552450"/>
                <a:gd name="connsiteX5" fmla="*/ 0 w 285750"/>
                <a:gd name="connsiteY5" fmla="*/ 285750 h 552450"/>
                <a:gd name="connsiteX6" fmla="*/ 0 w 285750"/>
                <a:gd name="connsiteY6" fmla="*/ 514350 h 552450"/>
                <a:gd name="connsiteX7" fmla="*/ 38100 w 285750"/>
                <a:gd name="connsiteY7" fmla="*/ 552450 h 552450"/>
                <a:gd name="connsiteX8" fmla="*/ 76200 w 285750"/>
                <a:gd name="connsiteY8" fmla="*/ 514350 h 552450"/>
                <a:gd name="connsiteX9" fmla="*/ 76200 w 285750"/>
                <a:gd name="connsiteY9" fmla="*/ 285750 h 552450"/>
                <a:gd name="connsiteX10" fmla="*/ 69294 w 285750"/>
                <a:gd name="connsiteY10" fmla="*/ 263995 h 552450"/>
                <a:gd name="connsiteX11" fmla="*/ 81296 w 285750"/>
                <a:gd name="connsiteY11" fmla="*/ 256013 h 552450"/>
                <a:gd name="connsiteX12" fmla="*/ 275063 w 285750"/>
                <a:gd name="connsiteY12" fmla="*/ 62246 h 552450"/>
                <a:gd name="connsiteX13" fmla="*/ 285750 w 285750"/>
                <a:gd name="connsiteY13" fmla="*/ 36471 h 552450"/>
                <a:gd name="connsiteX14" fmla="*/ 249279 w 285750"/>
                <a:gd name="connsiteY14" fmla="*/ 0 h 552450"/>
                <a:gd name="connsiteX15" fmla="*/ 176213 w 285750"/>
                <a:gd name="connsiteY15" fmla="*/ 84906 h 552450"/>
                <a:gd name="connsiteX16" fmla="*/ 200844 w 285750"/>
                <a:gd name="connsiteY16" fmla="*/ 109538 h 552450"/>
                <a:gd name="connsiteX17" fmla="*/ 128588 w 285750"/>
                <a:gd name="connsiteY17" fmla="*/ 181794 h 552450"/>
                <a:gd name="connsiteX18" fmla="*/ 103956 w 285750"/>
                <a:gd name="connsiteY18" fmla="*/ 157163 h 552450"/>
                <a:gd name="connsiteX19" fmla="*/ 176213 w 285750"/>
                <a:gd name="connsiteY19" fmla="*/ 84906 h 552450"/>
                <a:gd name="connsiteX20" fmla="*/ 38100 w 285750"/>
                <a:gd name="connsiteY20" fmla="*/ 266700 h 552450"/>
                <a:gd name="connsiteX21" fmla="*/ 57150 w 285750"/>
                <a:gd name="connsiteY21" fmla="*/ 285750 h 552450"/>
                <a:gd name="connsiteX22" fmla="*/ 57150 w 285750"/>
                <a:gd name="connsiteY22" fmla="*/ 342900 h 552450"/>
                <a:gd name="connsiteX23" fmla="*/ 19050 w 285750"/>
                <a:gd name="connsiteY23" fmla="*/ 342900 h 552450"/>
                <a:gd name="connsiteX24" fmla="*/ 19050 w 285750"/>
                <a:gd name="connsiteY24" fmla="*/ 285750 h 552450"/>
                <a:gd name="connsiteX25" fmla="*/ 38100 w 285750"/>
                <a:gd name="connsiteY25" fmla="*/ 266700 h 552450"/>
                <a:gd name="connsiteX26" fmla="*/ 57150 w 285750"/>
                <a:gd name="connsiteY26" fmla="*/ 361950 h 552450"/>
                <a:gd name="connsiteX27" fmla="*/ 57150 w 285750"/>
                <a:gd name="connsiteY27" fmla="*/ 438150 h 552450"/>
                <a:gd name="connsiteX28" fmla="*/ 19050 w 285750"/>
                <a:gd name="connsiteY28" fmla="*/ 438150 h 552450"/>
                <a:gd name="connsiteX29" fmla="*/ 19050 w 285750"/>
                <a:gd name="connsiteY29" fmla="*/ 361950 h 552450"/>
                <a:gd name="connsiteX30" fmla="*/ 57150 w 285750"/>
                <a:gd name="connsiteY30" fmla="*/ 361950 h 552450"/>
                <a:gd name="connsiteX31" fmla="*/ 38100 w 285750"/>
                <a:gd name="connsiteY31" fmla="*/ 533400 h 552450"/>
                <a:gd name="connsiteX32" fmla="*/ 19050 w 285750"/>
                <a:gd name="connsiteY32" fmla="*/ 514350 h 552450"/>
                <a:gd name="connsiteX33" fmla="*/ 19050 w 285750"/>
                <a:gd name="connsiteY33" fmla="*/ 457200 h 552450"/>
                <a:gd name="connsiteX34" fmla="*/ 57150 w 285750"/>
                <a:gd name="connsiteY34" fmla="*/ 457200 h 552450"/>
                <a:gd name="connsiteX35" fmla="*/ 57150 w 285750"/>
                <a:gd name="connsiteY35" fmla="*/ 514350 h 552450"/>
                <a:gd name="connsiteX36" fmla="*/ 38100 w 285750"/>
                <a:gd name="connsiteY36" fmla="*/ 533400 h 552450"/>
                <a:gd name="connsiteX37" fmla="*/ 67837 w 285750"/>
                <a:gd name="connsiteY37" fmla="*/ 242545 h 552450"/>
                <a:gd name="connsiteX38" fmla="*/ 55521 w 285750"/>
                <a:gd name="connsiteY38" fmla="*/ 247650 h 552450"/>
                <a:gd name="connsiteX39" fmla="*/ 38100 w 285750"/>
                <a:gd name="connsiteY39" fmla="*/ 230229 h 552450"/>
                <a:gd name="connsiteX40" fmla="*/ 43205 w 285750"/>
                <a:gd name="connsiteY40" fmla="*/ 217913 h 552450"/>
                <a:gd name="connsiteX41" fmla="*/ 90488 w 285750"/>
                <a:gd name="connsiteY41" fmla="*/ 170631 h 552450"/>
                <a:gd name="connsiteX42" fmla="*/ 115119 w 285750"/>
                <a:gd name="connsiteY42" fmla="*/ 195263 h 552450"/>
                <a:gd name="connsiteX43" fmla="*/ 67837 w 285750"/>
                <a:gd name="connsiteY43" fmla="*/ 242545 h 552450"/>
                <a:gd name="connsiteX44" fmla="*/ 261595 w 285750"/>
                <a:gd name="connsiteY44" fmla="*/ 48787 h 552450"/>
                <a:gd name="connsiteX45" fmla="*/ 214313 w 285750"/>
                <a:gd name="connsiteY45" fmla="*/ 96069 h 552450"/>
                <a:gd name="connsiteX46" fmla="*/ 189681 w 285750"/>
                <a:gd name="connsiteY46" fmla="*/ 71438 h 552450"/>
                <a:gd name="connsiteX47" fmla="*/ 236963 w 285750"/>
                <a:gd name="connsiteY47" fmla="*/ 24155 h 552450"/>
                <a:gd name="connsiteX48" fmla="*/ 249279 w 285750"/>
                <a:gd name="connsiteY48" fmla="*/ 19050 h 552450"/>
                <a:gd name="connsiteX49" fmla="*/ 266700 w 285750"/>
                <a:gd name="connsiteY49" fmla="*/ 36471 h 552450"/>
                <a:gd name="connsiteX50" fmla="*/ 261595 w 285750"/>
                <a:gd name="connsiteY50" fmla="*/ 48787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5750" h="552450">
                  <a:moveTo>
                    <a:pt x="249279" y="0"/>
                  </a:moveTo>
                  <a:cubicBezTo>
                    <a:pt x="239544" y="0"/>
                    <a:pt x="230381" y="3791"/>
                    <a:pt x="223495" y="10687"/>
                  </a:cubicBezTo>
                  <a:lnTo>
                    <a:pt x="29737" y="204445"/>
                  </a:lnTo>
                  <a:cubicBezTo>
                    <a:pt x="22841" y="211341"/>
                    <a:pt x="19050" y="220494"/>
                    <a:pt x="19050" y="230229"/>
                  </a:cubicBezTo>
                  <a:cubicBezTo>
                    <a:pt x="19050" y="237573"/>
                    <a:pt x="21269" y="244383"/>
                    <a:pt x="25013" y="250107"/>
                  </a:cubicBezTo>
                  <a:cubicBezTo>
                    <a:pt x="10458" y="255480"/>
                    <a:pt x="0" y="269357"/>
                    <a:pt x="0" y="285750"/>
                  </a:cubicBezTo>
                  <a:lnTo>
                    <a:pt x="0" y="514350"/>
                  </a:lnTo>
                  <a:cubicBezTo>
                    <a:pt x="0" y="535362"/>
                    <a:pt x="17088" y="552450"/>
                    <a:pt x="38100" y="552450"/>
                  </a:cubicBezTo>
                  <a:cubicBezTo>
                    <a:pt x="59112" y="552450"/>
                    <a:pt x="76200" y="535362"/>
                    <a:pt x="76200" y="514350"/>
                  </a:cubicBezTo>
                  <a:lnTo>
                    <a:pt x="76200" y="285750"/>
                  </a:lnTo>
                  <a:cubicBezTo>
                    <a:pt x="76200" y="277654"/>
                    <a:pt x="73619" y="270177"/>
                    <a:pt x="69294" y="263995"/>
                  </a:cubicBezTo>
                  <a:cubicBezTo>
                    <a:pt x="73733" y="262185"/>
                    <a:pt x="77810" y="259509"/>
                    <a:pt x="81296" y="256013"/>
                  </a:cubicBezTo>
                  <a:lnTo>
                    <a:pt x="275063" y="62246"/>
                  </a:lnTo>
                  <a:cubicBezTo>
                    <a:pt x="281959" y="55369"/>
                    <a:pt x="285750" y="46206"/>
                    <a:pt x="285750" y="36471"/>
                  </a:cubicBezTo>
                  <a:cubicBezTo>
                    <a:pt x="285750" y="16354"/>
                    <a:pt x="269396" y="0"/>
                    <a:pt x="249279" y="0"/>
                  </a:cubicBezTo>
                  <a:close/>
                  <a:moveTo>
                    <a:pt x="176213" y="84906"/>
                  </a:moveTo>
                  <a:lnTo>
                    <a:pt x="200844" y="109538"/>
                  </a:lnTo>
                  <a:lnTo>
                    <a:pt x="128588" y="181794"/>
                  </a:lnTo>
                  <a:lnTo>
                    <a:pt x="103956" y="157163"/>
                  </a:lnTo>
                  <a:lnTo>
                    <a:pt x="176213" y="84906"/>
                  </a:lnTo>
                  <a:close/>
                  <a:moveTo>
                    <a:pt x="38100" y="266700"/>
                  </a:moveTo>
                  <a:cubicBezTo>
                    <a:pt x="48606" y="266700"/>
                    <a:pt x="57150" y="275244"/>
                    <a:pt x="57150" y="285750"/>
                  </a:cubicBezTo>
                  <a:lnTo>
                    <a:pt x="57150" y="342900"/>
                  </a:lnTo>
                  <a:lnTo>
                    <a:pt x="19050" y="342900"/>
                  </a:lnTo>
                  <a:lnTo>
                    <a:pt x="19050" y="285750"/>
                  </a:lnTo>
                  <a:cubicBezTo>
                    <a:pt x="19050" y="275244"/>
                    <a:pt x="27594" y="266700"/>
                    <a:pt x="38100" y="266700"/>
                  </a:cubicBezTo>
                  <a:close/>
                  <a:moveTo>
                    <a:pt x="57150" y="361950"/>
                  </a:moveTo>
                  <a:lnTo>
                    <a:pt x="57150" y="438150"/>
                  </a:lnTo>
                  <a:lnTo>
                    <a:pt x="19050" y="438150"/>
                  </a:lnTo>
                  <a:lnTo>
                    <a:pt x="19050" y="361950"/>
                  </a:lnTo>
                  <a:lnTo>
                    <a:pt x="57150" y="361950"/>
                  </a:lnTo>
                  <a:close/>
                  <a:moveTo>
                    <a:pt x="38100" y="533400"/>
                  </a:moveTo>
                  <a:cubicBezTo>
                    <a:pt x="27594" y="533400"/>
                    <a:pt x="19050" y="524856"/>
                    <a:pt x="19050" y="514350"/>
                  </a:cubicBezTo>
                  <a:lnTo>
                    <a:pt x="19050" y="457200"/>
                  </a:lnTo>
                  <a:lnTo>
                    <a:pt x="57150" y="457200"/>
                  </a:lnTo>
                  <a:lnTo>
                    <a:pt x="57150" y="514350"/>
                  </a:lnTo>
                  <a:cubicBezTo>
                    <a:pt x="57150" y="524856"/>
                    <a:pt x="48606" y="533400"/>
                    <a:pt x="38100" y="533400"/>
                  </a:cubicBezTo>
                  <a:close/>
                  <a:moveTo>
                    <a:pt x="67837" y="242545"/>
                  </a:moveTo>
                  <a:cubicBezTo>
                    <a:pt x="64541" y="245840"/>
                    <a:pt x="60169" y="247650"/>
                    <a:pt x="55521" y="247650"/>
                  </a:cubicBezTo>
                  <a:cubicBezTo>
                    <a:pt x="45910" y="247650"/>
                    <a:pt x="38100" y="239840"/>
                    <a:pt x="38100" y="230229"/>
                  </a:cubicBezTo>
                  <a:cubicBezTo>
                    <a:pt x="38100" y="225581"/>
                    <a:pt x="39910" y="221209"/>
                    <a:pt x="43205" y="217913"/>
                  </a:cubicBezTo>
                  <a:lnTo>
                    <a:pt x="90488" y="170631"/>
                  </a:lnTo>
                  <a:lnTo>
                    <a:pt x="115119" y="195263"/>
                  </a:lnTo>
                  <a:lnTo>
                    <a:pt x="67837" y="242545"/>
                  </a:lnTo>
                  <a:close/>
                  <a:moveTo>
                    <a:pt x="261595" y="48787"/>
                  </a:moveTo>
                  <a:lnTo>
                    <a:pt x="214313" y="96069"/>
                  </a:lnTo>
                  <a:lnTo>
                    <a:pt x="189681" y="71438"/>
                  </a:lnTo>
                  <a:lnTo>
                    <a:pt x="236963" y="24155"/>
                  </a:lnTo>
                  <a:cubicBezTo>
                    <a:pt x="240259" y="20860"/>
                    <a:pt x="244631" y="19050"/>
                    <a:pt x="249279" y="19050"/>
                  </a:cubicBezTo>
                  <a:cubicBezTo>
                    <a:pt x="258890" y="19050"/>
                    <a:pt x="266700" y="26861"/>
                    <a:pt x="266700" y="36471"/>
                  </a:cubicBezTo>
                  <a:cubicBezTo>
                    <a:pt x="266700" y="41119"/>
                    <a:pt x="264890" y="45491"/>
                    <a:pt x="261595" y="48787"/>
                  </a:cubicBezTo>
                  <a:close/>
                </a:path>
              </a:pathLst>
            </a:custGeom>
            <a:grpFill/>
            <a:ln w="9525"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8E46EB1E-FCB7-DF10-CF1C-2129B826463D}"/>
                </a:ext>
              </a:extLst>
            </p:cNvPr>
            <p:cNvSpPr/>
            <p:nvPr/>
          </p:nvSpPr>
          <p:spPr>
            <a:xfrm>
              <a:off x="-686256" y="3555019"/>
              <a:ext cx="114300" cy="114300"/>
            </a:xfrm>
            <a:custGeom>
              <a:avLst/>
              <a:gdLst>
                <a:gd name="connsiteX0" fmla="*/ 84572 w 114300"/>
                <a:gd name="connsiteY0" fmla="*/ 0 h 114300"/>
                <a:gd name="connsiteX1" fmla="*/ 63551 w 114300"/>
                <a:gd name="connsiteY1" fmla="*/ 8706 h 114300"/>
                <a:gd name="connsiteX2" fmla="*/ 8706 w 114300"/>
                <a:gd name="connsiteY2" fmla="*/ 63551 h 114300"/>
                <a:gd name="connsiteX3" fmla="*/ 0 w 114300"/>
                <a:gd name="connsiteY3" fmla="*/ 84572 h 114300"/>
                <a:gd name="connsiteX4" fmla="*/ 29728 w 114300"/>
                <a:gd name="connsiteY4" fmla="*/ 114300 h 114300"/>
                <a:gd name="connsiteX5" fmla="*/ 50749 w 114300"/>
                <a:gd name="connsiteY5" fmla="*/ 105594 h 114300"/>
                <a:gd name="connsiteX6" fmla="*/ 105594 w 114300"/>
                <a:gd name="connsiteY6" fmla="*/ 50749 h 114300"/>
                <a:gd name="connsiteX7" fmla="*/ 114300 w 114300"/>
                <a:gd name="connsiteY7" fmla="*/ 29728 h 114300"/>
                <a:gd name="connsiteX8" fmla="*/ 84572 w 114300"/>
                <a:gd name="connsiteY8" fmla="*/ 0 h 114300"/>
                <a:gd name="connsiteX9" fmla="*/ 37281 w 114300"/>
                <a:gd name="connsiteY9" fmla="*/ 92126 h 114300"/>
                <a:gd name="connsiteX10" fmla="*/ 29728 w 114300"/>
                <a:gd name="connsiteY10" fmla="*/ 95250 h 114300"/>
                <a:gd name="connsiteX11" fmla="*/ 19050 w 114300"/>
                <a:gd name="connsiteY11" fmla="*/ 84572 h 114300"/>
                <a:gd name="connsiteX12" fmla="*/ 22174 w 114300"/>
                <a:gd name="connsiteY12" fmla="*/ 77019 h 114300"/>
                <a:gd name="connsiteX13" fmla="*/ 42863 w 114300"/>
                <a:gd name="connsiteY13" fmla="*/ 56331 h 114300"/>
                <a:gd name="connsiteX14" fmla="*/ 57969 w 114300"/>
                <a:gd name="connsiteY14" fmla="*/ 71438 h 114300"/>
                <a:gd name="connsiteX15" fmla="*/ 37281 w 114300"/>
                <a:gd name="connsiteY15" fmla="*/ 92126 h 114300"/>
                <a:gd name="connsiteX16" fmla="*/ 92126 w 114300"/>
                <a:gd name="connsiteY16" fmla="*/ 37281 h 114300"/>
                <a:gd name="connsiteX17" fmla="*/ 71438 w 114300"/>
                <a:gd name="connsiteY17" fmla="*/ 57969 h 114300"/>
                <a:gd name="connsiteX18" fmla="*/ 56331 w 114300"/>
                <a:gd name="connsiteY18" fmla="*/ 42863 h 114300"/>
                <a:gd name="connsiteX19" fmla="*/ 77019 w 114300"/>
                <a:gd name="connsiteY19" fmla="*/ 22174 h 114300"/>
                <a:gd name="connsiteX20" fmla="*/ 84572 w 114300"/>
                <a:gd name="connsiteY20" fmla="*/ 19050 h 114300"/>
                <a:gd name="connsiteX21" fmla="*/ 95250 w 114300"/>
                <a:gd name="connsiteY21" fmla="*/ 29728 h 114300"/>
                <a:gd name="connsiteX22" fmla="*/ 92126 w 114300"/>
                <a:gd name="connsiteY22" fmla="*/ 3728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114300">
                  <a:moveTo>
                    <a:pt x="84572" y="0"/>
                  </a:moveTo>
                  <a:cubicBezTo>
                    <a:pt x="76629" y="0"/>
                    <a:pt x="69161" y="3096"/>
                    <a:pt x="63551" y="8706"/>
                  </a:cubicBezTo>
                  <a:lnTo>
                    <a:pt x="8706" y="63551"/>
                  </a:lnTo>
                  <a:cubicBezTo>
                    <a:pt x="3096" y="69161"/>
                    <a:pt x="0" y="76629"/>
                    <a:pt x="0" y="84572"/>
                  </a:cubicBezTo>
                  <a:cubicBezTo>
                    <a:pt x="0" y="100965"/>
                    <a:pt x="13335" y="114300"/>
                    <a:pt x="29728" y="114300"/>
                  </a:cubicBezTo>
                  <a:cubicBezTo>
                    <a:pt x="37671" y="114300"/>
                    <a:pt x="45139" y="111204"/>
                    <a:pt x="50749" y="105594"/>
                  </a:cubicBezTo>
                  <a:lnTo>
                    <a:pt x="105594" y="50749"/>
                  </a:lnTo>
                  <a:cubicBezTo>
                    <a:pt x="111204" y="45139"/>
                    <a:pt x="114300" y="37671"/>
                    <a:pt x="114300" y="29728"/>
                  </a:cubicBezTo>
                  <a:cubicBezTo>
                    <a:pt x="114300" y="13335"/>
                    <a:pt x="100965" y="0"/>
                    <a:pt x="84572" y="0"/>
                  </a:cubicBezTo>
                  <a:close/>
                  <a:moveTo>
                    <a:pt x="37281" y="92126"/>
                  </a:moveTo>
                  <a:cubicBezTo>
                    <a:pt x="35262" y="94136"/>
                    <a:pt x="32585" y="95250"/>
                    <a:pt x="29728" y="95250"/>
                  </a:cubicBezTo>
                  <a:cubicBezTo>
                    <a:pt x="23841" y="95250"/>
                    <a:pt x="19050" y="90459"/>
                    <a:pt x="19050" y="84572"/>
                  </a:cubicBezTo>
                  <a:cubicBezTo>
                    <a:pt x="19050" y="81715"/>
                    <a:pt x="20164" y="79038"/>
                    <a:pt x="22174" y="77019"/>
                  </a:cubicBezTo>
                  <a:lnTo>
                    <a:pt x="42863" y="56331"/>
                  </a:lnTo>
                  <a:lnTo>
                    <a:pt x="57969" y="71438"/>
                  </a:lnTo>
                  <a:lnTo>
                    <a:pt x="37281" y="92126"/>
                  </a:lnTo>
                  <a:close/>
                  <a:moveTo>
                    <a:pt x="92126" y="37281"/>
                  </a:moveTo>
                  <a:lnTo>
                    <a:pt x="71438" y="57969"/>
                  </a:lnTo>
                  <a:lnTo>
                    <a:pt x="56331" y="42863"/>
                  </a:lnTo>
                  <a:lnTo>
                    <a:pt x="77019" y="22174"/>
                  </a:lnTo>
                  <a:cubicBezTo>
                    <a:pt x="79038" y="20164"/>
                    <a:pt x="81715" y="19050"/>
                    <a:pt x="84572" y="19050"/>
                  </a:cubicBezTo>
                  <a:cubicBezTo>
                    <a:pt x="90459" y="19050"/>
                    <a:pt x="95250" y="23841"/>
                    <a:pt x="95250" y="29728"/>
                  </a:cubicBezTo>
                  <a:cubicBezTo>
                    <a:pt x="95250" y="32585"/>
                    <a:pt x="94136" y="35262"/>
                    <a:pt x="92126" y="37281"/>
                  </a:cubicBezTo>
                  <a:close/>
                </a:path>
              </a:pathLst>
            </a:custGeom>
            <a:grpFill/>
            <a:ln w="9525" cap="flat">
              <a:noFill/>
              <a:prstDash val="solid"/>
              <a:miter/>
            </a:ln>
          </p:spPr>
          <p:txBody>
            <a:bodyPr rtlCol="0" anchor="ctr"/>
            <a:lstStyle/>
            <a:p>
              <a:endParaRPr lang="pt-BR"/>
            </a:p>
          </p:txBody>
        </p:sp>
      </p:grpSp>
    </p:spTree>
    <p:extLst>
      <p:ext uri="{BB962C8B-B14F-4D97-AF65-F5344CB8AC3E}">
        <p14:creationId xmlns:p14="http://schemas.microsoft.com/office/powerpoint/2010/main" val="246586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up)">
                                      <p:cBhvr>
                                        <p:cTn id="10" dur="500"/>
                                        <p:tgtEl>
                                          <p:spTgt spid="11"/>
                                        </p:tgtEl>
                                      </p:cBhvr>
                                    </p:animEffect>
                                  </p:childTnLst>
                                </p:cTn>
                              </p:par>
                            </p:childTnLst>
                          </p:cTn>
                        </p:par>
                        <p:par>
                          <p:cTn id="11" fill="hold">
                            <p:stCondLst>
                              <p:cond delay="500"/>
                            </p:stCondLst>
                            <p:childTnLst>
                              <p:par>
                                <p:cTn id="12" presetID="2" presetClass="entr" presetSubtype="8"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par>
                                <p:cTn id="37" presetID="22" presetClass="entr" presetSubtype="1"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ipe(up)">
                                      <p:cBhvr>
                                        <p:cTn id="39" dur="500"/>
                                        <p:tgtEl>
                                          <p:spTgt spid="27"/>
                                        </p:tgtEl>
                                      </p:cBhvr>
                                    </p:animEffect>
                                  </p:childTnLst>
                                </p:cTn>
                              </p:par>
                            </p:childTnLst>
                          </p:cTn>
                        </p:par>
                        <p:par>
                          <p:cTn id="40" fill="hold">
                            <p:stCondLst>
                              <p:cond delay="1000"/>
                            </p:stCondLst>
                            <p:childTnLst>
                              <p:par>
                                <p:cTn id="41" presetID="10" presetClass="entr" presetSubtype="0" fill="hold" grpId="0" nodeType="afterEffect">
                                  <p:stCondLst>
                                    <p:cond delay="50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par>
                                <p:cTn id="47" presetID="10" presetClass="entr" presetSubtype="0" fill="hold" nodeType="withEffect">
                                  <p:stCondLst>
                                    <p:cond delay="50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childTnLst>
                          </p:cTn>
                        </p:par>
                        <p:par>
                          <p:cTn id="50" fill="hold">
                            <p:stCondLst>
                              <p:cond delay="2000"/>
                            </p:stCondLst>
                            <p:childTnLst>
                              <p:par>
                                <p:cTn id="51" presetID="22" presetClass="entr" presetSubtype="1" fill="hold"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up)">
                                      <p:cBhvr>
                                        <p:cTn id="53" dur="500"/>
                                        <p:tgtEl>
                                          <p:spTgt spid="35"/>
                                        </p:tgtEl>
                                      </p:cBhvr>
                                    </p:animEffect>
                                  </p:childTnLst>
                                </p:cTn>
                              </p:par>
                            </p:childTnLst>
                          </p:cTn>
                        </p:par>
                        <p:par>
                          <p:cTn id="54" fill="hold">
                            <p:stCondLst>
                              <p:cond delay="2500"/>
                            </p:stCondLst>
                            <p:childTnLst>
                              <p:par>
                                <p:cTn id="55" presetID="10" presetClass="entr" presetSubtype="0" fill="hold" nodeType="after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10" grpId="0"/>
      <p:bldP spid="11" grpId="0" animBg="1"/>
      <p:bldP spid="3" grpId="0" animBg="1"/>
      <p:bldP spid="13" grpId="0" animBg="1"/>
      <p:bldP spid="14" grpId="0"/>
      <p:bldP spid="15" grpId="0"/>
      <p:bldP spid="16" grpId="0"/>
      <p:bldP spid="21" grpId="0"/>
      <p:bldP spid="23" grpId="0"/>
      <p:bldP spid="2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Agrupar 66">
            <a:extLst>
              <a:ext uri="{FF2B5EF4-FFF2-40B4-BE49-F238E27FC236}">
                <a16:creationId xmlns:a16="http://schemas.microsoft.com/office/drawing/2014/main" id="{26F00275-B0AE-9418-958B-47A8B1C6EFF2}"/>
              </a:ext>
            </a:extLst>
          </p:cNvPr>
          <p:cNvGrpSpPr/>
          <p:nvPr/>
        </p:nvGrpSpPr>
        <p:grpSpPr>
          <a:xfrm>
            <a:off x="5204329" y="1282700"/>
            <a:ext cx="5467736" cy="4394200"/>
            <a:chOff x="5204329" y="1282700"/>
            <a:chExt cx="5467736" cy="4394200"/>
          </a:xfrm>
        </p:grpSpPr>
        <p:sp>
          <p:nvSpPr>
            <p:cNvPr id="50" name="Retângulo: Cantos Arredondados 49">
              <a:extLst>
                <a:ext uri="{FF2B5EF4-FFF2-40B4-BE49-F238E27FC236}">
                  <a16:creationId xmlns:a16="http://schemas.microsoft.com/office/drawing/2014/main" id="{58A8AAAF-A767-8506-16C1-6C4E1C78BB04}"/>
                </a:ext>
              </a:extLst>
            </p:cNvPr>
            <p:cNvSpPr/>
            <p:nvPr/>
          </p:nvSpPr>
          <p:spPr>
            <a:xfrm flipH="1">
              <a:off x="5204329" y="1473200"/>
              <a:ext cx="5467736" cy="420370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5" name="AutoShape 14">
              <a:extLst>
                <a:ext uri="{FF2B5EF4-FFF2-40B4-BE49-F238E27FC236}">
                  <a16:creationId xmlns:a16="http://schemas.microsoft.com/office/drawing/2014/main" id="{4EB4BC19-E1A0-337A-A8E6-29346D44938D}"/>
                </a:ext>
              </a:extLst>
            </p:cNvPr>
            <p:cNvSpPr>
              <a:spLocks noChangeArrowheads="1"/>
            </p:cNvSpPr>
            <p:nvPr/>
          </p:nvSpPr>
          <p:spPr bwMode="auto">
            <a:xfrm>
              <a:off x="5422903" y="1282700"/>
              <a:ext cx="5094083" cy="457200"/>
            </a:xfrm>
            <a:prstGeom prst="roundRect">
              <a:avLst>
                <a:gd name="adj" fmla="val 0"/>
              </a:avLst>
            </a:prstGeom>
            <a:solidFill>
              <a:schemeClr val="tx2"/>
            </a:solidFill>
            <a:ln>
              <a:noFill/>
              <a:headEnd/>
              <a:tailEnd/>
            </a:ln>
            <a:effectLst/>
          </p:spPr>
          <p:txBody>
            <a:bodyPr wrap="none" anchor="ctr"/>
            <a:lstStyle/>
            <a:p>
              <a:pPr marL="0" marR="0" lvl="0" indent="0" algn="ctr" defTabSz="949325" eaLnBrk="0" fontAlgn="base" latinLnBrk="0" hangingPunct="0">
                <a:lnSpc>
                  <a:spcPct val="100000"/>
                </a:lnSpc>
                <a:spcBef>
                  <a:spcPct val="0"/>
                </a:spcBef>
                <a:spcAft>
                  <a:spcPct val="0"/>
                </a:spcAft>
                <a:buClrTx/>
                <a:buSzTx/>
                <a:buFontTx/>
                <a:buNone/>
                <a:tabLst/>
                <a:defRPr/>
              </a:pPr>
              <a:r>
                <a:rPr kumimoji="0" lang="pt-BR" sz="1600" b="1" i="0" u="none" strike="noStrike" kern="0" cap="none" spc="0" normalizeH="0" baseline="0" noProof="0" dirty="0">
                  <a:ln>
                    <a:noFill/>
                  </a:ln>
                  <a:solidFill>
                    <a:schemeClr val="bg1"/>
                  </a:solidFill>
                  <a:effectLst/>
                  <a:uLnTx/>
                  <a:uFillTx/>
                  <a:cs typeface="Arial"/>
                </a:rPr>
                <a:t>Vias de ativação adicional</a:t>
              </a:r>
            </a:p>
          </p:txBody>
        </p:sp>
        <p:cxnSp>
          <p:nvCxnSpPr>
            <p:cNvPr id="29" name="AutoShape 18">
              <a:extLst>
                <a:ext uri="{FF2B5EF4-FFF2-40B4-BE49-F238E27FC236}">
                  <a16:creationId xmlns:a16="http://schemas.microsoft.com/office/drawing/2014/main" id="{D105D745-A780-CE5E-9C48-7836920F961F}"/>
                </a:ext>
              </a:extLst>
            </p:cNvPr>
            <p:cNvCxnSpPr>
              <a:cxnSpLocks noChangeShapeType="1"/>
            </p:cNvCxnSpPr>
            <p:nvPr/>
          </p:nvCxnSpPr>
          <p:spPr bwMode="auto">
            <a:xfrm>
              <a:off x="5931948" y="1770679"/>
              <a:ext cx="1" cy="482602"/>
            </a:xfrm>
            <a:prstGeom prst="straightConnector1">
              <a:avLst/>
            </a:prstGeom>
            <a:ln w="19050">
              <a:solidFill>
                <a:sysClr val="window" lastClr="FFFFFF">
                  <a:lumMod val="75000"/>
                </a:sysClr>
              </a:solidFill>
              <a:headEnd type="none" w="med" len="med"/>
              <a:tailEnd type="arrow" w="med" len="med"/>
            </a:ln>
          </p:spPr>
        </p:cxnSp>
        <p:cxnSp>
          <p:nvCxnSpPr>
            <p:cNvPr id="32" name="AutoShape 18">
              <a:extLst>
                <a:ext uri="{FF2B5EF4-FFF2-40B4-BE49-F238E27FC236}">
                  <a16:creationId xmlns:a16="http://schemas.microsoft.com/office/drawing/2014/main" id="{8081F49A-0A8C-0D6D-3681-87378819AD03}"/>
                </a:ext>
              </a:extLst>
            </p:cNvPr>
            <p:cNvCxnSpPr>
              <a:cxnSpLocks noChangeShapeType="1"/>
            </p:cNvCxnSpPr>
            <p:nvPr/>
          </p:nvCxnSpPr>
          <p:spPr bwMode="auto">
            <a:xfrm>
              <a:off x="7680728" y="1770679"/>
              <a:ext cx="1" cy="482602"/>
            </a:xfrm>
            <a:prstGeom prst="straightConnector1">
              <a:avLst/>
            </a:prstGeom>
            <a:ln w="19050">
              <a:solidFill>
                <a:sysClr val="window" lastClr="FFFFFF">
                  <a:lumMod val="75000"/>
                </a:sysClr>
              </a:solidFill>
              <a:headEnd type="none" w="med" len="med"/>
              <a:tailEnd type="arrow" w="med" len="med"/>
            </a:ln>
          </p:spPr>
        </p:cxnSp>
        <p:cxnSp>
          <p:nvCxnSpPr>
            <p:cNvPr id="33" name="AutoShape 18">
              <a:extLst>
                <a:ext uri="{FF2B5EF4-FFF2-40B4-BE49-F238E27FC236}">
                  <a16:creationId xmlns:a16="http://schemas.microsoft.com/office/drawing/2014/main" id="{FB9DDECF-DB55-A89D-4A15-3F97C63DE786}"/>
                </a:ext>
              </a:extLst>
            </p:cNvPr>
            <p:cNvCxnSpPr>
              <a:cxnSpLocks noChangeShapeType="1"/>
            </p:cNvCxnSpPr>
            <p:nvPr/>
          </p:nvCxnSpPr>
          <p:spPr bwMode="auto">
            <a:xfrm>
              <a:off x="9569112" y="1770679"/>
              <a:ext cx="1" cy="482602"/>
            </a:xfrm>
            <a:prstGeom prst="straightConnector1">
              <a:avLst/>
            </a:prstGeom>
            <a:ln w="19050">
              <a:solidFill>
                <a:sysClr val="window" lastClr="FFFFFF">
                  <a:lumMod val="75000"/>
                </a:sysClr>
              </a:solidFill>
              <a:headEnd type="none" w="med" len="med"/>
              <a:tailEnd type="arrow" w="med" len="med"/>
            </a:ln>
          </p:spPr>
        </p:cxnSp>
        <p:sp>
          <p:nvSpPr>
            <p:cNvPr id="38" name="AutoShape 34">
              <a:extLst>
                <a:ext uri="{FF2B5EF4-FFF2-40B4-BE49-F238E27FC236}">
                  <a16:creationId xmlns:a16="http://schemas.microsoft.com/office/drawing/2014/main" id="{DAA0919D-A3E9-C83C-1FFB-7247CB382A85}"/>
                </a:ext>
              </a:extLst>
            </p:cNvPr>
            <p:cNvSpPr>
              <a:spLocks noChangeArrowheads="1"/>
            </p:cNvSpPr>
            <p:nvPr/>
          </p:nvSpPr>
          <p:spPr bwMode="auto">
            <a:xfrm>
              <a:off x="5422903" y="2329946"/>
              <a:ext cx="1018088" cy="317500"/>
            </a:xfrm>
            <a:prstGeom prst="roundRect">
              <a:avLst>
                <a:gd name="adj" fmla="val 0"/>
              </a:avLst>
            </a:prstGeom>
            <a:noFill/>
            <a:ln>
              <a:solidFill>
                <a:schemeClr val="tx2"/>
              </a:solidFill>
              <a:headEnd/>
              <a:tailEnd/>
            </a:ln>
            <a:effectLst>
              <a:reflection blurRad="25400" stA="32000" endPos="28000" dist="8889" dir="5400000" sy="-100000" rotWithShape="0"/>
            </a:effectLst>
          </p:spPr>
          <p:txBody>
            <a:bodyPr wrap="none" anchor="ctr"/>
            <a:lstStyle/>
            <a:p>
              <a:pPr marL="0" marR="0" lvl="0" indent="0" algn="ctr" defTabSz="949325" eaLnBrk="1" fontAlgn="base" latinLnBrk="0" hangingPunct="1">
                <a:lnSpc>
                  <a:spcPct val="100000"/>
                </a:lnSpc>
                <a:spcBef>
                  <a:spcPct val="0"/>
                </a:spcBef>
                <a:spcAft>
                  <a:spcPct val="0"/>
                </a:spcAft>
                <a:buClrTx/>
                <a:buSzTx/>
                <a:buFontTx/>
                <a:buNone/>
                <a:tabLst/>
                <a:defRPr/>
              </a:pPr>
              <a:r>
                <a:rPr kumimoji="0" lang="pt-BR" sz="1600" b="1" i="0" u="none" strike="noStrike" kern="0" cap="none" spc="0" normalizeH="0" baseline="0" noProof="0" dirty="0">
                  <a:ln>
                    <a:noFill/>
                  </a:ln>
                  <a:solidFill>
                    <a:schemeClr val="tx2"/>
                  </a:solidFill>
                  <a:effectLst/>
                  <a:uLnTx/>
                  <a:uFillTx/>
                  <a:cs typeface="Arial"/>
                </a:rPr>
                <a:t>Micróbio</a:t>
              </a:r>
            </a:p>
          </p:txBody>
        </p:sp>
        <p:sp>
          <p:nvSpPr>
            <p:cNvPr id="41" name="AutoShape 34">
              <a:extLst>
                <a:ext uri="{FF2B5EF4-FFF2-40B4-BE49-F238E27FC236}">
                  <a16:creationId xmlns:a16="http://schemas.microsoft.com/office/drawing/2014/main" id="{C7751C2F-B6DD-57C3-74FF-FB9BA9B8F1DB}"/>
                </a:ext>
              </a:extLst>
            </p:cNvPr>
            <p:cNvSpPr>
              <a:spLocks noChangeArrowheads="1"/>
            </p:cNvSpPr>
            <p:nvPr/>
          </p:nvSpPr>
          <p:spPr bwMode="auto">
            <a:xfrm>
              <a:off x="8989017" y="2329946"/>
              <a:ext cx="1160192" cy="317500"/>
            </a:xfrm>
            <a:prstGeom prst="roundRect">
              <a:avLst>
                <a:gd name="adj" fmla="val 0"/>
              </a:avLst>
            </a:prstGeom>
            <a:noFill/>
            <a:ln>
              <a:solidFill>
                <a:schemeClr val="tx2"/>
              </a:solidFill>
              <a:headEnd/>
              <a:tailEnd/>
            </a:ln>
            <a:effectLst>
              <a:reflection blurRad="25400" stA="32000" endPos="28000" dist="8889" dir="5400000" sy="-100000" rotWithShape="0"/>
            </a:effectLst>
          </p:spPr>
          <p:txBody>
            <a:bodyPr wrap="none" anchor="ctr"/>
            <a:lstStyle/>
            <a:p>
              <a:pPr marL="0" marR="0" lvl="0" indent="0" algn="ctr" defTabSz="949325" eaLnBrk="1" fontAlgn="base" latinLnBrk="0" hangingPunct="1">
                <a:lnSpc>
                  <a:spcPct val="100000"/>
                </a:lnSpc>
                <a:spcBef>
                  <a:spcPct val="0"/>
                </a:spcBef>
                <a:spcAft>
                  <a:spcPct val="0"/>
                </a:spcAft>
                <a:buClrTx/>
                <a:buSzTx/>
                <a:buFontTx/>
                <a:buNone/>
                <a:tabLst/>
                <a:defRPr/>
              </a:pPr>
              <a:r>
                <a:rPr kumimoji="0" lang="pt-BR" sz="1600" b="1" i="0" u="none" strike="noStrike" kern="0" cap="none" spc="0" normalizeH="0" baseline="0" noProof="0" dirty="0">
                  <a:ln>
                    <a:noFill/>
                  </a:ln>
                  <a:solidFill>
                    <a:schemeClr val="tx2"/>
                  </a:solidFill>
                  <a:effectLst/>
                  <a:uLnTx/>
                  <a:uFillTx/>
                  <a:cs typeface="Arial"/>
                </a:rPr>
                <a:t>Micróbio</a:t>
              </a:r>
            </a:p>
          </p:txBody>
        </p:sp>
        <p:sp>
          <p:nvSpPr>
            <p:cNvPr id="42" name="AutoShape 34">
              <a:extLst>
                <a:ext uri="{FF2B5EF4-FFF2-40B4-BE49-F238E27FC236}">
                  <a16:creationId xmlns:a16="http://schemas.microsoft.com/office/drawing/2014/main" id="{B82C2464-CD7A-3054-FD49-71CB969140FF}"/>
                </a:ext>
              </a:extLst>
            </p:cNvPr>
            <p:cNvSpPr>
              <a:spLocks noChangeArrowheads="1"/>
            </p:cNvSpPr>
            <p:nvPr/>
          </p:nvSpPr>
          <p:spPr bwMode="auto">
            <a:xfrm>
              <a:off x="7000687" y="2329946"/>
              <a:ext cx="1361736" cy="317500"/>
            </a:xfrm>
            <a:prstGeom prst="roundRect">
              <a:avLst>
                <a:gd name="adj" fmla="val 0"/>
              </a:avLst>
            </a:prstGeom>
            <a:noFill/>
            <a:ln>
              <a:solidFill>
                <a:schemeClr val="tx2"/>
              </a:solidFill>
              <a:headEnd/>
              <a:tailEnd/>
            </a:ln>
            <a:effectLst>
              <a:reflection blurRad="25400" stA="32000" endPos="28000" dist="8889" dir="5400000" sy="-100000" rotWithShape="0"/>
            </a:effectLst>
          </p:spPr>
          <p:txBody>
            <a:bodyPr wrap="none" anchor="ctr"/>
            <a:lstStyle/>
            <a:p>
              <a:pPr marL="0" marR="0" lvl="0" indent="0" algn="ctr" defTabSz="949325" eaLnBrk="1" fontAlgn="base" latinLnBrk="0" hangingPunct="1">
                <a:lnSpc>
                  <a:spcPct val="100000"/>
                </a:lnSpc>
                <a:spcBef>
                  <a:spcPct val="0"/>
                </a:spcBef>
                <a:spcAft>
                  <a:spcPct val="0"/>
                </a:spcAft>
                <a:buClrTx/>
                <a:buSzTx/>
                <a:buFontTx/>
                <a:buNone/>
                <a:tabLst/>
                <a:defRPr/>
              </a:pPr>
              <a:r>
                <a:rPr kumimoji="0" lang="pt-BR" sz="1600" b="1" i="0" u="none" strike="noStrike" kern="0" cap="none" spc="0" normalizeH="0" baseline="0" noProof="0" dirty="0">
                  <a:ln>
                    <a:noFill/>
                  </a:ln>
                  <a:solidFill>
                    <a:schemeClr val="tx2"/>
                  </a:solidFill>
                  <a:effectLst/>
                  <a:uLnTx/>
                  <a:uFillTx/>
                  <a:cs typeface="Arial"/>
                </a:rPr>
                <a:t>Anticorpo</a:t>
              </a:r>
            </a:p>
          </p:txBody>
        </p:sp>
        <p:cxnSp>
          <p:nvCxnSpPr>
            <p:cNvPr id="44" name="AutoShape 18">
              <a:extLst>
                <a:ext uri="{FF2B5EF4-FFF2-40B4-BE49-F238E27FC236}">
                  <a16:creationId xmlns:a16="http://schemas.microsoft.com/office/drawing/2014/main" id="{F9225AF3-5AE8-6D14-33CA-BF72567D543C}"/>
                </a:ext>
              </a:extLst>
            </p:cNvPr>
            <p:cNvCxnSpPr>
              <a:cxnSpLocks noChangeShapeType="1"/>
            </p:cNvCxnSpPr>
            <p:nvPr/>
          </p:nvCxnSpPr>
          <p:spPr bwMode="auto">
            <a:xfrm>
              <a:off x="5931947" y="2676594"/>
              <a:ext cx="0" cy="241301"/>
            </a:xfrm>
            <a:prstGeom prst="straightConnector1">
              <a:avLst/>
            </a:prstGeom>
            <a:ln w="19050">
              <a:solidFill>
                <a:sysClr val="window" lastClr="FFFFFF">
                  <a:lumMod val="75000"/>
                </a:sysClr>
              </a:solidFill>
              <a:headEnd type="none" w="med" len="med"/>
              <a:tailEnd type="arrow" w="med" len="med"/>
            </a:ln>
          </p:spPr>
        </p:cxnSp>
        <p:cxnSp>
          <p:nvCxnSpPr>
            <p:cNvPr id="45" name="AutoShape 18">
              <a:extLst>
                <a:ext uri="{FF2B5EF4-FFF2-40B4-BE49-F238E27FC236}">
                  <a16:creationId xmlns:a16="http://schemas.microsoft.com/office/drawing/2014/main" id="{DB12B64B-8E1B-58ED-1623-3F08F8FA8575}"/>
                </a:ext>
              </a:extLst>
            </p:cNvPr>
            <p:cNvCxnSpPr>
              <a:cxnSpLocks noChangeShapeType="1"/>
            </p:cNvCxnSpPr>
            <p:nvPr/>
          </p:nvCxnSpPr>
          <p:spPr bwMode="auto">
            <a:xfrm>
              <a:off x="9569111" y="2676594"/>
              <a:ext cx="0" cy="241301"/>
            </a:xfrm>
            <a:prstGeom prst="straightConnector1">
              <a:avLst/>
            </a:prstGeom>
            <a:ln w="19050">
              <a:solidFill>
                <a:sysClr val="window" lastClr="FFFFFF">
                  <a:lumMod val="75000"/>
                </a:sysClr>
              </a:solidFill>
              <a:headEnd type="none" w="med" len="med"/>
              <a:tailEnd type="arrow" w="med" len="med"/>
            </a:ln>
          </p:spPr>
        </p:cxnSp>
        <p:cxnSp>
          <p:nvCxnSpPr>
            <p:cNvPr id="46" name="AutoShape 18">
              <a:extLst>
                <a:ext uri="{FF2B5EF4-FFF2-40B4-BE49-F238E27FC236}">
                  <a16:creationId xmlns:a16="http://schemas.microsoft.com/office/drawing/2014/main" id="{A8BD4C2B-C520-80F1-ACE7-219D8CB44FE5}"/>
                </a:ext>
              </a:extLst>
            </p:cNvPr>
            <p:cNvCxnSpPr>
              <a:cxnSpLocks noChangeShapeType="1"/>
            </p:cNvCxnSpPr>
            <p:nvPr/>
          </p:nvCxnSpPr>
          <p:spPr bwMode="auto">
            <a:xfrm>
              <a:off x="7680727" y="2676594"/>
              <a:ext cx="0" cy="241301"/>
            </a:xfrm>
            <a:prstGeom prst="straightConnector1">
              <a:avLst/>
            </a:prstGeom>
            <a:ln w="19050">
              <a:solidFill>
                <a:sysClr val="window" lastClr="FFFFFF">
                  <a:lumMod val="75000"/>
                </a:sysClr>
              </a:solidFill>
              <a:headEnd type="none" w="med" len="med"/>
              <a:tailEnd type="arrow" w="med" len="med"/>
            </a:ln>
          </p:spPr>
        </p:cxnSp>
        <p:sp>
          <p:nvSpPr>
            <p:cNvPr id="47" name="Rectangle 27">
              <a:extLst>
                <a:ext uri="{FF2B5EF4-FFF2-40B4-BE49-F238E27FC236}">
                  <a16:creationId xmlns:a16="http://schemas.microsoft.com/office/drawing/2014/main" id="{EA2BD2B1-B081-2B64-5973-D45F06380AF8}"/>
                </a:ext>
              </a:extLst>
            </p:cNvPr>
            <p:cNvSpPr/>
            <p:nvPr/>
          </p:nvSpPr>
          <p:spPr>
            <a:xfrm>
              <a:off x="5361781" y="3738949"/>
              <a:ext cx="5018676" cy="505523"/>
            </a:xfrm>
            <a:prstGeom prst="rect">
              <a:avLst/>
            </a:prstGeom>
          </p:spPr>
          <p:txBody>
            <a:bodyPr wrap="square" anchor="t" anchorCtr="0">
              <a:spAutoFit/>
            </a:bodyPr>
            <a:lstStyle/>
            <a:p>
              <a:pPr marL="0" lvl="1" defTabSz="949325">
                <a:lnSpc>
                  <a:spcPts val="1600"/>
                </a:lnSpc>
                <a:spcBef>
                  <a:spcPts val="600"/>
                </a:spcBef>
                <a:buClr>
                  <a:srgbClr val="EEECE1"/>
                </a:buClr>
              </a:pPr>
              <a:r>
                <a:rPr lang="pt-BR" sz="1600" dirty="0">
                  <a:cs typeface="Arial"/>
                </a:rPr>
                <a:t>Complemento estimulado por </a:t>
              </a:r>
              <a:r>
                <a:rPr lang="pt-BR" sz="1600" b="1" dirty="0">
                  <a:cs typeface="Arial"/>
                </a:rPr>
                <a:t>micróbios, anticorpos, substâncias estranhas</a:t>
              </a:r>
            </a:p>
          </p:txBody>
        </p:sp>
        <p:sp>
          <p:nvSpPr>
            <p:cNvPr id="55" name="Rectangle 27">
              <a:extLst>
                <a:ext uri="{FF2B5EF4-FFF2-40B4-BE49-F238E27FC236}">
                  <a16:creationId xmlns:a16="http://schemas.microsoft.com/office/drawing/2014/main" id="{8254B23D-5798-2123-43E4-E9B3F87D8C9D}"/>
                </a:ext>
              </a:extLst>
            </p:cNvPr>
            <p:cNvSpPr/>
            <p:nvPr/>
          </p:nvSpPr>
          <p:spPr>
            <a:xfrm>
              <a:off x="8131175" y="4399972"/>
              <a:ext cx="2018034" cy="505523"/>
            </a:xfrm>
            <a:prstGeom prst="rect">
              <a:avLst/>
            </a:prstGeom>
          </p:spPr>
          <p:txBody>
            <a:bodyPr wrap="square" anchor="t" anchorCtr="0">
              <a:spAutoFit/>
            </a:bodyPr>
            <a:lstStyle/>
            <a:p>
              <a:pPr marL="339725" lvl="2" defTabSz="949325">
                <a:lnSpc>
                  <a:spcPts val="1600"/>
                </a:lnSpc>
                <a:spcBef>
                  <a:spcPts val="600"/>
                </a:spcBef>
                <a:buClr>
                  <a:srgbClr val="EEECE1"/>
                </a:buClr>
              </a:pPr>
              <a:r>
                <a:rPr lang="pt-BR" sz="1400" b="1" dirty="0">
                  <a:cs typeface="Arial"/>
                </a:rPr>
                <a:t>Aumenta a ativação </a:t>
              </a:r>
              <a:r>
                <a:rPr lang="pt-BR" sz="1400" dirty="0">
                  <a:cs typeface="Arial"/>
                </a:rPr>
                <a:t>do complemento</a:t>
              </a:r>
            </a:p>
          </p:txBody>
        </p:sp>
        <p:sp>
          <p:nvSpPr>
            <p:cNvPr id="56" name="Rectangle 27">
              <a:extLst>
                <a:ext uri="{FF2B5EF4-FFF2-40B4-BE49-F238E27FC236}">
                  <a16:creationId xmlns:a16="http://schemas.microsoft.com/office/drawing/2014/main" id="{C7F1B5F1-FF28-9E6F-B812-061CDBAEB92E}"/>
                </a:ext>
              </a:extLst>
            </p:cNvPr>
            <p:cNvSpPr/>
            <p:nvPr/>
          </p:nvSpPr>
          <p:spPr>
            <a:xfrm>
              <a:off x="5361782" y="4403424"/>
              <a:ext cx="3000642" cy="1121076"/>
            </a:xfrm>
            <a:prstGeom prst="rect">
              <a:avLst/>
            </a:prstGeom>
          </p:spPr>
          <p:txBody>
            <a:bodyPr wrap="square" anchor="t" anchorCtr="0">
              <a:spAutoFit/>
            </a:bodyPr>
            <a:lstStyle/>
            <a:p>
              <a:pPr marL="339725" lvl="2" defTabSz="949325">
                <a:lnSpc>
                  <a:spcPts val="1600"/>
                </a:lnSpc>
                <a:spcBef>
                  <a:spcPts val="600"/>
                </a:spcBef>
                <a:buClr>
                  <a:srgbClr val="EEECE1"/>
                </a:buClr>
              </a:pPr>
              <a:r>
                <a:rPr lang="pt-BR" sz="1400" b="1" dirty="0">
                  <a:cs typeface="Arial"/>
                </a:rPr>
                <a:t>Infecções comuns </a:t>
              </a:r>
              <a:r>
                <a:rPr lang="pt-BR" sz="1400" dirty="0">
                  <a:cs typeface="Arial"/>
                </a:rPr>
                <a:t>(resfriados, infecção do trato respiratório superior, gastroenterite/diarreia), </a:t>
              </a:r>
              <a:r>
                <a:rPr lang="pt-BR" sz="1400" b="1" dirty="0">
                  <a:cs typeface="Arial"/>
                </a:rPr>
                <a:t>gravidez, cirurgias, estresse, exercício, traumatismo</a:t>
              </a:r>
            </a:p>
          </p:txBody>
        </p:sp>
        <p:cxnSp>
          <p:nvCxnSpPr>
            <p:cNvPr id="58" name="Conector reto 57">
              <a:extLst>
                <a:ext uri="{FF2B5EF4-FFF2-40B4-BE49-F238E27FC236}">
                  <a16:creationId xmlns:a16="http://schemas.microsoft.com/office/drawing/2014/main" id="{F17AD8D1-1B0F-93E8-5731-B7E776BA18F9}"/>
                </a:ext>
              </a:extLst>
            </p:cNvPr>
            <p:cNvCxnSpPr/>
            <p:nvPr/>
          </p:nvCxnSpPr>
          <p:spPr>
            <a:xfrm>
              <a:off x="8362423" y="4399972"/>
              <a:ext cx="0" cy="10102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Retângulo: Cantos Arredondados 60">
            <a:extLst>
              <a:ext uri="{FF2B5EF4-FFF2-40B4-BE49-F238E27FC236}">
                <a16:creationId xmlns:a16="http://schemas.microsoft.com/office/drawing/2014/main" id="{0E9CAC4C-6710-EF5B-55D3-ED43FE54C917}"/>
              </a:ext>
            </a:extLst>
          </p:cNvPr>
          <p:cNvSpPr/>
          <p:nvPr/>
        </p:nvSpPr>
        <p:spPr>
          <a:xfrm>
            <a:off x="6771242" y="3014760"/>
            <a:ext cx="1837552" cy="622963"/>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64" name="Retângulo: Cantos Arredondados 63">
            <a:extLst>
              <a:ext uri="{FF2B5EF4-FFF2-40B4-BE49-F238E27FC236}">
                <a16:creationId xmlns:a16="http://schemas.microsoft.com/office/drawing/2014/main" id="{7C215721-3A81-79D0-9AE0-35E99BCD9228}"/>
              </a:ext>
            </a:extLst>
          </p:cNvPr>
          <p:cNvSpPr/>
          <p:nvPr/>
        </p:nvSpPr>
        <p:spPr>
          <a:xfrm>
            <a:off x="8709055" y="3014760"/>
            <a:ext cx="1778831" cy="622963"/>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9712364" cy="535531"/>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Sistema Complemento</a:t>
            </a:r>
            <a:r>
              <a:rPr lang="pt-BR" sz="3600" b="1" baseline="30000" dirty="0">
                <a:gradFill>
                  <a:gsLst>
                    <a:gs pos="0">
                      <a:schemeClr val="accent1"/>
                    </a:gs>
                    <a:gs pos="100000">
                      <a:schemeClr val="bg2"/>
                    </a:gs>
                  </a:gsLst>
                  <a:lin ang="2700000" scaled="0"/>
                </a:gradFill>
                <a:latin typeface="Calisto MT"/>
              </a:rPr>
              <a:t>1-6</a:t>
            </a:r>
            <a:endParaRPr lang="pt-BR" sz="3600" b="1" dirty="0">
              <a:gradFill>
                <a:gsLst>
                  <a:gs pos="0">
                    <a:schemeClr val="accent1"/>
                  </a:gs>
                  <a:gs pos="100000">
                    <a:schemeClr val="bg2"/>
                  </a:gs>
                </a:gsLst>
                <a:lin ang="2700000" scaled="0"/>
              </a:gradFill>
              <a:latin typeface="Calisto MT"/>
            </a:endParaRP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p:txBody>
          <a:bodyPr/>
          <a:lstStyle/>
          <a:p>
            <a:pPr algn="l" fontAlgn="base"/>
            <a:r>
              <a:rPr lang="pt-BR" sz="700" b="0" i="0" dirty="0">
                <a:solidFill>
                  <a:srgbClr val="1D1D1D"/>
                </a:solidFill>
                <a:effectLst/>
                <a:latin typeface="Arial" panose="020B0604020202020204" pitchFamily="34" charset="0"/>
              </a:rPr>
              <a:t>1- Figueroa JE, </a:t>
            </a:r>
            <a:r>
              <a:rPr lang="pt-BR" sz="700" b="0" i="0" dirty="0" err="1">
                <a:solidFill>
                  <a:srgbClr val="1D1D1D"/>
                </a:solidFill>
                <a:effectLst/>
                <a:latin typeface="Arial" panose="020B0604020202020204" pitchFamily="34" charset="0"/>
              </a:rPr>
              <a:t>Densen</a:t>
            </a:r>
            <a:r>
              <a:rPr lang="pt-BR" sz="700" b="0" i="0" dirty="0">
                <a:solidFill>
                  <a:srgbClr val="1D1D1D"/>
                </a:solidFill>
                <a:effectLst/>
                <a:latin typeface="Arial" panose="020B0604020202020204" pitchFamily="34" charset="0"/>
              </a:rPr>
              <a:t> P. </a:t>
            </a:r>
            <a:r>
              <a:rPr lang="pt-BR" sz="700" b="0" i="0" dirty="0" err="1">
                <a:solidFill>
                  <a:srgbClr val="1D1D1D"/>
                </a:solidFill>
                <a:effectLst/>
                <a:latin typeface="Arial" panose="020B0604020202020204" pitchFamily="34" charset="0"/>
              </a:rPr>
              <a:t>Infectiou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isease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ssociate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omplemen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eficiencies</a:t>
            </a:r>
            <a:r>
              <a:rPr lang="pt-BR" sz="700" b="0" i="0" dirty="0">
                <a:solidFill>
                  <a:srgbClr val="1D1D1D"/>
                </a:solidFill>
                <a:effectLst/>
                <a:latin typeface="Arial" panose="020B0604020202020204" pitchFamily="34" charset="0"/>
              </a:rPr>
              <a:t>. Clin </a:t>
            </a:r>
            <a:r>
              <a:rPr lang="pt-BR" sz="700" b="0" i="0" dirty="0" err="1">
                <a:solidFill>
                  <a:srgbClr val="1D1D1D"/>
                </a:solidFill>
                <a:effectLst/>
                <a:latin typeface="Arial" panose="020B0604020202020204" pitchFamily="34" charset="0"/>
              </a:rPr>
              <a:t>Microbiol</a:t>
            </a:r>
            <a:r>
              <a:rPr lang="pt-BR" sz="700" b="0" i="0" dirty="0">
                <a:solidFill>
                  <a:srgbClr val="1D1D1D"/>
                </a:solidFill>
                <a:effectLst/>
                <a:latin typeface="Arial" panose="020B0604020202020204" pitchFamily="34" charset="0"/>
              </a:rPr>
              <a:t> Rev. 1991 Jul;4(3):359-95.</a:t>
            </a:r>
          </a:p>
          <a:p>
            <a:pPr algn="l" fontAlgn="base"/>
            <a:r>
              <a:rPr lang="pt-BR" sz="700" b="0" i="0" dirty="0">
                <a:solidFill>
                  <a:srgbClr val="1D1D1D"/>
                </a:solidFill>
                <a:effectLst/>
                <a:latin typeface="Arial" panose="020B0604020202020204" pitchFamily="34" charset="0"/>
              </a:rPr>
              <a:t>2-Walport MJ. </a:t>
            </a:r>
            <a:r>
              <a:rPr lang="pt-BR" sz="700" b="0" i="0" dirty="0" err="1">
                <a:solidFill>
                  <a:srgbClr val="1D1D1D"/>
                </a:solidFill>
                <a:effectLst/>
                <a:latin typeface="Arial" panose="020B0604020202020204" pitchFamily="34" charset="0"/>
              </a:rPr>
              <a:t>Complement</a:t>
            </a:r>
            <a:r>
              <a:rPr lang="pt-BR" sz="700" b="0" i="0" dirty="0">
                <a:solidFill>
                  <a:srgbClr val="1D1D1D"/>
                </a:solidFill>
                <a:effectLst/>
                <a:latin typeface="Arial" panose="020B0604020202020204" pitchFamily="34" charset="0"/>
              </a:rPr>
              <a:t>.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01 </a:t>
            </a:r>
            <a:r>
              <a:rPr lang="pt-BR" sz="700" b="0" i="0" dirty="0" err="1">
                <a:solidFill>
                  <a:srgbClr val="1D1D1D"/>
                </a:solidFill>
                <a:effectLst/>
                <a:latin typeface="Arial" panose="020B0604020202020204" pitchFamily="34" charset="0"/>
              </a:rPr>
              <a:t>Apr</a:t>
            </a:r>
            <a:r>
              <a:rPr lang="pt-BR" sz="700" b="0" i="0" dirty="0">
                <a:solidFill>
                  <a:srgbClr val="1D1D1D"/>
                </a:solidFill>
                <a:effectLst/>
                <a:latin typeface="Arial" panose="020B0604020202020204" pitchFamily="34" charset="0"/>
              </a:rPr>
              <a:t> 5;344(14):1058-66.</a:t>
            </a:r>
          </a:p>
          <a:p>
            <a:pPr algn="l" fontAlgn="base"/>
            <a:r>
              <a:rPr lang="pt-BR" sz="700" b="0" i="0" dirty="0">
                <a:solidFill>
                  <a:srgbClr val="1D1D1D"/>
                </a:solidFill>
                <a:effectLst/>
                <a:latin typeface="Arial" panose="020B0604020202020204" pitchFamily="34" charset="0"/>
              </a:rPr>
              <a:t>3- SOLIRIS® (</a:t>
            </a:r>
            <a:r>
              <a:rPr lang="pt-BR" sz="700" b="0" i="0" dirty="0" err="1">
                <a:solidFill>
                  <a:srgbClr val="1D1D1D"/>
                </a:solidFill>
                <a:effectLst/>
                <a:latin typeface="Arial" panose="020B0604020202020204" pitchFamily="34" charset="0"/>
              </a:rPr>
              <a:t>eculizumab</a:t>
            </a:r>
            <a:r>
              <a:rPr lang="pt-BR" sz="700" b="0" i="0" dirty="0">
                <a:solidFill>
                  <a:srgbClr val="1D1D1D"/>
                </a:solidFill>
                <a:effectLst/>
                <a:latin typeface="Arial" panose="020B0604020202020204" pitchFamily="34" charset="0"/>
              </a:rPr>
              <a:t>). Alexion </a:t>
            </a:r>
            <a:r>
              <a:rPr lang="pt-BR" sz="700" b="0" i="0" dirty="0" err="1">
                <a:solidFill>
                  <a:srgbClr val="1D1D1D"/>
                </a:solidFill>
                <a:effectLst/>
                <a:latin typeface="Arial" panose="020B0604020202020204" pitchFamily="34" charset="0"/>
              </a:rPr>
              <a:t>Pharmaceuticals</a:t>
            </a:r>
            <a:r>
              <a:rPr lang="pt-BR" sz="700" b="0" i="0" dirty="0">
                <a:solidFill>
                  <a:srgbClr val="1D1D1D"/>
                </a:solidFill>
                <a:effectLst/>
                <a:latin typeface="Arial" panose="020B0604020202020204" pitchFamily="34" charset="0"/>
              </a:rPr>
              <a:t>; 2009.</a:t>
            </a:r>
          </a:p>
          <a:p>
            <a:pPr algn="l" fontAlgn="base"/>
            <a:r>
              <a:rPr lang="pt-BR" sz="700" b="0" i="0" dirty="0">
                <a:solidFill>
                  <a:srgbClr val="1D1D1D"/>
                </a:solidFill>
                <a:effectLst/>
                <a:latin typeface="Arial" panose="020B0604020202020204" pitchFamily="34" charset="0"/>
              </a:rPr>
              <a:t>4- </a:t>
            </a:r>
            <a:r>
              <a:rPr lang="pt-BR" sz="700" b="0" i="0" dirty="0" err="1">
                <a:solidFill>
                  <a:srgbClr val="1D1D1D"/>
                </a:solidFill>
                <a:effectLst/>
                <a:latin typeface="Arial" panose="020B0604020202020204" pitchFamily="34" charset="0"/>
              </a:rPr>
              <a:t>Rother</a:t>
            </a:r>
            <a:r>
              <a:rPr lang="pt-BR" sz="700" b="0" i="0" dirty="0">
                <a:solidFill>
                  <a:srgbClr val="1D1D1D"/>
                </a:solidFill>
                <a:effectLst/>
                <a:latin typeface="Arial" panose="020B0604020202020204" pitchFamily="34" charset="0"/>
              </a:rPr>
              <a:t> RP, Rollins SA, </a:t>
            </a:r>
            <a:r>
              <a:rPr lang="pt-BR" sz="700" b="0" i="0" dirty="0" err="1">
                <a:solidFill>
                  <a:srgbClr val="1D1D1D"/>
                </a:solidFill>
                <a:effectLst/>
                <a:latin typeface="Arial" panose="020B0604020202020204" pitchFamily="34" charset="0"/>
              </a:rPr>
              <a:t>Mojcik</a:t>
            </a:r>
            <a:r>
              <a:rPr lang="pt-BR" sz="700" b="0" i="0" dirty="0">
                <a:solidFill>
                  <a:srgbClr val="1D1D1D"/>
                </a:solidFill>
                <a:effectLst/>
                <a:latin typeface="Arial" panose="020B0604020202020204" pitchFamily="34" charset="0"/>
              </a:rPr>
              <a:t> CF et al. Discovery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evelopmen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omplemen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hibito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culizumab</a:t>
            </a:r>
            <a:r>
              <a:rPr lang="pt-BR" sz="700" b="0" i="0" dirty="0">
                <a:solidFill>
                  <a:srgbClr val="1D1D1D"/>
                </a:solidFill>
                <a:effectLst/>
                <a:latin typeface="Arial" panose="020B0604020202020204" pitchFamily="34" charset="0"/>
              </a:rPr>
              <a:t> for </a:t>
            </a:r>
            <a:r>
              <a:rPr lang="pt-BR" sz="700" b="0" i="0" dirty="0" err="1">
                <a:solidFill>
                  <a:srgbClr val="1D1D1D"/>
                </a:solidFill>
                <a:effectLst/>
                <a:latin typeface="Arial" panose="020B0604020202020204" pitchFamily="34" charset="0"/>
              </a:rPr>
              <a:t>th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treatmen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aroxysm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octurn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emoglobinuria</a:t>
            </a:r>
            <a:r>
              <a:rPr lang="pt-BR" sz="700" b="0" i="0" dirty="0">
                <a:solidFill>
                  <a:srgbClr val="1D1D1D"/>
                </a:solidFill>
                <a:effectLst/>
                <a:latin typeface="Arial" panose="020B0604020202020204" pitchFamily="34" charset="0"/>
              </a:rPr>
              <a:t>. Nat </a:t>
            </a:r>
            <a:r>
              <a:rPr lang="pt-BR" sz="700" b="0" i="0" dirty="0" err="1">
                <a:solidFill>
                  <a:srgbClr val="1D1D1D"/>
                </a:solidFill>
                <a:effectLst/>
                <a:latin typeface="Arial" panose="020B0604020202020204" pitchFamily="34" charset="0"/>
              </a:rPr>
              <a:t>Biotechnol</a:t>
            </a:r>
            <a:r>
              <a:rPr lang="pt-BR" sz="700" b="0" i="0" dirty="0">
                <a:solidFill>
                  <a:srgbClr val="1D1D1D"/>
                </a:solidFill>
                <a:effectLst/>
                <a:latin typeface="Arial" panose="020B0604020202020204" pitchFamily="34" charset="0"/>
              </a:rPr>
              <a:t>. 2007 Nov;25(11):1256-64.</a:t>
            </a:r>
          </a:p>
          <a:p>
            <a:pPr algn="l" fontAlgn="base"/>
            <a:r>
              <a:rPr lang="pt-BR" sz="700" b="0" i="0" dirty="0">
                <a:solidFill>
                  <a:srgbClr val="1D1D1D"/>
                </a:solidFill>
                <a:effectLst/>
                <a:latin typeface="Arial" panose="020B0604020202020204" pitchFamily="34" charset="0"/>
              </a:rPr>
              <a:t>5- Meyers G, </a:t>
            </a:r>
            <a:r>
              <a:rPr lang="pt-BR" sz="700" b="0" i="0" dirty="0" err="1">
                <a:solidFill>
                  <a:srgbClr val="1D1D1D"/>
                </a:solidFill>
                <a:effectLst/>
                <a:latin typeface="Arial" panose="020B0604020202020204" pitchFamily="34" charset="0"/>
              </a:rPr>
              <a:t>Weitz</a:t>
            </a:r>
            <a:r>
              <a:rPr lang="pt-BR" sz="700" b="0" i="0" dirty="0">
                <a:solidFill>
                  <a:srgbClr val="1D1D1D"/>
                </a:solidFill>
                <a:effectLst/>
                <a:latin typeface="Arial" panose="020B0604020202020204" pitchFamily="34" charset="0"/>
              </a:rPr>
              <a:t> I, Lamy T et al. </a:t>
            </a:r>
            <a:r>
              <a:rPr lang="pt-BR" sz="700" b="0" i="0" dirty="0" err="1">
                <a:solidFill>
                  <a:srgbClr val="1D1D1D"/>
                </a:solidFill>
                <a:effectLst/>
                <a:latin typeface="Arial" panose="020B0604020202020204" pitchFamily="34" charset="0"/>
              </a:rPr>
              <a:t>Disease-relate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symptom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reporte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cross</a:t>
            </a:r>
            <a:r>
              <a:rPr lang="pt-BR" sz="700" b="0" i="0" dirty="0">
                <a:solidFill>
                  <a:srgbClr val="1D1D1D"/>
                </a:solidFill>
                <a:effectLst/>
                <a:latin typeface="Arial" panose="020B0604020202020204" pitchFamily="34" charset="0"/>
              </a:rPr>
              <a:t> a </a:t>
            </a:r>
            <a:r>
              <a:rPr lang="pt-BR" sz="700" b="0" i="0" dirty="0" err="1">
                <a:solidFill>
                  <a:srgbClr val="1D1D1D"/>
                </a:solidFill>
                <a:effectLst/>
                <a:latin typeface="Arial" panose="020B0604020202020204" pitchFamily="34" charset="0"/>
              </a:rPr>
              <a:t>broa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opula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atient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aroxysm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octurn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emoglobinuria</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Blood</a:t>
            </a:r>
            <a:r>
              <a:rPr lang="pt-BR" sz="700" b="0" i="0" dirty="0">
                <a:solidFill>
                  <a:srgbClr val="1D1D1D"/>
                </a:solidFill>
                <a:effectLst/>
                <a:latin typeface="Arial" panose="020B0604020202020204" pitchFamily="34" charset="0"/>
              </a:rPr>
              <a:t>. 2007 </a:t>
            </a:r>
            <a:r>
              <a:rPr lang="pt-BR" sz="700" b="0" i="0" dirty="0" err="1">
                <a:solidFill>
                  <a:srgbClr val="1D1D1D"/>
                </a:solidFill>
                <a:effectLst/>
                <a:latin typeface="Arial" panose="020B0604020202020204" pitchFamily="34" charset="0"/>
              </a:rPr>
              <a:t>Nov</a:t>
            </a:r>
            <a:r>
              <a:rPr lang="pt-BR" sz="700" b="0" i="0" dirty="0">
                <a:solidFill>
                  <a:srgbClr val="1D1D1D"/>
                </a:solidFill>
                <a:effectLst/>
                <a:latin typeface="Arial" panose="020B0604020202020204" pitchFamily="34" charset="0"/>
              </a:rPr>
              <a:t> 16;110(11):3683.</a:t>
            </a:r>
          </a:p>
          <a:p>
            <a:pPr algn="l" fontAlgn="base"/>
            <a:r>
              <a:rPr lang="pt-BR" sz="700" b="0" i="0" dirty="0">
                <a:solidFill>
                  <a:srgbClr val="1D1D1D"/>
                </a:solidFill>
                <a:effectLst/>
                <a:latin typeface="Arial" panose="020B0604020202020204" pitchFamily="34" charset="0"/>
              </a:rPr>
              <a:t>6- Hill A, </a:t>
            </a:r>
            <a:r>
              <a:rPr lang="pt-BR" sz="700" b="0" i="0" dirty="0" err="1">
                <a:solidFill>
                  <a:srgbClr val="1D1D1D"/>
                </a:solidFill>
                <a:effectLst/>
                <a:latin typeface="Arial" panose="020B0604020202020204" pitchFamily="34" charset="0"/>
              </a:rPr>
              <a:t>Rother</a:t>
            </a:r>
            <a:r>
              <a:rPr lang="pt-BR" sz="700" b="0" i="0" dirty="0">
                <a:solidFill>
                  <a:srgbClr val="1D1D1D"/>
                </a:solidFill>
                <a:effectLst/>
                <a:latin typeface="Arial" panose="020B0604020202020204" pitchFamily="34" charset="0"/>
              </a:rPr>
              <a:t> RP, Wang X et al. </a:t>
            </a:r>
            <a:r>
              <a:rPr lang="pt-BR" sz="700" b="0" i="0" dirty="0" err="1">
                <a:solidFill>
                  <a:srgbClr val="1D1D1D"/>
                </a:solidFill>
                <a:effectLst/>
                <a:latin typeface="Arial" panose="020B0604020202020204" pitchFamily="34" charset="0"/>
              </a:rPr>
              <a:t>Effec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culizumab</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aemolysis-associate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itric</a:t>
            </a:r>
            <a:r>
              <a:rPr lang="pt-BR" sz="700" b="0" i="0" dirty="0">
                <a:solidFill>
                  <a:srgbClr val="1D1D1D"/>
                </a:solidFill>
                <a:effectLst/>
                <a:latin typeface="Arial" panose="020B0604020202020204" pitchFamily="34" charset="0"/>
              </a:rPr>
              <a:t> oxide </a:t>
            </a:r>
            <a:r>
              <a:rPr lang="pt-BR" sz="700" b="0" i="0" dirty="0" err="1">
                <a:solidFill>
                  <a:srgbClr val="1D1D1D"/>
                </a:solidFill>
                <a:effectLst/>
                <a:latin typeface="Arial" panose="020B0604020202020204" pitchFamily="34" charset="0"/>
              </a:rPr>
              <a:t>depletion</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dyspnoea</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easure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ulmonary</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ypertension</a:t>
            </a:r>
            <a:r>
              <a:rPr lang="pt-BR" sz="700" b="0" i="0" dirty="0">
                <a:solidFill>
                  <a:srgbClr val="1D1D1D"/>
                </a:solidFill>
                <a:effectLst/>
                <a:latin typeface="Arial" panose="020B0604020202020204" pitchFamily="34" charset="0"/>
              </a:rPr>
              <a:t> in </a:t>
            </a:r>
            <a:r>
              <a:rPr lang="pt-BR" sz="700" b="0" i="0" dirty="0" err="1">
                <a:solidFill>
                  <a:srgbClr val="1D1D1D"/>
                </a:solidFill>
                <a:effectLst/>
                <a:latin typeface="Arial" panose="020B0604020202020204" pitchFamily="34" charset="0"/>
              </a:rPr>
              <a:t>patient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paroxysm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nocturnal</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aemoglobinuria</a:t>
            </a:r>
            <a:r>
              <a:rPr lang="pt-BR" sz="700" b="0" i="0" dirty="0">
                <a:solidFill>
                  <a:srgbClr val="1D1D1D"/>
                </a:solidFill>
                <a:effectLst/>
                <a:latin typeface="Arial" panose="020B0604020202020204" pitchFamily="34" charset="0"/>
              </a:rPr>
              <a:t>. Br J </a:t>
            </a:r>
            <a:r>
              <a:rPr lang="pt-BR" sz="700" b="0" i="0" dirty="0" err="1">
                <a:solidFill>
                  <a:srgbClr val="1D1D1D"/>
                </a:solidFill>
                <a:effectLst/>
                <a:latin typeface="Arial" panose="020B0604020202020204" pitchFamily="34" charset="0"/>
              </a:rPr>
              <a:t>Haematol</a:t>
            </a:r>
            <a:r>
              <a:rPr lang="pt-BR" sz="700" b="0" i="0" dirty="0">
                <a:solidFill>
                  <a:srgbClr val="1D1D1D"/>
                </a:solidFill>
                <a:effectLst/>
                <a:latin typeface="Arial" panose="020B0604020202020204" pitchFamily="34" charset="0"/>
              </a:rPr>
              <a:t>. 2010 May;149(3):414-25.</a:t>
            </a:r>
          </a:p>
        </p:txBody>
      </p:sp>
      <p:sp>
        <p:nvSpPr>
          <p:cNvPr id="5" name="CaixaDeTexto 4">
            <a:extLst>
              <a:ext uri="{FF2B5EF4-FFF2-40B4-BE49-F238E27FC236}">
                <a16:creationId xmlns:a16="http://schemas.microsoft.com/office/drawing/2014/main" id="{C16831C2-BADF-381D-1269-F8DE656A1D75}"/>
              </a:ext>
            </a:extLst>
          </p:cNvPr>
          <p:cNvSpPr txBox="1"/>
          <p:nvPr/>
        </p:nvSpPr>
        <p:spPr>
          <a:xfrm>
            <a:off x="6921238" y="3166661"/>
            <a:ext cx="1587294"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CLÁSSICA</a:t>
            </a:r>
          </a:p>
        </p:txBody>
      </p:sp>
      <p:sp>
        <p:nvSpPr>
          <p:cNvPr id="7" name="CaixaDeTexto 6">
            <a:extLst>
              <a:ext uri="{FF2B5EF4-FFF2-40B4-BE49-F238E27FC236}">
                <a16:creationId xmlns:a16="http://schemas.microsoft.com/office/drawing/2014/main" id="{755E3938-A86F-631B-7199-CB14FAA78F49}"/>
              </a:ext>
            </a:extLst>
          </p:cNvPr>
          <p:cNvSpPr txBox="1"/>
          <p:nvPr/>
        </p:nvSpPr>
        <p:spPr>
          <a:xfrm>
            <a:off x="8744524" y="3166661"/>
            <a:ext cx="1743362"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da LECTINA</a:t>
            </a:r>
          </a:p>
        </p:txBody>
      </p:sp>
      <p:grpSp>
        <p:nvGrpSpPr>
          <p:cNvPr id="65" name="Agrupar 64">
            <a:extLst>
              <a:ext uri="{FF2B5EF4-FFF2-40B4-BE49-F238E27FC236}">
                <a16:creationId xmlns:a16="http://schemas.microsoft.com/office/drawing/2014/main" id="{3F342AB1-EBB1-5B60-0526-A44DBDAC57D6}"/>
              </a:ext>
            </a:extLst>
          </p:cNvPr>
          <p:cNvGrpSpPr/>
          <p:nvPr/>
        </p:nvGrpSpPr>
        <p:grpSpPr>
          <a:xfrm>
            <a:off x="1546113" y="1289788"/>
            <a:ext cx="2769588" cy="4387112"/>
            <a:chOff x="1546113" y="1289788"/>
            <a:chExt cx="2769588" cy="4387112"/>
          </a:xfrm>
        </p:grpSpPr>
        <p:sp>
          <p:nvSpPr>
            <p:cNvPr id="48" name="Retângulo: Cantos Arredondados 47">
              <a:extLst>
                <a:ext uri="{FF2B5EF4-FFF2-40B4-BE49-F238E27FC236}">
                  <a16:creationId xmlns:a16="http://schemas.microsoft.com/office/drawing/2014/main" id="{5D619250-E635-0812-71A9-2B3C9552C875}"/>
                </a:ext>
              </a:extLst>
            </p:cNvPr>
            <p:cNvSpPr/>
            <p:nvPr/>
          </p:nvSpPr>
          <p:spPr>
            <a:xfrm flipH="1">
              <a:off x="1546113" y="1473200"/>
              <a:ext cx="2769588" cy="4203700"/>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18" name="AutoShape 14">
              <a:extLst>
                <a:ext uri="{FF2B5EF4-FFF2-40B4-BE49-F238E27FC236}">
                  <a16:creationId xmlns:a16="http://schemas.microsoft.com/office/drawing/2014/main" id="{E2C4D47C-CE81-79DF-B5D7-2B0D92937227}"/>
                </a:ext>
              </a:extLst>
            </p:cNvPr>
            <p:cNvSpPr>
              <a:spLocks noChangeArrowheads="1"/>
            </p:cNvSpPr>
            <p:nvPr/>
          </p:nvSpPr>
          <p:spPr bwMode="auto">
            <a:xfrm>
              <a:off x="2048640" y="1289788"/>
              <a:ext cx="1830658" cy="457200"/>
            </a:xfrm>
            <a:prstGeom prst="roundRect">
              <a:avLst>
                <a:gd name="adj" fmla="val 0"/>
              </a:avLst>
            </a:prstGeom>
            <a:solidFill>
              <a:schemeClr val="bg2"/>
            </a:solidFill>
            <a:ln>
              <a:noFill/>
              <a:headEnd/>
              <a:tailEnd/>
            </a:ln>
            <a:effectLst/>
          </p:spPr>
          <p:txBody>
            <a:bodyPr wrap="none" anchor="ctr"/>
            <a:lstStyle/>
            <a:p>
              <a:pPr marL="0" marR="0" lvl="0" indent="0" algn="ctr" defTabSz="949325" eaLnBrk="1" fontAlgn="base" latinLnBrk="0" hangingPunct="1">
                <a:lnSpc>
                  <a:spcPct val="100000"/>
                </a:lnSpc>
                <a:spcBef>
                  <a:spcPct val="0"/>
                </a:spcBef>
                <a:spcAft>
                  <a:spcPct val="0"/>
                </a:spcAft>
                <a:buClrTx/>
                <a:buSzTx/>
                <a:buFontTx/>
                <a:buNone/>
                <a:tabLst/>
                <a:defRPr/>
              </a:pPr>
              <a:r>
                <a:rPr kumimoji="0" lang="pt-BR" sz="1600" b="1" u="none" strike="noStrike" kern="0" cap="none" spc="0" normalizeH="0" baseline="0" noProof="0" dirty="0">
                  <a:ln>
                    <a:noFill/>
                  </a:ln>
                  <a:solidFill>
                    <a:schemeClr val="bg1"/>
                  </a:solidFill>
                  <a:uLnTx/>
                  <a:uFillTx/>
                  <a:cs typeface="Arial"/>
                </a:rPr>
                <a:t>Sempre ativado</a:t>
              </a:r>
            </a:p>
          </p:txBody>
        </p:sp>
        <p:cxnSp>
          <p:nvCxnSpPr>
            <p:cNvPr id="19" name="AutoShape 18">
              <a:extLst>
                <a:ext uri="{FF2B5EF4-FFF2-40B4-BE49-F238E27FC236}">
                  <a16:creationId xmlns:a16="http://schemas.microsoft.com/office/drawing/2014/main" id="{369596BC-7927-C867-2ED8-5F9E5BC2C0A8}"/>
                </a:ext>
              </a:extLst>
            </p:cNvPr>
            <p:cNvCxnSpPr>
              <a:cxnSpLocks noChangeShapeType="1"/>
            </p:cNvCxnSpPr>
            <p:nvPr/>
          </p:nvCxnSpPr>
          <p:spPr bwMode="auto">
            <a:xfrm>
              <a:off x="2963970" y="1770679"/>
              <a:ext cx="1" cy="482602"/>
            </a:xfrm>
            <a:prstGeom prst="straightConnector1">
              <a:avLst/>
            </a:prstGeom>
            <a:ln w="19050">
              <a:solidFill>
                <a:sysClr val="window" lastClr="FFFFFF">
                  <a:lumMod val="75000"/>
                </a:sysClr>
              </a:solidFill>
              <a:headEnd type="none" w="med" len="med"/>
              <a:tailEnd type="arrow" w="med" len="med"/>
            </a:ln>
          </p:spPr>
        </p:cxnSp>
        <p:sp>
          <p:nvSpPr>
            <p:cNvPr id="20" name="AutoShape 14">
              <a:extLst>
                <a:ext uri="{FF2B5EF4-FFF2-40B4-BE49-F238E27FC236}">
                  <a16:creationId xmlns:a16="http://schemas.microsoft.com/office/drawing/2014/main" id="{43C4D9AF-A28D-6B50-F5FD-EF26AA9A417F}"/>
                </a:ext>
              </a:extLst>
            </p:cNvPr>
            <p:cNvSpPr>
              <a:spLocks noChangeArrowheads="1"/>
            </p:cNvSpPr>
            <p:nvPr/>
          </p:nvSpPr>
          <p:spPr bwMode="auto">
            <a:xfrm>
              <a:off x="1956564" y="3693802"/>
              <a:ext cx="2234435" cy="1191816"/>
            </a:xfrm>
            <a:prstGeom prst="roundRect">
              <a:avLst>
                <a:gd name="adj" fmla="val 16667"/>
              </a:avLst>
            </a:prstGeom>
            <a:noFill/>
            <a:ln w="19050">
              <a:noFill/>
              <a:round/>
              <a:headEnd/>
              <a:tailEnd/>
            </a:ln>
            <a:effectLst/>
            <a:extLst>
              <a:ext uri="{909E8E84-426E-40DD-AFC4-6F175D3DCCD1}">
                <a14:hiddenFill xmlns:a14="http://schemas.microsoft.com/office/drawing/2010/main">
                  <a:solidFill>
                    <a:srgbClr val="FF66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defTabSz="949325" fontAlgn="base">
                <a:spcBef>
                  <a:spcPct val="0"/>
                </a:spcBef>
                <a:spcAft>
                  <a:spcPct val="0"/>
                </a:spcAft>
              </a:pPr>
              <a:r>
                <a:rPr lang="pt-BR" sz="1600" dirty="0">
                  <a:cs typeface="Arial"/>
                </a:rPr>
                <a:t>Ativação permanente do </a:t>
              </a:r>
              <a:r>
                <a:rPr lang="pt-BR" sz="1600" b="1" dirty="0">
                  <a:cs typeface="Arial"/>
                </a:rPr>
                <a:t>sistema do complemento</a:t>
              </a:r>
            </a:p>
            <a:p>
              <a:pPr defTabSz="949325" fontAlgn="base">
                <a:spcBef>
                  <a:spcPct val="0"/>
                </a:spcBef>
                <a:spcAft>
                  <a:spcPct val="0"/>
                </a:spcAft>
              </a:pPr>
              <a:r>
                <a:rPr lang="pt-BR" sz="1600" b="1" dirty="0">
                  <a:cs typeface="Arial"/>
                </a:rPr>
                <a:t>“</a:t>
              </a:r>
              <a:r>
                <a:rPr lang="pt-BR" sz="1600" b="1" dirty="0" err="1">
                  <a:cs typeface="Arial"/>
                </a:rPr>
                <a:t>tick</a:t>
              </a:r>
              <a:r>
                <a:rPr lang="pt-BR" sz="1600" b="1" dirty="0">
                  <a:cs typeface="Arial"/>
                </a:rPr>
                <a:t>-over”</a:t>
              </a:r>
            </a:p>
          </p:txBody>
        </p:sp>
        <p:sp>
          <p:nvSpPr>
            <p:cNvPr id="39" name="AutoShape 34">
              <a:extLst>
                <a:ext uri="{FF2B5EF4-FFF2-40B4-BE49-F238E27FC236}">
                  <a16:creationId xmlns:a16="http://schemas.microsoft.com/office/drawing/2014/main" id="{EA8A5F8E-4091-7A4C-340A-43F0B54690C5}"/>
                </a:ext>
              </a:extLst>
            </p:cNvPr>
            <p:cNvSpPr>
              <a:spLocks noChangeArrowheads="1"/>
            </p:cNvSpPr>
            <p:nvPr/>
          </p:nvSpPr>
          <p:spPr bwMode="auto">
            <a:xfrm>
              <a:off x="2337566" y="2329946"/>
              <a:ext cx="1084841" cy="317500"/>
            </a:xfrm>
            <a:prstGeom prst="roundRect">
              <a:avLst>
                <a:gd name="adj" fmla="val 0"/>
              </a:avLst>
            </a:prstGeom>
            <a:noFill/>
            <a:ln>
              <a:solidFill>
                <a:schemeClr val="bg2"/>
              </a:solidFill>
              <a:headEnd/>
              <a:tailEnd/>
            </a:ln>
            <a:effectLst/>
          </p:spPr>
          <p:txBody>
            <a:bodyPr wrap="none" anchor="ctr"/>
            <a:lstStyle/>
            <a:p>
              <a:pPr marL="0" marR="0" lvl="0" indent="0" algn="ctr" defTabSz="949325" eaLnBrk="1" fontAlgn="base" latinLnBrk="0" hangingPunct="1">
                <a:lnSpc>
                  <a:spcPct val="100000"/>
                </a:lnSpc>
                <a:spcBef>
                  <a:spcPct val="0"/>
                </a:spcBef>
                <a:spcAft>
                  <a:spcPct val="0"/>
                </a:spcAft>
                <a:buClrTx/>
                <a:buSzTx/>
                <a:buFontTx/>
                <a:buNone/>
                <a:tabLst/>
                <a:defRPr/>
              </a:pPr>
              <a:r>
                <a:rPr kumimoji="0" lang="pt-BR" sz="1600" b="1" i="0" u="none" strike="noStrike" kern="0" cap="none" spc="0" normalizeH="0" baseline="0" noProof="0" dirty="0">
                  <a:ln>
                    <a:noFill/>
                  </a:ln>
                  <a:solidFill>
                    <a:schemeClr val="bg2"/>
                  </a:solidFill>
                  <a:effectLst/>
                  <a:uLnTx/>
                  <a:uFillTx/>
                  <a:cs typeface="Arial"/>
                </a:rPr>
                <a:t>C3 + H</a:t>
              </a:r>
              <a:r>
                <a:rPr kumimoji="0" lang="pt-BR" sz="1050" b="1" i="0" u="none" strike="noStrike" kern="0" cap="none" spc="0" normalizeH="0" baseline="0" noProof="0" dirty="0">
                  <a:ln>
                    <a:noFill/>
                  </a:ln>
                  <a:solidFill>
                    <a:schemeClr val="bg2"/>
                  </a:solidFill>
                  <a:effectLst/>
                  <a:uLnTx/>
                  <a:uFillTx/>
                  <a:cs typeface="Arial"/>
                </a:rPr>
                <a:t>2</a:t>
              </a:r>
              <a:r>
                <a:rPr kumimoji="0" lang="pt-BR" sz="1600" b="1" i="0" u="none" strike="noStrike" kern="0" cap="none" spc="0" normalizeH="0" baseline="0" noProof="0" dirty="0">
                  <a:ln>
                    <a:noFill/>
                  </a:ln>
                  <a:solidFill>
                    <a:schemeClr val="bg2"/>
                  </a:solidFill>
                  <a:effectLst/>
                  <a:uLnTx/>
                  <a:uFillTx/>
                  <a:cs typeface="Arial"/>
                </a:rPr>
                <a:t>O</a:t>
              </a:r>
            </a:p>
          </p:txBody>
        </p:sp>
        <p:cxnSp>
          <p:nvCxnSpPr>
            <p:cNvPr id="43" name="AutoShape 18">
              <a:extLst>
                <a:ext uri="{FF2B5EF4-FFF2-40B4-BE49-F238E27FC236}">
                  <a16:creationId xmlns:a16="http://schemas.microsoft.com/office/drawing/2014/main" id="{A668EEE3-2A3B-8A76-7E98-50BA2332114D}"/>
                </a:ext>
              </a:extLst>
            </p:cNvPr>
            <p:cNvCxnSpPr>
              <a:cxnSpLocks noChangeShapeType="1"/>
            </p:cNvCxnSpPr>
            <p:nvPr/>
          </p:nvCxnSpPr>
          <p:spPr bwMode="auto">
            <a:xfrm>
              <a:off x="2963969" y="2676594"/>
              <a:ext cx="0" cy="241301"/>
            </a:xfrm>
            <a:prstGeom prst="straightConnector1">
              <a:avLst/>
            </a:prstGeom>
            <a:ln w="19050">
              <a:solidFill>
                <a:sysClr val="window" lastClr="FFFFFF">
                  <a:lumMod val="75000"/>
                </a:sysClr>
              </a:solidFill>
              <a:headEnd type="none" w="med" len="med"/>
              <a:tailEnd type="arrow" w="med" len="med"/>
            </a:ln>
          </p:spPr>
        </p:cxnSp>
      </p:grpSp>
      <p:sp>
        <p:nvSpPr>
          <p:cNvPr id="4" name="Retângulo: Cantos Arredondados 3">
            <a:extLst>
              <a:ext uri="{FF2B5EF4-FFF2-40B4-BE49-F238E27FC236}">
                <a16:creationId xmlns:a16="http://schemas.microsoft.com/office/drawing/2014/main" id="{E998C6AA-1D4D-7EC8-F547-41E6CC45F137}"/>
              </a:ext>
            </a:extLst>
          </p:cNvPr>
          <p:cNvSpPr/>
          <p:nvPr/>
        </p:nvSpPr>
        <p:spPr>
          <a:xfrm>
            <a:off x="1956565" y="3014760"/>
            <a:ext cx="4726040" cy="622963"/>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6" name="CaixaDeTexto 5">
            <a:extLst>
              <a:ext uri="{FF2B5EF4-FFF2-40B4-BE49-F238E27FC236}">
                <a16:creationId xmlns:a16="http://schemas.microsoft.com/office/drawing/2014/main" id="{3011D1BC-0FB9-885E-2FBC-C37C60005872}"/>
              </a:ext>
            </a:extLst>
          </p:cNvPr>
          <p:cNvSpPr txBox="1"/>
          <p:nvPr/>
        </p:nvSpPr>
        <p:spPr>
          <a:xfrm>
            <a:off x="3513990" y="3166661"/>
            <a:ext cx="2032865"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via ALTERNATIVA</a:t>
            </a:r>
          </a:p>
        </p:txBody>
      </p:sp>
    </p:spTree>
    <p:extLst>
      <p:ext uri="{BB962C8B-B14F-4D97-AF65-F5344CB8AC3E}">
        <p14:creationId xmlns:p14="http://schemas.microsoft.com/office/powerpoint/2010/main" val="307280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anim calcmode="lin" valueType="num">
                                      <p:cBhvr additive="base">
                                        <p:cTn id="11" dur="500" fill="hold"/>
                                        <p:tgtEl>
                                          <p:spTgt spid="61"/>
                                        </p:tgtEl>
                                        <p:attrNameLst>
                                          <p:attrName>ppt_x</p:attrName>
                                        </p:attrNameLst>
                                      </p:cBhvr>
                                      <p:tavLst>
                                        <p:tav tm="0">
                                          <p:val>
                                            <p:strVal val="0-#ppt_w/2"/>
                                          </p:val>
                                        </p:tav>
                                        <p:tav tm="100000">
                                          <p:val>
                                            <p:strVal val="#ppt_x"/>
                                          </p:val>
                                        </p:tav>
                                      </p:tavLst>
                                    </p:anim>
                                    <p:anim calcmode="lin" valueType="num">
                                      <p:cBhvr additive="base">
                                        <p:cTn id="12" dur="500" fill="hold"/>
                                        <p:tgtEl>
                                          <p:spTgt spid="61"/>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500" fill="hold"/>
                                        <p:tgtEl>
                                          <p:spTgt spid="64"/>
                                        </p:tgtEl>
                                        <p:attrNameLst>
                                          <p:attrName>ppt_x</p:attrName>
                                        </p:attrNameLst>
                                      </p:cBhvr>
                                      <p:tavLst>
                                        <p:tav tm="0">
                                          <p:val>
                                            <p:strVal val="0-#ppt_w/2"/>
                                          </p:val>
                                        </p:tav>
                                        <p:tav tm="100000">
                                          <p:val>
                                            <p:strVal val="#ppt_x"/>
                                          </p:val>
                                        </p:tav>
                                      </p:tavLst>
                                    </p:anim>
                                    <p:anim calcmode="lin" valueType="num">
                                      <p:cBhvr additive="base">
                                        <p:cTn id="16" dur="500" fill="hold"/>
                                        <p:tgtEl>
                                          <p:spTgt spid="64"/>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1000"/>
                            </p:stCondLst>
                            <p:childTnLst>
                              <p:par>
                                <p:cTn id="27" presetID="10" presetClass="entr" presetSubtype="0" fill="hold" nodeType="afterEffect">
                                  <p:stCondLst>
                                    <p:cond delay="50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500"/>
                                        <p:tgtEl>
                                          <p:spTgt spid="65"/>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67"/>
                                        </p:tgtEl>
                                        <p:attrNameLst>
                                          <p:attrName>style.visibility</p:attrName>
                                        </p:attrNameLst>
                                      </p:cBhvr>
                                      <p:to>
                                        <p:strVal val="visible"/>
                                      </p:to>
                                    </p:set>
                                    <p:animEffect transition="in" filter="fade">
                                      <p:cBhvr>
                                        <p:cTn id="33"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4" grpId="0" animBg="1"/>
      <p:bldP spid="5" grpId="0"/>
      <p:bldP spid="7" grpId="0"/>
      <p:bldP spid="4" grpId="0" animBg="1"/>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etângulo: Cantos Arredondados 184">
            <a:extLst>
              <a:ext uri="{FF2B5EF4-FFF2-40B4-BE49-F238E27FC236}">
                <a16:creationId xmlns:a16="http://schemas.microsoft.com/office/drawing/2014/main" id="{9ED2F300-5353-1EFF-7399-FFECD8AF5F98}"/>
              </a:ext>
            </a:extLst>
          </p:cNvPr>
          <p:cNvSpPr/>
          <p:nvPr/>
        </p:nvSpPr>
        <p:spPr>
          <a:xfrm flipH="1">
            <a:off x="448906" y="1667194"/>
            <a:ext cx="11294807" cy="4088146"/>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64" name="Retângulo: Cantos Arredondados 63">
            <a:extLst>
              <a:ext uri="{FF2B5EF4-FFF2-40B4-BE49-F238E27FC236}">
                <a16:creationId xmlns:a16="http://schemas.microsoft.com/office/drawing/2014/main" id="{7C215721-3A81-79D0-9AE0-35E99BCD9228}"/>
              </a:ext>
            </a:extLst>
          </p:cNvPr>
          <p:cNvSpPr/>
          <p:nvPr/>
        </p:nvSpPr>
        <p:spPr>
          <a:xfrm>
            <a:off x="963550" y="1508689"/>
            <a:ext cx="10299706" cy="414240"/>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9712364" cy="978729"/>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O sistema complemento funciona na imunidade inata através de 3 mecanismos</a:t>
            </a:r>
            <a:r>
              <a:rPr lang="pt-BR" sz="3600" b="1" baseline="30000" dirty="0">
                <a:gradFill>
                  <a:gsLst>
                    <a:gs pos="0">
                      <a:schemeClr val="accent1"/>
                    </a:gs>
                    <a:gs pos="100000">
                      <a:schemeClr val="bg2"/>
                    </a:gs>
                  </a:gsLst>
                  <a:lin ang="2700000" scaled="0"/>
                </a:gradFill>
                <a:latin typeface="Calisto MT"/>
              </a:rPr>
              <a:t>1</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36357" y="6386479"/>
            <a:ext cx="10165959" cy="565786"/>
          </a:xfrm>
        </p:spPr>
        <p:txBody>
          <a:bodyPr/>
          <a:lstStyle/>
          <a:p>
            <a:r>
              <a:rPr lang="en-US" sz="700" dirty="0"/>
              <a:t>MA, </a:t>
            </a:r>
            <a:r>
              <a:rPr lang="en-US" sz="700" dirty="0" err="1"/>
              <a:t>complexo</a:t>
            </a:r>
            <a:r>
              <a:rPr lang="en-US" sz="700" dirty="0"/>
              <a:t> de </a:t>
            </a:r>
            <a:r>
              <a:rPr lang="en-US" sz="700" dirty="0" err="1"/>
              <a:t>ataque</a:t>
            </a:r>
            <a:r>
              <a:rPr lang="en-US" sz="700" dirty="0"/>
              <a:t> à membrana.</a:t>
            </a:r>
          </a:p>
          <a:p>
            <a:endParaRPr lang="en-US" sz="700" dirty="0"/>
          </a:p>
          <a:p>
            <a:r>
              <a:rPr lang="pt-BR" sz="700" b="0" i="0" dirty="0">
                <a:solidFill>
                  <a:srgbClr val="1D1D1D"/>
                </a:solidFill>
                <a:effectLst/>
                <a:latin typeface="Arial" panose="020B0604020202020204" pitchFamily="34" charset="0"/>
              </a:rPr>
              <a:t>Imagens adaptadas de </a:t>
            </a:r>
            <a:r>
              <a:rPr lang="pt-BR" sz="700" b="0" i="0" dirty="0" err="1">
                <a:solidFill>
                  <a:srgbClr val="1D1D1D"/>
                </a:solidFill>
                <a:effectLst/>
                <a:latin typeface="Arial" panose="020B0604020202020204" pitchFamily="34" charset="0"/>
              </a:rPr>
              <a:t>Durkeberger</a:t>
            </a:r>
            <a:r>
              <a:rPr lang="pt-BR" sz="700" b="0" i="0" dirty="0">
                <a:solidFill>
                  <a:srgbClr val="1D1D1D"/>
                </a:solidFill>
                <a:effectLst/>
                <a:latin typeface="Arial" panose="020B0604020202020204" pitchFamily="34" charset="0"/>
              </a:rPr>
              <a:t> JR, Skill WC. Res. Célula 2010;20(1):34-50.</a:t>
            </a:r>
          </a:p>
          <a:p>
            <a:pPr algn="l" fontAlgn="base"/>
            <a:r>
              <a:rPr lang="pt-BR" sz="700" b="0" i="0" dirty="0">
                <a:solidFill>
                  <a:srgbClr val="1D1D1D"/>
                </a:solidFill>
                <a:effectLst/>
                <a:latin typeface="Arial" panose="020B0604020202020204" pitchFamily="34" charset="0"/>
              </a:rPr>
              <a:t>1. </a:t>
            </a:r>
            <a:r>
              <a:rPr lang="pt-BR" sz="700" b="0" i="0" dirty="0" err="1">
                <a:solidFill>
                  <a:srgbClr val="1D1D1D"/>
                </a:solidFill>
                <a:effectLst/>
                <a:latin typeface="Arial" panose="020B0604020202020204" pitchFamily="34" charset="0"/>
              </a:rPr>
              <a:t>Dunkelberger</a:t>
            </a:r>
            <a:r>
              <a:rPr lang="pt-BR" sz="700" b="0" i="0" dirty="0">
                <a:solidFill>
                  <a:srgbClr val="1D1D1D"/>
                </a:solidFill>
                <a:effectLst/>
                <a:latin typeface="Arial" panose="020B0604020202020204" pitchFamily="34" charset="0"/>
              </a:rPr>
              <a:t> JR, Song WC. </a:t>
            </a:r>
            <a:r>
              <a:rPr lang="pt-BR" sz="700" b="0" i="0" dirty="0" err="1">
                <a:solidFill>
                  <a:srgbClr val="1D1D1D"/>
                </a:solidFill>
                <a:effectLst/>
                <a:latin typeface="Arial" panose="020B0604020202020204" pitchFamily="34" charset="0"/>
              </a:rPr>
              <a:t>Complement</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its role in </a:t>
            </a:r>
            <a:r>
              <a:rPr lang="pt-BR" sz="700" b="0" i="0" dirty="0" err="1">
                <a:solidFill>
                  <a:srgbClr val="1D1D1D"/>
                </a:solidFill>
                <a:effectLst/>
                <a:latin typeface="Arial" panose="020B0604020202020204" pitchFamily="34" charset="0"/>
              </a:rPr>
              <a:t>innat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daptiv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responses. </a:t>
            </a:r>
            <a:r>
              <a:rPr lang="pt-BR" sz="700" b="0" i="0" dirty="0" err="1">
                <a:solidFill>
                  <a:srgbClr val="1D1D1D"/>
                </a:solidFill>
                <a:effectLst/>
                <a:latin typeface="Arial" panose="020B0604020202020204" pitchFamily="34" charset="0"/>
              </a:rPr>
              <a:t>Cell</a:t>
            </a:r>
            <a:r>
              <a:rPr lang="pt-BR" sz="700" b="0" i="0" dirty="0">
                <a:solidFill>
                  <a:srgbClr val="1D1D1D"/>
                </a:solidFill>
                <a:effectLst/>
                <a:latin typeface="Arial" panose="020B0604020202020204" pitchFamily="34" charset="0"/>
              </a:rPr>
              <a:t> Res. 2010 Jan;20(1):34-50.</a:t>
            </a:r>
          </a:p>
          <a:p>
            <a:pPr algn="l" fontAlgn="base"/>
            <a:r>
              <a:rPr lang="pt-BR" sz="700" b="0" i="0" dirty="0">
                <a:solidFill>
                  <a:srgbClr val="1D1D1D"/>
                </a:solidFill>
                <a:effectLst/>
                <a:latin typeface="Arial" panose="020B0604020202020204" pitchFamily="34" charset="0"/>
              </a:rPr>
              <a:t>2. </a:t>
            </a:r>
            <a:r>
              <a:rPr lang="pt-BR" sz="700" b="0" i="0" dirty="0" err="1">
                <a:solidFill>
                  <a:srgbClr val="1D1D1D"/>
                </a:solidFill>
                <a:effectLst/>
                <a:latin typeface="Arial" panose="020B0604020202020204" pitchFamily="34" charset="0"/>
              </a:rPr>
              <a:t>Ricklin</a:t>
            </a:r>
            <a:r>
              <a:rPr lang="pt-BR" sz="700" b="0" i="0" dirty="0">
                <a:solidFill>
                  <a:srgbClr val="1D1D1D"/>
                </a:solidFill>
                <a:effectLst/>
                <a:latin typeface="Arial" panose="020B0604020202020204" pitchFamily="34" charset="0"/>
              </a:rPr>
              <a:t> D, </a:t>
            </a:r>
            <a:r>
              <a:rPr lang="pt-BR" sz="700" b="0" i="0" dirty="0" err="1">
                <a:solidFill>
                  <a:srgbClr val="1D1D1D"/>
                </a:solidFill>
                <a:effectLst/>
                <a:latin typeface="Arial" panose="020B0604020202020204" pitchFamily="34" charset="0"/>
              </a:rPr>
              <a:t>Hajishengallis</a:t>
            </a:r>
            <a:r>
              <a:rPr lang="pt-BR" sz="700" b="0" i="0" dirty="0">
                <a:solidFill>
                  <a:srgbClr val="1D1D1D"/>
                </a:solidFill>
                <a:effectLst/>
                <a:latin typeface="Arial" panose="020B0604020202020204" pitchFamily="34" charset="0"/>
              </a:rPr>
              <a:t> G, Yang K, Lambris JD. </a:t>
            </a:r>
            <a:r>
              <a:rPr lang="pt-BR" sz="700" b="0" i="0" dirty="0" err="1">
                <a:solidFill>
                  <a:srgbClr val="1D1D1D"/>
                </a:solidFill>
                <a:effectLst/>
                <a:latin typeface="Arial" panose="020B0604020202020204" pitchFamily="34" charset="0"/>
              </a:rPr>
              <a:t>Complement</a:t>
            </a:r>
            <a:r>
              <a:rPr lang="pt-BR" sz="700" b="0" i="0" dirty="0">
                <a:solidFill>
                  <a:srgbClr val="1D1D1D"/>
                </a:solidFill>
                <a:effectLst/>
                <a:latin typeface="Arial" panose="020B0604020202020204" pitchFamily="34" charset="0"/>
              </a:rPr>
              <a:t>: a </a:t>
            </a:r>
            <a:r>
              <a:rPr lang="pt-BR" sz="700" b="0" i="0" dirty="0" err="1">
                <a:solidFill>
                  <a:srgbClr val="1D1D1D"/>
                </a:solidFill>
                <a:effectLst/>
                <a:latin typeface="Arial" panose="020B0604020202020204" pitchFamily="34" charset="0"/>
              </a:rPr>
              <a:t>key</a:t>
            </a:r>
            <a:r>
              <a:rPr lang="pt-BR" sz="700" b="0" i="0" dirty="0">
                <a:solidFill>
                  <a:srgbClr val="1D1D1D"/>
                </a:solidFill>
                <a:effectLst/>
                <a:latin typeface="Arial" panose="020B0604020202020204" pitchFamily="34" charset="0"/>
              </a:rPr>
              <a:t> system for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surveillanc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homeostasis</a:t>
            </a:r>
            <a:r>
              <a:rPr lang="pt-BR" sz="700" b="0" i="0" dirty="0">
                <a:solidFill>
                  <a:srgbClr val="1D1D1D"/>
                </a:solidFill>
                <a:effectLst/>
                <a:latin typeface="Arial" panose="020B0604020202020204" pitchFamily="34" charset="0"/>
              </a:rPr>
              <a:t>. Nat </a:t>
            </a:r>
            <a:r>
              <a:rPr lang="pt-BR" sz="700" b="0" i="0" dirty="0" err="1">
                <a:solidFill>
                  <a:srgbClr val="1D1D1D"/>
                </a:solidFill>
                <a:effectLst/>
                <a:latin typeface="Arial" panose="020B0604020202020204" pitchFamily="34" charset="0"/>
              </a:rPr>
              <a:t>Immunol</a:t>
            </a:r>
            <a:r>
              <a:rPr lang="pt-BR" sz="700" b="0" i="0" dirty="0">
                <a:solidFill>
                  <a:srgbClr val="1D1D1D"/>
                </a:solidFill>
                <a:effectLst/>
                <a:latin typeface="Arial" panose="020B0604020202020204" pitchFamily="34" charset="0"/>
              </a:rPr>
              <a:t>. 2010 Sep;11(9):785-97.</a:t>
            </a:r>
          </a:p>
          <a:p>
            <a:endParaRPr lang="en-US" sz="700" dirty="0"/>
          </a:p>
        </p:txBody>
      </p:sp>
      <p:sp>
        <p:nvSpPr>
          <p:cNvPr id="7" name="CaixaDeTexto 6">
            <a:extLst>
              <a:ext uri="{FF2B5EF4-FFF2-40B4-BE49-F238E27FC236}">
                <a16:creationId xmlns:a16="http://schemas.microsoft.com/office/drawing/2014/main" id="{755E3938-A86F-631B-7199-CB14FAA78F49}"/>
              </a:ext>
            </a:extLst>
          </p:cNvPr>
          <p:cNvSpPr txBox="1"/>
          <p:nvPr/>
        </p:nvSpPr>
        <p:spPr>
          <a:xfrm>
            <a:off x="1235840" y="1546532"/>
            <a:ext cx="2560637"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Opsonização e fagocitose</a:t>
            </a:r>
            <a:r>
              <a:rPr lang="pt-BR" sz="1600" b="1" baseline="30000" dirty="0">
                <a:solidFill>
                  <a:schemeClr val="bg1"/>
                </a:solidFill>
                <a:latin typeface="+mj-lt"/>
              </a:rPr>
              <a:t>1</a:t>
            </a:r>
          </a:p>
        </p:txBody>
      </p:sp>
      <p:sp>
        <p:nvSpPr>
          <p:cNvPr id="8" name="CaixaDeTexto 7">
            <a:extLst>
              <a:ext uri="{FF2B5EF4-FFF2-40B4-BE49-F238E27FC236}">
                <a16:creationId xmlns:a16="http://schemas.microsoft.com/office/drawing/2014/main" id="{7D3F1367-A029-DA39-2118-08B02BFA183F}"/>
              </a:ext>
            </a:extLst>
          </p:cNvPr>
          <p:cNvSpPr txBox="1"/>
          <p:nvPr/>
        </p:nvSpPr>
        <p:spPr>
          <a:xfrm>
            <a:off x="5468690" y="1546532"/>
            <a:ext cx="1387944"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Inflamação</a:t>
            </a:r>
            <a:r>
              <a:rPr lang="pt-BR" sz="1600" b="1" baseline="30000" dirty="0">
                <a:solidFill>
                  <a:schemeClr val="bg1"/>
                </a:solidFill>
                <a:latin typeface="+mj-lt"/>
              </a:rPr>
              <a:t>1,2</a:t>
            </a:r>
          </a:p>
        </p:txBody>
      </p:sp>
      <p:sp>
        <p:nvSpPr>
          <p:cNvPr id="10" name="CaixaDeTexto 9">
            <a:extLst>
              <a:ext uri="{FF2B5EF4-FFF2-40B4-BE49-F238E27FC236}">
                <a16:creationId xmlns:a16="http://schemas.microsoft.com/office/drawing/2014/main" id="{70DEB62D-CC8A-F45E-2952-AF5C6AC8FD28}"/>
              </a:ext>
            </a:extLst>
          </p:cNvPr>
          <p:cNvSpPr txBox="1"/>
          <p:nvPr/>
        </p:nvSpPr>
        <p:spPr>
          <a:xfrm>
            <a:off x="9327804" y="1546532"/>
            <a:ext cx="748923" cy="338554"/>
          </a:xfrm>
          <a:prstGeom prst="rect">
            <a:avLst/>
          </a:prstGeom>
          <a:noFill/>
        </p:spPr>
        <p:txBody>
          <a:bodyPr wrap="none" rtlCol="0">
            <a:spAutoFit/>
          </a:bodyPr>
          <a:lstStyle/>
          <a:p>
            <a:pPr algn="ctr">
              <a:spcAft>
                <a:spcPts val="600"/>
              </a:spcAft>
            </a:pPr>
            <a:r>
              <a:rPr lang="pt-BR" sz="1600" b="1" dirty="0">
                <a:solidFill>
                  <a:schemeClr val="bg1"/>
                </a:solidFill>
                <a:latin typeface="+mj-lt"/>
              </a:rPr>
              <a:t>Lise</a:t>
            </a:r>
            <a:r>
              <a:rPr lang="pt-BR" sz="1600" b="1" baseline="30000" dirty="0">
                <a:solidFill>
                  <a:schemeClr val="bg1"/>
                </a:solidFill>
                <a:latin typeface="+mj-lt"/>
              </a:rPr>
              <a:t>1,2</a:t>
            </a:r>
          </a:p>
        </p:txBody>
      </p:sp>
      <p:grpSp>
        <p:nvGrpSpPr>
          <p:cNvPr id="205" name="Agrupar 204">
            <a:extLst>
              <a:ext uri="{FF2B5EF4-FFF2-40B4-BE49-F238E27FC236}">
                <a16:creationId xmlns:a16="http://schemas.microsoft.com/office/drawing/2014/main" id="{AC1DE6A0-27BD-EC95-8ECB-F5B2CF40D09D}"/>
              </a:ext>
            </a:extLst>
          </p:cNvPr>
          <p:cNvGrpSpPr/>
          <p:nvPr/>
        </p:nvGrpSpPr>
        <p:grpSpPr>
          <a:xfrm>
            <a:off x="8266046" y="3120390"/>
            <a:ext cx="3423248" cy="2310721"/>
            <a:chOff x="8266046" y="3174180"/>
            <a:chExt cx="3423248" cy="2310721"/>
          </a:xfrm>
        </p:grpSpPr>
        <p:sp>
          <p:nvSpPr>
            <p:cNvPr id="199" name="Freeform 8944">
              <a:extLst>
                <a:ext uri="{FF2B5EF4-FFF2-40B4-BE49-F238E27FC236}">
                  <a16:creationId xmlns:a16="http://schemas.microsoft.com/office/drawing/2014/main" id="{19D053DC-C0C1-4D34-BB3B-71F888A9A406}"/>
                </a:ext>
              </a:extLst>
            </p:cNvPr>
            <p:cNvSpPr/>
            <p:nvPr/>
          </p:nvSpPr>
          <p:spPr>
            <a:xfrm>
              <a:off x="9020953" y="3174180"/>
              <a:ext cx="428727" cy="291589"/>
            </a:xfrm>
            <a:custGeom>
              <a:avLst/>
              <a:gdLst>
                <a:gd name="connsiteX0" fmla="*/ 428727 w 428727"/>
                <a:gd name="connsiteY0" fmla="*/ 86443 h 291589"/>
                <a:gd name="connsiteX1" fmla="*/ 428727 w 428727"/>
                <a:gd name="connsiteY1" fmla="*/ 205147 h 291589"/>
                <a:gd name="connsiteX2" fmla="*/ 342284 w 428727"/>
                <a:gd name="connsiteY2" fmla="*/ 291590 h 291589"/>
                <a:gd name="connsiteX3" fmla="*/ 86443 w 428727"/>
                <a:gd name="connsiteY3" fmla="*/ 291590 h 291589"/>
                <a:gd name="connsiteX4" fmla="*/ 0 w 428727"/>
                <a:gd name="connsiteY4" fmla="*/ 205147 h 291589"/>
                <a:gd name="connsiteX5" fmla="*/ 0 w 428727"/>
                <a:gd name="connsiteY5" fmla="*/ 86443 h 291589"/>
                <a:gd name="connsiteX6" fmla="*/ 86443 w 428727"/>
                <a:gd name="connsiteY6" fmla="*/ 0 h 291589"/>
                <a:gd name="connsiteX7" fmla="*/ 342284 w 428727"/>
                <a:gd name="connsiteY7" fmla="*/ 0 h 291589"/>
                <a:gd name="connsiteX8" fmla="*/ 428727 w 428727"/>
                <a:gd name="connsiteY8" fmla="*/ 86443 h 29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27" h="291589">
                  <a:moveTo>
                    <a:pt x="428727" y="86443"/>
                  </a:moveTo>
                  <a:lnTo>
                    <a:pt x="428727" y="205147"/>
                  </a:lnTo>
                  <a:cubicBezTo>
                    <a:pt x="428727" y="252852"/>
                    <a:pt x="389990" y="291590"/>
                    <a:pt x="342284" y="291590"/>
                  </a:cubicBezTo>
                  <a:lnTo>
                    <a:pt x="86443" y="291590"/>
                  </a:lnTo>
                  <a:cubicBezTo>
                    <a:pt x="38737" y="291590"/>
                    <a:pt x="0" y="252852"/>
                    <a:pt x="0" y="205147"/>
                  </a:cubicBezTo>
                  <a:lnTo>
                    <a:pt x="0" y="86443"/>
                  </a:lnTo>
                  <a:cubicBezTo>
                    <a:pt x="0" y="38738"/>
                    <a:pt x="38737" y="0"/>
                    <a:pt x="86443" y="0"/>
                  </a:cubicBezTo>
                  <a:lnTo>
                    <a:pt x="342284" y="0"/>
                  </a:lnTo>
                  <a:cubicBezTo>
                    <a:pt x="390115" y="0"/>
                    <a:pt x="428727" y="38738"/>
                    <a:pt x="428727" y="86443"/>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200" name="Freeform 8952">
              <a:extLst>
                <a:ext uri="{FF2B5EF4-FFF2-40B4-BE49-F238E27FC236}">
                  <a16:creationId xmlns:a16="http://schemas.microsoft.com/office/drawing/2014/main" id="{843C6BEF-263D-839C-E9E1-DE87FD7CAFC2}"/>
                </a:ext>
              </a:extLst>
            </p:cNvPr>
            <p:cNvSpPr/>
            <p:nvPr/>
          </p:nvSpPr>
          <p:spPr>
            <a:xfrm>
              <a:off x="9464078" y="3174180"/>
              <a:ext cx="457155" cy="312031"/>
            </a:xfrm>
            <a:custGeom>
              <a:avLst/>
              <a:gdLst>
                <a:gd name="connsiteX0" fmla="*/ 428119 w 457154"/>
                <a:gd name="connsiteY0" fmla="*/ 195929 h 312030"/>
                <a:gd name="connsiteX1" fmla="*/ 456767 w 457154"/>
                <a:gd name="connsiteY1" fmla="*/ 193064 h 312030"/>
                <a:gd name="connsiteX2" fmla="*/ 457141 w 457154"/>
                <a:gd name="connsiteY2" fmla="*/ 215236 h 312030"/>
                <a:gd name="connsiteX3" fmla="*/ 368331 w 457154"/>
                <a:gd name="connsiteY3" fmla="*/ 307159 h 312030"/>
                <a:gd name="connsiteX4" fmla="*/ 94180 w 457154"/>
                <a:gd name="connsiteY4" fmla="*/ 312017 h 312030"/>
                <a:gd name="connsiteX5" fmla="*/ 2256 w 457154"/>
                <a:gd name="connsiteY5" fmla="*/ 223208 h 312030"/>
                <a:gd name="connsiteX6" fmla="*/ 14 w 457154"/>
                <a:gd name="connsiteY6" fmla="*/ 94539 h 312030"/>
                <a:gd name="connsiteX7" fmla="*/ 88824 w 457154"/>
                <a:gd name="connsiteY7" fmla="*/ 2616 h 312030"/>
                <a:gd name="connsiteX8" fmla="*/ 234432 w 457154"/>
                <a:gd name="connsiteY8" fmla="*/ 0 h 312030"/>
                <a:gd name="connsiteX9" fmla="*/ 234182 w 457154"/>
                <a:gd name="connsiteY9" fmla="*/ 8595 h 312030"/>
                <a:gd name="connsiteX10" fmla="*/ 428119 w 457154"/>
                <a:gd name="connsiteY10" fmla="*/ 195929 h 3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54" h="312030">
                  <a:moveTo>
                    <a:pt x="428119" y="195929"/>
                  </a:moveTo>
                  <a:cubicBezTo>
                    <a:pt x="437959" y="195805"/>
                    <a:pt x="447425" y="194559"/>
                    <a:pt x="456767" y="193064"/>
                  </a:cubicBezTo>
                  <a:lnTo>
                    <a:pt x="457141" y="215236"/>
                  </a:lnTo>
                  <a:cubicBezTo>
                    <a:pt x="458013" y="265183"/>
                    <a:pt x="418279" y="306287"/>
                    <a:pt x="368331" y="307159"/>
                  </a:cubicBezTo>
                  <a:lnTo>
                    <a:pt x="94180" y="312017"/>
                  </a:lnTo>
                  <a:cubicBezTo>
                    <a:pt x="44232" y="312889"/>
                    <a:pt x="3128" y="273155"/>
                    <a:pt x="2256" y="223208"/>
                  </a:cubicBezTo>
                  <a:lnTo>
                    <a:pt x="14" y="94539"/>
                  </a:lnTo>
                  <a:cubicBezTo>
                    <a:pt x="-858" y="44591"/>
                    <a:pt x="38876" y="3488"/>
                    <a:pt x="88824" y="2616"/>
                  </a:cubicBezTo>
                  <a:lnTo>
                    <a:pt x="234432" y="0"/>
                  </a:lnTo>
                  <a:cubicBezTo>
                    <a:pt x="234307" y="2865"/>
                    <a:pt x="234058" y="5605"/>
                    <a:pt x="234182" y="8595"/>
                  </a:cubicBezTo>
                  <a:cubicBezTo>
                    <a:pt x="236051" y="113970"/>
                    <a:pt x="322867" y="197798"/>
                    <a:pt x="428119" y="195929"/>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kern="0">
                <a:solidFill>
                  <a:srgbClr val="37302C"/>
                </a:solidFill>
                <a:ea typeface="ヒラギノ角ゴ Pro W3" panose="020B0300000000000000" pitchFamily="34" charset="-128"/>
                <a:cs typeface="Arial"/>
              </a:endParaRPr>
            </a:p>
          </p:txBody>
        </p:sp>
        <p:sp>
          <p:nvSpPr>
            <p:cNvPr id="201" name="Freeform 8946">
              <a:extLst>
                <a:ext uri="{FF2B5EF4-FFF2-40B4-BE49-F238E27FC236}">
                  <a16:creationId xmlns:a16="http://schemas.microsoft.com/office/drawing/2014/main" id="{02E5AB76-4343-58E9-769E-C6EFAEDC66D0}"/>
                </a:ext>
              </a:extLst>
            </p:cNvPr>
            <p:cNvSpPr/>
            <p:nvPr/>
          </p:nvSpPr>
          <p:spPr>
            <a:xfrm>
              <a:off x="9197361" y="3483708"/>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852" y="428727"/>
                    <a:pt x="205146" y="428727"/>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202" name="Freeform 8948">
              <a:extLst>
                <a:ext uri="{FF2B5EF4-FFF2-40B4-BE49-F238E27FC236}">
                  <a16:creationId xmlns:a16="http://schemas.microsoft.com/office/drawing/2014/main" id="{32EC3A50-4DE3-3B59-2825-F9F924210246}"/>
                </a:ext>
              </a:extLst>
            </p:cNvPr>
            <p:cNvSpPr/>
            <p:nvPr/>
          </p:nvSpPr>
          <p:spPr>
            <a:xfrm>
              <a:off x="9509519" y="3483708"/>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977" y="428727"/>
                    <a:pt x="205146" y="42872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2452" cap="flat">
              <a:solidFill>
                <a:schemeClr val="bg1">
                  <a:lumMod val="6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5" name="TextBox 38">
              <a:extLst>
                <a:ext uri="{FF2B5EF4-FFF2-40B4-BE49-F238E27FC236}">
                  <a16:creationId xmlns:a16="http://schemas.microsoft.com/office/drawing/2014/main" id="{42306002-815F-3928-046E-00E2F2E47F5B}"/>
                </a:ext>
              </a:extLst>
            </p:cNvPr>
            <p:cNvSpPr txBox="1"/>
            <p:nvPr/>
          </p:nvSpPr>
          <p:spPr>
            <a:xfrm>
              <a:off x="9092050" y="3215926"/>
              <a:ext cx="316112" cy="243272"/>
            </a:xfrm>
            <a:prstGeom prst="rect">
              <a:avLst/>
            </a:prstGeom>
            <a:noFill/>
          </p:spPr>
          <p:txBody>
            <a:bodyPr wrap="none" rtlCol="0">
              <a:spAutoFit/>
            </a:bodyPr>
            <a:lstStyle/>
            <a:p>
              <a:pPr defTabSz="914377" fontAlgn="base">
                <a:spcBef>
                  <a:spcPct val="0"/>
                </a:spcBef>
                <a:spcAft>
                  <a:spcPct val="0"/>
                </a:spcAft>
                <a:defRPr/>
              </a:pPr>
              <a:r>
                <a:rPr lang="en-US" sz="981" b="1" dirty="0">
                  <a:solidFill>
                    <a:schemeClr val="bg1"/>
                  </a:solidFill>
                  <a:ea typeface="ヒラギノ角ゴ Pro W3" panose="020B0300000000000000" pitchFamily="34" charset="-128"/>
                  <a:cs typeface="Arial"/>
                  <a:sym typeface="Arial"/>
                </a:rPr>
                <a:t>C6</a:t>
              </a:r>
            </a:p>
          </p:txBody>
        </p:sp>
        <p:sp>
          <p:nvSpPr>
            <p:cNvPr id="17" name="TextBox 40">
              <a:extLst>
                <a:ext uri="{FF2B5EF4-FFF2-40B4-BE49-F238E27FC236}">
                  <a16:creationId xmlns:a16="http://schemas.microsoft.com/office/drawing/2014/main" id="{46A70175-0C5C-4A85-09C1-67079A83D291}"/>
                </a:ext>
              </a:extLst>
            </p:cNvPr>
            <p:cNvSpPr txBox="1"/>
            <p:nvPr/>
          </p:nvSpPr>
          <p:spPr>
            <a:xfrm>
              <a:off x="9438434" y="3250595"/>
              <a:ext cx="383438" cy="243272"/>
            </a:xfrm>
            <a:prstGeom prst="rect">
              <a:avLst/>
            </a:prstGeom>
            <a:noFill/>
          </p:spPr>
          <p:txBody>
            <a:bodyPr wrap="none" rtlCol="0">
              <a:spAutoFit/>
            </a:bodyPr>
            <a:lstStyle/>
            <a:p>
              <a:pPr defTabSz="914377" fontAlgn="base">
                <a:spcBef>
                  <a:spcPct val="0"/>
                </a:spcBef>
                <a:spcAft>
                  <a:spcPct val="0"/>
                </a:spcAft>
                <a:defRPr/>
              </a:pPr>
              <a:r>
                <a:rPr lang="en-US" sz="981" b="1">
                  <a:solidFill>
                    <a:schemeClr val="bg1"/>
                  </a:solidFill>
                  <a:ea typeface="ヒラギノ角ゴ Pro W3" panose="020B0300000000000000" pitchFamily="34" charset="-128"/>
                  <a:cs typeface="Arial"/>
                  <a:sym typeface="Arial"/>
                </a:rPr>
                <a:t>C5b</a:t>
              </a:r>
            </a:p>
          </p:txBody>
        </p:sp>
        <p:sp>
          <p:nvSpPr>
            <p:cNvPr id="21" name="TextBox 41">
              <a:extLst>
                <a:ext uri="{FF2B5EF4-FFF2-40B4-BE49-F238E27FC236}">
                  <a16:creationId xmlns:a16="http://schemas.microsoft.com/office/drawing/2014/main" id="{4A908142-FE1E-6654-451B-923787D5E831}"/>
                </a:ext>
              </a:extLst>
            </p:cNvPr>
            <p:cNvSpPr txBox="1"/>
            <p:nvPr/>
          </p:nvSpPr>
          <p:spPr>
            <a:xfrm>
              <a:off x="9889781" y="3374178"/>
              <a:ext cx="360996" cy="243272"/>
            </a:xfrm>
            <a:prstGeom prst="rect">
              <a:avLst/>
            </a:prstGeom>
            <a:noFill/>
          </p:spPr>
          <p:txBody>
            <a:bodyPr wrap="none" rtlCol="0">
              <a:spAutoFit/>
            </a:bodyPr>
            <a:lstStyle/>
            <a:p>
              <a:pPr defTabSz="914377" fontAlgn="base">
                <a:spcBef>
                  <a:spcPct val="0"/>
                </a:spcBef>
                <a:spcAft>
                  <a:spcPct val="0"/>
                </a:spcAft>
                <a:defRPr/>
              </a:pPr>
              <a:r>
                <a:rPr lang="en-US" sz="981" b="1" dirty="0">
                  <a:ea typeface="ヒラギノ角ゴ Pro W3" panose="020B0300000000000000" pitchFamily="34" charset="-128"/>
                  <a:cs typeface="Arial"/>
                  <a:sym typeface="Arial"/>
                </a:rPr>
                <a:t>C9</a:t>
              </a:r>
              <a:r>
                <a:rPr lang="en-US" sz="981" b="1" baseline="-25000" dirty="0">
                  <a:ea typeface="ヒラギノ角ゴ Pro W3" panose="020B0300000000000000" pitchFamily="34" charset="-128"/>
                  <a:cs typeface="Arial"/>
                  <a:sym typeface="Arial"/>
                </a:rPr>
                <a:t>n</a:t>
              </a:r>
              <a:endParaRPr lang="en-US" sz="981" b="1" dirty="0">
                <a:ea typeface="ヒラギノ角ゴ Pro W3" panose="020B0300000000000000" pitchFamily="34" charset="-128"/>
                <a:cs typeface="Arial"/>
                <a:sym typeface="Arial"/>
              </a:endParaRPr>
            </a:p>
          </p:txBody>
        </p:sp>
        <p:sp>
          <p:nvSpPr>
            <p:cNvPr id="22" name="Freeform 42">
              <a:extLst>
                <a:ext uri="{FF2B5EF4-FFF2-40B4-BE49-F238E27FC236}">
                  <a16:creationId xmlns:a16="http://schemas.microsoft.com/office/drawing/2014/main" id="{8F6784A9-BCF8-37E2-C552-BE54B80CD09A}"/>
                </a:ext>
              </a:extLst>
            </p:cNvPr>
            <p:cNvSpPr/>
            <p:nvPr/>
          </p:nvSpPr>
          <p:spPr>
            <a:xfrm>
              <a:off x="8266046" y="3866787"/>
              <a:ext cx="3407732" cy="558867"/>
            </a:xfrm>
            <a:custGeom>
              <a:avLst/>
              <a:gdLst>
                <a:gd name="connsiteX0" fmla="*/ 6571414 w 6571413"/>
                <a:gd name="connsiteY0" fmla="*/ 558868 h 558867"/>
                <a:gd name="connsiteX1" fmla="*/ 2284513 w 6571413"/>
                <a:gd name="connsiteY1" fmla="*/ 72221 h 558867"/>
                <a:gd name="connsiteX2" fmla="*/ 0 w 6571413"/>
                <a:gd name="connsiteY2" fmla="*/ 558868 h 558867"/>
                <a:gd name="connsiteX3" fmla="*/ 6571414 w 6571413"/>
                <a:gd name="connsiteY3" fmla="*/ 558868 h 558867"/>
              </a:gdLst>
              <a:ahLst/>
              <a:cxnLst>
                <a:cxn ang="0">
                  <a:pos x="connsiteX0" y="connsiteY0"/>
                </a:cxn>
                <a:cxn ang="0">
                  <a:pos x="connsiteX1" y="connsiteY1"/>
                </a:cxn>
                <a:cxn ang="0">
                  <a:pos x="connsiteX2" y="connsiteY2"/>
                </a:cxn>
                <a:cxn ang="0">
                  <a:pos x="connsiteX3" y="connsiteY3"/>
                </a:cxn>
              </a:cxnLst>
              <a:rect l="l" t="t" r="r" b="b"/>
              <a:pathLst>
                <a:path w="6571413" h="558867">
                  <a:moveTo>
                    <a:pt x="6571414" y="558868"/>
                  </a:moveTo>
                  <a:cubicBezTo>
                    <a:pt x="5644456" y="86420"/>
                    <a:pt x="4052982" y="-121715"/>
                    <a:pt x="2284513" y="72221"/>
                  </a:cubicBezTo>
                  <a:cubicBezTo>
                    <a:pt x="1449353" y="163895"/>
                    <a:pt x="672238" y="334539"/>
                    <a:pt x="0" y="558868"/>
                  </a:cubicBezTo>
                  <a:lnTo>
                    <a:pt x="6571414" y="558868"/>
                  </a:lnTo>
                  <a:close/>
                </a:path>
              </a:pathLst>
            </a:custGeom>
            <a:gradFill>
              <a:gsLst>
                <a:gs pos="99000">
                  <a:schemeClr val="bg1">
                    <a:lumMod val="65000"/>
                  </a:schemeClr>
                </a:gs>
                <a:gs pos="0">
                  <a:srgbClr val="FFFFFF"/>
                </a:gs>
              </a:gsLst>
              <a:lin ang="16200000" scaled="0"/>
            </a:gradFill>
            <a:ln w="12452" cap="flat">
              <a:noFill/>
              <a:prstDash val="solid"/>
              <a:miter/>
            </a:ln>
          </p:spPr>
          <p:txBody>
            <a:bodyPr rtlCol="0" anchor="ctr"/>
            <a:lstStyle/>
            <a:p>
              <a:pPr defTabSz="914377">
                <a:defRPr/>
              </a:pPr>
              <a:endParaRPr lang="en-US" b="1" kern="0">
                <a:ea typeface="ヒラギノ角ゴ Pro W3" panose="020B0300000000000000" pitchFamily="34" charset="-128"/>
                <a:cs typeface="Arial"/>
              </a:endParaRPr>
            </a:p>
          </p:txBody>
        </p:sp>
        <p:grpSp>
          <p:nvGrpSpPr>
            <p:cNvPr id="23" name="Graphic 2987">
              <a:extLst>
                <a:ext uri="{FF2B5EF4-FFF2-40B4-BE49-F238E27FC236}">
                  <a16:creationId xmlns:a16="http://schemas.microsoft.com/office/drawing/2014/main" id="{FB27C93F-202F-EC32-743B-CFE5FCB93041}"/>
                </a:ext>
              </a:extLst>
            </p:cNvPr>
            <p:cNvGrpSpPr/>
            <p:nvPr/>
          </p:nvGrpSpPr>
          <p:grpSpPr>
            <a:xfrm>
              <a:off x="9810669" y="3644894"/>
              <a:ext cx="654659" cy="689069"/>
              <a:chOff x="7861128" y="5428032"/>
              <a:chExt cx="654659" cy="689069"/>
            </a:xfrm>
            <a:solidFill>
              <a:srgbClr val="FFF4B5"/>
            </a:solidFill>
          </p:grpSpPr>
          <p:sp>
            <p:nvSpPr>
              <p:cNvPr id="24" name="Freeform 44">
                <a:extLst>
                  <a:ext uri="{FF2B5EF4-FFF2-40B4-BE49-F238E27FC236}">
                    <a16:creationId xmlns:a16="http://schemas.microsoft.com/office/drawing/2014/main" id="{16AD2FA5-C685-3278-70BF-1CA4C419A5C6}"/>
                  </a:ext>
                </a:extLst>
              </p:cNvPr>
              <p:cNvSpPr/>
              <p:nvPr/>
            </p:nvSpPr>
            <p:spPr>
              <a:xfrm>
                <a:off x="8046923" y="5428173"/>
                <a:ext cx="277888" cy="606222"/>
              </a:xfrm>
              <a:custGeom>
                <a:avLst/>
                <a:gdLst>
                  <a:gd name="connsiteX0" fmla="*/ 272782 w 277888"/>
                  <a:gd name="connsiteY0" fmla="*/ 606222 h 606222"/>
                  <a:gd name="connsiteX1" fmla="*/ 0 w 277888"/>
                  <a:gd name="connsiteY1" fmla="*/ 603980 h 606222"/>
                  <a:gd name="connsiteX2" fmla="*/ 5107 w 277888"/>
                  <a:gd name="connsiteY2" fmla="*/ 0 h 606222"/>
                  <a:gd name="connsiteX3" fmla="*/ 277888 w 277888"/>
                  <a:gd name="connsiteY3" fmla="*/ 2242 h 606222"/>
                </a:gdLst>
                <a:ahLst/>
                <a:cxnLst>
                  <a:cxn ang="0">
                    <a:pos x="connsiteX0" y="connsiteY0"/>
                  </a:cxn>
                  <a:cxn ang="0">
                    <a:pos x="connsiteX1" y="connsiteY1"/>
                  </a:cxn>
                  <a:cxn ang="0">
                    <a:pos x="connsiteX2" y="connsiteY2"/>
                  </a:cxn>
                  <a:cxn ang="0">
                    <a:pos x="connsiteX3" y="connsiteY3"/>
                  </a:cxn>
                </a:cxnLst>
                <a:rect l="l" t="t" r="r" b="b"/>
                <a:pathLst>
                  <a:path w="277888" h="606222">
                    <a:moveTo>
                      <a:pt x="272782" y="606222"/>
                    </a:moveTo>
                    <a:lnTo>
                      <a:pt x="0" y="603980"/>
                    </a:lnTo>
                    <a:lnTo>
                      <a:pt x="5107" y="0"/>
                    </a:lnTo>
                    <a:lnTo>
                      <a:pt x="277888" y="2242"/>
                    </a:lnTo>
                    <a:close/>
                  </a:path>
                </a:pathLst>
              </a:custGeom>
              <a:solidFill>
                <a:srgbClr val="FFF4B5"/>
              </a:solidFill>
              <a:ln w="12452" cap="rnd">
                <a:solidFill>
                  <a:srgbClr val="95371F"/>
                </a:solidFill>
                <a:prstDash val="solid"/>
                <a:round/>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grpSp>
            <p:nvGrpSpPr>
              <p:cNvPr id="26" name="Graphic 2987">
                <a:extLst>
                  <a:ext uri="{FF2B5EF4-FFF2-40B4-BE49-F238E27FC236}">
                    <a16:creationId xmlns:a16="http://schemas.microsoft.com/office/drawing/2014/main" id="{3603F560-8AC0-3FCA-1C1E-CD2ED89F4E8A}"/>
                  </a:ext>
                </a:extLst>
              </p:cNvPr>
              <p:cNvGrpSpPr/>
              <p:nvPr/>
            </p:nvGrpSpPr>
            <p:grpSpPr>
              <a:xfrm>
                <a:off x="7861128" y="5428032"/>
                <a:ext cx="253183" cy="684711"/>
                <a:chOff x="7861128" y="5428032"/>
                <a:chExt cx="253183" cy="684711"/>
              </a:xfrm>
              <a:solidFill>
                <a:srgbClr val="FFF4B5"/>
              </a:solidFill>
            </p:grpSpPr>
            <p:sp>
              <p:nvSpPr>
                <p:cNvPr id="34" name="Freeform 50">
                  <a:extLst>
                    <a:ext uri="{FF2B5EF4-FFF2-40B4-BE49-F238E27FC236}">
                      <a16:creationId xmlns:a16="http://schemas.microsoft.com/office/drawing/2014/main" id="{99AD5FAC-5E7C-1BE4-555A-866FF559E698}"/>
                    </a:ext>
                  </a:extLst>
                </p:cNvPr>
                <p:cNvSpPr/>
                <p:nvPr/>
              </p:nvSpPr>
              <p:spPr>
                <a:xfrm>
                  <a:off x="7948772" y="5428032"/>
                  <a:ext cx="165539" cy="618321"/>
                </a:xfrm>
                <a:custGeom>
                  <a:avLst/>
                  <a:gdLst>
                    <a:gd name="connsiteX0" fmla="*/ 102387 w 165539"/>
                    <a:gd name="connsiteY0" fmla="*/ 17 h 618321"/>
                    <a:gd name="connsiteX1" fmla="*/ 165538 w 165539"/>
                    <a:gd name="connsiteY1" fmla="*/ 56441 h 618321"/>
                    <a:gd name="connsiteX2" fmla="*/ 160804 w 165539"/>
                    <a:gd name="connsiteY2" fmla="*/ 606613 h 618321"/>
                    <a:gd name="connsiteX3" fmla="*/ 115465 w 165539"/>
                    <a:gd name="connsiteY3" fmla="*/ 608107 h 618321"/>
                    <a:gd name="connsiteX4" fmla="*/ 74859 w 165539"/>
                    <a:gd name="connsiteY4" fmla="*/ 618321 h 618321"/>
                    <a:gd name="connsiteX5" fmla="*/ 79468 w 165539"/>
                    <a:gd name="connsiteY5" fmla="*/ 79734 h 618321"/>
                    <a:gd name="connsiteX6" fmla="*/ 0 w 165539"/>
                    <a:gd name="connsiteY6" fmla="*/ 16458 h 618321"/>
                    <a:gd name="connsiteX7" fmla="*/ 102387 w 165539"/>
                    <a:gd name="connsiteY7" fmla="*/ 17 h 6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39" h="618321">
                      <a:moveTo>
                        <a:pt x="102387" y="17"/>
                      </a:moveTo>
                      <a:cubicBezTo>
                        <a:pt x="144737" y="390"/>
                        <a:pt x="165786" y="24679"/>
                        <a:pt x="165538" y="56441"/>
                      </a:cubicBezTo>
                      <a:cubicBezTo>
                        <a:pt x="165288" y="88204"/>
                        <a:pt x="160804" y="606613"/>
                        <a:pt x="160804" y="606613"/>
                      </a:cubicBezTo>
                      <a:cubicBezTo>
                        <a:pt x="160804" y="606613"/>
                        <a:pt x="142494" y="604495"/>
                        <a:pt x="115465" y="608107"/>
                      </a:cubicBezTo>
                      <a:cubicBezTo>
                        <a:pt x="88436" y="611720"/>
                        <a:pt x="74859" y="618321"/>
                        <a:pt x="74859" y="618321"/>
                      </a:cubicBezTo>
                      <a:lnTo>
                        <a:pt x="79468" y="79734"/>
                      </a:lnTo>
                      <a:lnTo>
                        <a:pt x="0" y="16458"/>
                      </a:lnTo>
                      <a:cubicBezTo>
                        <a:pt x="0" y="16458"/>
                        <a:pt x="35873" y="-606"/>
                        <a:pt x="102387" y="17"/>
                      </a:cubicBezTo>
                      <a:close/>
                    </a:path>
                  </a:pathLst>
                </a:custGeom>
                <a:solidFill>
                  <a:srgbClr val="FFF4B5"/>
                </a:solidFill>
                <a:ln w="12452" cap="rnd">
                  <a:solidFill>
                    <a:srgbClr val="95371F"/>
                  </a:solidFill>
                  <a:prstDash val="solid"/>
                  <a:round/>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sp>
              <p:nvSpPr>
                <p:cNvPr id="35" name="Freeform 51">
                  <a:extLst>
                    <a:ext uri="{FF2B5EF4-FFF2-40B4-BE49-F238E27FC236}">
                      <a16:creationId xmlns:a16="http://schemas.microsoft.com/office/drawing/2014/main" id="{DC6AEF71-7FA7-A1CA-4B18-7733B2C8A4FD}"/>
                    </a:ext>
                  </a:extLst>
                </p:cNvPr>
                <p:cNvSpPr/>
                <p:nvPr/>
              </p:nvSpPr>
              <p:spPr>
                <a:xfrm>
                  <a:off x="7884750" y="5441747"/>
                  <a:ext cx="144613" cy="658414"/>
                </a:xfrm>
                <a:custGeom>
                  <a:avLst/>
                  <a:gdLst>
                    <a:gd name="connsiteX0" fmla="*/ 138881 w 144613"/>
                    <a:gd name="connsiteY0" fmla="*/ 604606 h 658414"/>
                    <a:gd name="connsiteX1" fmla="*/ 102137 w 144613"/>
                    <a:gd name="connsiteY1" fmla="*/ 623538 h 658414"/>
                    <a:gd name="connsiteX2" fmla="*/ 74236 w 144613"/>
                    <a:gd name="connsiteY2" fmla="*/ 658415 h 658414"/>
                    <a:gd name="connsiteX3" fmla="*/ 79592 w 144613"/>
                    <a:gd name="connsiteY3" fmla="*/ 91428 h 658414"/>
                    <a:gd name="connsiteX4" fmla="*/ 0 w 144613"/>
                    <a:gd name="connsiteY4" fmla="*/ 38367 h 658414"/>
                    <a:gd name="connsiteX5" fmla="*/ 92920 w 144613"/>
                    <a:gd name="connsiteY5" fmla="*/ 3 h 658414"/>
                    <a:gd name="connsiteX6" fmla="*/ 144611 w 144613"/>
                    <a:gd name="connsiteY6" fmla="*/ 44844 h 658414"/>
                    <a:gd name="connsiteX7" fmla="*/ 138881 w 144613"/>
                    <a:gd name="connsiteY7" fmla="*/ 604606 h 65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13" h="658414">
                      <a:moveTo>
                        <a:pt x="138881" y="604606"/>
                      </a:moveTo>
                      <a:cubicBezTo>
                        <a:pt x="138881" y="604606"/>
                        <a:pt x="123436" y="608342"/>
                        <a:pt x="102137" y="623538"/>
                      </a:cubicBezTo>
                      <a:cubicBezTo>
                        <a:pt x="80838" y="638734"/>
                        <a:pt x="74236" y="658415"/>
                        <a:pt x="74236" y="658415"/>
                      </a:cubicBezTo>
                      <a:lnTo>
                        <a:pt x="79592" y="91428"/>
                      </a:lnTo>
                      <a:lnTo>
                        <a:pt x="0" y="38367"/>
                      </a:lnTo>
                      <a:cubicBezTo>
                        <a:pt x="0" y="38367"/>
                        <a:pt x="42848" y="-371"/>
                        <a:pt x="92920" y="3"/>
                      </a:cubicBezTo>
                      <a:cubicBezTo>
                        <a:pt x="125678" y="252"/>
                        <a:pt x="144861" y="16818"/>
                        <a:pt x="144611" y="44844"/>
                      </a:cubicBezTo>
                      <a:cubicBezTo>
                        <a:pt x="144611" y="44844"/>
                        <a:pt x="138881" y="604606"/>
                        <a:pt x="138881" y="604606"/>
                      </a:cubicBezTo>
                      <a:close/>
                    </a:path>
                  </a:pathLst>
                </a:custGeom>
                <a:solidFill>
                  <a:srgbClr val="FFF4B5"/>
                </a:solidFill>
                <a:ln w="12452" cap="rnd">
                  <a:solidFill>
                    <a:srgbClr val="95371F"/>
                  </a:solidFill>
                  <a:prstDash val="solid"/>
                  <a:round/>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sp>
              <p:nvSpPr>
                <p:cNvPr id="36" name="Freeform 52">
                  <a:extLst>
                    <a:ext uri="{FF2B5EF4-FFF2-40B4-BE49-F238E27FC236}">
                      <a16:creationId xmlns:a16="http://schemas.microsoft.com/office/drawing/2014/main" id="{F7F0A344-EB5B-8FAC-61AA-930F8BCC140A}"/>
                    </a:ext>
                  </a:extLst>
                </p:cNvPr>
                <p:cNvSpPr/>
                <p:nvPr/>
              </p:nvSpPr>
              <p:spPr>
                <a:xfrm>
                  <a:off x="7861128" y="5465538"/>
                  <a:ext cx="104003" cy="647204"/>
                </a:xfrm>
                <a:custGeom>
                  <a:avLst/>
                  <a:gdLst>
                    <a:gd name="connsiteX0" fmla="*/ 103961 w 104003"/>
                    <a:gd name="connsiteY0" fmla="*/ 49700 h 647204"/>
                    <a:gd name="connsiteX1" fmla="*/ 89140 w 104003"/>
                    <a:gd name="connsiteY1" fmla="*/ 16817 h 647204"/>
                    <a:gd name="connsiteX2" fmla="*/ 53391 w 104003"/>
                    <a:gd name="connsiteY2" fmla="*/ 2 h 647204"/>
                    <a:gd name="connsiteX3" fmla="*/ 23622 w 104003"/>
                    <a:gd name="connsiteY3" fmla="*/ 14575 h 647204"/>
                    <a:gd name="connsiteX4" fmla="*/ 5312 w 104003"/>
                    <a:gd name="connsiteY4" fmla="*/ 47334 h 647204"/>
                    <a:gd name="connsiteX5" fmla="*/ 3568 w 104003"/>
                    <a:gd name="connsiteY5" fmla="*/ 52316 h 647204"/>
                    <a:gd name="connsiteX6" fmla="*/ 6433 w 104003"/>
                    <a:gd name="connsiteY6" fmla="*/ 91676 h 647204"/>
                    <a:gd name="connsiteX7" fmla="*/ 49904 w 104003"/>
                    <a:gd name="connsiteY7" fmla="*/ 93295 h 647204"/>
                    <a:gd name="connsiteX8" fmla="*/ 84032 w 104003"/>
                    <a:gd name="connsiteY8" fmla="*/ 113972 h 647204"/>
                    <a:gd name="connsiteX9" fmla="*/ 78302 w 104003"/>
                    <a:gd name="connsiteY9" fmla="*/ 635869 h 647204"/>
                    <a:gd name="connsiteX10" fmla="*/ 88143 w 104003"/>
                    <a:gd name="connsiteY10" fmla="*/ 647203 h 647204"/>
                    <a:gd name="connsiteX11" fmla="*/ 97983 w 104003"/>
                    <a:gd name="connsiteY11" fmla="*/ 634499 h 647204"/>
                    <a:gd name="connsiteX12" fmla="*/ 103961 w 104003"/>
                    <a:gd name="connsiteY12" fmla="*/ 49700 h 64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003" h="647204">
                      <a:moveTo>
                        <a:pt x="103961" y="49700"/>
                      </a:moveTo>
                      <a:cubicBezTo>
                        <a:pt x="102716" y="37494"/>
                        <a:pt x="97983" y="25661"/>
                        <a:pt x="89140" y="16817"/>
                      </a:cubicBezTo>
                      <a:cubicBezTo>
                        <a:pt x="84406" y="12084"/>
                        <a:pt x="68463" y="126"/>
                        <a:pt x="53391" y="2"/>
                      </a:cubicBezTo>
                      <a:cubicBezTo>
                        <a:pt x="38320" y="-123"/>
                        <a:pt x="31469" y="6354"/>
                        <a:pt x="23622" y="14575"/>
                      </a:cubicBezTo>
                      <a:cubicBezTo>
                        <a:pt x="14903" y="23792"/>
                        <a:pt x="8550" y="35127"/>
                        <a:pt x="5312" y="47334"/>
                      </a:cubicBezTo>
                      <a:cubicBezTo>
                        <a:pt x="4689" y="48953"/>
                        <a:pt x="4066" y="50697"/>
                        <a:pt x="3568" y="52316"/>
                      </a:cubicBezTo>
                      <a:cubicBezTo>
                        <a:pt x="-542" y="65270"/>
                        <a:pt x="-2784" y="80217"/>
                        <a:pt x="6433" y="91676"/>
                      </a:cubicBezTo>
                      <a:cubicBezTo>
                        <a:pt x="18017" y="105876"/>
                        <a:pt x="35579" y="95039"/>
                        <a:pt x="49904" y="93295"/>
                      </a:cubicBezTo>
                      <a:cubicBezTo>
                        <a:pt x="57501" y="92424"/>
                        <a:pt x="84157" y="90181"/>
                        <a:pt x="84032" y="113972"/>
                      </a:cubicBezTo>
                      <a:cubicBezTo>
                        <a:pt x="83908" y="122816"/>
                        <a:pt x="77804" y="634748"/>
                        <a:pt x="78302" y="635869"/>
                      </a:cubicBezTo>
                      <a:cubicBezTo>
                        <a:pt x="77804" y="641349"/>
                        <a:pt x="81043" y="647203"/>
                        <a:pt x="88143" y="647203"/>
                      </a:cubicBezTo>
                      <a:cubicBezTo>
                        <a:pt x="95865" y="647328"/>
                        <a:pt x="99104" y="640353"/>
                        <a:pt x="97983" y="634499"/>
                      </a:cubicBezTo>
                      <a:cubicBezTo>
                        <a:pt x="98107" y="634000"/>
                        <a:pt x="104585" y="55181"/>
                        <a:pt x="103961" y="49700"/>
                      </a:cubicBezTo>
                      <a:close/>
                    </a:path>
                  </a:pathLst>
                </a:custGeom>
                <a:solidFill>
                  <a:srgbClr val="FFF4B5"/>
                </a:solidFill>
                <a:ln w="12452" cap="flat">
                  <a:solidFill>
                    <a:srgbClr val="95371F"/>
                  </a:solidFill>
                  <a:prstDash val="solid"/>
                  <a:miter/>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grpSp>
          <p:grpSp>
            <p:nvGrpSpPr>
              <p:cNvPr id="27" name="Graphic 2987">
                <a:extLst>
                  <a:ext uri="{FF2B5EF4-FFF2-40B4-BE49-F238E27FC236}">
                    <a16:creationId xmlns:a16="http://schemas.microsoft.com/office/drawing/2014/main" id="{1844F0BB-AE84-78CE-135F-9F8BBD014DBE}"/>
                  </a:ext>
                </a:extLst>
              </p:cNvPr>
              <p:cNvGrpSpPr/>
              <p:nvPr/>
            </p:nvGrpSpPr>
            <p:grpSpPr>
              <a:xfrm>
                <a:off x="8258796" y="5430411"/>
                <a:ext cx="256991" cy="686690"/>
                <a:chOff x="8258796" y="5430411"/>
                <a:chExt cx="256991" cy="686690"/>
              </a:xfrm>
              <a:solidFill>
                <a:srgbClr val="FFF4B5"/>
              </a:solidFill>
            </p:grpSpPr>
            <p:sp>
              <p:nvSpPr>
                <p:cNvPr id="28" name="Freeform 47">
                  <a:extLst>
                    <a:ext uri="{FF2B5EF4-FFF2-40B4-BE49-F238E27FC236}">
                      <a16:creationId xmlns:a16="http://schemas.microsoft.com/office/drawing/2014/main" id="{B62AFEA0-8CF9-63EE-B30D-B0FC8F00B866}"/>
                    </a:ext>
                  </a:extLst>
                </p:cNvPr>
                <p:cNvSpPr/>
                <p:nvPr/>
              </p:nvSpPr>
              <p:spPr>
                <a:xfrm>
                  <a:off x="8258796" y="5430411"/>
                  <a:ext cx="170893" cy="618807"/>
                </a:xfrm>
                <a:custGeom>
                  <a:avLst/>
                  <a:gdLst>
                    <a:gd name="connsiteX0" fmla="*/ 68881 w 170893"/>
                    <a:gd name="connsiteY0" fmla="*/ 4 h 618807"/>
                    <a:gd name="connsiteX1" fmla="*/ 4733 w 170893"/>
                    <a:gd name="connsiteY1" fmla="*/ 55308 h 618807"/>
                    <a:gd name="connsiteX2" fmla="*/ 0 w 170893"/>
                    <a:gd name="connsiteY2" fmla="*/ 605479 h 618807"/>
                    <a:gd name="connsiteX3" fmla="*/ 45339 w 170893"/>
                    <a:gd name="connsiteY3" fmla="*/ 607846 h 618807"/>
                    <a:gd name="connsiteX4" fmla="*/ 85696 w 170893"/>
                    <a:gd name="connsiteY4" fmla="*/ 618807 h 618807"/>
                    <a:gd name="connsiteX5" fmla="*/ 90304 w 170893"/>
                    <a:gd name="connsiteY5" fmla="*/ 80219 h 618807"/>
                    <a:gd name="connsiteX6" fmla="*/ 170894 w 170893"/>
                    <a:gd name="connsiteY6" fmla="*/ 18190 h 618807"/>
                    <a:gd name="connsiteX7" fmla="*/ 68881 w 170893"/>
                    <a:gd name="connsiteY7" fmla="*/ 4 h 6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93" h="618807">
                      <a:moveTo>
                        <a:pt x="68881" y="4"/>
                      </a:moveTo>
                      <a:cubicBezTo>
                        <a:pt x="26531" y="-369"/>
                        <a:pt x="5107" y="23546"/>
                        <a:pt x="4733" y="55308"/>
                      </a:cubicBezTo>
                      <a:cubicBezTo>
                        <a:pt x="4484" y="87070"/>
                        <a:pt x="0" y="605479"/>
                        <a:pt x="0" y="605479"/>
                      </a:cubicBezTo>
                      <a:cubicBezTo>
                        <a:pt x="0" y="605479"/>
                        <a:pt x="18310" y="603735"/>
                        <a:pt x="45339" y="607846"/>
                      </a:cubicBezTo>
                      <a:cubicBezTo>
                        <a:pt x="72243" y="611956"/>
                        <a:pt x="85696" y="618807"/>
                        <a:pt x="85696" y="618807"/>
                      </a:cubicBezTo>
                      <a:lnTo>
                        <a:pt x="90304" y="80219"/>
                      </a:lnTo>
                      <a:lnTo>
                        <a:pt x="170894" y="18190"/>
                      </a:lnTo>
                      <a:cubicBezTo>
                        <a:pt x="170894" y="18190"/>
                        <a:pt x="135394" y="503"/>
                        <a:pt x="68881" y="4"/>
                      </a:cubicBezTo>
                      <a:close/>
                    </a:path>
                  </a:pathLst>
                </a:custGeom>
                <a:solidFill>
                  <a:srgbClr val="FFF4B5"/>
                </a:solidFill>
                <a:ln w="12452" cap="rnd">
                  <a:solidFill>
                    <a:srgbClr val="95371F"/>
                  </a:solidFill>
                  <a:prstDash val="solid"/>
                  <a:round/>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sp>
              <p:nvSpPr>
                <p:cNvPr id="30" name="Freeform 48">
                  <a:extLst>
                    <a:ext uri="{FF2B5EF4-FFF2-40B4-BE49-F238E27FC236}">
                      <a16:creationId xmlns:a16="http://schemas.microsoft.com/office/drawing/2014/main" id="{C5869BBB-2136-6C9F-CDA3-0C4EEBCC0842}"/>
                    </a:ext>
                  </a:extLst>
                </p:cNvPr>
                <p:cNvSpPr/>
                <p:nvPr/>
              </p:nvSpPr>
              <p:spPr>
                <a:xfrm>
                  <a:off x="8344617" y="5445359"/>
                  <a:ext cx="148472" cy="658663"/>
                </a:xfrm>
                <a:custGeom>
                  <a:avLst/>
                  <a:gdLst>
                    <a:gd name="connsiteX0" fmla="*/ 0 w 148472"/>
                    <a:gd name="connsiteY0" fmla="*/ 603734 h 658663"/>
                    <a:gd name="connsiteX1" fmla="*/ 36495 w 148472"/>
                    <a:gd name="connsiteY1" fmla="*/ 623290 h 658663"/>
                    <a:gd name="connsiteX2" fmla="*/ 63773 w 148472"/>
                    <a:gd name="connsiteY2" fmla="*/ 658664 h 658663"/>
                    <a:gd name="connsiteX3" fmla="*/ 68009 w 148472"/>
                    <a:gd name="connsiteY3" fmla="*/ 91677 h 658663"/>
                    <a:gd name="connsiteX4" fmla="*/ 148473 w 148472"/>
                    <a:gd name="connsiteY4" fmla="*/ 39986 h 658663"/>
                    <a:gd name="connsiteX5" fmla="*/ 56176 w 148472"/>
                    <a:gd name="connsiteY5" fmla="*/ 3 h 658663"/>
                    <a:gd name="connsiteX6" fmla="*/ 3737 w 148472"/>
                    <a:gd name="connsiteY6" fmla="*/ 43847 h 658663"/>
                    <a:gd name="connsiteX7" fmla="*/ 0 w 148472"/>
                    <a:gd name="connsiteY7" fmla="*/ 603734 h 6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72" h="658663">
                      <a:moveTo>
                        <a:pt x="0" y="603734"/>
                      </a:moveTo>
                      <a:cubicBezTo>
                        <a:pt x="0" y="603734"/>
                        <a:pt x="15445" y="607720"/>
                        <a:pt x="36495" y="623290"/>
                      </a:cubicBezTo>
                      <a:cubicBezTo>
                        <a:pt x="57546" y="638859"/>
                        <a:pt x="63773" y="658664"/>
                        <a:pt x="63773" y="658664"/>
                      </a:cubicBezTo>
                      <a:lnTo>
                        <a:pt x="68009" y="91677"/>
                      </a:lnTo>
                      <a:lnTo>
                        <a:pt x="148473" y="39986"/>
                      </a:lnTo>
                      <a:cubicBezTo>
                        <a:pt x="148473" y="39986"/>
                        <a:pt x="106372" y="501"/>
                        <a:pt x="56176" y="3"/>
                      </a:cubicBezTo>
                      <a:cubicBezTo>
                        <a:pt x="23417" y="-246"/>
                        <a:pt x="3986" y="15946"/>
                        <a:pt x="3737" y="43847"/>
                      </a:cubicBezTo>
                      <a:cubicBezTo>
                        <a:pt x="3861" y="43972"/>
                        <a:pt x="0" y="603734"/>
                        <a:pt x="0" y="603734"/>
                      </a:cubicBezTo>
                      <a:close/>
                    </a:path>
                  </a:pathLst>
                </a:custGeom>
                <a:solidFill>
                  <a:srgbClr val="FFF4B5"/>
                </a:solidFill>
                <a:ln w="12452" cap="rnd">
                  <a:solidFill>
                    <a:srgbClr val="95371F"/>
                  </a:solidFill>
                  <a:prstDash val="solid"/>
                  <a:round/>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sp>
              <p:nvSpPr>
                <p:cNvPr id="31" name="Freeform 49">
                  <a:extLst>
                    <a:ext uri="{FF2B5EF4-FFF2-40B4-BE49-F238E27FC236}">
                      <a16:creationId xmlns:a16="http://schemas.microsoft.com/office/drawing/2014/main" id="{1EE7EAB2-4EE1-DC73-1718-7950B5B9D197}"/>
                    </a:ext>
                  </a:extLst>
                </p:cNvPr>
                <p:cNvSpPr/>
                <p:nvPr/>
              </p:nvSpPr>
              <p:spPr>
                <a:xfrm>
                  <a:off x="8407999" y="5470148"/>
                  <a:ext cx="107788" cy="646953"/>
                </a:xfrm>
                <a:custGeom>
                  <a:avLst/>
                  <a:gdLst>
                    <a:gd name="connsiteX0" fmla="*/ 4252 w 107788"/>
                    <a:gd name="connsiteY0" fmla="*/ 48828 h 646953"/>
                    <a:gd name="connsiteX1" fmla="*/ 19572 w 107788"/>
                    <a:gd name="connsiteY1" fmla="*/ 16194 h 646953"/>
                    <a:gd name="connsiteX2" fmla="*/ 55570 w 107788"/>
                    <a:gd name="connsiteY2" fmla="*/ 1 h 646953"/>
                    <a:gd name="connsiteX3" fmla="*/ 85090 w 107788"/>
                    <a:gd name="connsiteY3" fmla="*/ 15197 h 646953"/>
                    <a:gd name="connsiteX4" fmla="*/ 102901 w 107788"/>
                    <a:gd name="connsiteY4" fmla="*/ 48329 h 646953"/>
                    <a:gd name="connsiteX5" fmla="*/ 104521 w 107788"/>
                    <a:gd name="connsiteY5" fmla="*/ 53436 h 646953"/>
                    <a:gd name="connsiteX6" fmla="*/ 101034 w 107788"/>
                    <a:gd name="connsiteY6" fmla="*/ 92672 h 646953"/>
                    <a:gd name="connsiteX7" fmla="*/ 57438 w 107788"/>
                    <a:gd name="connsiteY7" fmla="*/ 93669 h 646953"/>
                    <a:gd name="connsiteX8" fmla="*/ 23060 w 107788"/>
                    <a:gd name="connsiteY8" fmla="*/ 113847 h 646953"/>
                    <a:gd name="connsiteX9" fmla="*/ 19946 w 107788"/>
                    <a:gd name="connsiteY9" fmla="*/ 635744 h 646953"/>
                    <a:gd name="connsiteX10" fmla="*/ 9857 w 107788"/>
                    <a:gd name="connsiteY10" fmla="*/ 646954 h 646953"/>
                    <a:gd name="connsiteX11" fmla="*/ 266 w 107788"/>
                    <a:gd name="connsiteY11" fmla="*/ 634124 h 646953"/>
                    <a:gd name="connsiteX12" fmla="*/ 4252 w 107788"/>
                    <a:gd name="connsiteY12" fmla="*/ 48828 h 64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787" h="646953">
                      <a:moveTo>
                        <a:pt x="4252" y="48828"/>
                      </a:moveTo>
                      <a:cubicBezTo>
                        <a:pt x="5747" y="36621"/>
                        <a:pt x="10729" y="24913"/>
                        <a:pt x="19572" y="16194"/>
                      </a:cubicBezTo>
                      <a:cubicBezTo>
                        <a:pt x="24430" y="11460"/>
                        <a:pt x="40499" y="-123"/>
                        <a:pt x="55570" y="1"/>
                      </a:cubicBezTo>
                      <a:cubicBezTo>
                        <a:pt x="70641" y="126"/>
                        <a:pt x="77367" y="6727"/>
                        <a:pt x="85090" y="15197"/>
                      </a:cubicBezTo>
                      <a:cubicBezTo>
                        <a:pt x="93684" y="24539"/>
                        <a:pt x="99788" y="35998"/>
                        <a:pt x="102901" y="48329"/>
                      </a:cubicBezTo>
                      <a:cubicBezTo>
                        <a:pt x="103400" y="50073"/>
                        <a:pt x="104023" y="51692"/>
                        <a:pt x="104521" y="53436"/>
                      </a:cubicBezTo>
                      <a:cubicBezTo>
                        <a:pt x="108382" y="66515"/>
                        <a:pt x="110500" y="81462"/>
                        <a:pt x="101034" y="92672"/>
                      </a:cubicBezTo>
                      <a:cubicBezTo>
                        <a:pt x="89325" y="106747"/>
                        <a:pt x="71887" y="95537"/>
                        <a:pt x="57438" y="93669"/>
                      </a:cubicBezTo>
                      <a:cubicBezTo>
                        <a:pt x="49964" y="92672"/>
                        <a:pt x="23185" y="90056"/>
                        <a:pt x="23060" y="113847"/>
                      </a:cubicBezTo>
                      <a:cubicBezTo>
                        <a:pt x="22936" y="122690"/>
                        <a:pt x="20444" y="634623"/>
                        <a:pt x="19946" y="635744"/>
                      </a:cubicBezTo>
                      <a:cubicBezTo>
                        <a:pt x="20320" y="641224"/>
                        <a:pt x="16957" y="646954"/>
                        <a:pt x="9857" y="646954"/>
                      </a:cubicBezTo>
                      <a:cubicBezTo>
                        <a:pt x="2135" y="646829"/>
                        <a:pt x="-979" y="639854"/>
                        <a:pt x="266" y="634124"/>
                      </a:cubicBezTo>
                      <a:cubicBezTo>
                        <a:pt x="141" y="633128"/>
                        <a:pt x="3629" y="54433"/>
                        <a:pt x="4252" y="48828"/>
                      </a:cubicBezTo>
                      <a:close/>
                    </a:path>
                  </a:pathLst>
                </a:custGeom>
                <a:solidFill>
                  <a:srgbClr val="FFF4B5"/>
                </a:solidFill>
                <a:ln w="12452" cap="flat">
                  <a:solidFill>
                    <a:srgbClr val="95371F"/>
                  </a:solidFill>
                  <a:prstDash val="solid"/>
                  <a:miter/>
                </a:ln>
              </p:spPr>
              <p:txBody>
                <a:bodyPr rtlCol="0" anchor="ctr"/>
                <a:lstStyle/>
                <a:p>
                  <a:pPr defTabSz="914377" fontAlgn="base">
                    <a:spcBef>
                      <a:spcPct val="0"/>
                    </a:spcBef>
                    <a:spcAft>
                      <a:spcPct val="0"/>
                    </a:spcAft>
                    <a:defRPr/>
                  </a:pPr>
                  <a:endParaRPr lang="en-US" b="1">
                    <a:ea typeface="ヒラギノ角ゴ Pro W3" panose="020B0300000000000000" pitchFamily="34" charset="-128"/>
                    <a:cs typeface="Arial"/>
                  </a:endParaRPr>
                </a:p>
              </p:txBody>
            </p:sp>
          </p:grpSp>
        </p:grpSp>
        <p:sp>
          <p:nvSpPr>
            <p:cNvPr id="49" name="TextBox 55">
              <a:extLst>
                <a:ext uri="{FF2B5EF4-FFF2-40B4-BE49-F238E27FC236}">
                  <a16:creationId xmlns:a16="http://schemas.microsoft.com/office/drawing/2014/main" id="{813C8FBF-CDCA-FA01-D177-328D16B71F6B}"/>
                </a:ext>
              </a:extLst>
            </p:cNvPr>
            <p:cNvSpPr txBox="1"/>
            <p:nvPr/>
          </p:nvSpPr>
          <p:spPr>
            <a:xfrm>
              <a:off x="9514198" y="3594873"/>
              <a:ext cx="316112" cy="243272"/>
            </a:xfrm>
            <a:prstGeom prst="rect">
              <a:avLst/>
            </a:prstGeom>
            <a:noFill/>
          </p:spPr>
          <p:txBody>
            <a:bodyPr wrap="none" rtlCol="0">
              <a:spAutoFit/>
            </a:bodyPr>
            <a:lstStyle/>
            <a:p>
              <a:pPr defTabSz="914377" fontAlgn="base">
                <a:spcBef>
                  <a:spcPct val="0"/>
                </a:spcBef>
                <a:spcAft>
                  <a:spcPct val="0"/>
                </a:spcAft>
                <a:defRPr/>
              </a:pPr>
              <a:r>
                <a:rPr lang="en-US" sz="981" b="1">
                  <a:solidFill>
                    <a:schemeClr val="bg1"/>
                  </a:solidFill>
                  <a:ea typeface="ヒラギノ角ゴ Pro W3" panose="020B0300000000000000" pitchFamily="34" charset="-128"/>
                  <a:cs typeface="Arial"/>
                  <a:sym typeface="Arial"/>
                </a:rPr>
                <a:t>C8</a:t>
              </a:r>
            </a:p>
          </p:txBody>
        </p:sp>
        <p:sp>
          <p:nvSpPr>
            <p:cNvPr id="51" name="TextBox 56">
              <a:extLst>
                <a:ext uri="{FF2B5EF4-FFF2-40B4-BE49-F238E27FC236}">
                  <a16:creationId xmlns:a16="http://schemas.microsoft.com/office/drawing/2014/main" id="{746301F0-5933-DA21-F7FF-2EAD05A9EA13}"/>
                </a:ext>
              </a:extLst>
            </p:cNvPr>
            <p:cNvSpPr txBox="1"/>
            <p:nvPr/>
          </p:nvSpPr>
          <p:spPr>
            <a:xfrm>
              <a:off x="9208614" y="3594873"/>
              <a:ext cx="316112" cy="243272"/>
            </a:xfrm>
            <a:prstGeom prst="rect">
              <a:avLst/>
            </a:prstGeom>
            <a:noFill/>
          </p:spPr>
          <p:txBody>
            <a:bodyPr wrap="none" rtlCol="0">
              <a:spAutoFit/>
            </a:bodyPr>
            <a:lstStyle/>
            <a:p>
              <a:pPr defTabSz="914377" fontAlgn="base">
                <a:spcBef>
                  <a:spcPct val="0"/>
                </a:spcBef>
                <a:spcAft>
                  <a:spcPct val="0"/>
                </a:spcAft>
                <a:defRPr/>
              </a:pPr>
              <a:r>
                <a:rPr lang="en-US" sz="981" b="1">
                  <a:solidFill>
                    <a:schemeClr val="bg1"/>
                  </a:solidFill>
                  <a:ea typeface="ヒラギノ角ゴ Pro W3" panose="020B0300000000000000" pitchFamily="34" charset="-128"/>
                  <a:cs typeface="Arial"/>
                  <a:sym typeface="Arial"/>
                </a:rPr>
                <a:t>C7</a:t>
              </a:r>
            </a:p>
          </p:txBody>
        </p:sp>
        <p:sp>
          <p:nvSpPr>
            <p:cNvPr id="52" name="TextBox 57">
              <a:extLst>
                <a:ext uri="{FF2B5EF4-FFF2-40B4-BE49-F238E27FC236}">
                  <a16:creationId xmlns:a16="http://schemas.microsoft.com/office/drawing/2014/main" id="{C037194B-EDB9-FE60-7183-75A6F71EE7E8}"/>
                </a:ext>
              </a:extLst>
            </p:cNvPr>
            <p:cNvSpPr txBox="1"/>
            <p:nvPr/>
          </p:nvSpPr>
          <p:spPr>
            <a:xfrm>
              <a:off x="10309321" y="4073223"/>
              <a:ext cx="1379973" cy="256545"/>
            </a:xfrm>
            <a:prstGeom prst="rect">
              <a:avLst/>
            </a:prstGeom>
            <a:noFill/>
          </p:spPr>
          <p:txBody>
            <a:bodyPr wrap="square" rtlCol="0">
              <a:spAutoFit/>
            </a:bodyPr>
            <a:lstStyle/>
            <a:p>
              <a:pPr fontAlgn="base">
                <a:spcBef>
                  <a:spcPct val="0"/>
                </a:spcBef>
                <a:spcAft>
                  <a:spcPct val="0"/>
                </a:spcAft>
                <a:defRPr/>
              </a:pPr>
              <a:r>
                <a:rPr lang="en-US" sz="1067" b="1" dirty="0" err="1">
                  <a:ea typeface="ヒラギノ角ゴ Pro W3" panose="020B0300000000000000" pitchFamily="34" charset="-128"/>
                  <a:cs typeface="Arial"/>
                </a:rPr>
                <a:t>Célula</a:t>
              </a:r>
              <a:r>
                <a:rPr lang="en-US" sz="1067" b="1" dirty="0">
                  <a:ea typeface="ヒラギノ角ゴ Pro W3" panose="020B0300000000000000" pitchFamily="34" charset="-128"/>
                  <a:cs typeface="Arial"/>
                </a:rPr>
                <a:t> </a:t>
              </a:r>
              <a:r>
                <a:rPr lang="en-US" sz="1067" b="1" dirty="0" err="1">
                  <a:ea typeface="ヒラギノ角ゴ Pro W3" panose="020B0300000000000000" pitchFamily="34" charset="-128"/>
                  <a:cs typeface="Arial"/>
                </a:rPr>
                <a:t>bacteriana</a:t>
              </a:r>
              <a:endParaRPr lang="en-US" sz="1067" b="1" dirty="0">
                <a:ea typeface="ヒラギノ角ゴ Pro W3" panose="020B0300000000000000" pitchFamily="34" charset="-128"/>
                <a:cs typeface="Arial"/>
              </a:endParaRPr>
            </a:p>
          </p:txBody>
        </p:sp>
        <p:sp>
          <p:nvSpPr>
            <p:cNvPr id="53" name="TextBox 70">
              <a:extLst>
                <a:ext uri="{FF2B5EF4-FFF2-40B4-BE49-F238E27FC236}">
                  <a16:creationId xmlns:a16="http://schemas.microsoft.com/office/drawing/2014/main" id="{56D1170B-D1C2-8275-9651-7E757AAB24E3}"/>
                </a:ext>
              </a:extLst>
            </p:cNvPr>
            <p:cNvSpPr txBox="1"/>
            <p:nvPr/>
          </p:nvSpPr>
          <p:spPr>
            <a:xfrm>
              <a:off x="9380296" y="3966752"/>
              <a:ext cx="1312984" cy="256545"/>
            </a:xfrm>
            <a:prstGeom prst="rect">
              <a:avLst/>
            </a:prstGeom>
            <a:noFill/>
          </p:spPr>
          <p:txBody>
            <a:bodyPr wrap="square" rtlCol="0">
              <a:spAutoFit/>
            </a:bodyPr>
            <a:lstStyle/>
            <a:p>
              <a:pPr fontAlgn="base">
                <a:spcBef>
                  <a:spcPct val="0"/>
                </a:spcBef>
                <a:spcAft>
                  <a:spcPct val="0"/>
                </a:spcAft>
                <a:defRPr/>
              </a:pPr>
              <a:r>
                <a:rPr lang="en-US" sz="1067" b="1">
                  <a:ea typeface="ヒラギノ角ゴ Pro W3" panose="020B0300000000000000" pitchFamily="34" charset="-128"/>
                  <a:cs typeface="Arial"/>
                </a:rPr>
                <a:t>Mac</a:t>
              </a:r>
            </a:p>
          </p:txBody>
        </p:sp>
        <p:grpSp>
          <p:nvGrpSpPr>
            <p:cNvPr id="62" name="Group 2218">
              <a:extLst>
                <a:ext uri="{FF2B5EF4-FFF2-40B4-BE49-F238E27FC236}">
                  <a16:creationId xmlns:a16="http://schemas.microsoft.com/office/drawing/2014/main" id="{78433591-38BF-D6F6-5AA1-2341C64161EF}"/>
                </a:ext>
              </a:extLst>
            </p:cNvPr>
            <p:cNvGrpSpPr/>
            <p:nvPr/>
          </p:nvGrpSpPr>
          <p:grpSpPr>
            <a:xfrm rot="21540000">
              <a:off x="9410754" y="4824912"/>
              <a:ext cx="1438540" cy="659989"/>
              <a:chOff x="11971947" y="3652608"/>
              <a:chExt cx="1078905" cy="494992"/>
            </a:xfrm>
          </p:grpSpPr>
          <p:grpSp>
            <p:nvGrpSpPr>
              <p:cNvPr id="63" name="Graphic 2987">
                <a:extLst>
                  <a:ext uri="{FF2B5EF4-FFF2-40B4-BE49-F238E27FC236}">
                    <a16:creationId xmlns:a16="http://schemas.microsoft.com/office/drawing/2014/main" id="{2CA78616-E2A6-EB63-04EA-FE11357D01F3}"/>
                  </a:ext>
                </a:extLst>
              </p:cNvPr>
              <p:cNvGrpSpPr/>
              <p:nvPr/>
            </p:nvGrpSpPr>
            <p:grpSpPr>
              <a:xfrm>
                <a:off x="12984896" y="3753882"/>
                <a:ext cx="65956" cy="350580"/>
                <a:chOff x="5869155" y="1854611"/>
                <a:chExt cx="28027" cy="148974"/>
              </a:xfrm>
              <a:solidFill>
                <a:srgbClr val="B52455"/>
              </a:solidFill>
            </p:grpSpPr>
            <p:sp>
              <p:nvSpPr>
                <p:cNvPr id="148" name="Freeform 7889">
                  <a:extLst>
                    <a:ext uri="{FF2B5EF4-FFF2-40B4-BE49-F238E27FC236}">
                      <a16:creationId xmlns:a16="http://schemas.microsoft.com/office/drawing/2014/main" id="{BB7164CB-5379-37B5-5F75-49BB5D607F04}"/>
                    </a:ext>
                  </a:extLst>
                </p:cNvPr>
                <p:cNvSpPr/>
                <p:nvPr/>
              </p:nvSpPr>
              <p:spPr>
                <a:xfrm>
                  <a:off x="5885163" y="1931216"/>
                  <a:ext cx="3477" cy="52065"/>
                </a:xfrm>
                <a:custGeom>
                  <a:avLst/>
                  <a:gdLst>
                    <a:gd name="connsiteX0" fmla="*/ 1059 w 3477"/>
                    <a:gd name="connsiteY0" fmla="*/ 52065 h 52065"/>
                    <a:gd name="connsiteX1" fmla="*/ 3301 w 3477"/>
                    <a:gd name="connsiteY1" fmla="*/ 33381 h 52065"/>
                    <a:gd name="connsiteX2" fmla="*/ 62 w 3477"/>
                    <a:gd name="connsiteY2" fmla="*/ 16317 h 52065"/>
                    <a:gd name="connsiteX3" fmla="*/ 2429 w 3477"/>
                    <a:gd name="connsiteY3" fmla="*/ 0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52065"/>
                      </a:moveTo>
                      <a:cubicBezTo>
                        <a:pt x="3675" y="44093"/>
                        <a:pt x="3675"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9" name="Freeform 7890">
                  <a:extLst>
                    <a:ext uri="{FF2B5EF4-FFF2-40B4-BE49-F238E27FC236}">
                      <a16:creationId xmlns:a16="http://schemas.microsoft.com/office/drawing/2014/main" id="{70439B36-BDA3-8A85-E92F-562110E2DA73}"/>
                    </a:ext>
                  </a:extLst>
                </p:cNvPr>
                <p:cNvSpPr/>
                <p:nvPr/>
              </p:nvSpPr>
              <p:spPr>
                <a:xfrm>
                  <a:off x="5876974" y="1936074"/>
                  <a:ext cx="4062" cy="52189"/>
                </a:xfrm>
                <a:custGeom>
                  <a:avLst/>
                  <a:gdLst>
                    <a:gd name="connsiteX0" fmla="*/ 2023 w 4062"/>
                    <a:gd name="connsiteY0" fmla="*/ 0 h 52189"/>
                    <a:gd name="connsiteX1" fmla="*/ 3767 w 4062"/>
                    <a:gd name="connsiteY1" fmla="*/ 18684 h 52189"/>
                    <a:gd name="connsiteX2" fmla="*/ 155 w 4062"/>
                    <a:gd name="connsiteY2" fmla="*/ 35748 h 52189"/>
                    <a:gd name="connsiteX3" fmla="*/ 2148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23" y="0"/>
                      </a:moveTo>
                      <a:cubicBezTo>
                        <a:pt x="4390" y="8096"/>
                        <a:pt x="4266"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50" name="Freeform 7891">
                  <a:extLst>
                    <a:ext uri="{FF2B5EF4-FFF2-40B4-BE49-F238E27FC236}">
                      <a16:creationId xmlns:a16="http://schemas.microsoft.com/office/drawing/2014/main" id="{C2C0CF3C-3BD4-3A71-7103-850BF925A368}"/>
                    </a:ext>
                  </a:extLst>
                </p:cNvPr>
                <p:cNvSpPr/>
                <p:nvPr/>
              </p:nvSpPr>
              <p:spPr>
                <a:xfrm>
                  <a:off x="5869155" y="1977051"/>
                  <a:ext cx="26657" cy="26534"/>
                </a:xfrm>
                <a:custGeom>
                  <a:avLst/>
                  <a:gdLst>
                    <a:gd name="connsiteX0" fmla="*/ 2 w 26657"/>
                    <a:gd name="connsiteY0" fmla="*/ 13080 h 26534"/>
                    <a:gd name="connsiteX1" fmla="*/ 13454 w 26657"/>
                    <a:gd name="connsiteY1" fmla="*/ 2 h 26534"/>
                    <a:gd name="connsiteX2" fmla="*/ 26657 w 26657"/>
                    <a:gd name="connsiteY2" fmla="*/ 13454 h 26534"/>
                    <a:gd name="connsiteX3" fmla="*/ 13205 w 26657"/>
                    <a:gd name="connsiteY3" fmla="*/ 26533 h 26534"/>
                    <a:gd name="connsiteX4" fmla="*/ 2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2" y="13080"/>
                      </a:moveTo>
                      <a:cubicBezTo>
                        <a:pt x="126" y="5732"/>
                        <a:pt x="6105" y="-123"/>
                        <a:pt x="13454" y="2"/>
                      </a:cubicBezTo>
                      <a:cubicBezTo>
                        <a:pt x="20803" y="126"/>
                        <a:pt x="26657" y="6105"/>
                        <a:pt x="26657" y="13454"/>
                      </a:cubicBezTo>
                      <a:cubicBezTo>
                        <a:pt x="26532" y="20803"/>
                        <a:pt x="20554" y="26657"/>
                        <a:pt x="13205" y="26533"/>
                      </a:cubicBezTo>
                      <a:cubicBezTo>
                        <a:pt x="5856" y="26408"/>
                        <a:pt x="-123" y="20429"/>
                        <a:pt x="2" y="13080"/>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51" name="Freeform 7892">
                  <a:extLst>
                    <a:ext uri="{FF2B5EF4-FFF2-40B4-BE49-F238E27FC236}">
                      <a16:creationId xmlns:a16="http://schemas.microsoft.com/office/drawing/2014/main" id="{9EAEB79E-8481-0BE0-2014-4DE0F86F5AA3}"/>
                    </a:ext>
                  </a:extLst>
                </p:cNvPr>
                <p:cNvSpPr/>
                <p:nvPr/>
              </p:nvSpPr>
              <p:spPr>
                <a:xfrm>
                  <a:off x="5877824" y="1875041"/>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2"/>
                        <a:pt x="-197" y="14324"/>
                        <a:pt x="177" y="18684"/>
                      </a:cubicBezTo>
                      <a:cubicBezTo>
                        <a:pt x="924" y="25659"/>
                        <a:pt x="2917" y="28773"/>
                        <a:pt x="3415" y="35748"/>
                      </a:cubicBezTo>
                      <a:cubicBezTo>
                        <a:pt x="3789" y="42599"/>
                        <a:pt x="2294" y="48328"/>
                        <a:pt x="1049"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52" name="Freeform 7893">
                  <a:extLst>
                    <a:ext uri="{FF2B5EF4-FFF2-40B4-BE49-F238E27FC236}">
                      <a16:creationId xmlns:a16="http://schemas.microsoft.com/office/drawing/2014/main" id="{2A393CE9-AB88-05C0-7460-58EB8BB3F147}"/>
                    </a:ext>
                  </a:extLst>
                </p:cNvPr>
                <p:cNvSpPr/>
                <p:nvPr/>
              </p:nvSpPr>
              <p:spPr>
                <a:xfrm>
                  <a:off x="5885304" y="1869934"/>
                  <a:ext cx="4062" cy="52189"/>
                </a:xfrm>
                <a:custGeom>
                  <a:avLst/>
                  <a:gdLst>
                    <a:gd name="connsiteX0" fmla="*/ 2039 w 4062"/>
                    <a:gd name="connsiteY0" fmla="*/ 52190 h 52189"/>
                    <a:gd name="connsiteX1" fmla="*/ 295 w 4062"/>
                    <a:gd name="connsiteY1" fmla="*/ 33506 h 52189"/>
                    <a:gd name="connsiteX2" fmla="*/ 3907 w 4062"/>
                    <a:gd name="connsiteY2" fmla="*/ 16442 h 52189"/>
                    <a:gd name="connsiteX3" fmla="*/ 1915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52190"/>
                      </a:moveTo>
                      <a:cubicBezTo>
                        <a:pt x="-327" y="44093"/>
                        <a:pt x="-203" y="37741"/>
                        <a:pt x="295" y="33506"/>
                      </a:cubicBezTo>
                      <a:cubicBezTo>
                        <a:pt x="1167" y="26531"/>
                        <a:pt x="3285" y="23541"/>
                        <a:pt x="3907" y="16442"/>
                      </a:cubicBezTo>
                      <a:cubicBezTo>
                        <a:pt x="4530" y="9591"/>
                        <a:pt x="3160" y="3861"/>
                        <a:pt x="1915"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53" name="Freeform 7894">
                  <a:extLst>
                    <a:ext uri="{FF2B5EF4-FFF2-40B4-BE49-F238E27FC236}">
                      <a16:creationId xmlns:a16="http://schemas.microsoft.com/office/drawing/2014/main" id="{545827AD-F6D6-AA50-5927-2FABB3A11CF8}"/>
                    </a:ext>
                  </a:extLst>
                </p:cNvPr>
                <p:cNvSpPr/>
                <p:nvPr/>
              </p:nvSpPr>
              <p:spPr>
                <a:xfrm>
                  <a:off x="5870774" y="1854611"/>
                  <a:ext cx="26408" cy="26534"/>
                </a:xfrm>
                <a:custGeom>
                  <a:avLst/>
                  <a:gdLst>
                    <a:gd name="connsiteX0" fmla="*/ 26408 w 26408"/>
                    <a:gd name="connsiteY0" fmla="*/ 13454 h 26534"/>
                    <a:gd name="connsiteX1" fmla="*/ 13081 w 26408"/>
                    <a:gd name="connsiteY1" fmla="*/ 26533 h 26534"/>
                    <a:gd name="connsiteX2" fmla="*/ 2 w 26408"/>
                    <a:gd name="connsiteY2" fmla="*/ 13081 h 26534"/>
                    <a:gd name="connsiteX3" fmla="*/ 13330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284" y="20803"/>
                        <a:pt x="20305" y="26657"/>
                        <a:pt x="13081" y="26533"/>
                      </a:cubicBezTo>
                      <a:cubicBezTo>
                        <a:pt x="5732" y="26408"/>
                        <a:pt x="-122" y="20429"/>
                        <a:pt x="2" y="13081"/>
                      </a:cubicBezTo>
                      <a:cubicBezTo>
                        <a:pt x="127" y="5732"/>
                        <a:pt x="6106" y="-123"/>
                        <a:pt x="13330" y="2"/>
                      </a:cubicBezTo>
                      <a:cubicBezTo>
                        <a:pt x="20554" y="127"/>
                        <a:pt x="26408" y="6105"/>
                        <a:pt x="26408" y="13454"/>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66" name="Graphic 2987">
                <a:extLst>
                  <a:ext uri="{FF2B5EF4-FFF2-40B4-BE49-F238E27FC236}">
                    <a16:creationId xmlns:a16="http://schemas.microsoft.com/office/drawing/2014/main" id="{63665908-2331-2A47-A525-E8DDF7617133}"/>
                  </a:ext>
                </a:extLst>
              </p:cNvPr>
              <p:cNvGrpSpPr/>
              <p:nvPr/>
            </p:nvGrpSpPr>
            <p:grpSpPr>
              <a:xfrm>
                <a:off x="12914841" y="3753004"/>
                <a:ext cx="66542" cy="350874"/>
                <a:chOff x="5839386" y="1854238"/>
                <a:chExt cx="28276" cy="149099"/>
              </a:xfrm>
              <a:solidFill>
                <a:srgbClr val="B52455"/>
              </a:solidFill>
            </p:grpSpPr>
            <p:sp>
              <p:nvSpPr>
                <p:cNvPr id="142" name="Freeform 7896">
                  <a:extLst>
                    <a:ext uri="{FF2B5EF4-FFF2-40B4-BE49-F238E27FC236}">
                      <a16:creationId xmlns:a16="http://schemas.microsoft.com/office/drawing/2014/main" id="{70669084-D676-C367-F211-03DBA814DF0C}"/>
                    </a:ext>
                  </a:extLst>
                </p:cNvPr>
                <p:cNvSpPr/>
                <p:nvPr/>
              </p:nvSpPr>
              <p:spPr>
                <a:xfrm>
                  <a:off x="5855398" y="1930843"/>
                  <a:ext cx="3473" cy="52065"/>
                </a:xfrm>
                <a:custGeom>
                  <a:avLst/>
                  <a:gdLst>
                    <a:gd name="connsiteX0" fmla="*/ 1055 w 3473"/>
                    <a:gd name="connsiteY0" fmla="*/ 52065 h 52065"/>
                    <a:gd name="connsiteX1" fmla="*/ 3297 w 3473"/>
                    <a:gd name="connsiteY1" fmla="*/ 33381 h 52065"/>
                    <a:gd name="connsiteX2" fmla="*/ 58 w 3473"/>
                    <a:gd name="connsiteY2" fmla="*/ 16317 h 52065"/>
                    <a:gd name="connsiteX3" fmla="*/ 2425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52065"/>
                      </a:moveTo>
                      <a:cubicBezTo>
                        <a:pt x="3671" y="44093"/>
                        <a:pt x="3671" y="37741"/>
                        <a:pt x="3297" y="33381"/>
                      </a:cubicBezTo>
                      <a:cubicBezTo>
                        <a:pt x="2549" y="26406"/>
                        <a:pt x="557"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3" name="Freeform 7897">
                  <a:extLst>
                    <a:ext uri="{FF2B5EF4-FFF2-40B4-BE49-F238E27FC236}">
                      <a16:creationId xmlns:a16="http://schemas.microsoft.com/office/drawing/2014/main" id="{53BA61B7-EB15-9704-69AF-29A4482AABF2}"/>
                    </a:ext>
                  </a:extLst>
                </p:cNvPr>
                <p:cNvSpPr/>
                <p:nvPr/>
              </p:nvSpPr>
              <p:spPr>
                <a:xfrm>
                  <a:off x="5847204" y="1935700"/>
                  <a:ext cx="4187" cy="52189"/>
                </a:xfrm>
                <a:custGeom>
                  <a:avLst/>
                  <a:gdLst>
                    <a:gd name="connsiteX0" fmla="*/ 2148 w 4187"/>
                    <a:gd name="connsiteY0" fmla="*/ 0 h 52189"/>
                    <a:gd name="connsiteX1" fmla="*/ 3892 w 4187"/>
                    <a:gd name="connsiteY1" fmla="*/ 18684 h 52189"/>
                    <a:gd name="connsiteX2" fmla="*/ 155 w 4187"/>
                    <a:gd name="connsiteY2" fmla="*/ 35748 h 52189"/>
                    <a:gd name="connsiteX3" fmla="*/ 2148 w 418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87" h="52189">
                      <a:moveTo>
                        <a:pt x="2148" y="0"/>
                      </a:moveTo>
                      <a:cubicBezTo>
                        <a:pt x="4515" y="8096"/>
                        <a:pt x="4390" y="14449"/>
                        <a:pt x="3892" y="18684"/>
                      </a:cubicBezTo>
                      <a:cubicBezTo>
                        <a:pt x="3020" y="25659"/>
                        <a:pt x="778" y="28648"/>
                        <a:pt x="155" y="35748"/>
                      </a:cubicBezTo>
                      <a:cubicBezTo>
                        <a:pt x="-468" y="42599"/>
                        <a:pt x="903" y="48328"/>
                        <a:pt x="2148"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4" name="Freeform 7898">
                  <a:extLst>
                    <a:ext uri="{FF2B5EF4-FFF2-40B4-BE49-F238E27FC236}">
                      <a16:creationId xmlns:a16="http://schemas.microsoft.com/office/drawing/2014/main" id="{898E4198-6682-884A-AFD8-AFE79A37801E}"/>
                    </a:ext>
                  </a:extLst>
                </p:cNvPr>
                <p:cNvSpPr/>
                <p:nvPr/>
              </p:nvSpPr>
              <p:spPr>
                <a:xfrm>
                  <a:off x="5839386" y="1976802"/>
                  <a:ext cx="26781" cy="26534"/>
                </a:xfrm>
                <a:custGeom>
                  <a:avLst/>
                  <a:gdLst>
                    <a:gd name="connsiteX0" fmla="*/ 2 w 26781"/>
                    <a:gd name="connsiteY0" fmla="*/ 13080 h 26534"/>
                    <a:gd name="connsiteX1" fmla="*/ 13579 w 26781"/>
                    <a:gd name="connsiteY1" fmla="*/ 2 h 26534"/>
                    <a:gd name="connsiteX2" fmla="*/ 26782 w 26781"/>
                    <a:gd name="connsiteY2" fmla="*/ 13454 h 26534"/>
                    <a:gd name="connsiteX3" fmla="*/ 13205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127" y="5732"/>
                        <a:pt x="6230" y="-123"/>
                        <a:pt x="13579" y="2"/>
                      </a:cubicBezTo>
                      <a:cubicBezTo>
                        <a:pt x="20928" y="126"/>
                        <a:pt x="26782" y="6105"/>
                        <a:pt x="26782" y="13454"/>
                      </a:cubicBezTo>
                      <a:cubicBezTo>
                        <a:pt x="26657" y="20803"/>
                        <a:pt x="20679" y="26657"/>
                        <a:pt x="13205" y="26533"/>
                      </a:cubicBezTo>
                      <a:cubicBezTo>
                        <a:pt x="5732" y="26408"/>
                        <a:pt x="-123" y="20305"/>
                        <a:pt x="2" y="13080"/>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45" name="Freeform 7899">
                  <a:extLst>
                    <a:ext uri="{FF2B5EF4-FFF2-40B4-BE49-F238E27FC236}">
                      <a16:creationId xmlns:a16="http://schemas.microsoft.com/office/drawing/2014/main" id="{AECBAF1C-A95E-95BF-8013-49318FF7EDF6}"/>
                    </a:ext>
                  </a:extLst>
                </p:cNvPr>
                <p:cNvSpPr/>
                <p:nvPr/>
              </p:nvSpPr>
              <p:spPr>
                <a:xfrm>
                  <a:off x="5848304" y="1874667"/>
                  <a:ext cx="3349" cy="52065"/>
                </a:xfrm>
                <a:custGeom>
                  <a:avLst/>
                  <a:gdLst>
                    <a:gd name="connsiteX0" fmla="*/ 2419 w 3349"/>
                    <a:gd name="connsiteY0" fmla="*/ 0 h 52065"/>
                    <a:gd name="connsiteX1" fmla="*/ 177 w 3349"/>
                    <a:gd name="connsiteY1" fmla="*/ 18684 h 52065"/>
                    <a:gd name="connsiteX2" fmla="*/ 3291 w 3349"/>
                    <a:gd name="connsiteY2" fmla="*/ 35748 h 52065"/>
                    <a:gd name="connsiteX3" fmla="*/ 924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0"/>
                      </a:moveTo>
                      <a:cubicBezTo>
                        <a:pt x="-197" y="7972"/>
                        <a:pt x="-197" y="14324"/>
                        <a:pt x="177" y="18684"/>
                      </a:cubicBezTo>
                      <a:cubicBezTo>
                        <a:pt x="800" y="25659"/>
                        <a:pt x="2917" y="28773"/>
                        <a:pt x="3291" y="35748"/>
                      </a:cubicBezTo>
                      <a:cubicBezTo>
                        <a:pt x="3664" y="42599"/>
                        <a:pt x="2170" y="48328"/>
                        <a:pt x="924"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6" name="Freeform 7900">
                  <a:extLst>
                    <a:ext uri="{FF2B5EF4-FFF2-40B4-BE49-F238E27FC236}">
                      <a16:creationId xmlns:a16="http://schemas.microsoft.com/office/drawing/2014/main" id="{D827F107-72CE-84AC-98ED-4FEC569CBAC0}"/>
                    </a:ext>
                  </a:extLst>
                </p:cNvPr>
                <p:cNvSpPr/>
                <p:nvPr/>
              </p:nvSpPr>
              <p:spPr>
                <a:xfrm>
                  <a:off x="5855659" y="1869685"/>
                  <a:ext cx="4063" cy="52189"/>
                </a:xfrm>
                <a:custGeom>
                  <a:avLst/>
                  <a:gdLst>
                    <a:gd name="connsiteX0" fmla="*/ 2039 w 4063"/>
                    <a:gd name="connsiteY0" fmla="*/ 52190 h 52189"/>
                    <a:gd name="connsiteX1" fmla="*/ 295 w 4063"/>
                    <a:gd name="connsiteY1" fmla="*/ 33506 h 52189"/>
                    <a:gd name="connsiteX2" fmla="*/ 3907 w 4063"/>
                    <a:gd name="connsiteY2" fmla="*/ 16442 h 52189"/>
                    <a:gd name="connsiteX3" fmla="*/ 2039 w 4063"/>
                    <a:gd name="connsiteY3" fmla="*/ 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52190"/>
                      </a:moveTo>
                      <a:cubicBezTo>
                        <a:pt x="-328" y="44093"/>
                        <a:pt x="-203" y="37741"/>
                        <a:pt x="295" y="33506"/>
                      </a:cubicBezTo>
                      <a:cubicBezTo>
                        <a:pt x="1167" y="26531"/>
                        <a:pt x="3285" y="23541"/>
                        <a:pt x="3907" y="16442"/>
                      </a:cubicBezTo>
                      <a:cubicBezTo>
                        <a:pt x="4530" y="9591"/>
                        <a:pt x="3160" y="3861"/>
                        <a:pt x="203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7" name="Freeform 7901">
                  <a:extLst>
                    <a:ext uri="{FF2B5EF4-FFF2-40B4-BE49-F238E27FC236}">
                      <a16:creationId xmlns:a16="http://schemas.microsoft.com/office/drawing/2014/main" id="{1A09546E-7253-2093-B002-64C603245D84}"/>
                    </a:ext>
                  </a:extLst>
                </p:cNvPr>
                <p:cNvSpPr/>
                <p:nvPr/>
              </p:nvSpPr>
              <p:spPr>
                <a:xfrm>
                  <a:off x="5841132" y="1854238"/>
                  <a:ext cx="26530" cy="26534"/>
                </a:xfrm>
                <a:custGeom>
                  <a:avLst/>
                  <a:gdLst>
                    <a:gd name="connsiteX0" fmla="*/ 26530 w 26530"/>
                    <a:gd name="connsiteY0" fmla="*/ 13454 h 26534"/>
                    <a:gd name="connsiteX1" fmla="*/ 13078 w 26530"/>
                    <a:gd name="connsiteY1" fmla="*/ 26533 h 26534"/>
                    <a:gd name="connsiteX2" fmla="*/ 0 w 26530"/>
                    <a:gd name="connsiteY2" fmla="*/ 13080 h 26534"/>
                    <a:gd name="connsiteX3" fmla="*/ 13452 w 26530"/>
                    <a:gd name="connsiteY3" fmla="*/ 2 h 26534"/>
                    <a:gd name="connsiteX4" fmla="*/ 26530 w 2653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4">
                      <a:moveTo>
                        <a:pt x="26530" y="13454"/>
                      </a:moveTo>
                      <a:cubicBezTo>
                        <a:pt x="26406" y="20803"/>
                        <a:pt x="20427" y="26657"/>
                        <a:pt x="13078" y="26533"/>
                      </a:cubicBezTo>
                      <a:cubicBezTo>
                        <a:pt x="5730" y="26408"/>
                        <a:pt x="0" y="20429"/>
                        <a:pt x="0" y="13080"/>
                      </a:cubicBezTo>
                      <a:cubicBezTo>
                        <a:pt x="0" y="5732"/>
                        <a:pt x="6103" y="-123"/>
                        <a:pt x="13452" y="2"/>
                      </a:cubicBezTo>
                      <a:cubicBezTo>
                        <a:pt x="20801" y="126"/>
                        <a:pt x="26530" y="6230"/>
                        <a:pt x="26530" y="13454"/>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68" name="Graphic 2987">
                <a:extLst>
                  <a:ext uri="{FF2B5EF4-FFF2-40B4-BE49-F238E27FC236}">
                    <a16:creationId xmlns:a16="http://schemas.microsoft.com/office/drawing/2014/main" id="{F7257F60-8E70-76FB-A62C-9F9783D44C56}"/>
                  </a:ext>
                </a:extLst>
              </p:cNvPr>
              <p:cNvGrpSpPr/>
              <p:nvPr/>
            </p:nvGrpSpPr>
            <p:grpSpPr>
              <a:xfrm>
                <a:off x="12844772" y="3752418"/>
                <a:ext cx="67144" cy="350580"/>
                <a:chOff x="5809611" y="1853989"/>
                <a:chExt cx="28532" cy="148974"/>
              </a:xfrm>
              <a:solidFill>
                <a:srgbClr val="B52455"/>
              </a:solidFill>
            </p:grpSpPr>
            <p:sp>
              <p:nvSpPr>
                <p:cNvPr id="136" name="Freeform 7903">
                  <a:extLst>
                    <a:ext uri="{FF2B5EF4-FFF2-40B4-BE49-F238E27FC236}">
                      <a16:creationId xmlns:a16="http://schemas.microsoft.com/office/drawing/2014/main" id="{8FDD5B7E-FE02-30FE-0232-9443CEF30B41}"/>
                    </a:ext>
                  </a:extLst>
                </p:cNvPr>
                <p:cNvSpPr/>
                <p:nvPr/>
              </p:nvSpPr>
              <p:spPr>
                <a:xfrm>
                  <a:off x="5825753" y="1930593"/>
                  <a:ext cx="3403" cy="52065"/>
                </a:xfrm>
                <a:custGeom>
                  <a:avLst/>
                  <a:gdLst>
                    <a:gd name="connsiteX0" fmla="*/ 930 w 3403"/>
                    <a:gd name="connsiteY0" fmla="*/ 52065 h 52065"/>
                    <a:gd name="connsiteX1" fmla="*/ 3172 w 3403"/>
                    <a:gd name="connsiteY1" fmla="*/ 33381 h 52065"/>
                    <a:gd name="connsiteX2" fmla="*/ 58 w 3403"/>
                    <a:gd name="connsiteY2" fmla="*/ 16317 h 52065"/>
                    <a:gd name="connsiteX3" fmla="*/ 2425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930" y="52065"/>
                      </a:moveTo>
                      <a:cubicBezTo>
                        <a:pt x="3546" y="44093"/>
                        <a:pt x="3671" y="37741"/>
                        <a:pt x="3172" y="33381"/>
                      </a:cubicBezTo>
                      <a:cubicBezTo>
                        <a:pt x="2550" y="26406"/>
                        <a:pt x="432"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7" name="Freeform 7904">
                  <a:extLst>
                    <a:ext uri="{FF2B5EF4-FFF2-40B4-BE49-F238E27FC236}">
                      <a16:creationId xmlns:a16="http://schemas.microsoft.com/office/drawing/2014/main" id="{9D49A070-E0EB-4A5F-8400-23FB7D249CBD}"/>
                    </a:ext>
                  </a:extLst>
                </p:cNvPr>
                <p:cNvSpPr/>
                <p:nvPr/>
              </p:nvSpPr>
              <p:spPr>
                <a:xfrm>
                  <a:off x="5817434" y="1935451"/>
                  <a:ext cx="4278" cy="52189"/>
                </a:xfrm>
                <a:custGeom>
                  <a:avLst/>
                  <a:gdLst>
                    <a:gd name="connsiteX0" fmla="*/ 2273 w 4278"/>
                    <a:gd name="connsiteY0" fmla="*/ 0 h 52189"/>
                    <a:gd name="connsiteX1" fmla="*/ 3892 w 4278"/>
                    <a:gd name="connsiteY1" fmla="*/ 18684 h 52189"/>
                    <a:gd name="connsiteX2" fmla="*/ 156 w 4278"/>
                    <a:gd name="connsiteY2" fmla="*/ 35748 h 52189"/>
                    <a:gd name="connsiteX3" fmla="*/ 202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0"/>
                      </a:moveTo>
                      <a:cubicBezTo>
                        <a:pt x="4640" y="8096"/>
                        <a:pt x="4515" y="14449"/>
                        <a:pt x="3892" y="18684"/>
                      </a:cubicBezTo>
                      <a:cubicBezTo>
                        <a:pt x="3021" y="25659"/>
                        <a:pt x="778" y="28648"/>
                        <a:pt x="156" y="35748"/>
                      </a:cubicBezTo>
                      <a:cubicBezTo>
                        <a:pt x="-467" y="42599"/>
                        <a:pt x="903" y="48328"/>
                        <a:pt x="2024"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8" name="Freeform 7905">
                  <a:extLst>
                    <a:ext uri="{FF2B5EF4-FFF2-40B4-BE49-F238E27FC236}">
                      <a16:creationId xmlns:a16="http://schemas.microsoft.com/office/drawing/2014/main" id="{93C4DC0E-8671-D0B8-4CD8-C165F98929A3}"/>
                    </a:ext>
                  </a:extLst>
                </p:cNvPr>
                <p:cNvSpPr/>
                <p:nvPr/>
              </p:nvSpPr>
              <p:spPr>
                <a:xfrm>
                  <a:off x="5809611" y="1976429"/>
                  <a:ext cx="26664" cy="26534"/>
                </a:xfrm>
                <a:custGeom>
                  <a:avLst/>
                  <a:gdLst>
                    <a:gd name="connsiteX0" fmla="*/ 8 w 26664"/>
                    <a:gd name="connsiteY0" fmla="*/ 13080 h 26534"/>
                    <a:gd name="connsiteX1" fmla="*/ 13584 w 26664"/>
                    <a:gd name="connsiteY1" fmla="*/ 2 h 26534"/>
                    <a:gd name="connsiteX2" fmla="*/ 26663 w 26664"/>
                    <a:gd name="connsiteY2" fmla="*/ 13454 h 26534"/>
                    <a:gd name="connsiteX3" fmla="*/ 13086 w 26664"/>
                    <a:gd name="connsiteY3" fmla="*/ 26533 h 26534"/>
                    <a:gd name="connsiteX4" fmla="*/ 8 w 26664"/>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34">
                      <a:moveTo>
                        <a:pt x="8" y="13080"/>
                      </a:moveTo>
                      <a:cubicBezTo>
                        <a:pt x="132" y="5732"/>
                        <a:pt x="6235" y="-123"/>
                        <a:pt x="13584" y="2"/>
                      </a:cubicBezTo>
                      <a:cubicBezTo>
                        <a:pt x="20933" y="126"/>
                        <a:pt x="26787" y="6105"/>
                        <a:pt x="26663" y="13454"/>
                      </a:cubicBezTo>
                      <a:cubicBezTo>
                        <a:pt x="26538" y="20803"/>
                        <a:pt x="20435" y="26657"/>
                        <a:pt x="13086" y="26533"/>
                      </a:cubicBezTo>
                      <a:cubicBezTo>
                        <a:pt x="5737" y="26408"/>
                        <a:pt x="-242" y="20429"/>
                        <a:pt x="8" y="13080"/>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39" name="Freeform 7906">
                  <a:extLst>
                    <a:ext uri="{FF2B5EF4-FFF2-40B4-BE49-F238E27FC236}">
                      <a16:creationId xmlns:a16="http://schemas.microsoft.com/office/drawing/2014/main" id="{E311EB5F-D075-939F-9E35-EE520441A004}"/>
                    </a:ext>
                  </a:extLst>
                </p:cNvPr>
                <p:cNvSpPr/>
                <p:nvPr/>
              </p:nvSpPr>
              <p:spPr>
                <a:xfrm>
                  <a:off x="5818730" y="1874293"/>
                  <a:ext cx="3403" cy="52065"/>
                </a:xfrm>
                <a:custGeom>
                  <a:avLst/>
                  <a:gdLst>
                    <a:gd name="connsiteX0" fmla="*/ 2473 w 3403"/>
                    <a:gd name="connsiteY0" fmla="*/ 0 h 52065"/>
                    <a:gd name="connsiteX1" fmla="*/ 231 w 3403"/>
                    <a:gd name="connsiteY1" fmla="*/ 18684 h 52065"/>
                    <a:gd name="connsiteX2" fmla="*/ 3345 w 3403"/>
                    <a:gd name="connsiteY2" fmla="*/ 35748 h 52065"/>
                    <a:gd name="connsiteX3" fmla="*/ 854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0"/>
                      </a:moveTo>
                      <a:cubicBezTo>
                        <a:pt x="-143" y="7972"/>
                        <a:pt x="-267" y="14324"/>
                        <a:pt x="231" y="18684"/>
                      </a:cubicBezTo>
                      <a:cubicBezTo>
                        <a:pt x="854" y="25659"/>
                        <a:pt x="2971" y="28773"/>
                        <a:pt x="3345" y="35748"/>
                      </a:cubicBezTo>
                      <a:cubicBezTo>
                        <a:pt x="3719" y="42599"/>
                        <a:pt x="2224" y="48328"/>
                        <a:pt x="854"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0" name="Freeform 7907">
                  <a:extLst>
                    <a:ext uri="{FF2B5EF4-FFF2-40B4-BE49-F238E27FC236}">
                      <a16:creationId xmlns:a16="http://schemas.microsoft.com/office/drawing/2014/main" id="{5293CF7E-35BB-F40E-0D73-64CBCB448E23}"/>
                    </a:ext>
                  </a:extLst>
                </p:cNvPr>
                <p:cNvSpPr/>
                <p:nvPr/>
              </p:nvSpPr>
              <p:spPr>
                <a:xfrm>
                  <a:off x="5826173" y="1869311"/>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3"/>
                        <a:pt x="-237" y="37741"/>
                        <a:pt x="386" y="33506"/>
                      </a:cubicBezTo>
                      <a:cubicBezTo>
                        <a:pt x="1258" y="26531"/>
                        <a:pt x="3500" y="23541"/>
                        <a:pt x="4122" y="16442"/>
                      </a:cubicBezTo>
                      <a:cubicBezTo>
                        <a:pt x="4745" y="9591"/>
                        <a:pt x="3375" y="3861"/>
                        <a:pt x="2254"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41" name="Freeform 7908">
                  <a:extLst>
                    <a:ext uri="{FF2B5EF4-FFF2-40B4-BE49-F238E27FC236}">
                      <a16:creationId xmlns:a16="http://schemas.microsoft.com/office/drawing/2014/main" id="{569D793E-EC43-55BF-9E2C-77E2C9CA82F3}"/>
                    </a:ext>
                  </a:extLst>
                </p:cNvPr>
                <p:cNvSpPr/>
                <p:nvPr/>
              </p:nvSpPr>
              <p:spPr>
                <a:xfrm>
                  <a:off x="5811734" y="1853989"/>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4" y="20803"/>
                        <a:pt x="20305" y="26657"/>
                        <a:pt x="12956" y="26533"/>
                      </a:cubicBezTo>
                      <a:cubicBezTo>
                        <a:pt x="5607" y="26408"/>
                        <a:pt x="-123" y="20429"/>
                        <a:pt x="2" y="13080"/>
                      </a:cubicBezTo>
                      <a:cubicBezTo>
                        <a:pt x="127" y="5732"/>
                        <a:pt x="6105" y="-123"/>
                        <a:pt x="13454" y="2"/>
                      </a:cubicBezTo>
                      <a:cubicBezTo>
                        <a:pt x="20679" y="127"/>
                        <a:pt x="26533" y="6105"/>
                        <a:pt x="26408" y="13454"/>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69" name="Graphic 2987">
                <a:extLst>
                  <a:ext uri="{FF2B5EF4-FFF2-40B4-BE49-F238E27FC236}">
                    <a16:creationId xmlns:a16="http://schemas.microsoft.com/office/drawing/2014/main" id="{188FBC96-058E-32DB-2E67-A0E7B8C81F05}"/>
                  </a:ext>
                </a:extLst>
              </p:cNvPr>
              <p:cNvGrpSpPr/>
              <p:nvPr/>
            </p:nvGrpSpPr>
            <p:grpSpPr>
              <a:xfrm>
                <a:off x="12774436" y="3751538"/>
                <a:ext cx="68013" cy="350580"/>
                <a:chOff x="5779723" y="1853615"/>
                <a:chExt cx="28901" cy="148974"/>
              </a:xfrm>
              <a:solidFill>
                <a:srgbClr val="B52455"/>
              </a:solidFill>
            </p:grpSpPr>
            <p:sp>
              <p:nvSpPr>
                <p:cNvPr id="130" name="Freeform 7910">
                  <a:extLst>
                    <a:ext uri="{FF2B5EF4-FFF2-40B4-BE49-F238E27FC236}">
                      <a16:creationId xmlns:a16="http://schemas.microsoft.com/office/drawing/2014/main" id="{7D130241-029F-5A6A-C293-0526DC501422}"/>
                    </a:ext>
                  </a:extLst>
                </p:cNvPr>
                <p:cNvSpPr/>
                <p:nvPr/>
              </p:nvSpPr>
              <p:spPr>
                <a:xfrm>
                  <a:off x="5796108" y="1930220"/>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50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50" y="26406"/>
                        <a:pt x="432" y="23292"/>
                        <a:pt x="58" y="16317"/>
                      </a:cubicBezTo>
                      <a:cubicBezTo>
                        <a:pt x="-315" y="9466"/>
                        <a:pt x="1179" y="3737"/>
                        <a:pt x="2550"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1" name="Freeform 7911">
                  <a:extLst>
                    <a:ext uri="{FF2B5EF4-FFF2-40B4-BE49-F238E27FC236}">
                      <a16:creationId xmlns:a16="http://schemas.microsoft.com/office/drawing/2014/main" id="{1107687A-FF1F-B179-A8E5-F926A1574628}"/>
                    </a:ext>
                  </a:extLst>
                </p:cNvPr>
                <p:cNvSpPr/>
                <p:nvPr/>
              </p:nvSpPr>
              <p:spPr>
                <a:xfrm>
                  <a:off x="5787780" y="1935078"/>
                  <a:ext cx="4288" cy="52189"/>
                </a:xfrm>
                <a:custGeom>
                  <a:avLst/>
                  <a:gdLst>
                    <a:gd name="connsiteX0" fmla="*/ 2283 w 4288"/>
                    <a:gd name="connsiteY0" fmla="*/ 0 h 52189"/>
                    <a:gd name="connsiteX1" fmla="*/ 3903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3" y="18684"/>
                      </a:cubicBezTo>
                      <a:cubicBezTo>
                        <a:pt x="3031" y="25659"/>
                        <a:pt x="789" y="28648"/>
                        <a:pt x="166" y="35748"/>
                      </a:cubicBezTo>
                      <a:cubicBezTo>
                        <a:pt x="-457" y="42599"/>
                        <a:pt x="789" y="48328"/>
                        <a:pt x="2034"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2" name="Freeform 7912">
                  <a:extLst>
                    <a:ext uri="{FF2B5EF4-FFF2-40B4-BE49-F238E27FC236}">
                      <a16:creationId xmlns:a16="http://schemas.microsoft.com/office/drawing/2014/main" id="{2B573B48-C888-5374-3568-BDDBC93F6A25}"/>
                    </a:ext>
                  </a:extLst>
                </p:cNvPr>
                <p:cNvSpPr/>
                <p:nvPr/>
              </p:nvSpPr>
              <p:spPr>
                <a:xfrm>
                  <a:off x="5779723" y="1976055"/>
                  <a:ext cx="26659" cy="26534"/>
                </a:xfrm>
                <a:custGeom>
                  <a:avLst/>
                  <a:gdLst>
                    <a:gd name="connsiteX0" fmla="*/ 2 w 26659"/>
                    <a:gd name="connsiteY0" fmla="*/ 13081 h 26534"/>
                    <a:gd name="connsiteX1" fmla="*/ 13579 w 26659"/>
                    <a:gd name="connsiteY1" fmla="*/ 2 h 26534"/>
                    <a:gd name="connsiteX2" fmla="*/ 26657 w 26659"/>
                    <a:gd name="connsiteY2" fmla="*/ 13454 h 26534"/>
                    <a:gd name="connsiteX3" fmla="*/ 13081 w 26659"/>
                    <a:gd name="connsiteY3" fmla="*/ 26533 h 26534"/>
                    <a:gd name="connsiteX4" fmla="*/ 2 w 26659"/>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1"/>
                      </a:moveTo>
                      <a:cubicBezTo>
                        <a:pt x="127" y="5732"/>
                        <a:pt x="6230" y="-123"/>
                        <a:pt x="13579" y="2"/>
                      </a:cubicBezTo>
                      <a:cubicBezTo>
                        <a:pt x="20928" y="127"/>
                        <a:pt x="26782" y="6105"/>
                        <a:pt x="26657" y="13454"/>
                      </a:cubicBezTo>
                      <a:cubicBezTo>
                        <a:pt x="26533" y="20803"/>
                        <a:pt x="20430" y="26657"/>
                        <a:pt x="13081" y="26533"/>
                      </a:cubicBezTo>
                      <a:cubicBezTo>
                        <a:pt x="5732" y="26408"/>
                        <a:pt x="-122" y="20429"/>
                        <a:pt x="2" y="13081"/>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33" name="Freeform 7913">
                  <a:extLst>
                    <a:ext uri="{FF2B5EF4-FFF2-40B4-BE49-F238E27FC236}">
                      <a16:creationId xmlns:a16="http://schemas.microsoft.com/office/drawing/2014/main" id="{A1A0030C-2BD5-EB3D-06A0-6DAEF9FFD5C2}"/>
                    </a:ext>
                  </a:extLst>
                </p:cNvPr>
                <p:cNvSpPr/>
                <p:nvPr/>
              </p:nvSpPr>
              <p:spPr>
                <a:xfrm>
                  <a:off x="5789160" y="1873920"/>
                  <a:ext cx="3327" cy="52065"/>
                </a:xfrm>
                <a:custGeom>
                  <a:avLst/>
                  <a:gdLst>
                    <a:gd name="connsiteX0" fmla="*/ 2522 w 3327"/>
                    <a:gd name="connsiteY0" fmla="*/ 0 h 52065"/>
                    <a:gd name="connsiteX1" fmla="*/ 156 w 3327"/>
                    <a:gd name="connsiteY1" fmla="*/ 18684 h 52065"/>
                    <a:gd name="connsiteX2" fmla="*/ 3270 w 3327"/>
                    <a:gd name="connsiteY2" fmla="*/ 35748 h 52065"/>
                    <a:gd name="connsiteX3" fmla="*/ 778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0"/>
                      </a:moveTo>
                      <a:cubicBezTo>
                        <a:pt x="-94" y="7972"/>
                        <a:pt x="-218" y="14324"/>
                        <a:pt x="156" y="18684"/>
                      </a:cubicBezTo>
                      <a:cubicBezTo>
                        <a:pt x="778" y="25659"/>
                        <a:pt x="2896" y="28773"/>
                        <a:pt x="3270" y="35748"/>
                      </a:cubicBezTo>
                      <a:cubicBezTo>
                        <a:pt x="3643" y="42599"/>
                        <a:pt x="2149" y="48328"/>
                        <a:pt x="778"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4" name="Freeform 7914">
                  <a:extLst>
                    <a:ext uri="{FF2B5EF4-FFF2-40B4-BE49-F238E27FC236}">
                      <a16:creationId xmlns:a16="http://schemas.microsoft.com/office/drawing/2014/main" id="{2D77A081-F785-D2FB-BB95-E4094D56983E}"/>
                    </a:ext>
                  </a:extLst>
                </p:cNvPr>
                <p:cNvSpPr/>
                <p:nvPr/>
              </p:nvSpPr>
              <p:spPr>
                <a:xfrm>
                  <a:off x="5796528" y="1868937"/>
                  <a:ext cx="4288" cy="52189"/>
                </a:xfrm>
                <a:custGeom>
                  <a:avLst/>
                  <a:gdLst>
                    <a:gd name="connsiteX0" fmla="*/ 2005 w 4288"/>
                    <a:gd name="connsiteY0" fmla="*/ 52190 h 52189"/>
                    <a:gd name="connsiteX1" fmla="*/ 386 w 4288"/>
                    <a:gd name="connsiteY1" fmla="*/ 33506 h 52189"/>
                    <a:gd name="connsiteX2" fmla="*/ 4123 w 4288"/>
                    <a:gd name="connsiteY2" fmla="*/ 16442 h 52189"/>
                    <a:gd name="connsiteX3" fmla="*/ 225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90"/>
                      </a:moveTo>
                      <a:cubicBezTo>
                        <a:pt x="-361" y="44093"/>
                        <a:pt x="-237" y="37741"/>
                        <a:pt x="386" y="33506"/>
                      </a:cubicBezTo>
                      <a:cubicBezTo>
                        <a:pt x="1258" y="26531"/>
                        <a:pt x="3500" y="23541"/>
                        <a:pt x="4123" y="16442"/>
                      </a:cubicBezTo>
                      <a:cubicBezTo>
                        <a:pt x="4745" y="9591"/>
                        <a:pt x="3500" y="3861"/>
                        <a:pt x="2254"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35" name="Freeform 7915">
                  <a:extLst>
                    <a:ext uri="{FF2B5EF4-FFF2-40B4-BE49-F238E27FC236}">
                      <a16:creationId xmlns:a16="http://schemas.microsoft.com/office/drawing/2014/main" id="{0197765A-F3CE-CB2D-3E4A-36C667E871E4}"/>
                    </a:ext>
                  </a:extLst>
                </p:cNvPr>
                <p:cNvSpPr/>
                <p:nvPr/>
              </p:nvSpPr>
              <p:spPr>
                <a:xfrm>
                  <a:off x="5782214" y="1853615"/>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305" y="26657"/>
                        <a:pt x="12956" y="26533"/>
                      </a:cubicBezTo>
                      <a:cubicBezTo>
                        <a:pt x="5607" y="26408"/>
                        <a:pt x="-123" y="20429"/>
                        <a:pt x="2" y="13080"/>
                      </a:cubicBezTo>
                      <a:cubicBezTo>
                        <a:pt x="127" y="5732"/>
                        <a:pt x="6230" y="-123"/>
                        <a:pt x="13454" y="2"/>
                      </a:cubicBezTo>
                      <a:cubicBezTo>
                        <a:pt x="20679" y="126"/>
                        <a:pt x="26533" y="6105"/>
                        <a:pt x="26408" y="13454"/>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0" name="Graphic 2987">
                <a:extLst>
                  <a:ext uri="{FF2B5EF4-FFF2-40B4-BE49-F238E27FC236}">
                    <a16:creationId xmlns:a16="http://schemas.microsoft.com/office/drawing/2014/main" id="{4FE1AE84-5D90-9016-EE98-B66393D39248}"/>
                  </a:ext>
                </a:extLst>
              </p:cNvPr>
              <p:cNvGrpSpPr/>
              <p:nvPr/>
            </p:nvGrpSpPr>
            <p:grpSpPr>
              <a:xfrm>
                <a:off x="12704381" y="3750658"/>
                <a:ext cx="68599" cy="350580"/>
                <a:chOff x="5749954" y="1853241"/>
                <a:chExt cx="29150" cy="148974"/>
              </a:xfrm>
              <a:solidFill>
                <a:srgbClr val="B52455"/>
              </a:solidFill>
            </p:grpSpPr>
            <p:sp>
              <p:nvSpPr>
                <p:cNvPr id="124" name="Freeform 7917">
                  <a:extLst>
                    <a:ext uri="{FF2B5EF4-FFF2-40B4-BE49-F238E27FC236}">
                      <a16:creationId xmlns:a16="http://schemas.microsoft.com/office/drawing/2014/main" id="{FC8A8CA5-5064-B0A1-1490-E49779F067E6}"/>
                    </a:ext>
                  </a:extLst>
                </p:cNvPr>
                <p:cNvSpPr/>
                <p:nvPr/>
              </p:nvSpPr>
              <p:spPr>
                <a:xfrm>
                  <a:off x="5766339" y="1929846"/>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49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49" y="26406"/>
                        <a:pt x="432" y="23292"/>
                        <a:pt x="58" y="16317"/>
                      </a:cubicBezTo>
                      <a:cubicBezTo>
                        <a:pt x="-315" y="9466"/>
                        <a:pt x="1179" y="3737"/>
                        <a:pt x="254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5" name="Freeform 7918">
                  <a:extLst>
                    <a:ext uri="{FF2B5EF4-FFF2-40B4-BE49-F238E27FC236}">
                      <a16:creationId xmlns:a16="http://schemas.microsoft.com/office/drawing/2014/main" id="{E74B2B7C-E0D5-088E-4833-0663E52783C4}"/>
                    </a:ext>
                  </a:extLst>
                </p:cNvPr>
                <p:cNvSpPr/>
                <p:nvPr/>
              </p:nvSpPr>
              <p:spPr>
                <a:xfrm>
                  <a:off x="5758011" y="1934704"/>
                  <a:ext cx="4233" cy="52189"/>
                </a:xfrm>
                <a:custGeom>
                  <a:avLst/>
                  <a:gdLst>
                    <a:gd name="connsiteX0" fmla="*/ 2283 w 4233"/>
                    <a:gd name="connsiteY0" fmla="*/ 0 h 52189"/>
                    <a:gd name="connsiteX1" fmla="*/ 3902 w 4233"/>
                    <a:gd name="connsiteY1" fmla="*/ 18684 h 52189"/>
                    <a:gd name="connsiteX2" fmla="*/ 166 w 4233"/>
                    <a:gd name="connsiteY2" fmla="*/ 35748 h 52189"/>
                    <a:gd name="connsiteX3" fmla="*/ 2034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2283" y="0"/>
                      </a:moveTo>
                      <a:cubicBezTo>
                        <a:pt x="4650" y="8096"/>
                        <a:pt x="4401"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6" name="Freeform 7919">
                  <a:extLst>
                    <a:ext uri="{FF2B5EF4-FFF2-40B4-BE49-F238E27FC236}">
                      <a16:creationId xmlns:a16="http://schemas.microsoft.com/office/drawing/2014/main" id="{9C1B1759-A01A-FC76-D82C-89A451A808E6}"/>
                    </a:ext>
                  </a:extLst>
                </p:cNvPr>
                <p:cNvSpPr/>
                <p:nvPr/>
              </p:nvSpPr>
              <p:spPr>
                <a:xfrm>
                  <a:off x="5749954" y="1975681"/>
                  <a:ext cx="26659" cy="26534"/>
                </a:xfrm>
                <a:custGeom>
                  <a:avLst/>
                  <a:gdLst>
                    <a:gd name="connsiteX0" fmla="*/ 2 w 26659"/>
                    <a:gd name="connsiteY0" fmla="*/ 13080 h 26534"/>
                    <a:gd name="connsiteX1" fmla="*/ 13579 w 26659"/>
                    <a:gd name="connsiteY1" fmla="*/ 2 h 26534"/>
                    <a:gd name="connsiteX2" fmla="*/ 26657 w 26659"/>
                    <a:gd name="connsiteY2" fmla="*/ 13454 h 26534"/>
                    <a:gd name="connsiteX3" fmla="*/ 13080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127" y="5732"/>
                        <a:pt x="6230" y="-123"/>
                        <a:pt x="13579" y="2"/>
                      </a:cubicBezTo>
                      <a:cubicBezTo>
                        <a:pt x="20928" y="126"/>
                        <a:pt x="26782" y="6105"/>
                        <a:pt x="26657" y="13454"/>
                      </a:cubicBezTo>
                      <a:cubicBezTo>
                        <a:pt x="26533" y="20803"/>
                        <a:pt x="20429" y="26657"/>
                        <a:pt x="13080" y="26533"/>
                      </a:cubicBezTo>
                      <a:cubicBezTo>
                        <a:pt x="5732" y="26408"/>
                        <a:pt x="-123" y="20429"/>
                        <a:pt x="2" y="13080"/>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27" name="Freeform 7920">
                  <a:extLst>
                    <a:ext uri="{FF2B5EF4-FFF2-40B4-BE49-F238E27FC236}">
                      <a16:creationId xmlns:a16="http://schemas.microsoft.com/office/drawing/2014/main" id="{0DD454D5-11D5-51A0-2262-4526A5ED9220}"/>
                    </a:ext>
                  </a:extLst>
                </p:cNvPr>
                <p:cNvSpPr/>
                <p:nvPr/>
              </p:nvSpPr>
              <p:spPr>
                <a:xfrm>
                  <a:off x="5759640" y="1873546"/>
                  <a:ext cx="3203" cy="52065"/>
                </a:xfrm>
                <a:custGeom>
                  <a:avLst/>
                  <a:gdLst>
                    <a:gd name="connsiteX0" fmla="*/ 2522 w 3203"/>
                    <a:gd name="connsiteY0" fmla="*/ 0 h 52065"/>
                    <a:gd name="connsiteX1" fmla="*/ 156 w 3203"/>
                    <a:gd name="connsiteY1" fmla="*/ 18684 h 52065"/>
                    <a:gd name="connsiteX2" fmla="*/ 3145 w 3203"/>
                    <a:gd name="connsiteY2" fmla="*/ 35748 h 52065"/>
                    <a:gd name="connsiteX3" fmla="*/ 654 w 32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02" h="52065">
                      <a:moveTo>
                        <a:pt x="2522" y="0"/>
                      </a:moveTo>
                      <a:cubicBezTo>
                        <a:pt x="-94" y="7972"/>
                        <a:pt x="-218" y="14324"/>
                        <a:pt x="156" y="18684"/>
                      </a:cubicBezTo>
                      <a:cubicBezTo>
                        <a:pt x="778" y="25659"/>
                        <a:pt x="2896" y="28773"/>
                        <a:pt x="3145" y="35748"/>
                      </a:cubicBezTo>
                      <a:cubicBezTo>
                        <a:pt x="3519" y="42599"/>
                        <a:pt x="2024" y="48328"/>
                        <a:pt x="654"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8" name="Freeform 7921">
                  <a:extLst>
                    <a:ext uri="{FF2B5EF4-FFF2-40B4-BE49-F238E27FC236}">
                      <a16:creationId xmlns:a16="http://schemas.microsoft.com/office/drawing/2014/main" id="{E38482E3-7632-0F94-D610-E49138124DAC}"/>
                    </a:ext>
                  </a:extLst>
                </p:cNvPr>
                <p:cNvSpPr/>
                <p:nvPr/>
              </p:nvSpPr>
              <p:spPr>
                <a:xfrm>
                  <a:off x="5766938" y="1868564"/>
                  <a:ext cx="4233" cy="52189"/>
                </a:xfrm>
                <a:custGeom>
                  <a:avLst/>
                  <a:gdLst>
                    <a:gd name="connsiteX0" fmla="*/ 1950 w 4233"/>
                    <a:gd name="connsiteY0" fmla="*/ 52190 h 52189"/>
                    <a:gd name="connsiteX1" fmla="*/ 331 w 4233"/>
                    <a:gd name="connsiteY1" fmla="*/ 33506 h 52189"/>
                    <a:gd name="connsiteX2" fmla="*/ 4068 w 4233"/>
                    <a:gd name="connsiteY2" fmla="*/ 16442 h 52189"/>
                    <a:gd name="connsiteX3" fmla="*/ 2199 w 4233"/>
                    <a:gd name="connsiteY3" fmla="*/ 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52190"/>
                      </a:moveTo>
                      <a:cubicBezTo>
                        <a:pt x="-417" y="44093"/>
                        <a:pt x="-167" y="37741"/>
                        <a:pt x="331" y="33506"/>
                      </a:cubicBezTo>
                      <a:cubicBezTo>
                        <a:pt x="1203" y="26531"/>
                        <a:pt x="3445" y="23541"/>
                        <a:pt x="4068" y="16442"/>
                      </a:cubicBezTo>
                      <a:cubicBezTo>
                        <a:pt x="4690" y="9591"/>
                        <a:pt x="3445" y="3861"/>
                        <a:pt x="219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9" name="Freeform 7922">
                  <a:extLst>
                    <a:ext uri="{FF2B5EF4-FFF2-40B4-BE49-F238E27FC236}">
                      <a16:creationId xmlns:a16="http://schemas.microsoft.com/office/drawing/2014/main" id="{3BFB9656-1FC4-5AF2-EDF0-322447908356}"/>
                    </a:ext>
                  </a:extLst>
                </p:cNvPr>
                <p:cNvSpPr/>
                <p:nvPr/>
              </p:nvSpPr>
              <p:spPr>
                <a:xfrm>
                  <a:off x="5752694" y="1853241"/>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180" y="26657"/>
                        <a:pt x="12956" y="26533"/>
                      </a:cubicBezTo>
                      <a:cubicBezTo>
                        <a:pt x="5607" y="26408"/>
                        <a:pt x="-123" y="20429"/>
                        <a:pt x="2" y="13080"/>
                      </a:cubicBezTo>
                      <a:cubicBezTo>
                        <a:pt x="126" y="5732"/>
                        <a:pt x="6230" y="-123"/>
                        <a:pt x="13454" y="2"/>
                      </a:cubicBezTo>
                      <a:cubicBezTo>
                        <a:pt x="20803" y="126"/>
                        <a:pt x="26533" y="6105"/>
                        <a:pt x="26408" y="13454"/>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1" name="Graphic 2987">
                <a:extLst>
                  <a:ext uri="{FF2B5EF4-FFF2-40B4-BE49-F238E27FC236}">
                    <a16:creationId xmlns:a16="http://schemas.microsoft.com/office/drawing/2014/main" id="{F1C1D69F-B64E-596B-4450-30008FBAC020}"/>
                  </a:ext>
                </a:extLst>
              </p:cNvPr>
              <p:cNvGrpSpPr/>
              <p:nvPr/>
            </p:nvGrpSpPr>
            <p:grpSpPr>
              <a:xfrm>
                <a:off x="12322249" y="3742729"/>
                <a:ext cx="71543" cy="350022"/>
                <a:chOff x="5630746" y="1849872"/>
                <a:chExt cx="30401" cy="148737"/>
              </a:xfrm>
              <a:solidFill>
                <a:srgbClr val="B52455"/>
              </a:solidFill>
            </p:grpSpPr>
            <p:sp>
              <p:nvSpPr>
                <p:cNvPr id="118" name="Freeform 7945">
                  <a:extLst>
                    <a:ext uri="{FF2B5EF4-FFF2-40B4-BE49-F238E27FC236}">
                      <a16:creationId xmlns:a16="http://schemas.microsoft.com/office/drawing/2014/main" id="{9EDB98D1-6BEC-B99B-D98D-448A49922E4C}"/>
                    </a:ext>
                  </a:extLst>
                </p:cNvPr>
                <p:cNvSpPr/>
                <p:nvPr/>
              </p:nvSpPr>
              <p:spPr>
                <a:xfrm>
                  <a:off x="5647666" y="1926358"/>
                  <a:ext cx="2978" cy="52065"/>
                </a:xfrm>
                <a:custGeom>
                  <a:avLst/>
                  <a:gdLst>
                    <a:gd name="connsiteX0" fmla="*/ 276 w 2978"/>
                    <a:gd name="connsiteY0" fmla="*/ 52065 h 52065"/>
                    <a:gd name="connsiteX1" fmla="*/ 2892 w 2978"/>
                    <a:gd name="connsiteY1" fmla="*/ 33506 h 52065"/>
                    <a:gd name="connsiteX2" fmla="*/ 27 w 2978"/>
                    <a:gd name="connsiteY2" fmla="*/ 16317 h 52065"/>
                    <a:gd name="connsiteX3" fmla="*/ 2643 w 2978"/>
                    <a:gd name="connsiteY3" fmla="*/ 0 h 52065"/>
                  </a:gdLst>
                  <a:ahLst/>
                  <a:cxnLst>
                    <a:cxn ang="0">
                      <a:pos x="connsiteX0" y="connsiteY0"/>
                    </a:cxn>
                    <a:cxn ang="0">
                      <a:pos x="connsiteX1" y="connsiteY1"/>
                    </a:cxn>
                    <a:cxn ang="0">
                      <a:pos x="connsiteX2" y="connsiteY2"/>
                    </a:cxn>
                    <a:cxn ang="0">
                      <a:pos x="connsiteX3" y="connsiteY3"/>
                    </a:cxn>
                  </a:cxnLst>
                  <a:rect l="l" t="t" r="r" b="b"/>
                  <a:pathLst>
                    <a:path w="2978" h="52065">
                      <a:moveTo>
                        <a:pt x="276" y="52065"/>
                      </a:moveTo>
                      <a:cubicBezTo>
                        <a:pt x="3017" y="44093"/>
                        <a:pt x="3141" y="37741"/>
                        <a:pt x="2892" y="33506"/>
                      </a:cubicBezTo>
                      <a:cubicBezTo>
                        <a:pt x="2269" y="26531"/>
                        <a:pt x="276"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9" name="Freeform 7946">
                  <a:extLst>
                    <a:ext uri="{FF2B5EF4-FFF2-40B4-BE49-F238E27FC236}">
                      <a16:creationId xmlns:a16="http://schemas.microsoft.com/office/drawing/2014/main" id="{79E18A82-C463-1573-778F-15362F8D1786}"/>
                    </a:ext>
                  </a:extLst>
                </p:cNvPr>
                <p:cNvSpPr/>
                <p:nvPr/>
              </p:nvSpPr>
              <p:spPr>
                <a:xfrm>
                  <a:off x="5638873" y="193109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2"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0" name="Freeform 7947">
                  <a:extLst>
                    <a:ext uri="{FF2B5EF4-FFF2-40B4-BE49-F238E27FC236}">
                      <a16:creationId xmlns:a16="http://schemas.microsoft.com/office/drawing/2014/main" id="{BE623281-74A4-B844-D1D0-94A363846053}"/>
                    </a:ext>
                  </a:extLst>
                </p:cNvPr>
                <p:cNvSpPr/>
                <p:nvPr/>
              </p:nvSpPr>
              <p:spPr>
                <a:xfrm>
                  <a:off x="5630746" y="1972063"/>
                  <a:ext cx="26665" cy="26546"/>
                </a:xfrm>
                <a:custGeom>
                  <a:avLst/>
                  <a:gdLst>
                    <a:gd name="connsiteX0" fmla="*/ 8 w 26665"/>
                    <a:gd name="connsiteY0" fmla="*/ 12837 h 26546"/>
                    <a:gd name="connsiteX1" fmla="*/ 13709 w 26665"/>
                    <a:gd name="connsiteY1" fmla="*/ 8 h 26546"/>
                    <a:gd name="connsiteX2" fmla="*/ 26663 w 26665"/>
                    <a:gd name="connsiteY2" fmla="*/ 13709 h 26546"/>
                    <a:gd name="connsiteX3" fmla="*/ 12962 w 26665"/>
                    <a:gd name="connsiteY3" fmla="*/ 26539 h 26546"/>
                    <a:gd name="connsiteX4" fmla="*/ 8 w 2666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8" y="12837"/>
                      </a:moveTo>
                      <a:cubicBezTo>
                        <a:pt x="257" y="5488"/>
                        <a:pt x="6360" y="-241"/>
                        <a:pt x="13709" y="8"/>
                      </a:cubicBezTo>
                      <a:cubicBezTo>
                        <a:pt x="21058" y="257"/>
                        <a:pt x="26787" y="6360"/>
                        <a:pt x="26663" y="13709"/>
                      </a:cubicBezTo>
                      <a:cubicBezTo>
                        <a:pt x="26414" y="21058"/>
                        <a:pt x="20311" y="26788"/>
                        <a:pt x="12962" y="26539"/>
                      </a:cubicBezTo>
                      <a:cubicBezTo>
                        <a:pt x="5613" y="26290"/>
                        <a:pt x="-241" y="20186"/>
                        <a:pt x="8"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21" name="Freeform 7948">
                  <a:extLst>
                    <a:ext uri="{FF2B5EF4-FFF2-40B4-BE49-F238E27FC236}">
                      <a16:creationId xmlns:a16="http://schemas.microsoft.com/office/drawing/2014/main" id="{29690FF7-B561-7FE0-BEC5-169C045610B6}"/>
                    </a:ext>
                  </a:extLst>
                </p:cNvPr>
                <p:cNvSpPr/>
                <p:nvPr/>
              </p:nvSpPr>
              <p:spPr>
                <a:xfrm>
                  <a:off x="5641379" y="1870058"/>
                  <a:ext cx="2978" cy="52065"/>
                </a:xfrm>
                <a:custGeom>
                  <a:avLst/>
                  <a:gdLst>
                    <a:gd name="connsiteX0" fmla="*/ 2702 w 2978"/>
                    <a:gd name="connsiteY0" fmla="*/ 0 h 52065"/>
                    <a:gd name="connsiteX1" fmla="*/ 87 w 2978"/>
                    <a:gd name="connsiteY1" fmla="*/ 18559 h 52065"/>
                    <a:gd name="connsiteX2" fmla="*/ 2951 w 2978"/>
                    <a:gd name="connsiteY2" fmla="*/ 35748 h 52065"/>
                    <a:gd name="connsiteX3" fmla="*/ 336 w 297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8" h="52065">
                      <a:moveTo>
                        <a:pt x="2702" y="0"/>
                      </a:moveTo>
                      <a:cubicBezTo>
                        <a:pt x="-38" y="7972"/>
                        <a:pt x="-162" y="14324"/>
                        <a:pt x="87" y="18559"/>
                      </a:cubicBezTo>
                      <a:cubicBezTo>
                        <a:pt x="585" y="25534"/>
                        <a:pt x="2702" y="28648"/>
                        <a:pt x="2951" y="35748"/>
                      </a:cubicBezTo>
                      <a:cubicBezTo>
                        <a:pt x="3201" y="42599"/>
                        <a:pt x="1706" y="48328"/>
                        <a:pt x="336"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2" name="Freeform 7949">
                  <a:extLst>
                    <a:ext uri="{FF2B5EF4-FFF2-40B4-BE49-F238E27FC236}">
                      <a16:creationId xmlns:a16="http://schemas.microsoft.com/office/drawing/2014/main" id="{412CAB70-B49E-49DB-2175-AC7F55CB209F}"/>
                    </a:ext>
                  </a:extLst>
                </p:cNvPr>
                <p:cNvSpPr/>
                <p:nvPr/>
              </p:nvSpPr>
              <p:spPr>
                <a:xfrm>
                  <a:off x="5648507" y="1865201"/>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23" name="Freeform 7950">
                  <a:extLst>
                    <a:ext uri="{FF2B5EF4-FFF2-40B4-BE49-F238E27FC236}">
                      <a16:creationId xmlns:a16="http://schemas.microsoft.com/office/drawing/2014/main" id="{B9DFEAED-6075-BCD1-892D-554892A420BD}"/>
                    </a:ext>
                  </a:extLst>
                </p:cNvPr>
                <p:cNvSpPr/>
                <p:nvPr/>
              </p:nvSpPr>
              <p:spPr>
                <a:xfrm>
                  <a:off x="5634732" y="1849872"/>
                  <a:ext cx="26416" cy="26546"/>
                </a:xfrm>
                <a:custGeom>
                  <a:avLst/>
                  <a:gdLst>
                    <a:gd name="connsiteX0" fmla="*/ 26414 w 26416"/>
                    <a:gd name="connsiteY0" fmla="*/ 13709 h 26546"/>
                    <a:gd name="connsiteX1" fmla="*/ 12837 w 26416"/>
                    <a:gd name="connsiteY1" fmla="*/ 26539 h 26546"/>
                    <a:gd name="connsiteX2" fmla="*/ 8 w 26416"/>
                    <a:gd name="connsiteY2" fmla="*/ 12837 h 26546"/>
                    <a:gd name="connsiteX3" fmla="*/ 13585 w 26416"/>
                    <a:gd name="connsiteY3" fmla="*/ 8 h 26546"/>
                    <a:gd name="connsiteX4" fmla="*/ 26414 w 2641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545">
                      <a:moveTo>
                        <a:pt x="26414" y="13709"/>
                      </a:moveTo>
                      <a:cubicBezTo>
                        <a:pt x="26165" y="21058"/>
                        <a:pt x="20061" y="26788"/>
                        <a:pt x="12837" y="26539"/>
                      </a:cubicBezTo>
                      <a:cubicBezTo>
                        <a:pt x="5488" y="26289"/>
                        <a:pt x="-242" y="20186"/>
                        <a:pt x="8" y="12837"/>
                      </a:cubicBezTo>
                      <a:cubicBezTo>
                        <a:pt x="257" y="5488"/>
                        <a:pt x="6360" y="-241"/>
                        <a:pt x="13585" y="8"/>
                      </a:cubicBezTo>
                      <a:cubicBezTo>
                        <a:pt x="20809" y="132"/>
                        <a:pt x="26539" y="6360"/>
                        <a:pt x="26414"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2" name="Graphic 2987">
                <a:extLst>
                  <a:ext uri="{FF2B5EF4-FFF2-40B4-BE49-F238E27FC236}">
                    <a16:creationId xmlns:a16="http://schemas.microsoft.com/office/drawing/2014/main" id="{970A7656-8A43-E148-6B03-5F0DF19911C9}"/>
                  </a:ext>
                </a:extLst>
              </p:cNvPr>
              <p:cNvGrpSpPr/>
              <p:nvPr/>
            </p:nvGrpSpPr>
            <p:grpSpPr>
              <a:xfrm>
                <a:off x="12252194" y="3740091"/>
                <a:ext cx="72143" cy="350316"/>
                <a:chOff x="5600977" y="1848751"/>
                <a:chExt cx="30656" cy="148862"/>
              </a:xfrm>
              <a:solidFill>
                <a:srgbClr val="B52455"/>
              </a:solidFill>
            </p:grpSpPr>
            <p:sp>
              <p:nvSpPr>
                <p:cNvPr id="112" name="Freeform 7952">
                  <a:extLst>
                    <a:ext uri="{FF2B5EF4-FFF2-40B4-BE49-F238E27FC236}">
                      <a16:creationId xmlns:a16="http://schemas.microsoft.com/office/drawing/2014/main" id="{F676DF4B-DCB8-E33C-EB62-8B304C4B7AF8}"/>
                    </a:ext>
                  </a:extLst>
                </p:cNvPr>
                <p:cNvSpPr/>
                <p:nvPr/>
              </p:nvSpPr>
              <p:spPr>
                <a:xfrm>
                  <a:off x="5617899" y="1925362"/>
                  <a:ext cx="3026" cy="52065"/>
                </a:xfrm>
                <a:custGeom>
                  <a:avLst/>
                  <a:gdLst>
                    <a:gd name="connsiteX0" fmla="*/ 275 w 3026"/>
                    <a:gd name="connsiteY0" fmla="*/ 52065 h 52065"/>
                    <a:gd name="connsiteX1" fmla="*/ 2891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1" y="33506"/>
                      </a:cubicBezTo>
                      <a:cubicBezTo>
                        <a:pt x="2392"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3" name="Freeform 7953">
                  <a:extLst>
                    <a:ext uri="{FF2B5EF4-FFF2-40B4-BE49-F238E27FC236}">
                      <a16:creationId xmlns:a16="http://schemas.microsoft.com/office/drawing/2014/main" id="{B55AD0A1-D980-1788-D775-B3DA454231C6}"/>
                    </a:ext>
                  </a:extLst>
                </p:cNvPr>
                <p:cNvSpPr/>
                <p:nvPr/>
              </p:nvSpPr>
              <p:spPr>
                <a:xfrm>
                  <a:off x="5609228" y="1930095"/>
                  <a:ext cx="4645" cy="52189"/>
                </a:xfrm>
                <a:custGeom>
                  <a:avLst/>
                  <a:gdLst>
                    <a:gd name="connsiteX0" fmla="*/ 2842 w 4645"/>
                    <a:gd name="connsiteY0" fmla="*/ 0 h 52189"/>
                    <a:gd name="connsiteX1" fmla="*/ 4213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4" name="Freeform 7954">
                  <a:extLst>
                    <a:ext uri="{FF2B5EF4-FFF2-40B4-BE49-F238E27FC236}">
                      <a16:creationId xmlns:a16="http://schemas.microsoft.com/office/drawing/2014/main" id="{57A3A6BE-9B6C-11EF-60C2-0C7F9456E43E}"/>
                    </a:ext>
                  </a:extLst>
                </p:cNvPr>
                <p:cNvSpPr/>
                <p:nvPr/>
              </p:nvSpPr>
              <p:spPr>
                <a:xfrm>
                  <a:off x="5600977" y="1971067"/>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310" y="26788"/>
                        <a:pt x="12837" y="26539"/>
                      </a:cubicBezTo>
                      <a:cubicBezTo>
                        <a:pt x="5488" y="26290"/>
                        <a:pt x="-242" y="20186"/>
                        <a:pt x="8"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15" name="Freeform 7955">
                  <a:extLst>
                    <a:ext uri="{FF2B5EF4-FFF2-40B4-BE49-F238E27FC236}">
                      <a16:creationId xmlns:a16="http://schemas.microsoft.com/office/drawing/2014/main" id="{FDF155A8-99A8-6BB5-9466-B63D684B8742}"/>
                    </a:ext>
                  </a:extLst>
                </p:cNvPr>
                <p:cNvSpPr/>
                <p:nvPr/>
              </p:nvSpPr>
              <p:spPr>
                <a:xfrm>
                  <a:off x="5611809" y="186893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6" name="Freeform 7956">
                  <a:extLst>
                    <a:ext uri="{FF2B5EF4-FFF2-40B4-BE49-F238E27FC236}">
                      <a16:creationId xmlns:a16="http://schemas.microsoft.com/office/drawing/2014/main" id="{4B2C39B9-16DC-FCDD-9978-E4F535F0CE3E}"/>
                    </a:ext>
                  </a:extLst>
                </p:cNvPr>
                <p:cNvSpPr/>
                <p:nvPr/>
              </p:nvSpPr>
              <p:spPr>
                <a:xfrm>
                  <a:off x="5618862" y="1864080"/>
                  <a:ext cx="4645" cy="52189"/>
                </a:xfrm>
                <a:custGeom>
                  <a:avLst/>
                  <a:gdLst>
                    <a:gd name="connsiteX0" fmla="*/ 1803 w 4645"/>
                    <a:gd name="connsiteY0" fmla="*/ 52190 h 52189"/>
                    <a:gd name="connsiteX1" fmla="*/ 433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7" name="Freeform 7957">
                  <a:extLst>
                    <a:ext uri="{FF2B5EF4-FFF2-40B4-BE49-F238E27FC236}">
                      <a16:creationId xmlns:a16="http://schemas.microsoft.com/office/drawing/2014/main" id="{08174DF0-4AC4-6720-2450-27195D223C54}"/>
                    </a:ext>
                  </a:extLst>
                </p:cNvPr>
                <p:cNvSpPr/>
                <p:nvPr/>
              </p:nvSpPr>
              <p:spPr>
                <a:xfrm>
                  <a:off x="5605336" y="1848751"/>
                  <a:ext cx="26297" cy="26546"/>
                </a:xfrm>
                <a:custGeom>
                  <a:avLst/>
                  <a:gdLst>
                    <a:gd name="connsiteX0" fmla="*/ 26290 w 26297"/>
                    <a:gd name="connsiteY0" fmla="*/ 13709 h 26546"/>
                    <a:gd name="connsiteX1" fmla="*/ 12713 w 26297"/>
                    <a:gd name="connsiteY1" fmla="*/ 26539 h 26546"/>
                    <a:gd name="connsiteX2" fmla="*/ 8 w 26297"/>
                    <a:gd name="connsiteY2" fmla="*/ 12837 h 26546"/>
                    <a:gd name="connsiteX3" fmla="*/ 13585 w 26297"/>
                    <a:gd name="connsiteY3" fmla="*/ 8 h 26546"/>
                    <a:gd name="connsiteX4" fmla="*/ 26290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26290" y="13709"/>
                      </a:moveTo>
                      <a:cubicBezTo>
                        <a:pt x="26040" y="21058"/>
                        <a:pt x="19937" y="26788"/>
                        <a:pt x="12713" y="26539"/>
                      </a:cubicBezTo>
                      <a:cubicBezTo>
                        <a:pt x="5364" y="26290"/>
                        <a:pt x="-241" y="20186"/>
                        <a:pt x="8" y="12837"/>
                      </a:cubicBezTo>
                      <a:cubicBezTo>
                        <a:pt x="257" y="5488"/>
                        <a:pt x="6361" y="-241"/>
                        <a:pt x="13585" y="8"/>
                      </a:cubicBezTo>
                      <a:cubicBezTo>
                        <a:pt x="20809" y="257"/>
                        <a:pt x="26539" y="6360"/>
                        <a:pt x="26290"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3" name="Graphic 2987">
                <a:extLst>
                  <a:ext uri="{FF2B5EF4-FFF2-40B4-BE49-F238E27FC236}">
                    <a16:creationId xmlns:a16="http://schemas.microsoft.com/office/drawing/2014/main" id="{02EDBFCD-0286-1779-B568-1749BF5E14BC}"/>
                  </a:ext>
                </a:extLst>
              </p:cNvPr>
              <p:cNvGrpSpPr/>
              <p:nvPr/>
            </p:nvGrpSpPr>
            <p:grpSpPr>
              <a:xfrm>
                <a:off x="12182136" y="3737748"/>
                <a:ext cx="72731" cy="350022"/>
                <a:chOff x="5571207" y="1847755"/>
                <a:chExt cx="30906" cy="148737"/>
              </a:xfrm>
              <a:solidFill>
                <a:srgbClr val="B52455"/>
              </a:solidFill>
            </p:grpSpPr>
            <p:sp>
              <p:nvSpPr>
                <p:cNvPr id="106" name="Freeform 7959">
                  <a:extLst>
                    <a:ext uri="{FF2B5EF4-FFF2-40B4-BE49-F238E27FC236}">
                      <a16:creationId xmlns:a16="http://schemas.microsoft.com/office/drawing/2014/main" id="{9267518D-0C45-83AB-82C5-E0ED13799C33}"/>
                    </a:ext>
                  </a:extLst>
                </p:cNvPr>
                <p:cNvSpPr/>
                <p:nvPr/>
              </p:nvSpPr>
              <p:spPr>
                <a:xfrm>
                  <a:off x="5588130" y="1924241"/>
                  <a:ext cx="3026" cy="52065"/>
                </a:xfrm>
                <a:custGeom>
                  <a:avLst/>
                  <a:gdLst>
                    <a:gd name="connsiteX0" fmla="*/ 275 w 3026"/>
                    <a:gd name="connsiteY0" fmla="*/ 52065 h 52065"/>
                    <a:gd name="connsiteX1" fmla="*/ 2890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0" y="33506"/>
                      </a:cubicBezTo>
                      <a:cubicBezTo>
                        <a:pt x="2392" y="26531"/>
                        <a:pt x="275"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7" name="Freeform 7960">
                  <a:extLst>
                    <a:ext uri="{FF2B5EF4-FFF2-40B4-BE49-F238E27FC236}">
                      <a16:creationId xmlns:a16="http://schemas.microsoft.com/office/drawing/2014/main" id="{2AFF7EA0-A448-99BE-0AAB-18A5C19E4879}"/>
                    </a:ext>
                  </a:extLst>
                </p:cNvPr>
                <p:cNvSpPr/>
                <p:nvPr/>
              </p:nvSpPr>
              <p:spPr>
                <a:xfrm>
                  <a:off x="5579458" y="1928974"/>
                  <a:ext cx="4743" cy="52189"/>
                </a:xfrm>
                <a:custGeom>
                  <a:avLst/>
                  <a:gdLst>
                    <a:gd name="connsiteX0" fmla="*/ 2967 w 4743"/>
                    <a:gd name="connsiteY0" fmla="*/ 0 h 52189"/>
                    <a:gd name="connsiteX1" fmla="*/ 4213 w 4743"/>
                    <a:gd name="connsiteY1" fmla="*/ 18808 h 52189"/>
                    <a:gd name="connsiteX2" fmla="*/ 227 w 4743"/>
                    <a:gd name="connsiteY2" fmla="*/ 35748 h 52189"/>
                    <a:gd name="connsiteX3" fmla="*/ 1846 w 474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43" h="52189">
                      <a:moveTo>
                        <a:pt x="2967" y="0"/>
                      </a:moveTo>
                      <a:cubicBezTo>
                        <a:pt x="5209" y="8096"/>
                        <a:pt x="4960"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8" name="Freeform 7961">
                  <a:extLst>
                    <a:ext uri="{FF2B5EF4-FFF2-40B4-BE49-F238E27FC236}">
                      <a16:creationId xmlns:a16="http://schemas.microsoft.com/office/drawing/2014/main" id="{8D2E4C3E-3BA3-24C1-FB26-CFC1A33544C7}"/>
                    </a:ext>
                  </a:extLst>
                </p:cNvPr>
                <p:cNvSpPr/>
                <p:nvPr/>
              </p:nvSpPr>
              <p:spPr>
                <a:xfrm>
                  <a:off x="5571207" y="1969946"/>
                  <a:ext cx="26671" cy="26546"/>
                </a:xfrm>
                <a:custGeom>
                  <a:avLst/>
                  <a:gdLst>
                    <a:gd name="connsiteX0" fmla="*/ 8 w 26671"/>
                    <a:gd name="connsiteY0" fmla="*/ 12837 h 26546"/>
                    <a:gd name="connsiteX1" fmla="*/ 13834 w 26671"/>
                    <a:gd name="connsiteY1" fmla="*/ 8 h 26546"/>
                    <a:gd name="connsiteX2" fmla="*/ 26663 w 26671"/>
                    <a:gd name="connsiteY2" fmla="*/ 13709 h 26546"/>
                    <a:gd name="connsiteX3" fmla="*/ 12837 w 26671"/>
                    <a:gd name="connsiteY3" fmla="*/ 26539 h 26546"/>
                    <a:gd name="connsiteX4" fmla="*/ 8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2837"/>
                      </a:moveTo>
                      <a:cubicBezTo>
                        <a:pt x="257" y="5488"/>
                        <a:pt x="6485" y="-241"/>
                        <a:pt x="13834" y="8"/>
                      </a:cubicBezTo>
                      <a:cubicBezTo>
                        <a:pt x="21183" y="257"/>
                        <a:pt x="26912" y="6360"/>
                        <a:pt x="26663" y="13709"/>
                      </a:cubicBezTo>
                      <a:cubicBezTo>
                        <a:pt x="26414" y="21058"/>
                        <a:pt x="20186" y="26788"/>
                        <a:pt x="12837" y="26539"/>
                      </a:cubicBezTo>
                      <a:cubicBezTo>
                        <a:pt x="5488" y="26290"/>
                        <a:pt x="-241" y="20186"/>
                        <a:pt x="8"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09" name="Freeform 7962">
                  <a:extLst>
                    <a:ext uri="{FF2B5EF4-FFF2-40B4-BE49-F238E27FC236}">
                      <a16:creationId xmlns:a16="http://schemas.microsoft.com/office/drawing/2014/main" id="{B12CB373-4C22-2A5C-2A6E-20E3D8C821E8}"/>
                    </a:ext>
                  </a:extLst>
                </p:cNvPr>
                <p:cNvSpPr/>
                <p:nvPr/>
              </p:nvSpPr>
              <p:spPr>
                <a:xfrm>
                  <a:off x="5582289" y="1867941"/>
                  <a:ext cx="2902" cy="52065"/>
                </a:xfrm>
                <a:custGeom>
                  <a:avLst/>
                  <a:gdLst>
                    <a:gd name="connsiteX0" fmla="*/ 2752 w 2902"/>
                    <a:gd name="connsiteY0" fmla="*/ 0 h 52065"/>
                    <a:gd name="connsiteX1" fmla="*/ 136 w 2902"/>
                    <a:gd name="connsiteY1" fmla="*/ 18559 h 52065"/>
                    <a:gd name="connsiteX2" fmla="*/ 2877 w 2902"/>
                    <a:gd name="connsiteY2" fmla="*/ 35748 h 52065"/>
                    <a:gd name="connsiteX3" fmla="*/ 13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0"/>
                      </a:moveTo>
                      <a:cubicBezTo>
                        <a:pt x="12" y="7972"/>
                        <a:pt x="-237" y="14324"/>
                        <a:pt x="136" y="18559"/>
                      </a:cubicBezTo>
                      <a:cubicBezTo>
                        <a:pt x="635" y="25534"/>
                        <a:pt x="2628" y="28648"/>
                        <a:pt x="2877" y="35748"/>
                      </a:cubicBezTo>
                      <a:cubicBezTo>
                        <a:pt x="3126" y="42599"/>
                        <a:pt x="1507" y="48328"/>
                        <a:pt x="136"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0" name="Freeform 7963">
                  <a:extLst>
                    <a:ext uri="{FF2B5EF4-FFF2-40B4-BE49-F238E27FC236}">
                      <a16:creationId xmlns:a16="http://schemas.microsoft.com/office/drawing/2014/main" id="{068C7319-284D-5AA2-5A2B-F30A7C91C73D}"/>
                    </a:ext>
                  </a:extLst>
                </p:cNvPr>
                <p:cNvSpPr/>
                <p:nvPr/>
              </p:nvSpPr>
              <p:spPr>
                <a:xfrm>
                  <a:off x="5589342" y="1863083"/>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11" name="Freeform 7964">
                  <a:extLst>
                    <a:ext uri="{FF2B5EF4-FFF2-40B4-BE49-F238E27FC236}">
                      <a16:creationId xmlns:a16="http://schemas.microsoft.com/office/drawing/2014/main" id="{4B5F87C2-4C4C-7EEA-64C7-690FA40A6491}"/>
                    </a:ext>
                  </a:extLst>
                </p:cNvPr>
                <p:cNvSpPr/>
                <p:nvPr/>
              </p:nvSpPr>
              <p:spPr>
                <a:xfrm>
                  <a:off x="5575692" y="1847755"/>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062" y="26788"/>
                        <a:pt x="12713" y="26539"/>
                      </a:cubicBezTo>
                      <a:cubicBezTo>
                        <a:pt x="5364" y="26290"/>
                        <a:pt x="-241" y="20186"/>
                        <a:pt x="8" y="12837"/>
                      </a:cubicBezTo>
                      <a:cubicBezTo>
                        <a:pt x="257" y="5488"/>
                        <a:pt x="6360" y="-241"/>
                        <a:pt x="13709" y="8"/>
                      </a:cubicBezTo>
                      <a:cubicBezTo>
                        <a:pt x="20934" y="257"/>
                        <a:pt x="26663" y="6360"/>
                        <a:pt x="26414"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4" name="Graphic 2987">
                <a:extLst>
                  <a:ext uri="{FF2B5EF4-FFF2-40B4-BE49-F238E27FC236}">
                    <a16:creationId xmlns:a16="http://schemas.microsoft.com/office/drawing/2014/main" id="{9EA17084-6C7C-2CAF-2E21-471672B17BA7}"/>
                  </a:ext>
                </a:extLst>
              </p:cNvPr>
              <p:cNvGrpSpPr/>
              <p:nvPr/>
            </p:nvGrpSpPr>
            <p:grpSpPr>
              <a:xfrm>
                <a:off x="12112081" y="3735109"/>
                <a:ext cx="73338" cy="350316"/>
                <a:chOff x="5541438" y="1846634"/>
                <a:chExt cx="31164" cy="148862"/>
              </a:xfrm>
              <a:solidFill>
                <a:srgbClr val="B52455"/>
              </a:solidFill>
            </p:grpSpPr>
            <p:sp>
              <p:nvSpPr>
                <p:cNvPr id="100" name="Freeform 7966">
                  <a:extLst>
                    <a:ext uri="{FF2B5EF4-FFF2-40B4-BE49-F238E27FC236}">
                      <a16:creationId xmlns:a16="http://schemas.microsoft.com/office/drawing/2014/main" id="{95508394-38A4-AEFD-1C29-60D16CC6904A}"/>
                    </a:ext>
                  </a:extLst>
                </p:cNvPr>
                <p:cNvSpPr/>
                <p:nvPr/>
              </p:nvSpPr>
              <p:spPr>
                <a:xfrm>
                  <a:off x="5558609" y="1923245"/>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3"/>
                        <a:pt x="3015" y="37741"/>
                        <a:pt x="2766" y="33506"/>
                      </a:cubicBezTo>
                      <a:cubicBezTo>
                        <a:pt x="2268"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1" name="Freeform 7967">
                  <a:extLst>
                    <a:ext uri="{FF2B5EF4-FFF2-40B4-BE49-F238E27FC236}">
                      <a16:creationId xmlns:a16="http://schemas.microsoft.com/office/drawing/2014/main" id="{FB4D0F48-72A7-5379-BA3E-25751A104DE3}"/>
                    </a:ext>
                  </a:extLst>
                </p:cNvPr>
                <p:cNvSpPr/>
                <p:nvPr/>
              </p:nvSpPr>
              <p:spPr>
                <a:xfrm>
                  <a:off x="5549674" y="1927978"/>
                  <a:ext cx="4792" cy="52189"/>
                </a:xfrm>
                <a:custGeom>
                  <a:avLst/>
                  <a:gdLst>
                    <a:gd name="connsiteX0" fmla="*/ 3107 w 4792"/>
                    <a:gd name="connsiteY0" fmla="*/ 0 h 52189"/>
                    <a:gd name="connsiteX1" fmla="*/ 4352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2" y="18808"/>
                      </a:cubicBezTo>
                      <a:cubicBezTo>
                        <a:pt x="3356"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2" name="Freeform 7968">
                  <a:extLst>
                    <a:ext uri="{FF2B5EF4-FFF2-40B4-BE49-F238E27FC236}">
                      <a16:creationId xmlns:a16="http://schemas.microsoft.com/office/drawing/2014/main" id="{AB7C23E9-A931-6C4A-9FB8-F49AA9F4F7BB}"/>
                    </a:ext>
                  </a:extLst>
                </p:cNvPr>
                <p:cNvSpPr/>
                <p:nvPr/>
              </p:nvSpPr>
              <p:spPr>
                <a:xfrm>
                  <a:off x="5541438" y="1968949"/>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186" y="26788"/>
                        <a:pt x="12837" y="26539"/>
                      </a:cubicBezTo>
                      <a:cubicBezTo>
                        <a:pt x="5488" y="26290"/>
                        <a:pt x="-242" y="20186"/>
                        <a:pt x="8"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103" name="Freeform 7969">
                  <a:extLst>
                    <a:ext uri="{FF2B5EF4-FFF2-40B4-BE49-F238E27FC236}">
                      <a16:creationId xmlns:a16="http://schemas.microsoft.com/office/drawing/2014/main" id="{54ECF76E-2738-1EC4-040B-8B7E507BA2B7}"/>
                    </a:ext>
                  </a:extLst>
                </p:cNvPr>
                <p:cNvSpPr/>
                <p:nvPr/>
              </p:nvSpPr>
              <p:spPr>
                <a:xfrm>
                  <a:off x="5552706" y="1866820"/>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5" y="14324"/>
                        <a:pt x="74" y="18559"/>
                      </a:cubicBezTo>
                      <a:cubicBezTo>
                        <a:pt x="573" y="25534"/>
                        <a:pt x="2566" y="28648"/>
                        <a:pt x="2815" y="35748"/>
                      </a:cubicBezTo>
                      <a:cubicBezTo>
                        <a:pt x="3064" y="42599"/>
                        <a:pt x="1445" y="48328"/>
                        <a:pt x="74"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4" name="Freeform 7970">
                  <a:extLst>
                    <a:ext uri="{FF2B5EF4-FFF2-40B4-BE49-F238E27FC236}">
                      <a16:creationId xmlns:a16="http://schemas.microsoft.com/office/drawing/2014/main" id="{1C717FD0-F00E-010B-C875-0E65CBEDDFB1}"/>
                    </a:ext>
                  </a:extLst>
                </p:cNvPr>
                <p:cNvSpPr/>
                <p:nvPr/>
              </p:nvSpPr>
              <p:spPr>
                <a:xfrm>
                  <a:off x="5559814" y="1861962"/>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437" y="26406"/>
                        <a:pt x="3679"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105" name="Freeform 7971">
                  <a:extLst>
                    <a:ext uri="{FF2B5EF4-FFF2-40B4-BE49-F238E27FC236}">
                      <a16:creationId xmlns:a16="http://schemas.microsoft.com/office/drawing/2014/main" id="{2B2F3233-DCA3-EC7F-06C9-0FCC3109967C}"/>
                    </a:ext>
                  </a:extLst>
                </p:cNvPr>
                <p:cNvSpPr/>
                <p:nvPr/>
              </p:nvSpPr>
              <p:spPr>
                <a:xfrm>
                  <a:off x="5546171" y="1846634"/>
                  <a:ext cx="26431" cy="26546"/>
                </a:xfrm>
                <a:custGeom>
                  <a:avLst/>
                  <a:gdLst>
                    <a:gd name="connsiteX0" fmla="*/ 26415 w 26431"/>
                    <a:gd name="connsiteY0" fmla="*/ 13709 h 26546"/>
                    <a:gd name="connsiteX1" fmla="*/ 12713 w 26431"/>
                    <a:gd name="connsiteY1" fmla="*/ 26539 h 26546"/>
                    <a:gd name="connsiteX2" fmla="*/ 8 w 26431"/>
                    <a:gd name="connsiteY2" fmla="*/ 12837 h 26546"/>
                    <a:gd name="connsiteX3" fmla="*/ 13709 w 26431"/>
                    <a:gd name="connsiteY3" fmla="*/ 8 h 26546"/>
                    <a:gd name="connsiteX4" fmla="*/ 26415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5" y="13709"/>
                      </a:moveTo>
                      <a:cubicBezTo>
                        <a:pt x="26165" y="21058"/>
                        <a:pt x="20062" y="26788"/>
                        <a:pt x="12713" y="26539"/>
                      </a:cubicBezTo>
                      <a:cubicBezTo>
                        <a:pt x="5364" y="26290"/>
                        <a:pt x="-241" y="20186"/>
                        <a:pt x="8" y="12837"/>
                      </a:cubicBezTo>
                      <a:cubicBezTo>
                        <a:pt x="257" y="5488"/>
                        <a:pt x="6485" y="-241"/>
                        <a:pt x="13709" y="8"/>
                      </a:cubicBezTo>
                      <a:cubicBezTo>
                        <a:pt x="21058" y="257"/>
                        <a:pt x="26788" y="6485"/>
                        <a:pt x="26415"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5" name="Graphic 2987">
                <a:extLst>
                  <a:ext uri="{FF2B5EF4-FFF2-40B4-BE49-F238E27FC236}">
                    <a16:creationId xmlns:a16="http://schemas.microsoft.com/office/drawing/2014/main" id="{86235F6B-AFA1-4800-898F-E1FF6088949D}"/>
                  </a:ext>
                </a:extLst>
              </p:cNvPr>
              <p:cNvGrpSpPr/>
              <p:nvPr/>
            </p:nvGrpSpPr>
            <p:grpSpPr>
              <a:xfrm>
                <a:off x="12042002" y="3732763"/>
                <a:ext cx="74218" cy="350022"/>
                <a:chOff x="5511659" y="1845637"/>
                <a:chExt cx="31538" cy="148737"/>
              </a:xfrm>
              <a:solidFill>
                <a:srgbClr val="B52455"/>
              </a:solidFill>
            </p:grpSpPr>
            <p:sp>
              <p:nvSpPr>
                <p:cNvPr id="94" name="Freeform 7973">
                  <a:extLst>
                    <a:ext uri="{FF2B5EF4-FFF2-40B4-BE49-F238E27FC236}">
                      <a16:creationId xmlns:a16="http://schemas.microsoft.com/office/drawing/2014/main" id="{2B994F6F-AD1B-38E0-76A6-8F20BEE89819}"/>
                    </a:ext>
                  </a:extLst>
                </p:cNvPr>
                <p:cNvSpPr/>
                <p:nvPr/>
              </p:nvSpPr>
              <p:spPr>
                <a:xfrm>
                  <a:off x="5528840" y="1922124"/>
                  <a:ext cx="2890" cy="52065"/>
                </a:xfrm>
                <a:custGeom>
                  <a:avLst/>
                  <a:gdLst>
                    <a:gd name="connsiteX0" fmla="*/ 26 w 2890"/>
                    <a:gd name="connsiteY0" fmla="*/ 52065 h 52065"/>
                    <a:gd name="connsiteX1" fmla="*/ 2766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890" y="44093"/>
                        <a:pt x="3015" y="37741"/>
                        <a:pt x="2766" y="33506"/>
                      </a:cubicBezTo>
                      <a:cubicBezTo>
                        <a:pt x="2268" y="26531"/>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5" name="Freeform 7974">
                  <a:extLst>
                    <a:ext uri="{FF2B5EF4-FFF2-40B4-BE49-F238E27FC236}">
                      <a16:creationId xmlns:a16="http://schemas.microsoft.com/office/drawing/2014/main" id="{DB89EA13-EDBA-2A28-8370-415365D33FCE}"/>
                    </a:ext>
                  </a:extLst>
                </p:cNvPr>
                <p:cNvSpPr/>
                <p:nvPr/>
              </p:nvSpPr>
              <p:spPr>
                <a:xfrm>
                  <a:off x="5519905" y="1926857"/>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3" y="18808"/>
                      </a:cubicBezTo>
                      <a:cubicBezTo>
                        <a:pt x="3232"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6" name="Freeform 7975">
                  <a:extLst>
                    <a:ext uri="{FF2B5EF4-FFF2-40B4-BE49-F238E27FC236}">
                      <a16:creationId xmlns:a16="http://schemas.microsoft.com/office/drawing/2014/main" id="{DFA06A2B-31D0-F248-DBA3-5E0B73C5EA6B}"/>
                    </a:ext>
                  </a:extLst>
                </p:cNvPr>
                <p:cNvSpPr/>
                <p:nvPr/>
              </p:nvSpPr>
              <p:spPr>
                <a:xfrm>
                  <a:off x="5511659" y="1967828"/>
                  <a:ext cx="26680" cy="26546"/>
                </a:xfrm>
                <a:custGeom>
                  <a:avLst/>
                  <a:gdLst>
                    <a:gd name="connsiteX0" fmla="*/ 17 w 26680"/>
                    <a:gd name="connsiteY0" fmla="*/ 12837 h 26546"/>
                    <a:gd name="connsiteX1" fmla="*/ 13843 w 26680"/>
                    <a:gd name="connsiteY1" fmla="*/ 8 h 26546"/>
                    <a:gd name="connsiteX2" fmla="*/ 26673 w 26680"/>
                    <a:gd name="connsiteY2" fmla="*/ 13709 h 26546"/>
                    <a:gd name="connsiteX3" fmla="*/ 12847 w 26680"/>
                    <a:gd name="connsiteY3" fmla="*/ 26539 h 26546"/>
                    <a:gd name="connsiteX4" fmla="*/ 17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17" y="12837"/>
                      </a:moveTo>
                      <a:cubicBezTo>
                        <a:pt x="266" y="5488"/>
                        <a:pt x="6494" y="-241"/>
                        <a:pt x="13843" y="8"/>
                      </a:cubicBezTo>
                      <a:cubicBezTo>
                        <a:pt x="21192" y="257"/>
                        <a:pt x="26922" y="6360"/>
                        <a:pt x="26673" y="13709"/>
                      </a:cubicBezTo>
                      <a:cubicBezTo>
                        <a:pt x="26423" y="21058"/>
                        <a:pt x="20196" y="26788"/>
                        <a:pt x="12847" y="26539"/>
                      </a:cubicBezTo>
                      <a:cubicBezTo>
                        <a:pt x="5373" y="26290"/>
                        <a:pt x="-356" y="20186"/>
                        <a:pt x="17"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97" name="Freeform 7976">
                  <a:extLst>
                    <a:ext uri="{FF2B5EF4-FFF2-40B4-BE49-F238E27FC236}">
                      <a16:creationId xmlns:a16="http://schemas.microsoft.com/office/drawing/2014/main" id="{42C94DE1-D5E8-2AEB-E9E2-040EEEE20DA8}"/>
                    </a:ext>
                  </a:extLst>
                </p:cNvPr>
                <p:cNvSpPr/>
                <p:nvPr/>
              </p:nvSpPr>
              <p:spPr>
                <a:xfrm>
                  <a:off x="5523136" y="1865823"/>
                  <a:ext cx="2890" cy="52065"/>
                </a:xfrm>
                <a:custGeom>
                  <a:avLst/>
                  <a:gdLst>
                    <a:gd name="connsiteX0" fmla="*/ 2865 w 2890"/>
                    <a:gd name="connsiteY0" fmla="*/ 0 h 52065"/>
                    <a:gd name="connsiteX1" fmla="*/ 124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124" y="7972"/>
                        <a:pt x="-125" y="14324"/>
                        <a:pt x="124" y="18559"/>
                      </a:cubicBezTo>
                      <a:cubicBezTo>
                        <a:pt x="623" y="25534"/>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8" name="Freeform 7977">
                  <a:extLst>
                    <a:ext uri="{FF2B5EF4-FFF2-40B4-BE49-F238E27FC236}">
                      <a16:creationId xmlns:a16="http://schemas.microsoft.com/office/drawing/2014/main" id="{14D34F09-A26F-6C65-174E-526D5D400E67}"/>
                    </a:ext>
                  </a:extLst>
                </p:cNvPr>
                <p:cNvSpPr/>
                <p:nvPr/>
              </p:nvSpPr>
              <p:spPr>
                <a:xfrm>
                  <a:off x="5530169" y="1860966"/>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1" y="44093"/>
                        <a:pt x="-182" y="37741"/>
                        <a:pt x="440" y="33381"/>
                      </a:cubicBezTo>
                      <a:cubicBezTo>
                        <a:pt x="1561" y="26406"/>
                        <a:pt x="3804"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9" name="Freeform 7978">
                  <a:extLst>
                    <a:ext uri="{FF2B5EF4-FFF2-40B4-BE49-F238E27FC236}">
                      <a16:creationId xmlns:a16="http://schemas.microsoft.com/office/drawing/2014/main" id="{1B001258-D2E3-14DC-3724-BB57190A8176}"/>
                    </a:ext>
                  </a:extLst>
                </p:cNvPr>
                <p:cNvSpPr/>
                <p:nvPr/>
              </p:nvSpPr>
              <p:spPr>
                <a:xfrm>
                  <a:off x="5516776" y="1845637"/>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19937" y="26788"/>
                        <a:pt x="12713" y="26539"/>
                      </a:cubicBezTo>
                      <a:cubicBezTo>
                        <a:pt x="5364" y="26290"/>
                        <a:pt x="-241" y="20186"/>
                        <a:pt x="8" y="12837"/>
                      </a:cubicBezTo>
                      <a:cubicBezTo>
                        <a:pt x="257" y="5488"/>
                        <a:pt x="6485" y="-241"/>
                        <a:pt x="13709" y="8"/>
                      </a:cubicBezTo>
                      <a:cubicBezTo>
                        <a:pt x="20934" y="257"/>
                        <a:pt x="26663" y="6360"/>
                        <a:pt x="26414"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7" name="Graphic 2987">
                <a:extLst>
                  <a:ext uri="{FF2B5EF4-FFF2-40B4-BE49-F238E27FC236}">
                    <a16:creationId xmlns:a16="http://schemas.microsoft.com/office/drawing/2014/main" id="{048F4D6E-6F69-E126-DC59-AD628521597A}"/>
                  </a:ext>
                </a:extLst>
              </p:cNvPr>
              <p:cNvGrpSpPr/>
              <p:nvPr/>
            </p:nvGrpSpPr>
            <p:grpSpPr>
              <a:xfrm>
                <a:off x="11971947" y="3730419"/>
                <a:ext cx="74804" cy="350022"/>
                <a:chOff x="5481890" y="1844641"/>
                <a:chExt cx="31787" cy="148737"/>
              </a:xfrm>
              <a:solidFill>
                <a:srgbClr val="B52455"/>
              </a:solidFill>
            </p:grpSpPr>
            <p:sp>
              <p:nvSpPr>
                <p:cNvPr id="88" name="Freeform 7980">
                  <a:extLst>
                    <a:ext uri="{FF2B5EF4-FFF2-40B4-BE49-F238E27FC236}">
                      <a16:creationId xmlns:a16="http://schemas.microsoft.com/office/drawing/2014/main" id="{5A2D0B96-8965-DCE4-969B-DA6502F707E8}"/>
                    </a:ext>
                  </a:extLst>
                </p:cNvPr>
                <p:cNvSpPr/>
                <p:nvPr/>
              </p:nvSpPr>
              <p:spPr>
                <a:xfrm>
                  <a:off x="5499072" y="1921127"/>
                  <a:ext cx="2899" cy="52065"/>
                </a:xfrm>
                <a:custGeom>
                  <a:avLst/>
                  <a:gdLst>
                    <a:gd name="connsiteX0" fmla="*/ 24 w 2899"/>
                    <a:gd name="connsiteY0" fmla="*/ 52065 h 52065"/>
                    <a:gd name="connsiteX1" fmla="*/ 2764 w 2899"/>
                    <a:gd name="connsiteY1" fmla="*/ 33506 h 52065"/>
                    <a:gd name="connsiteX2" fmla="*/ 24 w 2899"/>
                    <a:gd name="connsiteY2" fmla="*/ 16317 h 52065"/>
                    <a:gd name="connsiteX3" fmla="*/ 2889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4" y="52065"/>
                      </a:moveTo>
                      <a:cubicBezTo>
                        <a:pt x="2889" y="44093"/>
                        <a:pt x="3138" y="37741"/>
                        <a:pt x="2764" y="33506"/>
                      </a:cubicBezTo>
                      <a:cubicBezTo>
                        <a:pt x="2266" y="26531"/>
                        <a:pt x="273" y="23417"/>
                        <a:pt x="24" y="16317"/>
                      </a:cubicBezTo>
                      <a:cubicBezTo>
                        <a:pt x="-225" y="9466"/>
                        <a:pt x="1519" y="3737"/>
                        <a:pt x="2889"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89" name="Freeform 7981">
                  <a:extLst>
                    <a:ext uri="{FF2B5EF4-FFF2-40B4-BE49-F238E27FC236}">
                      <a16:creationId xmlns:a16="http://schemas.microsoft.com/office/drawing/2014/main" id="{33457704-60D7-CC6A-41CF-39D056E62309}"/>
                    </a:ext>
                  </a:extLst>
                </p:cNvPr>
                <p:cNvSpPr/>
                <p:nvPr/>
              </p:nvSpPr>
              <p:spPr>
                <a:xfrm>
                  <a:off x="5490135" y="1925860"/>
                  <a:ext cx="4891" cy="52189"/>
                </a:xfrm>
                <a:custGeom>
                  <a:avLst/>
                  <a:gdLst>
                    <a:gd name="connsiteX0" fmla="*/ 3231 w 4891"/>
                    <a:gd name="connsiteY0" fmla="*/ 0 h 52189"/>
                    <a:gd name="connsiteX1" fmla="*/ 4352 w 4891"/>
                    <a:gd name="connsiteY1" fmla="*/ 18808 h 52189"/>
                    <a:gd name="connsiteX2" fmla="*/ 242 w 4891"/>
                    <a:gd name="connsiteY2" fmla="*/ 35748 h 52189"/>
                    <a:gd name="connsiteX3" fmla="*/ 1737 w 489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0"/>
                      </a:moveTo>
                      <a:cubicBezTo>
                        <a:pt x="5349" y="8096"/>
                        <a:pt x="5100" y="14449"/>
                        <a:pt x="4352" y="18808"/>
                      </a:cubicBezTo>
                      <a:cubicBezTo>
                        <a:pt x="3231"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0" name="Freeform 7982">
                  <a:extLst>
                    <a:ext uri="{FF2B5EF4-FFF2-40B4-BE49-F238E27FC236}">
                      <a16:creationId xmlns:a16="http://schemas.microsoft.com/office/drawing/2014/main" id="{3611A108-A4F0-ADAD-8325-F22B696B5AE7}"/>
                    </a:ext>
                  </a:extLst>
                </p:cNvPr>
                <p:cNvSpPr/>
                <p:nvPr/>
              </p:nvSpPr>
              <p:spPr>
                <a:xfrm>
                  <a:off x="5481890" y="1966832"/>
                  <a:ext cx="26690" cy="26546"/>
                </a:xfrm>
                <a:custGeom>
                  <a:avLst/>
                  <a:gdLst>
                    <a:gd name="connsiteX0" fmla="*/ 17 w 26690"/>
                    <a:gd name="connsiteY0" fmla="*/ 12837 h 26546"/>
                    <a:gd name="connsiteX1" fmla="*/ 13968 w 26690"/>
                    <a:gd name="connsiteY1" fmla="*/ 8 h 26546"/>
                    <a:gd name="connsiteX2" fmla="*/ 26673 w 26690"/>
                    <a:gd name="connsiteY2" fmla="*/ 13709 h 26546"/>
                    <a:gd name="connsiteX3" fmla="*/ 12722 w 26690"/>
                    <a:gd name="connsiteY3" fmla="*/ 26539 h 26546"/>
                    <a:gd name="connsiteX4" fmla="*/ 17 w 2669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45">
                      <a:moveTo>
                        <a:pt x="17" y="12837"/>
                      </a:moveTo>
                      <a:cubicBezTo>
                        <a:pt x="391" y="5488"/>
                        <a:pt x="6619" y="-241"/>
                        <a:pt x="13968" y="8"/>
                      </a:cubicBezTo>
                      <a:cubicBezTo>
                        <a:pt x="21317" y="257"/>
                        <a:pt x="27046" y="6360"/>
                        <a:pt x="26673" y="13709"/>
                      </a:cubicBezTo>
                      <a:cubicBezTo>
                        <a:pt x="26424" y="21058"/>
                        <a:pt x="20196" y="26788"/>
                        <a:pt x="12722" y="26539"/>
                      </a:cubicBezTo>
                      <a:cubicBezTo>
                        <a:pt x="5374" y="26290"/>
                        <a:pt x="-356" y="20186"/>
                        <a:pt x="17" y="12837"/>
                      </a:cubicBezTo>
                      <a:close/>
                    </a:path>
                  </a:pathLst>
                </a:custGeom>
                <a:solidFill>
                  <a:srgbClr val="95371F"/>
                </a:solidFill>
                <a:ln w="3113" cap="flat">
                  <a:solidFill>
                    <a:srgbClr val="95371F"/>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sp>
              <p:nvSpPr>
                <p:cNvPr id="91" name="Freeform 7983">
                  <a:extLst>
                    <a:ext uri="{FF2B5EF4-FFF2-40B4-BE49-F238E27FC236}">
                      <a16:creationId xmlns:a16="http://schemas.microsoft.com/office/drawing/2014/main" id="{74EC0395-2DD2-AB08-D17A-DA15913D71CD}"/>
                    </a:ext>
                  </a:extLst>
                </p:cNvPr>
                <p:cNvSpPr/>
                <p:nvPr/>
              </p:nvSpPr>
              <p:spPr>
                <a:xfrm>
                  <a:off x="5493491" y="1864827"/>
                  <a:ext cx="2989" cy="52065"/>
                </a:xfrm>
                <a:custGeom>
                  <a:avLst/>
                  <a:gdLst>
                    <a:gd name="connsiteX0" fmla="*/ 2989 w 2989"/>
                    <a:gd name="connsiteY0" fmla="*/ 0 h 52065"/>
                    <a:gd name="connsiteX1" fmla="*/ 249 w 2989"/>
                    <a:gd name="connsiteY1" fmla="*/ 18559 h 52065"/>
                    <a:gd name="connsiteX2" fmla="*/ 2865 w 2989"/>
                    <a:gd name="connsiteY2" fmla="*/ 35748 h 52065"/>
                    <a:gd name="connsiteX3" fmla="*/ 0 w 298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0"/>
                      </a:moveTo>
                      <a:cubicBezTo>
                        <a:pt x="124" y="7972"/>
                        <a:pt x="-125" y="14324"/>
                        <a:pt x="249" y="18559"/>
                      </a:cubicBezTo>
                      <a:cubicBezTo>
                        <a:pt x="747" y="25534"/>
                        <a:pt x="2740" y="28648"/>
                        <a:pt x="2865" y="35748"/>
                      </a:cubicBezTo>
                      <a:cubicBezTo>
                        <a:pt x="3114" y="42599"/>
                        <a:pt x="1370" y="48328"/>
                        <a:pt x="0" y="52065"/>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2" name="Freeform 7984">
                  <a:extLst>
                    <a:ext uri="{FF2B5EF4-FFF2-40B4-BE49-F238E27FC236}">
                      <a16:creationId xmlns:a16="http://schemas.microsoft.com/office/drawing/2014/main" id="{937C4FCB-3918-5A0E-8369-12221A74B7B4}"/>
                    </a:ext>
                  </a:extLst>
                </p:cNvPr>
                <p:cNvSpPr/>
                <p:nvPr/>
              </p:nvSpPr>
              <p:spPr>
                <a:xfrm>
                  <a:off x="5500550" y="1859969"/>
                  <a:ext cx="4892" cy="52189"/>
                </a:xfrm>
                <a:custGeom>
                  <a:avLst/>
                  <a:gdLst>
                    <a:gd name="connsiteX0" fmla="*/ 1660 w 4892"/>
                    <a:gd name="connsiteY0" fmla="*/ 52190 h 52189"/>
                    <a:gd name="connsiteX1" fmla="*/ 540 w 4892"/>
                    <a:gd name="connsiteY1" fmla="*/ 33381 h 52189"/>
                    <a:gd name="connsiteX2" fmla="*/ 4650 w 4892"/>
                    <a:gd name="connsiteY2" fmla="*/ 16442 h 52189"/>
                    <a:gd name="connsiteX3" fmla="*/ 3155 w 4892"/>
                    <a:gd name="connsiteY3" fmla="*/ 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52190"/>
                      </a:moveTo>
                      <a:cubicBezTo>
                        <a:pt x="-457" y="44093"/>
                        <a:pt x="-208" y="37741"/>
                        <a:pt x="540" y="33381"/>
                      </a:cubicBezTo>
                      <a:cubicBezTo>
                        <a:pt x="1660" y="26406"/>
                        <a:pt x="3903" y="23541"/>
                        <a:pt x="4650" y="16442"/>
                      </a:cubicBezTo>
                      <a:cubicBezTo>
                        <a:pt x="5397" y="9591"/>
                        <a:pt x="4276" y="3861"/>
                        <a:pt x="3155" y="0"/>
                      </a:cubicBezTo>
                    </a:path>
                  </a:pathLst>
                </a:custGeom>
                <a:grpFill/>
                <a:ln w="3113" cap="rnd">
                  <a:solidFill>
                    <a:srgbClr val="64594D"/>
                  </a:solidFill>
                  <a:prstDash val="solid"/>
                  <a:round/>
                </a:ln>
              </p:spPr>
              <p:txBody>
                <a:bodyPr rtlCol="0" anchor="ctr"/>
                <a:lstStyle/>
                <a:p>
                  <a:pPr defTabSz="914377">
                    <a:defRPr/>
                  </a:pPr>
                  <a:endParaRPr lang="en-US" kern="0">
                    <a:ea typeface="ヒラギノ角ゴ Pro W3" panose="020B0300000000000000" pitchFamily="34" charset="-128"/>
                    <a:cs typeface="Arial"/>
                  </a:endParaRPr>
                </a:p>
              </p:txBody>
            </p:sp>
            <p:sp>
              <p:nvSpPr>
                <p:cNvPr id="93" name="Freeform 7985">
                  <a:extLst>
                    <a:ext uri="{FF2B5EF4-FFF2-40B4-BE49-F238E27FC236}">
                      <a16:creationId xmlns:a16="http://schemas.microsoft.com/office/drawing/2014/main" id="{31701B9D-2F4E-2D82-A741-29B8330DC8C2}"/>
                    </a:ext>
                  </a:extLst>
                </p:cNvPr>
                <p:cNvSpPr/>
                <p:nvPr/>
              </p:nvSpPr>
              <p:spPr>
                <a:xfrm>
                  <a:off x="5487246" y="1844641"/>
                  <a:ext cx="26431" cy="26546"/>
                </a:xfrm>
                <a:custGeom>
                  <a:avLst/>
                  <a:gdLst>
                    <a:gd name="connsiteX0" fmla="*/ 26424 w 26431"/>
                    <a:gd name="connsiteY0" fmla="*/ 13709 h 26546"/>
                    <a:gd name="connsiteX1" fmla="*/ 12598 w 26431"/>
                    <a:gd name="connsiteY1" fmla="*/ 26539 h 26546"/>
                    <a:gd name="connsiteX2" fmla="*/ 18 w 26431"/>
                    <a:gd name="connsiteY2" fmla="*/ 12837 h 26546"/>
                    <a:gd name="connsiteX3" fmla="*/ 13843 w 26431"/>
                    <a:gd name="connsiteY3" fmla="*/ 8 h 26546"/>
                    <a:gd name="connsiteX4" fmla="*/ 26424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24" y="13709"/>
                      </a:moveTo>
                      <a:cubicBezTo>
                        <a:pt x="26175" y="21058"/>
                        <a:pt x="19947" y="26788"/>
                        <a:pt x="12598" y="26539"/>
                      </a:cubicBezTo>
                      <a:cubicBezTo>
                        <a:pt x="5249" y="26290"/>
                        <a:pt x="-356" y="20186"/>
                        <a:pt x="18" y="12837"/>
                      </a:cubicBezTo>
                      <a:cubicBezTo>
                        <a:pt x="391" y="5488"/>
                        <a:pt x="6495" y="-241"/>
                        <a:pt x="13843" y="8"/>
                      </a:cubicBezTo>
                      <a:cubicBezTo>
                        <a:pt x="21068" y="257"/>
                        <a:pt x="26673" y="6360"/>
                        <a:pt x="26424" y="13709"/>
                      </a:cubicBezTo>
                      <a:close/>
                    </a:path>
                  </a:pathLst>
                </a:custGeom>
                <a:solidFill>
                  <a:srgbClr val="95371F"/>
                </a:solidFill>
                <a:ln w="3113" cap="flat">
                  <a:solidFill>
                    <a:srgbClr val="64594D"/>
                  </a:solidFill>
                  <a:prstDash val="solid"/>
                  <a:miter/>
                </a:ln>
              </p:spPr>
              <p:txBody>
                <a:bodyPr rtlCol="0" anchor="ctr"/>
                <a:lstStyle/>
                <a:p>
                  <a:pPr defTabSz="914377">
                    <a:defRPr/>
                  </a:pPr>
                  <a:endParaRPr lang="en-US" kern="0">
                    <a:ea typeface="ヒラギノ角ゴ Pro W3" panose="020B0300000000000000" pitchFamily="34" charset="-128"/>
                    <a:cs typeface="Arial"/>
                  </a:endParaRPr>
                </a:p>
              </p:txBody>
            </p:sp>
          </p:grpSp>
          <p:grpSp>
            <p:nvGrpSpPr>
              <p:cNvPr id="78" name="Group 2230">
                <a:extLst>
                  <a:ext uri="{FF2B5EF4-FFF2-40B4-BE49-F238E27FC236}">
                    <a16:creationId xmlns:a16="http://schemas.microsoft.com/office/drawing/2014/main" id="{E743D8C9-2CF6-08DB-FCB0-710F9288C07A}"/>
                  </a:ext>
                </a:extLst>
              </p:cNvPr>
              <p:cNvGrpSpPr/>
              <p:nvPr/>
            </p:nvGrpSpPr>
            <p:grpSpPr>
              <a:xfrm>
                <a:off x="12366505" y="3652608"/>
                <a:ext cx="353815" cy="494992"/>
                <a:chOff x="8074021" y="4169284"/>
                <a:chExt cx="235485" cy="329447"/>
              </a:xfrm>
              <a:solidFill>
                <a:srgbClr val="FFA300"/>
              </a:solidFill>
            </p:grpSpPr>
            <p:sp>
              <p:nvSpPr>
                <p:cNvPr id="79" name="Rounded Rectangle 34">
                  <a:extLst>
                    <a:ext uri="{FF2B5EF4-FFF2-40B4-BE49-F238E27FC236}">
                      <a16:creationId xmlns:a16="http://schemas.microsoft.com/office/drawing/2014/main" id="{FE453134-C9F6-0FE8-E12A-D5812F9D5022}"/>
                    </a:ext>
                  </a:extLst>
                </p:cNvPr>
                <p:cNvSpPr/>
                <p:nvPr/>
              </p:nvSpPr>
              <p:spPr bwMode="auto">
                <a:xfrm>
                  <a:off x="8163402" y="4169284"/>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0" name="Rounded Rectangle 35">
                  <a:extLst>
                    <a:ext uri="{FF2B5EF4-FFF2-40B4-BE49-F238E27FC236}">
                      <a16:creationId xmlns:a16="http://schemas.microsoft.com/office/drawing/2014/main" id="{C7C2D512-515B-5C14-571E-7B16A559BC86}"/>
                    </a:ext>
                  </a:extLst>
                </p:cNvPr>
                <p:cNvSpPr/>
                <p:nvPr/>
              </p:nvSpPr>
              <p:spPr bwMode="auto">
                <a:xfrm>
                  <a:off x="8118744" y="4175863"/>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1" name="Rounded Rectangle 36">
                  <a:extLst>
                    <a:ext uri="{FF2B5EF4-FFF2-40B4-BE49-F238E27FC236}">
                      <a16:creationId xmlns:a16="http://schemas.microsoft.com/office/drawing/2014/main" id="{DC564182-1DE4-CC6B-E212-9DBE7A38FED9}"/>
                    </a:ext>
                  </a:extLst>
                </p:cNvPr>
                <p:cNvSpPr/>
                <p:nvPr/>
              </p:nvSpPr>
              <p:spPr bwMode="auto">
                <a:xfrm>
                  <a:off x="8094743" y="4189324"/>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2" name="Rounded Rectangle 37">
                  <a:extLst>
                    <a:ext uri="{FF2B5EF4-FFF2-40B4-BE49-F238E27FC236}">
                      <a16:creationId xmlns:a16="http://schemas.microsoft.com/office/drawing/2014/main" id="{7E0B27E9-ECBB-A009-7823-B141B23E498D}"/>
                    </a:ext>
                  </a:extLst>
                </p:cNvPr>
                <p:cNvSpPr/>
                <p:nvPr/>
              </p:nvSpPr>
              <p:spPr bwMode="auto">
                <a:xfrm>
                  <a:off x="8208058" y="4172727"/>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3" name="Rounded Rectangle 38">
                  <a:extLst>
                    <a:ext uri="{FF2B5EF4-FFF2-40B4-BE49-F238E27FC236}">
                      <a16:creationId xmlns:a16="http://schemas.microsoft.com/office/drawing/2014/main" id="{D5BBF689-172B-B580-5069-C1B05A92A1A0}"/>
                    </a:ext>
                  </a:extLst>
                </p:cNvPr>
                <p:cNvSpPr/>
                <p:nvPr/>
              </p:nvSpPr>
              <p:spPr bwMode="auto">
                <a:xfrm>
                  <a:off x="8232059" y="4179304"/>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4" name="Rounded Rectangle 39">
                  <a:extLst>
                    <a:ext uri="{FF2B5EF4-FFF2-40B4-BE49-F238E27FC236}">
                      <a16:creationId xmlns:a16="http://schemas.microsoft.com/office/drawing/2014/main" id="{9BB1597F-DA13-C456-32AB-2E4F87792BA9}"/>
                    </a:ext>
                  </a:extLst>
                </p:cNvPr>
                <p:cNvSpPr/>
                <p:nvPr/>
              </p:nvSpPr>
              <p:spPr bwMode="auto">
                <a:xfrm>
                  <a:off x="8253709" y="4196019"/>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5" name="Rounded Rectangle 40">
                  <a:extLst>
                    <a:ext uri="{FF2B5EF4-FFF2-40B4-BE49-F238E27FC236}">
                      <a16:creationId xmlns:a16="http://schemas.microsoft.com/office/drawing/2014/main" id="{E2CA124D-02E9-3F58-E93E-B485418C7F11}"/>
                    </a:ext>
                  </a:extLst>
                </p:cNvPr>
                <p:cNvSpPr/>
                <p:nvPr/>
              </p:nvSpPr>
              <p:spPr bwMode="auto">
                <a:xfrm>
                  <a:off x="8074021" y="4215396"/>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6" name="Rounded Rectangle 41">
                  <a:extLst>
                    <a:ext uri="{FF2B5EF4-FFF2-40B4-BE49-F238E27FC236}">
                      <a16:creationId xmlns:a16="http://schemas.microsoft.com/office/drawing/2014/main" id="{04C8A536-12D7-8050-0C63-73912E9BBF18}"/>
                    </a:ext>
                  </a:extLst>
                </p:cNvPr>
                <p:cNvSpPr/>
                <p:nvPr/>
              </p:nvSpPr>
              <p:spPr bwMode="auto">
                <a:xfrm>
                  <a:off x="8238400" y="4221442"/>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sp>
              <p:nvSpPr>
                <p:cNvPr id="87" name="Rounded Rectangle 44">
                  <a:extLst>
                    <a:ext uri="{FF2B5EF4-FFF2-40B4-BE49-F238E27FC236}">
                      <a16:creationId xmlns:a16="http://schemas.microsoft.com/office/drawing/2014/main" id="{B02FC7A3-0C36-71DC-306C-E62CCD55984A}"/>
                    </a:ext>
                  </a:extLst>
                </p:cNvPr>
                <p:cNvSpPr/>
                <p:nvPr/>
              </p:nvSpPr>
              <p:spPr bwMode="auto">
                <a:xfrm>
                  <a:off x="8113160" y="4234519"/>
                  <a:ext cx="55797" cy="264212"/>
                </a:xfrm>
                <a:prstGeom prst="roundRect">
                  <a:avLst>
                    <a:gd name="adj" fmla="val 50000"/>
                  </a:avLst>
                </a:prstGeom>
                <a:solidFill>
                  <a:srgbClr val="FFF4B5"/>
                </a:solidFill>
                <a:ln w="9525" cap="flat" cmpd="sng" algn="ctr">
                  <a:solidFill>
                    <a:srgbClr val="95371F"/>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hangingPunct="0">
                    <a:defRPr/>
                  </a:pPr>
                  <a:endParaRPr lang="en-US" sz="2400" kern="0">
                    <a:ea typeface="ヒラギノ角ゴ Pro W3" panose="020B0300000000000000" pitchFamily="34" charset="-128"/>
                    <a:cs typeface="Arial"/>
                  </a:endParaRPr>
                </a:p>
              </p:txBody>
            </p:sp>
          </p:grpSp>
        </p:grpSp>
        <p:cxnSp>
          <p:nvCxnSpPr>
            <p:cNvPr id="154" name="Straight Connector 87">
              <a:extLst>
                <a:ext uri="{FF2B5EF4-FFF2-40B4-BE49-F238E27FC236}">
                  <a16:creationId xmlns:a16="http://schemas.microsoft.com/office/drawing/2014/main" id="{3827D7AE-5B6B-2F7F-ECD3-F4461F306358}"/>
                </a:ext>
              </a:extLst>
            </p:cNvPr>
            <p:cNvCxnSpPr/>
            <p:nvPr/>
          </p:nvCxnSpPr>
          <p:spPr>
            <a:xfrm flipH="1">
              <a:off x="10202316" y="4466763"/>
              <a:ext cx="0" cy="243840"/>
            </a:xfrm>
            <a:prstGeom prst="line">
              <a:avLst/>
            </a:prstGeom>
            <a:noFill/>
            <a:ln w="15875" cap="flat" cmpd="sng" algn="ctr">
              <a:solidFill>
                <a:srgbClr val="002F6C"/>
              </a:solidFill>
              <a:prstDash val="solid"/>
              <a:miter lim="800000"/>
              <a:headEnd type="none" w="med" len="med"/>
              <a:tailEnd type="arrow" w="med" len="med"/>
            </a:ln>
            <a:effectLst/>
          </p:spPr>
        </p:cxnSp>
        <p:sp>
          <p:nvSpPr>
            <p:cNvPr id="155" name="Oval 69">
              <a:extLst>
                <a:ext uri="{FF2B5EF4-FFF2-40B4-BE49-F238E27FC236}">
                  <a16:creationId xmlns:a16="http://schemas.microsoft.com/office/drawing/2014/main" id="{ADEB81B5-C6F9-801F-ECE7-A23BF6350940}"/>
                </a:ext>
              </a:extLst>
            </p:cNvPr>
            <p:cNvSpPr/>
            <p:nvPr/>
          </p:nvSpPr>
          <p:spPr>
            <a:xfrm>
              <a:off x="10005473" y="4738668"/>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56" name="Oval 71">
              <a:extLst>
                <a:ext uri="{FF2B5EF4-FFF2-40B4-BE49-F238E27FC236}">
                  <a16:creationId xmlns:a16="http://schemas.microsoft.com/office/drawing/2014/main" id="{A248D052-299C-5277-8B33-248FBB0EECC3}"/>
                </a:ext>
              </a:extLst>
            </p:cNvPr>
            <p:cNvSpPr/>
            <p:nvPr/>
          </p:nvSpPr>
          <p:spPr>
            <a:xfrm>
              <a:off x="10103898" y="4900593"/>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57" name="Oval 73">
              <a:extLst>
                <a:ext uri="{FF2B5EF4-FFF2-40B4-BE49-F238E27FC236}">
                  <a16:creationId xmlns:a16="http://schemas.microsoft.com/office/drawing/2014/main" id="{1C9701FB-D2F0-CCAD-8C99-ED4566FA0B9F}"/>
                </a:ext>
              </a:extLst>
            </p:cNvPr>
            <p:cNvSpPr/>
            <p:nvPr/>
          </p:nvSpPr>
          <p:spPr>
            <a:xfrm>
              <a:off x="10256297" y="4710093"/>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58" name="Oval 75">
              <a:extLst>
                <a:ext uri="{FF2B5EF4-FFF2-40B4-BE49-F238E27FC236}">
                  <a16:creationId xmlns:a16="http://schemas.microsoft.com/office/drawing/2014/main" id="{2B48DE4A-2BBD-8DC6-4968-10052FAE3C00}"/>
                </a:ext>
              </a:extLst>
            </p:cNvPr>
            <p:cNvSpPr/>
            <p:nvPr/>
          </p:nvSpPr>
          <p:spPr>
            <a:xfrm>
              <a:off x="10126123" y="4754543"/>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59" name="Oval 77">
              <a:extLst>
                <a:ext uri="{FF2B5EF4-FFF2-40B4-BE49-F238E27FC236}">
                  <a16:creationId xmlns:a16="http://schemas.microsoft.com/office/drawing/2014/main" id="{E6667A91-1A2D-6029-D994-C8AF1ACB8782}"/>
                </a:ext>
              </a:extLst>
            </p:cNvPr>
            <p:cNvSpPr/>
            <p:nvPr/>
          </p:nvSpPr>
          <p:spPr>
            <a:xfrm>
              <a:off x="10205497" y="4776768"/>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60" name="Oval 79">
              <a:extLst>
                <a:ext uri="{FF2B5EF4-FFF2-40B4-BE49-F238E27FC236}">
                  <a16:creationId xmlns:a16="http://schemas.microsoft.com/office/drawing/2014/main" id="{9D551E4A-4B8A-ED6E-55BA-6615FB327E37}"/>
                </a:ext>
              </a:extLst>
            </p:cNvPr>
            <p:cNvSpPr/>
            <p:nvPr/>
          </p:nvSpPr>
          <p:spPr>
            <a:xfrm>
              <a:off x="10189621" y="4906940"/>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61" name="Oval 81">
              <a:extLst>
                <a:ext uri="{FF2B5EF4-FFF2-40B4-BE49-F238E27FC236}">
                  <a16:creationId xmlns:a16="http://schemas.microsoft.com/office/drawing/2014/main" id="{B21ACC17-2B01-864E-2988-F1C72DE78F4E}"/>
                </a:ext>
              </a:extLst>
            </p:cNvPr>
            <p:cNvSpPr/>
            <p:nvPr/>
          </p:nvSpPr>
          <p:spPr>
            <a:xfrm>
              <a:off x="10145173" y="4833919"/>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62" name="Oval 83">
              <a:extLst>
                <a:ext uri="{FF2B5EF4-FFF2-40B4-BE49-F238E27FC236}">
                  <a16:creationId xmlns:a16="http://schemas.microsoft.com/office/drawing/2014/main" id="{D246451B-1BF3-FEC3-4953-B9E7E011CCD3}"/>
                </a:ext>
              </a:extLst>
            </p:cNvPr>
            <p:cNvSpPr/>
            <p:nvPr/>
          </p:nvSpPr>
          <p:spPr>
            <a:xfrm>
              <a:off x="10148349" y="4970441"/>
              <a:ext cx="60959" cy="60959"/>
            </a:xfrm>
            <a:prstGeom prst="ellipse">
              <a:avLst/>
            </a:prstGeom>
            <a:solidFill>
              <a:srgbClr val="E35105"/>
            </a:solidFill>
            <a:ln w="3175" cap="flat" cmpd="sng" algn="ctr">
              <a:solidFill>
                <a:schemeClr val="bg1"/>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70" name="TextBox 254">
              <a:extLst>
                <a:ext uri="{FF2B5EF4-FFF2-40B4-BE49-F238E27FC236}">
                  <a16:creationId xmlns:a16="http://schemas.microsoft.com/office/drawing/2014/main" id="{F29AEEF4-97DB-7966-8074-60DE2A5F5AD8}"/>
                </a:ext>
              </a:extLst>
            </p:cNvPr>
            <p:cNvSpPr txBox="1"/>
            <p:nvPr/>
          </p:nvSpPr>
          <p:spPr>
            <a:xfrm>
              <a:off x="8556138" y="4397928"/>
              <a:ext cx="1856726" cy="497738"/>
            </a:xfrm>
            <a:prstGeom prst="rect">
              <a:avLst/>
            </a:prstGeom>
            <a:noFill/>
          </p:spPr>
          <p:txBody>
            <a:bodyPr wrap="square" rtlCol="0">
              <a:spAutoFit/>
            </a:bodyPr>
            <a:lstStyle/>
            <a:p>
              <a:pPr fontAlgn="base">
                <a:spcBef>
                  <a:spcPct val="0"/>
                </a:spcBef>
                <a:spcAft>
                  <a:spcPct val="0"/>
                </a:spcAft>
                <a:defRPr/>
              </a:pPr>
              <a:r>
                <a:rPr lang="en-US" sz="1333" b="1" dirty="0">
                  <a:ea typeface="ヒラギノ角ゴ Pro W3" panose="020B0300000000000000" pitchFamily="34" charset="-128"/>
                  <a:cs typeface="Arial"/>
                </a:rPr>
                <a:t>Lise </a:t>
              </a:r>
              <a:r>
                <a:rPr lang="en-US" sz="1333" b="1" dirty="0" err="1">
                  <a:ea typeface="ヒラギノ角ゴ Pro W3" panose="020B0300000000000000" pitchFamily="34" charset="-128"/>
                  <a:cs typeface="Arial"/>
                </a:rPr>
                <a:t>após</a:t>
              </a:r>
              <a:r>
                <a:rPr lang="en-US" sz="1333" b="1" dirty="0">
                  <a:ea typeface="ヒラギノ角ゴ Pro W3" panose="020B0300000000000000" pitchFamily="34" charset="-128"/>
                  <a:cs typeface="Arial"/>
                </a:rPr>
                <a:t> entrada de </a:t>
              </a:r>
              <a:r>
                <a:rPr lang="en-US" sz="1333" b="1" dirty="0" err="1">
                  <a:ea typeface="ヒラギノ角ゴ Pro W3" panose="020B0300000000000000" pitchFamily="34" charset="-128"/>
                  <a:cs typeface="Arial"/>
                </a:rPr>
                <a:t>água</a:t>
              </a:r>
              <a:r>
                <a:rPr lang="en-US" sz="1333" b="1" dirty="0">
                  <a:ea typeface="ヒラギノ角ゴ Pro W3" panose="020B0300000000000000" pitchFamily="34" charset="-128"/>
                  <a:cs typeface="Arial"/>
                </a:rPr>
                <a:t> </a:t>
              </a:r>
              <a:r>
                <a:rPr lang="en-US" sz="1333" b="1" dirty="0" err="1">
                  <a:ea typeface="ヒラギノ角ゴ Pro W3" panose="020B0300000000000000" pitchFamily="34" charset="-128"/>
                  <a:cs typeface="Arial"/>
                </a:rPr>
                <a:t>na</a:t>
              </a:r>
              <a:r>
                <a:rPr lang="en-US" sz="1333" b="1" dirty="0">
                  <a:ea typeface="ヒラギノ角ゴ Pro W3" panose="020B0300000000000000" pitchFamily="34" charset="-128"/>
                  <a:cs typeface="Arial"/>
                </a:rPr>
                <a:t> </a:t>
              </a:r>
              <a:r>
                <a:rPr lang="en-US" sz="1333" b="1" dirty="0" err="1">
                  <a:ea typeface="ヒラギノ角ゴ Pro W3" panose="020B0300000000000000" pitchFamily="34" charset="-128"/>
                  <a:cs typeface="Arial"/>
                </a:rPr>
                <a:t>célula</a:t>
              </a:r>
              <a:r>
                <a:rPr lang="en-US" sz="1333" b="1" dirty="0">
                  <a:ea typeface="ヒラギノ角ゴ Pro W3" panose="020B0300000000000000" pitchFamily="34" charset="-128"/>
                  <a:cs typeface="Arial"/>
                </a:rPr>
                <a:t> </a:t>
              </a:r>
            </a:p>
          </p:txBody>
        </p:sp>
      </p:grpSp>
      <p:grpSp>
        <p:nvGrpSpPr>
          <p:cNvPr id="204" name="Agrupar 203">
            <a:extLst>
              <a:ext uri="{FF2B5EF4-FFF2-40B4-BE49-F238E27FC236}">
                <a16:creationId xmlns:a16="http://schemas.microsoft.com/office/drawing/2014/main" id="{065E34E3-F871-5AF8-C56B-BBA9989ECC6F}"/>
              </a:ext>
            </a:extLst>
          </p:cNvPr>
          <p:cNvGrpSpPr/>
          <p:nvPr/>
        </p:nvGrpSpPr>
        <p:grpSpPr>
          <a:xfrm>
            <a:off x="4320320" y="3073247"/>
            <a:ext cx="3594750" cy="2481554"/>
            <a:chOff x="4320320" y="3127037"/>
            <a:chExt cx="3594750" cy="2481554"/>
          </a:xfrm>
        </p:grpSpPr>
        <p:sp>
          <p:nvSpPr>
            <p:cNvPr id="54" name="TextBox 5">
              <a:extLst>
                <a:ext uri="{FF2B5EF4-FFF2-40B4-BE49-F238E27FC236}">
                  <a16:creationId xmlns:a16="http://schemas.microsoft.com/office/drawing/2014/main" id="{B45AA589-B110-8A27-7729-2924977CE2E9}"/>
                </a:ext>
              </a:extLst>
            </p:cNvPr>
            <p:cNvSpPr txBox="1"/>
            <p:nvPr/>
          </p:nvSpPr>
          <p:spPr>
            <a:xfrm>
              <a:off x="4550627" y="3185368"/>
              <a:ext cx="982448" cy="297454"/>
            </a:xfrm>
            <a:prstGeom prst="rect">
              <a:avLst/>
            </a:prstGeom>
            <a:noFill/>
          </p:spPr>
          <p:txBody>
            <a:bodyPr wrap="none" rtlCol="0">
              <a:spAutoFit/>
            </a:bodyPr>
            <a:lstStyle/>
            <a:p>
              <a:pPr fontAlgn="base">
                <a:spcBef>
                  <a:spcPct val="0"/>
                </a:spcBef>
                <a:spcAft>
                  <a:spcPct val="0"/>
                </a:spcAft>
                <a:defRPr/>
              </a:pPr>
              <a:r>
                <a:rPr lang="en-US" sz="1333" b="1">
                  <a:ea typeface="ヒラギノ角ゴ Pro W3" panose="020B0300000000000000" pitchFamily="34" charset="-128"/>
                  <a:cs typeface="Arial"/>
                </a:rPr>
                <a:t>Neutrófilos</a:t>
              </a:r>
            </a:p>
          </p:txBody>
        </p:sp>
        <p:pic>
          <p:nvPicPr>
            <p:cNvPr id="57" name="Picture 13">
              <a:extLst>
                <a:ext uri="{FF2B5EF4-FFF2-40B4-BE49-F238E27FC236}">
                  <a16:creationId xmlns:a16="http://schemas.microsoft.com/office/drawing/2014/main" id="{F1363D19-98D1-B4DF-82BC-A4803DB6E090}"/>
                </a:ext>
              </a:extLst>
            </p:cNvPr>
            <p:cNvPicPr>
              <a:picLocks noChangeAspect="1"/>
            </p:cNvPicPr>
            <p:nvPr/>
          </p:nvPicPr>
          <p:blipFill>
            <a:blip r:embed="rId3">
              <a:duotone>
                <a:srgbClr val="B52455">
                  <a:shade val="45000"/>
                  <a:satMod val="135000"/>
                </a:srgbClr>
                <a:prstClr val="white"/>
              </a:duotone>
            </a:blip>
            <a:stretch>
              <a:fillRect/>
            </a:stretch>
          </p:blipFill>
          <p:spPr>
            <a:xfrm rot="840000" flipH="1">
              <a:off x="7051479" y="4089980"/>
              <a:ext cx="338027" cy="357973"/>
            </a:xfrm>
            <a:prstGeom prst="rect">
              <a:avLst/>
            </a:prstGeom>
          </p:spPr>
        </p:pic>
        <p:sp>
          <p:nvSpPr>
            <p:cNvPr id="59" name="TextBox 19">
              <a:extLst>
                <a:ext uri="{FF2B5EF4-FFF2-40B4-BE49-F238E27FC236}">
                  <a16:creationId xmlns:a16="http://schemas.microsoft.com/office/drawing/2014/main" id="{F9381C5D-A229-1FDB-4181-135D76FCFD6D}"/>
                </a:ext>
              </a:extLst>
            </p:cNvPr>
            <p:cNvSpPr txBox="1"/>
            <p:nvPr/>
          </p:nvSpPr>
          <p:spPr>
            <a:xfrm>
              <a:off x="6784343" y="3731413"/>
              <a:ext cx="1053430" cy="297454"/>
            </a:xfrm>
            <a:prstGeom prst="rect">
              <a:avLst/>
            </a:prstGeom>
            <a:noFill/>
          </p:spPr>
          <p:txBody>
            <a:bodyPr wrap="none" rtlCol="0">
              <a:spAutoFit/>
            </a:bodyPr>
            <a:lstStyle/>
            <a:p>
              <a:pPr fontAlgn="base">
                <a:spcBef>
                  <a:spcPct val="0"/>
                </a:spcBef>
                <a:spcAft>
                  <a:spcPct val="0"/>
                </a:spcAft>
                <a:defRPr/>
              </a:pPr>
              <a:r>
                <a:rPr lang="en-US" sz="1333" b="1">
                  <a:ea typeface="ヒラギノ角ゴ Pro W3" panose="020B0300000000000000" pitchFamily="34" charset="-128"/>
                  <a:cs typeface="Arial"/>
                </a:rPr>
                <a:t>Quimiotaxia</a:t>
              </a:r>
            </a:p>
          </p:txBody>
        </p:sp>
        <p:sp>
          <p:nvSpPr>
            <p:cNvPr id="60" name="TextBox 20">
              <a:extLst>
                <a:ext uri="{FF2B5EF4-FFF2-40B4-BE49-F238E27FC236}">
                  <a16:creationId xmlns:a16="http://schemas.microsoft.com/office/drawing/2014/main" id="{539387B3-3F56-3F9F-C902-A7CB5E6A97AD}"/>
                </a:ext>
              </a:extLst>
            </p:cNvPr>
            <p:cNvSpPr txBox="1"/>
            <p:nvPr/>
          </p:nvSpPr>
          <p:spPr>
            <a:xfrm>
              <a:off x="6794250" y="4687527"/>
              <a:ext cx="1120820" cy="707694"/>
            </a:xfrm>
            <a:prstGeom prst="rect">
              <a:avLst/>
            </a:prstGeom>
            <a:noFill/>
          </p:spPr>
          <p:txBody>
            <a:bodyPr wrap="none" rtlCol="0">
              <a:spAutoFit/>
            </a:bodyPr>
            <a:lstStyle/>
            <a:p>
              <a:pPr fontAlgn="base">
                <a:spcBef>
                  <a:spcPct val="0"/>
                </a:spcBef>
                <a:spcAft>
                  <a:spcPct val="0"/>
                </a:spcAft>
                <a:defRPr/>
              </a:pPr>
              <a:r>
                <a:rPr lang="en-US" sz="1333" b="1" dirty="0" err="1">
                  <a:ea typeface="ヒラギノ角ゴ Pro W3" panose="020B0300000000000000" pitchFamily="34" charset="-128"/>
                  <a:cs typeface="Arial"/>
                </a:rPr>
                <a:t>Liberação</a:t>
              </a:r>
              <a:r>
                <a:rPr lang="en-US" sz="1333" b="1" dirty="0">
                  <a:ea typeface="ヒラギノ角ゴ Pro W3" panose="020B0300000000000000" pitchFamily="34" charset="-128"/>
                  <a:cs typeface="Arial"/>
                </a:rPr>
                <a:t> de </a:t>
              </a:r>
            </a:p>
            <a:p>
              <a:pPr fontAlgn="base">
                <a:spcBef>
                  <a:spcPct val="0"/>
                </a:spcBef>
                <a:spcAft>
                  <a:spcPct val="0"/>
                </a:spcAft>
                <a:defRPr/>
              </a:pPr>
              <a:r>
                <a:rPr lang="en-US" sz="1333" b="1" dirty="0" err="1">
                  <a:ea typeface="ヒラギノ角ゴ Pro W3" panose="020B0300000000000000" pitchFamily="34" charset="-128"/>
                  <a:cs typeface="Arial"/>
                </a:rPr>
                <a:t>histamina</a:t>
              </a:r>
              <a:br>
                <a:rPr lang="en-US" sz="1333" b="1" dirty="0">
                  <a:ea typeface="ヒラギノ角ゴ Pro W3" panose="020B0300000000000000" pitchFamily="34" charset="-128"/>
                  <a:cs typeface="Arial"/>
                </a:rPr>
              </a:br>
              <a:endParaRPr lang="en-US" sz="1333" b="1" dirty="0">
                <a:ea typeface="ヒラギノ角ゴ Pro W3" panose="020B0300000000000000" pitchFamily="34" charset="-128"/>
                <a:cs typeface="Arial"/>
              </a:endParaRPr>
            </a:p>
          </p:txBody>
        </p:sp>
        <p:sp>
          <p:nvSpPr>
            <p:cNvPr id="166" name="Freeform: Shape 259">
              <a:extLst>
                <a:ext uri="{FF2B5EF4-FFF2-40B4-BE49-F238E27FC236}">
                  <a16:creationId xmlns:a16="http://schemas.microsoft.com/office/drawing/2014/main" id="{F7630791-8333-3188-F79B-A42D6D59D546}"/>
                </a:ext>
              </a:extLst>
            </p:cNvPr>
            <p:cNvSpPr/>
            <p:nvPr/>
          </p:nvSpPr>
          <p:spPr>
            <a:xfrm rot="1080000">
              <a:off x="5858332" y="4208477"/>
              <a:ext cx="1219200" cy="136492"/>
            </a:xfrm>
            <a:custGeom>
              <a:avLst/>
              <a:gdLst>
                <a:gd name="connsiteX0" fmla="*/ 0 w 826825"/>
                <a:gd name="connsiteY0" fmla="*/ 96260 h 136492"/>
                <a:gd name="connsiteX1" fmla="*/ 826825 w 826825"/>
                <a:gd name="connsiteY1" fmla="*/ 0 h 136492"/>
              </a:gdLst>
              <a:ahLst/>
              <a:cxnLst>
                <a:cxn ang="0">
                  <a:pos x="connsiteX0" y="connsiteY0"/>
                </a:cxn>
                <a:cxn ang="0">
                  <a:pos x="connsiteX1" y="connsiteY1"/>
                </a:cxn>
              </a:cxnLst>
              <a:rect l="l" t="t" r="r" b="b"/>
              <a:pathLst>
                <a:path w="826825" h="136492">
                  <a:moveTo>
                    <a:pt x="0" y="96260"/>
                  </a:moveTo>
                  <a:cubicBezTo>
                    <a:pt x="324227" y="193199"/>
                    <a:pt x="614796" y="96600"/>
                    <a:pt x="826825" y="0"/>
                  </a:cubicBezTo>
                </a:path>
              </a:pathLst>
            </a:custGeom>
            <a:noFill/>
            <a:ln w="19050" cap="flat" cmpd="sng" algn="ctr">
              <a:solidFill>
                <a:srgbClr val="001E60"/>
              </a:solidFill>
              <a:prstDash val="solid"/>
              <a:miter lim="800000"/>
              <a:headEnd type="none" w="med" len="med"/>
              <a:tailEnd type="arrow" w="med" len="med"/>
            </a:ln>
            <a:effectLst/>
          </p:spPr>
          <p:txBody>
            <a:bodyPr rtlCol="0" anchor="ctr"/>
            <a:lstStyle/>
            <a:p>
              <a:pPr algn="ctr">
                <a:defRPr/>
              </a:pPr>
              <a:endParaRPr lang="en-US" kern="0">
                <a:ea typeface="ヒラギノ角ゴ Pro W3" panose="020B0300000000000000" pitchFamily="34" charset="-128"/>
                <a:cs typeface="Arial"/>
              </a:endParaRPr>
            </a:p>
          </p:txBody>
        </p:sp>
        <p:sp>
          <p:nvSpPr>
            <p:cNvPr id="167" name="Freeform: Shape 260">
              <a:extLst>
                <a:ext uri="{FF2B5EF4-FFF2-40B4-BE49-F238E27FC236}">
                  <a16:creationId xmlns:a16="http://schemas.microsoft.com/office/drawing/2014/main" id="{7498E193-A579-1A28-F258-53B19D4203E1}"/>
                </a:ext>
              </a:extLst>
            </p:cNvPr>
            <p:cNvSpPr/>
            <p:nvPr/>
          </p:nvSpPr>
          <p:spPr>
            <a:xfrm rot="23400000">
              <a:off x="6552349" y="3933335"/>
              <a:ext cx="487680" cy="136492"/>
            </a:xfrm>
            <a:custGeom>
              <a:avLst/>
              <a:gdLst>
                <a:gd name="connsiteX0" fmla="*/ 0 w 826825"/>
                <a:gd name="connsiteY0" fmla="*/ 96260 h 136492"/>
                <a:gd name="connsiteX1" fmla="*/ 826825 w 826825"/>
                <a:gd name="connsiteY1" fmla="*/ 0 h 136492"/>
              </a:gdLst>
              <a:ahLst/>
              <a:cxnLst>
                <a:cxn ang="0">
                  <a:pos x="connsiteX0" y="connsiteY0"/>
                </a:cxn>
                <a:cxn ang="0">
                  <a:pos x="connsiteX1" y="connsiteY1"/>
                </a:cxn>
              </a:cxnLst>
              <a:rect l="l" t="t" r="r" b="b"/>
              <a:pathLst>
                <a:path w="826825" h="136492">
                  <a:moveTo>
                    <a:pt x="0" y="96260"/>
                  </a:moveTo>
                  <a:cubicBezTo>
                    <a:pt x="324227" y="193199"/>
                    <a:pt x="614796" y="96600"/>
                    <a:pt x="826825" y="0"/>
                  </a:cubicBezTo>
                </a:path>
              </a:pathLst>
            </a:custGeom>
            <a:noFill/>
            <a:ln w="19050" cap="flat" cmpd="sng" algn="ctr">
              <a:solidFill>
                <a:srgbClr val="001E60"/>
              </a:solidFill>
              <a:prstDash val="solid"/>
              <a:miter lim="800000"/>
              <a:headEnd type="none" w="med" len="med"/>
              <a:tailEnd type="arrow" w="med" len="med"/>
            </a:ln>
            <a:effectLst/>
          </p:spPr>
          <p:txBody>
            <a:bodyPr rtlCol="0" anchor="ctr"/>
            <a:lstStyle/>
            <a:p>
              <a:pPr algn="ctr">
                <a:defRPr/>
              </a:pPr>
              <a:endParaRPr lang="en-US" kern="0">
                <a:ea typeface="ヒラギノ角ゴ Pro W3" panose="020B0300000000000000" pitchFamily="34" charset="-128"/>
                <a:cs typeface="Arial"/>
              </a:endParaRPr>
            </a:p>
          </p:txBody>
        </p:sp>
        <p:pic>
          <p:nvPicPr>
            <p:cNvPr id="168" name="Picture 261">
              <a:extLst>
                <a:ext uri="{FF2B5EF4-FFF2-40B4-BE49-F238E27FC236}">
                  <a16:creationId xmlns:a16="http://schemas.microsoft.com/office/drawing/2014/main" id="{A65B7D05-83AF-A1BB-3DB9-11145AE9A2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2662" y="3540286"/>
              <a:ext cx="840833" cy="851613"/>
            </a:xfrm>
            <a:prstGeom prst="rect">
              <a:avLst/>
            </a:prstGeom>
          </p:spPr>
        </p:pic>
        <p:pic>
          <p:nvPicPr>
            <p:cNvPr id="169" name="Picture 8">
              <a:extLst>
                <a:ext uri="{FF2B5EF4-FFF2-40B4-BE49-F238E27FC236}">
                  <a16:creationId xmlns:a16="http://schemas.microsoft.com/office/drawing/2014/main" id="{CAE73FC9-5602-0CC4-0FCC-15A922AB13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7925" y="3127037"/>
              <a:ext cx="840833" cy="851613"/>
            </a:xfrm>
            <a:prstGeom prst="rect">
              <a:avLst/>
            </a:prstGeom>
          </p:spPr>
        </p:pic>
        <p:pic>
          <p:nvPicPr>
            <p:cNvPr id="171" name="Picture 255">
              <a:extLst>
                <a:ext uri="{FF2B5EF4-FFF2-40B4-BE49-F238E27FC236}">
                  <a16:creationId xmlns:a16="http://schemas.microsoft.com/office/drawing/2014/main" id="{BB719C49-E3D1-365F-87AD-8DCB4E3B1050}"/>
                </a:ext>
              </a:extLst>
            </p:cNvPr>
            <p:cNvPicPr>
              <a:picLocks noChangeAspect="1"/>
            </p:cNvPicPr>
            <p:nvPr/>
          </p:nvPicPr>
          <p:blipFill>
            <a:blip r:embed="rId5"/>
            <a:stretch>
              <a:fillRect/>
            </a:stretch>
          </p:blipFill>
          <p:spPr>
            <a:xfrm>
              <a:off x="4929323" y="4527352"/>
              <a:ext cx="1390789" cy="1055781"/>
            </a:xfrm>
            <a:prstGeom prst="rect">
              <a:avLst/>
            </a:prstGeom>
            <a:effectLst/>
          </p:spPr>
        </p:pic>
        <p:sp>
          <p:nvSpPr>
            <p:cNvPr id="172" name="TextBox 257">
              <a:extLst>
                <a:ext uri="{FF2B5EF4-FFF2-40B4-BE49-F238E27FC236}">
                  <a16:creationId xmlns:a16="http://schemas.microsoft.com/office/drawing/2014/main" id="{7096F910-E1E5-99CA-7E7D-91E4A20D354F}"/>
                </a:ext>
              </a:extLst>
            </p:cNvPr>
            <p:cNvSpPr txBox="1"/>
            <p:nvPr/>
          </p:nvSpPr>
          <p:spPr>
            <a:xfrm>
              <a:off x="4320320" y="4493788"/>
              <a:ext cx="897553" cy="297454"/>
            </a:xfrm>
            <a:prstGeom prst="rect">
              <a:avLst/>
            </a:prstGeom>
            <a:noFill/>
            <a:effectLst/>
          </p:spPr>
          <p:txBody>
            <a:bodyPr wrap="none" rtlCol="0">
              <a:spAutoFit/>
            </a:bodyPr>
            <a:lstStyle/>
            <a:p>
              <a:pPr fontAlgn="base">
                <a:spcBef>
                  <a:spcPct val="0"/>
                </a:spcBef>
                <a:spcAft>
                  <a:spcPct val="0"/>
                </a:spcAft>
                <a:defRPr/>
              </a:pPr>
              <a:r>
                <a:rPr lang="en-US" sz="1333" b="1" dirty="0" err="1">
                  <a:ea typeface="ヒラギノ角ゴ Pro W3" panose="020B0300000000000000" pitchFamily="34" charset="-128"/>
                  <a:cs typeface="Arial"/>
                </a:rPr>
                <a:t>Mastocito</a:t>
              </a:r>
              <a:endParaRPr lang="en-US" sz="1333" b="1" dirty="0">
                <a:ea typeface="ヒラギノ角ゴ Pro W3" panose="020B0300000000000000" pitchFamily="34" charset="-128"/>
                <a:cs typeface="Arial"/>
              </a:endParaRPr>
            </a:p>
          </p:txBody>
        </p:sp>
        <p:pic>
          <p:nvPicPr>
            <p:cNvPr id="173" name="Picture 258">
              <a:extLst>
                <a:ext uri="{FF2B5EF4-FFF2-40B4-BE49-F238E27FC236}">
                  <a16:creationId xmlns:a16="http://schemas.microsoft.com/office/drawing/2014/main" id="{34AACD83-5865-109F-5173-BBEBFFE3BB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7819" y="4915051"/>
              <a:ext cx="723900" cy="457200"/>
            </a:xfrm>
            <a:prstGeom prst="rect">
              <a:avLst/>
            </a:prstGeom>
            <a:effectLst/>
          </p:spPr>
        </p:pic>
        <p:pic>
          <p:nvPicPr>
            <p:cNvPr id="174" name="Picture 263">
              <a:extLst>
                <a:ext uri="{FF2B5EF4-FFF2-40B4-BE49-F238E27FC236}">
                  <a16:creationId xmlns:a16="http://schemas.microsoft.com/office/drawing/2014/main" id="{1D5B624C-81C9-3B4F-377B-6D0782B4B0A8}"/>
                </a:ext>
              </a:extLst>
            </p:cNvPr>
            <p:cNvPicPr>
              <a:picLocks noChangeAspect="1"/>
            </p:cNvPicPr>
            <p:nvPr/>
          </p:nvPicPr>
          <p:blipFill>
            <a:blip r:embed="rId7">
              <a:extLst>
                <a:ext uri="{28A0092B-C50C-407E-A947-70E740481C1C}">
                  <a14:useLocalDpi xmlns:a14="http://schemas.microsoft.com/office/drawing/2010/main" val="0"/>
                </a:ext>
              </a:extLst>
            </a:blip>
            <a:srcRect l="1" t="62425" r="57430"/>
            <a:stretch>
              <a:fillRect/>
            </a:stretch>
          </p:blipFill>
          <p:spPr>
            <a:xfrm rot="14513190">
              <a:off x="5143629" y="4463032"/>
              <a:ext cx="279099" cy="268751"/>
            </a:xfrm>
            <a:prstGeom prst="rect">
              <a:avLst/>
            </a:prstGeom>
            <a:effectLst/>
          </p:spPr>
        </p:pic>
        <p:pic>
          <p:nvPicPr>
            <p:cNvPr id="175" name="Picture 264">
              <a:extLst>
                <a:ext uri="{FF2B5EF4-FFF2-40B4-BE49-F238E27FC236}">
                  <a16:creationId xmlns:a16="http://schemas.microsoft.com/office/drawing/2014/main" id="{444ABC96-88CC-69E0-8C56-CFE445AC7E14}"/>
                </a:ext>
              </a:extLst>
            </p:cNvPr>
            <p:cNvPicPr>
              <a:picLocks noChangeAspect="1"/>
            </p:cNvPicPr>
            <p:nvPr/>
          </p:nvPicPr>
          <p:blipFill>
            <a:blip r:embed="rId7">
              <a:extLst>
                <a:ext uri="{28A0092B-C50C-407E-A947-70E740481C1C}">
                  <a14:useLocalDpi xmlns:a14="http://schemas.microsoft.com/office/drawing/2010/main" val="0"/>
                </a:ext>
              </a:extLst>
            </a:blip>
            <a:srcRect l="1" t="62425" r="57430"/>
            <a:stretch>
              <a:fillRect/>
            </a:stretch>
          </p:blipFill>
          <p:spPr>
            <a:xfrm rot="8305364">
              <a:off x="4997707" y="5282831"/>
              <a:ext cx="279099" cy="268751"/>
            </a:xfrm>
            <a:prstGeom prst="rect">
              <a:avLst/>
            </a:prstGeom>
            <a:effectLst/>
          </p:spPr>
        </p:pic>
        <p:pic>
          <p:nvPicPr>
            <p:cNvPr id="176" name="Picture 265">
              <a:extLst>
                <a:ext uri="{FF2B5EF4-FFF2-40B4-BE49-F238E27FC236}">
                  <a16:creationId xmlns:a16="http://schemas.microsoft.com/office/drawing/2014/main" id="{A2235A7C-E971-72E2-DFD3-8308CBB6E6E2}"/>
                </a:ext>
              </a:extLst>
            </p:cNvPr>
            <p:cNvPicPr>
              <a:picLocks noChangeAspect="1"/>
            </p:cNvPicPr>
            <p:nvPr/>
          </p:nvPicPr>
          <p:blipFill>
            <a:blip r:embed="rId7">
              <a:extLst>
                <a:ext uri="{28A0092B-C50C-407E-A947-70E740481C1C}">
                  <a14:useLocalDpi xmlns:a14="http://schemas.microsoft.com/office/drawing/2010/main" val="0"/>
                </a:ext>
              </a:extLst>
            </a:blip>
            <a:srcRect l="1" t="62425" r="57430"/>
            <a:stretch>
              <a:fillRect/>
            </a:stretch>
          </p:blipFill>
          <p:spPr>
            <a:xfrm rot="19203722">
              <a:off x="6087865" y="4543101"/>
              <a:ext cx="279099" cy="268751"/>
            </a:xfrm>
            <a:prstGeom prst="rect">
              <a:avLst/>
            </a:prstGeom>
            <a:effectLst/>
          </p:spPr>
        </p:pic>
        <p:sp>
          <p:nvSpPr>
            <p:cNvPr id="177" name="Oval 266">
              <a:extLst>
                <a:ext uri="{FF2B5EF4-FFF2-40B4-BE49-F238E27FC236}">
                  <a16:creationId xmlns:a16="http://schemas.microsoft.com/office/drawing/2014/main" id="{FC4C82A5-6169-AE9F-6054-7BC662ECFC2A}"/>
                </a:ext>
              </a:extLst>
            </p:cNvPr>
            <p:cNvSpPr/>
            <p:nvPr/>
          </p:nvSpPr>
          <p:spPr>
            <a:xfrm>
              <a:off x="6227087" y="4482649"/>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78" name="Oval 267">
              <a:extLst>
                <a:ext uri="{FF2B5EF4-FFF2-40B4-BE49-F238E27FC236}">
                  <a16:creationId xmlns:a16="http://schemas.microsoft.com/office/drawing/2014/main" id="{492E333A-8CCE-26CF-2E8B-E3D066582112}"/>
                </a:ext>
              </a:extLst>
            </p:cNvPr>
            <p:cNvSpPr/>
            <p:nvPr/>
          </p:nvSpPr>
          <p:spPr>
            <a:xfrm>
              <a:off x="6316623" y="4598344"/>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79" name="Oval 268">
              <a:extLst>
                <a:ext uri="{FF2B5EF4-FFF2-40B4-BE49-F238E27FC236}">
                  <a16:creationId xmlns:a16="http://schemas.microsoft.com/office/drawing/2014/main" id="{0C5BEFE9-F604-2752-4394-7DFFB451675D}"/>
                </a:ext>
              </a:extLst>
            </p:cNvPr>
            <p:cNvSpPr/>
            <p:nvPr/>
          </p:nvSpPr>
          <p:spPr>
            <a:xfrm>
              <a:off x="5230022" y="4432829"/>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80" name="Oval 269">
              <a:extLst>
                <a:ext uri="{FF2B5EF4-FFF2-40B4-BE49-F238E27FC236}">
                  <a16:creationId xmlns:a16="http://schemas.microsoft.com/office/drawing/2014/main" id="{3982F5EB-26A4-2234-8B84-B5D8BB6DBB23}"/>
                </a:ext>
              </a:extLst>
            </p:cNvPr>
            <p:cNvSpPr/>
            <p:nvPr/>
          </p:nvSpPr>
          <p:spPr>
            <a:xfrm>
              <a:off x="5098899" y="4500148"/>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81" name="Oval 270">
              <a:extLst>
                <a:ext uri="{FF2B5EF4-FFF2-40B4-BE49-F238E27FC236}">
                  <a16:creationId xmlns:a16="http://schemas.microsoft.com/office/drawing/2014/main" id="{D27EA29E-6FD1-064C-5889-58712BEA3411}"/>
                </a:ext>
              </a:extLst>
            </p:cNvPr>
            <p:cNvSpPr/>
            <p:nvPr/>
          </p:nvSpPr>
          <p:spPr>
            <a:xfrm>
              <a:off x="4948570" y="5433736"/>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sp>
          <p:nvSpPr>
            <p:cNvPr id="182" name="Oval 271">
              <a:extLst>
                <a:ext uri="{FF2B5EF4-FFF2-40B4-BE49-F238E27FC236}">
                  <a16:creationId xmlns:a16="http://schemas.microsoft.com/office/drawing/2014/main" id="{C276C7F4-9F9E-620C-80D9-BBD14E38A9BD}"/>
                </a:ext>
              </a:extLst>
            </p:cNvPr>
            <p:cNvSpPr/>
            <p:nvPr/>
          </p:nvSpPr>
          <p:spPr>
            <a:xfrm>
              <a:off x="5069451" y="5547632"/>
              <a:ext cx="60959" cy="60959"/>
            </a:xfrm>
            <a:prstGeom prst="ellipse">
              <a:avLst/>
            </a:prstGeom>
            <a:solidFill>
              <a:srgbClr val="FFA300"/>
            </a:solidFill>
            <a:ln w="9525" cap="flat" cmpd="sng" algn="ctr">
              <a:solidFill>
                <a:srgbClr val="001E60"/>
              </a:solidFill>
              <a:prstDash val="solid"/>
              <a:miter lim="800000"/>
            </a:ln>
            <a:effectLst/>
          </p:spPr>
          <p:txBody>
            <a:bodyPr lIns="60960" rIns="60960" rtlCol="0" anchor="ctr"/>
            <a:lstStyle/>
            <a:p>
              <a:pPr algn="ctr">
                <a:defRPr/>
              </a:pPr>
              <a:endParaRPr lang="en-US" sz="1200" kern="0">
                <a:ea typeface="ヒラギノ角ゴ Pro W3" panose="020B0300000000000000" pitchFamily="34" charset="-128"/>
                <a:cs typeface="Arial" panose="020B0604020202020204" pitchFamily="34" charset="0"/>
              </a:endParaRPr>
            </a:p>
          </p:txBody>
        </p:sp>
      </p:grpSp>
      <p:sp>
        <p:nvSpPr>
          <p:cNvPr id="183" name="TextBox 158">
            <a:extLst>
              <a:ext uri="{FF2B5EF4-FFF2-40B4-BE49-F238E27FC236}">
                <a16:creationId xmlns:a16="http://schemas.microsoft.com/office/drawing/2014/main" id="{EAA9D168-BF93-080C-EC8C-EAC8B2EA72D2}"/>
              </a:ext>
            </a:extLst>
          </p:cNvPr>
          <p:cNvSpPr txBox="1"/>
          <p:nvPr/>
        </p:nvSpPr>
        <p:spPr>
          <a:xfrm>
            <a:off x="469277" y="5089138"/>
            <a:ext cx="3668407" cy="461665"/>
          </a:xfrm>
          <a:prstGeom prst="rect">
            <a:avLst/>
          </a:prstGeom>
          <a:noFill/>
        </p:spPr>
        <p:txBody>
          <a:bodyPr wrap="square" rtlCol="0">
            <a:spAutoFit/>
          </a:bodyPr>
          <a:lstStyle/>
          <a:p>
            <a:pPr fontAlgn="base">
              <a:spcBef>
                <a:spcPct val="0"/>
              </a:spcBef>
              <a:spcAft>
                <a:spcPct val="0"/>
              </a:spcAft>
              <a:defRPr/>
            </a:pPr>
            <a:r>
              <a:rPr lang="en-US" sz="800" dirty="0">
                <a:ea typeface="ヒラギノ角ゴ Pro W3" panose="020B0300000000000000" pitchFamily="34" charset="-128"/>
                <a:cs typeface="Arial"/>
              </a:rPr>
              <a:t>Imagens </a:t>
            </a:r>
            <a:r>
              <a:rPr lang="en-US" sz="800" dirty="0" err="1">
                <a:ea typeface="ヒラギノ角ゴ Pro W3" panose="020B0300000000000000" pitchFamily="34" charset="-128"/>
                <a:cs typeface="Arial"/>
              </a:rPr>
              <a:t>adaptadas</a:t>
            </a:r>
            <a:r>
              <a:rPr lang="en-US" sz="800" dirty="0">
                <a:ea typeface="ヒラギノ角ゴ Pro W3" panose="020B0300000000000000" pitchFamily="34" charset="-128"/>
                <a:cs typeface="Arial"/>
              </a:rPr>
              <a:t> de </a:t>
            </a:r>
            <a:r>
              <a:rPr lang="en-US" sz="800" dirty="0" err="1">
                <a:ea typeface="ヒラギノ角ゴ Pro W3" panose="020B0300000000000000" pitchFamily="34" charset="-128"/>
                <a:cs typeface="Arial"/>
              </a:rPr>
              <a:t>Durkeberger</a:t>
            </a:r>
            <a:r>
              <a:rPr lang="en-US" sz="800" dirty="0">
                <a:ea typeface="ヒラギノ角ゴ Pro W3" panose="020B0300000000000000" pitchFamily="34" charset="-128"/>
                <a:cs typeface="Arial"/>
              </a:rPr>
              <a:t> JR, Skill WC. </a:t>
            </a:r>
            <a:r>
              <a:rPr lang="en-US" sz="800" i="1" dirty="0">
                <a:ea typeface="ヒラギノ角ゴ Pro W3" panose="020B0300000000000000" pitchFamily="34" charset="-128"/>
                <a:cs typeface="Arial"/>
              </a:rPr>
              <a:t>Res. Célula</a:t>
            </a:r>
            <a:r>
              <a:rPr lang="en-US" sz="800" dirty="0">
                <a:ea typeface="ヒラギノ角ゴ Pro W3" panose="020B0300000000000000" pitchFamily="34" charset="-128"/>
                <a:cs typeface="Arial"/>
              </a:rPr>
              <a:t>2010;20(1):34-50 e </a:t>
            </a:r>
            <a:r>
              <a:rPr lang="en-US" sz="800" dirty="0" err="1">
                <a:ea typeface="ヒラギノ角ゴ Pro W3" panose="020B0300000000000000" pitchFamily="34" charset="-128"/>
                <a:cs typeface="Arial"/>
              </a:rPr>
              <a:t>Mariab</a:t>
            </a:r>
            <a:r>
              <a:rPr lang="en-US" sz="800" dirty="0">
                <a:ea typeface="ヒラギノ角ゴ Pro W3" panose="020B0300000000000000" pitchFamily="34" charset="-128"/>
                <a:cs typeface="Arial"/>
              </a:rPr>
              <a:t> EN, Hoehn K. In: </a:t>
            </a:r>
            <a:r>
              <a:rPr lang="en-US" sz="800" i="1" dirty="0">
                <a:ea typeface="ヒラギノ角ゴ Pro W3" panose="020B0300000000000000" pitchFamily="34" charset="-128"/>
                <a:cs typeface="Arial"/>
              </a:rPr>
              <a:t>Human Anatomy &amp; Physiology</a:t>
            </a:r>
            <a:r>
              <a:rPr lang="en-US" sz="800" dirty="0">
                <a:ea typeface="ヒラギノ角ゴ Pro W3" panose="020B0300000000000000" pitchFamily="34" charset="-128"/>
                <a:cs typeface="Arial"/>
              </a:rPr>
              <a:t>. 11ª ed. Nova York, Nova York: Pearson Education; 2019:781-817.  </a:t>
            </a:r>
          </a:p>
        </p:txBody>
      </p:sp>
      <p:cxnSp>
        <p:nvCxnSpPr>
          <p:cNvPr id="187" name="Conector reto 186">
            <a:extLst>
              <a:ext uri="{FF2B5EF4-FFF2-40B4-BE49-F238E27FC236}">
                <a16:creationId xmlns:a16="http://schemas.microsoft.com/office/drawing/2014/main" id="{72CBB760-E6D3-2B53-EB9A-9B86A294BC22}"/>
              </a:ext>
            </a:extLst>
          </p:cNvPr>
          <p:cNvCxnSpPr/>
          <p:nvPr/>
        </p:nvCxnSpPr>
        <p:spPr>
          <a:xfrm>
            <a:off x="4235096" y="1546532"/>
            <a:ext cx="0" cy="4072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8" name="Conector reto 187">
            <a:extLst>
              <a:ext uri="{FF2B5EF4-FFF2-40B4-BE49-F238E27FC236}">
                <a16:creationId xmlns:a16="http://schemas.microsoft.com/office/drawing/2014/main" id="{A2A516D5-0D2D-1656-40EF-5F6964580C12}"/>
              </a:ext>
            </a:extLst>
          </p:cNvPr>
          <p:cNvCxnSpPr/>
          <p:nvPr/>
        </p:nvCxnSpPr>
        <p:spPr>
          <a:xfrm>
            <a:off x="8011030" y="1546532"/>
            <a:ext cx="0" cy="4072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06" name="Agrupar 205">
            <a:extLst>
              <a:ext uri="{FF2B5EF4-FFF2-40B4-BE49-F238E27FC236}">
                <a16:creationId xmlns:a16="http://schemas.microsoft.com/office/drawing/2014/main" id="{4F0E4580-C630-B627-36D6-E9F659BE5BF4}"/>
              </a:ext>
            </a:extLst>
          </p:cNvPr>
          <p:cNvGrpSpPr/>
          <p:nvPr/>
        </p:nvGrpSpPr>
        <p:grpSpPr>
          <a:xfrm>
            <a:off x="596066" y="2079545"/>
            <a:ext cx="11010670" cy="757130"/>
            <a:chOff x="596066" y="2133335"/>
            <a:chExt cx="11010670" cy="757130"/>
          </a:xfrm>
        </p:grpSpPr>
        <p:sp>
          <p:nvSpPr>
            <p:cNvPr id="11" name="TextBox 14">
              <a:extLst>
                <a:ext uri="{FF2B5EF4-FFF2-40B4-BE49-F238E27FC236}">
                  <a16:creationId xmlns:a16="http://schemas.microsoft.com/office/drawing/2014/main" id="{5930CF1A-35FF-DA58-A778-48C39249806A}"/>
                </a:ext>
              </a:extLst>
            </p:cNvPr>
            <p:cNvSpPr txBox="1"/>
            <p:nvPr/>
          </p:nvSpPr>
          <p:spPr>
            <a:xfrm>
              <a:off x="8152929" y="2299534"/>
              <a:ext cx="1235527" cy="424732"/>
            </a:xfrm>
            <a:prstGeom prst="rect">
              <a:avLst/>
            </a:prstGeom>
            <a:noFill/>
          </p:spPr>
          <p:txBody>
            <a:bodyPr wrap="square" rtlCol="0">
              <a:spAutoFit/>
            </a:bodyPr>
            <a:lstStyle/>
            <a:p>
              <a:pPr algn="r" fontAlgn="base">
                <a:lnSpc>
                  <a:spcPct val="90000"/>
                </a:lnSpc>
                <a:spcBef>
                  <a:spcPct val="0"/>
                </a:spcBef>
                <a:spcAft>
                  <a:spcPts val="800"/>
                </a:spcAft>
                <a:buClr>
                  <a:srgbClr val="292929"/>
                </a:buClr>
                <a:defRPr/>
              </a:pPr>
              <a:r>
                <a:rPr lang="en-US" sz="1200" b="1" dirty="0" err="1">
                  <a:solidFill>
                    <a:schemeClr val="bg2"/>
                  </a:solidFill>
                  <a:ea typeface="ヒラギノ角ゴ Pro W3" panose="020B0300000000000000" pitchFamily="34" charset="-128"/>
                  <a:cs typeface="Arial" panose="020B0604020202020204" pitchFamily="34" charset="0"/>
                </a:rPr>
                <a:t>Complemento</a:t>
              </a:r>
              <a:r>
                <a:rPr lang="en-US" sz="1200" b="1" dirty="0">
                  <a:solidFill>
                    <a:schemeClr val="bg2"/>
                  </a:solidFill>
                  <a:ea typeface="ヒラギノ角ゴ Pro W3" panose="020B0300000000000000" pitchFamily="34" charset="-128"/>
                  <a:cs typeface="Arial" panose="020B0604020202020204" pitchFamily="34" charset="0"/>
                </a:rPr>
                <a:t> terminal</a:t>
              </a:r>
            </a:p>
          </p:txBody>
        </p:sp>
        <p:sp>
          <p:nvSpPr>
            <p:cNvPr id="12" name="TextBox 15">
              <a:extLst>
                <a:ext uri="{FF2B5EF4-FFF2-40B4-BE49-F238E27FC236}">
                  <a16:creationId xmlns:a16="http://schemas.microsoft.com/office/drawing/2014/main" id="{5FBA7FBC-3F6D-73B1-A93C-B02A51FA01A3}"/>
                </a:ext>
              </a:extLst>
            </p:cNvPr>
            <p:cNvSpPr txBox="1"/>
            <p:nvPr/>
          </p:nvSpPr>
          <p:spPr>
            <a:xfrm>
              <a:off x="4331992" y="2299534"/>
              <a:ext cx="1437993" cy="424732"/>
            </a:xfrm>
            <a:prstGeom prst="rect">
              <a:avLst/>
            </a:prstGeom>
            <a:noFill/>
          </p:spPr>
          <p:txBody>
            <a:bodyPr wrap="square" rtlCol="0">
              <a:spAutoFit/>
            </a:bodyPr>
            <a:lstStyle/>
            <a:p>
              <a:pPr algn="r" fontAlgn="base">
                <a:lnSpc>
                  <a:spcPct val="90000"/>
                </a:lnSpc>
                <a:spcBef>
                  <a:spcPct val="0"/>
                </a:spcBef>
                <a:spcAft>
                  <a:spcPts val="800"/>
                </a:spcAft>
                <a:buClr>
                  <a:srgbClr val="292929"/>
                </a:buClr>
                <a:defRPr/>
              </a:pPr>
              <a:r>
                <a:rPr lang="en-US" sz="1200" b="1" dirty="0" err="1">
                  <a:solidFill>
                    <a:schemeClr val="bg2"/>
                  </a:solidFill>
                  <a:ea typeface="ヒラギノ角ゴ Pro W3" panose="020B0300000000000000" pitchFamily="34" charset="-128"/>
                  <a:cs typeface="Arial" panose="020B0604020202020204" pitchFamily="34" charset="0"/>
                </a:rPr>
                <a:t>Complemento</a:t>
              </a:r>
              <a:r>
                <a:rPr lang="en-US" sz="1200" b="1" dirty="0">
                  <a:solidFill>
                    <a:schemeClr val="bg2"/>
                  </a:solidFill>
                  <a:ea typeface="ヒラギノ角ゴ Pro W3" panose="020B0300000000000000" pitchFamily="34" charset="-128"/>
                  <a:cs typeface="Arial" panose="020B0604020202020204" pitchFamily="34" charset="0"/>
                </a:rPr>
                <a:t> proximal e terminal</a:t>
              </a:r>
            </a:p>
          </p:txBody>
        </p:sp>
        <p:sp>
          <p:nvSpPr>
            <p:cNvPr id="13" name="TextBox 16">
              <a:extLst>
                <a:ext uri="{FF2B5EF4-FFF2-40B4-BE49-F238E27FC236}">
                  <a16:creationId xmlns:a16="http://schemas.microsoft.com/office/drawing/2014/main" id="{C366ED7D-8001-E84E-4D0F-73FC4726529F}"/>
                </a:ext>
              </a:extLst>
            </p:cNvPr>
            <p:cNvSpPr txBox="1"/>
            <p:nvPr/>
          </p:nvSpPr>
          <p:spPr>
            <a:xfrm>
              <a:off x="596066" y="2299534"/>
              <a:ext cx="1247233" cy="424732"/>
            </a:xfrm>
            <a:prstGeom prst="rect">
              <a:avLst/>
            </a:prstGeom>
            <a:noFill/>
          </p:spPr>
          <p:txBody>
            <a:bodyPr wrap="square" rtlCol="0">
              <a:spAutoFit/>
            </a:bodyPr>
            <a:lstStyle/>
            <a:p>
              <a:pPr algn="r" fontAlgn="base">
                <a:lnSpc>
                  <a:spcPct val="90000"/>
                </a:lnSpc>
                <a:spcBef>
                  <a:spcPct val="0"/>
                </a:spcBef>
                <a:spcAft>
                  <a:spcPts val="800"/>
                </a:spcAft>
                <a:buClr>
                  <a:srgbClr val="292929"/>
                </a:buClr>
                <a:defRPr/>
              </a:pPr>
              <a:r>
                <a:rPr lang="en-US" sz="1200" b="1" dirty="0" err="1">
                  <a:solidFill>
                    <a:schemeClr val="bg2"/>
                  </a:solidFill>
                  <a:ea typeface="ヒラギノ角ゴ Pro W3" panose="020B0300000000000000" pitchFamily="34" charset="-128"/>
                  <a:cs typeface="Arial" panose="020B0604020202020204" pitchFamily="34" charset="0"/>
                </a:rPr>
                <a:t>Complemento</a:t>
              </a:r>
              <a:r>
                <a:rPr lang="en-US" sz="1200" b="1" dirty="0">
                  <a:solidFill>
                    <a:schemeClr val="bg2"/>
                  </a:solidFill>
                  <a:ea typeface="ヒラギノ角ゴ Pro W3" panose="020B0300000000000000" pitchFamily="34" charset="-128"/>
                  <a:cs typeface="Arial" panose="020B0604020202020204" pitchFamily="34" charset="0"/>
                </a:rPr>
                <a:t> proximal</a:t>
              </a:r>
            </a:p>
          </p:txBody>
        </p:sp>
        <p:sp>
          <p:nvSpPr>
            <p:cNvPr id="189" name="TextBox 14">
              <a:extLst>
                <a:ext uri="{FF2B5EF4-FFF2-40B4-BE49-F238E27FC236}">
                  <a16:creationId xmlns:a16="http://schemas.microsoft.com/office/drawing/2014/main" id="{9E5BA4BC-F39C-76F0-0A13-D6D8D8E8CA56}"/>
                </a:ext>
              </a:extLst>
            </p:cNvPr>
            <p:cNvSpPr txBox="1"/>
            <p:nvPr/>
          </p:nvSpPr>
          <p:spPr>
            <a:xfrm>
              <a:off x="9463303" y="2299534"/>
              <a:ext cx="2143433" cy="424732"/>
            </a:xfrm>
            <a:prstGeom prst="rect">
              <a:avLst/>
            </a:prstGeom>
            <a:noFill/>
          </p:spPr>
          <p:txBody>
            <a:bodyPr wrap="square" rtlCol="0">
              <a:spAutoFit/>
            </a:bodyPr>
            <a:lstStyle/>
            <a:p>
              <a:pPr fontAlgn="base">
                <a:lnSpc>
                  <a:spcPct val="90000"/>
                </a:lnSpc>
                <a:spcBef>
                  <a:spcPct val="0"/>
                </a:spcBef>
                <a:spcAft>
                  <a:spcPts val="800"/>
                </a:spcAft>
                <a:buClr>
                  <a:srgbClr val="292929"/>
                </a:buClr>
                <a:defRPr/>
              </a:pPr>
              <a:r>
                <a:rPr lang="en-US" sz="1200" dirty="0">
                  <a:ea typeface="ヒラギノ角ゴ Pro W3" panose="020B0300000000000000" pitchFamily="34" charset="-128"/>
                  <a:cs typeface="Arial" panose="020B0604020202020204" pitchFamily="34" charset="0"/>
                </a:rPr>
                <a:t>A </a:t>
              </a:r>
              <a:r>
                <a:rPr lang="en-US" sz="1200" dirty="0" err="1">
                  <a:ea typeface="ヒラギノ角ゴ Pro W3" panose="020B0300000000000000" pitchFamily="34" charset="-128"/>
                  <a:cs typeface="Arial" panose="020B0604020202020204" pitchFamily="34" charset="0"/>
                </a:rPr>
                <a:t>clivagem</a:t>
              </a:r>
              <a:r>
                <a:rPr lang="en-US" sz="1200" dirty="0">
                  <a:ea typeface="ヒラギノ角ゴ Pro W3" panose="020B0300000000000000" pitchFamily="34" charset="-128"/>
                  <a:cs typeface="Arial" panose="020B0604020202020204" pitchFamily="34" charset="0"/>
                </a:rPr>
                <a:t> de C5 leva à </a:t>
              </a:r>
              <a:r>
                <a:rPr lang="en-US" sz="1200" dirty="0" err="1">
                  <a:ea typeface="ヒラギノ角ゴ Pro W3" panose="020B0300000000000000" pitchFamily="34" charset="-128"/>
                  <a:cs typeface="Arial" panose="020B0604020202020204" pitchFamily="34" charset="0"/>
                </a:rPr>
                <a:t>formação</a:t>
              </a:r>
              <a:r>
                <a:rPr lang="en-US" sz="1200" dirty="0">
                  <a:ea typeface="ヒラギノ角ゴ Pro W3" panose="020B0300000000000000" pitchFamily="34" charset="-128"/>
                  <a:cs typeface="Arial" panose="020B0604020202020204" pitchFamily="34" charset="0"/>
                </a:rPr>
                <a:t> de MAC e </a:t>
              </a:r>
              <a:r>
                <a:rPr lang="en-US" sz="1200" dirty="0" err="1">
                  <a:ea typeface="ヒラギノ角ゴ Pro W3" panose="020B0300000000000000" pitchFamily="34" charset="-128"/>
                  <a:cs typeface="Arial" panose="020B0604020202020204" pitchFamily="34" charset="0"/>
                </a:rPr>
                <a:t>lise</a:t>
              </a:r>
              <a:r>
                <a:rPr lang="en-US" sz="1200" dirty="0">
                  <a:ea typeface="ヒラギノ角ゴ Pro W3" panose="020B0300000000000000" pitchFamily="34" charset="-128"/>
                  <a:cs typeface="Arial" panose="020B0604020202020204" pitchFamily="34" charset="0"/>
                </a:rPr>
                <a:t> </a:t>
              </a:r>
              <a:r>
                <a:rPr lang="en-US" sz="1200" dirty="0" err="1">
                  <a:ea typeface="ヒラギノ角ゴ Pro W3" panose="020B0300000000000000" pitchFamily="34" charset="-128"/>
                  <a:cs typeface="Arial" panose="020B0604020202020204" pitchFamily="34" charset="0"/>
                </a:rPr>
                <a:t>celular</a:t>
              </a:r>
              <a:endParaRPr lang="en-US" sz="1200" dirty="0">
                <a:ea typeface="ヒラギノ角ゴ Pro W3" panose="020B0300000000000000" pitchFamily="34" charset="-128"/>
                <a:cs typeface="Arial" panose="020B0604020202020204" pitchFamily="34" charset="0"/>
              </a:endParaRPr>
            </a:p>
          </p:txBody>
        </p:sp>
        <p:sp>
          <p:nvSpPr>
            <p:cNvPr id="190" name="TextBox 15">
              <a:extLst>
                <a:ext uri="{FF2B5EF4-FFF2-40B4-BE49-F238E27FC236}">
                  <a16:creationId xmlns:a16="http://schemas.microsoft.com/office/drawing/2014/main" id="{86FA5745-6933-B731-0D0F-6A8B2204A261}"/>
                </a:ext>
              </a:extLst>
            </p:cNvPr>
            <p:cNvSpPr txBox="1"/>
            <p:nvPr/>
          </p:nvSpPr>
          <p:spPr>
            <a:xfrm>
              <a:off x="6009033" y="2165139"/>
              <a:ext cx="1930291" cy="693523"/>
            </a:xfrm>
            <a:prstGeom prst="rect">
              <a:avLst/>
            </a:prstGeom>
            <a:noFill/>
          </p:spPr>
          <p:txBody>
            <a:bodyPr wrap="square" rtlCol="0">
              <a:spAutoFit/>
            </a:bodyPr>
            <a:lstStyle/>
            <a:p>
              <a:pPr fontAlgn="base">
                <a:lnSpc>
                  <a:spcPct val="90000"/>
                </a:lnSpc>
                <a:spcBef>
                  <a:spcPct val="0"/>
                </a:spcBef>
                <a:spcAft>
                  <a:spcPts val="800"/>
                </a:spcAft>
                <a:buClr>
                  <a:srgbClr val="292929"/>
                </a:buClr>
                <a:defRPr/>
              </a:pPr>
              <a:r>
                <a:rPr lang="en-US" sz="1200" dirty="0" err="1">
                  <a:ea typeface="ヒラギノ角ゴ Pro W3" panose="020B0300000000000000" pitchFamily="34" charset="-128"/>
                  <a:cs typeface="Arial" panose="020B0604020202020204" pitchFamily="34" charset="0"/>
                </a:rPr>
                <a:t>Liberação</a:t>
              </a:r>
              <a:r>
                <a:rPr lang="en-US" sz="1200" dirty="0">
                  <a:ea typeface="ヒラギノ角ゴ Pro W3" panose="020B0300000000000000" pitchFamily="34" charset="-128"/>
                  <a:cs typeface="Arial" panose="020B0604020202020204" pitchFamily="34" charset="0"/>
                </a:rPr>
                <a:t> das </a:t>
              </a:r>
              <a:r>
                <a:rPr lang="en-US" sz="1200" dirty="0" err="1">
                  <a:ea typeface="ヒラギノ角ゴ Pro W3" panose="020B0300000000000000" pitchFamily="34" charset="-128"/>
                  <a:cs typeface="Arial" panose="020B0604020202020204" pitchFamily="34" charset="0"/>
                </a:rPr>
                <a:t>anafilatoxinas</a:t>
              </a:r>
              <a:r>
                <a:rPr lang="en-US" sz="1200" dirty="0">
                  <a:ea typeface="ヒラギノ角ゴ Pro W3" panose="020B0300000000000000" pitchFamily="34" charset="-128"/>
                  <a:cs typeface="Arial" panose="020B0604020202020204" pitchFamily="34" charset="0"/>
                </a:rPr>
                <a:t> </a:t>
              </a:r>
            </a:p>
            <a:p>
              <a:pPr fontAlgn="base">
                <a:lnSpc>
                  <a:spcPct val="90000"/>
                </a:lnSpc>
                <a:spcBef>
                  <a:spcPct val="0"/>
                </a:spcBef>
                <a:spcAft>
                  <a:spcPts val="800"/>
                </a:spcAft>
                <a:buClr>
                  <a:srgbClr val="292929"/>
                </a:buClr>
                <a:defRPr/>
              </a:pPr>
              <a:r>
                <a:rPr lang="en-US" sz="1200" dirty="0" err="1">
                  <a:ea typeface="ヒラギノ角ゴ Pro W3" panose="020B0300000000000000" pitchFamily="34" charset="-128"/>
                  <a:cs typeface="Arial" panose="020B0604020202020204" pitchFamily="34" charset="0"/>
                </a:rPr>
                <a:t>Recrutamento</a:t>
              </a:r>
              <a:r>
                <a:rPr lang="en-US" sz="1200" dirty="0">
                  <a:ea typeface="ヒラギノ角ゴ Pro W3" panose="020B0300000000000000" pitchFamily="34" charset="-128"/>
                  <a:cs typeface="Arial" panose="020B0604020202020204" pitchFamily="34" charset="0"/>
                </a:rPr>
                <a:t> de </a:t>
              </a:r>
              <a:r>
                <a:rPr lang="en-US" sz="1200" dirty="0" err="1">
                  <a:ea typeface="ヒラギノ角ゴ Pro W3" panose="020B0300000000000000" pitchFamily="34" charset="-128"/>
                  <a:cs typeface="Arial" panose="020B0604020202020204" pitchFamily="34" charset="0"/>
                </a:rPr>
                <a:t>células</a:t>
              </a:r>
              <a:r>
                <a:rPr lang="en-US" sz="1200" dirty="0">
                  <a:ea typeface="ヒラギノ角ゴ Pro W3" panose="020B0300000000000000" pitchFamily="34" charset="-128"/>
                  <a:cs typeface="Arial" panose="020B0604020202020204" pitchFamily="34" charset="0"/>
                </a:rPr>
                <a:t> </a:t>
              </a:r>
              <a:r>
                <a:rPr lang="en-US" sz="1200" dirty="0" err="1">
                  <a:ea typeface="ヒラギノ角ゴ Pro W3" panose="020B0300000000000000" pitchFamily="34" charset="-128"/>
                  <a:cs typeface="Arial" panose="020B0604020202020204" pitchFamily="34" charset="0"/>
                </a:rPr>
                <a:t>imunes</a:t>
              </a:r>
              <a:r>
                <a:rPr lang="en-US" sz="1200" dirty="0">
                  <a:ea typeface="ヒラギノ角ゴ Pro W3" panose="020B0300000000000000" pitchFamily="34" charset="-128"/>
                  <a:cs typeface="Arial" panose="020B0604020202020204" pitchFamily="34" charset="0"/>
                </a:rPr>
                <a:t> </a:t>
              </a:r>
            </a:p>
          </p:txBody>
        </p:sp>
        <p:sp>
          <p:nvSpPr>
            <p:cNvPr id="191" name="TextBox 16">
              <a:extLst>
                <a:ext uri="{FF2B5EF4-FFF2-40B4-BE49-F238E27FC236}">
                  <a16:creationId xmlns:a16="http://schemas.microsoft.com/office/drawing/2014/main" id="{0AE03371-0725-3BAD-682C-AC476A622486}"/>
                </a:ext>
              </a:extLst>
            </p:cNvPr>
            <p:cNvSpPr txBox="1"/>
            <p:nvPr/>
          </p:nvSpPr>
          <p:spPr>
            <a:xfrm>
              <a:off x="1958131" y="2133335"/>
              <a:ext cx="2033784" cy="757130"/>
            </a:xfrm>
            <a:prstGeom prst="rect">
              <a:avLst/>
            </a:prstGeom>
            <a:noFill/>
          </p:spPr>
          <p:txBody>
            <a:bodyPr wrap="square" rtlCol="0">
              <a:spAutoFit/>
            </a:bodyPr>
            <a:lstStyle/>
            <a:p>
              <a:pPr fontAlgn="base">
                <a:lnSpc>
                  <a:spcPct val="90000"/>
                </a:lnSpc>
                <a:spcBef>
                  <a:spcPct val="0"/>
                </a:spcBef>
                <a:spcAft>
                  <a:spcPts val="800"/>
                </a:spcAft>
                <a:buClr>
                  <a:srgbClr val="292929"/>
                </a:buClr>
                <a:defRPr/>
              </a:pPr>
              <a:r>
                <a:rPr lang="en-US" sz="1200" dirty="0" err="1">
                  <a:ea typeface="ヒラギノ角ゴ Pro W3" panose="020B0300000000000000" pitchFamily="34" charset="-128"/>
                  <a:cs typeface="Arial" panose="020B0604020202020204" pitchFamily="34" charset="0"/>
                </a:rPr>
                <a:t>fragmentos</a:t>
              </a:r>
              <a:r>
                <a:rPr lang="en-US" sz="1200" dirty="0">
                  <a:ea typeface="ヒラギノ角ゴ Pro W3" panose="020B0300000000000000" pitchFamily="34" charset="-128"/>
                  <a:cs typeface="Arial" panose="020B0604020202020204" pitchFamily="34" charset="0"/>
                </a:rPr>
                <a:t> de </a:t>
              </a:r>
              <a:r>
                <a:rPr lang="en-US" sz="1200" dirty="0" err="1">
                  <a:ea typeface="ヒラギノ角ゴ Pro W3" panose="020B0300000000000000" pitchFamily="34" charset="-128"/>
                  <a:cs typeface="Arial" panose="020B0604020202020204" pitchFamily="34" charset="0"/>
                </a:rPr>
                <a:t>complemento</a:t>
              </a:r>
              <a:r>
                <a:rPr lang="en-US" sz="1200" dirty="0">
                  <a:ea typeface="ヒラギノ角ゴ Pro W3" panose="020B0300000000000000" pitchFamily="34" charset="-128"/>
                  <a:cs typeface="Arial" panose="020B0604020202020204" pitchFamily="34" charset="0"/>
                </a:rPr>
                <a:t> </a:t>
              </a:r>
              <a:r>
                <a:rPr lang="en-US" sz="1200" dirty="0" err="1">
                  <a:ea typeface="ヒラギノ角ゴ Pro W3" panose="020B0300000000000000" pitchFamily="34" charset="-128"/>
                  <a:cs typeface="Arial" panose="020B0604020202020204" pitchFamily="34" charset="0"/>
                </a:rPr>
                <a:t>revestem</a:t>
              </a:r>
              <a:r>
                <a:rPr lang="en-US" sz="1200" dirty="0">
                  <a:ea typeface="ヒラギノ角ゴ Pro W3" panose="020B0300000000000000" pitchFamily="34" charset="-128"/>
                  <a:cs typeface="Arial" panose="020B0604020202020204" pitchFamily="34" charset="0"/>
                </a:rPr>
                <a:t> as </a:t>
              </a:r>
              <a:r>
                <a:rPr lang="en-US" sz="1200" dirty="0" err="1">
                  <a:ea typeface="ヒラギノ角ゴ Pro W3" panose="020B0300000000000000" pitchFamily="34" charset="-128"/>
                  <a:cs typeface="Arial" panose="020B0604020202020204" pitchFamily="34" charset="0"/>
                </a:rPr>
                <a:t>células</a:t>
              </a:r>
              <a:r>
                <a:rPr lang="en-US" sz="1200" dirty="0">
                  <a:ea typeface="ヒラギノ角ゴ Pro W3" panose="020B0300000000000000" pitchFamily="34" charset="-128"/>
                  <a:cs typeface="Arial" panose="020B0604020202020204" pitchFamily="34" charset="0"/>
                </a:rPr>
                <a:t> </a:t>
              </a:r>
              <a:r>
                <a:rPr lang="en-US" sz="1200" dirty="0" err="1">
                  <a:ea typeface="ヒラギノ角ゴ Pro W3" panose="020B0300000000000000" pitchFamily="34" charset="-128"/>
                  <a:cs typeface="Arial" panose="020B0604020202020204" pitchFamily="34" charset="0"/>
                </a:rPr>
                <a:t>desconhecidas</a:t>
              </a:r>
              <a:r>
                <a:rPr lang="en-US" sz="1200" dirty="0">
                  <a:ea typeface="ヒラギノ角ゴ Pro W3" panose="020B0300000000000000" pitchFamily="34" charset="-128"/>
                  <a:cs typeface="Arial" panose="020B0604020202020204" pitchFamily="34" charset="0"/>
                </a:rPr>
                <a:t>, </a:t>
              </a:r>
              <a:r>
                <a:rPr lang="en-US" sz="1200" dirty="0" err="1">
                  <a:ea typeface="ヒラギノ角ゴ Pro W3" panose="020B0300000000000000" pitchFamily="34" charset="-128"/>
                  <a:cs typeface="Arial" panose="020B0604020202020204" pitchFamily="34" charset="0"/>
                </a:rPr>
                <a:t>marcando</a:t>
              </a:r>
              <a:r>
                <a:rPr lang="en-US" sz="1200" dirty="0">
                  <a:ea typeface="ヒラギノ角ゴ Pro W3" panose="020B0300000000000000" pitchFamily="34" charset="-128"/>
                  <a:cs typeface="Arial" panose="020B0604020202020204" pitchFamily="34" charset="0"/>
                </a:rPr>
                <a:t>-as para </a:t>
              </a:r>
              <a:r>
                <a:rPr lang="en-US" sz="1200" dirty="0" err="1">
                  <a:ea typeface="ヒラギノ角ゴ Pro W3" panose="020B0300000000000000" pitchFamily="34" charset="-128"/>
                  <a:cs typeface="Arial" panose="020B0604020202020204" pitchFamily="34" charset="0"/>
                </a:rPr>
                <a:t>fagocitose</a:t>
              </a:r>
              <a:r>
                <a:rPr lang="en-US" sz="1200" dirty="0">
                  <a:ea typeface="ヒラギノ角ゴ Pro W3" panose="020B0300000000000000" pitchFamily="34" charset="-128"/>
                  <a:cs typeface="Arial" panose="020B0604020202020204" pitchFamily="34" charset="0"/>
                </a:rPr>
                <a:t> </a:t>
              </a:r>
            </a:p>
          </p:txBody>
        </p:sp>
        <p:cxnSp>
          <p:nvCxnSpPr>
            <p:cNvPr id="193" name="Conector reto 192">
              <a:extLst>
                <a:ext uri="{FF2B5EF4-FFF2-40B4-BE49-F238E27FC236}">
                  <a16:creationId xmlns:a16="http://schemas.microsoft.com/office/drawing/2014/main" id="{ADFC5B9A-F0F6-A098-80B6-6A9729E56615}"/>
                </a:ext>
              </a:extLst>
            </p:cNvPr>
            <p:cNvCxnSpPr/>
            <p:nvPr/>
          </p:nvCxnSpPr>
          <p:spPr>
            <a:xfrm>
              <a:off x="1921127" y="2153586"/>
              <a:ext cx="0" cy="73161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4" name="Conector reto 193">
              <a:extLst>
                <a:ext uri="{FF2B5EF4-FFF2-40B4-BE49-F238E27FC236}">
                  <a16:creationId xmlns:a16="http://schemas.microsoft.com/office/drawing/2014/main" id="{CE842982-A5CF-4425-F2CE-4FEA762B88A1}"/>
                </a:ext>
              </a:extLst>
            </p:cNvPr>
            <p:cNvCxnSpPr>
              <a:cxnSpLocks/>
            </p:cNvCxnSpPr>
            <p:nvPr/>
          </p:nvCxnSpPr>
          <p:spPr>
            <a:xfrm>
              <a:off x="9429280" y="2330506"/>
              <a:ext cx="0" cy="37777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96" name="Forma Livre: Forma 195">
              <a:extLst>
                <a:ext uri="{FF2B5EF4-FFF2-40B4-BE49-F238E27FC236}">
                  <a16:creationId xmlns:a16="http://schemas.microsoft.com/office/drawing/2014/main" id="{63AD4FD6-43E1-242A-9FED-337671EE86D3}"/>
                </a:ext>
              </a:extLst>
            </p:cNvPr>
            <p:cNvSpPr/>
            <p:nvPr/>
          </p:nvSpPr>
          <p:spPr>
            <a:xfrm>
              <a:off x="5841402" y="2291379"/>
              <a:ext cx="172123" cy="376517"/>
            </a:xfrm>
            <a:custGeom>
              <a:avLst/>
              <a:gdLst>
                <a:gd name="connsiteX0" fmla="*/ 172123 w 172123"/>
                <a:gd name="connsiteY0" fmla="*/ 0 h 376517"/>
                <a:gd name="connsiteX1" fmla="*/ 0 w 172123"/>
                <a:gd name="connsiteY1" fmla="*/ 0 h 376517"/>
                <a:gd name="connsiteX2" fmla="*/ 0 w 172123"/>
                <a:gd name="connsiteY2" fmla="*/ 376517 h 376517"/>
                <a:gd name="connsiteX3" fmla="*/ 161365 w 172123"/>
                <a:gd name="connsiteY3" fmla="*/ 376517 h 376517"/>
              </a:gdLst>
              <a:ahLst/>
              <a:cxnLst>
                <a:cxn ang="0">
                  <a:pos x="connsiteX0" y="connsiteY0"/>
                </a:cxn>
                <a:cxn ang="0">
                  <a:pos x="connsiteX1" y="connsiteY1"/>
                </a:cxn>
                <a:cxn ang="0">
                  <a:pos x="connsiteX2" y="connsiteY2"/>
                </a:cxn>
                <a:cxn ang="0">
                  <a:pos x="connsiteX3" y="connsiteY3"/>
                </a:cxn>
              </a:cxnLst>
              <a:rect l="l" t="t" r="r" b="b"/>
              <a:pathLst>
                <a:path w="172123" h="376517">
                  <a:moveTo>
                    <a:pt x="172123" y="0"/>
                  </a:moveTo>
                  <a:lnTo>
                    <a:pt x="0" y="0"/>
                  </a:lnTo>
                  <a:lnTo>
                    <a:pt x="0" y="376517"/>
                  </a:lnTo>
                  <a:lnTo>
                    <a:pt x="161365" y="376517"/>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cxnSp>
        <p:nvCxnSpPr>
          <p:cNvPr id="198" name="Conector reto 197">
            <a:extLst>
              <a:ext uri="{FF2B5EF4-FFF2-40B4-BE49-F238E27FC236}">
                <a16:creationId xmlns:a16="http://schemas.microsoft.com/office/drawing/2014/main" id="{C8621A06-9EEE-4C9F-698A-3D977FD15185}"/>
              </a:ext>
            </a:extLst>
          </p:cNvPr>
          <p:cNvCxnSpPr/>
          <p:nvPr/>
        </p:nvCxnSpPr>
        <p:spPr>
          <a:xfrm>
            <a:off x="596066" y="2933393"/>
            <a:ext cx="1092537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03" name="Agrupar 202">
            <a:extLst>
              <a:ext uri="{FF2B5EF4-FFF2-40B4-BE49-F238E27FC236}">
                <a16:creationId xmlns:a16="http://schemas.microsoft.com/office/drawing/2014/main" id="{D84E336D-96BB-1A25-4468-2BA583590EF4}"/>
              </a:ext>
            </a:extLst>
          </p:cNvPr>
          <p:cNvGrpSpPr/>
          <p:nvPr/>
        </p:nvGrpSpPr>
        <p:grpSpPr>
          <a:xfrm>
            <a:off x="863781" y="3422162"/>
            <a:ext cx="3041246" cy="1384300"/>
            <a:chOff x="863781" y="3475952"/>
            <a:chExt cx="3041246" cy="1384300"/>
          </a:xfrm>
        </p:grpSpPr>
        <p:sp>
          <p:nvSpPr>
            <p:cNvPr id="163" name="Content Placeholder 4">
              <a:extLst>
                <a:ext uri="{FF2B5EF4-FFF2-40B4-BE49-F238E27FC236}">
                  <a16:creationId xmlns:a16="http://schemas.microsoft.com/office/drawing/2014/main" id="{944D0BF2-4332-8881-28DC-FB22C324DF15}"/>
                </a:ext>
              </a:extLst>
            </p:cNvPr>
            <p:cNvSpPr txBox="1"/>
            <p:nvPr/>
          </p:nvSpPr>
          <p:spPr>
            <a:xfrm>
              <a:off x="863781" y="3818875"/>
              <a:ext cx="1370568" cy="297454"/>
            </a:xfrm>
            <a:prstGeom prst="rect">
              <a:avLst/>
            </a:prstGeom>
          </p:spPr>
          <p:txBody>
            <a:bodyPr wrap="none">
              <a:spAutoFit/>
            </a:bodyPr>
            <a:lstStyle>
              <a:lvl1pPr marL="311143" indent="-311143" algn="l" defTabSz="1219170" rtl="0" eaLnBrk="1" latinLnBrk="0" hangingPunct="1">
                <a:spcBef>
                  <a:spcPts val="800"/>
                </a:spcBef>
                <a:buClr>
                  <a:srgbClr val="292929"/>
                </a:buClr>
                <a:buSzTx/>
                <a:buFont typeface="Arial" panose="020B0604020202020204" pitchFamily="34" charset="0"/>
                <a:buBlip>
                  <a:blip r:embed="rId8"/>
                </a:buBlip>
                <a:defRPr lang="en-US" sz="1867" kern="1200" smtClean="0">
                  <a:solidFill>
                    <a:schemeClr val="tx2">
                      <a:lumMod val="50000"/>
                    </a:schemeClr>
                  </a:solidFill>
                  <a:latin typeface="Arial" panose="020B0604020202020204" pitchFamily="34" charset="0"/>
                  <a:ea typeface="+mn-ea"/>
                  <a:cs typeface="Arial" panose="020B0604020202020204" pitchFamily="34" charset="0"/>
                </a:defRPr>
              </a:lvl1pPr>
              <a:lvl2pPr marL="761981" indent="-300559" algn="l" defTabSz="1219170" rtl="0" eaLnBrk="1" latinLnBrk="0" hangingPunct="1">
                <a:spcBef>
                  <a:spcPct val="20000"/>
                </a:spcBef>
                <a:buFont typeface="Wingdings" pitchFamily="2" charset="2"/>
                <a:buChar char="§"/>
                <a:defRPr lang="en-US" sz="1600" kern="1200" smtClean="0">
                  <a:solidFill>
                    <a:schemeClr val="tx2">
                      <a:lumMod val="50000"/>
                    </a:schemeClr>
                  </a:solidFill>
                  <a:latin typeface="Arial" panose="020B0604020202020204" pitchFamily="34" charset="0"/>
                  <a:ea typeface="+mn-ea"/>
                  <a:cs typeface="Arial" panose="020B0604020202020204" pitchFamily="34" charset="0"/>
                </a:defRPr>
              </a:lvl2pPr>
              <a:lvl3pPr marL="1068891" indent="-234945" algn="l" defTabSz="1219170" rtl="0" eaLnBrk="1" latinLnBrk="0" hangingPunct="1">
                <a:spcBef>
                  <a:spcPct val="20000"/>
                </a:spcBef>
                <a:buFont typeface="Wingdings" pitchFamily="2" charset="2"/>
                <a:buChar char="§"/>
                <a:defRPr lang="en-US" sz="1467" kern="1200" smtClean="0">
                  <a:solidFill>
                    <a:schemeClr val="tx2">
                      <a:lumMod val="50000"/>
                    </a:schemeClr>
                  </a:solidFill>
                  <a:latin typeface="Arial" panose="020B0604020202020204" pitchFamily="34" charset="0"/>
                  <a:ea typeface="+mn-ea"/>
                  <a:cs typeface="Arial" panose="020B0604020202020204" pitchFamily="34" charset="0"/>
                </a:defRPr>
              </a:lvl3pPr>
              <a:lvl4pPr marL="1377916" indent="-228594" algn="l" defTabSz="1219170" rtl="0" eaLnBrk="1" latinLnBrk="0" hangingPunct="1">
                <a:spcBef>
                  <a:spcPct val="20000"/>
                </a:spcBef>
                <a:buFont typeface="Wingdings" pitchFamily="2" charset="2"/>
                <a:buChar char="§"/>
                <a:defRPr lang="en-US" sz="1400" kern="1200" smtClean="0">
                  <a:solidFill>
                    <a:schemeClr val="tx2">
                      <a:lumMod val="50000"/>
                    </a:schemeClr>
                  </a:solidFill>
                  <a:latin typeface="Arial" panose="020B0604020202020204" pitchFamily="34" charset="0"/>
                  <a:ea typeface="+mn-ea"/>
                  <a:cs typeface="Arial" panose="020B0604020202020204" pitchFamily="34" charset="0"/>
                </a:defRPr>
              </a:lvl4pPr>
              <a:lvl5pPr marL="1604393" indent="-226478" algn="l" defTabSz="1219170" rtl="0" eaLnBrk="1" latinLnBrk="0" hangingPunct="1">
                <a:spcBef>
                  <a:spcPts val="800"/>
                </a:spcBef>
                <a:buFont typeface="Wingdings" pitchFamily="2" charset="2"/>
                <a:buChar char="§"/>
                <a:defRPr sz="1400" kern="1200">
                  <a:solidFill>
                    <a:schemeClr val="tx2">
                      <a:lumMod val="50000"/>
                    </a:schemeClr>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fontAlgn="base">
                <a:spcBef>
                  <a:spcPts val="600"/>
                </a:spcBef>
                <a:spcAft>
                  <a:spcPct val="0"/>
                </a:spcAft>
                <a:buFont typeface="Arial" panose="020B0604020202020204" pitchFamily="34" charset="0"/>
                <a:buNone/>
                <a:defRPr/>
              </a:pPr>
              <a:r>
                <a:rPr sz="1333" b="1" dirty="0" err="1">
                  <a:solidFill>
                    <a:schemeClr val="tx1"/>
                  </a:solidFill>
                  <a:latin typeface="+mn-lt"/>
                </a:rPr>
                <a:t>Célula</a:t>
              </a:r>
              <a:r>
                <a:rPr sz="1333" b="1" dirty="0">
                  <a:solidFill>
                    <a:schemeClr val="tx1"/>
                  </a:solidFill>
                  <a:latin typeface="+mn-lt"/>
                </a:rPr>
                <a:t> </a:t>
              </a:r>
              <a:r>
                <a:rPr sz="1333" b="1" dirty="0" err="1">
                  <a:solidFill>
                    <a:schemeClr val="tx1"/>
                  </a:solidFill>
                  <a:latin typeface="+mn-lt"/>
                </a:rPr>
                <a:t>morrendo</a:t>
              </a:r>
              <a:endParaRPr sz="1333" b="1" dirty="0">
                <a:solidFill>
                  <a:schemeClr val="tx1"/>
                </a:solidFill>
                <a:latin typeface="+mn-lt"/>
              </a:endParaRPr>
            </a:p>
          </p:txBody>
        </p:sp>
        <p:pic>
          <p:nvPicPr>
            <p:cNvPr id="165" name="Picture 244">
              <a:extLst>
                <a:ext uri="{FF2B5EF4-FFF2-40B4-BE49-F238E27FC236}">
                  <a16:creationId xmlns:a16="http://schemas.microsoft.com/office/drawing/2014/main" id="{18923352-CDCB-FB08-B4C7-152582A53A0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74627" y="3475952"/>
              <a:ext cx="1930400" cy="1384300"/>
            </a:xfrm>
            <a:prstGeom prst="rect">
              <a:avLst/>
            </a:prstGeom>
          </p:spPr>
        </p:pic>
        <p:sp>
          <p:nvSpPr>
            <p:cNvPr id="164" name="Content Placeholder 4">
              <a:extLst>
                <a:ext uri="{FF2B5EF4-FFF2-40B4-BE49-F238E27FC236}">
                  <a16:creationId xmlns:a16="http://schemas.microsoft.com/office/drawing/2014/main" id="{5F59A392-25FB-1D2A-1760-B912BE5AAC5E}"/>
                </a:ext>
              </a:extLst>
            </p:cNvPr>
            <p:cNvSpPr txBox="1"/>
            <p:nvPr/>
          </p:nvSpPr>
          <p:spPr>
            <a:xfrm>
              <a:off x="2865152" y="4530182"/>
              <a:ext cx="777777" cy="297454"/>
            </a:xfrm>
            <a:prstGeom prst="rect">
              <a:avLst/>
            </a:prstGeom>
          </p:spPr>
          <p:txBody>
            <a:bodyPr wrap="none">
              <a:spAutoFit/>
            </a:bodyPr>
            <a:lstStyle>
              <a:lvl1pPr marL="311143" indent="-311143" algn="l" defTabSz="1219170" rtl="0" eaLnBrk="1" latinLnBrk="0" hangingPunct="1">
                <a:spcBef>
                  <a:spcPts val="800"/>
                </a:spcBef>
                <a:buClr>
                  <a:srgbClr val="292929"/>
                </a:buClr>
                <a:buSzTx/>
                <a:buFont typeface="Arial" panose="020B0604020202020204" pitchFamily="34" charset="0"/>
                <a:buBlip>
                  <a:blip r:embed="rId8"/>
                </a:buBlip>
                <a:defRPr lang="en-US" sz="1867" kern="1200" smtClean="0">
                  <a:solidFill>
                    <a:schemeClr val="tx2">
                      <a:lumMod val="50000"/>
                    </a:schemeClr>
                  </a:solidFill>
                  <a:latin typeface="Arial" panose="020B0604020202020204" pitchFamily="34" charset="0"/>
                  <a:ea typeface="+mn-ea"/>
                  <a:cs typeface="Arial" panose="020B0604020202020204" pitchFamily="34" charset="0"/>
                </a:defRPr>
              </a:lvl1pPr>
              <a:lvl2pPr marL="761981" indent="-300559" algn="l" defTabSz="1219170" rtl="0" eaLnBrk="1" latinLnBrk="0" hangingPunct="1">
                <a:spcBef>
                  <a:spcPct val="20000"/>
                </a:spcBef>
                <a:buFont typeface="Wingdings" pitchFamily="2" charset="2"/>
                <a:buChar char="§"/>
                <a:defRPr lang="en-US" sz="1600" kern="1200" smtClean="0">
                  <a:solidFill>
                    <a:schemeClr val="tx2">
                      <a:lumMod val="50000"/>
                    </a:schemeClr>
                  </a:solidFill>
                  <a:latin typeface="Arial" panose="020B0604020202020204" pitchFamily="34" charset="0"/>
                  <a:ea typeface="+mn-ea"/>
                  <a:cs typeface="Arial" panose="020B0604020202020204" pitchFamily="34" charset="0"/>
                </a:defRPr>
              </a:lvl2pPr>
              <a:lvl3pPr marL="1068891" indent="-234945" algn="l" defTabSz="1219170" rtl="0" eaLnBrk="1" latinLnBrk="0" hangingPunct="1">
                <a:spcBef>
                  <a:spcPct val="20000"/>
                </a:spcBef>
                <a:buFont typeface="Wingdings" pitchFamily="2" charset="2"/>
                <a:buChar char="§"/>
                <a:defRPr lang="en-US" sz="1467" kern="1200" smtClean="0">
                  <a:solidFill>
                    <a:schemeClr val="tx2">
                      <a:lumMod val="50000"/>
                    </a:schemeClr>
                  </a:solidFill>
                  <a:latin typeface="Arial" panose="020B0604020202020204" pitchFamily="34" charset="0"/>
                  <a:ea typeface="+mn-ea"/>
                  <a:cs typeface="Arial" panose="020B0604020202020204" pitchFamily="34" charset="0"/>
                </a:defRPr>
              </a:lvl3pPr>
              <a:lvl4pPr marL="1377916" indent="-228594" algn="l" defTabSz="1219170" rtl="0" eaLnBrk="1" latinLnBrk="0" hangingPunct="1">
                <a:spcBef>
                  <a:spcPct val="20000"/>
                </a:spcBef>
                <a:buFont typeface="Wingdings" pitchFamily="2" charset="2"/>
                <a:buChar char="§"/>
                <a:defRPr lang="en-US" sz="1400" kern="1200" smtClean="0">
                  <a:solidFill>
                    <a:schemeClr val="tx2">
                      <a:lumMod val="50000"/>
                    </a:schemeClr>
                  </a:solidFill>
                  <a:latin typeface="Arial" panose="020B0604020202020204" pitchFamily="34" charset="0"/>
                  <a:ea typeface="+mn-ea"/>
                  <a:cs typeface="Arial" panose="020B0604020202020204" pitchFamily="34" charset="0"/>
                </a:defRPr>
              </a:lvl4pPr>
              <a:lvl5pPr marL="1604393" indent="-226478" algn="l" defTabSz="1219170" rtl="0" eaLnBrk="1" latinLnBrk="0" hangingPunct="1">
                <a:spcBef>
                  <a:spcPts val="800"/>
                </a:spcBef>
                <a:buFont typeface="Wingdings" pitchFamily="2" charset="2"/>
                <a:buChar char="§"/>
                <a:defRPr sz="1400" kern="1200">
                  <a:solidFill>
                    <a:schemeClr val="tx2">
                      <a:lumMod val="50000"/>
                    </a:schemeClr>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
                  <a:srgbClr val="292929"/>
                </a:buClr>
                <a:buSzTx/>
                <a:buFont typeface="Arial" panose="020B0604020202020204" pitchFamily="34" charset="0"/>
                <a:buNone/>
                <a:tabLst/>
                <a:defRPr/>
              </a:pPr>
              <a:r>
                <a:rPr kumimoji="0" lang="en-US" sz="1333" b="1" i="0" u="none" strike="noStrike" kern="1200" cap="none" spc="0" normalizeH="0" baseline="0" noProof="0">
                  <a:ln>
                    <a:noFill/>
                  </a:ln>
                  <a:solidFill>
                    <a:schemeClr val="tx1"/>
                  </a:solidFill>
                  <a:effectLst/>
                  <a:uLnTx/>
                  <a:uFillTx/>
                  <a:latin typeface="+mn-lt"/>
                  <a:ea typeface="+mn-ea"/>
                  <a:cs typeface="Arial" panose="020B0604020202020204" pitchFamily="34" charset="0"/>
                </a:rPr>
                <a:t>Fagócito</a:t>
              </a:r>
            </a:p>
          </p:txBody>
        </p:sp>
      </p:grpSp>
      <p:grpSp>
        <p:nvGrpSpPr>
          <p:cNvPr id="209" name="Agrupar 208">
            <a:extLst>
              <a:ext uri="{FF2B5EF4-FFF2-40B4-BE49-F238E27FC236}">
                <a16:creationId xmlns:a16="http://schemas.microsoft.com/office/drawing/2014/main" id="{91168127-1CF1-B0F5-6545-BA66978C37A0}"/>
              </a:ext>
            </a:extLst>
          </p:cNvPr>
          <p:cNvGrpSpPr/>
          <p:nvPr/>
        </p:nvGrpSpPr>
        <p:grpSpPr>
          <a:xfrm>
            <a:off x="731610" y="5617672"/>
            <a:ext cx="10789830" cy="471425"/>
            <a:chOff x="731610" y="5671462"/>
            <a:chExt cx="10789830" cy="471425"/>
          </a:xfrm>
        </p:grpSpPr>
        <p:sp>
          <p:nvSpPr>
            <p:cNvPr id="207" name="Retângulo 206">
              <a:extLst>
                <a:ext uri="{FF2B5EF4-FFF2-40B4-BE49-F238E27FC236}">
                  <a16:creationId xmlns:a16="http://schemas.microsoft.com/office/drawing/2014/main" id="{EEDAA828-5258-7B3C-D78C-4B5387FF1595}"/>
                </a:ext>
              </a:extLst>
            </p:cNvPr>
            <p:cNvSpPr/>
            <p:nvPr/>
          </p:nvSpPr>
          <p:spPr>
            <a:xfrm>
              <a:off x="731610" y="5671462"/>
              <a:ext cx="10789830" cy="465686"/>
            </a:xfrm>
            <a:prstGeom prst="rect">
              <a:avLst/>
            </a:prstGeom>
            <a:gradFill>
              <a:gsLst>
                <a:gs pos="0">
                  <a:schemeClr val="tx2"/>
                </a:gs>
                <a:gs pos="100000">
                  <a:schemeClr val="tx2">
                    <a:lumMod val="90000"/>
                    <a:lumOff val="10000"/>
                  </a:schemeClr>
                </a:gs>
              </a:gsLst>
              <a:lin ang="5400000" scaled="1"/>
            </a:gradFill>
            <a:ln w="12700" cap="flat" cmpd="sng" algn="ctr">
              <a:noFill/>
              <a:prstDash val="solid"/>
              <a:miter lim="800000"/>
            </a:ln>
            <a:effectLst/>
          </p:spPr>
          <p:txBody>
            <a:bodyPr rtlCol="0" anchor="ctr"/>
            <a:lstStyle/>
            <a:p>
              <a:pPr algn="ctr" defTabSz="914040"/>
              <a:endParaRPr lang="pt-BR" sz="1200" kern="0" dirty="0" err="1">
                <a:solidFill>
                  <a:srgbClr val="FFFFFF"/>
                </a:solidFill>
                <a:cs typeface="Arial" panose="020B0604020202020204" pitchFamily="34" charset="0"/>
              </a:endParaRPr>
            </a:p>
          </p:txBody>
        </p:sp>
        <p:sp>
          <p:nvSpPr>
            <p:cNvPr id="208" name="Rectangle 10">
              <a:extLst>
                <a:ext uri="{FF2B5EF4-FFF2-40B4-BE49-F238E27FC236}">
                  <a16:creationId xmlns:a16="http://schemas.microsoft.com/office/drawing/2014/main" id="{AD2850CE-5697-CA4F-5326-22EB490FE408}"/>
                </a:ext>
              </a:extLst>
            </p:cNvPr>
            <p:cNvSpPr/>
            <p:nvPr/>
          </p:nvSpPr>
          <p:spPr>
            <a:xfrm>
              <a:off x="1052937" y="5681222"/>
              <a:ext cx="10011631" cy="461665"/>
            </a:xfrm>
            <a:prstGeom prst="rect">
              <a:avLst/>
            </a:prstGeom>
            <a:noFill/>
          </p:spPr>
          <p:txBody>
            <a:bodyPr wrap="square">
              <a:spAutoFit/>
            </a:bodyPr>
            <a:lstStyle/>
            <a:p>
              <a:pPr algn="ctr" defTabSz="914377">
                <a:spcAft>
                  <a:spcPts val="600"/>
                </a:spcAft>
                <a:defRPr/>
              </a:pPr>
              <a:r>
                <a:rPr lang="en-US" sz="1200" b="1" kern="0" dirty="0">
                  <a:solidFill>
                    <a:srgbClr val="FFFFFF"/>
                  </a:solidFill>
                  <a:ea typeface="ヒラギノ角ゴ Pro W3" panose="020B0300000000000000" pitchFamily="34" charset="-128"/>
                  <a:cs typeface="Arial"/>
                </a:rPr>
                <a:t>O </a:t>
              </a:r>
              <a:r>
                <a:rPr lang="en-US" sz="1200" b="1" kern="0" dirty="0" err="1">
                  <a:solidFill>
                    <a:srgbClr val="FFFFFF"/>
                  </a:solidFill>
                  <a:ea typeface="ヒラギノ角ゴ Pro W3" panose="020B0300000000000000" pitchFamily="34" charset="-128"/>
                  <a:cs typeface="Arial"/>
                </a:rPr>
                <a:t>sistema</a:t>
              </a:r>
              <a:r>
                <a:rPr lang="en-US" sz="1200" b="1" kern="0" dirty="0">
                  <a:solidFill>
                    <a:srgbClr val="FFFFFF"/>
                  </a:solidFill>
                  <a:ea typeface="ヒラギノ角ゴ Pro W3" panose="020B0300000000000000" pitchFamily="34" charset="-128"/>
                  <a:cs typeface="Arial"/>
                </a:rPr>
                <a:t> do </a:t>
              </a:r>
              <a:r>
                <a:rPr lang="en-US" sz="1200" b="1" kern="0" dirty="0" err="1">
                  <a:solidFill>
                    <a:srgbClr val="FFFFFF"/>
                  </a:solidFill>
                  <a:ea typeface="ヒラギノ角ゴ Pro W3" panose="020B0300000000000000" pitchFamily="34" charset="-128"/>
                  <a:cs typeface="Arial"/>
                </a:rPr>
                <a:t>complemento</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faz</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uma</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distinção</a:t>
              </a:r>
              <a:r>
                <a:rPr lang="en-US" sz="1200" b="1" kern="0" dirty="0">
                  <a:solidFill>
                    <a:srgbClr val="FFFFFF"/>
                  </a:solidFill>
                  <a:ea typeface="ヒラギノ角ゴ Pro W3" panose="020B0300000000000000" pitchFamily="34" charset="-128"/>
                  <a:cs typeface="Arial"/>
                </a:rPr>
                <a:t> entre </a:t>
              </a:r>
              <a:r>
                <a:rPr lang="en-US" sz="1200" b="1" kern="0" dirty="0" err="1">
                  <a:solidFill>
                    <a:srgbClr val="FFFFFF"/>
                  </a:solidFill>
                  <a:ea typeface="ヒラギノ角ゴ Pro W3" panose="020B0300000000000000" pitchFamily="34" charset="-128"/>
                  <a:cs typeface="Arial"/>
                </a:rPr>
                <a:t>célula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hospedeira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saudávei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detrito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celulare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célula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apoptóticas</a:t>
              </a:r>
              <a:r>
                <a:rPr lang="en-US" sz="1200" b="1" kern="0" dirty="0">
                  <a:solidFill>
                    <a:srgbClr val="FFFFFF"/>
                  </a:solidFill>
                  <a:ea typeface="ヒラギノ角ゴ Pro W3" panose="020B0300000000000000" pitchFamily="34" charset="-128"/>
                  <a:cs typeface="Arial"/>
                </a:rPr>
                <a:t> e </a:t>
              </a:r>
              <a:r>
                <a:rPr lang="en-US" sz="1200" b="1" kern="0" dirty="0" err="1">
                  <a:solidFill>
                    <a:srgbClr val="FFFFFF"/>
                  </a:solidFill>
                  <a:ea typeface="ヒラギノ角ゴ Pro W3" panose="020B0300000000000000" pitchFamily="34" charset="-128"/>
                  <a:cs typeface="Arial"/>
                </a:rPr>
                <a:t>patógenos</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externos</a:t>
              </a:r>
              <a:r>
                <a:rPr lang="en-US" sz="1200" b="1" kern="0" dirty="0">
                  <a:solidFill>
                    <a:srgbClr val="FFFFFF"/>
                  </a:solidFill>
                  <a:ea typeface="ヒラギノ角ゴ Pro W3" panose="020B0300000000000000" pitchFamily="34" charset="-128"/>
                  <a:cs typeface="Arial"/>
                </a:rPr>
                <a:t>,</a:t>
              </a:r>
              <a:br>
                <a:rPr lang="en-US" sz="1200" b="1" kern="0" dirty="0">
                  <a:solidFill>
                    <a:srgbClr val="FFFFFF"/>
                  </a:solidFill>
                  <a:ea typeface="ヒラギノ角ゴ Pro W3" panose="020B0300000000000000" pitchFamily="34" charset="-128"/>
                  <a:cs typeface="Arial"/>
                </a:rPr>
              </a:br>
              <a:r>
                <a:rPr lang="en-US" sz="1200" b="1" kern="0" dirty="0" err="1">
                  <a:solidFill>
                    <a:srgbClr val="FFFFFF"/>
                  </a:solidFill>
                  <a:ea typeface="ヒラギノ角ゴ Pro W3" panose="020B0300000000000000" pitchFamily="34" charset="-128"/>
                  <a:cs typeface="Arial"/>
                </a:rPr>
                <a:t>desempenhando</a:t>
              </a:r>
              <a:r>
                <a:rPr lang="en-US" sz="1200" b="1" kern="0" dirty="0">
                  <a:solidFill>
                    <a:srgbClr val="FFFFFF"/>
                  </a:solidFill>
                  <a:ea typeface="ヒラギノ角ゴ Pro W3" panose="020B0300000000000000" pitchFamily="34" charset="-128"/>
                  <a:cs typeface="Arial"/>
                </a:rPr>
                <a:t> um </a:t>
              </a:r>
              <a:r>
                <a:rPr lang="en-US" sz="1200" b="1" kern="0" dirty="0" err="1">
                  <a:solidFill>
                    <a:srgbClr val="FFFFFF"/>
                  </a:solidFill>
                  <a:ea typeface="ヒラギノ角ゴ Pro W3" panose="020B0300000000000000" pitchFamily="34" charset="-128"/>
                  <a:cs typeface="Arial"/>
                </a:rPr>
                <a:t>papel</a:t>
              </a:r>
              <a:r>
                <a:rPr lang="en-US" sz="1200" b="1" kern="0" dirty="0">
                  <a:solidFill>
                    <a:srgbClr val="FFFFFF"/>
                  </a:solidFill>
                  <a:ea typeface="ヒラギノ角ゴ Pro W3" panose="020B0300000000000000" pitchFamily="34" charset="-128"/>
                  <a:cs typeface="Arial"/>
                </a:rPr>
                <a:t> central </a:t>
              </a:r>
              <a:r>
                <a:rPr lang="en-US" sz="1200" b="1" kern="0" dirty="0" err="1">
                  <a:solidFill>
                    <a:srgbClr val="FFFFFF"/>
                  </a:solidFill>
                  <a:ea typeface="ヒラギノ角ゴ Pro W3" panose="020B0300000000000000" pitchFamily="34" charset="-128"/>
                  <a:cs typeface="Arial"/>
                </a:rPr>
                <a:t>na</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vigilância</a:t>
              </a:r>
              <a:r>
                <a:rPr lang="en-US" sz="1200" b="1" kern="0" dirty="0">
                  <a:solidFill>
                    <a:srgbClr val="FFFFFF"/>
                  </a:solidFill>
                  <a:ea typeface="ヒラギノ角ゴ Pro W3" panose="020B0300000000000000" pitchFamily="34" charset="-128"/>
                  <a:cs typeface="Arial"/>
                </a:rPr>
                <a:t> </a:t>
              </a:r>
              <a:r>
                <a:rPr lang="en-US" sz="1200" b="1" kern="0" dirty="0" err="1">
                  <a:solidFill>
                    <a:srgbClr val="FFFFFF"/>
                  </a:solidFill>
                  <a:ea typeface="ヒラギノ角ゴ Pro W3" panose="020B0300000000000000" pitchFamily="34" charset="-128"/>
                  <a:cs typeface="Arial"/>
                </a:rPr>
                <a:t>imunológica</a:t>
              </a:r>
              <a:r>
                <a:rPr lang="en-US" sz="1200" b="1" kern="0" dirty="0">
                  <a:solidFill>
                    <a:srgbClr val="FFFFFF"/>
                  </a:solidFill>
                  <a:ea typeface="ヒラギノ角ゴ Pro W3" panose="020B0300000000000000" pitchFamily="34" charset="-128"/>
                  <a:cs typeface="Arial"/>
                </a:rPr>
                <a:t> inata</a:t>
              </a:r>
              <a:r>
                <a:rPr lang="en-US" sz="1200" b="1" kern="0" baseline="30000" dirty="0">
                  <a:solidFill>
                    <a:srgbClr val="FFFFFF"/>
                  </a:solidFill>
                  <a:ea typeface="ヒラギノ角ゴ Pro W3" panose="020B0300000000000000" pitchFamily="34" charset="-128"/>
                  <a:cs typeface="Arial"/>
                </a:rPr>
                <a:t>3</a:t>
              </a:r>
              <a:endParaRPr lang="de-DE" sz="1200" b="1" kern="0" baseline="30000" dirty="0">
                <a:solidFill>
                  <a:srgbClr val="FFFFFF"/>
                </a:solidFill>
                <a:ea typeface="ヒラギノ角ゴ Pro W3" panose="020B0300000000000000" pitchFamily="34" charset="-128"/>
                <a:cs typeface="Arial"/>
              </a:endParaRPr>
            </a:p>
          </p:txBody>
        </p:sp>
      </p:grpSp>
    </p:spTree>
    <p:extLst>
      <p:ext uri="{BB962C8B-B14F-4D97-AF65-F5344CB8AC3E}">
        <p14:creationId xmlns:p14="http://schemas.microsoft.com/office/powerpoint/2010/main" val="394793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animEffect transition="in" filter="fade">
                                      <p:cBhvr>
                                        <p:cTn id="7" dur="500"/>
                                        <p:tgtEl>
                                          <p:spTgt spid="185"/>
                                        </p:tgtEl>
                                      </p:cBhvr>
                                    </p:animEffect>
                                  </p:childTnLst>
                                </p:cTn>
                              </p:par>
                              <p:par>
                                <p:cTn id="8" presetID="2" presetClass="entr" presetSubtype="8"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 calcmode="lin" valueType="num">
                                      <p:cBhvr additive="base">
                                        <p:cTn id="10" dur="500" fill="hold"/>
                                        <p:tgtEl>
                                          <p:spTgt spid="64"/>
                                        </p:tgtEl>
                                        <p:attrNameLst>
                                          <p:attrName>ppt_x</p:attrName>
                                        </p:attrNameLst>
                                      </p:cBhvr>
                                      <p:tavLst>
                                        <p:tav tm="0">
                                          <p:val>
                                            <p:strVal val="0-#ppt_w/2"/>
                                          </p:val>
                                        </p:tav>
                                        <p:tav tm="100000">
                                          <p:val>
                                            <p:strVal val="#ppt_x"/>
                                          </p:val>
                                        </p:tav>
                                      </p:tavLst>
                                    </p:anim>
                                    <p:anim calcmode="lin" valueType="num">
                                      <p:cBhvr additive="base">
                                        <p:cTn id="11" dur="500" fill="hold"/>
                                        <p:tgtEl>
                                          <p:spTgt spid="64"/>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198"/>
                                        </p:tgtEl>
                                        <p:attrNameLst>
                                          <p:attrName>style.visibility</p:attrName>
                                        </p:attrNameLst>
                                      </p:cBhvr>
                                      <p:to>
                                        <p:strVal val="visible"/>
                                      </p:to>
                                    </p:set>
                                    <p:animEffect transition="in" filter="wipe(left)">
                                      <p:cBhvr>
                                        <p:cTn id="24" dur="500"/>
                                        <p:tgtEl>
                                          <p:spTgt spid="19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06"/>
                                        </p:tgtEl>
                                        <p:attrNameLst>
                                          <p:attrName>style.visibility</p:attrName>
                                        </p:attrNameLst>
                                      </p:cBhvr>
                                      <p:to>
                                        <p:strVal val="visible"/>
                                      </p:to>
                                    </p:set>
                                    <p:animEffect transition="in" filter="fade">
                                      <p:cBhvr>
                                        <p:cTn id="28" dur="500"/>
                                        <p:tgtEl>
                                          <p:spTgt spid="206"/>
                                        </p:tgtEl>
                                      </p:cBhvr>
                                    </p:animEffect>
                                  </p:childTnLst>
                                </p:cTn>
                              </p:par>
                              <p:par>
                                <p:cTn id="29" presetID="22" presetClass="entr" presetSubtype="1" fill="hold" nodeType="withEffect">
                                  <p:stCondLst>
                                    <p:cond delay="0"/>
                                  </p:stCondLst>
                                  <p:childTnLst>
                                    <p:set>
                                      <p:cBhvr>
                                        <p:cTn id="30" dur="1" fill="hold">
                                          <p:stCondLst>
                                            <p:cond delay="0"/>
                                          </p:stCondLst>
                                        </p:cTn>
                                        <p:tgtEl>
                                          <p:spTgt spid="187"/>
                                        </p:tgtEl>
                                        <p:attrNameLst>
                                          <p:attrName>style.visibility</p:attrName>
                                        </p:attrNameLst>
                                      </p:cBhvr>
                                      <p:to>
                                        <p:strVal val="visible"/>
                                      </p:to>
                                    </p:set>
                                    <p:animEffect transition="in" filter="wipe(up)">
                                      <p:cBhvr>
                                        <p:cTn id="31" dur="500"/>
                                        <p:tgtEl>
                                          <p:spTgt spid="187"/>
                                        </p:tgtEl>
                                      </p:cBhvr>
                                    </p:animEffect>
                                  </p:childTnLst>
                                </p:cTn>
                              </p:par>
                              <p:par>
                                <p:cTn id="32" presetID="22" presetClass="entr" presetSubtype="1" fill="hold" nodeType="withEffect">
                                  <p:stCondLst>
                                    <p:cond delay="0"/>
                                  </p:stCondLst>
                                  <p:childTnLst>
                                    <p:set>
                                      <p:cBhvr>
                                        <p:cTn id="33" dur="1" fill="hold">
                                          <p:stCondLst>
                                            <p:cond delay="0"/>
                                          </p:stCondLst>
                                        </p:cTn>
                                        <p:tgtEl>
                                          <p:spTgt spid="188"/>
                                        </p:tgtEl>
                                        <p:attrNameLst>
                                          <p:attrName>style.visibility</p:attrName>
                                        </p:attrNameLst>
                                      </p:cBhvr>
                                      <p:to>
                                        <p:strVal val="visible"/>
                                      </p:to>
                                    </p:set>
                                    <p:animEffect transition="in" filter="wipe(up)">
                                      <p:cBhvr>
                                        <p:cTn id="34" dur="500"/>
                                        <p:tgtEl>
                                          <p:spTgt spid="188"/>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203"/>
                                        </p:tgtEl>
                                        <p:attrNameLst>
                                          <p:attrName>style.visibility</p:attrName>
                                        </p:attrNameLst>
                                      </p:cBhvr>
                                      <p:to>
                                        <p:strVal val="visible"/>
                                      </p:to>
                                    </p:set>
                                    <p:animEffect transition="in" filter="fade">
                                      <p:cBhvr>
                                        <p:cTn id="38" dur="1000"/>
                                        <p:tgtEl>
                                          <p:spTgt spid="203"/>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1000"/>
                                        <p:tgtEl>
                                          <p:spTgt spid="204"/>
                                        </p:tgtEl>
                                      </p:cBhvr>
                                    </p:animEffect>
                                  </p:childTnLst>
                                </p:cTn>
                              </p:par>
                            </p:childTnLst>
                          </p:cTn>
                        </p:par>
                        <p:par>
                          <p:cTn id="43" fill="hold">
                            <p:stCondLst>
                              <p:cond delay="4000"/>
                            </p:stCondLst>
                            <p:childTnLst>
                              <p:par>
                                <p:cTn id="44" presetID="10" presetClass="entr" presetSubtype="0" fill="hold" nodeType="afterEffect">
                                  <p:stCondLst>
                                    <p:cond delay="0"/>
                                  </p:stCondLst>
                                  <p:childTnLst>
                                    <p:set>
                                      <p:cBhvr>
                                        <p:cTn id="45" dur="1" fill="hold">
                                          <p:stCondLst>
                                            <p:cond delay="0"/>
                                          </p:stCondLst>
                                        </p:cTn>
                                        <p:tgtEl>
                                          <p:spTgt spid="205"/>
                                        </p:tgtEl>
                                        <p:attrNameLst>
                                          <p:attrName>style.visibility</p:attrName>
                                        </p:attrNameLst>
                                      </p:cBhvr>
                                      <p:to>
                                        <p:strVal val="visible"/>
                                      </p:to>
                                    </p:set>
                                    <p:animEffect transition="in" filter="fade">
                                      <p:cBhvr>
                                        <p:cTn id="46" dur="1000"/>
                                        <p:tgtEl>
                                          <p:spTgt spid="205"/>
                                        </p:tgtEl>
                                      </p:cBhvr>
                                    </p:animEffect>
                                  </p:childTnLst>
                                </p:cTn>
                              </p:par>
                            </p:childTnLst>
                          </p:cTn>
                        </p:par>
                        <p:par>
                          <p:cTn id="47" fill="hold">
                            <p:stCondLst>
                              <p:cond delay="5000"/>
                            </p:stCondLst>
                            <p:childTnLst>
                              <p:par>
                                <p:cTn id="48" presetID="10" presetClass="entr" presetSubtype="0" fill="hold" nodeType="afterEffect">
                                  <p:stCondLst>
                                    <p:cond delay="500"/>
                                  </p:stCondLst>
                                  <p:childTnLst>
                                    <p:set>
                                      <p:cBhvr>
                                        <p:cTn id="49" dur="1" fill="hold">
                                          <p:stCondLst>
                                            <p:cond delay="0"/>
                                          </p:stCondLst>
                                        </p:cTn>
                                        <p:tgtEl>
                                          <p:spTgt spid="209"/>
                                        </p:tgtEl>
                                        <p:attrNameLst>
                                          <p:attrName>style.visibility</p:attrName>
                                        </p:attrNameLst>
                                      </p:cBhvr>
                                      <p:to>
                                        <p:strVal val="visible"/>
                                      </p:to>
                                    </p:set>
                                    <p:animEffect transition="in" filter="fade">
                                      <p:cBhvr>
                                        <p:cTn id="50"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64" grpId="0" animBg="1"/>
      <p:bldP spid="7" grpId="0"/>
      <p:bldP spid="8" grpId="0"/>
      <p:bldP spid="1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tângulo: Cantos Arredondados 83">
            <a:extLst>
              <a:ext uri="{FF2B5EF4-FFF2-40B4-BE49-F238E27FC236}">
                <a16:creationId xmlns:a16="http://schemas.microsoft.com/office/drawing/2014/main" id="{7E353CBA-7706-048D-4E88-3B6EF80BD60A}"/>
              </a:ext>
            </a:extLst>
          </p:cNvPr>
          <p:cNvSpPr/>
          <p:nvPr/>
        </p:nvSpPr>
        <p:spPr>
          <a:xfrm flipH="1">
            <a:off x="5527007" y="282462"/>
            <a:ext cx="6368724" cy="5763335"/>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385036"/>
            <a:ext cx="5097071" cy="2751522"/>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O sistema do complemento precisa </a:t>
            </a:r>
            <a:br>
              <a:rPr lang="pt-BR" sz="3600" b="1" dirty="0">
                <a:gradFill>
                  <a:gsLst>
                    <a:gs pos="0">
                      <a:schemeClr val="accent1"/>
                    </a:gs>
                    <a:gs pos="100000">
                      <a:schemeClr val="bg2"/>
                    </a:gs>
                  </a:gsLst>
                  <a:lin ang="2700000" scaled="0"/>
                </a:gradFill>
                <a:latin typeface="Calisto MT"/>
              </a:rPr>
            </a:br>
            <a:r>
              <a:rPr lang="pt-BR" sz="3600" b="1" dirty="0">
                <a:gradFill>
                  <a:gsLst>
                    <a:gs pos="0">
                      <a:schemeClr val="accent1"/>
                    </a:gs>
                    <a:gs pos="100000">
                      <a:schemeClr val="bg2"/>
                    </a:gs>
                  </a:gsLst>
                  <a:lin ang="2700000" scaled="0"/>
                </a:gradFill>
                <a:latin typeface="Calisto MT"/>
              </a:rPr>
              <a:t>ser cuidadosamente regulado para prevenir danos às células hospedeiras</a:t>
            </a:r>
            <a:r>
              <a:rPr lang="pt-BR" sz="3600" b="1" baseline="30000" dirty="0">
                <a:gradFill>
                  <a:gsLst>
                    <a:gs pos="0">
                      <a:schemeClr val="accent1"/>
                    </a:gs>
                    <a:gs pos="100000">
                      <a:schemeClr val="bg2"/>
                    </a:gs>
                  </a:gsLst>
                  <a:lin ang="2700000" scaled="0"/>
                </a:gradFill>
                <a:latin typeface="Calisto MT"/>
              </a:rPr>
              <a:t>1</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37711" y="6329102"/>
            <a:ext cx="9729787" cy="565786"/>
          </a:xfrm>
        </p:spPr>
        <p:txBody>
          <a:bodyPr/>
          <a:lstStyle/>
          <a:p>
            <a:r>
              <a:rPr lang="en-US" sz="700" dirty="0"/>
              <a:t>GPI, </a:t>
            </a:r>
            <a:r>
              <a:rPr lang="en-US" sz="700" dirty="0" err="1"/>
              <a:t>glicosilfosfatidilinositol</a:t>
            </a:r>
            <a:r>
              <a:rPr lang="en-US" sz="700" dirty="0"/>
              <a:t>.</a:t>
            </a:r>
          </a:p>
          <a:p>
            <a:endParaRPr lang="en-US" sz="700" dirty="0"/>
          </a:p>
          <a:p>
            <a:r>
              <a:rPr lang="en-US" sz="700" dirty="0"/>
              <a:t>* </a:t>
            </a:r>
            <a:r>
              <a:rPr lang="en-US" sz="700" dirty="0" err="1"/>
              <a:t>Também</a:t>
            </a:r>
            <a:r>
              <a:rPr lang="en-US" sz="700" dirty="0"/>
              <a:t> </a:t>
            </a:r>
            <a:r>
              <a:rPr lang="en-US" sz="700" dirty="0" err="1"/>
              <a:t>conhecido</a:t>
            </a:r>
            <a:r>
              <a:rPr lang="en-US" sz="700" dirty="0"/>
              <a:t> </a:t>
            </a:r>
            <a:r>
              <a:rPr lang="en-US" sz="700" dirty="0" err="1"/>
              <a:t>como</a:t>
            </a:r>
            <a:r>
              <a:rPr lang="en-US" sz="700" dirty="0"/>
              <a:t> </a:t>
            </a:r>
            <a:r>
              <a:rPr lang="en-US" sz="700" dirty="0" err="1"/>
              <a:t>proteína</a:t>
            </a:r>
            <a:r>
              <a:rPr lang="en-US" sz="700" dirty="0"/>
              <a:t> do </a:t>
            </a:r>
            <a:r>
              <a:rPr lang="en-US" sz="700" dirty="0" err="1"/>
              <a:t>cofator</a:t>
            </a:r>
            <a:r>
              <a:rPr lang="en-US" sz="700" dirty="0"/>
              <a:t> de membrana.</a:t>
            </a:r>
          </a:p>
          <a:p>
            <a:pPr algn="l" fontAlgn="base"/>
            <a:r>
              <a:rPr lang="en-US" sz="700" b="0" i="0" dirty="0">
                <a:solidFill>
                  <a:srgbClr val="1D1D1D"/>
                </a:solidFill>
                <a:effectLst/>
                <a:latin typeface="Arial" panose="020B0604020202020204" pitchFamily="34" charset="0"/>
              </a:rPr>
              <a:t>1.Brown KM, Sacks SH, Sheerin NS. Mechanisms of disease: the complement system in renal injury--new ways of looking at an old foe. Nat Clin </a:t>
            </a:r>
            <a:r>
              <a:rPr lang="en-US" sz="700" b="0" i="0" dirty="0" err="1">
                <a:solidFill>
                  <a:srgbClr val="1D1D1D"/>
                </a:solidFill>
                <a:effectLst/>
                <a:latin typeface="Arial" panose="020B0604020202020204" pitchFamily="34" charset="0"/>
              </a:rPr>
              <a:t>Pract</a:t>
            </a:r>
            <a:r>
              <a:rPr lang="en-US" sz="700" b="0" i="0" dirty="0">
                <a:solidFill>
                  <a:srgbClr val="1D1D1D"/>
                </a:solidFill>
                <a:effectLst/>
                <a:latin typeface="Arial" panose="020B0604020202020204" pitchFamily="34" charset="0"/>
              </a:rPr>
              <a:t> Nephrol. 2007 May;3(5):277-86.</a:t>
            </a:r>
          </a:p>
          <a:p>
            <a:pPr algn="l" fontAlgn="base"/>
            <a:r>
              <a:rPr lang="en-US" sz="700" b="0" i="0" dirty="0">
                <a:solidFill>
                  <a:srgbClr val="1D1D1D"/>
                </a:solidFill>
                <a:effectLst/>
                <a:latin typeface="Arial" panose="020B0604020202020204" pitchFamily="34" charset="0"/>
              </a:rPr>
              <a:t>2. Zipfel PF, </a:t>
            </a:r>
            <a:r>
              <a:rPr lang="en-US" sz="700" b="0" i="0" dirty="0" err="1">
                <a:solidFill>
                  <a:srgbClr val="1D1D1D"/>
                </a:solidFill>
                <a:effectLst/>
                <a:latin typeface="Arial" panose="020B0604020202020204" pitchFamily="34" charset="0"/>
              </a:rPr>
              <a:t>Skerka</a:t>
            </a:r>
            <a:r>
              <a:rPr lang="en-US" sz="700" b="0" i="0" dirty="0">
                <a:solidFill>
                  <a:srgbClr val="1D1D1D"/>
                </a:solidFill>
                <a:effectLst/>
                <a:latin typeface="Arial" panose="020B0604020202020204" pitchFamily="34" charset="0"/>
              </a:rPr>
              <a:t> C. Complement regulators and inhibitory proteins. Nat Rev Immunol. 2009 Oct;9(10):729-40.</a:t>
            </a:r>
          </a:p>
          <a:p>
            <a:endParaRPr lang="en-US" sz="700" dirty="0"/>
          </a:p>
        </p:txBody>
      </p:sp>
      <p:grpSp>
        <p:nvGrpSpPr>
          <p:cNvPr id="111" name="Agrupar 110">
            <a:extLst>
              <a:ext uri="{FF2B5EF4-FFF2-40B4-BE49-F238E27FC236}">
                <a16:creationId xmlns:a16="http://schemas.microsoft.com/office/drawing/2014/main" id="{A887C2ED-47DC-A999-0188-ECA49A292A5A}"/>
              </a:ext>
            </a:extLst>
          </p:cNvPr>
          <p:cNvGrpSpPr/>
          <p:nvPr/>
        </p:nvGrpSpPr>
        <p:grpSpPr>
          <a:xfrm>
            <a:off x="5756717" y="520424"/>
            <a:ext cx="6148539" cy="5421576"/>
            <a:chOff x="5756717" y="520424"/>
            <a:chExt cx="6148539" cy="5421576"/>
          </a:xfrm>
        </p:grpSpPr>
        <p:cxnSp>
          <p:nvCxnSpPr>
            <p:cNvPr id="8" name="Straight Connector 11">
              <a:extLst>
                <a:ext uri="{FF2B5EF4-FFF2-40B4-BE49-F238E27FC236}">
                  <a16:creationId xmlns:a16="http://schemas.microsoft.com/office/drawing/2014/main" id="{A652AEEB-A067-D9C8-BB61-0B07C0670FA1}"/>
                </a:ext>
              </a:extLst>
            </p:cNvPr>
            <p:cNvCxnSpPr/>
            <p:nvPr/>
          </p:nvCxnSpPr>
          <p:spPr>
            <a:xfrm flipH="1">
              <a:off x="7629731" y="1379071"/>
              <a:ext cx="989963" cy="1098603"/>
            </a:xfrm>
            <a:prstGeom prst="line">
              <a:avLst/>
            </a:prstGeom>
            <a:noFill/>
            <a:ln w="38100" cap="flat" cmpd="sng" algn="ctr">
              <a:solidFill>
                <a:schemeClr val="bg1">
                  <a:lumMod val="75000"/>
                </a:schemeClr>
              </a:solidFill>
              <a:prstDash val="solid"/>
            </a:ln>
            <a:effectLst/>
          </p:spPr>
        </p:cxnSp>
        <p:cxnSp>
          <p:nvCxnSpPr>
            <p:cNvPr id="9" name="Straight Arrow Connector 58">
              <a:extLst>
                <a:ext uri="{FF2B5EF4-FFF2-40B4-BE49-F238E27FC236}">
                  <a16:creationId xmlns:a16="http://schemas.microsoft.com/office/drawing/2014/main" id="{B34BDB87-FFE6-D24B-9681-ADA5B9790151}"/>
                </a:ext>
              </a:extLst>
            </p:cNvPr>
            <p:cNvCxnSpPr>
              <a:stCxn id="10" idx="3"/>
            </p:cNvCxnSpPr>
            <p:nvPr/>
          </p:nvCxnSpPr>
          <p:spPr>
            <a:xfrm>
              <a:off x="7176720" y="2394684"/>
              <a:ext cx="269638" cy="3427"/>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sp>
          <p:nvSpPr>
            <p:cNvPr id="10" name="Rounded Rectangle 82">
              <a:extLst>
                <a:ext uri="{FF2B5EF4-FFF2-40B4-BE49-F238E27FC236}">
                  <a16:creationId xmlns:a16="http://schemas.microsoft.com/office/drawing/2014/main" id="{F918B8A1-0910-7685-6428-36B4E2D33BA0}"/>
                </a:ext>
              </a:extLst>
            </p:cNvPr>
            <p:cNvSpPr/>
            <p:nvPr/>
          </p:nvSpPr>
          <p:spPr>
            <a:xfrm>
              <a:off x="6294626" y="2280598"/>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Fator I</a:t>
              </a:r>
            </a:p>
          </p:txBody>
        </p:sp>
        <p:sp>
          <p:nvSpPr>
            <p:cNvPr id="11" name="Rounded Rectangle 81">
              <a:extLst>
                <a:ext uri="{FF2B5EF4-FFF2-40B4-BE49-F238E27FC236}">
                  <a16:creationId xmlns:a16="http://schemas.microsoft.com/office/drawing/2014/main" id="{0AE8BD86-7B43-F78E-EF49-831A90585160}"/>
                </a:ext>
              </a:extLst>
            </p:cNvPr>
            <p:cNvSpPr/>
            <p:nvPr/>
          </p:nvSpPr>
          <p:spPr>
            <a:xfrm>
              <a:off x="9948800" y="3388895"/>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Fator I</a:t>
              </a:r>
            </a:p>
          </p:txBody>
        </p:sp>
        <p:sp>
          <p:nvSpPr>
            <p:cNvPr id="12" name="Rounded Rectangle 43">
              <a:extLst>
                <a:ext uri="{FF2B5EF4-FFF2-40B4-BE49-F238E27FC236}">
                  <a16:creationId xmlns:a16="http://schemas.microsoft.com/office/drawing/2014/main" id="{43DF29A4-008B-3F9D-178C-2FEF136F4DE7}"/>
                </a:ext>
              </a:extLst>
            </p:cNvPr>
            <p:cNvSpPr/>
            <p:nvPr/>
          </p:nvSpPr>
          <p:spPr>
            <a:xfrm>
              <a:off x="8833491" y="4051023"/>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err="1">
                  <a:ln>
                    <a:noFill/>
                  </a:ln>
                  <a:solidFill>
                    <a:schemeClr val="bg1"/>
                  </a:solidFill>
                  <a:effectLst/>
                  <a:uLnTx/>
                  <a:uFillTx/>
                  <a:cs typeface="Arial"/>
                </a:rPr>
                <a:t>Clusterina</a:t>
              </a:r>
              <a:endParaRPr kumimoji="0" lang="pt-BR" sz="1000" b="1" i="0" u="none" strike="noStrike" kern="0" cap="none" spc="0" normalizeH="0" baseline="0" noProof="0" dirty="0">
                <a:ln>
                  <a:noFill/>
                </a:ln>
                <a:solidFill>
                  <a:schemeClr val="bg1"/>
                </a:solidFill>
                <a:effectLst/>
                <a:uLnTx/>
                <a:uFillTx/>
                <a:cs typeface="Arial"/>
              </a:endParaRPr>
            </a:p>
          </p:txBody>
        </p:sp>
        <p:grpSp>
          <p:nvGrpSpPr>
            <p:cNvPr id="13" name="Group 23">
              <a:extLst>
                <a:ext uri="{FF2B5EF4-FFF2-40B4-BE49-F238E27FC236}">
                  <a16:creationId xmlns:a16="http://schemas.microsoft.com/office/drawing/2014/main" id="{A4D91F09-E7FD-A869-4C7D-2F1CAF332313}"/>
                </a:ext>
              </a:extLst>
            </p:cNvPr>
            <p:cNvGrpSpPr/>
            <p:nvPr/>
          </p:nvGrpSpPr>
          <p:grpSpPr>
            <a:xfrm>
              <a:off x="8110812" y="4261377"/>
              <a:ext cx="267503" cy="70661"/>
              <a:chOff x="6027174" y="4463548"/>
              <a:chExt cx="267503" cy="70661"/>
            </a:xfrm>
            <a:effectLst/>
          </p:grpSpPr>
          <p:cxnSp>
            <p:nvCxnSpPr>
              <p:cNvPr id="14" name="Straight Arrow Connector 65">
                <a:extLst>
                  <a:ext uri="{FF2B5EF4-FFF2-40B4-BE49-F238E27FC236}">
                    <a16:creationId xmlns:a16="http://schemas.microsoft.com/office/drawing/2014/main" id="{53212115-75BF-3BEA-6DB5-EEE551FCAB0F}"/>
                  </a:ext>
                </a:extLst>
              </p:cNvPr>
              <p:cNvCxnSpPr/>
              <p:nvPr/>
            </p:nvCxnSpPr>
            <p:spPr>
              <a:xfrm>
                <a:off x="6027174" y="4498879"/>
                <a:ext cx="267503" cy="0"/>
              </a:xfrm>
              <a:prstGeom prst="straightConnector1">
                <a:avLst/>
              </a:prstGeom>
              <a:noFill/>
              <a:ln w="28575" cap="flat" cmpd="sng" algn="ctr">
                <a:solidFill>
                  <a:schemeClr val="accent3"/>
                </a:solidFill>
                <a:prstDash val="solid"/>
                <a:tailEnd type="none"/>
              </a:ln>
              <a:effectLst/>
            </p:spPr>
          </p:cxnSp>
          <p:cxnSp>
            <p:nvCxnSpPr>
              <p:cNvPr id="15" name="Straight Arrow Connector 62">
                <a:extLst>
                  <a:ext uri="{FF2B5EF4-FFF2-40B4-BE49-F238E27FC236}">
                    <a16:creationId xmlns:a16="http://schemas.microsoft.com/office/drawing/2014/main" id="{B2438275-9B1B-E20B-B9C2-2A1C5DE8F8C4}"/>
                  </a:ext>
                </a:extLst>
              </p:cNvPr>
              <p:cNvCxnSpPr/>
              <p:nvPr/>
            </p:nvCxnSpPr>
            <p:spPr>
              <a:xfrm flipH="1" flipV="1">
                <a:off x="6294677" y="4463548"/>
                <a:ext cx="0" cy="70661"/>
              </a:xfrm>
              <a:prstGeom prst="straightConnector1">
                <a:avLst/>
              </a:prstGeom>
              <a:noFill/>
              <a:ln w="28575" cap="flat" cmpd="sng" algn="ctr">
                <a:solidFill>
                  <a:schemeClr val="accent3"/>
                </a:solidFill>
                <a:prstDash val="solid"/>
                <a:tailEnd type="none"/>
              </a:ln>
              <a:effectLst/>
            </p:spPr>
          </p:cxnSp>
        </p:grpSp>
        <p:sp>
          <p:nvSpPr>
            <p:cNvPr id="16" name="Rounded Rectangle 70">
              <a:extLst>
                <a:ext uri="{FF2B5EF4-FFF2-40B4-BE49-F238E27FC236}">
                  <a16:creationId xmlns:a16="http://schemas.microsoft.com/office/drawing/2014/main" id="{0CFEC9C5-38A3-4FB5-0444-1552B9ECC7D5}"/>
                </a:ext>
              </a:extLst>
            </p:cNvPr>
            <p:cNvSpPr/>
            <p:nvPr/>
          </p:nvSpPr>
          <p:spPr>
            <a:xfrm>
              <a:off x="7170221" y="4165108"/>
              <a:ext cx="936036" cy="228171"/>
            </a:xfrm>
            <a:prstGeom prst="roundRect">
              <a:avLst>
                <a:gd name="adj" fmla="val 0"/>
              </a:avLst>
            </a:prstGeom>
            <a:solidFill>
              <a:schemeClr val="accent3"/>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D59</a:t>
              </a:r>
            </a:p>
          </p:txBody>
        </p:sp>
        <p:cxnSp>
          <p:nvCxnSpPr>
            <p:cNvPr id="17" name="Straight Arrow Connector 79">
              <a:extLst>
                <a:ext uri="{FF2B5EF4-FFF2-40B4-BE49-F238E27FC236}">
                  <a16:creationId xmlns:a16="http://schemas.microsoft.com/office/drawing/2014/main" id="{9E880965-8991-7FF5-8900-DDE60EAAED00}"/>
                </a:ext>
              </a:extLst>
            </p:cNvPr>
            <p:cNvCxnSpPr/>
            <p:nvPr/>
          </p:nvCxnSpPr>
          <p:spPr>
            <a:xfrm flipH="1">
              <a:off x="9013929" y="3505611"/>
              <a:ext cx="925707" cy="0"/>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cxnSp>
          <p:nvCxnSpPr>
            <p:cNvPr id="21" name="Straight Arrow Connector 53">
              <a:extLst>
                <a:ext uri="{FF2B5EF4-FFF2-40B4-BE49-F238E27FC236}">
                  <a16:creationId xmlns:a16="http://schemas.microsoft.com/office/drawing/2014/main" id="{928781E4-6CAB-75CC-4C73-62B4608C3608}"/>
                </a:ext>
              </a:extLst>
            </p:cNvPr>
            <p:cNvCxnSpPr>
              <a:stCxn id="80" idx="3"/>
            </p:cNvCxnSpPr>
            <p:nvPr/>
          </p:nvCxnSpPr>
          <p:spPr>
            <a:xfrm flipV="1">
              <a:off x="6920874" y="1903315"/>
              <a:ext cx="131653" cy="2668"/>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cxnSp>
          <p:nvCxnSpPr>
            <p:cNvPr id="22" name="Straight Arrow Connector 59">
              <a:extLst>
                <a:ext uri="{FF2B5EF4-FFF2-40B4-BE49-F238E27FC236}">
                  <a16:creationId xmlns:a16="http://schemas.microsoft.com/office/drawing/2014/main" id="{D0FE40D5-EE55-3BBB-0F83-7FF095BFC815}"/>
                </a:ext>
              </a:extLst>
            </p:cNvPr>
            <p:cNvCxnSpPr>
              <a:stCxn id="79" idx="3"/>
            </p:cNvCxnSpPr>
            <p:nvPr/>
          </p:nvCxnSpPr>
          <p:spPr>
            <a:xfrm>
              <a:off x="7360092" y="2605738"/>
              <a:ext cx="269638" cy="475"/>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cxnSp>
          <p:nvCxnSpPr>
            <p:cNvPr id="23" name="Straight Connector 7">
              <a:extLst>
                <a:ext uri="{FF2B5EF4-FFF2-40B4-BE49-F238E27FC236}">
                  <a16:creationId xmlns:a16="http://schemas.microsoft.com/office/drawing/2014/main" id="{E1F4D0D8-A1CB-17EC-C92C-7A4C2B02B662}"/>
                </a:ext>
              </a:extLst>
            </p:cNvPr>
            <p:cNvCxnSpPr/>
            <p:nvPr/>
          </p:nvCxnSpPr>
          <p:spPr>
            <a:xfrm>
              <a:off x="6661581" y="1314685"/>
              <a:ext cx="1823092" cy="2193987"/>
            </a:xfrm>
            <a:prstGeom prst="line">
              <a:avLst/>
            </a:prstGeom>
            <a:noFill/>
            <a:ln w="38100" cap="flat" cmpd="sng" algn="ctr">
              <a:solidFill>
                <a:schemeClr val="bg1">
                  <a:lumMod val="75000"/>
                </a:schemeClr>
              </a:solidFill>
              <a:prstDash val="solid"/>
            </a:ln>
            <a:effectLst/>
          </p:spPr>
        </p:cxnSp>
        <p:cxnSp>
          <p:nvCxnSpPr>
            <p:cNvPr id="24" name="Straight Connector 15">
              <a:extLst>
                <a:ext uri="{FF2B5EF4-FFF2-40B4-BE49-F238E27FC236}">
                  <a16:creationId xmlns:a16="http://schemas.microsoft.com/office/drawing/2014/main" id="{B8BEAFB0-5974-955B-6D5D-3B3FA4596316}"/>
                </a:ext>
              </a:extLst>
            </p:cNvPr>
            <p:cNvCxnSpPr/>
            <p:nvPr/>
          </p:nvCxnSpPr>
          <p:spPr>
            <a:xfrm flipH="1">
              <a:off x="8484673" y="1124172"/>
              <a:ext cx="2008034" cy="2384499"/>
            </a:xfrm>
            <a:prstGeom prst="line">
              <a:avLst/>
            </a:prstGeom>
            <a:noFill/>
            <a:ln w="38100" cap="flat" cmpd="sng" algn="ctr">
              <a:solidFill>
                <a:schemeClr val="bg1">
                  <a:lumMod val="75000"/>
                </a:schemeClr>
              </a:solidFill>
              <a:prstDash val="solid"/>
            </a:ln>
            <a:effectLst/>
          </p:spPr>
        </p:cxnSp>
        <p:cxnSp>
          <p:nvCxnSpPr>
            <p:cNvPr id="26" name="Straight Arrow Connector 29">
              <a:extLst>
                <a:ext uri="{FF2B5EF4-FFF2-40B4-BE49-F238E27FC236}">
                  <a16:creationId xmlns:a16="http://schemas.microsoft.com/office/drawing/2014/main" id="{766D9287-D1A1-E2DE-94F4-408C8B8E79F1}"/>
                </a:ext>
              </a:extLst>
            </p:cNvPr>
            <p:cNvCxnSpPr/>
            <p:nvPr/>
          </p:nvCxnSpPr>
          <p:spPr>
            <a:xfrm flipH="1">
              <a:off x="8493124" y="3508671"/>
              <a:ext cx="0" cy="1546495"/>
            </a:xfrm>
            <a:prstGeom prst="straightConnector1">
              <a:avLst/>
            </a:prstGeom>
            <a:noFill/>
            <a:ln w="19050" cap="flat" cmpd="sng" algn="ctr">
              <a:solidFill>
                <a:schemeClr val="accent1"/>
              </a:solidFill>
              <a:prstDash val="solid"/>
              <a:headEnd type="none" w="med" len="med"/>
              <a:tailEnd type="arrow" w="med" len="med"/>
            </a:ln>
            <a:effectLst/>
          </p:spPr>
        </p:cxnSp>
        <p:sp>
          <p:nvSpPr>
            <p:cNvPr id="27" name="Rectangle 2">
              <a:extLst>
                <a:ext uri="{FF2B5EF4-FFF2-40B4-BE49-F238E27FC236}">
                  <a16:creationId xmlns:a16="http://schemas.microsoft.com/office/drawing/2014/main" id="{07B240C9-A977-FC1B-FDD9-BD8E7A19FB4A}"/>
                </a:ext>
              </a:extLst>
            </p:cNvPr>
            <p:cNvSpPr/>
            <p:nvPr/>
          </p:nvSpPr>
          <p:spPr>
            <a:xfrm>
              <a:off x="5996206" y="1081918"/>
              <a:ext cx="1574632" cy="410233"/>
            </a:xfrm>
            <a:prstGeom prst="rect">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r>
                <a:rPr lang="pt-BR" sz="1400" b="1" dirty="0">
                  <a:solidFill>
                    <a:srgbClr val="FFFFFF"/>
                  </a:solidFill>
                  <a:latin typeface="+mj-lt"/>
                </a:rPr>
                <a:t>Via clássica</a:t>
              </a:r>
            </a:p>
          </p:txBody>
        </p:sp>
        <p:sp>
          <p:nvSpPr>
            <p:cNvPr id="28" name="Rectangle 4">
              <a:extLst>
                <a:ext uri="{FF2B5EF4-FFF2-40B4-BE49-F238E27FC236}">
                  <a16:creationId xmlns:a16="http://schemas.microsoft.com/office/drawing/2014/main" id="{EC123E0A-2059-47D5-32EA-47E883CC6B6F}"/>
                </a:ext>
              </a:extLst>
            </p:cNvPr>
            <p:cNvSpPr/>
            <p:nvPr/>
          </p:nvSpPr>
          <p:spPr>
            <a:xfrm>
              <a:off x="7757471" y="1081918"/>
              <a:ext cx="1574632" cy="410233"/>
            </a:xfrm>
            <a:prstGeom prst="rect">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pt-BR" sz="1400" b="1">
                  <a:solidFill>
                    <a:srgbClr val="FFFFFF"/>
                  </a:solidFill>
                  <a:latin typeface="+mj-lt"/>
                </a:rPr>
                <a:t>Via da lectina</a:t>
              </a:r>
            </a:p>
          </p:txBody>
        </p:sp>
        <p:sp>
          <p:nvSpPr>
            <p:cNvPr id="30" name="Rectangle 5">
              <a:extLst>
                <a:ext uri="{FF2B5EF4-FFF2-40B4-BE49-F238E27FC236}">
                  <a16:creationId xmlns:a16="http://schemas.microsoft.com/office/drawing/2014/main" id="{689E29B8-4004-1C4E-96DE-A2DB82C15027}"/>
                </a:ext>
              </a:extLst>
            </p:cNvPr>
            <p:cNvSpPr/>
            <p:nvPr/>
          </p:nvSpPr>
          <p:spPr>
            <a:xfrm>
              <a:off x="9518736" y="1081918"/>
              <a:ext cx="1574632" cy="410233"/>
            </a:xfrm>
            <a:prstGeom prst="rect">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pt-BR" sz="1400" b="1" dirty="0">
                  <a:solidFill>
                    <a:srgbClr val="FFFFFF"/>
                  </a:solidFill>
                  <a:latin typeface="+mj-lt"/>
                </a:rPr>
                <a:t>Via alternativa</a:t>
              </a:r>
            </a:p>
          </p:txBody>
        </p:sp>
        <p:sp>
          <p:nvSpPr>
            <p:cNvPr id="31" name="Rectangle 30">
              <a:extLst>
                <a:ext uri="{FF2B5EF4-FFF2-40B4-BE49-F238E27FC236}">
                  <a16:creationId xmlns:a16="http://schemas.microsoft.com/office/drawing/2014/main" id="{A9009A7E-83DE-2076-E428-CA7562743328}"/>
                </a:ext>
              </a:extLst>
            </p:cNvPr>
            <p:cNvSpPr/>
            <p:nvPr/>
          </p:nvSpPr>
          <p:spPr>
            <a:xfrm>
              <a:off x="8009051" y="3303220"/>
              <a:ext cx="968149" cy="410233"/>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3 e C5 convertases</a:t>
              </a:r>
            </a:p>
          </p:txBody>
        </p:sp>
        <p:sp>
          <p:nvSpPr>
            <p:cNvPr id="34" name="Rectangle 31">
              <a:extLst>
                <a:ext uri="{FF2B5EF4-FFF2-40B4-BE49-F238E27FC236}">
                  <a16:creationId xmlns:a16="http://schemas.microsoft.com/office/drawing/2014/main" id="{345D75F9-ACC6-9383-A9EA-6BF9CFED479E}"/>
                </a:ext>
              </a:extLst>
            </p:cNvPr>
            <p:cNvSpPr/>
            <p:nvPr/>
          </p:nvSpPr>
          <p:spPr>
            <a:xfrm>
              <a:off x="8009051" y="5100354"/>
              <a:ext cx="968149" cy="410233"/>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5b-9 (MAC)</a:t>
              </a:r>
            </a:p>
          </p:txBody>
        </p:sp>
        <p:sp>
          <p:nvSpPr>
            <p:cNvPr id="35" name="Rounded Rectangle 46">
              <a:extLst>
                <a:ext uri="{FF2B5EF4-FFF2-40B4-BE49-F238E27FC236}">
                  <a16:creationId xmlns:a16="http://schemas.microsoft.com/office/drawing/2014/main" id="{C1C6D60D-7F30-A64F-E07B-305BAE365772}"/>
                </a:ext>
              </a:extLst>
            </p:cNvPr>
            <p:cNvSpPr/>
            <p:nvPr/>
          </p:nvSpPr>
          <p:spPr>
            <a:xfrm>
              <a:off x="9240675" y="3576761"/>
              <a:ext cx="936036" cy="228171"/>
            </a:xfrm>
            <a:prstGeom prst="roundRect">
              <a:avLst>
                <a:gd name="adj" fmla="val 0"/>
              </a:avLst>
            </a:prstGeom>
            <a:solidFill>
              <a:schemeClr val="accent3"/>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D46*</a:t>
              </a:r>
            </a:p>
          </p:txBody>
        </p:sp>
        <p:sp>
          <p:nvSpPr>
            <p:cNvPr id="36" name="TextBox 68">
              <a:extLst>
                <a:ext uri="{FF2B5EF4-FFF2-40B4-BE49-F238E27FC236}">
                  <a16:creationId xmlns:a16="http://schemas.microsoft.com/office/drawing/2014/main" id="{F055ED4F-AC5C-9C66-DDE0-E737EC8FFF3C}"/>
                </a:ext>
              </a:extLst>
            </p:cNvPr>
            <p:cNvSpPr txBox="1"/>
            <p:nvPr/>
          </p:nvSpPr>
          <p:spPr>
            <a:xfrm>
              <a:off x="10279691" y="4807356"/>
              <a:ext cx="1273856" cy="298993"/>
            </a:xfrm>
            <a:prstGeom prst="rect">
              <a:avLst/>
            </a:prstGeom>
            <a:noFill/>
            <a:ln>
              <a:noFill/>
            </a:ln>
            <a:effectLst/>
          </p:spPr>
          <p:txBody>
            <a:bodyPr wrap="square" rtlCol="0">
              <a:spAutoFit/>
            </a:bodyPr>
            <a:lstStyle/>
            <a:p>
              <a:pPr>
                <a:lnSpc>
                  <a:spcPts val="800"/>
                </a:lnSpc>
              </a:pPr>
              <a:r>
                <a:rPr lang="pt-BR" sz="800" dirty="0">
                  <a:cs typeface="Arial"/>
                </a:rPr>
                <a:t>Inibidores do </a:t>
              </a:r>
              <a:r>
                <a:rPr lang="pt-BR" sz="800" b="1" dirty="0">
                  <a:cs typeface="Arial"/>
                </a:rPr>
                <a:t>complemento sérico</a:t>
              </a:r>
            </a:p>
          </p:txBody>
        </p:sp>
        <p:sp>
          <p:nvSpPr>
            <p:cNvPr id="37" name="TextBox 69">
              <a:extLst>
                <a:ext uri="{FF2B5EF4-FFF2-40B4-BE49-F238E27FC236}">
                  <a16:creationId xmlns:a16="http://schemas.microsoft.com/office/drawing/2014/main" id="{2274489D-F75D-2CAF-3174-FE6F65CD4D74}"/>
                </a:ext>
              </a:extLst>
            </p:cNvPr>
            <p:cNvSpPr txBox="1"/>
            <p:nvPr/>
          </p:nvSpPr>
          <p:spPr>
            <a:xfrm>
              <a:off x="10266908" y="5175272"/>
              <a:ext cx="1638348" cy="298993"/>
            </a:xfrm>
            <a:prstGeom prst="rect">
              <a:avLst/>
            </a:prstGeom>
            <a:noFill/>
            <a:ln>
              <a:noFill/>
            </a:ln>
            <a:effectLst/>
          </p:spPr>
          <p:txBody>
            <a:bodyPr wrap="square" rtlCol="0">
              <a:spAutoFit/>
            </a:bodyPr>
            <a:lstStyle/>
            <a:p>
              <a:pPr>
                <a:lnSpc>
                  <a:spcPts val="800"/>
                </a:lnSpc>
              </a:pPr>
              <a:r>
                <a:rPr lang="pt-BR" sz="800" dirty="0">
                  <a:cs typeface="Arial"/>
                </a:rPr>
                <a:t>Inibidores do complemento da </a:t>
              </a:r>
              <a:r>
                <a:rPr lang="pt-BR" sz="800" b="1" dirty="0">
                  <a:cs typeface="Arial"/>
                </a:rPr>
                <a:t>superfície celular</a:t>
              </a:r>
            </a:p>
          </p:txBody>
        </p:sp>
        <p:cxnSp>
          <p:nvCxnSpPr>
            <p:cNvPr id="40" name="Straight Arrow Connector 72">
              <a:extLst>
                <a:ext uri="{FF2B5EF4-FFF2-40B4-BE49-F238E27FC236}">
                  <a16:creationId xmlns:a16="http://schemas.microsoft.com/office/drawing/2014/main" id="{0A715164-C5AA-997D-EDC2-4E21775DBF23}"/>
                </a:ext>
              </a:extLst>
            </p:cNvPr>
            <p:cNvCxnSpPr/>
            <p:nvPr/>
          </p:nvCxnSpPr>
          <p:spPr>
            <a:xfrm flipH="1">
              <a:off x="8574320" y="4165107"/>
              <a:ext cx="253524" cy="0"/>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cxnSp>
          <p:nvCxnSpPr>
            <p:cNvPr id="49" name="Straight Arrow Connector 76">
              <a:extLst>
                <a:ext uri="{FF2B5EF4-FFF2-40B4-BE49-F238E27FC236}">
                  <a16:creationId xmlns:a16="http://schemas.microsoft.com/office/drawing/2014/main" id="{A0D202C4-7E50-A0A0-379B-AD6ACDF6E6B2}"/>
                </a:ext>
              </a:extLst>
            </p:cNvPr>
            <p:cNvCxnSpPr/>
            <p:nvPr/>
          </p:nvCxnSpPr>
          <p:spPr>
            <a:xfrm flipH="1">
              <a:off x="8574320" y="4461601"/>
              <a:ext cx="253524" cy="0"/>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cxnSp>
          <p:nvCxnSpPr>
            <p:cNvPr id="51" name="Straight Arrow Connector 78">
              <a:extLst>
                <a:ext uri="{FF2B5EF4-FFF2-40B4-BE49-F238E27FC236}">
                  <a16:creationId xmlns:a16="http://schemas.microsoft.com/office/drawing/2014/main" id="{E4B55247-53BE-14C4-2FBB-BBF74506C88F}"/>
                </a:ext>
              </a:extLst>
            </p:cNvPr>
            <p:cNvCxnSpPr/>
            <p:nvPr/>
          </p:nvCxnSpPr>
          <p:spPr>
            <a:xfrm flipH="1">
              <a:off x="9013929" y="3326764"/>
              <a:ext cx="208177" cy="0"/>
            </a:xfrm>
            <a:prstGeom prst="straightConnector1">
              <a:avLst/>
            </a:prstGeom>
            <a:noFill/>
            <a:ln w="19050" cap="flat" cmpd="sng" algn="ctr">
              <a:solidFill>
                <a:schemeClr val="tx2">
                  <a:lumMod val="90000"/>
                  <a:lumOff val="10000"/>
                </a:schemeClr>
              </a:solidFill>
              <a:prstDash val="solid"/>
              <a:headEnd type="none" w="med" len="med"/>
              <a:tailEnd type="arrow" w="med" len="med"/>
            </a:ln>
            <a:effectLst/>
          </p:spPr>
        </p:cxnSp>
        <p:grpSp>
          <p:nvGrpSpPr>
            <p:cNvPr id="52" name="Group 20">
              <a:extLst>
                <a:ext uri="{FF2B5EF4-FFF2-40B4-BE49-F238E27FC236}">
                  <a16:creationId xmlns:a16="http://schemas.microsoft.com/office/drawing/2014/main" id="{99D5AAA1-E83E-712F-E0D9-87C4DE5CA920}"/>
                </a:ext>
              </a:extLst>
            </p:cNvPr>
            <p:cNvGrpSpPr/>
            <p:nvPr/>
          </p:nvGrpSpPr>
          <p:grpSpPr>
            <a:xfrm>
              <a:off x="9034027" y="3657527"/>
              <a:ext cx="188079" cy="70661"/>
              <a:chOff x="6950389" y="3859698"/>
              <a:chExt cx="188079" cy="70661"/>
            </a:xfrm>
            <a:effectLst/>
          </p:grpSpPr>
          <p:cxnSp>
            <p:nvCxnSpPr>
              <p:cNvPr id="53" name="Straight Arrow Connector 77">
                <a:extLst>
                  <a:ext uri="{FF2B5EF4-FFF2-40B4-BE49-F238E27FC236}">
                    <a16:creationId xmlns:a16="http://schemas.microsoft.com/office/drawing/2014/main" id="{1718C1F0-EF8A-9172-A3FD-E2C0A93BCFF5}"/>
                  </a:ext>
                </a:extLst>
              </p:cNvPr>
              <p:cNvCxnSpPr/>
              <p:nvPr/>
            </p:nvCxnSpPr>
            <p:spPr>
              <a:xfrm flipH="1">
                <a:off x="6950389" y="3893017"/>
                <a:ext cx="188079" cy="0"/>
              </a:xfrm>
              <a:prstGeom prst="straightConnector1">
                <a:avLst/>
              </a:prstGeom>
              <a:noFill/>
              <a:ln w="28575" cap="flat" cmpd="sng" algn="ctr">
                <a:solidFill>
                  <a:schemeClr val="accent3"/>
                </a:solidFill>
                <a:prstDash val="solid"/>
                <a:tailEnd type="none"/>
              </a:ln>
              <a:effectLst/>
            </p:spPr>
          </p:cxnSp>
          <p:cxnSp>
            <p:nvCxnSpPr>
              <p:cNvPr id="54" name="Straight Arrow Connector 49">
                <a:extLst>
                  <a:ext uri="{FF2B5EF4-FFF2-40B4-BE49-F238E27FC236}">
                    <a16:creationId xmlns:a16="http://schemas.microsoft.com/office/drawing/2014/main" id="{E04F98A3-CC2B-4CCE-3F7C-41A5B48DFC60}"/>
                  </a:ext>
                </a:extLst>
              </p:cNvPr>
              <p:cNvCxnSpPr/>
              <p:nvPr/>
            </p:nvCxnSpPr>
            <p:spPr>
              <a:xfrm flipH="1" flipV="1">
                <a:off x="6950389" y="3859698"/>
                <a:ext cx="0" cy="70661"/>
              </a:xfrm>
              <a:prstGeom prst="straightConnector1">
                <a:avLst/>
              </a:prstGeom>
              <a:noFill/>
              <a:ln w="28575" cap="flat" cmpd="sng" algn="ctr">
                <a:solidFill>
                  <a:schemeClr val="accent3"/>
                </a:solidFill>
                <a:prstDash val="solid"/>
                <a:tailEnd type="none"/>
              </a:ln>
              <a:effectLst/>
            </p:spPr>
          </p:cxnSp>
        </p:grpSp>
        <p:grpSp>
          <p:nvGrpSpPr>
            <p:cNvPr id="57" name="Group 21">
              <a:extLst>
                <a:ext uri="{FF2B5EF4-FFF2-40B4-BE49-F238E27FC236}">
                  <a16:creationId xmlns:a16="http://schemas.microsoft.com/office/drawing/2014/main" id="{3A03D603-0A9B-1577-06B2-1D19FD8EC217}"/>
                </a:ext>
              </a:extLst>
            </p:cNvPr>
            <p:cNvGrpSpPr/>
            <p:nvPr/>
          </p:nvGrpSpPr>
          <p:grpSpPr>
            <a:xfrm>
              <a:off x="7757471" y="3291434"/>
              <a:ext cx="197947" cy="70661"/>
              <a:chOff x="5673833" y="3493605"/>
              <a:chExt cx="197947" cy="70661"/>
            </a:xfrm>
            <a:effectLst/>
          </p:grpSpPr>
          <p:cxnSp>
            <p:nvCxnSpPr>
              <p:cNvPr id="59" name="Straight Arrow Connector 60">
                <a:extLst>
                  <a:ext uri="{FF2B5EF4-FFF2-40B4-BE49-F238E27FC236}">
                    <a16:creationId xmlns:a16="http://schemas.microsoft.com/office/drawing/2014/main" id="{97DD06AC-ACF5-714D-96CE-90FC8994D3A7}"/>
                  </a:ext>
                </a:extLst>
              </p:cNvPr>
              <p:cNvCxnSpPr/>
              <p:nvPr/>
            </p:nvCxnSpPr>
            <p:spPr>
              <a:xfrm>
                <a:off x="5673833" y="3528936"/>
                <a:ext cx="197947" cy="0"/>
              </a:xfrm>
              <a:prstGeom prst="straightConnector1">
                <a:avLst/>
              </a:prstGeom>
              <a:noFill/>
              <a:ln w="28575" cap="flat" cmpd="sng" algn="ctr">
                <a:solidFill>
                  <a:schemeClr val="accent3"/>
                </a:solidFill>
                <a:prstDash val="solid"/>
                <a:tailEnd type="none"/>
              </a:ln>
              <a:effectLst/>
            </p:spPr>
          </p:cxnSp>
          <p:cxnSp>
            <p:nvCxnSpPr>
              <p:cNvPr id="60" name="Straight Arrow Connector 55">
                <a:extLst>
                  <a:ext uri="{FF2B5EF4-FFF2-40B4-BE49-F238E27FC236}">
                    <a16:creationId xmlns:a16="http://schemas.microsoft.com/office/drawing/2014/main" id="{6F2E417E-0E9D-73DC-D983-B9C1B61A7044}"/>
                  </a:ext>
                </a:extLst>
              </p:cNvPr>
              <p:cNvCxnSpPr/>
              <p:nvPr/>
            </p:nvCxnSpPr>
            <p:spPr>
              <a:xfrm flipH="1" flipV="1">
                <a:off x="5871780" y="3493605"/>
                <a:ext cx="0" cy="70661"/>
              </a:xfrm>
              <a:prstGeom prst="straightConnector1">
                <a:avLst/>
              </a:prstGeom>
              <a:noFill/>
              <a:ln w="28575" cap="flat" cmpd="sng" algn="ctr">
                <a:solidFill>
                  <a:schemeClr val="accent3"/>
                </a:solidFill>
                <a:prstDash val="solid"/>
                <a:tailEnd type="none"/>
              </a:ln>
              <a:effectLst/>
            </p:spPr>
          </p:cxnSp>
        </p:grpSp>
        <p:grpSp>
          <p:nvGrpSpPr>
            <p:cNvPr id="62" name="Group 22">
              <a:extLst>
                <a:ext uri="{FF2B5EF4-FFF2-40B4-BE49-F238E27FC236}">
                  <a16:creationId xmlns:a16="http://schemas.microsoft.com/office/drawing/2014/main" id="{81DA7992-3819-1708-C64E-39DF1445E852}"/>
                </a:ext>
              </a:extLst>
            </p:cNvPr>
            <p:cNvGrpSpPr/>
            <p:nvPr/>
          </p:nvGrpSpPr>
          <p:grpSpPr>
            <a:xfrm>
              <a:off x="7771916" y="3651655"/>
              <a:ext cx="186056" cy="70661"/>
              <a:chOff x="5684371" y="3853826"/>
              <a:chExt cx="186056" cy="70661"/>
            </a:xfrm>
            <a:effectLst/>
          </p:grpSpPr>
          <p:cxnSp>
            <p:nvCxnSpPr>
              <p:cNvPr id="63" name="Straight Arrow Connector 63">
                <a:extLst>
                  <a:ext uri="{FF2B5EF4-FFF2-40B4-BE49-F238E27FC236}">
                    <a16:creationId xmlns:a16="http://schemas.microsoft.com/office/drawing/2014/main" id="{82C6BB82-E9B0-E4A0-6EA2-18DF8B789B5D}"/>
                  </a:ext>
                </a:extLst>
              </p:cNvPr>
              <p:cNvCxnSpPr/>
              <p:nvPr/>
            </p:nvCxnSpPr>
            <p:spPr>
              <a:xfrm>
                <a:off x="5684371" y="3890630"/>
                <a:ext cx="186056" cy="0"/>
              </a:xfrm>
              <a:prstGeom prst="straightConnector1">
                <a:avLst/>
              </a:prstGeom>
              <a:noFill/>
              <a:ln w="28575" cap="flat" cmpd="sng" algn="ctr">
                <a:solidFill>
                  <a:schemeClr val="accent3"/>
                </a:solidFill>
                <a:prstDash val="solid"/>
                <a:tailEnd type="none"/>
              </a:ln>
              <a:effectLst/>
            </p:spPr>
          </p:cxnSp>
          <p:cxnSp>
            <p:nvCxnSpPr>
              <p:cNvPr id="66" name="Straight Arrow Connector 61">
                <a:extLst>
                  <a:ext uri="{FF2B5EF4-FFF2-40B4-BE49-F238E27FC236}">
                    <a16:creationId xmlns:a16="http://schemas.microsoft.com/office/drawing/2014/main" id="{996B6C92-FB40-5CAE-077C-A7014FFD4B33}"/>
                  </a:ext>
                </a:extLst>
              </p:cNvPr>
              <p:cNvCxnSpPr/>
              <p:nvPr/>
            </p:nvCxnSpPr>
            <p:spPr>
              <a:xfrm flipH="1" flipV="1">
                <a:off x="5870427" y="3853826"/>
                <a:ext cx="0" cy="70661"/>
              </a:xfrm>
              <a:prstGeom prst="straightConnector1">
                <a:avLst/>
              </a:prstGeom>
              <a:noFill/>
              <a:ln w="28575" cap="flat" cmpd="sng" algn="ctr">
                <a:solidFill>
                  <a:schemeClr val="accent3"/>
                </a:solidFill>
                <a:prstDash val="solid"/>
                <a:tailEnd type="none"/>
              </a:ln>
              <a:effectLst/>
            </p:spPr>
          </p:cxnSp>
        </p:grpSp>
        <p:sp>
          <p:nvSpPr>
            <p:cNvPr id="68" name="Rounded Rectangle 71">
              <a:extLst>
                <a:ext uri="{FF2B5EF4-FFF2-40B4-BE49-F238E27FC236}">
                  <a16:creationId xmlns:a16="http://schemas.microsoft.com/office/drawing/2014/main" id="{650748D1-4462-71EF-6A83-42751857A03A}"/>
                </a:ext>
              </a:extLst>
            </p:cNvPr>
            <p:cNvSpPr/>
            <p:nvPr/>
          </p:nvSpPr>
          <p:spPr>
            <a:xfrm>
              <a:off x="6825583" y="3584210"/>
              <a:ext cx="936036" cy="228171"/>
            </a:xfrm>
            <a:prstGeom prst="roundRect">
              <a:avLst>
                <a:gd name="adj" fmla="val 0"/>
              </a:avLst>
            </a:prstGeom>
            <a:solidFill>
              <a:schemeClr val="accent3"/>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D55</a:t>
              </a:r>
            </a:p>
          </p:txBody>
        </p:sp>
        <p:sp>
          <p:nvSpPr>
            <p:cNvPr id="71" name="TextBox 88">
              <a:extLst>
                <a:ext uri="{FF2B5EF4-FFF2-40B4-BE49-F238E27FC236}">
                  <a16:creationId xmlns:a16="http://schemas.microsoft.com/office/drawing/2014/main" id="{5090B75B-E15F-924C-FB4E-6EFEA0E31973}"/>
                </a:ext>
              </a:extLst>
            </p:cNvPr>
            <p:cNvSpPr txBox="1"/>
            <p:nvPr/>
          </p:nvSpPr>
          <p:spPr>
            <a:xfrm>
              <a:off x="10295429" y="5527960"/>
              <a:ext cx="1515571" cy="401585"/>
            </a:xfrm>
            <a:prstGeom prst="rect">
              <a:avLst/>
            </a:prstGeom>
            <a:noFill/>
            <a:ln>
              <a:noFill/>
            </a:ln>
            <a:effectLst/>
          </p:spPr>
          <p:txBody>
            <a:bodyPr wrap="square" rtlCol="0">
              <a:spAutoFit/>
            </a:bodyPr>
            <a:lstStyle/>
            <a:p>
              <a:pPr>
                <a:lnSpc>
                  <a:spcPts val="800"/>
                </a:lnSpc>
              </a:pPr>
              <a:r>
                <a:rPr lang="pt-BR" sz="800" dirty="0">
                  <a:cs typeface="Arial"/>
                </a:rPr>
                <a:t>Inibidores do complemento da </a:t>
              </a:r>
              <a:r>
                <a:rPr lang="pt-BR" sz="800" b="1" dirty="0">
                  <a:cs typeface="Arial"/>
                </a:rPr>
                <a:t>superfície celular ligados à âncora de GPI</a:t>
              </a:r>
            </a:p>
          </p:txBody>
        </p:sp>
        <p:sp>
          <p:nvSpPr>
            <p:cNvPr id="75" name="Rounded Rectangle 73">
              <a:extLst>
                <a:ext uri="{FF2B5EF4-FFF2-40B4-BE49-F238E27FC236}">
                  <a16:creationId xmlns:a16="http://schemas.microsoft.com/office/drawing/2014/main" id="{6C008365-E8CE-EC04-1D05-AB30DA228807}"/>
                </a:ext>
              </a:extLst>
            </p:cNvPr>
            <p:cNvSpPr/>
            <p:nvPr/>
          </p:nvSpPr>
          <p:spPr>
            <a:xfrm>
              <a:off x="6827037" y="3227320"/>
              <a:ext cx="936036" cy="228171"/>
            </a:xfrm>
            <a:prstGeom prst="roundRect">
              <a:avLst>
                <a:gd name="adj" fmla="val 0"/>
              </a:avLst>
            </a:prstGeom>
            <a:solidFill>
              <a:schemeClr val="accent3"/>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CR1</a:t>
              </a:r>
            </a:p>
          </p:txBody>
        </p:sp>
        <p:sp>
          <p:nvSpPr>
            <p:cNvPr id="77" name="Rounded Rectangle 75">
              <a:extLst>
                <a:ext uri="{FF2B5EF4-FFF2-40B4-BE49-F238E27FC236}">
                  <a16:creationId xmlns:a16="http://schemas.microsoft.com/office/drawing/2014/main" id="{D50DA16B-62E5-4E2D-9BBE-B1FC5050AA02}"/>
                </a:ext>
              </a:extLst>
            </p:cNvPr>
            <p:cNvSpPr/>
            <p:nvPr/>
          </p:nvSpPr>
          <p:spPr>
            <a:xfrm>
              <a:off x="8827845" y="4351845"/>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Proteína S</a:t>
              </a:r>
            </a:p>
          </p:txBody>
        </p:sp>
        <p:sp>
          <p:nvSpPr>
            <p:cNvPr id="78" name="Rounded Rectangle 80">
              <a:extLst>
                <a:ext uri="{FF2B5EF4-FFF2-40B4-BE49-F238E27FC236}">
                  <a16:creationId xmlns:a16="http://schemas.microsoft.com/office/drawing/2014/main" id="{84DBBEB5-7BEB-13C8-088B-6C8B5165A8D9}"/>
                </a:ext>
              </a:extLst>
            </p:cNvPr>
            <p:cNvSpPr/>
            <p:nvPr/>
          </p:nvSpPr>
          <p:spPr>
            <a:xfrm>
              <a:off x="9217067" y="3201294"/>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Fator H</a:t>
              </a:r>
            </a:p>
          </p:txBody>
        </p:sp>
        <p:sp>
          <p:nvSpPr>
            <p:cNvPr id="79" name="Rounded Rectangle 87">
              <a:extLst>
                <a:ext uri="{FF2B5EF4-FFF2-40B4-BE49-F238E27FC236}">
                  <a16:creationId xmlns:a16="http://schemas.microsoft.com/office/drawing/2014/main" id="{6EB87BCA-8D56-B0C8-8559-14AE6FAB7D29}"/>
                </a:ext>
              </a:extLst>
            </p:cNvPr>
            <p:cNvSpPr/>
            <p:nvPr/>
          </p:nvSpPr>
          <p:spPr>
            <a:xfrm>
              <a:off x="6477998" y="2491652"/>
              <a:ext cx="882094" cy="228171"/>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a:ln>
                    <a:noFill/>
                  </a:ln>
                  <a:solidFill>
                    <a:schemeClr val="bg1"/>
                  </a:solidFill>
                  <a:effectLst/>
                  <a:uLnTx/>
                  <a:uFillTx/>
                  <a:cs typeface="Arial"/>
                </a:rPr>
                <a:t>C4bp</a:t>
              </a:r>
            </a:p>
          </p:txBody>
        </p:sp>
        <p:sp>
          <p:nvSpPr>
            <p:cNvPr id="80" name="Rounded Rectangle 90">
              <a:extLst>
                <a:ext uri="{FF2B5EF4-FFF2-40B4-BE49-F238E27FC236}">
                  <a16:creationId xmlns:a16="http://schemas.microsoft.com/office/drawing/2014/main" id="{814B7DA5-F026-90F6-AB7E-5A0741932D0A}"/>
                </a:ext>
              </a:extLst>
            </p:cNvPr>
            <p:cNvSpPr/>
            <p:nvPr/>
          </p:nvSpPr>
          <p:spPr>
            <a:xfrm>
              <a:off x="5756717" y="1788868"/>
              <a:ext cx="1164157" cy="234230"/>
            </a:xfrm>
            <a:prstGeom prst="roundRect">
              <a:avLst>
                <a:gd name="adj" fmla="val 0"/>
              </a:avLst>
            </a:prstGeom>
            <a:solidFill>
              <a:schemeClr val="tx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1" i="0" u="none" strike="noStrike" kern="0" cap="none" spc="0" normalizeH="0" baseline="0" noProof="0" dirty="0">
                  <a:ln>
                    <a:noFill/>
                  </a:ln>
                  <a:solidFill>
                    <a:schemeClr val="bg1"/>
                  </a:solidFill>
                  <a:effectLst/>
                  <a:uLnTx/>
                  <a:uFillTx/>
                  <a:cs typeface="Arial"/>
                </a:rPr>
                <a:t>Inibidor de C1</a:t>
              </a:r>
            </a:p>
          </p:txBody>
        </p:sp>
        <p:sp>
          <p:nvSpPr>
            <p:cNvPr id="83" name="Content Placeholder 2">
              <a:extLst>
                <a:ext uri="{FF2B5EF4-FFF2-40B4-BE49-F238E27FC236}">
                  <a16:creationId xmlns:a16="http://schemas.microsoft.com/office/drawing/2014/main" id="{E167FE93-3F9D-A20E-42EA-5708DE9C5185}"/>
                </a:ext>
              </a:extLst>
            </p:cNvPr>
            <p:cNvSpPr txBox="1"/>
            <p:nvPr/>
          </p:nvSpPr>
          <p:spPr bwMode="auto">
            <a:xfrm>
              <a:off x="7122203" y="520424"/>
              <a:ext cx="36587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228600" indent="-228600" algn="l" rtl="0" eaLnBrk="1" fontAlgn="base" hangingPunct="1">
                <a:lnSpc>
                  <a:spcPct val="90000"/>
                </a:lnSpc>
                <a:spcBef>
                  <a:spcPts val="1000"/>
                </a:spcBef>
                <a:spcAft>
                  <a:spcPts val="400"/>
                </a:spcAft>
                <a:buClr>
                  <a:schemeClr val="accent3"/>
                </a:buClr>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1pPr>
              <a:lvl2pPr marL="800100" indent="-342900" algn="l" rtl="0" eaLnBrk="1" fontAlgn="base" hangingPunct="1">
                <a:lnSpc>
                  <a:spcPct val="90000"/>
                </a:lnSpc>
                <a:spcBef>
                  <a:spcPts val="500"/>
                </a:spcBef>
                <a:spcAft>
                  <a:spcPts val="400"/>
                </a:spcAft>
                <a:buClr>
                  <a:schemeClr val="accent3"/>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lnSpc>
                  <a:spcPct val="90000"/>
                </a:lnSpc>
                <a:spcBef>
                  <a:spcPts val="500"/>
                </a:spcBef>
                <a:spcAft>
                  <a:spcPts val="400"/>
                </a:spcAft>
                <a:buClr>
                  <a:schemeClr val="accent3"/>
                </a:buClr>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lnSpc>
                  <a:spcPct val="90000"/>
                </a:lnSpc>
                <a:spcBef>
                  <a:spcPts val="500"/>
                </a:spcBef>
                <a:spcAft>
                  <a:spcPts val="400"/>
                </a:spcAft>
                <a:buClr>
                  <a:schemeClr val="accent3"/>
                </a:buClr>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lnSpc>
                  <a:spcPct val="90000"/>
                </a:lnSpc>
                <a:spcBef>
                  <a:spcPts val="500"/>
                </a:spcBef>
                <a:spcAft>
                  <a:spcPts val="400"/>
                </a:spcAft>
                <a:buClr>
                  <a:schemeClr val="accent3"/>
                </a:buClr>
                <a:buFont typeface="Arial" panose="020B0604020202020204" pitchFamily="34" charset="0"/>
                <a:buChar char="•"/>
                <a:defRPr sz="14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1200"/>
                </a:spcAft>
                <a:buClr>
                  <a:srgbClr val="F7AC47"/>
                </a:buClr>
                <a:buFont typeface="Arial" panose="020B0604020202020204" pitchFamily="34" charset="0"/>
                <a:buNone/>
                <a:defRPr/>
              </a:pPr>
              <a:r>
                <a:rPr lang="pt-BR" sz="2000" b="1" dirty="0">
                  <a:latin typeface="+mj-lt"/>
                </a:rPr>
                <a:t>Inibidores do complemento</a:t>
              </a:r>
              <a:r>
                <a:rPr lang="pt-BR" sz="2000" b="1" baseline="30000" dirty="0">
                  <a:latin typeface="+mj-lt"/>
                </a:rPr>
                <a:t>1-2</a:t>
              </a:r>
            </a:p>
          </p:txBody>
        </p:sp>
        <p:sp>
          <p:nvSpPr>
            <p:cNvPr id="88" name="Retângulo 87">
              <a:extLst>
                <a:ext uri="{FF2B5EF4-FFF2-40B4-BE49-F238E27FC236}">
                  <a16:creationId xmlns:a16="http://schemas.microsoft.com/office/drawing/2014/main" id="{EC57FBA8-F6BA-D76D-9020-F53A78E0F656}"/>
                </a:ext>
              </a:extLst>
            </p:cNvPr>
            <p:cNvSpPr/>
            <p:nvPr/>
          </p:nvSpPr>
          <p:spPr>
            <a:xfrm>
              <a:off x="9769118" y="4898065"/>
              <a:ext cx="526752" cy="132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89" name="Retângulo 88">
              <a:extLst>
                <a:ext uri="{FF2B5EF4-FFF2-40B4-BE49-F238E27FC236}">
                  <a16:creationId xmlns:a16="http://schemas.microsoft.com/office/drawing/2014/main" id="{7AE24270-B54E-99D4-947B-B38E9AC22AF6}"/>
                </a:ext>
              </a:extLst>
            </p:cNvPr>
            <p:cNvSpPr/>
            <p:nvPr/>
          </p:nvSpPr>
          <p:spPr>
            <a:xfrm>
              <a:off x="9769118" y="5260642"/>
              <a:ext cx="526752" cy="132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90" name="Retângulo 89">
              <a:extLst>
                <a:ext uri="{FF2B5EF4-FFF2-40B4-BE49-F238E27FC236}">
                  <a16:creationId xmlns:a16="http://schemas.microsoft.com/office/drawing/2014/main" id="{9A801A42-7EF0-BF2B-C0C5-FECDE12F8356}"/>
                </a:ext>
              </a:extLst>
            </p:cNvPr>
            <p:cNvSpPr/>
            <p:nvPr/>
          </p:nvSpPr>
          <p:spPr>
            <a:xfrm>
              <a:off x="9769118" y="5665057"/>
              <a:ext cx="526752" cy="132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91" name="Retângulo 90">
              <a:extLst>
                <a:ext uri="{FF2B5EF4-FFF2-40B4-BE49-F238E27FC236}">
                  <a16:creationId xmlns:a16="http://schemas.microsoft.com/office/drawing/2014/main" id="{D12F4EFC-975C-BB67-64D9-D3CC4891F46C}"/>
                </a:ext>
              </a:extLst>
            </p:cNvPr>
            <p:cNvSpPr/>
            <p:nvPr/>
          </p:nvSpPr>
          <p:spPr>
            <a:xfrm>
              <a:off x="9579903" y="4794710"/>
              <a:ext cx="2231095" cy="114729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grpSp>
          <p:nvGrpSpPr>
            <p:cNvPr id="99" name="Agrupar 98">
              <a:extLst>
                <a:ext uri="{FF2B5EF4-FFF2-40B4-BE49-F238E27FC236}">
                  <a16:creationId xmlns:a16="http://schemas.microsoft.com/office/drawing/2014/main" id="{C841832E-75B2-094D-C600-952127C8734D}"/>
                </a:ext>
              </a:extLst>
            </p:cNvPr>
            <p:cNvGrpSpPr/>
            <p:nvPr/>
          </p:nvGrpSpPr>
          <p:grpSpPr>
            <a:xfrm>
              <a:off x="6525550" y="3524146"/>
              <a:ext cx="390800" cy="390800"/>
              <a:chOff x="5848350" y="3455491"/>
              <a:chExt cx="390800" cy="390800"/>
            </a:xfrm>
          </p:grpSpPr>
          <p:sp>
            <p:nvSpPr>
              <p:cNvPr id="92" name="Elipse 91">
                <a:extLst>
                  <a:ext uri="{FF2B5EF4-FFF2-40B4-BE49-F238E27FC236}">
                    <a16:creationId xmlns:a16="http://schemas.microsoft.com/office/drawing/2014/main" id="{229BB132-D341-F1DD-2BA1-60C931D9FF24}"/>
                  </a:ext>
                </a:extLst>
              </p:cNvPr>
              <p:cNvSpPr/>
              <p:nvPr/>
            </p:nvSpPr>
            <p:spPr>
              <a:xfrm>
                <a:off x="5848350" y="3455491"/>
                <a:ext cx="390800" cy="390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96" name="Forma Livre: Forma 95">
                <a:extLst>
                  <a:ext uri="{FF2B5EF4-FFF2-40B4-BE49-F238E27FC236}">
                    <a16:creationId xmlns:a16="http://schemas.microsoft.com/office/drawing/2014/main" id="{B0DED16C-9B78-277D-D3DE-79F365240556}"/>
                  </a:ext>
                </a:extLst>
              </p:cNvPr>
              <p:cNvSpPr/>
              <p:nvPr/>
            </p:nvSpPr>
            <p:spPr>
              <a:xfrm>
                <a:off x="5908601" y="3508180"/>
                <a:ext cx="263632" cy="298694"/>
              </a:xfrm>
              <a:custGeom>
                <a:avLst/>
                <a:gdLst>
                  <a:gd name="connsiteX0" fmla="*/ 215218 w 756529"/>
                  <a:gd name="connsiteY0" fmla="*/ 702067 h 857143"/>
                  <a:gd name="connsiteX1" fmla="*/ 378258 w 756529"/>
                  <a:gd name="connsiteY1" fmla="*/ 820539 h 857143"/>
                  <a:gd name="connsiteX2" fmla="*/ 542450 w 756529"/>
                  <a:gd name="connsiteY2" fmla="*/ 701029 h 857143"/>
                  <a:gd name="connsiteX3" fmla="*/ 678810 w 756529"/>
                  <a:gd name="connsiteY3" fmla="*/ 528017 h 857143"/>
                  <a:gd name="connsiteX4" fmla="*/ 678810 w 756529"/>
                  <a:gd name="connsiteY4" fmla="*/ 527050 h 857143"/>
                  <a:gd name="connsiteX5" fmla="*/ 692353 w 756529"/>
                  <a:gd name="connsiteY5" fmla="*/ 514734 h 857143"/>
                  <a:gd name="connsiteX6" fmla="*/ 721151 w 756529"/>
                  <a:gd name="connsiteY6" fmla="*/ 516036 h 857143"/>
                  <a:gd name="connsiteX7" fmla="*/ 657415 w 756529"/>
                  <a:gd name="connsiteY7" fmla="*/ 447687 h 857143"/>
                  <a:gd name="connsiteX8" fmla="*/ 565997 w 756529"/>
                  <a:gd name="connsiteY8" fmla="*/ 410554 h 857143"/>
                  <a:gd name="connsiteX9" fmla="*/ 578201 w 756529"/>
                  <a:gd name="connsiteY9" fmla="*/ 467704 h 857143"/>
                  <a:gd name="connsiteX10" fmla="*/ 573848 w 756529"/>
                  <a:gd name="connsiteY10" fmla="*/ 531067 h 857143"/>
                  <a:gd name="connsiteX11" fmla="*/ 603576 w 756529"/>
                  <a:gd name="connsiteY11" fmla="*/ 519384 h 857143"/>
                  <a:gd name="connsiteX12" fmla="*/ 603613 w 756529"/>
                  <a:gd name="connsiteY12" fmla="*/ 519421 h 857143"/>
                  <a:gd name="connsiteX13" fmla="*/ 606181 w 756529"/>
                  <a:gd name="connsiteY13" fmla="*/ 518640 h 857143"/>
                  <a:gd name="connsiteX14" fmla="*/ 615891 w 756529"/>
                  <a:gd name="connsiteY14" fmla="*/ 520649 h 857143"/>
                  <a:gd name="connsiteX15" fmla="*/ 621361 w 756529"/>
                  <a:gd name="connsiteY15" fmla="*/ 528946 h 857143"/>
                  <a:gd name="connsiteX16" fmla="*/ 579242 w 756529"/>
                  <a:gd name="connsiteY16" fmla="*/ 620997 h 857143"/>
                  <a:gd name="connsiteX17" fmla="*/ 530985 w 756529"/>
                  <a:gd name="connsiteY17" fmla="*/ 640642 h 857143"/>
                  <a:gd name="connsiteX18" fmla="*/ 477629 w 756529"/>
                  <a:gd name="connsiteY18" fmla="*/ 619992 h 857143"/>
                  <a:gd name="connsiteX19" fmla="*/ 406824 w 756529"/>
                  <a:gd name="connsiteY19" fmla="*/ 330260 h 857143"/>
                  <a:gd name="connsiteX20" fmla="*/ 406824 w 756529"/>
                  <a:gd name="connsiteY20" fmla="*/ 330186 h 857143"/>
                  <a:gd name="connsiteX21" fmla="*/ 417354 w 756529"/>
                  <a:gd name="connsiteY21" fmla="*/ 303657 h 857143"/>
                  <a:gd name="connsiteX22" fmla="*/ 443659 w 756529"/>
                  <a:gd name="connsiteY22" fmla="*/ 292681 h 857143"/>
                  <a:gd name="connsiteX23" fmla="*/ 503228 w 756529"/>
                  <a:gd name="connsiteY23" fmla="*/ 292681 h 857143"/>
                  <a:gd name="connsiteX24" fmla="*/ 514129 w 756529"/>
                  <a:gd name="connsiteY24" fmla="*/ 281817 h 857143"/>
                  <a:gd name="connsiteX25" fmla="*/ 514129 w 756529"/>
                  <a:gd name="connsiteY25" fmla="*/ 246842 h 857143"/>
                  <a:gd name="connsiteX26" fmla="*/ 503191 w 756529"/>
                  <a:gd name="connsiteY26" fmla="*/ 235941 h 857143"/>
                  <a:gd name="connsiteX27" fmla="*/ 443474 w 756529"/>
                  <a:gd name="connsiteY27" fmla="*/ 235941 h 857143"/>
                  <a:gd name="connsiteX28" fmla="*/ 406564 w 756529"/>
                  <a:gd name="connsiteY28" fmla="*/ 199032 h 857143"/>
                  <a:gd name="connsiteX29" fmla="*/ 406564 w 756529"/>
                  <a:gd name="connsiteY29" fmla="*/ 197022 h 857143"/>
                  <a:gd name="connsiteX30" fmla="*/ 422415 w 756529"/>
                  <a:gd name="connsiteY30" fmla="*/ 166736 h 857143"/>
                  <a:gd name="connsiteX31" fmla="*/ 455455 w 756529"/>
                  <a:gd name="connsiteY31" fmla="*/ 98386 h 857143"/>
                  <a:gd name="connsiteX32" fmla="*/ 414119 w 756529"/>
                  <a:gd name="connsiteY32" fmla="*/ 34651 h 857143"/>
                  <a:gd name="connsiteX33" fmla="*/ 338179 w 756529"/>
                  <a:gd name="connsiteY33" fmla="*/ 37032 h 857143"/>
                  <a:gd name="connsiteX34" fmla="*/ 300897 w 756529"/>
                  <a:gd name="connsiteY34" fmla="*/ 103223 h 857143"/>
                  <a:gd name="connsiteX35" fmla="*/ 334086 w 756529"/>
                  <a:gd name="connsiteY35" fmla="*/ 166736 h 857143"/>
                  <a:gd name="connsiteX36" fmla="*/ 349936 w 756529"/>
                  <a:gd name="connsiteY36" fmla="*/ 197022 h 857143"/>
                  <a:gd name="connsiteX37" fmla="*/ 349936 w 756529"/>
                  <a:gd name="connsiteY37" fmla="*/ 198994 h 857143"/>
                  <a:gd name="connsiteX38" fmla="*/ 313027 w 756529"/>
                  <a:gd name="connsiteY38" fmla="*/ 235904 h 857143"/>
                  <a:gd name="connsiteX39" fmla="*/ 253310 w 756529"/>
                  <a:gd name="connsiteY39" fmla="*/ 235904 h 857143"/>
                  <a:gd name="connsiteX40" fmla="*/ 242371 w 756529"/>
                  <a:gd name="connsiteY40" fmla="*/ 246805 h 857143"/>
                  <a:gd name="connsiteX41" fmla="*/ 242371 w 756529"/>
                  <a:gd name="connsiteY41" fmla="*/ 281817 h 857143"/>
                  <a:gd name="connsiteX42" fmla="*/ 253310 w 756529"/>
                  <a:gd name="connsiteY42" fmla="*/ 292718 h 857143"/>
                  <a:gd name="connsiteX43" fmla="*/ 312878 w 756529"/>
                  <a:gd name="connsiteY43" fmla="*/ 292718 h 857143"/>
                  <a:gd name="connsiteX44" fmla="*/ 312841 w 756529"/>
                  <a:gd name="connsiteY44" fmla="*/ 292718 h 857143"/>
                  <a:gd name="connsiteX45" fmla="*/ 339183 w 756529"/>
                  <a:gd name="connsiteY45" fmla="*/ 303657 h 857143"/>
                  <a:gd name="connsiteX46" fmla="*/ 349676 w 756529"/>
                  <a:gd name="connsiteY46" fmla="*/ 330186 h 857143"/>
                  <a:gd name="connsiteX47" fmla="*/ 278908 w 756529"/>
                  <a:gd name="connsiteY47" fmla="*/ 619955 h 857143"/>
                  <a:gd name="connsiteX48" fmla="*/ 225553 w 756529"/>
                  <a:gd name="connsiteY48" fmla="*/ 640606 h 857143"/>
                  <a:gd name="connsiteX49" fmla="*/ 177258 w 756529"/>
                  <a:gd name="connsiteY49" fmla="*/ 620886 h 857143"/>
                  <a:gd name="connsiteX50" fmla="*/ 135103 w 756529"/>
                  <a:gd name="connsiteY50" fmla="*/ 529134 h 857143"/>
                  <a:gd name="connsiteX51" fmla="*/ 135103 w 756529"/>
                  <a:gd name="connsiteY51" fmla="*/ 529171 h 857143"/>
                  <a:gd name="connsiteX52" fmla="*/ 135847 w 756529"/>
                  <a:gd name="connsiteY52" fmla="*/ 526566 h 857143"/>
                  <a:gd name="connsiteX53" fmla="*/ 142693 w 756529"/>
                  <a:gd name="connsiteY53" fmla="*/ 519385 h 857143"/>
                  <a:gd name="connsiteX54" fmla="*/ 152628 w 756529"/>
                  <a:gd name="connsiteY54" fmla="*/ 519199 h 857143"/>
                  <a:gd name="connsiteX55" fmla="*/ 182653 w 756529"/>
                  <a:gd name="connsiteY55" fmla="*/ 530994 h 857143"/>
                  <a:gd name="connsiteX56" fmla="*/ 178337 w 756529"/>
                  <a:gd name="connsiteY56" fmla="*/ 467594 h 857143"/>
                  <a:gd name="connsiteX57" fmla="*/ 190541 w 756529"/>
                  <a:gd name="connsiteY57" fmla="*/ 410444 h 857143"/>
                  <a:gd name="connsiteX58" fmla="*/ 99085 w 756529"/>
                  <a:gd name="connsiteY58" fmla="*/ 447613 h 857143"/>
                  <a:gd name="connsiteX59" fmla="*/ 35350 w 756529"/>
                  <a:gd name="connsiteY59" fmla="*/ 516037 h 857143"/>
                  <a:gd name="connsiteX60" fmla="*/ 64148 w 756529"/>
                  <a:gd name="connsiteY60" fmla="*/ 514660 h 857143"/>
                  <a:gd name="connsiteX61" fmla="*/ 64483 w 756529"/>
                  <a:gd name="connsiteY61" fmla="*/ 514660 h 857143"/>
                  <a:gd name="connsiteX62" fmla="*/ 64483 w 756529"/>
                  <a:gd name="connsiteY62" fmla="*/ 514698 h 857143"/>
                  <a:gd name="connsiteX63" fmla="*/ 73710 w 756529"/>
                  <a:gd name="connsiteY63" fmla="*/ 518307 h 857143"/>
                  <a:gd name="connsiteX64" fmla="*/ 77691 w 756529"/>
                  <a:gd name="connsiteY64" fmla="*/ 527385 h 857143"/>
                  <a:gd name="connsiteX65" fmla="*/ 215213 w 756529"/>
                  <a:gd name="connsiteY65" fmla="*/ 702074 h 857143"/>
                  <a:gd name="connsiteX66" fmla="*/ 367094 w 756529"/>
                  <a:gd name="connsiteY66" fmla="*/ 850705 h 857143"/>
                  <a:gd name="connsiteX67" fmla="*/ 204646 w 756529"/>
                  <a:gd name="connsiteY67" fmla="*/ 725651 h 857143"/>
                  <a:gd name="connsiteX68" fmla="*/ 52360 w 756529"/>
                  <a:gd name="connsiteY68" fmla="*/ 541142 h 857143"/>
                  <a:gd name="connsiteX69" fmla="*/ 13553 w 756529"/>
                  <a:gd name="connsiteY69" fmla="*/ 542966 h 857143"/>
                  <a:gd name="connsiteX70" fmla="*/ 13553 w 756529"/>
                  <a:gd name="connsiteY70" fmla="*/ 543003 h 857143"/>
                  <a:gd name="connsiteX71" fmla="*/ 2131 w 756529"/>
                  <a:gd name="connsiteY71" fmla="*/ 537161 h 857143"/>
                  <a:gd name="connsiteX72" fmla="*/ 1349 w 756529"/>
                  <a:gd name="connsiteY72" fmla="*/ 524324 h 857143"/>
                  <a:gd name="connsiteX73" fmla="*/ 84470 w 756529"/>
                  <a:gd name="connsiteY73" fmla="*/ 426284 h 857143"/>
                  <a:gd name="connsiteX74" fmla="*/ 210343 w 756529"/>
                  <a:gd name="connsiteY74" fmla="*/ 381040 h 857143"/>
                  <a:gd name="connsiteX75" fmla="*/ 222696 w 756529"/>
                  <a:gd name="connsiteY75" fmla="*/ 386584 h 857143"/>
                  <a:gd name="connsiteX76" fmla="*/ 223329 w 756529"/>
                  <a:gd name="connsiteY76" fmla="*/ 400090 h 857143"/>
                  <a:gd name="connsiteX77" fmla="*/ 204204 w 756529"/>
                  <a:gd name="connsiteY77" fmla="*/ 469369 h 857143"/>
                  <a:gd name="connsiteX78" fmla="*/ 213543 w 756529"/>
                  <a:gd name="connsiteY78" fmla="*/ 548694 h 857143"/>
                  <a:gd name="connsiteX79" fmla="*/ 209748 w 756529"/>
                  <a:gd name="connsiteY79" fmla="*/ 561754 h 857143"/>
                  <a:gd name="connsiteX80" fmla="*/ 196316 w 756529"/>
                  <a:gd name="connsiteY80" fmla="*/ 564210 h 857143"/>
                  <a:gd name="connsiteX81" fmla="*/ 160932 w 756529"/>
                  <a:gd name="connsiteY81" fmla="*/ 550332 h 857143"/>
                  <a:gd name="connsiteX82" fmla="*/ 193377 w 756529"/>
                  <a:gd name="connsiteY82" fmla="*/ 600598 h 857143"/>
                  <a:gd name="connsiteX83" fmla="*/ 226825 w 756529"/>
                  <a:gd name="connsiteY83" fmla="*/ 614663 h 857143"/>
                  <a:gd name="connsiteX84" fmla="*/ 261316 w 756529"/>
                  <a:gd name="connsiteY84" fmla="*/ 600822 h 857143"/>
                  <a:gd name="connsiteX85" fmla="*/ 323787 w 756529"/>
                  <a:gd name="connsiteY85" fmla="*/ 329845 h 857143"/>
                  <a:gd name="connsiteX86" fmla="*/ 323787 w 756529"/>
                  <a:gd name="connsiteY86" fmla="*/ 329771 h 857143"/>
                  <a:gd name="connsiteX87" fmla="*/ 320625 w 756529"/>
                  <a:gd name="connsiteY87" fmla="*/ 321920 h 857143"/>
                  <a:gd name="connsiteX88" fmla="*/ 317090 w 756529"/>
                  <a:gd name="connsiteY88" fmla="*/ 319465 h 857143"/>
                  <a:gd name="connsiteX89" fmla="*/ 312811 w 756529"/>
                  <a:gd name="connsiteY89" fmla="*/ 318683 h 857143"/>
                  <a:gd name="connsiteX90" fmla="*/ 253317 w 756529"/>
                  <a:gd name="connsiteY90" fmla="*/ 318683 h 857143"/>
                  <a:gd name="connsiteX91" fmla="*/ 216408 w 756529"/>
                  <a:gd name="connsiteY91" fmla="*/ 281811 h 857143"/>
                  <a:gd name="connsiteX92" fmla="*/ 216408 w 756529"/>
                  <a:gd name="connsiteY92" fmla="*/ 246836 h 857143"/>
                  <a:gd name="connsiteX93" fmla="*/ 253317 w 756529"/>
                  <a:gd name="connsiteY93" fmla="*/ 209964 h 857143"/>
                  <a:gd name="connsiteX94" fmla="*/ 313071 w 756529"/>
                  <a:gd name="connsiteY94" fmla="*/ 209964 h 857143"/>
                  <a:gd name="connsiteX95" fmla="*/ 313034 w 756529"/>
                  <a:gd name="connsiteY95" fmla="*/ 209964 h 857143"/>
                  <a:gd name="connsiteX96" fmla="*/ 323972 w 756529"/>
                  <a:gd name="connsiteY96" fmla="*/ 199025 h 857143"/>
                  <a:gd name="connsiteX97" fmla="*/ 323972 w 756529"/>
                  <a:gd name="connsiteY97" fmla="*/ 197016 h 857143"/>
                  <a:gd name="connsiteX98" fmla="*/ 319284 w 756529"/>
                  <a:gd name="connsiteY98" fmla="*/ 188049 h 857143"/>
                  <a:gd name="connsiteX99" fmla="*/ 279734 w 756529"/>
                  <a:gd name="connsiteY99" fmla="*/ 72368 h 857143"/>
                  <a:gd name="connsiteX100" fmla="*/ 378260 w 756529"/>
                  <a:gd name="connsiteY100" fmla="*/ 0 h 857143"/>
                  <a:gd name="connsiteX101" fmla="*/ 476787 w 756529"/>
                  <a:gd name="connsiteY101" fmla="*/ 72368 h 857143"/>
                  <a:gd name="connsiteX102" fmla="*/ 437236 w 756529"/>
                  <a:gd name="connsiteY102" fmla="*/ 188049 h 857143"/>
                  <a:gd name="connsiteX103" fmla="*/ 432548 w 756529"/>
                  <a:gd name="connsiteY103" fmla="*/ 197016 h 857143"/>
                  <a:gd name="connsiteX104" fmla="*/ 432548 w 756529"/>
                  <a:gd name="connsiteY104" fmla="*/ 198988 h 857143"/>
                  <a:gd name="connsiteX105" fmla="*/ 443487 w 756529"/>
                  <a:gd name="connsiteY105" fmla="*/ 209927 h 857143"/>
                  <a:gd name="connsiteX106" fmla="*/ 503241 w 756529"/>
                  <a:gd name="connsiteY106" fmla="*/ 209927 h 857143"/>
                  <a:gd name="connsiteX107" fmla="*/ 503204 w 756529"/>
                  <a:gd name="connsiteY107" fmla="*/ 209927 h 857143"/>
                  <a:gd name="connsiteX108" fmla="*/ 540113 w 756529"/>
                  <a:gd name="connsiteY108" fmla="*/ 246799 h 857143"/>
                  <a:gd name="connsiteX109" fmla="*/ 540113 w 756529"/>
                  <a:gd name="connsiteY109" fmla="*/ 281811 h 857143"/>
                  <a:gd name="connsiteX110" fmla="*/ 503204 w 756529"/>
                  <a:gd name="connsiteY110" fmla="*/ 318683 h 857143"/>
                  <a:gd name="connsiteX111" fmla="*/ 443672 w 756529"/>
                  <a:gd name="connsiteY111" fmla="*/ 318683 h 857143"/>
                  <a:gd name="connsiteX112" fmla="*/ 439356 w 756529"/>
                  <a:gd name="connsiteY112" fmla="*/ 319464 h 857143"/>
                  <a:gd name="connsiteX113" fmla="*/ 435859 w 756529"/>
                  <a:gd name="connsiteY113" fmla="*/ 321920 h 857143"/>
                  <a:gd name="connsiteX114" fmla="*/ 433403 w 756529"/>
                  <a:gd name="connsiteY114" fmla="*/ 325529 h 857143"/>
                  <a:gd name="connsiteX115" fmla="*/ 432696 w 756529"/>
                  <a:gd name="connsiteY115" fmla="*/ 329808 h 857143"/>
                  <a:gd name="connsiteX116" fmla="*/ 432696 w 756529"/>
                  <a:gd name="connsiteY116" fmla="*/ 329882 h 857143"/>
                  <a:gd name="connsiteX117" fmla="*/ 495167 w 756529"/>
                  <a:gd name="connsiteY117" fmla="*/ 600859 h 857143"/>
                  <a:gd name="connsiteX118" fmla="*/ 529695 w 756529"/>
                  <a:gd name="connsiteY118" fmla="*/ 614663 h 857143"/>
                  <a:gd name="connsiteX119" fmla="*/ 563144 w 756529"/>
                  <a:gd name="connsiteY119" fmla="*/ 600598 h 857143"/>
                  <a:gd name="connsiteX120" fmla="*/ 595588 w 756529"/>
                  <a:gd name="connsiteY120" fmla="*/ 550332 h 857143"/>
                  <a:gd name="connsiteX121" fmla="*/ 560205 w 756529"/>
                  <a:gd name="connsiteY121" fmla="*/ 564210 h 857143"/>
                  <a:gd name="connsiteX122" fmla="*/ 546661 w 756529"/>
                  <a:gd name="connsiteY122" fmla="*/ 561680 h 857143"/>
                  <a:gd name="connsiteX123" fmla="*/ 543052 w 756529"/>
                  <a:gd name="connsiteY123" fmla="*/ 548434 h 857143"/>
                  <a:gd name="connsiteX124" fmla="*/ 552354 w 756529"/>
                  <a:gd name="connsiteY124" fmla="*/ 469369 h 857143"/>
                  <a:gd name="connsiteX125" fmla="*/ 533043 w 756529"/>
                  <a:gd name="connsiteY125" fmla="*/ 399829 h 857143"/>
                  <a:gd name="connsiteX126" fmla="*/ 533974 w 756529"/>
                  <a:gd name="connsiteY126" fmla="*/ 386546 h 857143"/>
                  <a:gd name="connsiteX127" fmla="*/ 546177 w 756529"/>
                  <a:gd name="connsiteY127" fmla="*/ 381114 h 857143"/>
                  <a:gd name="connsiteX128" fmla="*/ 672050 w 756529"/>
                  <a:gd name="connsiteY128" fmla="*/ 426358 h 857143"/>
                  <a:gd name="connsiteX129" fmla="*/ 755171 w 756529"/>
                  <a:gd name="connsiteY129" fmla="*/ 524399 h 857143"/>
                  <a:gd name="connsiteX130" fmla="*/ 754315 w 756529"/>
                  <a:gd name="connsiteY130" fmla="*/ 537384 h 857143"/>
                  <a:gd name="connsiteX131" fmla="*/ 742632 w 756529"/>
                  <a:gd name="connsiteY131" fmla="*/ 543077 h 857143"/>
                  <a:gd name="connsiteX132" fmla="*/ 704309 w 756529"/>
                  <a:gd name="connsiteY132" fmla="*/ 541254 h 857143"/>
                  <a:gd name="connsiteX133" fmla="*/ 553138 w 756529"/>
                  <a:gd name="connsiteY133" fmla="*/ 724724 h 857143"/>
                  <a:gd name="connsiteX134" fmla="*/ 389355 w 756529"/>
                  <a:gd name="connsiteY134" fmla="*/ 850892 h 857143"/>
                  <a:gd name="connsiteX135" fmla="*/ 389318 w 756529"/>
                  <a:gd name="connsiteY135" fmla="*/ 850930 h 857143"/>
                  <a:gd name="connsiteX136" fmla="*/ 378193 w 756529"/>
                  <a:gd name="connsiteY136" fmla="*/ 857143 h 857143"/>
                  <a:gd name="connsiteX137" fmla="*/ 367142 w 756529"/>
                  <a:gd name="connsiteY137" fmla="*/ 850818 h 857143"/>
                  <a:gd name="connsiteX138" fmla="*/ 395892 w 756529"/>
                  <a:gd name="connsiteY138" fmla="*/ 83752 h 857143"/>
                  <a:gd name="connsiteX139" fmla="*/ 399018 w 756529"/>
                  <a:gd name="connsiteY139" fmla="*/ 115266 h 857143"/>
                  <a:gd name="connsiteX140" fmla="*/ 368731 w 756529"/>
                  <a:gd name="connsiteY140" fmla="*/ 124456 h 857143"/>
                  <a:gd name="connsiteX141" fmla="*/ 353774 w 756529"/>
                  <a:gd name="connsiteY141" fmla="*/ 96551 h 857143"/>
                  <a:gd name="connsiteX142" fmla="*/ 378256 w 756529"/>
                  <a:gd name="connsiteY142" fmla="*/ 76459 h 857143"/>
                  <a:gd name="connsiteX143" fmla="*/ 395893 w 756529"/>
                  <a:gd name="connsiteY143" fmla="*/ 83751 h 857143"/>
                  <a:gd name="connsiteX144" fmla="*/ 378256 w 756529"/>
                  <a:gd name="connsiteY144" fmla="*/ 50489 h 857143"/>
                  <a:gd name="connsiteX145" fmla="*/ 428188 w 756529"/>
                  <a:gd name="connsiteY145" fmla="*/ 91454 h 857143"/>
                  <a:gd name="connsiteX146" fmla="*/ 397753 w 756529"/>
                  <a:gd name="connsiteY146" fmla="*/ 148418 h 857143"/>
                  <a:gd name="connsiteX147" fmla="*/ 335914 w 756529"/>
                  <a:gd name="connsiteY147" fmla="*/ 129703 h 857143"/>
                  <a:gd name="connsiteX148" fmla="*/ 342239 w 756529"/>
                  <a:gd name="connsiteY148" fmla="*/ 65410 h 857143"/>
                  <a:gd name="connsiteX149" fmla="*/ 378255 w 756529"/>
                  <a:gd name="connsiteY149" fmla="*/ 50490 h 85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756529" h="857143">
                    <a:moveTo>
                      <a:pt x="215218" y="702067"/>
                    </a:moveTo>
                    <a:cubicBezTo>
                      <a:pt x="270842" y="726959"/>
                      <a:pt x="331604" y="754158"/>
                      <a:pt x="378258" y="820539"/>
                    </a:cubicBezTo>
                    <a:cubicBezTo>
                      <a:pt x="425027" y="754013"/>
                      <a:pt x="486386" y="726331"/>
                      <a:pt x="542450" y="701029"/>
                    </a:cubicBezTo>
                    <a:cubicBezTo>
                      <a:pt x="614781" y="668398"/>
                      <a:pt x="677590" y="640084"/>
                      <a:pt x="678810" y="528017"/>
                    </a:cubicBezTo>
                    <a:lnTo>
                      <a:pt x="678810" y="527050"/>
                    </a:lnTo>
                    <a:cubicBezTo>
                      <a:pt x="679144" y="519906"/>
                      <a:pt x="685209" y="514399"/>
                      <a:pt x="692353" y="514734"/>
                    </a:cubicBezTo>
                    <a:lnTo>
                      <a:pt x="721151" y="516036"/>
                    </a:lnTo>
                    <a:cubicBezTo>
                      <a:pt x="705115" y="488912"/>
                      <a:pt x="683348" y="465583"/>
                      <a:pt x="657415" y="447687"/>
                    </a:cubicBezTo>
                    <a:cubicBezTo>
                      <a:pt x="629771" y="429269"/>
                      <a:pt x="598665" y="416619"/>
                      <a:pt x="565997" y="410554"/>
                    </a:cubicBezTo>
                    <a:cubicBezTo>
                      <a:pt x="572769" y="428897"/>
                      <a:pt x="576899" y="448170"/>
                      <a:pt x="578201" y="467704"/>
                    </a:cubicBezTo>
                    <a:cubicBezTo>
                      <a:pt x="579540" y="488913"/>
                      <a:pt x="578089" y="510231"/>
                      <a:pt x="573848" y="531067"/>
                    </a:cubicBezTo>
                    <a:lnTo>
                      <a:pt x="603576" y="519384"/>
                    </a:lnTo>
                    <a:lnTo>
                      <a:pt x="603613" y="519421"/>
                    </a:lnTo>
                    <a:cubicBezTo>
                      <a:pt x="604432" y="519049"/>
                      <a:pt x="605288" y="518789"/>
                      <a:pt x="606181" y="518640"/>
                    </a:cubicBezTo>
                    <a:cubicBezTo>
                      <a:pt x="609566" y="517970"/>
                      <a:pt x="613064" y="518714"/>
                      <a:pt x="615891" y="520649"/>
                    </a:cubicBezTo>
                    <a:cubicBezTo>
                      <a:pt x="618756" y="522584"/>
                      <a:pt x="620691" y="525560"/>
                      <a:pt x="621361" y="528946"/>
                    </a:cubicBezTo>
                    <a:cubicBezTo>
                      <a:pt x="627091" y="558600"/>
                      <a:pt x="608115" y="598114"/>
                      <a:pt x="579242" y="620997"/>
                    </a:cubicBezTo>
                    <a:cubicBezTo>
                      <a:pt x="565587" y="632382"/>
                      <a:pt x="548733" y="639229"/>
                      <a:pt x="530985" y="640642"/>
                    </a:cubicBezTo>
                    <a:cubicBezTo>
                      <a:pt x="511116" y="641461"/>
                      <a:pt x="491768" y="633982"/>
                      <a:pt x="477629" y="619992"/>
                    </a:cubicBezTo>
                    <a:cubicBezTo>
                      <a:pt x="440571" y="585761"/>
                      <a:pt x="409467" y="501491"/>
                      <a:pt x="406824" y="330260"/>
                    </a:cubicBezTo>
                    <a:lnTo>
                      <a:pt x="406824" y="330186"/>
                    </a:lnTo>
                    <a:cubicBezTo>
                      <a:pt x="406601" y="320289"/>
                      <a:pt x="410396" y="310726"/>
                      <a:pt x="417354" y="303657"/>
                    </a:cubicBezTo>
                    <a:cubicBezTo>
                      <a:pt x="424275" y="296625"/>
                      <a:pt x="433763" y="292644"/>
                      <a:pt x="443659" y="292681"/>
                    </a:cubicBezTo>
                    <a:lnTo>
                      <a:pt x="503228" y="292681"/>
                    </a:lnTo>
                    <a:cubicBezTo>
                      <a:pt x="509218" y="292644"/>
                      <a:pt x="514092" y="287807"/>
                      <a:pt x="514129" y="281817"/>
                    </a:cubicBezTo>
                    <a:lnTo>
                      <a:pt x="514129" y="246842"/>
                    </a:lnTo>
                    <a:cubicBezTo>
                      <a:pt x="514092" y="240815"/>
                      <a:pt x="509218" y="235941"/>
                      <a:pt x="503191" y="235941"/>
                    </a:cubicBezTo>
                    <a:lnTo>
                      <a:pt x="443474" y="235941"/>
                    </a:lnTo>
                    <a:cubicBezTo>
                      <a:pt x="423085" y="235904"/>
                      <a:pt x="406602" y="219384"/>
                      <a:pt x="406564" y="199032"/>
                    </a:cubicBezTo>
                    <a:lnTo>
                      <a:pt x="406564" y="197022"/>
                    </a:lnTo>
                    <a:cubicBezTo>
                      <a:pt x="406527" y="184930"/>
                      <a:pt x="412443" y="173619"/>
                      <a:pt x="422415" y="166736"/>
                    </a:cubicBezTo>
                    <a:cubicBezTo>
                      <a:pt x="444627" y="151295"/>
                      <a:pt x="457166" y="125361"/>
                      <a:pt x="455455" y="98386"/>
                    </a:cubicBezTo>
                    <a:cubicBezTo>
                      <a:pt x="453781" y="71374"/>
                      <a:pt x="438080" y="47189"/>
                      <a:pt x="414119" y="34651"/>
                    </a:cubicBezTo>
                    <a:cubicBezTo>
                      <a:pt x="390120" y="22112"/>
                      <a:pt x="361359" y="23004"/>
                      <a:pt x="338179" y="37032"/>
                    </a:cubicBezTo>
                    <a:cubicBezTo>
                      <a:pt x="315036" y="51059"/>
                      <a:pt x="300897" y="76137"/>
                      <a:pt x="300897" y="103223"/>
                    </a:cubicBezTo>
                    <a:cubicBezTo>
                      <a:pt x="300822" y="128561"/>
                      <a:pt x="313250" y="152336"/>
                      <a:pt x="334086" y="166736"/>
                    </a:cubicBezTo>
                    <a:cubicBezTo>
                      <a:pt x="344058" y="173619"/>
                      <a:pt x="349973" y="184930"/>
                      <a:pt x="349936" y="197022"/>
                    </a:cubicBezTo>
                    <a:lnTo>
                      <a:pt x="349936" y="198994"/>
                    </a:lnTo>
                    <a:cubicBezTo>
                      <a:pt x="349899" y="219384"/>
                      <a:pt x="333416" y="235867"/>
                      <a:pt x="313027" y="235904"/>
                    </a:cubicBezTo>
                    <a:lnTo>
                      <a:pt x="253310" y="235904"/>
                    </a:lnTo>
                    <a:cubicBezTo>
                      <a:pt x="247282" y="235941"/>
                      <a:pt x="242409" y="240815"/>
                      <a:pt x="242371" y="246805"/>
                    </a:cubicBezTo>
                    <a:lnTo>
                      <a:pt x="242371" y="281817"/>
                    </a:lnTo>
                    <a:cubicBezTo>
                      <a:pt x="242409" y="287807"/>
                      <a:pt x="247283" y="292681"/>
                      <a:pt x="253310" y="292718"/>
                    </a:cubicBezTo>
                    <a:lnTo>
                      <a:pt x="312878" y="292718"/>
                    </a:lnTo>
                    <a:lnTo>
                      <a:pt x="312841" y="292718"/>
                    </a:lnTo>
                    <a:cubicBezTo>
                      <a:pt x="322739" y="292644"/>
                      <a:pt x="332226" y="296625"/>
                      <a:pt x="339183" y="303657"/>
                    </a:cubicBezTo>
                    <a:cubicBezTo>
                      <a:pt x="346104" y="310726"/>
                      <a:pt x="349899" y="320289"/>
                      <a:pt x="349676" y="330186"/>
                    </a:cubicBezTo>
                    <a:cubicBezTo>
                      <a:pt x="347035" y="501484"/>
                      <a:pt x="315929" y="585761"/>
                      <a:pt x="278908" y="619955"/>
                    </a:cubicBezTo>
                    <a:cubicBezTo>
                      <a:pt x="264769" y="633946"/>
                      <a:pt x="245459" y="641424"/>
                      <a:pt x="225553" y="640606"/>
                    </a:cubicBezTo>
                    <a:cubicBezTo>
                      <a:pt x="207805" y="639192"/>
                      <a:pt x="190951" y="632309"/>
                      <a:pt x="177258" y="620886"/>
                    </a:cubicBezTo>
                    <a:cubicBezTo>
                      <a:pt x="148498" y="598078"/>
                      <a:pt x="129559" y="558751"/>
                      <a:pt x="135103" y="529134"/>
                    </a:cubicBezTo>
                    <a:lnTo>
                      <a:pt x="135103" y="529171"/>
                    </a:lnTo>
                    <a:cubicBezTo>
                      <a:pt x="135252" y="528278"/>
                      <a:pt x="135512" y="527385"/>
                      <a:pt x="135847" y="526566"/>
                    </a:cubicBezTo>
                    <a:cubicBezTo>
                      <a:pt x="137075" y="523329"/>
                      <a:pt x="139568" y="520762"/>
                      <a:pt x="142693" y="519385"/>
                    </a:cubicBezTo>
                    <a:cubicBezTo>
                      <a:pt x="145856" y="518009"/>
                      <a:pt x="149427" y="517934"/>
                      <a:pt x="152628" y="519199"/>
                    </a:cubicBezTo>
                    <a:lnTo>
                      <a:pt x="182653" y="530994"/>
                    </a:lnTo>
                    <a:cubicBezTo>
                      <a:pt x="178449" y="510121"/>
                      <a:pt x="176998" y="488838"/>
                      <a:pt x="178337" y="467594"/>
                    </a:cubicBezTo>
                    <a:cubicBezTo>
                      <a:pt x="179639" y="448060"/>
                      <a:pt x="183732" y="428824"/>
                      <a:pt x="190541" y="410444"/>
                    </a:cubicBezTo>
                    <a:cubicBezTo>
                      <a:pt x="157836" y="416509"/>
                      <a:pt x="126731" y="429159"/>
                      <a:pt x="99085" y="447613"/>
                    </a:cubicBezTo>
                    <a:cubicBezTo>
                      <a:pt x="73152" y="465547"/>
                      <a:pt x="51386" y="488876"/>
                      <a:pt x="35350" y="516037"/>
                    </a:cubicBezTo>
                    <a:lnTo>
                      <a:pt x="64148" y="514660"/>
                    </a:lnTo>
                    <a:lnTo>
                      <a:pt x="64483" y="514660"/>
                    </a:lnTo>
                    <a:lnTo>
                      <a:pt x="64483" y="514698"/>
                    </a:lnTo>
                    <a:cubicBezTo>
                      <a:pt x="67906" y="514623"/>
                      <a:pt x="71254" y="515925"/>
                      <a:pt x="73710" y="518307"/>
                    </a:cubicBezTo>
                    <a:cubicBezTo>
                      <a:pt x="76203" y="520688"/>
                      <a:pt x="77617" y="523925"/>
                      <a:pt x="77691" y="527385"/>
                    </a:cubicBezTo>
                    <a:cubicBezTo>
                      <a:pt x="80333" y="641685"/>
                      <a:pt x="143138" y="669813"/>
                      <a:pt x="215213" y="702074"/>
                    </a:cubicBezTo>
                    <a:close/>
                    <a:moveTo>
                      <a:pt x="367094" y="850705"/>
                    </a:moveTo>
                    <a:cubicBezTo>
                      <a:pt x="323525" y="778895"/>
                      <a:pt x="261281" y="751026"/>
                      <a:pt x="204646" y="725651"/>
                    </a:cubicBezTo>
                    <a:cubicBezTo>
                      <a:pt x="127366" y="691123"/>
                      <a:pt x="59723" y="660836"/>
                      <a:pt x="52360" y="541142"/>
                    </a:cubicBezTo>
                    <a:lnTo>
                      <a:pt x="13553" y="542966"/>
                    </a:lnTo>
                    <a:lnTo>
                      <a:pt x="13553" y="543003"/>
                    </a:lnTo>
                    <a:cubicBezTo>
                      <a:pt x="8977" y="543226"/>
                      <a:pt x="4623" y="540994"/>
                      <a:pt x="2131" y="537161"/>
                    </a:cubicBezTo>
                    <a:cubicBezTo>
                      <a:pt x="-399" y="533329"/>
                      <a:pt x="-697" y="528455"/>
                      <a:pt x="1349" y="524324"/>
                    </a:cubicBezTo>
                    <a:cubicBezTo>
                      <a:pt x="20027" y="484960"/>
                      <a:pt x="48677" y="451138"/>
                      <a:pt x="84470" y="426284"/>
                    </a:cubicBezTo>
                    <a:cubicBezTo>
                      <a:pt x="122198" y="401355"/>
                      <a:pt x="165358" y="385877"/>
                      <a:pt x="210343" y="381040"/>
                    </a:cubicBezTo>
                    <a:cubicBezTo>
                      <a:pt x="215180" y="380407"/>
                      <a:pt x="219942" y="382565"/>
                      <a:pt x="222696" y="386584"/>
                    </a:cubicBezTo>
                    <a:cubicBezTo>
                      <a:pt x="225412" y="390602"/>
                      <a:pt x="225673" y="395811"/>
                      <a:pt x="223329" y="400090"/>
                    </a:cubicBezTo>
                    <a:cubicBezTo>
                      <a:pt x="212278" y="421633"/>
                      <a:pt x="205766" y="445222"/>
                      <a:pt x="204204" y="469369"/>
                    </a:cubicBezTo>
                    <a:cubicBezTo>
                      <a:pt x="202679" y="496158"/>
                      <a:pt x="205841" y="522985"/>
                      <a:pt x="213543" y="548694"/>
                    </a:cubicBezTo>
                    <a:cubicBezTo>
                      <a:pt x="214846" y="553420"/>
                      <a:pt x="213394" y="558479"/>
                      <a:pt x="209748" y="561754"/>
                    </a:cubicBezTo>
                    <a:cubicBezTo>
                      <a:pt x="206102" y="565066"/>
                      <a:pt x="200893" y="565996"/>
                      <a:pt x="196316" y="564210"/>
                    </a:cubicBezTo>
                    <a:lnTo>
                      <a:pt x="160932" y="550332"/>
                    </a:lnTo>
                    <a:cubicBezTo>
                      <a:pt x="165769" y="570275"/>
                      <a:pt x="177229" y="587985"/>
                      <a:pt x="193377" y="600598"/>
                    </a:cubicBezTo>
                    <a:cubicBezTo>
                      <a:pt x="202827" y="608635"/>
                      <a:pt x="214473" y="613546"/>
                      <a:pt x="226825" y="614663"/>
                    </a:cubicBezTo>
                    <a:cubicBezTo>
                      <a:pt x="239737" y="615035"/>
                      <a:pt x="252238" y="610012"/>
                      <a:pt x="261316" y="600822"/>
                    </a:cubicBezTo>
                    <a:cubicBezTo>
                      <a:pt x="293873" y="570796"/>
                      <a:pt x="321332" y="492666"/>
                      <a:pt x="323787" y="329845"/>
                    </a:cubicBezTo>
                    <a:lnTo>
                      <a:pt x="323787" y="329771"/>
                    </a:lnTo>
                    <a:cubicBezTo>
                      <a:pt x="323936" y="326832"/>
                      <a:pt x="322783" y="323929"/>
                      <a:pt x="320625" y="321920"/>
                    </a:cubicBezTo>
                    <a:cubicBezTo>
                      <a:pt x="319620" y="320878"/>
                      <a:pt x="318429" y="320023"/>
                      <a:pt x="317090" y="319465"/>
                    </a:cubicBezTo>
                    <a:cubicBezTo>
                      <a:pt x="315751" y="318906"/>
                      <a:pt x="314299" y="318646"/>
                      <a:pt x="312811" y="318683"/>
                    </a:cubicBezTo>
                    <a:lnTo>
                      <a:pt x="253317" y="318683"/>
                    </a:lnTo>
                    <a:cubicBezTo>
                      <a:pt x="232928" y="318646"/>
                      <a:pt x="216445" y="302163"/>
                      <a:pt x="216408" y="281811"/>
                    </a:cubicBezTo>
                    <a:lnTo>
                      <a:pt x="216408" y="246836"/>
                    </a:lnTo>
                    <a:cubicBezTo>
                      <a:pt x="216445" y="226484"/>
                      <a:pt x="232928" y="209964"/>
                      <a:pt x="253317" y="209964"/>
                    </a:cubicBezTo>
                    <a:lnTo>
                      <a:pt x="313071" y="209964"/>
                    </a:lnTo>
                    <a:lnTo>
                      <a:pt x="313034" y="209964"/>
                    </a:lnTo>
                    <a:cubicBezTo>
                      <a:pt x="319061" y="209927"/>
                      <a:pt x="323935" y="205053"/>
                      <a:pt x="323972" y="199025"/>
                    </a:cubicBezTo>
                    <a:lnTo>
                      <a:pt x="323972" y="197016"/>
                    </a:lnTo>
                    <a:cubicBezTo>
                      <a:pt x="324158" y="193407"/>
                      <a:pt x="322373" y="189984"/>
                      <a:pt x="319284" y="188049"/>
                    </a:cubicBezTo>
                    <a:cubicBezTo>
                      <a:pt x="282263" y="162265"/>
                      <a:pt x="266227" y="115458"/>
                      <a:pt x="279734" y="72368"/>
                    </a:cubicBezTo>
                    <a:cubicBezTo>
                      <a:pt x="293240" y="29320"/>
                      <a:pt x="333126" y="0"/>
                      <a:pt x="378260" y="0"/>
                    </a:cubicBezTo>
                    <a:cubicBezTo>
                      <a:pt x="423394" y="0"/>
                      <a:pt x="463278" y="29319"/>
                      <a:pt x="476787" y="72368"/>
                    </a:cubicBezTo>
                    <a:cubicBezTo>
                      <a:pt x="490293" y="115453"/>
                      <a:pt x="474294" y="162260"/>
                      <a:pt x="437236" y="188049"/>
                    </a:cubicBezTo>
                    <a:cubicBezTo>
                      <a:pt x="434148" y="189984"/>
                      <a:pt x="432362" y="193407"/>
                      <a:pt x="432548" y="197016"/>
                    </a:cubicBezTo>
                    <a:lnTo>
                      <a:pt x="432548" y="198988"/>
                    </a:lnTo>
                    <a:cubicBezTo>
                      <a:pt x="432585" y="205016"/>
                      <a:pt x="437459" y="209889"/>
                      <a:pt x="443487" y="209927"/>
                    </a:cubicBezTo>
                    <a:lnTo>
                      <a:pt x="503241" y="209927"/>
                    </a:lnTo>
                    <a:lnTo>
                      <a:pt x="503204" y="209927"/>
                    </a:lnTo>
                    <a:cubicBezTo>
                      <a:pt x="523593" y="209964"/>
                      <a:pt x="540076" y="226447"/>
                      <a:pt x="540113" y="246799"/>
                    </a:cubicBezTo>
                    <a:lnTo>
                      <a:pt x="540113" y="281811"/>
                    </a:lnTo>
                    <a:cubicBezTo>
                      <a:pt x="540113" y="302163"/>
                      <a:pt x="523593" y="318683"/>
                      <a:pt x="503204" y="318683"/>
                    </a:cubicBezTo>
                    <a:lnTo>
                      <a:pt x="443672" y="318683"/>
                    </a:lnTo>
                    <a:cubicBezTo>
                      <a:pt x="442184" y="318683"/>
                      <a:pt x="440733" y="318944"/>
                      <a:pt x="439356" y="319464"/>
                    </a:cubicBezTo>
                    <a:cubicBezTo>
                      <a:pt x="438054" y="320060"/>
                      <a:pt x="436863" y="320878"/>
                      <a:pt x="435859" y="321920"/>
                    </a:cubicBezTo>
                    <a:cubicBezTo>
                      <a:pt x="434817" y="322962"/>
                      <a:pt x="433998" y="324190"/>
                      <a:pt x="433403" y="325529"/>
                    </a:cubicBezTo>
                    <a:cubicBezTo>
                      <a:pt x="432882" y="326869"/>
                      <a:pt x="432659" y="328320"/>
                      <a:pt x="432696" y="329808"/>
                    </a:cubicBezTo>
                    <a:lnTo>
                      <a:pt x="432696" y="329882"/>
                    </a:lnTo>
                    <a:cubicBezTo>
                      <a:pt x="435189" y="492779"/>
                      <a:pt x="462610" y="570874"/>
                      <a:pt x="495167" y="600859"/>
                    </a:cubicBezTo>
                    <a:cubicBezTo>
                      <a:pt x="504245" y="610049"/>
                      <a:pt x="516784" y="615072"/>
                      <a:pt x="529695" y="614663"/>
                    </a:cubicBezTo>
                    <a:cubicBezTo>
                      <a:pt x="542048" y="613547"/>
                      <a:pt x="553730" y="608635"/>
                      <a:pt x="563144" y="600598"/>
                    </a:cubicBezTo>
                    <a:cubicBezTo>
                      <a:pt x="579329" y="587985"/>
                      <a:pt x="590751" y="570274"/>
                      <a:pt x="595588" y="550332"/>
                    </a:cubicBezTo>
                    <a:lnTo>
                      <a:pt x="560205" y="564210"/>
                    </a:lnTo>
                    <a:cubicBezTo>
                      <a:pt x="555591" y="566033"/>
                      <a:pt x="550344" y="565066"/>
                      <a:pt x="546661" y="561680"/>
                    </a:cubicBezTo>
                    <a:cubicBezTo>
                      <a:pt x="543015" y="558331"/>
                      <a:pt x="541601" y="553197"/>
                      <a:pt x="543052" y="548434"/>
                    </a:cubicBezTo>
                    <a:cubicBezTo>
                      <a:pt x="550679" y="522836"/>
                      <a:pt x="553842" y="496084"/>
                      <a:pt x="552354" y="469369"/>
                    </a:cubicBezTo>
                    <a:cubicBezTo>
                      <a:pt x="550716" y="445110"/>
                      <a:pt x="544168" y="421447"/>
                      <a:pt x="533043" y="399829"/>
                    </a:cubicBezTo>
                    <a:cubicBezTo>
                      <a:pt x="530848" y="395587"/>
                      <a:pt x="531220" y="390453"/>
                      <a:pt x="533974" y="386546"/>
                    </a:cubicBezTo>
                    <a:cubicBezTo>
                      <a:pt x="536727" y="382603"/>
                      <a:pt x="541415" y="380519"/>
                      <a:pt x="546177" y="381114"/>
                    </a:cubicBezTo>
                    <a:cubicBezTo>
                      <a:pt x="591161" y="385951"/>
                      <a:pt x="634321" y="401466"/>
                      <a:pt x="672050" y="426358"/>
                    </a:cubicBezTo>
                    <a:cubicBezTo>
                      <a:pt x="707843" y="451213"/>
                      <a:pt x="736529" y="485034"/>
                      <a:pt x="755171" y="524399"/>
                    </a:cubicBezTo>
                    <a:cubicBezTo>
                      <a:pt x="757254" y="528566"/>
                      <a:pt x="756920" y="533552"/>
                      <a:pt x="754315" y="537384"/>
                    </a:cubicBezTo>
                    <a:cubicBezTo>
                      <a:pt x="751711" y="541254"/>
                      <a:pt x="747246" y="543412"/>
                      <a:pt x="742632" y="543077"/>
                    </a:cubicBezTo>
                    <a:lnTo>
                      <a:pt x="704309" y="541254"/>
                    </a:lnTo>
                    <a:cubicBezTo>
                      <a:pt x="698467" y="659126"/>
                      <a:pt x="630750" y="689710"/>
                      <a:pt x="553138" y="724724"/>
                    </a:cubicBezTo>
                    <a:cubicBezTo>
                      <a:pt x="495988" y="750509"/>
                      <a:pt x="432999" y="778935"/>
                      <a:pt x="389355" y="850892"/>
                    </a:cubicBezTo>
                    <a:lnTo>
                      <a:pt x="389318" y="850930"/>
                    </a:lnTo>
                    <a:cubicBezTo>
                      <a:pt x="386974" y="854799"/>
                      <a:pt x="382732" y="857180"/>
                      <a:pt x="378193" y="857143"/>
                    </a:cubicBezTo>
                    <a:cubicBezTo>
                      <a:pt x="373654" y="857143"/>
                      <a:pt x="369449" y="854725"/>
                      <a:pt x="367142" y="850818"/>
                    </a:cubicBezTo>
                    <a:close/>
                    <a:moveTo>
                      <a:pt x="395892" y="83752"/>
                    </a:moveTo>
                    <a:cubicBezTo>
                      <a:pt x="404301" y="92161"/>
                      <a:pt x="405603" y="105369"/>
                      <a:pt x="399018" y="115266"/>
                    </a:cubicBezTo>
                    <a:cubicBezTo>
                      <a:pt x="392395" y="125164"/>
                      <a:pt x="379708" y="129033"/>
                      <a:pt x="368731" y="124456"/>
                    </a:cubicBezTo>
                    <a:cubicBezTo>
                      <a:pt x="357718" y="119917"/>
                      <a:pt x="351467" y="108234"/>
                      <a:pt x="353774" y="96551"/>
                    </a:cubicBezTo>
                    <a:cubicBezTo>
                      <a:pt x="356118" y="84868"/>
                      <a:pt x="366350" y="76459"/>
                      <a:pt x="378256" y="76459"/>
                    </a:cubicBezTo>
                    <a:cubicBezTo>
                      <a:pt x="384879" y="76459"/>
                      <a:pt x="391204" y="79101"/>
                      <a:pt x="395893" y="83751"/>
                    </a:cubicBezTo>
                    <a:close/>
                    <a:moveTo>
                      <a:pt x="378256" y="50489"/>
                    </a:moveTo>
                    <a:cubicBezTo>
                      <a:pt x="402552" y="50489"/>
                      <a:pt x="423462" y="67641"/>
                      <a:pt x="428188" y="91454"/>
                    </a:cubicBezTo>
                    <a:cubicBezTo>
                      <a:pt x="432913" y="115266"/>
                      <a:pt x="420188" y="139153"/>
                      <a:pt x="397753" y="148418"/>
                    </a:cubicBezTo>
                    <a:cubicBezTo>
                      <a:pt x="375316" y="157720"/>
                      <a:pt x="349421" y="149869"/>
                      <a:pt x="335914" y="129703"/>
                    </a:cubicBezTo>
                    <a:cubicBezTo>
                      <a:pt x="322445" y="109500"/>
                      <a:pt x="325087" y="82562"/>
                      <a:pt x="342239" y="65410"/>
                    </a:cubicBezTo>
                    <a:cubicBezTo>
                      <a:pt x="351802" y="55847"/>
                      <a:pt x="364750" y="50452"/>
                      <a:pt x="378255" y="50490"/>
                    </a:cubicBezTo>
                    <a:close/>
                  </a:path>
                </a:pathLst>
              </a:custGeom>
              <a:solidFill>
                <a:srgbClr val="000000"/>
              </a:solidFill>
              <a:ln w="9525" cap="flat">
                <a:noFill/>
                <a:prstDash val="solid"/>
                <a:miter/>
              </a:ln>
            </p:spPr>
            <p:txBody>
              <a:bodyPr rtlCol="0" anchor="ctr"/>
              <a:lstStyle/>
              <a:p>
                <a:endParaRPr lang="pt-BR"/>
              </a:p>
            </p:txBody>
          </p:sp>
        </p:grpSp>
        <p:grpSp>
          <p:nvGrpSpPr>
            <p:cNvPr id="100" name="Agrupar 99">
              <a:extLst>
                <a:ext uri="{FF2B5EF4-FFF2-40B4-BE49-F238E27FC236}">
                  <a16:creationId xmlns:a16="http://schemas.microsoft.com/office/drawing/2014/main" id="{58A7B54C-1994-0296-6D22-015063047E7E}"/>
                </a:ext>
              </a:extLst>
            </p:cNvPr>
            <p:cNvGrpSpPr/>
            <p:nvPr/>
          </p:nvGrpSpPr>
          <p:grpSpPr>
            <a:xfrm>
              <a:off x="6893626" y="4076598"/>
              <a:ext cx="390800" cy="390800"/>
              <a:chOff x="5848350" y="3455491"/>
              <a:chExt cx="390800" cy="390800"/>
            </a:xfrm>
          </p:grpSpPr>
          <p:sp>
            <p:nvSpPr>
              <p:cNvPr id="101" name="Elipse 100">
                <a:extLst>
                  <a:ext uri="{FF2B5EF4-FFF2-40B4-BE49-F238E27FC236}">
                    <a16:creationId xmlns:a16="http://schemas.microsoft.com/office/drawing/2014/main" id="{68B939CE-D9CC-B25C-FCAC-E33792CFCA7E}"/>
                  </a:ext>
                </a:extLst>
              </p:cNvPr>
              <p:cNvSpPr/>
              <p:nvPr/>
            </p:nvSpPr>
            <p:spPr>
              <a:xfrm>
                <a:off x="5848350" y="3455491"/>
                <a:ext cx="390800" cy="390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102" name="Forma Livre: Forma 101">
                <a:extLst>
                  <a:ext uri="{FF2B5EF4-FFF2-40B4-BE49-F238E27FC236}">
                    <a16:creationId xmlns:a16="http://schemas.microsoft.com/office/drawing/2014/main" id="{931972C1-1B4D-43AB-435C-C87841146B96}"/>
                  </a:ext>
                </a:extLst>
              </p:cNvPr>
              <p:cNvSpPr/>
              <p:nvPr/>
            </p:nvSpPr>
            <p:spPr>
              <a:xfrm>
                <a:off x="5908601" y="3508180"/>
                <a:ext cx="263632" cy="298694"/>
              </a:xfrm>
              <a:custGeom>
                <a:avLst/>
                <a:gdLst>
                  <a:gd name="connsiteX0" fmla="*/ 215218 w 756529"/>
                  <a:gd name="connsiteY0" fmla="*/ 702067 h 857143"/>
                  <a:gd name="connsiteX1" fmla="*/ 378258 w 756529"/>
                  <a:gd name="connsiteY1" fmla="*/ 820539 h 857143"/>
                  <a:gd name="connsiteX2" fmla="*/ 542450 w 756529"/>
                  <a:gd name="connsiteY2" fmla="*/ 701029 h 857143"/>
                  <a:gd name="connsiteX3" fmla="*/ 678810 w 756529"/>
                  <a:gd name="connsiteY3" fmla="*/ 528017 h 857143"/>
                  <a:gd name="connsiteX4" fmla="*/ 678810 w 756529"/>
                  <a:gd name="connsiteY4" fmla="*/ 527050 h 857143"/>
                  <a:gd name="connsiteX5" fmla="*/ 692353 w 756529"/>
                  <a:gd name="connsiteY5" fmla="*/ 514734 h 857143"/>
                  <a:gd name="connsiteX6" fmla="*/ 721151 w 756529"/>
                  <a:gd name="connsiteY6" fmla="*/ 516036 h 857143"/>
                  <a:gd name="connsiteX7" fmla="*/ 657415 w 756529"/>
                  <a:gd name="connsiteY7" fmla="*/ 447687 h 857143"/>
                  <a:gd name="connsiteX8" fmla="*/ 565997 w 756529"/>
                  <a:gd name="connsiteY8" fmla="*/ 410554 h 857143"/>
                  <a:gd name="connsiteX9" fmla="*/ 578201 w 756529"/>
                  <a:gd name="connsiteY9" fmla="*/ 467704 h 857143"/>
                  <a:gd name="connsiteX10" fmla="*/ 573848 w 756529"/>
                  <a:gd name="connsiteY10" fmla="*/ 531067 h 857143"/>
                  <a:gd name="connsiteX11" fmla="*/ 603576 w 756529"/>
                  <a:gd name="connsiteY11" fmla="*/ 519384 h 857143"/>
                  <a:gd name="connsiteX12" fmla="*/ 603613 w 756529"/>
                  <a:gd name="connsiteY12" fmla="*/ 519421 h 857143"/>
                  <a:gd name="connsiteX13" fmla="*/ 606181 w 756529"/>
                  <a:gd name="connsiteY13" fmla="*/ 518640 h 857143"/>
                  <a:gd name="connsiteX14" fmla="*/ 615891 w 756529"/>
                  <a:gd name="connsiteY14" fmla="*/ 520649 h 857143"/>
                  <a:gd name="connsiteX15" fmla="*/ 621361 w 756529"/>
                  <a:gd name="connsiteY15" fmla="*/ 528946 h 857143"/>
                  <a:gd name="connsiteX16" fmla="*/ 579242 w 756529"/>
                  <a:gd name="connsiteY16" fmla="*/ 620997 h 857143"/>
                  <a:gd name="connsiteX17" fmla="*/ 530985 w 756529"/>
                  <a:gd name="connsiteY17" fmla="*/ 640642 h 857143"/>
                  <a:gd name="connsiteX18" fmla="*/ 477629 w 756529"/>
                  <a:gd name="connsiteY18" fmla="*/ 619992 h 857143"/>
                  <a:gd name="connsiteX19" fmla="*/ 406824 w 756529"/>
                  <a:gd name="connsiteY19" fmla="*/ 330260 h 857143"/>
                  <a:gd name="connsiteX20" fmla="*/ 406824 w 756529"/>
                  <a:gd name="connsiteY20" fmla="*/ 330186 h 857143"/>
                  <a:gd name="connsiteX21" fmla="*/ 417354 w 756529"/>
                  <a:gd name="connsiteY21" fmla="*/ 303657 h 857143"/>
                  <a:gd name="connsiteX22" fmla="*/ 443659 w 756529"/>
                  <a:gd name="connsiteY22" fmla="*/ 292681 h 857143"/>
                  <a:gd name="connsiteX23" fmla="*/ 503228 w 756529"/>
                  <a:gd name="connsiteY23" fmla="*/ 292681 h 857143"/>
                  <a:gd name="connsiteX24" fmla="*/ 514129 w 756529"/>
                  <a:gd name="connsiteY24" fmla="*/ 281817 h 857143"/>
                  <a:gd name="connsiteX25" fmla="*/ 514129 w 756529"/>
                  <a:gd name="connsiteY25" fmla="*/ 246842 h 857143"/>
                  <a:gd name="connsiteX26" fmla="*/ 503191 w 756529"/>
                  <a:gd name="connsiteY26" fmla="*/ 235941 h 857143"/>
                  <a:gd name="connsiteX27" fmla="*/ 443474 w 756529"/>
                  <a:gd name="connsiteY27" fmla="*/ 235941 h 857143"/>
                  <a:gd name="connsiteX28" fmla="*/ 406564 w 756529"/>
                  <a:gd name="connsiteY28" fmla="*/ 199032 h 857143"/>
                  <a:gd name="connsiteX29" fmla="*/ 406564 w 756529"/>
                  <a:gd name="connsiteY29" fmla="*/ 197022 h 857143"/>
                  <a:gd name="connsiteX30" fmla="*/ 422415 w 756529"/>
                  <a:gd name="connsiteY30" fmla="*/ 166736 h 857143"/>
                  <a:gd name="connsiteX31" fmla="*/ 455455 w 756529"/>
                  <a:gd name="connsiteY31" fmla="*/ 98386 h 857143"/>
                  <a:gd name="connsiteX32" fmla="*/ 414119 w 756529"/>
                  <a:gd name="connsiteY32" fmla="*/ 34651 h 857143"/>
                  <a:gd name="connsiteX33" fmla="*/ 338179 w 756529"/>
                  <a:gd name="connsiteY33" fmla="*/ 37032 h 857143"/>
                  <a:gd name="connsiteX34" fmla="*/ 300897 w 756529"/>
                  <a:gd name="connsiteY34" fmla="*/ 103223 h 857143"/>
                  <a:gd name="connsiteX35" fmla="*/ 334086 w 756529"/>
                  <a:gd name="connsiteY35" fmla="*/ 166736 h 857143"/>
                  <a:gd name="connsiteX36" fmla="*/ 349936 w 756529"/>
                  <a:gd name="connsiteY36" fmla="*/ 197022 h 857143"/>
                  <a:gd name="connsiteX37" fmla="*/ 349936 w 756529"/>
                  <a:gd name="connsiteY37" fmla="*/ 198994 h 857143"/>
                  <a:gd name="connsiteX38" fmla="*/ 313027 w 756529"/>
                  <a:gd name="connsiteY38" fmla="*/ 235904 h 857143"/>
                  <a:gd name="connsiteX39" fmla="*/ 253310 w 756529"/>
                  <a:gd name="connsiteY39" fmla="*/ 235904 h 857143"/>
                  <a:gd name="connsiteX40" fmla="*/ 242371 w 756529"/>
                  <a:gd name="connsiteY40" fmla="*/ 246805 h 857143"/>
                  <a:gd name="connsiteX41" fmla="*/ 242371 w 756529"/>
                  <a:gd name="connsiteY41" fmla="*/ 281817 h 857143"/>
                  <a:gd name="connsiteX42" fmla="*/ 253310 w 756529"/>
                  <a:gd name="connsiteY42" fmla="*/ 292718 h 857143"/>
                  <a:gd name="connsiteX43" fmla="*/ 312878 w 756529"/>
                  <a:gd name="connsiteY43" fmla="*/ 292718 h 857143"/>
                  <a:gd name="connsiteX44" fmla="*/ 312841 w 756529"/>
                  <a:gd name="connsiteY44" fmla="*/ 292718 h 857143"/>
                  <a:gd name="connsiteX45" fmla="*/ 339183 w 756529"/>
                  <a:gd name="connsiteY45" fmla="*/ 303657 h 857143"/>
                  <a:gd name="connsiteX46" fmla="*/ 349676 w 756529"/>
                  <a:gd name="connsiteY46" fmla="*/ 330186 h 857143"/>
                  <a:gd name="connsiteX47" fmla="*/ 278908 w 756529"/>
                  <a:gd name="connsiteY47" fmla="*/ 619955 h 857143"/>
                  <a:gd name="connsiteX48" fmla="*/ 225553 w 756529"/>
                  <a:gd name="connsiteY48" fmla="*/ 640606 h 857143"/>
                  <a:gd name="connsiteX49" fmla="*/ 177258 w 756529"/>
                  <a:gd name="connsiteY49" fmla="*/ 620886 h 857143"/>
                  <a:gd name="connsiteX50" fmla="*/ 135103 w 756529"/>
                  <a:gd name="connsiteY50" fmla="*/ 529134 h 857143"/>
                  <a:gd name="connsiteX51" fmla="*/ 135103 w 756529"/>
                  <a:gd name="connsiteY51" fmla="*/ 529171 h 857143"/>
                  <a:gd name="connsiteX52" fmla="*/ 135847 w 756529"/>
                  <a:gd name="connsiteY52" fmla="*/ 526566 h 857143"/>
                  <a:gd name="connsiteX53" fmla="*/ 142693 w 756529"/>
                  <a:gd name="connsiteY53" fmla="*/ 519385 h 857143"/>
                  <a:gd name="connsiteX54" fmla="*/ 152628 w 756529"/>
                  <a:gd name="connsiteY54" fmla="*/ 519199 h 857143"/>
                  <a:gd name="connsiteX55" fmla="*/ 182653 w 756529"/>
                  <a:gd name="connsiteY55" fmla="*/ 530994 h 857143"/>
                  <a:gd name="connsiteX56" fmla="*/ 178337 w 756529"/>
                  <a:gd name="connsiteY56" fmla="*/ 467594 h 857143"/>
                  <a:gd name="connsiteX57" fmla="*/ 190541 w 756529"/>
                  <a:gd name="connsiteY57" fmla="*/ 410444 h 857143"/>
                  <a:gd name="connsiteX58" fmla="*/ 99085 w 756529"/>
                  <a:gd name="connsiteY58" fmla="*/ 447613 h 857143"/>
                  <a:gd name="connsiteX59" fmla="*/ 35350 w 756529"/>
                  <a:gd name="connsiteY59" fmla="*/ 516037 h 857143"/>
                  <a:gd name="connsiteX60" fmla="*/ 64148 w 756529"/>
                  <a:gd name="connsiteY60" fmla="*/ 514660 h 857143"/>
                  <a:gd name="connsiteX61" fmla="*/ 64483 w 756529"/>
                  <a:gd name="connsiteY61" fmla="*/ 514660 h 857143"/>
                  <a:gd name="connsiteX62" fmla="*/ 64483 w 756529"/>
                  <a:gd name="connsiteY62" fmla="*/ 514698 h 857143"/>
                  <a:gd name="connsiteX63" fmla="*/ 73710 w 756529"/>
                  <a:gd name="connsiteY63" fmla="*/ 518307 h 857143"/>
                  <a:gd name="connsiteX64" fmla="*/ 77691 w 756529"/>
                  <a:gd name="connsiteY64" fmla="*/ 527385 h 857143"/>
                  <a:gd name="connsiteX65" fmla="*/ 215213 w 756529"/>
                  <a:gd name="connsiteY65" fmla="*/ 702074 h 857143"/>
                  <a:gd name="connsiteX66" fmla="*/ 367094 w 756529"/>
                  <a:gd name="connsiteY66" fmla="*/ 850705 h 857143"/>
                  <a:gd name="connsiteX67" fmla="*/ 204646 w 756529"/>
                  <a:gd name="connsiteY67" fmla="*/ 725651 h 857143"/>
                  <a:gd name="connsiteX68" fmla="*/ 52360 w 756529"/>
                  <a:gd name="connsiteY68" fmla="*/ 541142 h 857143"/>
                  <a:gd name="connsiteX69" fmla="*/ 13553 w 756529"/>
                  <a:gd name="connsiteY69" fmla="*/ 542966 h 857143"/>
                  <a:gd name="connsiteX70" fmla="*/ 13553 w 756529"/>
                  <a:gd name="connsiteY70" fmla="*/ 543003 h 857143"/>
                  <a:gd name="connsiteX71" fmla="*/ 2131 w 756529"/>
                  <a:gd name="connsiteY71" fmla="*/ 537161 h 857143"/>
                  <a:gd name="connsiteX72" fmla="*/ 1349 w 756529"/>
                  <a:gd name="connsiteY72" fmla="*/ 524324 h 857143"/>
                  <a:gd name="connsiteX73" fmla="*/ 84470 w 756529"/>
                  <a:gd name="connsiteY73" fmla="*/ 426284 h 857143"/>
                  <a:gd name="connsiteX74" fmla="*/ 210343 w 756529"/>
                  <a:gd name="connsiteY74" fmla="*/ 381040 h 857143"/>
                  <a:gd name="connsiteX75" fmla="*/ 222696 w 756529"/>
                  <a:gd name="connsiteY75" fmla="*/ 386584 h 857143"/>
                  <a:gd name="connsiteX76" fmla="*/ 223329 w 756529"/>
                  <a:gd name="connsiteY76" fmla="*/ 400090 h 857143"/>
                  <a:gd name="connsiteX77" fmla="*/ 204204 w 756529"/>
                  <a:gd name="connsiteY77" fmla="*/ 469369 h 857143"/>
                  <a:gd name="connsiteX78" fmla="*/ 213543 w 756529"/>
                  <a:gd name="connsiteY78" fmla="*/ 548694 h 857143"/>
                  <a:gd name="connsiteX79" fmla="*/ 209748 w 756529"/>
                  <a:gd name="connsiteY79" fmla="*/ 561754 h 857143"/>
                  <a:gd name="connsiteX80" fmla="*/ 196316 w 756529"/>
                  <a:gd name="connsiteY80" fmla="*/ 564210 h 857143"/>
                  <a:gd name="connsiteX81" fmla="*/ 160932 w 756529"/>
                  <a:gd name="connsiteY81" fmla="*/ 550332 h 857143"/>
                  <a:gd name="connsiteX82" fmla="*/ 193377 w 756529"/>
                  <a:gd name="connsiteY82" fmla="*/ 600598 h 857143"/>
                  <a:gd name="connsiteX83" fmla="*/ 226825 w 756529"/>
                  <a:gd name="connsiteY83" fmla="*/ 614663 h 857143"/>
                  <a:gd name="connsiteX84" fmla="*/ 261316 w 756529"/>
                  <a:gd name="connsiteY84" fmla="*/ 600822 h 857143"/>
                  <a:gd name="connsiteX85" fmla="*/ 323787 w 756529"/>
                  <a:gd name="connsiteY85" fmla="*/ 329845 h 857143"/>
                  <a:gd name="connsiteX86" fmla="*/ 323787 w 756529"/>
                  <a:gd name="connsiteY86" fmla="*/ 329771 h 857143"/>
                  <a:gd name="connsiteX87" fmla="*/ 320625 w 756529"/>
                  <a:gd name="connsiteY87" fmla="*/ 321920 h 857143"/>
                  <a:gd name="connsiteX88" fmla="*/ 317090 w 756529"/>
                  <a:gd name="connsiteY88" fmla="*/ 319465 h 857143"/>
                  <a:gd name="connsiteX89" fmla="*/ 312811 w 756529"/>
                  <a:gd name="connsiteY89" fmla="*/ 318683 h 857143"/>
                  <a:gd name="connsiteX90" fmla="*/ 253317 w 756529"/>
                  <a:gd name="connsiteY90" fmla="*/ 318683 h 857143"/>
                  <a:gd name="connsiteX91" fmla="*/ 216408 w 756529"/>
                  <a:gd name="connsiteY91" fmla="*/ 281811 h 857143"/>
                  <a:gd name="connsiteX92" fmla="*/ 216408 w 756529"/>
                  <a:gd name="connsiteY92" fmla="*/ 246836 h 857143"/>
                  <a:gd name="connsiteX93" fmla="*/ 253317 w 756529"/>
                  <a:gd name="connsiteY93" fmla="*/ 209964 h 857143"/>
                  <a:gd name="connsiteX94" fmla="*/ 313071 w 756529"/>
                  <a:gd name="connsiteY94" fmla="*/ 209964 h 857143"/>
                  <a:gd name="connsiteX95" fmla="*/ 313034 w 756529"/>
                  <a:gd name="connsiteY95" fmla="*/ 209964 h 857143"/>
                  <a:gd name="connsiteX96" fmla="*/ 323972 w 756529"/>
                  <a:gd name="connsiteY96" fmla="*/ 199025 h 857143"/>
                  <a:gd name="connsiteX97" fmla="*/ 323972 w 756529"/>
                  <a:gd name="connsiteY97" fmla="*/ 197016 h 857143"/>
                  <a:gd name="connsiteX98" fmla="*/ 319284 w 756529"/>
                  <a:gd name="connsiteY98" fmla="*/ 188049 h 857143"/>
                  <a:gd name="connsiteX99" fmla="*/ 279734 w 756529"/>
                  <a:gd name="connsiteY99" fmla="*/ 72368 h 857143"/>
                  <a:gd name="connsiteX100" fmla="*/ 378260 w 756529"/>
                  <a:gd name="connsiteY100" fmla="*/ 0 h 857143"/>
                  <a:gd name="connsiteX101" fmla="*/ 476787 w 756529"/>
                  <a:gd name="connsiteY101" fmla="*/ 72368 h 857143"/>
                  <a:gd name="connsiteX102" fmla="*/ 437236 w 756529"/>
                  <a:gd name="connsiteY102" fmla="*/ 188049 h 857143"/>
                  <a:gd name="connsiteX103" fmla="*/ 432548 w 756529"/>
                  <a:gd name="connsiteY103" fmla="*/ 197016 h 857143"/>
                  <a:gd name="connsiteX104" fmla="*/ 432548 w 756529"/>
                  <a:gd name="connsiteY104" fmla="*/ 198988 h 857143"/>
                  <a:gd name="connsiteX105" fmla="*/ 443487 w 756529"/>
                  <a:gd name="connsiteY105" fmla="*/ 209927 h 857143"/>
                  <a:gd name="connsiteX106" fmla="*/ 503241 w 756529"/>
                  <a:gd name="connsiteY106" fmla="*/ 209927 h 857143"/>
                  <a:gd name="connsiteX107" fmla="*/ 503204 w 756529"/>
                  <a:gd name="connsiteY107" fmla="*/ 209927 h 857143"/>
                  <a:gd name="connsiteX108" fmla="*/ 540113 w 756529"/>
                  <a:gd name="connsiteY108" fmla="*/ 246799 h 857143"/>
                  <a:gd name="connsiteX109" fmla="*/ 540113 w 756529"/>
                  <a:gd name="connsiteY109" fmla="*/ 281811 h 857143"/>
                  <a:gd name="connsiteX110" fmla="*/ 503204 w 756529"/>
                  <a:gd name="connsiteY110" fmla="*/ 318683 h 857143"/>
                  <a:gd name="connsiteX111" fmla="*/ 443672 w 756529"/>
                  <a:gd name="connsiteY111" fmla="*/ 318683 h 857143"/>
                  <a:gd name="connsiteX112" fmla="*/ 439356 w 756529"/>
                  <a:gd name="connsiteY112" fmla="*/ 319464 h 857143"/>
                  <a:gd name="connsiteX113" fmla="*/ 435859 w 756529"/>
                  <a:gd name="connsiteY113" fmla="*/ 321920 h 857143"/>
                  <a:gd name="connsiteX114" fmla="*/ 433403 w 756529"/>
                  <a:gd name="connsiteY114" fmla="*/ 325529 h 857143"/>
                  <a:gd name="connsiteX115" fmla="*/ 432696 w 756529"/>
                  <a:gd name="connsiteY115" fmla="*/ 329808 h 857143"/>
                  <a:gd name="connsiteX116" fmla="*/ 432696 w 756529"/>
                  <a:gd name="connsiteY116" fmla="*/ 329882 h 857143"/>
                  <a:gd name="connsiteX117" fmla="*/ 495167 w 756529"/>
                  <a:gd name="connsiteY117" fmla="*/ 600859 h 857143"/>
                  <a:gd name="connsiteX118" fmla="*/ 529695 w 756529"/>
                  <a:gd name="connsiteY118" fmla="*/ 614663 h 857143"/>
                  <a:gd name="connsiteX119" fmla="*/ 563144 w 756529"/>
                  <a:gd name="connsiteY119" fmla="*/ 600598 h 857143"/>
                  <a:gd name="connsiteX120" fmla="*/ 595588 w 756529"/>
                  <a:gd name="connsiteY120" fmla="*/ 550332 h 857143"/>
                  <a:gd name="connsiteX121" fmla="*/ 560205 w 756529"/>
                  <a:gd name="connsiteY121" fmla="*/ 564210 h 857143"/>
                  <a:gd name="connsiteX122" fmla="*/ 546661 w 756529"/>
                  <a:gd name="connsiteY122" fmla="*/ 561680 h 857143"/>
                  <a:gd name="connsiteX123" fmla="*/ 543052 w 756529"/>
                  <a:gd name="connsiteY123" fmla="*/ 548434 h 857143"/>
                  <a:gd name="connsiteX124" fmla="*/ 552354 w 756529"/>
                  <a:gd name="connsiteY124" fmla="*/ 469369 h 857143"/>
                  <a:gd name="connsiteX125" fmla="*/ 533043 w 756529"/>
                  <a:gd name="connsiteY125" fmla="*/ 399829 h 857143"/>
                  <a:gd name="connsiteX126" fmla="*/ 533974 w 756529"/>
                  <a:gd name="connsiteY126" fmla="*/ 386546 h 857143"/>
                  <a:gd name="connsiteX127" fmla="*/ 546177 w 756529"/>
                  <a:gd name="connsiteY127" fmla="*/ 381114 h 857143"/>
                  <a:gd name="connsiteX128" fmla="*/ 672050 w 756529"/>
                  <a:gd name="connsiteY128" fmla="*/ 426358 h 857143"/>
                  <a:gd name="connsiteX129" fmla="*/ 755171 w 756529"/>
                  <a:gd name="connsiteY129" fmla="*/ 524399 h 857143"/>
                  <a:gd name="connsiteX130" fmla="*/ 754315 w 756529"/>
                  <a:gd name="connsiteY130" fmla="*/ 537384 h 857143"/>
                  <a:gd name="connsiteX131" fmla="*/ 742632 w 756529"/>
                  <a:gd name="connsiteY131" fmla="*/ 543077 h 857143"/>
                  <a:gd name="connsiteX132" fmla="*/ 704309 w 756529"/>
                  <a:gd name="connsiteY132" fmla="*/ 541254 h 857143"/>
                  <a:gd name="connsiteX133" fmla="*/ 553138 w 756529"/>
                  <a:gd name="connsiteY133" fmla="*/ 724724 h 857143"/>
                  <a:gd name="connsiteX134" fmla="*/ 389355 w 756529"/>
                  <a:gd name="connsiteY134" fmla="*/ 850892 h 857143"/>
                  <a:gd name="connsiteX135" fmla="*/ 389318 w 756529"/>
                  <a:gd name="connsiteY135" fmla="*/ 850930 h 857143"/>
                  <a:gd name="connsiteX136" fmla="*/ 378193 w 756529"/>
                  <a:gd name="connsiteY136" fmla="*/ 857143 h 857143"/>
                  <a:gd name="connsiteX137" fmla="*/ 367142 w 756529"/>
                  <a:gd name="connsiteY137" fmla="*/ 850818 h 857143"/>
                  <a:gd name="connsiteX138" fmla="*/ 395892 w 756529"/>
                  <a:gd name="connsiteY138" fmla="*/ 83752 h 857143"/>
                  <a:gd name="connsiteX139" fmla="*/ 399018 w 756529"/>
                  <a:gd name="connsiteY139" fmla="*/ 115266 h 857143"/>
                  <a:gd name="connsiteX140" fmla="*/ 368731 w 756529"/>
                  <a:gd name="connsiteY140" fmla="*/ 124456 h 857143"/>
                  <a:gd name="connsiteX141" fmla="*/ 353774 w 756529"/>
                  <a:gd name="connsiteY141" fmla="*/ 96551 h 857143"/>
                  <a:gd name="connsiteX142" fmla="*/ 378256 w 756529"/>
                  <a:gd name="connsiteY142" fmla="*/ 76459 h 857143"/>
                  <a:gd name="connsiteX143" fmla="*/ 395893 w 756529"/>
                  <a:gd name="connsiteY143" fmla="*/ 83751 h 857143"/>
                  <a:gd name="connsiteX144" fmla="*/ 378256 w 756529"/>
                  <a:gd name="connsiteY144" fmla="*/ 50489 h 857143"/>
                  <a:gd name="connsiteX145" fmla="*/ 428188 w 756529"/>
                  <a:gd name="connsiteY145" fmla="*/ 91454 h 857143"/>
                  <a:gd name="connsiteX146" fmla="*/ 397753 w 756529"/>
                  <a:gd name="connsiteY146" fmla="*/ 148418 h 857143"/>
                  <a:gd name="connsiteX147" fmla="*/ 335914 w 756529"/>
                  <a:gd name="connsiteY147" fmla="*/ 129703 h 857143"/>
                  <a:gd name="connsiteX148" fmla="*/ 342239 w 756529"/>
                  <a:gd name="connsiteY148" fmla="*/ 65410 h 857143"/>
                  <a:gd name="connsiteX149" fmla="*/ 378255 w 756529"/>
                  <a:gd name="connsiteY149" fmla="*/ 50490 h 85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756529" h="857143">
                    <a:moveTo>
                      <a:pt x="215218" y="702067"/>
                    </a:moveTo>
                    <a:cubicBezTo>
                      <a:pt x="270842" y="726959"/>
                      <a:pt x="331604" y="754158"/>
                      <a:pt x="378258" y="820539"/>
                    </a:cubicBezTo>
                    <a:cubicBezTo>
                      <a:pt x="425027" y="754013"/>
                      <a:pt x="486386" y="726331"/>
                      <a:pt x="542450" y="701029"/>
                    </a:cubicBezTo>
                    <a:cubicBezTo>
                      <a:pt x="614781" y="668398"/>
                      <a:pt x="677590" y="640084"/>
                      <a:pt x="678810" y="528017"/>
                    </a:cubicBezTo>
                    <a:lnTo>
                      <a:pt x="678810" y="527050"/>
                    </a:lnTo>
                    <a:cubicBezTo>
                      <a:pt x="679144" y="519906"/>
                      <a:pt x="685209" y="514399"/>
                      <a:pt x="692353" y="514734"/>
                    </a:cubicBezTo>
                    <a:lnTo>
                      <a:pt x="721151" y="516036"/>
                    </a:lnTo>
                    <a:cubicBezTo>
                      <a:pt x="705115" y="488912"/>
                      <a:pt x="683348" y="465583"/>
                      <a:pt x="657415" y="447687"/>
                    </a:cubicBezTo>
                    <a:cubicBezTo>
                      <a:pt x="629771" y="429269"/>
                      <a:pt x="598665" y="416619"/>
                      <a:pt x="565997" y="410554"/>
                    </a:cubicBezTo>
                    <a:cubicBezTo>
                      <a:pt x="572769" y="428897"/>
                      <a:pt x="576899" y="448170"/>
                      <a:pt x="578201" y="467704"/>
                    </a:cubicBezTo>
                    <a:cubicBezTo>
                      <a:pt x="579540" y="488913"/>
                      <a:pt x="578089" y="510231"/>
                      <a:pt x="573848" y="531067"/>
                    </a:cubicBezTo>
                    <a:lnTo>
                      <a:pt x="603576" y="519384"/>
                    </a:lnTo>
                    <a:lnTo>
                      <a:pt x="603613" y="519421"/>
                    </a:lnTo>
                    <a:cubicBezTo>
                      <a:pt x="604432" y="519049"/>
                      <a:pt x="605288" y="518789"/>
                      <a:pt x="606181" y="518640"/>
                    </a:cubicBezTo>
                    <a:cubicBezTo>
                      <a:pt x="609566" y="517970"/>
                      <a:pt x="613064" y="518714"/>
                      <a:pt x="615891" y="520649"/>
                    </a:cubicBezTo>
                    <a:cubicBezTo>
                      <a:pt x="618756" y="522584"/>
                      <a:pt x="620691" y="525560"/>
                      <a:pt x="621361" y="528946"/>
                    </a:cubicBezTo>
                    <a:cubicBezTo>
                      <a:pt x="627091" y="558600"/>
                      <a:pt x="608115" y="598114"/>
                      <a:pt x="579242" y="620997"/>
                    </a:cubicBezTo>
                    <a:cubicBezTo>
                      <a:pt x="565587" y="632382"/>
                      <a:pt x="548733" y="639229"/>
                      <a:pt x="530985" y="640642"/>
                    </a:cubicBezTo>
                    <a:cubicBezTo>
                      <a:pt x="511116" y="641461"/>
                      <a:pt x="491768" y="633982"/>
                      <a:pt x="477629" y="619992"/>
                    </a:cubicBezTo>
                    <a:cubicBezTo>
                      <a:pt x="440571" y="585761"/>
                      <a:pt x="409467" y="501491"/>
                      <a:pt x="406824" y="330260"/>
                    </a:cubicBezTo>
                    <a:lnTo>
                      <a:pt x="406824" y="330186"/>
                    </a:lnTo>
                    <a:cubicBezTo>
                      <a:pt x="406601" y="320289"/>
                      <a:pt x="410396" y="310726"/>
                      <a:pt x="417354" y="303657"/>
                    </a:cubicBezTo>
                    <a:cubicBezTo>
                      <a:pt x="424275" y="296625"/>
                      <a:pt x="433763" y="292644"/>
                      <a:pt x="443659" y="292681"/>
                    </a:cubicBezTo>
                    <a:lnTo>
                      <a:pt x="503228" y="292681"/>
                    </a:lnTo>
                    <a:cubicBezTo>
                      <a:pt x="509218" y="292644"/>
                      <a:pt x="514092" y="287807"/>
                      <a:pt x="514129" y="281817"/>
                    </a:cubicBezTo>
                    <a:lnTo>
                      <a:pt x="514129" y="246842"/>
                    </a:lnTo>
                    <a:cubicBezTo>
                      <a:pt x="514092" y="240815"/>
                      <a:pt x="509218" y="235941"/>
                      <a:pt x="503191" y="235941"/>
                    </a:cubicBezTo>
                    <a:lnTo>
                      <a:pt x="443474" y="235941"/>
                    </a:lnTo>
                    <a:cubicBezTo>
                      <a:pt x="423085" y="235904"/>
                      <a:pt x="406602" y="219384"/>
                      <a:pt x="406564" y="199032"/>
                    </a:cubicBezTo>
                    <a:lnTo>
                      <a:pt x="406564" y="197022"/>
                    </a:lnTo>
                    <a:cubicBezTo>
                      <a:pt x="406527" y="184930"/>
                      <a:pt x="412443" y="173619"/>
                      <a:pt x="422415" y="166736"/>
                    </a:cubicBezTo>
                    <a:cubicBezTo>
                      <a:pt x="444627" y="151295"/>
                      <a:pt x="457166" y="125361"/>
                      <a:pt x="455455" y="98386"/>
                    </a:cubicBezTo>
                    <a:cubicBezTo>
                      <a:pt x="453781" y="71374"/>
                      <a:pt x="438080" y="47189"/>
                      <a:pt x="414119" y="34651"/>
                    </a:cubicBezTo>
                    <a:cubicBezTo>
                      <a:pt x="390120" y="22112"/>
                      <a:pt x="361359" y="23004"/>
                      <a:pt x="338179" y="37032"/>
                    </a:cubicBezTo>
                    <a:cubicBezTo>
                      <a:pt x="315036" y="51059"/>
                      <a:pt x="300897" y="76137"/>
                      <a:pt x="300897" y="103223"/>
                    </a:cubicBezTo>
                    <a:cubicBezTo>
                      <a:pt x="300822" y="128561"/>
                      <a:pt x="313250" y="152336"/>
                      <a:pt x="334086" y="166736"/>
                    </a:cubicBezTo>
                    <a:cubicBezTo>
                      <a:pt x="344058" y="173619"/>
                      <a:pt x="349973" y="184930"/>
                      <a:pt x="349936" y="197022"/>
                    </a:cubicBezTo>
                    <a:lnTo>
                      <a:pt x="349936" y="198994"/>
                    </a:lnTo>
                    <a:cubicBezTo>
                      <a:pt x="349899" y="219384"/>
                      <a:pt x="333416" y="235867"/>
                      <a:pt x="313027" y="235904"/>
                    </a:cubicBezTo>
                    <a:lnTo>
                      <a:pt x="253310" y="235904"/>
                    </a:lnTo>
                    <a:cubicBezTo>
                      <a:pt x="247282" y="235941"/>
                      <a:pt x="242409" y="240815"/>
                      <a:pt x="242371" y="246805"/>
                    </a:cubicBezTo>
                    <a:lnTo>
                      <a:pt x="242371" y="281817"/>
                    </a:lnTo>
                    <a:cubicBezTo>
                      <a:pt x="242409" y="287807"/>
                      <a:pt x="247283" y="292681"/>
                      <a:pt x="253310" y="292718"/>
                    </a:cubicBezTo>
                    <a:lnTo>
                      <a:pt x="312878" y="292718"/>
                    </a:lnTo>
                    <a:lnTo>
                      <a:pt x="312841" y="292718"/>
                    </a:lnTo>
                    <a:cubicBezTo>
                      <a:pt x="322739" y="292644"/>
                      <a:pt x="332226" y="296625"/>
                      <a:pt x="339183" y="303657"/>
                    </a:cubicBezTo>
                    <a:cubicBezTo>
                      <a:pt x="346104" y="310726"/>
                      <a:pt x="349899" y="320289"/>
                      <a:pt x="349676" y="330186"/>
                    </a:cubicBezTo>
                    <a:cubicBezTo>
                      <a:pt x="347035" y="501484"/>
                      <a:pt x="315929" y="585761"/>
                      <a:pt x="278908" y="619955"/>
                    </a:cubicBezTo>
                    <a:cubicBezTo>
                      <a:pt x="264769" y="633946"/>
                      <a:pt x="245459" y="641424"/>
                      <a:pt x="225553" y="640606"/>
                    </a:cubicBezTo>
                    <a:cubicBezTo>
                      <a:pt x="207805" y="639192"/>
                      <a:pt x="190951" y="632309"/>
                      <a:pt x="177258" y="620886"/>
                    </a:cubicBezTo>
                    <a:cubicBezTo>
                      <a:pt x="148498" y="598078"/>
                      <a:pt x="129559" y="558751"/>
                      <a:pt x="135103" y="529134"/>
                    </a:cubicBezTo>
                    <a:lnTo>
                      <a:pt x="135103" y="529171"/>
                    </a:lnTo>
                    <a:cubicBezTo>
                      <a:pt x="135252" y="528278"/>
                      <a:pt x="135512" y="527385"/>
                      <a:pt x="135847" y="526566"/>
                    </a:cubicBezTo>
                    <a:cubicBezTo>
                      <a:pt x="137075" y="523329"/>
                      <a:pt x="139568" y="520762"/>
                      <a:pt x="142693" y="519385"/>
                    </a:cubicBezTo>
                    <a:cubicBezTo>
                      <a:pt x="145856" y="518009"/>
                      <a:pt x="149427" y="517934"/>
                      <a:pt x="152628" y="519199"/>
                    </a:cubicBezTo>
                    <a:lnTo>
                      <a:pt x="182653" y="530994"/>
                    </a:lnTo>
                    <a:cubicBezTo>
                      <a:pt x="178449" y="510121"/>
                      <a:pt x="176998" y="488838"/>
                      <a:pt x="178337" y="467594"/>
                    </a:cubicBezTo>
                    <a:cubicBezTo>
                      <a:pt x="179639" y="448060"/>
                      <a:pt x="183732" y="428824"/>
                      <a:pt x="190541" y="410444"/>
                    </a:cubicBezTo>
                    <a:cubicBezTo>
                      <a:pt x="157836" y="416509"/>
                      <a:pt x="126731" y="429159"/>
                      <a:pt x="99085" y="447613"/>
                    </a:cubicBezTo>
                    <a:cubicBezTo>
                      <a:pt x="73152" y="465547"/>
                      <a:pt x="51386" y="488876"/>
                      <a:pt x="35350" y="516037"/>
                    </a:cubicBezTo>
                    <a:lnTo>
                      <a:pt x="64148" y="514660"/>
                    </a:lnTo>
                    <a:lnTo>
                      <a:pt x="64483" y="514660"/>
                    </a:lnTo>
                    <a:lnTo>
                      <a:pt x="64483" y="514698"/>
                    </a:lnTo>
                    <a:cubicBezTo>
                      <a:pt x="67906" y="514623"/>
                      <a:pt x="71254" y="515925"/>
                      <a:pt x="73710" y="518307"/>
                    </a:cubicBezTo>
                    <a:cubicBezTo>
                      <a:pt x="76203" y="520688"/>
                      <a:pt x="77617" y="523925"/>
                      <a:pt x="77691" y="527385"/>
                    </a:cubicBezTo>
                    <a:cubicBezTo>
                      <a:pt x="80333" y="641685"/>
                      <a:pt x="143138" y="669813"/>
                      <a:pt x="215213" y="702074"/>
                    </a:cubicBezTo>
                    <a:close/>
                    <a:moveTo>
                      <a:pt x="367094" y="850705"/>
                    </a:moveTo>
                    <a:cubicBezTo>
                      <a:pt x="323525" y="778895"/>
                      <a:pt x="261281" y="751026"/>
                      <a:pt x="204646" y="725651"/>
                    </a:cubicBezTo>
                    <a:cubicBezTo>
                      <a:pt x="127366" y="691123"/>
                      <a:pt x="59723" y="660836"/>
                      <a:pt x="52360" y="541142"/>
                    </a:cubicBezTo>
                    <a:lnTo>
                      <a:pt x="13553" y="542966"/>
                    </a:lnTo>
                    <a:lnTo>
                      <a:pt x="13553" y="543003"/>
                    </a:lnTo>
                    <a:cubicBezTo>
                      <a:pt x="8977" y="543226"/>
                      <a:pt x="4623" y="540994"/>
                      <a:pt x="2131" y="537161"/>
                    </a:cubicBezTo>
                    <a:cubicBezTo>
                      <a:pt x="-399" y="533329"/>
                      <a:pt x="-697" y="528455"/>
                      <a:pt x="1349" y="524324"/>
                    </a:cubicBezTo>
                    <a:cubicBezTo>
                      <a:pt x="20027" y="484960"/>
                      <a:pt x="48677" y="451138"/>
                      <a:pt x="84470" y="426284"/>
                    </a:cubicBezTo>
                    <a:cubicBezTo>
                      <a:pt x="122198" y="401355"/>
                      <a:pt x="165358" y="385877"/>
                      <a:pt x="210343" y="381040"/>
                    </a:cubicBezTo>
                    <a:cubicBezTo>
                      <a:pt x="215180" y="380407"/>
                      <a:pt x="219942" y="382565"/>
                      <a:pt x="222696" y="386584"/>
                    </a:cubicBezTo>
                    <a:cubicBezTo>
                      <a:pt x="225412" y="390602"/>
                      <a:pt x="225673" y="395811"/>
                      <a:pt x="223329" y="400090"/>
                    </a:cubicBezTo>
                    <a:cubicBezTo>
                      <a:pt x="212278" y="421633"/>
                      <a:pt x="205766" y="445222"/>
                      <a:pt x="204204" y="469369"/>
                    </a:cubicBezTo>
                    <a:cubicBezTo>
                      <a:pt x="202679" y="496158"/>
                      <a:pt x="205841" y="522985"/>
                      <a:pt x="213543" y="548694"/>
                    </a:cubicBezTo>
                    <a:cubicBezTo>
                      <a:pt x="214846" y="553420"/>
                      <a:pt x="213394" y="558479"/>
                      <a:pt x="209748" y="561754"/>
                    </a:cubicBezTo>
                    <a:cubicBezTo>
                      <a:pt x="206102" y="565066"/>
                      <a:pt x="200893" y="565996"/>
                      <a:pt x="196316" y="564210"/>
                    </a:cubicBezTo>
                    <a:lnTo>
                      <a:pt x="160932" y="550332"/>
                    </a:lnTo>
                    <a:cubicBezTo>
                      <a:pt x="165769" y="570275"/>
                      <a:pt x="177229" y="587985"/>
                      <a:pt x="193377" y="600598"/>
                    </a:cubicBezTo>
                    <a:cubicBezTo>
                      <a:pt x="202827" y="608635"/>
                      <a:pt x="214473" y="613546"/>
                      <a:pt x="226825" y="614663"/>
                    </a:cubicBezTo>
                    <a:cubicBezTo>
                      <a:pt x="239737" y="615035"/>
                      <a:pt x="252238" y="610012"/>
                      <a:pt x="261316" y="600822"/>
                    </a:cubicBezTo>
                    <a:cubicBezTo>
                      <a:pt x="293873" y="570796"/>
                      <a:pt x="321332" y="492666"/>
                      <a:pt x="323787" y="329845"/>
                    </a:cubicBezTo>
                    <a:lnTo>
                      <a:pt x="323787" y="329771"/>
                    </a:lnTo>
                    <a:cubicBezTo>
                      <a:pt x="323936" y="326832"/>
                      <a:pt x="322783" y="323929"/>
                      <a:pt x="320625" y="321920"/>
                    </a:cubicBezTo>
                    <a:cubicBezTo>
                      <a:pt x="319620" y="320878"/>
                      <a:pt x="318429" y="320023"/>
                      <a:pt x="317090" y="319465"/>
                    </a:cubicBezTo>
                    <a:cubicBezTo>
                      <a:pt x="315751" y="318906"/>
                      <a:pt x="314299" y="318646"/>
                      <a:pt x="312811" y="318683"/>
                    </a:cubicBezTo>
                    <a:lnTo>
                      <a:pt x="253317" y="318683"/>
                    </a:lnTo>
                    <a:cubicBezTo>
                      <a:pt x="232928" y="318646"/>
                      <a:pt x="216445" y="302163"/>
                      <a:pt x="216408" y="281811"/>
                    </a:cubicBezTo>
                    <a:lnTo>
                      <a:pt x="216408" y="246836"/>
                    </a:lnTo>
                    <a:cubicBezTo>
                      <a:pt x="216445" y="226484"/>
                      <a:pt x="232928" y="209964"/>
                      <a:pt x="253317" y="209964"/>
                    </a:cubicBezTo>
                    <a:lnTo>
                      <a:pt x="313071" y="209964"/>
                    </a:lnTo>
                    <a:lnTo>
                      <a:pt x="313034" y="209964"/>
                    </a:lnTo>
                    <a:cubicBezTo>
                      <a:pt x="319061" y="209927"/>
                      <a:pt x="323935" y="205053"/>
                      <a:pt x="323972" y="199025"/>
                    </a:cubicBezTo>
                    <a:lnTo>
                      <a:pt x="323972" y="197016"/>
                    </a:lnTo>
                    <a:cubicBezTo>
                      <a:pt x="324158" y="193407"/>
                      <a:pt x="322373" y="189984"/>
                      <a:pt x="319284" y="188049"/>
                    </a:cubicBezTo>
                    <a:cubicBezTo>
                      <a:pt x="282263" y="162265"/>
                      <a:pt x="266227" y="115458"/>
                      <a:pt x="279734" y="72368"/>
                    </a:cubicBezTo>
                    <a:cubicBezTo>
                      <a:pt x="293240" y="29320"/>
                      <a:pt x="333126" y="0"/>
                      <a:pt x="378260" y="0"/>
                    </a:cubicBezTo>
                    <a:cubicBezTo>
                      <a:pt x="423394" y="0"/>
                      <a:pt x="463278" y="29319"/>
                      <a:pt x="476787" y="72368"/>
                    </a:cubicBezTo>
                    <a:cubicBezTo>
                      <a:pt x="490293" y="115453"/>
                      <a:pt x="474294" y="162260"/>
                      <a:pt x="437236" y="188049"/>
                    </a:cubicBezTo>
                    <a:cubicBezTo>
                      <a:pt x="434148" y="189984"/>
                      <a:pt x="432362" y="193407"/>
                      <a:pt x="432548" y="197016"/>
                    </a:cubicBezTo>
                    <a:lnTo>
                      <a:pt x="432548" y="198988"/>
                    </a:lnTo>
                    <a:cubicBezTo>
                      <a:pt x="432585" y="205016"/>
                      <a:pt x="437459" y="209889"/>
                      <a:pt x="443487" y="209927"/>
                    </a:cubicBezTo>
                    <a:lnTo>
                      <a:pt x="503241" y="209927"/>
                    </a:lnTo>
                    <a:lnTo>
                      <a:pt x="503204" y="209927"/>
                    </a:lnTo>
                    <a:cubicBezTo>
                      <a:pt x="523593" y="209964"/>
                      <a:pt x="540076" y="226447"/>
                      <a:pt x="540113" y="246799"/>
                    </a:cubicBezTo>
                    <a:lnTo>
                      <a:pt x="540113" y="281811"/>
                    </a:lnTo>
                    <a:cubicBezTo>
                      <a:pt x="540113" y="302163"/>
                      <a:pt x="523593" y="318683"/>
                      <a:pt x="503204" y="318683"/>
                    </a:cubicBezTo>
                    <a:lnTo>
                      <a:pt x="443672" y="318683"/>
                    </a:lnTo>
                    <a:cubicBezTo>
                      <a:pt x="442184" y="318683"/>
                      <a:pt x="440733" y="318944"/>
                      <a:pt x="439356" y="319464"/>
                    </a:cubicBezTo>
                    <a:cubicBezTo>
                      <a:pt x="438054" y="320060"/>
                      <a:pt x="436863" y="320878"/>
                      <a:pt x="435859" y="321920"/>
                    </a:cubicBezTo>
                    <a:cubicBezTo>
                      <a:pt x="434817" y="322962"/>
                      <a:pt x="433998" y="324190"/>
                      <a:pt x="433403" y="325529"/>
                    </a:cubicBezTo>
                    <a:cubicBezTo>
                      <a:pt x="432882" y="326869"/>
                      <a:pt x="432659" y="328320"/>
                      <a:pt x="432696" y="329808"/>
                    </a:cubicBezTo>
                    <a:lnTo>
                      <a:pt x="432696" y="329882"/>
                    </a:lnTo>
                    <a:cubicBezTo>
                      <a:pt x="435189" y="492779"/>
                      <a:pt x="462610" y="570874"/>
                      <a:pt x="495167" y="600859"/>
                    </a:cubicBezTo>
                    <a:cubicBezTo>
                      <a:pt x="504245" y="610049"/>
                      <a:pt x="516784" y="615072"/>
                      <a:pt x="529695" y="614663"/>
                    </a:cubicBezTo>
                    <a:cubicBezTo>
                      <a:pt x="542048" y="613547"/>
                      <a:pt x="553730" y="608635"/>
                      <a:pt x="563144" y="600598"/>
                    </a:cubicBezTo>
                    <a:cubicBezTo>
                      <a:pt x="579329" y="587985"/>
                      <a:pt x="590751" y="570274"/>
                      <a:pt x="595588" y="550332"/>
                    </a:cubicBezTo>
                    <a:lnTo>
                      <a:pt x="560205" y="564210"/>
                    </a:lnTo>
                    <a:cubicBezTo>
                      <a:pt x="555591" y="566033"/>
                      <a:pt x="550344" y="565066"/>
                      <a:pt x="546661" y="561680"/>
                    </a:cubicBezTo>
                    <a:cubicBezTo>
                      <a:pt x="543015" y="558331"/>
                      <a:pt x="541601" y="553197"/>
                      <a:pt x="543052" y="548434"/>
                    </a:cubicBezTo>
                    <a:cubicBezTo>
                      <a:pt x="550679" y="522836"/>
                      <a:pt x="553842" y="496084"/>
                      <a:pt x="552354" y="469369"/>
                    </a:cubicBezTo>
                    <a:cubicBezTo>
                      <a:pt x="550716" y="445110"/>
                      <a:pt x="544168" y="421447"/>
                      <a:pt x="533043" y="399829"/>
                    </a:cubicBezTo>
                    <a:cubicBezTo>
                      <a:pt x="530848" y="395587"/>
                      <a:pt x="531220" y="390453"/>
                      <a:pt x="533974" y="386546"/>
                    </a:cubicBezTo>
                    <a:cubicBezTo>
                      <a:pt x="536727" y="382603"/>
                      <a:pt x="541415" y="380519"/>
                      <a:pt x="546177" y="381114"/>
                    </a:cubicBezTo>
                    <a:cubicBezTo>
                      <a:pt x="591161" y="385951"/>
                      <a:pt x="634321" y="401466"/>
                      <a:pt x="672050" y="426358"/>
                    </a:cubicBezTo>
                    <a:cubicBezTo>
                      <a:pt x="707843" y="451213"/>
                      <a:pt x="736529" y="485034"/>
                      <a:pt x="755171" y="524399"/>
                    </a:cubicBezTo>
                    <a:cubicBezTo>
                      <a:pt x="757254" y="528566"/>
                      <a:pt x="756920" y="533552"/>
                      <a:pt x="754315" y="537384"/>
                    </a:cubicBezTo>
                    <a:cubicBezTo>
                      <a:pt x="751711" y="541254"/>
                      <a:pt x="747246" y="543412"/>
                      <a:pt x="742632" y="543077"/>
                    </a:cubicBezTo>
                    <a:lnTo>
                      <a:pt x="704309" y="541254"/>
                    </a:lnTo>
                    <a:cubicBezTo>
                      <a:pt x="698467" y="659126"/>
                      <a:pt x="630750" y="689710"/>
                      <a:pt x="553138" y="724724"/>
                    </a:cubicBezTo>
                    <a:cubicBezTo>
                      <a:pt x="495988" y="750509"/>
                      <a:pt x="432999" y="778935"/>
                      <a:pt x="389355" y="850892"/>
                    </a:cubicBezTo>
                    <a:lnTo>
                      <a:pt x="389318" y="850930"/>
                    </a:lnTo>
                    <a:cubicBezTo>
                      <a:pt x="386974" y="854799"/>
                      <a:pt x="382732" y="857180"/>
                      <a:pt x="378193" y="857143"/>
                    </a:cubicBezTo>
                    <a:cubicBezTo>
                      <a:pt x="373654" y="857143"/>
                      <a:pt x="369449" y="854725"/>
                      <a:pt x="367142" y="850818"/>
                    </a:cubicBezTo>
                    <a:close/>
                    <a:moveTo>
                      <a:pt x="395892" y="83752"/>
                    </a:moveTo>
                    <a:cubicBezTo>
                      <a:pt x="404301" y="92161"/>
                      <a:pt x="405603" y="105369"/>
                      <a:pt x="399018" y="115266"/>
                    </a:cubicBezTo>
                    <a:cubicBezTo>
                      <a:pt x="392395" y="125164"/>
                      <a:pt x="379708" y="129033"/>
                      <a:pt x="368731" y="124456"/>
                    </a:cubicBezTo>
                    <a:cubicBezTo>
                      <a:pt x="357718" y="119917"/>
                      <a:pt x="351467" y="108234"/>
                      <a:pt x="353774" y="96551"/>
                    </a:cubicBezTo>
                    <a:cubicBezTo>
                      <a:pt x="356118" y="84868"/>
                      <a:pt x="366350" y="76459"/>
                      <a:pt x="378256" y="76459"/>
                    </a:cubicBezTo>
                    <a:cubicBezTo>
                      <a:pt x="384879" y="76459"/>
                      <a:pt x="391204" y="79101"/>
                      <a:pt x="395893" y="83751"/>
                    </a:cubicBezTo>
                    <a:close/>
                    <a:moveTo>
                      <a:pt x="378256" y="50489"/>
                    </a:moveTo>
                    <a:cubicBezTo>
                      <a:pt x="402552" y="50489"/>
                      <a:pt x="423462" y="67641"/>
                      <a:pt x="428188" y="91454"/>
                    </a:cubicBezTo>
                    <a:cubicBezTo>
                      <a:pt x="432913" y="115266"/>
                      <a:pt x="420188" y="139153"/>
                      <a:pt x="397753" y="148418"/>
                    </a:cubicBezTo>
                    <a:cubicBezTo>
                      <a:pt x="375316" y="157720"/>
                      <a:pt x="349421" y="149869"/>
                      <a:pt x="335914" y="129703"/>
                    </a:cubicBezTo>
                    <a:cubicBezTo>
                      <a:pt x="322445" y="109500"/>
                      <a:pt x="325087" y="82562"/>
                      <a:pt x="342239" y="65410"/>
                    </a:cubicBezTo>
                    <a:cubicBezTo>
                      <a:pt x="351802" y="55847"/>
                      <a:pt x="364750" y="50452"/>
                      <a:pt x="378255" y="50490"/>
                    </a:cubicBezTo>
                    <a:close/>
                  </a:path>
                </a:pathLst>
              </a:custGeom>
              <a:solidFill>
                <a:srgbClr val="000000"/>
              </a:solidFill>
              <a:ln w="9525" cap="flat">
                <a:noFill/>
                <a:prstDash val="solid"/>
                <a:miter/>
              </a:ln>
            </p:spPr>
            <p:txBody>
              <a:bodyPr rtlCol="0" anchor="ctr"/>
              <a:lstStyle/>
              <a:p>
                <a:endParaRPr lang="pt-BR"/>
              </a:p>
            </p:txBody>
          </p:sp>
        </p:grpSp>
        <p:grpSp>
          <p:nvGrpSpPr>
            <p:cNvPr id="103" name="Agrupar 102">
              <a:extLst>
                <a:ext uri="{FF2B5EF4-FFF2-40B4-BE49-F238E27FC236}">
                  <a16:creationId xmlns:a16="http://schemas.microsoft.com/office/drawing/2014/main" id="{2DFBCE44-E579-9AC3-ADF0-7C02F2341449}"/>
                </a:ext>
              </a:extLst>
            </p:cNvPr>
            <p:cNvGrpSpPr/>
            <p:nvPr/>
          </p:nvGrpSpPr>
          <p:grpSpPr>
            <a:xfrm>
              <a:off x="9674319" y="5636589"/>
              <a:ext cx="189594" cy="189594"/>
              <a:chOff x="5848350" y="3455491"/>
              <a:chExt cx="390800" cy="390800"/>
            </a:xfrm>
          </p:grpSpPr>
          <p:sp>
            <p:nvSpPr>
              <p:cNvPr id="104" name="Elipse 103">
                <a:extLst>
                  <a:ext uri="{FF2B5EF4-FFF2-40B4-BE49-F238E27FC236}">
                    <a16:creationId xmlns:a16="http://schemas.microsoft.com/office/drawing/2014/main" id="{E5AD4E22-F170-8BA9-5CB0-CE438A20B137}"/>
                  </a:ext>
                </a:extLst>
              </p:cNvPr>
              <p:cNvSpPr/>
              <p:nvPr/>
            </p:nvSpPr>
            <p:spPr>
              <a:xfrm>
                <a:off x="5848350" y="3455491"/>
                <a:ext cx="390800" cy="390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105" name="Forma Livre: Forma 104">
                <a:extLst>
                  <a:ext uri="{FF2B5EF4-FFF2-40B4-BE49-F238E27FC236}">
                    <a16:creationId xmlns:a16="http://schemas.microsoft.com/office/drawing/2014/main" id="{5D172ED1-9329-3887-E43A-03709B94F66F}"/>
                  </a:ext>
                </a:extLst>
              </p:cNvPr>
              <p:cNvSpPr/>
              <p:nvPr/>
            </p:nvSpPr>
            <p:spPr>
              <a:xfrm>
                <a:off x="5908601" y="3508180"/>
                <a:ext cx="263632" cy="298694"/>
              </a:xfrm>
              <a:custGeom>
                <a:avLst/>
                <a:gdLst>
                  <a:gd name="connsiteX0" fmla="*/ 215218 w 756529"/>
                  <a:gd name="connsiteY0" fmla="*/ 702067 h 857143"/>
                  <a:gd name="connsiteX1" fmla="*/ 378258 w 756529"/>
                  <a:gd name="connsiteY1" fmla="*/ 820539 h 857143"/>
                  <a:gd name="connsiteX2" fmla="*/ 542450 w 756529"/>
                  <a:gd name="connsiteY2" fmla="*/ 701029 h 857143"/>
                  <a:gd name="connsiteX3" fmla="*/ 678810 w 756529"/>
                  <a:gd name="connsiteY3" fmla="*/ 528017 h 857143"/>
                  <a:gd name="connsiteX4" fmla="*/ 678810 w 756529"/>
                  <a:gd name="connsiteY4" fmla="*/ 527050 h 857143"/>
                  <a:gd name="connsiteX5" fmla="*/ 692353 w 756529"/>
                  <a:gd name="connsiteY5" fmla="*/ 514734 h 857143"/>
                  <a:gd name="connsiteX6" fmla="*/ 721151 w 756529"/>
                  <a:gd name="connsiteY6" fmla="*/ 516036 h 857143"/>
                  <a:gd name="connsiteX7" fmla="*/ 657415 w 756529"/>
                  <a:gd name="connsiteY7" fmla="*/ 447687 h 857143"/>
                  <a:gd name="connsiteX8" fmla="*/ 565997 w 756529"/>
                  <a:gd name="connsiteY8" fmla="*/ 410554 h 857143"/>
                  <a:gd name="connsiteX9" fmla="*/ 578201 w 756529"/>
                  <a:gd name="connsiteY9" fmla="*/ 467704 h 857143"/>
                  <a:gd name="connsiteX10" fmla="*/ 573848 w 756529"/>
                  <a:gd name="connsiteY10" fmla="*/ 531067 h 857143"/>
                  <a:gd name="connsiteX11" fmla="*/ 603576 w 756529"/>
                  <a:gd name="connsiteY11" fmla="*/ 519384 h 857143"/>
                  <a:gd name="connsiteX12" fmla="*/ 603613 w 756529"/>
                  <a:gd name="connsiteY12" fmla="*/ 519421 h 857143"/>
                  <a:gd name="connsiteX13" fmla="*/ 606181 w 756529"/>
                  <a:gd name="connsiteY13" fmla="*/ 518640 h 857143"/>
                  <a:gd name="connsiteX14" fmla="*/ 615891 w 756529"/>
                  <a:gd name="connsiteY14" fmla="*/ 520649 h 857143"/>
                  <a:gd name="connsiteX15" fmla="*/ 621361 w 756529"/>
                  <a:gd name="connsiteY15" fmla="*/ 528946 h 857143"/>
                  <a:gd name="connsiteX16" fmla="*/ 579242 w 756529"/>
                  <a:gd name="connsiteY16" fmla="*/ 620997 h 857143"/>
                  <a:gd name="connsiteX17" fmla="*/ 530985 w 756529"/>
                  <a:gd name="connsiteY17" fmla="*/ 640642 h 857143"/>
                  <a:gd name="connsiteX18" fmla="*/ 477629 w 756529"/>
                  <a:gd name="connsiteY18" fmla="*/ 619992 h 857143"/>
                  <a:gd name="connsiteX19" fmla="*/ 406824 w 756529"/>
                  <a:gd name="connsiteY19" fmla="*/ 330260 h 857143"/>
                  <a:gd name="connsiteX20" fmla="*/ 406824 w 756529"/>
                  <a:gd name="connsiteY20" fmla="*/ 330186 h 857143"/>
                  <a:gd name="connsiteX21" fmla="*/ 417354 w 756529"/>
                  <a:gd name="connsiteY21" fmla="*/ 303657 h 857143"/>
                  <a:gd name="connsiteX22" fmla="*/ 443659 w 756529"/>
                  <a:gd name="connsiteY22" fmla="*/ 292681 h 857143"/>
                  <a:gd name="connsiteX23" fmla="*/ 503228 w 756529"/>
                  <a:gd name="connsiteY23" fmla="*/ 292681 h 857143"/>
                  <a:gd name="connsiteX24" fmla="*/ 514129 w 756529"/>
                  <a:gd name="connsiteY24" fmla="*/ 281817 h 857143"/>
                  <a:gd name="connsiteX25" fmla="*/ 514129 w 756529"/>
                  <a:gd name="connsiteY25" fmla="*/ 246842 h 857143"/>
                  <a:gd name="connsiteX26" fmla="*/ 503191 w 756529"/>
                  <a:gd name="connsiteY26" fmla="*/ 235941 h 857143"/>
                  <a:gd name="connsiteX27" fmla="*/ 443474 w 756529"/>
                  <a:gd name="connsiteY27" fmla="*/ 235941 h 857143"/>
                  <a:gd name="connsiteX28" fmla="*/ 406564 w 756529"/>
                  <a:gd name="connsiteY28" fmla="*/ 199032 h 857143"/>
                  <a:gd name="connsiteX29" fmla="*/ 406564 w 756529"/>
                  <a:gd name="connsiteY29" fmla="*/ 197022 h 857143"/>
                  <a:gd name="connsiteX30" fmla="*/ 422415 w 756529"/>
                  <a:gd name="connsiteY30" fmla="*/ 166736 h 857143"/>
                  <a:gd name="connsiteX31" fmla="*/ 455455 w 756529"/>
                  <a:gd name="connsiteY31" fmla="*/ 98386 h 857143"/>
                  <a:gd name="connsiteX32" fmla="*/ 414119 w 756529"/>
                  <a:gd name="connsiteY32" fmla="*/ 34651 h 857143"/>
                  <a:gd name="connsiteX33" fmla="*/ 338179 w 756529"/>
                  <a:gd name="connsiteY33" fmla="*/ 37032 h 857143"/>
                  <a:gd name="connsiteX34" fmla="*/ 300897 w 756529"/>
                  <a:gd name="connsiteY34" fmla="*/ 103223 h 857143"/>
                  <a:gd name="connsiteX35" fmla="*/ 334086 w 756529"/>
                  <a:gd name="connsiteY35" fmla="*/ 166736 h 857143"/>
                  <a:gd name="connsiteX36" fmla="*/ 349936 w 756529"/>
                  <a:gd name="connsiteY36" fmla="*/ 197022 h 857143"/>
                  <a:gd name="connsiteX37" fmla="*/ 349936 w 756529"/>
                  <a:gd name="connsiteY37" fmla="*/ 198994 h 857143"/>
                  <a:gd name="connsiteX38" fmla="*/ 313027 w 756529"/>
                  <a:gd name="connsiteY38" fmla="*/ 235904 h 857143"/>
                  <a:gd name="connsiteX39" fmla="*/ 253310 w 756529"/>
                  <a:gd name="connsiteY39" fmla="*/ 235904 h 857143"/>
                  <a:gd name="connsiteX40" fmla="*/ 242371 w 756529"/>
                  <a:gd name="connsiteY40" fmla="*/ 246805 h 857143"/>
                  <a:gd name="connsiteX41" fmla="*/ 242371 w 756529"/>
                  <a:gd name="connsiteY41" fmla="*/ 281817 h 857143"/>
                  <a:gd name="connsiteX42" fmla="*/ 253310 w 756529"/>
                  <a:gd name="connsiteY42" fmla="*/ 292718 h 857143"/>
                  <a:gd name="connsiteX43" fmla="*/ 312878 w 756529"/>
                  <a:gd name="connsiteY43" fmla="*/ 292718 h 857143"/>
                  <a:gd name="connsiteX44" fmla="*/ 312841 w 756529"/>
                  <a:gd name="connsiteY44" fmla="*/ 292718 h 857143"/>
                  <a:gd name="connsiteX45" fmla="*/ 339183 w 756529"/>
                  <a:gd name="connsiteY45" fmla="*/ 303657 h 857143"/>
                  <a:gd name="connsiteX46" fmla="*/ 349676 w 756529"/>
                  <a:gd name="connsiteY46" fmla="*/ 330186 h 857143"/>
                  <a:gd name="connsiteX47" fmla="*/ 278908 w 756529"/>
                  <a:gd name="connsiteY47" fmla="*/ 619955 h 857143"/>
                  <a:gd name="connsiteX48" fmla="*/ 225553 w 756529"/>
                  <a:gd name="connsiteY48" fmla="*/ 640606 h 857143"/>
                  <a:gd name="connsiteX49" fmla="*/ 177258 w 756529"/>
                  <a:gd name="connsiteY49" fmla="*/ 620886 h 857143"/>
                  <a:gd name="connsiteX50" fmla="*/ 135103 w 756529"/>
                  <a:gd name="connsiteY50" fmla="*/ 529134 h 857143"/>
                  <a:gd name="connsiteX51" fmla="*/ 135103 w 756529"/>
                  <a:gd name="connsiteY51" fmla="*/ 529171 h 857143"/>
                  <a:gd name="connsiteX52" fmla="*/ 135847 w 756529"/>
                  <a:gd name="connsiteY52" fmla="*/ 526566 h 857143"/>
                  <a:gd name="connsiteX53" fmla="*/ 142693 w 756529"/>
                  <a:gd name="connsiteY53" fmla="*/ 519385 h 857143"/>
                  <a:gd name="connsiteX54" fmla="*/ 152628 w 756529"/>
                  <a:gd name="connsiteY54" fmla="*/ 519199 h 857143"/>
                  <a:gd name="connsiteX55" fmla="*/ 182653 w 756529"/>
                  <a:gd name="connsiteY55" fmla="*/ 530994 h 857143"/>
                  <a:gd name="connsiteX56" fmla="*/ 178337 w 756529"/>
                  <a:gd name="connsiteY56" fmla="*/ 467594 h 857143"/>
                  <a:gd name="connsiteX57" fmla="*/ 190541 w 756529"/>
                  <a:gd name="connsiteY57" fmla="*/ 410444 h 857143"/>
                  <a:gd name="connsiteX58" fmla="*/ 99085 w 756529"/>
                  <a:gd name="connsiteY58" fmla="*/ 447613 h 857143"/>
                  <a:gd name="connsiteX59" fmla="*/ 35350 w 756529"/>
                  <a:gd name="connsiteY59" fmla="*/ 516037 h 857143"/>
                  <a:gd name="connsiteX60" fmla="*/ 64148 w 756529"/>
                  <a:gd name="connsiteY60" fmla="*/ 514660 h 857143"/>
                  <a:gd name="connsiteX61" fmla="*/ 64483 w 756529"/>
                  <a:gd name="connsiteY61" fmla="*/ 514660 h 857143"/>
                  <a:gd name="connsiteX62" fmla="*/ 64483 w 756529"/>
                  <a:gd name="connsiteY62" fmla="*/ 514698 h 857143"/>
                  <a:gd name="connsiteX63" fmla="*/ 73710 w 756529"/>
                  <a:gd name="connsiteY63" fmla="*/ 518307 h 857143"/>
                  <a:gd name="connsiteX64" fmla="*/ 77691 w 756529"/>
                  <a:gd name="connsiteY64" fmla="*/ 527385 h 857143"/>
                  <a:gd name="connsiteX65" fmla="*/ 215213 w 756529"/>
                  <a:gd name="connsiteY65" fmla="*/ 702074 h 857143"/>
                  <a:gd name="connsiteX66" fmla="*/ 367094 w 756529"/>
                  <a:gd name="connsiteY66" fmla="*/ 850705 h 857143"/>
                  <a:gd name="connsiteX67" fmla="*/ 204646 w 756529"/>
                  <a:gd name="connsiteY67" fmla="*/ 725651 h 857143"/>
                  <a:gd name="connsiteX68" fmla="*/ 52360 w 756529"/>
                  <a:gd name="connsiteY68" fmla="*/ 541142 h 857143"/>
                  <a:gd name="connsiteX69" fmla="*/ 13553 w 756529"/>
                  <a:gd name="connsiteY69" fmla="*/ 542966 h 857143"/>
                  <a:gd name="connsiteX70" fmla="*/ 13553 w 756529"/>
                  <a:gd name="connsiteY70" fmla="*/ 543003 h 857143"/>
                  <a:gd name="connsiteX71" fmla="*/ 2131 w 756529"/>
                  <a:gd name="connsiteY71" fmla="*/ 537161 h 857143"/>
                  <a:gd name="connsiteX72" fmla="*/ 1349 w 756529"/>
                  <a:gd name="connsiteY72" fmla="*/ 524324 h 857143"/>
                  <a:gd name="connsiteX73" fmla="*/ 84470 w 756529"/>
                  <a:gd name="connsiteY73" fmla="*/ 426284 h 857143"/>
                  <a:gd name="connsiteX74" fmla="*/ 210343 w 756529"/>
                  <a:gd name="connsiteY74" fmla="*/ 381040 h 857143"/>
                  <a:gd name="connsiteX75" fmla="*/ 222696 w 756529"/>
                  <a:gd name="connsiteY75" fmla="*/ 386584 h 857143"/>
                  <a:gd name="connsiteX76" fmla="*/ 223329 w 756529"/>
                  <a:gd name="connsiteY76" fmla="*/ 400090 h 857143"/>
                  <a:gd name="connsiteX77" fmla="*/ 204204 w 756529"/>
                  <a:gd name="connsiteY77" fmla="*/ 469369 h 857143"/>
                  <a:gd name="connsiteX78" fmla="*/ 213543 w 756529"/>
                  <a:gd name="connsiteY78" fmla="*/ 548694 h 857143"/>
                  <a:gd name="connsiteX79" fmla="*/ 209748 w 756529"/>
                  <a:gd name="connsiteY79" fmla="*/ 561754 h 857143"/>
                  <a:gd name="connsiteX80" fmla="*/ 196316 w 756529"/>
                  <a:gd name="connsiteY80" fmla="*/ 564210 h 857143"/>
                  <a:gd name="connsiteX81" fmla="*/ 160932 w 756529"/>
                  <a:gd name="connsiteY81" fmla="*/ 550332 h 857143"/>
                  <a:gd name="connsiteX82" fmla="*/ 193377 w 756529"/>
                  <a:gd name="connsiteY82" fmla="*/ 600598 h 857143"/>
                  <a:gd name="connsiteX83" fmla="*/ 226825 w 756529"/>
                  <a:gd name="connsiteY83" fmla="*/ 614663 h 857143"/>
                  <a:gd name="connsiteX84" fmla="*/ 261316 w 756529"/>
                  <a:gd name="connsiteY84" fmla="*/ 600822 h 857143"/>
                  <a:gd name="connsiteX85" fmla="*/ 323787 w 756529"/>
                  <a:gd name="connsiteY85" fmla="*/ 329845 h 857143"/>
                  <a:gd name="connsiteX86" fmla="*/ 323787 w 756529"/>
                  <a:gd name="connsiteY86" fmla="*/ 329771 h 857143"/>
                  <a:gd name="connsiteX87" fmla="*/ 320625 w 756529"/>
                  <a:gd name="connsiteY87" fmla="*/ 321920 h 857143"/>
                  <a:gd name="connsiteX88" fmla="*/ 317090 w 756529"/>
                  <a:gd name="connsiteY88" fmla="*/ 319465 h 857143"/>
                  <a:gd name="connsiteX89" fmla="*/ 312811 w 756529"/>
                  <a:gd name="connsiteY89" fmla="*/ 318683 h 857143"/>
                  <a:gd name="connsiteX90" fmla="*/ 253317 w 756529"/>
                  <a:gd name="connsiteY90" fmla="*/ 318683 h 857143"/>
                  <a:gd name="connsiteX91" fmla="*/ 216408 w 756529"/>
                  <a:gd name="connsiteY91" fmla="*/ 281811 h 857143"/>
                  <a:gd name="connsiteX92" fmla="*/ 216408 w 756529"/>
                  <a:gd name="connsiteY92" fmla="*/ 246836 h 857143"/>
                  <a:gd name="connsiteX93" fmla="*/ 253317 w 756529"/>
                  <a:gd name="connsiteY93" fmla="*/ 209964 h 857143"/>
                  <a:gd name="connsiteX94" fmla="*/ 313071 w 756529"/>
                  <a:gd name="connsiteY94" fmla="*/ 209964 h 857143"/>
                  <a:gd name="connsiteX95" fmla="*/ 313034 w 756529"/>
                  <a:gd name="connsiteY95" fmla="*/ 209964 h 857143"/>
                  <a:gd name="connsiteX96" fmla="*/ 323972 w 756529"/>
                  <a:gd name="connsiteY96" fmla="*/ 199025 h 857143"/>
                  <a:gd name="connsiteX97" fmla="*/ 323972 w 756529"/>
                  <a:gd name="connsiteY97" fmla="*/ 197016 h 857143"/>
                  <a:gd name="connsiteX98" fmla="*/ 319284 w 756529"/>
                  <a:gd name="connsiteY98" fmla="*/ 188049 h 857143"/>
                  <a:gd name="connsiteX99" fmla="*/ 279734 w 756529"/>
                  <a:gd name="connsiteY99" fmla="*/ 72368 h 857143"/>
                  <a:gd name="connsiteX100" fmla="*/ 378260 w 756529"/>
                  <a:gd name="connsiteY100" fmla="*/ 0 h 857143"/>
                  <a:gd name="connsiteX101" fmla="*/ 476787 w 756529"/>
                  <a:gd name="connsiteY101" fmla="*/ 72368 h 857143"/>
                  <a:gd name="connsiteX102" fmla="*/ 437236 w 756529"/>
                  <a:gd name="connsiteY102" fmla="*/ 188049 h 857143"/>
                  <a:gd name="connsiteX103" fmla="*/ 432548 w 756529"/>
                  <a:gd name="connsiteY103" fmla="*/ 197016 h 857143"/>
                  <a:gd name="connsiteX104" fmla="*/ 432548 w 756529"/>
                  <a:gd name="connsiteY104" fmla="*/ 198988 h 857143"/>
                  <a:gd name="connsiteX105" fmla="*/ 443487 w 756529"/>
                  <a:gd name="connsiteY105" fmla="*/ 209927 h 857143"/>
                  <a:gd name="connsiteX106" fmla="*/ 503241 w 756529"/>
                  <a:gd name="connsiteY106" fmla="*/ 209927 h 857143"/>
                  <a:gd name="connsiteX107" fmla="*/ 503204 w 756529"/>
                  <a:gd name="connsiteY107" fmla="*/ 209927 h 857143"/>
                  <a:gd name="connsiteX108" fmla="*/ 540113 w 756529"/>
                  <a:gd name="connsiteY108" fmla="*/ 246799 h 857143"/>
                  <a:gd name="connsiteX109" fmla="*/ 540113 w 756529"/>
                  <a:gd name="connsiteY109" fmla="*/ 281811 h 857143"/>
                  <a:gd name="connsiteX110" fmla="*/ 503204 w 756529"/>
                  <a:gd name="connsiteY110" fmla="*/ 318683 h 857143"/>
                  <a:gd name="connsiteX111" fmla="*/ 443672 w 756529"/>
                  <a:gd name="connsiteY111" fmla="*/ 318683 h 857143"/>
                  <a:gd name="connsiteX112" fmla="*/ 439356 w 756529"/>
                  <a:gd name="connsiteY112" fmla="*/ 319464 h 857143"/>
                  <a:gd name="connsiteX113" fmla="*/ 435859 w 756529"/>
                  <a:gd name="connsiteY113" fmla="*/ 321920 h 857143"/>
                  <a:gd name="connsiteX114" fmla="*/ 433403 w 756529"/>
                  <a:gd name="connsiteY114" fmla="*/ 325529 h 857143"/>
                  <a:gd name="connsiteX115" fmla="*/ 432696 w 756529"/>
                  <a:gd name="connsiteY115" fmla="*/ 329808 h 857143"/>
                  <a:gd name="connsiteX116" fmla="*/ 432696 w 756529"/>
                  <a:gd name="connsiteY116" fmla="*/ 329882 h 857143"/>
                  <a:gd name="connsiteX117" fmla="*/ 495167 w 756529"/>
                  <a:gd name="connsiteY117" fmla="*/ 600859 h 857143"/>
                  <a:gd name="connsiteX118" fmla="*/ 529695 w 756529"/>
                  <a:gd name="connsiteY118" fmla="*/ 614663 h 857143"/>
                  <a:gd name="connsiteX119" fmla="*/ 563144 w 756529"/>
                  <a:gd name="connsiteY119" fmla="*/ 600598 h 857143"/>
                  <a:gd name="connsiteX120" fmla="*/ 595588 w 756529"/>
                  <a:gd name="connsiteY120" fmla="*/ 550332 h 857143"/>
                  <a:gd name="connsiteX121" fmla="*/ 560205 w 756529"/>
                  <a:gd name="connsiteY121" fmla="*/ 564210 h 857143"/>
                  <a:gd name="connsiteX122" fmla="*/ 546661 w 756529"/>
                  <a:gd name="connsiteY122" fmla="*/ 561680 h 857143"/>
                  <a:gd name="connsiteX123" fmla="*/ 543052 w 756529"/>
                  <a:gd name="connsiteY123" fmla="*/ 548434 h 857143"/>
                  <a:gd name="connsiteX124" fmla="*/ 552354 w 756529"/>
                  <a:gd name="connsiteY124" fmla="*/ 469369 h 857143"/>
                  <a:gd name="connsiteX125" fmla="*/ 533043 w 756529"/>
                  <a:gd name="connsiteY125" fmla="*/ 399829 h 857143"/>
                  <a:gd name="connsiteX126" fmla="*/ 533974 w 756529"/>
                  <a:gd name="connsiteY126" fmla="*/ 386546 h 857143"/>
                  <a:gd name="connsiteX127" fmla="*/ 546177 w 756529"/>
                  <a:gd name="connsiteY127" fmla="*/ 381114 h 857143"/>
                  <a:gd name="connsiteX128" fmla="*/ 672050 w 756529"/>
                  <a:gd name="connsiteY128" fmla="*/ 426358 h 857143"/>
                  <a:gd name="connsiteX129" fmla="*/ 755171 w 756529"/>
                  <a:gd name="connsiteY129" fmla="*/ 524399 h 857143"/>
                  <a:gd name="connsiteX130" fmla="*/ 754315 w 756529"/>
                  <a:gd name="connsiteY130" fmla="*/ 537384 h 857143"/>
                  <a:gd name="connsiteX131" fmla="*/ 742632 w 756529"/>
                  <a:gd name="connsiteY131" fmla="*/ 543077 h 857143"/>
                  <a:gd name="connsiteX132" fmla="*/ 704309 w 756529"/>
                  <a:gd name="connsiteY132" fmla="*/ 541254 h 857143"/>
                  <a:gd name="connsiteX133" fmla="*/ 553138 w 756529"/>
                  <a:gd name="connsiteY133" fmla="*/ 724724 h 857143"/>
                  <a:gd name="connsiteX134" fmla="*/ 389355 w 756529"/>
                  <a:gd name="connsiteY134" fmla="*/ 850892 h 857143"/>
                  <a:gd name="connsiteX135" fmla="*/ 389318 w 756529"/>
                  <a:gd name="connsiteY135" fmla="*/ 850930 h 857143"/>
                  <a:gd name="connsiteX136" fmla="*/ 378193 w 756529"/>
                  <a:gd name="connsiteY136" fmla="*/ 857143 h 857143"/>
                  <a:gd name="connsiteX137" fmla="*/ 367142 w 756529"/>
                  <a:gd name="connsiteY137" fmla="*/ 850818 h 857143"/>
                  <a:gd name="connsiteX138" fmla="*/ 395892 w 756529"/>
                  <a:gd name="connsiteY138" fmla="*/ 83752 h 857143"/>
                  <a:gd name="connsiteX139" fmla="*/ 399018 w 756529"/>
                  <a:gd name="connsiteY139" fmla="*/ 115266 h 857143"/>
                  <a:gd name="connsiteX140" fmla="*/ 368731 w 756529"/>
                  <a:gd name="connsiteY140" fmla="*/ 124456 h 857143"/>
                  <a:gd name="connsiteX141" fmla="*/ 353774 w 756529"/>
                  <a:gd name="connsiteY141" fmla="*/ 96551 h 857143"/>
                  <a:gd name="connsiteX142" fmla="*/ 378256 w 756529"/>
                  <a:gd name="connsiteY142" fmla="*/ 76459 h 857143"/>
                  <a:gd name="connsiteX143" fmla="*/ 395893 w 756529"/>
                  <a:gd name="connsiteY143" fmla="*/ 83751 h 857143"/>
                  <a:gd name="connsiteX144" fmla="*/ 378256 w 756529"/>
                  <a:gd name="connsiteY144" fmla="*/ 50489 h 857143"/>
                  <a:gd name="connsiteX145" fmla="*/ 428188 w 756529"/>
                  <a:gd name="connsiteY145" fmla="*/ 91454 h 857143"/>
                  <a:gd name="connsiteX146" fmla="*/ 397753 w 756529"/>
                  <a:gd name="connsiteY146" fmla="*/ 148418 h 857143"/>
                  <a:gd name="connsiteX147" fmla="*/ 335914 w 756529"/>
                  <a:gd name="connsiteY147" fmla="*/ 129703 h 857143"/>
                  <a:gd name="connsiteX148" fmla="*/ 342239 w 756529"/>
                  <a:gd name="connsiteY148" fmla="*/ 65410 h 857143"/>
                  <a:gd name="connsiteX149" fmla="*/ 378255 w 756529"/>
                  <a:gd name="connsiteY149" fmla="*/ 50490 h 85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756529" h="857143">
                    <a:moveTo>
                      <a:pt x="215218" y="702067"/>
                    </a:moveTo>
                    <a:cubicBezTo>
                      <a:pt x="270842" y="726959"/>
                      <a:pt x="331604" y="754158"/>
                      <a:pt x="378258" y="820539"/>
                    </a:cubicBezTo>
                    <a:cubicBezTo>
                      <a:pt x="425027" y="754013"/>
                      <a:pt x="486386" y="726331"/>
                      <a:pt x="542450" y="701029"/>
                    </a:cubicBezTo>
                    <a:cubicBezTo>
                      <a:pt x="614781" y="668398"/>
                      <a:pt x="677590" y="640084"/>
                      <a:pt x="678810" y="528017"/>
                    </a:cubicBezTo>
                    <a:lnTo>
                      <a:pt x="678810" y="527050"/>
                    </a:lnTo>
                    <a:cubicBezTo>
                      <a:pt x="679144" y="519906"/>
                      <a:pt x="685209" y="514399"/>
                      <a:pt x="692353" y="514734"/>
                    </a:cubicBezTo>
                    <a:lnTo>
                      <a:pt x="721151" y="516036"/>
                    </a:lnTo>
                    <a:cubicBezTo>
                      <a:pt x="705115" y="488912"/>
                      <a:pt x="683348" y="465583"/>
                      <a:pt x="657415" y="447687"/>
                    </a:cubicBezTo>
                    <a:cubicBezTo>
                      <a:pt x="629771" y="429269"/>
                      <a:pt x="598665" y="416619"/>
                      <a:pt x="565997" y="410554"/>
                    </a:cubicBezTo>
                    <a:cubicBezTo>
                      <a:pt x="572769" y="428897"/>
                      <a:pt x="576899" y="448170"/>
                      <a:pt x="578201" y="467704"/>
                    </a:cubicBezTo>
                    <a:cubicBezTo>
                      <a:pt x="579540" y="488913"/>
                      <a:pt x="578089" y="510231"/>
                      <a:pt x="573848" y="531067"/>
                    </a:cubicBezTo>
                    <a:lnTo>
                      <a:pt x="603576" y="519384"/>
                    </a:lnTo>
                    <a:lnTo>
                      <a:pt x="603613" y="519421"/>
                    </a:lnTo>
                    <a:cubicBezTo>
                      <a:pt x="604432" y="519049"/>
                      <a:pt x="605288" y="518789"/>
                      <a:pt x="606181" y="518640"/>
                    </a:cubicBezTo>
                    <a:cubicBezTo>
                      <a:pt x="609566" y="517970"/>
                      <a:pt x="613064" y="518714"/>
                      <a:pt x="615891" y="520649"/>
                    </a:cubicBezTo>
                    <a:cubicBezTo>
                      <a:pt x="618756" y="522584"/>
                      <a:pt x="620691" y="525560"/>
                      <a:pt x="621361" y="528946"/>
                    </a:cubicBezTo>
                    <a:cubicBezTo>
                      <a:pt x="627091" y="558600"/>
                      <a:pt x="608115" y="598114"/>
                      <a:pt x="579242" y="620997"/>
                    </a:cubicBezTo>
                    <a:cubicBezTo>
                      <a:pt x="565587" y="632382"/>
                      <a:pt x="548733" y="639229"/>
                      <a:pt x="530985" y="640642"/>
                    </a:cubicBezTo>
                    <a:cubicBezTo>
                      <a:pt x="511116" y="641461"/>
                      <a:pt x="491768" y="633982"/>
                      <a:pt x="477629" y="619992"/>
                    </a:cubicBezTo>
                    <a:cubicBezTo>
                      <a:pt x="440571" y="585761"/>
                      <a:pt x="409467" y="501491"/>
                      <a:pt x="406824" y="330260"/>
                    </a:cubicBezTo>
                    <a:lnTo>
                      <a:pt x="406824" y="330186"/>
                    </a:lnTo>
                    <a:cubicBezTo>
                      <a:pt x="406601" y="320289"/>
                      <a:pt x="410396" y="310726"/>
                      <a:pt x="417354" y="303657"/>
                    </a:cubicBezTo>
                    <a:cubicBezTo>
                      <a:pt x="424275" y="296625"/>
                      <a:pt x="433763" y="292644"/>
                      <a:pt x="443659" y="292681"/>
                    </a:cubicBezTo>
                    <a:lnTo>
                      <a:pt x="503228" y="292681"/>
                    </a:lnTo>
                    <a:cubicBezTo>
                      <a:pt x="509218" y="292644"/>
                      <a:pt x="514092" y="287807"/>
                      <a:pt x="514129" y="281817"/>
                    </a:cubicBezTo>
                    <a:lnTo>
                      <a:pt x="514129" y="246842"/>
                    </a:lnTo>
                    <a:cubicBezTo>
                      <a:pt x="514092" y="240815"/>
                      <a:pt x="509218" y="235941"/>
                      <a:pt x="503191" y="235941"/>
                    </a:cubicBezTo>
                    <a:lnTo>
                      <a:pt x="443474" y="235941"/>
                    </a:lnTo>
                    <a:cubicBezTo>
                      <a:pt x="423085" y="235904"/>
                      <a:pt x="406602" y="219384"/>
                      <a:pt x="406564" y="199032"/>
                    </a:cubicBezTo>
                    <a:lnTo>
                      <a:pt x="406564" y="197022"/>
                    </a:lnTo>
                    <a:cubicBezTo>
                      <a:pt x="406527" y="184930"/>
                      <a:pt x="412443" y="173619"/>
                      <a:pt x="422415" y="166736"/>
                    </a:cubicBezTo>
                    <a:cubicBezTo>
                      <a:pt x="444627" y="151295"/>
                      <a:pt x="457166" y="125361"/>
                      <a:pt x="455455" y="98386"/>
                    </a:cubicBezTo>
                    <a:cubicBezTo>
                      <a:pt x="453781" y="71374"/>
                      <a:pt x="438080" y="47189"/>
                      <a:pt x="414119" y="34651"/>
                    </a:cubicBezTo>
                    <a:cubicBezTo>
                      <a:pt x="390120" y="22112"/>
                      <a:pt x="361359" y="23004"/>
                      <a:pt x="338179" y="37032"/>
                    </a:cubicBezTo>
                    <a:cubicBezTo>
                      <a:pt x="315036" y="51059"/>
                      <a:pt x="300897" y="76137"/>
                      <a:pt x="300897" y="103223"/>
                    </a:cubicBezTo>
                    <a:cubicBezTo>
                      <a:pt x="300822" y="128561"/>
                      <a:pt x="313250" y="152336"/>
                      <a:pt x="334086" y="166736"/>
                    </a:cubicBezTo>
                    <a:cubicBezTo>
                      <a:pt x="344058" y="173619"/>
                      <a:pt x="349973" y="184930"/>
                      <a:pt x="349936" y="197022"/>
                    </a:cubicBezTo>
                    <a:lnTo>
                      <a:pt x="349936" y="198994"/>
                    </a:lnTo>
                    <a:cubicBezTo>
                      <a:pt x="349899" y="219384"/>
                      <a:pt x="333416" y="235867"/>
                      <a:pt x="313027" y="235904"/>
                    </a:cubicBezTo>
                    <a:lnTo>
                      <a:pt x="253310" y="235904"/>
                    </a:lnTo>
                    <a:cubicBezTo>
                      <a:pt x="247282" y="235941"/>
                      <a:pt x="242409" y="240815"/>
                      <a:pt x="242371" y="246805"/>
                    </a:cubicBezTo>
                    <a:lnTo>
                      <a:pt x="242371" y="281817"/>
                    </a:lnTo>
                    <a:cubicBezTo>
                      <a:pt x="242409" y="287807"/>
                      <a:pt x="247283" y="292681"/>
                      <a:pt x="253310" y="292718"/>
                    </a:cubicBezTo>
                    <a:lnTo>
                      <a:pt x="312878" y="292718"/>
                    </a:lnTo>
                    <a:lnTo>
                      <a:pt x="312841" y="292718"/>
                    </a:lnTo>
                    <a:cubicBezTo>
                      <a:pt x="322739" y="292644"/>
                      <a:pt x="332226" y="296625"/>
                      <a:pt x="339183" y="303657"/>
                    </a:cubicBezTo>
                    <a:cubicBezTo>
                      <a:pt x="346104" y="310726"/>
                      <a:pt x="349899" y="320289"/>
                      <a:pt x="349676" y="330186"/>
                    </a:cubicBezTo>
                    <a:cubicBezTo>
                      <a:pt x="347035" y="501484"/>
                      <a:pt x="315929" y="585761"/>
                      <a:pt x="278908" y="619955"/>
                    </a:cubicBezTo>
                    <a:cubicBezTo>
                      <a:pt x="264769" y="633946"/>
                      <a:pt x="245459" y="641424"/>
                      <a:pt x="225553" y="640606"/>
                    </a:cubicBezTo>
                    <a:cubicBezTo>
                      <a:pt x="207805" y="639192"/>
                      <a:pt x="190951" y="632309"/>
                      <a:pt x="177258" y="620886"/>
                    </a:cubicBezTo>
                    <a:cubicBezTo>
                      <a:pt x="148498" y="598078"/>
                      <a:pt x="129559" y="558751"/>
                      <a:pt x="135103" y="529134"/>
                    </a:cubicBezTo>
                    <a:lnTo>
                      <a:pt x="135103" y="529171"/>
                    </a:lnTo>
                    <a:cubicBezTo>
                      <a:pt x="135252" y="528278"/>
                      <a:pt x="135512" y="527385"/>
                      <a:pt x="135847" y="526566"/>
                    </a:cubicBezTo>
                    <a:cubicBezTo>
                      <a:pt x="137075" y="523329"/>
                      <a:pt x="139568" y="520762"/>
                      <a:pt x="142693" y="519385"/>
                    </a:cubicBezTo>
                    <a:cubicBezTo>
                      <a:pt x="145856" y="518009"/>
                      <a:pt x="149427" y="517934"/>
                      <a:pt x="152628" y="519199"/>
                    </a:cubicBezTo>
                    <a:lnTo>
                      <a:pt x="182653" y="530994"/>
                    </a:lnTo>
                    <a:cubicBezTo>
                      <a:pt x="178449" y="510121"/>
                      <a:pt x="176998" y="488838"/>
                      <a:pt x="178337" y="467594"/>
                    </a:cubicBezTo>
                    <a:cubicBezTo>
                      <a:pt x="179639" y="448060"/>
                      <a:pt x="183732" y="428824"/>
                      <a:pt x="190541" y="410444"/>
                    </a:cubicBezTo>
                    <a:cubicBezTo>
                      <a:pt x="157836" y="416509"/>
                      <a:pt x="126731" y="429159"/>
                      <a:pt x="99085" y="447613"/>
                    </a:cubicBezTo>
                    <a:cubicBezTo>
                      <a:pt x="73152" y="465547"/>
                      <a:pt x="51386" y="488876"/>
                      <a:pt x="35350" y="516037"/>
                    </a:cubicBezTo>
                    <a:lnTo>
                      <a:pt x="64148" y="514660"/>
                    </a:lnTo>
                    <a:lnTo>
                      <a:pt x="64483" y="514660"/>
                    </a:lnTo>
                    <a:lnTo>
                      <a:pt x="64483" y="514698"/>
                    </a:lnTo>
                    <a:cubicBezTo>
                      <a:pt x="67906" y="514623"/>
                      <a:pt x="71254" y="515925"/>
                      <a:pt x="73710" y="518307"/>
                    </a:cubicBezTo>
                    <a:cubicBezTo>
                      <a:pt x="76203" y="520688"/>
                      <a:pt x="77617" y="523925"/>
                      <a:pt x="77691" y="527385"/>
                    </a:cubicBezTo>
                    <a:cubicBezTo>
                      <a:pt x="80333" y="641685"/>
                      <a:pt x="143138" y="669813"/>
                      <a:pt x="215213" y="702074"/>
                    </a:cubicBezTo>
                    <a:close/>
                    <a:moveTo>
                      <a:pt x="367094" y="850705"/>
                    </a:moveTo>
                    <a:cubicBezTo>
                      <a:pt x="323525" y="778895"/>
                      <a:pt x="261281" y="751026"/>
                      <a:pt x="204646" y="725651"/>
                    </a:cubicBezTo>
                    <a:cubicBezTo>
                      <a:pt x="127366" y="691123"/>
                      <a:pt x="59723" y="660836"/>
                      <a:pt x="52360" y="541142"/>
                    </a:cubicBezTo>
                    <a:lnTo>
                      <a:pt x="13553" y="542966"/>
                    </a:lnTo>
                    <a:lnTo>
                      <a:pt x="13553" y="543003"/>
                    </a:lnTo>
                    <a:cubicBezTo>
                      <a:pt x="8977" y="543226"/>
                      <a:pt x="4623" y="540994"/>
                      <a:pt x="2131" y="537161"/>
                    </a:cubicBezTo>
                    <a:cubicBezTo>
                      <a:pt x="-399" y="533329"/>
                      <a:pt x="-697" y="528455"/>
                      <a:pt x="1349" y="524324"/>
                    </a:cubicBezTo>
                    <a:cubicBezTo>
                      <a:pt x="20027" y="484960"/>
                      <a:pt x="48677" y="451138"/>
                      <a:pt x="84470" y="426284"/>
                    </a:cubicBezTo>
                    <a:cubicBezTo>
                      <a:pt x="122198" y="401355"/>
                      <a:pt x="165358" y="385877"/>
                      <a:pt x="210343" y="381040"/>
                    </a:cubicBezTo>
                    <a:cubicBezTo>
                      <a:pt x="215180" y="380407"/>
                      <a:pt x="219942" y="382565"/>
                      <a:pt x="222696" y="386584"/>
                    </a:cubicBezTo>
                    <a:cubicBezTo>
                      <a:pt x="225412" y="390602"/>
                      <a:pt x="225673" y="395811"/>
                      <a:pt x="223329" y="400090"/>
                    </a:cubicBezTo>
                    <a:cubicBezTo>
                      <a:pt x="212278" y="421633"/>
                      <a:pt x="205766" y="445222"/>
                      <a:pt x="204204" y="469369"/>
                    </a:cubicBezTo>
                    <a:cubicBezTo>
                      <a:pt x="202679" y="496158"/>
                      <a:pt x="205841" y="522985"/>
                      <a:pt x="213543" y="548694"/>
                    </a:cubicBezTo>
                    <a:cubicBezTo>
                      <a:pt x="214846" y="553420"/>
                      <a:pt x="213394" y="558479"/>
                      <a:pt x="209748" y="561754"/>
                    </a:cubicBezTo>
                    <a:cubicBezTo>
                      <a:pt x="206102" y="565066"/>
                      <a:pt x="200893" y="565996"/>
                      <a:pt x="196316" y="564210"/>
                    </a:cubicBezTo>
                    <a:lnTo>
                      <a:pt x="160932" y="550332"/>
                    </a:lnTo>
                    <a:cubicBezTo>
                      <a:pt x="165769" y="570275"/>
                      <a:pt x="177229" y="587985"/>
                      <a:pt x="193377" y="600598"/>
                    </a:cubicBezTo>
                    <a:cubicBezTo>
                      <a:pt x="202827" y="608635"/>
                      <a:pt x="214473" y="613546"/>
                      <a:pt x="226825" y="614663"/>
                    </a:cubicBezTo>
                    <a:cubicBezTo>
                      <a:pt x="239737" y="615035"/>
                      <a:pt x="252238" y="610012"/>
                      <a:pt x="261316" y="600822"/>
                    </a:cubicBezTo>
                    <a:cubicBezTo>
                      <a:pt x="293873" y="570796"/>
                      <a:pt x="321332" y="492666"/>
                      <a:pt x="323787" y="329845"/>
                    </a:cubicBezTo>
                    <a:lnTo>
                      <a:pt x="323787" y="329771"/>
                    </a:lnTo>
                    <a:cubicBezTo>
                      <a:pt x="323936" y="326832"/>
                      <a:pt x="322783" y="323929"/>
                      <a:pt x="320625" y="321920"/>
                    </a:cubicBezTo>
                    <a:cubicBezTo>
                      <a:pt x="319620" y="320878"/>
                      <a:pt x="318429" y="320023"/>
                      <a:pt x="317090" y="319465"/>
                    </a:cubicBezTo>
                    <a:cubicBezTo>
                      <a:pt x="315751" y="318906"/>
                      <a:pt x="314299" y="318646"/>
                      <a:pt x="312811" y="318683"/>
                    </a:cubicBezTo>
                    <a:lnTo>
                      <a:pt x="253317" y="318683"/>
                    </a:lnTo>
                    <a:cubicBezTo>
                      <a:pt x="232928" y="318646"/>
                      <a:pt x="216445" y="302163"/>
                      <a:pt x="216408" y="281811"/>
                    </a:cubicBezTo>
                    <a:lnTo>
                      <a:pt x="216408" y="246836"/>
                    </a:lnTo>
                    <a:cubicBezTo>
                      <a:pt x="216445" y="226484"/>
                      <a:pt x="232928" y="209964"/>
                      <a:pt x="253317" y="209964"/>
                    </a:cubicBezTo>
                    <a:lnTo>
                      <a:pt x="313071" y="209964"/>
                    </a:lnTo>
                    <a:lnTo>
                      <a:pt x="313034" y="209964"/>
                    </a:lnTo>
                    <a:cubicBezTo>
                      <a:pt x="319061" y="209927"/>
                      <a:pt x="323935" y="205053"/>
                      <a:pt x="323972" y="199025"/>
                    </a:cubicBezTo>
                    <a:lnTo>
                      <a:pt x="323972" y="197016"/>
                    </a:lnTo>
                    <a:cubicBezTo>
                      <a:pt x="324158" y="193407"/>
                      <a:pt x="322373" y="189984"/>
                      <a:pt x="319284" y="188049"/>
                    </a:cubicBezTo>
                    <a:cubicBezTo>
                      <a:pt x="282263" y="162265"/>
                      <a:pt x="266227" y="115458"/>
                      <a:pt x="279734" y="72368"/>
                    </a:cubicBezTo>
                    <a:cubicBezTo>
                      <a:pt x="293240" y="29320"/>
                      <a:pt x="333126" y="0"/>
                      <a:pt x="378260" y="0"/>
                    </a:cubicBezTo>
                    <a:cubicBezTo>
                      <a:pt x="423394" y="0"/>
                      <a:pt x="463278" y="29319"/>
                      <a:pt x="476787" y="72368"/>
                    </a:cubicBezTo>
                    <a:cubicBezTo>
                      <a:pt x="490293" y="115453"/>
                      <a:pt x="474294" y="162260"/>
                      <a:pt x="437236" y="188049"/>
                    </a:cubicBezTo>
                    <a:cubicBezTo>
                      <a:pt x="434148" y="189984"/>
                      <a:pt x="432362" y="193407"/>
                      <a:pt x="432548" y="197016"/>
                    </a:cubicBezTo>
                    <a:lnTo>
                      <a:pt x="432548" y="198988"/>
                    </a:lnTo>
                    <a:cubicBezTo>
                      <a:pt x="432585" y="205016"/>
                      <a:pt x="437459" y="209889"/>
                      <a:pt x="443487" y="209927"/>
                    </a:cubicBezTo>
                    <a:lnTo>
                      <a:pt x="503241" y="209927"/>
                    </a:lnTo>
                    <a:lnTo>
                      <a:pt x="503204" y="209927"/>
                    </a:lnTo>
                    <a:cubicBezTo>
                      <a:pt x="523593" y="209964"/>
                      <a:pt x="540076" y="226447"/>
                      <a:pt x="540113" y="246799"/>
                    </a:cubicBezTo>
                    <a:lnTo>
                      <a:pt x="540113" y="281811"/>
                    </a:lnTo>
                    <a:cubicBezTo>
                      <a:pt x="540113" y="302163"/>
                      <a:pt x="523593" y="318683"/>
                      <a:pt x="503204" y="318683"/>
                    </a:cubicBezTo>
                    <a:lnTo>
                      <a:pt x="443672" y="318683"/>
                    </a:lnTo>
                    <a:cubicBezTo>
                      <a:pt x="442184" y="318683"/>
                      <a:pt x="440733" y="318944"/>
                      <a:pt x="439356" y="319464"/>
                    </a:cubicBezTo>
                    <a:cubicBezTo>
                      <a:pt x="438054" y="320060"/>
                      <a:pt x="436863" y="320878"/>
                      <a:pt x="435859" y="321920"/>
                    </a:cubicBezTo>
                    <a:cubicBezTo>
                      <a:pt x="434817" y="322962"/>
                      <a:pt x="433998" y="324190"/>
                      <a:pt x="433403" y="325529"/>
                    </a:cubicBezTo>
                    <a:cubicBezTo>
                      <a:pt x="432882" y="326869"/>
                      <a:pt x="432659" y="328320"/>
                      <a:pt x="432696" y="329808"/>
                    </a:cubicBezTo>
                    <a:lnTo>
                      <a:pt x="432696" y="329882"/>
                    </a:lnTo>
                    <a:cubicBezTo>
                      <a:pt x="435189" y="492779"/>
                      <a:pt x="462610" y="570874"/>
                      <a:pt x="495167" y="600859"/>
                    </a:cubicBezTo>
                    <a:cubicBezTo>
                      <a:pt x="504245" y="610049"/>
                      <a:pt x="516784" y="615072"/>
                      <a:pt x="529695" y="614663"/>
                    </a:cubicBezTo>
                    <a:cubicBezTo>
                      <a:pt x="542048" y="613547"/>
                      <a:pt x="553730" y="608635"/>
                      <a:pt x="563144" y="600598"/>
                    </a:cubicBezTo>
                    <a:cubicBezTo>
                      <a:pt x="579329" y="587985"/>
                      <a:pt x="590751" y="570274"/>
                      <a:pt x="595588" y="550332"/>
                    </a:cubicBezTo>
                    <a:lnTo>
                      <a:pt x="560205" y="564210"/>
                    </a:lnTo>
                    <a:cubicBezTo>
                      <a:pt x="555591" y="566033"/>
                      <a:pt x="550344" y="565066"/>
                      <a:pt x="546661" y="561680"/>
                    </a:cubicBezTo>
                    <a:cubicBezTo>
                      <a:pt x="543015" y="558331"/>
                      <a:pt x="541601" y="553197"/>
                      <a:pt x="543052" y="548434"/>
                    </a:cubicBezTo>
                    <a:cubicBezTo>
                      <a:pt x="550679" y="522836"/>
                      <a:pt x="553842" y="496084"/>
                      <a:pt x="552354" y="469369"/>
                    </a:cubicBezTo>
                    <a:cubicBezTo>
                      <a:pt x="550716" y="445110"/>
                      <a:pt x="544168" y="421447"/>
                      <a:pt x="533043" y="399829"/>
                    </a:cubicBezTo>
                    <a:cubicBezTo>
                      <a:pt x="530848" y="395587"/>
                      <a:pt x="531220" y="390453"/>
                      <a:pt x="533974" y="386546"/>
                    </a:cubicBezTo>
                    <a:cubicBezTo>
                      <a:pt x="536727" y="382603"/>
                      <a:pt x="541415" y="380519"/>
                      <a:pt x="546177" y="381114"/>
                    </a:cubicBezTo>
                    <a:cubicBezTo>
                      <a:pt x="591161" y="385951"/>
                      <a:pt x="634321" y="401466"/>
                      <a:pt x="672050" y="426358"/>
                    </a:cubicBezTo>
                    <a:cubicBezTo>
                      <a:pt x="707843" y="451213"/>
                      <a:pt x="736529" y="485034"/>
                      <a:pt x="755171" y="524399"/>
                    </a:cubicBezTo>
                    <a:cubicBezTo>
                      <a:pt x="757254" y="528566"/>
                      <a:pt x="756920" y="533552"/>
                      <a:pt x="754315" y="537384"/>
                    </a:cubicBezTo>
                    <a:cubicBezTo>
                      <a:pt x="751711" y="541254"/>
                      <a:pt x="747246" y="543412"/>
                      <a:pt x="742632" y="543077"/>
                    </a:cubicBezTo>
                    <a:lnTo>
                      <a:pt x="704309" y="541254"/>
                    </a:lnTo>
                    <a:cubicBezTo>
                      <a:pt x="698467" y="659126"/>
                      <a:pt x="630750" y="689710"/>
                      <a:pt x="553138" y="724724"/>
                    </a:cubicBezTo>
                    <a:cubicBezTo>
                      <a:pt x="495988" y="750509"/>
                      <a:pt x="432999" y="778935"/>
                      <a:pt x="389355" y="850892"/>
                    </a:cubicBezTo>
                    <a:lnTo>
                      <a:pt x="389318" y="850930"/>
                    </a:lnTo>
                    <a:cubicBezTo>
                      <a:pt x="386974" y="854799"/>
                      <a:pt x="382732" y="857180"/>
                      <a:pt x="378193" y="857143"/>
                    </a:cubicBezTo>
                    <a:cubicBezTo>
                      <a:pt x="373654" y="857143"/>
                      <a:pt x="369449" y="854725"/>
                      <a:pt x="367142" y="850818"/>
                    </a:cubicBezTo>
                    <a:close/>
                    <a:moveTo>
                      <a:pt x="395892" y="83752"/>
                    </a:moveTo>
                    <a:cubicBezTo>
                      <a:pt x="404301" y="92161"/>
                      <a:pt x="405603" y="105369"/>
                      <a:pt x="399018" y="115266"/>
                    </a:cubicBezTo>
                    <a:cubicBezTo>
                      <a:pt x="392395" y="125164"/>
                      <a:pt x="379708" y="129033"/>
                      <a:pt x="368731" y="124456"/>
                    </a:cubicBezTo>
                    <a:cubicBezTo>
                      <a:pt x="357718" y="119917"/>
                      <a:pt x="351467" y="108234"/>
                      <a:pt x="353774" y="96551"/>
                    </a:cubicBezTo>
                    <a:cubicBezTo>
                      <a:pt x="356118" y="84868"/>
                      <a:pt x="366350" y="76459"/>
                      <a:pt x="378256" y="76459"/>
                    </a:cubicBezTo>
                    <a:cubicBezTo>
                      <a:pt x="384879" y="76459"/>
                      <a:pt x="391204" y="79101"/>
                      <a:pt x="395893" y="83751"/>
                    </a:cubicBezTo>
                    <a:close/>
                    <a:moveTo>
                      <a:pt x="378256" y="50489"/>
                    </a:moveTo>
                    <a:cubicBezTo>
                      <a:pt x="402552" y="50489"/>
                      <a:pt x="423462" y="67641"/>
                      <a:pt x="428188" y="91454"/>
                    </a:cubicBezTo>
                    <a:cubicBezTo>
                      <a:pt x="432913" y="115266"/>
                      <a:pt x="420188" y="139153"/>
                      <a:pt x="397753" y="148418"/>
                    </a:cubicBezTo>
                    <a:cubicBezTo>
                      <a:pt x="375316" y="157720"/>
                      <a:pt x="349421" y="149869"/>
                      <a:pt x="335914" y="129703"/>
                    </a:cubicBezTo>
                    <a:cubicBezTo>
                      <a:pt x="322445" y="109500"/>
                      <a:pt x="325087" y="82562"/>
                      <a:pt x="342239" y="65410"/>
                    </a:cubicBezTo>
                    <a:cubicBezTo>
                      <a:pt x="351802" y="55847"/>
                      <a:pt x="364750" y="50452"/>
                      <a:pt x="378255" y="50490"/>
                    </a:cubicBezTo>
                    <a:close/>
                  </a:path>
                </a:pathLst>
              </a:custGeom>
              <a:solidFill>
                <a:srgbClr val="000000"/>
              </a:solidFill>
              <a:ln w="9525" cap="flat">
                <a:noFill/>
                <a:prstDash val="solid"/>
                <a:miter/>
              </a:ln>
            </p:spPr>
            <p:txBody>
              <a:bodyPr rtlCol="0" anchor="ctr"/>
              <a:lstStyle/>
              <a:p>
                <a:endParaRPr lang="pt-BR"/>
              </a:p>
            </p:txBody>
          </p:sp>
        </p:grpSp>
      </p:grpSp>
      <p:grpSp>
        <p:nvGrpSpPr>
          <p:cNvPr id="110" name="Agrupar 109">
            <a:extLst>
              <a:ext uri="{FF2B5EF4-FFF2-40B4-BE49-F238E27FC236}">
                <a16:creationId xmlns:a16="http://schemas.microsoft.com/office/drawing/2014/main" id="{9AD72030-D4AE-60BD-D8EB-1F2251A7983B}"/>
              </a:ext>
            </a:extLst>
          </p:cNvPr>
          <p:cNvGrpSpPr/>
          <p:nvPr/>
        </p:nvGrpSpPr>
        <p:grpSpPr>
          <a:xfrm>
            <a:off x="352115" y="3326163"/>
            <a:ext cx="4469805" cy="1603516"/>
            <a:chOff x="352115" y="3326163"/>
            <a:chExt cx="4469805" cy="1603516"/>
          </a:xfrm>
        </p:grpSpPr>
        <p:sp>
          <p:nvSpPr>
            <p:cNvPr id="106" name="Retângulo 105">
              <a:extLst>
                <a:ext uri="{FF2B5EF4-FFF2-40B4-BE49-F238E27FC236}">
                  <a16:creationId xmlns:a16="http://schemas.microsoft.com/office/drawing/2014/main" id="{E5BFF6B9-DDFE-458B-89D3-BD5379D20679}"/>
                </a:ext>
              </a:extLst>
            </p:cNvPr>
            <p:cNvSpPr/>
            <p:nvPr/>
          </p:nvSpPr>
          <p:spPr>
            <a:xfrm>
              <a:off x="352115" y="3731843"/>
              <a:ext cx="1914835" cy="2734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107" name="Retângulo 106">
              <a:extLst>
                <a:ext uri="{FF2B5EF4-FFF2-40B4-BE49-F238E27FC236}">
                  <a16:creationId xmlns:a16="http://schemas.microsoft.com/office/drawing/2014/main" id="{480EE01B-CC3F-C4B6-D367-96A6BB343A9E}"/>
                </a:ext>
              </a:extLst>
            </p:cNvPr>
            <p:cNvSpPr/>
            <p:nvPr/>
          </p:nvSpPr>
          <p:spPr>
            <a:xfrm>
              <a:off x="352115" y="4010145"/>
              <a:ext cx="3672198" cy="2734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108" name="Retângulo 107">
              <a:extLst>
                <a:ext uri="{FF2B5EF4-FFF2-40B4-BE49-F238E27FC236}">
                  <a16:creationId xmlns:a16="http://schemas.microsoft.com/office/drawing/2014/main" id="{D3334796-9EE4-CDD9-07E9-1DC6169E7D8F}"/>
                </a:ext>
              </a:extLst>
            </p:cNvPr>
            <p:cNvSpPr/>
            <p:nvPr/>
          </p:nvSpPr>
          <p:spPr>
            <a:xfrm>
              <a:off x="771524" y="4391322"/>
              <a:ext cx="1143001" cy="27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109" name="Retângulo 108">
              <a:extLst>
                <a:ext uri="{FF2B5EF4-FFF2-40B4-BE49-F238E27FC236}">
                  <a16:creationId xmlns:a16="http://schemas.microsoft.com/office/drawing/2014/main" id="{4AF5F45F-DA99-9226-3477-EC7BE62C7BF2}"/>
                </a:ext>
              </a:extLst>
            </p:cNvPr>
            <p:cNvSpPr/>
            <p:nvPr/>
          </p:nvSpPr>
          <p:spPr>
            <a:xfrm>
              <a:off x="3196114" y="4391322"/>
              <a:ext cx="1204436" cy="273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3" name="Content Placeholder 2">
              <a:extLst>
                <a:ext uri="{FF2B5EF4-FFF2-40B4-BE49-F238E27FC236}">
                  <a16:creationId xmlns:a16="http://schemas.microsoft.com/office/drawing/2014/main" id="{1B3AF6F9-B478-518A-17E4-AD4EC8F4B231}"/>
                </a:ext>
              </a:extLst>
            </p:cNvPr>
            <p:cNvSpPr txBox="1"/>
            <p:nvPr/>
          </p:nvSpPr>
          <p:spPr bwMode="auto">
            <a:xfrm>
              <a:off x="352115" y="3326163"/>
              <a:ext cx="4469805" cy="1603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nSpc>
                  <a:spcPct val="90000"/>
                </a:lnSpc>
                <a:spcBef>
                  <a:spcPts val="1200"/>
                </a:spcBef>
                <a:buClr>
                  <a:srgbClr val="F7AC47"/>
                </a:buClr>
                <a:defRPr/>
              </a:pPr>
              <a:r>
                <a:rPr lang="pt-BR" b="1" dirty="0">
                  <a:cs typeface="Arial"/>
                </a:rPr>
                <a:t>Há muitos inibidores do complemento</a:t>
              </a:r>
              <a:r>
                <a:rPr lang="pt-BR" b="1" baseline="30000" dirty="0">
                  <a:cs typeface="Arial"/>
                </a:rPr>
                <a:t>1,2</a:t>
              </a:r>
            </a:p>
            <a:p>
              <a:pPr>
                <a:spcBef>
                  <a:spcPts val="1200"/>
                </a:spcBef>
                <a:buClr>
                  <a:srgbClr val="F7AC47"/>
                </a:buClr>
                <a:defRPr/>
              </a:pPr>
              <a:r>
                <a:rPr lang="pt-BR" b="1" dirty="0">
                  <a:solidFill>
                    <a:schemeClr val="bg1"/>
                  </a:solidFill>
                  <a:cs typeface="Arial"/>
                </a:rPr>
                <a:t>Alguns são solúveis; </a:t>
              </a:r>
              <a:r>
                <a:rPr lang="pt-BR" dirty="0">
                  <a:cs typeface="Arial"/>
                </a:rPr>
                <a:t>outros </a:t>
              </a:r>
              <a:br>
                <a:rPr lang="pt-BR" dirty="0">
                  <a:cs typeface="Arial"/>
                </a:rPr>
              </a:br>
              <a:r>
                <a:rPr lang="pt-BR" b="1" dirty="0">
                  <a:solidFill>
                    <a:schemeClr val="bg1"/>
                  </a:solidFill>
                  <a:cs typeface="Arial"/>
                </a:rPr>
                <a:t>estão ligados às superfícies celulares</a:t>
              </a:r>
              <a:r>
                <a:rPr lang="pt-BR" b="1" baseline="30000" dirty="0">
                  <a:solidFill>
                    <a:schemeClr val="bg1"/>
                  </a:solidFill>
                  <a:cs typeface="Arial"/>
                </a:rPr>
                <a:t>1,2</a:t>
              </a:r>
            </a:p>
            <a:p>
              <a:pPr lvl="1">
                <a:spcBef>
                  <a:spcPts val="1200"/>
                </a:spcBef>
                <a:buClr>
                  <a:srgbClr val="F7AC47"/>
                </a:buClr>
                <a:defRPr/>
              </a:pPr>
              <a:r>
                <a:rPr lang="pt-BR" sz="1600" b="1" dirty="0">
                  <a:solidFill>
                    <a:schemeClr val="bg1"/>
                  </a:solidFill>
                  <a:cs typeface="Arial"/>
                </a:rPr>
                <a:t>CD55</a:t>
              </a:r>
              <a:r>
                <a:rPr lang="pt-BR" sz="1600" dirty="0">
                  <a:solidFill>
                    <a:schemeClr val="bg1"/>
                  </a:solidFill>
                  <a:cs typeface="Arial"/>
                </a:rPr>
                <a:t> e </a:t>
              </a:r>
              <a:r>
                <a:rPr lang="pt-BR" sz="1600" b="1" dirty="0">
                  <a:solidFill>
                    <a:schemeClr val="bg1"/>
                  </a:solidFill>
                  <a:cs typeface="Arial"/>
                </a:rPr>
                <a:t>CD59</a:t>
              </a:r>
              <a:r>
                <a:rPr lang="pt-BR" sz="1600" dirty="0">
                  <a:solidFill>
                    <a:schemeClr val="bg1"/>
                  </a:solidFill>
                  <a:cs typeface="Arial"/>
                </a:rPr>
                <a:t> </a:t>
              </a:r>
              <a:r>
                <a:rPr lang="pt-BR" sz="1600" dirty="0">
                  <a:cs typeface="Arial"/>
                </a:rPr>
                <a:t>requerem uma </a:t>
              </a:r>
              <a:r>
                <a:rPr lang="pt-BR" sz="1600" b="1" dirty="0">
                  <a:solidFill>
                    <a:schemeClr val="bg1"/>
                  </a:solidFill>
                  <a:cs typeface="Arial"/>
                </a:rPr>
                <a:t>âncora de GPI </a:t>
              </a:r>
              <a:r>
                <a:rPr lang="pt-BR" sz="1600" dirty="0">
                  <a:cs typeface="Arial"/>
                </a:rPr>
                <a:t>para se fixarem à superfície celular</a:t>
              </a:r>
              <a:r>
                <a:rPr lang="pt-BR" sz="1600" baseline="30000" dirty="0">
                  <a:cs typeface="Arial"/>
                </a:rPr>
                <a:t>2</a:t>
              </a:r>
            </a:p>
          </p:txBody>
        </p:sp>
      </p:grpSp>
    </p:spTree>
    <p:extLst>
      <p:ext uri="{BB962C8B-B14F-4D97-AF65-F5344CB8AC3E}">
        <p14:creationId xmlns:p14="http://schemas.microsoft.com/office/powerpoint/2010/main" val="372747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84"/>
                                        </p:tgtEl>
                                        <p:attrNameLst>
                                          <p:attrName>style.visibility</p:attrName>
                                        </p:attrNameLst>
                                      </p:cBhvr>
                                      <p:to>
                                        <p:strVal val="visible"/>
                                      </p:to>
                                    </p:set>
                                    <p:animEffect transition="in" filter="fade">
                                      <p:cBhvr>
                                        <p:cTn id="11" dur="500"/>
                                        <p:tgtEl>
                                          <p:spTgt spid="84"/>
                                        </p:tgtEl>
                                      </p:cBhvr>
                                    </p:animEffect>
                                  </p:childTnLst>
                                </p:cTn>
                              </p:par>
                              <p:par>
                                <p:cTn id="12" presetID="22" presetClass="entr" presetSubtype="1" fill="hold" nodeType="withEffect">
                                  <p:stCondLst>
                                    <p:cond delay="750"/>
                                  </p:stCondLst>
                                  <p:childTnLst>
                                    <p:set>
                                      <p:cBhvr>
                                        <p:cTn id="13" dur="1" fill="hold">
                                          <p:stCondLst>
                                            <p:cond delay="0"/>
                                          </p:stCondLst>
                                        </p:cTn>
                                        <p:tgtEl>
                                          <p:spTgt spid="111"/>
                                        </p:tgtEl>
                                        <p:attrNameLst>
                                          <p:attrName>style.visibility</p:attrName>
                                        </p:attrNameLst>
                                      </p:cBhvr>
                                      <p:to>
                                        <p:strVal val="visible"/>
                                      </p:to>
                                    </p:set>
                                    <p:animEffect transition="in" filter="wipe(up)">
                                      <p:cBhvr>
                                        <p:cTn id="14"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etângulo: Cantos Arredondados 184">
            <a:extLst>
              <a:ext uri="{FF2B5EF4-FFF2-40B4-BE49-F238E27FC236}">
                <a16:creationId xmlns:a16="http://schemas.microsoft.com/office/drawing/2014/main" id="{9ED2F300-5353-1EFF-7399-FFECD8AF5F98}"/>
              </a:ext>
            </a:extLst>
          </p:cNvPr>
          <p:cNvSpPr/>
          <p:nvPr/>
        </p:nvSpPr>
        <p:spPr>
          <a:xfrm flipH="1">
            <a:off x="1877667" y="1889047"/>
            <a:ext cx="8610566" cy="4088146"/>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8" y="385036"/>
            <a:ext cx="11446825" cy="978729"/>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Desequilíbrio na homeostase do sistema complemento pode levar a inflamação, destruição tecidual e infecção</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407988" y="6200775"/>
            <a:ext cx="10165959" cy="565786"/>
          </a:xfrm>
        </p:spPr>
        <p:txBody>
          <a:bodyPr/>
          <a:lstStyle/>
          <a:p>
            <a:br>
              <a:rPr lang="en-US" sz="700" dirty="0"/>
            </a:br>
            <a:br>
              <a:rPr lang="en-US" sz="700" dirty="0"/>
            </a:br>
            <a:r>
              <a:rPr lang="en-US" sz="700" b="0" i="0" dirty="0">
                <a:solidFill>
                  <a:srgbClr val="1D1D1D"/>
                </a:solidFill>
                <a:effectLst/>
                <a:latin typeface="Arial" panose="020B0604020202020204" pitchFamily="34" charset="0"/>
              </a:rPr>
              <a:t>Harris CL. Expanding horizons in complement drug discovery: challenges and emerging strategies. Semin </a:t>
            </a:r>
            <a:r>
              <a:rPr lang="en-US" sz="700" b="0" i="0" dirty="0" err="1">
                <a:solidFill>
                  <a:srgbClr val="1D1D1D"/>
                </a:solidFill>
                <a:effectLst/>
                <a:latin typeface="Arial" panose="020B0604020202020204" pitchFamily="34" charset="0"/>
              </a:rPr>
              <a:t>Immunopathol</a:t>
            </a:r>
            <a:r>
              <a:rPr lang="en-US" sz="700" b="0" i="0" dirty="0">
                <a:solidFill>
                  <a:srgbClr val="1D1D1D"/>
                </a:solidFill>
                <a:effectLst/>
                <a:latin typeface="Arial" panose="020B0604020202020204" pitchFamily="34" charset="0"/>
              </a:rPr>
              <a:t>. 2018 Jan;40(1):125-140.</a:t>
            </a:r>
            <a:endParaRPr lang="en-US" sz="700" dirty="0"/>
          </a:p>
        </p:txBody>
      </p:sp>
      <p:grpSp>
        <p:nvGrpSpPr>
          <p:cNvPr id="1079" name="Agrupar 1078">
            <a:extLst>
              <a:ext uri="{FF2B5EF4-FFF2-40B4-BE49-F238E27FC236}">
                <a16:creationId xmlns:a16="http://schemas.microsoft.com/office/drawing/2014/main" id="{06CD6BB0-E69D-30A4-11DA-5960F315B2DE}"/>
              </a:ext>
            </a:extLst>
          </p:cNvPr>
          <p:cNvGrpSpPr/>
          <p:nvPr/>
        </p:nvGrpSpPr>
        <p:grpSpPr>
          <a:xfrm>
            <a:off x="3303848" y="2828361"/>
            <a:ext cx="5437124" cy="2759798"/>
            <a:chOff x="3303848" y="2382926"/>
            <a:chExt cx="5437124" cy="2759798"/>
          </a:xfrm>
        </p:grpSpPr>
        <p:sp>
          <p:nvSpPr>
            <p:cNvPr id="43" name="Content Placeholder 3">
              <a:extLst>
                <a:ext uri="{FF2B5EF4-FFF2-40B4-BE49-F238E27FC236}">
                  <a16:creationId xmlns:a16="http://schemas.microsoft.com/office/drawing/2014/main" id="{1C3CE48F-AA71-3918-8028-572456CFC8AB}"/>
                </a:ext>
              </a:extLst>
            </p:cNvPr>
            <p:cNvSpPr txBox="1"/>
            <p:nvPr/>
          </p:nvSpPr>
          <p:spPr>
            <a:xfrm>
              <a:off x="3303848" y="3150556"/>
              <a:ext cx="1856156" cy="961361"/>
            </a:xfrm>
            <a:prstGeom prst="rect">
              <a:avLst/>
            </a:prstGeom>
          </p:spPr>
          <p:txBody>
            <a:bodyPr>
              <a:noAutofit/>
            </a:bodyPr>
            <a:lstStyle>
              <a:lvl1pPr marL="342900" indent="-342900" algn="l" rtl="0" eaLnBrk="1" fontAlgn="base" hangingPunct="1">
                <a:lnSpc>
                  <a:spcPct val="100000"/>
                </a:lnSpc>
                <a:spcBef>
                  <a:spcPts val="300"/>
                </a:spcBef>
                <a:spcAft>
                  <a:spcPts val="300"/>
                </a:spcAft>
                <a:buFont typeface="Wingdings" pitchFamily="2" charset="2"/>
                <a:buChar char="§"/>
                <a:defRPr sz="1800" b="0" i="0" kern="1200">
                  <a:solidFill>
                    <a:schemeClr val="tx1"/>
                  </a:solidFill>
                  <a:latin typeface="Arial" panose="020B0604020202020204" pitchFamily="34" charset="0"/>
                  <a:ea typeface="ヒラギノ角ゴ Pro W3" panose="020B0300000000000000" pitchFamily="34" charset="-128"/>
                  <a:cs typeface="+mn-cs"/>
                </a:defRPr>
              </a:lvl1pPr>
              <a:lvl2pPr marL="8001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2pPr>
              <a:lvl3pPr marL="12573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3pPr>
              <a:lvl4pPr marL="17145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4pPr>
              <a:lvl5pPr marL="21717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spcAft>
                  <a:spcPts val="0"/>
                </a:spcAft>
                <a:buFont typeface="Wingdings" pitchFamily="2" charset="2"/>
                <a:buNone/>
              </a:pPr>
              <a:r>
                <a:rPr lang="en-US" sz="1400" b="1" dirty="0" err="1">
                  <a:latin typeface="+mn-lt"/>
                  <a:cs typeface="Arial"/>
                </a:rPr>
                <a:t>Vários</a:t>
              </a:r>
              <a:r>
                <a:rPr lang="en-US" sz="1400" b="1" dirty="0">
                  <a:latin typeface="+mn-lt"/>
                  <a:cs typeface="Arial"/>
                </a:rPr>
                <a:t> </a:t>
              </a:r>
              <a:r>
                <a:rPr lang="en-US" sz="1400" b="1" dirty="0" err="1">
                  <a:latin typeface="+mn-lt"/>
                  <a:cs typeface="Arial"/>
                </a:rPr>
                <a:t>mecanismos</a:t>
              </a:r>
              <a:r>
                <a:rPr lang="en-US" sz="1400" b="1" dirty="0">
                  <a:latin typeface="+mn-lt"/>
                  <a:cs typeface="Arial"/>
                </a:rPr>
                <a:t> </a:t>
              </a:r>
              <a:r>
                <a:rPr lang="en-US" sz="1400" b="1" dirty="0" err="1">
                  <a:latin typeface="+mn-lt"/>
                  <a:cs typeface="Arial"/>
                </a:rPr>
                <a:t>podem</a:t>
              </a:r>
              <a:r>
                <a:rPr lang="en-US" sz="1400" b="1" dirty="0">
                  <a:latin typeface="+mn-lt"/>
                  <a:cs typeface="Arial"/>
                </a:rPr>
                <a:t> </a:t>
              </a:r>
              <a:r>
                <a:rPr lang="en-US" sz="1400" b="1" dirty="0" err="1">
                  <a:latin typeface="+mn-lt"/>
                  <a:cs typeface="Arial"/>
                </a:rPr>
                <a:t>perturbar</a:t>
              </a:r>
              <a:r>
                <a:rPr lang="en-US" sz="1400" b="1" dirty="0">
                  <a:latin typeface="+mn-lt"/>
                  <a:cs typeface="Arial"/>
                </a:rPr>
                <a:t> o </a:t>
              </a:r>
              <a:r>
                <a:rPr lang="en-US" sz="1400" b="1" dirty="0" err="1">
                  <a:latin typeface="+mn-lt"/>
                  <a:cs typeface="Arial"/>
                </a:rPr>
                <a:t>equilíbrio</a:t>
              </a:r>
              <a:r>
                <a:rPr lang="en-US" sz="1400" b="1" dirty="0">
                  <a:latin typeface="+mn-lt"/>
                  <a:cs typeface="Arial"/>
                </a:rPr>
                <a:t> do </a:t>
              </a:r>
              <a:r>
                <a:rPr lang="en-US" sz="1400" b="1" dirty="0" err="1">
                  <a:latin typeface="+mn-lt"/>
                  <a:cs typeface="Arial"/>
                </a:rPr>
                <a:t>complemento</a:t>
              </a:r>
              <a:r>
                <a:rPr lang="en-US" sz="1400" b="1" dirty="0">
                  <a:latin typeface="+mn-lt"/>
                  <a:cs typeface="Arial"/>
                </a:rPr>
                <a:t> </a:t>
              </a:r>
              <a:r>
                <a:rPr lang="en-US" sz="1400" b="1" dirty="0" err="1">
                  <a:latin typeface="+mn-lt"/>
                  <a:cs typeface="Arial"/>
                </a:rPr>
                <a:t>em</a:t>
              </a:r>
              <a:r>
                <a:rPr lang="en-US" sz="1400" b="1" dirty="0">
                  <a:latin typeface="+mn-lt"/>
                  <a:cs typeface="Arial"/>
                </a:rPr>
                <a:t> favor da </a:t>
              </a:r>
              <a:r>
                <a:rPr lang="en-US" sz="1400" b="1" dirty="0" err="1">
                  <a:latin typeface="+mn-lt"/>
                  <a:cs typeface="Arial"/>
                </a:rPr>
                <a:t>inflamação</a:t>
              </a:r>
              <a:r>
                <a:rPr lang="en-US" sz="1400" b="1" dirty="0">
                  <a:latin typeface="+mn-lt"/>
                  <a:cs typeface="Arial"/>
                </a:rPr>
                <a:t> </a:t>
              </a:r>
              <a:r>
                <a:rPr lang="en-US" sz="1400" b="1" dirty="0" err="1">
                  <a:latin typeface="+mn-lt"/>
                  <a:cs typeface="Arial"/>
                </a:rPr>
                <a:t>ou</a:t>
              </a:r>
              <a:r>
                <a:rPr lang="en-US" sz="1400" b="1" dirty="0">
                  <a:latin typeface="+mn-lt"/>
                  <a:cs typeface="Arial"/>
                </a:rPr>
                <a:t> </a:t>
              </a:r>
              <a:r>
                <a:rPr lang="en-US" sz="1400" b="1" dirty="0" err="1">
                  <a:latin typeface="+mn-lt"/>
                  <a:cs typeface="Arial"/>
                </a:rPr>
                <a:t>infecção</a:t>
              </a:r>
              <a:endParaRPr lang="en-US" sz="1200" dirty="0">
                <a:latin typeface="+mn-lt"/>
                <a:cs typeface="Arial"/>
              </a:endParaRPr>
            </a:p>
          </p:txBody>
        </p:sp>
        <p:sp>
          <p:nvSpPr>
            <p:cNvPr id="44" name="Content Placeholder 3">
              <a:extLst>
                <a:ext uri="{FF2B5EF4-FFF2-40B4-BE49-F238E27FC236}">
                  <a16:creationId xmlns:a16="http://schemas.microsoft.com/office/drawing/2014/main" id="{F95F1447-D583-F466-546F-9B4C946EA1B4}"/>
                </a:ext>
              </a:extLst>
            </p:cNvPr>
            <p:cNvSpPr txBox="1"/>
            <p:nvPr/>
          </p:nvSpPr>
          <p:spPr>
            <a:xfrm>
              <a:off x="5397030" y="2382926"/>
              <a:ext cx="3343942" cy="2044073"/>
            </a:xfrm>
            <a:prstGeom prst="rect">
              <a:avLst/>
            </a:prstGeom>
          </p:spPr>
          <p:txBody>
            <a:bodyPr>
              <a:noAutofit/>
            </a:bodyPr>
            <a:lstStyle>
              <a:lvl1pPr marL="342900" indent="-342900" algn="l" rtl="0" eaLnBrk="1" fontAlgn="base" hangingPunct="1">
                <a:lnSpc>
                  <a:spcPct val="100000"/>
                </a:lnSpc>
                <a:spcBef>
                  <a:spcPts val="300"/>
                </a:spcBef>
                <a:spcAft>
                  <a:spcPts val="300"/>
                </a:spcAft>
                <a:buFont typeface="Wingdings" pitchFamily="2" charset="2"/>
                <a:buChar char="§"/>
                <a:defRPr sz="1800" b="0" i="0" kern="1200">
                  <a:solidFill>
                    <a:schemeClr val="tx1"/>
                  </a:solidFill>
                  <a:latin typeface="Arial" panose="020B0604020202020204" pitchFamily="34" charset="0"/>
                  <a:ea typeface="ヒラギノ角ゴ Pro W3" panose="020B0300000000000000" pitchFamily="34" charset="-128"/>
                  <a:cs typeface="+mn-cs"/>
                </a:defRPr>
              </a:lvl1pPr>
              <a:lvl2pPr marL="8001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2pPr>
              <a:lvl3pPr marL="12573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3pPr>
              <a:lvl4pPr marL="17145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4pPr>
              <a:lvl5pPr marL="2171700" indent="-342900" algn="l" rtl="0" eaLnBrk="1" fontAlgn="base" hangingPunct="1">
                <a:lnSpc>
                  <a:spcPct val="100000"/>
                </a:lnSpc>
                <a:spcBef>
                  <a:spcPts val="300"/>
                </a:spcBef>
                <a:spcAft>
                  <a:spcPts val="300"/>
                </a:spcAft>
                <a:buFont typeface="Arial" panose="020B0604020202020204" pitchFamily="34" charset="0"/>
                <a:buChar char="•"/>
                <a:defRPr sz="1600" b="0" i="0" kern="1200">
                  <a:solidFill>
                    <a:schemeClr val="tx1"/>
                  </a:solidFill>
                  <a:latin typeface="Arial" panose="020B0604020202020204" pitchFamily="34" charset="0"/>
                  <a:ea typeface="ヒラギノ角ゴ Pro W3"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spcAft>
                  <a:spcPts val="0"/>
                </a:spcAft>
                <a:buNone/>
              </a:pPr>
              <a:r>
                <a:rPr lang="en-US" sz="1400" dirty="0" err="1">
                  <a:latin typeface="+mn-lt"/>
                  <a:cs typeface="Arial"/>
                </a:rPr>
                <a:t>Ganho</a:t>
              </a:r>
              <a:r>
                <a:rPr lang="en-US" sz="1400" dirty="0">
                  <a:latin typeface="+mn-lt"/>
                  <a:cs typeface="Arial"/>
                </a:rPr>
                <a:t> </a:t>
              </a:r>
              <a:r>
                <a:rPr lang="en-US" sz="1400" dirty="0" err="1">
                  <a:latin typeface="+mn-lt"/>
                  <a:cs typeface="Arial"/>
                </a:rPr>
                <a:t>ou</a:t>
              </a:r>
              <a:r>
                <a:rPr lang="en-US" sz="1400" dirty="0">
                  <a:latin typeface="+mn-lt"/>
                  <a:cs typeface="Arial"/>
                </a:rPr>
                <a:t> </a:t>
              </a:r>
              <a:r>
                <a:rPr lang="en-US" sz="1400" dirty="0" err="1">
                  <a:latin typeface="+mn-lt"/>
                  <a:cs typeface="Arial"/>
                </a:rPr>
                <a:t>perda</a:t>
              </a:r>
              <a:r>
                <a:rPr lang="en-US" sz="1400" dirty="0">
                  <a:latin typeface="+mn-lt"/>
                  <a:cs typeface="Arial"/>
                </a:rPr>
                <a:t> de </a:t>
              </a:r>
              <a:r>
                <a:rPr lang="en-US" sz="1400" dirty="0" err="1">
                  <a:latin typeface="+mn-lt"/>
                  <a:cs typeface="Arial"/>
                </a:rPr>
                <a:t>mutações</a:t>
              </a:r>
              <a:r>
                <a:rPr lang="en-US" sz="1400" dirty="0">
                  <a:latin typeface="+mn-lt"/>
                  <a:cs typeface="Arial"/>
                </a:rPr>
                <a:t> </a:t>
              </a:r>
              <a:r>
                <a:rPr lang="en-US" sz="1400" dirty="0" err="1">
                  <a:latin typeface="+mn-lt"/>
                  <a:cs typeface="Arial"/>
                </a:rPr>
                <a:t>genéticas</a:t>
              </a:r>
              <a:r>
                <a:rPr lang="en-US" sz="1400" dirty="0">
                  <a:latin typeface="+mn-lt"/>
                  <a:cs typeface="Arial"/>
                </a:rPr>
                <a:t> </a:t>
              </a:r>
              <a:r>
                <a:rPr lang="en-US" sz="1400" dirty="0" err="1">
                  <a:latin typeface="+mn-lt"/>
                  <a:cs typeface="Arial"/>
                </a:rPr>
                <a:t>ou</a:t>
              </a:r>
              <a:r>
                <a:rPr lang="en-US" sz="1400" dirty="0">
                  <a:latin typeface="+mn-lt"/>
                  <a:cs typeface="Arial"/>
                </a:rPr>
                <a:t> </a:t>
              </a:r>
              <a:r>
                <a:rPr lang="en-US" sz="1400" dirty="0" err="1">
                  <a:latin typeface="+mn-lt"/>
                  <a:cs typeface="Arial"/>
                </a:rPr>
                <a:t>polimorfismos</a:t>
              </a:r>
              <a:r>
                <a:rPr lang="en-US" sz="1400" dirty="0">
                  <a:latin typeface="+mn-lt"/>
                  <a:cs typeface="Arial"/>
                </a:rPr>
                <a:t> de </a:t>
              </a:r>
              <a:r>
                <a:rPr lang="en-US" sz="1400" dirty="0" err="1">
                  <a:latin typeface="+mn-lt"/>
                  <a:cs typeface="Arial"/>
                </a:rPr>
                <a:t>função</a:t>
              </a:r>
              <a:r>
                <a:rPr lang="en-US" sz="1400" dirty="0">
                  <a:latin typeface="+mn-lt"/>
                  <a:cs typeface="Arial"/>
                </a:rPr>
                <a:t> de </a:t>
              </a:r>
              <a:r>
                <a:rPr lang="en-US" sz="1400" dirty="0" err="1">
                  <a:latin typeface="+mn-lt"/>
                  <a:cs typeface="Arial"/>
                </a:rPr>
                <a:t>proteínas</a:t>
              </a:r>
              <a:r>
                <a:rPr lang="en-US" sz="1400" dirty="0">
                  <a:latin typeface="+mn-lt"/>
                  <a:cs typeface="Arial"/>
                </a:rPr>
                <a:t> </a:t>
              </a:r>
              <a:r>
                <a:rPr lang="en-US" sz="1400" dirty="0" err="1">
                  <a:latin typeface="+mn-lt"/>
                  <a:cs typeface="Arial"/>
                </a:rPr>
                <a:t>ativadoras</a:t>
              </a:r>
              <a:r>
                <a:rPr lang="en-US" sz="1400" dirty="0">
                  <a:latin typeface="+mn-lt"/>
                  <a:cs typeface="Arial"/>
                </a:rPr>
                <a:t> </a:t>
              </a:r>
              <a:r>
                <a:rPr lang="en-US" sz="1400" dirty="0" err="1">
                  <a:latin typeface="+mn-lt"/>
                  <a:cs typeface="Arial"/>
                </a:rPr>
                <a:t>ou</a:t>
              </a:r>
              <a:r>
                <a:rPr lang="en-US" sz="1400" dirty="0">
                  <a:latin typeface="+mn-lt"/>
                  <a:cs typeface="Arial"/>
                </a:rPr>
                <a:t> </a:t>
              </a:r>
              <a:r>
                <a:rPr lang="en-US" sz="1400" dirty="0" err="1">
                  <a:latin typeface="+mn-lt"/>
                  <a:cs typeface="Arial"/>
                </a:rPr>
                <a:t>reguladoras</a:t>
              </a:r>
              <a:endParaRPr lang="en-US" sz="1400" dirty="0">
                <a:latin typeface="+mn-lt"/>
                <a:cs typeface="Arial"/>
              </a:endParaRPr>
            </a:p>
            <a:p>
              <a:pPr marL="0" indent="0">
                <a:spcBef>
                  <a:spcPts val="1800"/>
                </a:spcBef>
                <a:spcAft>
                  <a:spcPts val="0"/>
                </a:spcAft>
                <a:buNone/>
              </a:pPr>
              <a:r>
                <a:rPr lang="en-US" sz="1400" dirty="0" err="1">
                  <a:latin typeface="+mn-lt"/>
                  <a:cs typeface="Arial"/>
                </a:rPr>
                <a:t>Deficiências</a:t>
              </a:r>
              <a:r>
                <a:rPr lang="en-US" sz="1400" dirty="0">
                  <a:latin typeface="+mn-lt"/>
                  <a:cs typeface="Arial"/>
                </a:rPr>
                <a:t> de </a:t>
              </a:r>
              <a:r>
                <a:rPr lang="en-US" sz="1400" dirty="0" err="1">
                  <a:latin typeface="+mn-lt"/>
                  <a:cs typeface="Arial"/>
                </a:rPr>
                <a:t>proteína</a:t>
              </a:r>
              <a:r>
                <a:rPr lang="en-US" sz="1400" dirty="0">
                  <a:latin typeface="+mn-lt"/>
                  <a:cs typeface="Arial"/>
                </a:rPr>
                <a:t> </a:t>
              </a:r>
              <a:r>
                <a:rPr lang="en-US" sz="1400" dirty="0" err="1">
                  <a:latin typeface="+mn-lt"/>
                  <a:cs typeface="Arial"/>
                </a:rPr>
                <a:t>ativadoras</a:t>
              </a:r>
              <a:r>
                <a:rPr lang="en-US" sz="1400" dirty="0">
                  <a:latin typeface="+mn-lt"/>
                  <a:cs typeface="Arial"/>
                </a:rPr>
                <a:t> </a:t>
              </a:r>
              <a:r>
                <a:rPr lang="en-US" sz="1400" dirty="0" err="1">
                  <a:latin typeface="+mn-lt"/>
                  <a:cs typeface="Arial"/>
                </a:rPr>
                <a:t>ou</a:t>
              </a:r>
              <a:r>
                <a:rPr lang="en-US" sz="1400" dirty="0">
                  <a:latin typeface="+mn-lt"/>
                  <a:cs typeface="Arial"/>
                </a:rPr>
                <a:t> </a:t>
              </a:r>
              <a:r>
                <a:rPr lang="en-US" sz="1400" dirty="0" err="1">
                  <a:latin typeface="+mn-lt"/>
                  <a:cs typeface="Arial"/>
                </a:rPr>
                <a:t>reguladoras</a:t>
              </a:r>
              <a:r>
                <a:rPr lang="en-US" sz="1400" dirty="0">
                  <a:latin typeface="+mn-lt"/>
                  <a:cs typeface="Arial"/>
                </a:rPr>
                <a:t> e </a:t>
              </a:r>
              <a:r>
                <a:rPr lang="en-US" sz="1400" dirty="0" err="1">
                  <a:latin typeface="+mn-lt"/>
                  <a:cs typeface="Arial"/>
                </a:rPr>
                <a:t>alterações</a:t>
              </a:r>
              <a:r>
                <a:rPr lang="en-US" sz="1400" dirty="0">
                  <a:latin typeface="+mn-lt"/>
                  <a:cs typeface="Arial"/>
                </a:rPr>
                <a:t> </a:t>
              </a:r>
              <a:r>
                <a:rPr lang="en-US" sz="1400" dirty="0" err="1">
                  <a:latin typeface="+mn-lt"/>
                  <a:cs typeface="Arial"/>
                </a:rPr>
                <a:t>nos</a:t>
              </a:r>
              <a:r>
                <a:rPr lang="en-US" sz="1400" dirty="0">
                  <a:latin typeface="+mn-lt"/>
                  <a:cs typeface="Arial"/>
                </a:rPr>
                <a:t> </a:t>
              </a:r>
              <a:r>
                <a:rPr lang="en-US" sz="1400" dirty="0" err="1">
                  <a:latin typeface="+mn-lt"/>
                  <a:cs typeface="Arial"/>
                </a:rPr>
                <a:t>níveis</a:t>
              </a:r>
              <a:r>
                <a:rPr lang="en-US" sz="1400" dirty="0">
                  <a:latin typeface="+mn-lt"/>
                  <a:cs typeface="Arial"/>
                </a:rPr>
                <a:t> de </a:t>
              </a:r>
              <a:r>
                <a:rPr lang="en-US" sz="1400" dirty="0" err="1">
                  <a:latin typeface="+mn-lt"/>
                  <a:cs typeface="Arial"/>
                </a:rPr>
                <a:t>expressão</a:t>
              </a:r>
              <a:endParaRPr lang="en-US" sz="1400" dirty="0">
                <a:latin typeface="+mn-lt"/>
                <a:cs typeface="Arial"/>
              </a:endParaRPr>
            </a:p>
            <a:p>
              <a:pPr marL="0" indent="0">
                <a:spcBef>
                  <a:spcPts val="1800"/>
                </a:spcBef>
                <a:spcAft>
                  <a:spcPts val="0"/>
                </a:spcAft>
                <a:buNone/>
              </a:pPr>
              <a:r>
                <a:rPr lang="en-US" sz="1400" dirty="0" err="1">
                  <a:latin typeface="+mn-lt"/>
                  <a:cs typeface="Arial"/>
                </a:rPr>
                <a:t>Autoanticorpos</a:t>
              </a:r>
              <a:r>
                <a:rPr lang="en-US" sz="1400" dirty="0">
                  <a:latin typeface="+mn-lt"/>
                  <a:cs typeface="Arial"/>
                </a:rPr>
                <a:t> que </a:t>
              </a:r>
              <a:r>
                <a:rPr lang="en-US" sz="1400" dirty="0" err="1">
                  <a:latin typeface="+mn-lt"/>
                  <a:cs typeface="Arial"/>
                </a:rPr>
                <a:t>controlam</a:t>
              </a:r>
              <a:r>
                <a:rPr lang="en-US" sz="1400" dirty="0">
                  <a:latin typeface="+mn-lt"/>
                  <a:cs typeface="Arial"/>
                </a:rPr>
                <a:t> a </a:t>
              </a:r>
              <a:r>
                <a:rPr lang="en-US" sz="1400" dirty="0" err="1">
                  <a:latin typeface="+mn-lt"/>
                  <a:cs typeface="Arial"/>
                </a:rPr>
                <a:t>ativação</a:t>
              </a:r>
              <a:r>
                <a:rPr lang="en-US" sz="1400" dirty="0">
                  <a:latin typeface="+mn-lt"/>
                  <a:cs typeface="Arial"/>
                </a:rPr>
                <a:t> do </a:t>
              </a:r>
              <a:r>
                <a:rPr lang="en-US" sz="1400" dirty="0" err="1">
                  <a:latin typeface="+mn-lt"/>
                  <a:cs typeface="Arial"/>
                </a:rPr>
                <a:t>complemento</a:t>
              </a:r>
              <a:r>
                <a:rPr lang="en-US" sz="1400" dirty="0">
                  <a:latin typeface="+mn-lt"/>
                  <a:cs typeface="Arial"/>
                </a:rPr>
                <a:t> </a:t>
              </a:r>
              <a:r>
                <a:rPr lang="en-US" sz="1400" dirty="0" err="1">
                  <a:latin typeface="+mn-lt"/>
                  <a:cs typeface="Arial"/>
                </a:rPr>
                <a:t>ou</a:t>
              </a:r>
              <a:r>
                <a:rPr lang="en-US" sz="1400" dirty="0">
                  <a:latin typeface="+mn-lt"/>
                  <a:cs typeface="Arial"/>
                </a:rPr>
                <a:t> alteram a </a:t>
              </a:r>
              <a:r>
                <a:rPr lang="en-US" sz="1400" dirty="0" err="1">
                  <a:latin typeface="+mn-lt"/>
                  <a:cs typeface="Arial"/>
                </a:rPr>
                <a:t>função</a:t>
              </a:r>
              <a:r>
                <a:rPr lang="en-US" sz="1400" dirty="0">
                  <a:latin typeface="+mn-lt"/>
                  <a:cs typeface="Arial"/>
                </a:rPr>
                <a:t> das </a:t>
              </a:r>
              <a:r>
                <a:rPr lang="en-US" sz="1400" dirty="0" err="1">
                  <a:latin typeface="+mn-lt"/>
                  <a:cs typeface="Arial"/>
                </a:rPr>
                <a:t>proteínas</a:t>
              </a:r>
              <a:r>
                <a:rPr lang="en-US" sz="1400" dirty="0">
                  <a:latin typeface="+mn-lt"/>
                  <a:cs typeface="Arial"/>
                </a:rPr>
                <a:t> do </a:t>
              </a:r>
              <a:r>
                <a:rPr lang="en-US" sz="1400" dirty="0" err="1">
                  <a:latin typeface="+mn-lt"/>
                  <a:cs typeface="Arial"/>
                </a:rPr>
                <a:t>complemento</a:t>
              </a:r>
              <a:endParaRPr lang="en-US" sz="1400" dirty="0">
                <a:latin typeface="+mn-lt"/>
                <a:cs typeface="Arial"/>
              </a:endParaRPr>
            </a:p>
            <a:p>
              <a:pPr marL="0" indent="0">
                <a:spcBef>
                  <a:spcPts val="1800"/>
                </a:spcBef>
                <a:spcAft>
                  <a:spcPts val="0"/>
                </a:spcAft>
                <a:buNone/>
              </a:pPr>
              <a:r>
                <a:rPr lang="en-US" sz="1400" dirty="0" err="1">
                  <a:latin typeface="+mn-lt"/>
                  <a:cs typeface="Arial"/>
                </a:rPr>
                <a:t>Gatilhos</a:t>
              </a:r>
              <a:r>
                <a:rPr lang="en-US" sz="1400" dirty="0">
                  <a:latin typeface="+mn-lt"/>
                  <a:cs typeface="Arial"/>
                </a:rPr>
                <a:t> </a:t>
              </a:r>
              <a:r>
                <a:rPr lang="en-US" sz="1400" dirty="0" err="1">
                  <a:latin typeface="+mn-lt"/>
                  <a:cs typeface="Arial"/>
                </a:rPr>
                <a:t>ambientais</a:t>
              </a:r>
              <a:r>
                <a:rPr lang="en-US" sz="1400" dirty="0">
                  <a:latin typeface="+mn-lt"/>
                  <a:cs typeface="Arial"/>
                </a:rPr>
                <a:t>, </a:t>
              </a:r>
              <a:r>
                <a:rPr lang="en-US" sz="1400" dirty="0" err="1">
                  <a:latin typeface="+mn-lt"/>
                  <a:cs typeface="Arial"/>
                </a:rPr>
                <a:t>como</a:t>
              </a:r>
              <a:r>
                <a:rPr lang="en-US" sz="1400" dirty="0">
                  <a:latin typeface="+mn-lt"/>
                  <a:cs typeface="Arial"/>
                </a:rPr>
                <a:t> </a:t>
              </a:r>
              <a:r>
                <a:rPr lang="en-US" sz="1400" dirty="0" err="1">
                  <a:latin typeface="+mn-lt"/>
                  <a:cs typeface="Arial"/>
                </a:rPr>
                <a:t>gravidez</a:t>
              </a:r>
              <a:endParaRPr lang="en-US" sz="1200" dirty="0">
                <a:latin typeface="+mn-lt"/>
                <a:cs typeface="Arial"/>
              </a:endParaRPr>
            </a:p>
          </p:txBody>
        </p:sp>
        <p:sp>
          <p:nvSpPr>
            <p:cNvPr id="45" name="Forma Livre: Forma 44">
              <a:extLst>
                <a:ext uri="{FF2B5EF4-FFF2-40B4-BE49-F238E27FC236}">
                  <a16:creationId xmlns:a16="http://schemas.microsoft.com/office/drawing/2014/main" id="{C506B104-8578-75C8-E35D-A505FE8DDAE8}"/>
                </a:ext>
              </a:extLst>
            </p:cNvPr>
            <p:cNvSpPr/>
            <p:nvPr/>
          </p:nvSpPr>
          <p:spPr>
            <a:xfrm>
              <a:off x="5225335" y="2530348"/>
              <a:ext cx="176221" cy="2612376"/>
            </a:xfrm>
            <a:custGeom>
              <a:avLst/>
              <a:gdLst>
                <a:gd name="connsiteX0" fmla="*/ 204395 w 215153"/>
                <a:gd name="connsiteY0" fmla="*/ 0 h 1699708"/>
                <a:gd name="connsiteX1" fmla="*/ 0 w 215153"/>
                <a:gd name="connsiteY1" fmla="*/ 0 h 1699708"/>
                <a:gd name="connsiteX2" fmla="*/ 0 w 215153"/>
                <a:gd name="connsiteY2" fmla="*/ 1699708 h 1699708"/>
                <a:gd name="connsiteX3" fmla="*/ 215153 w 215153"/>
                <a:gd name="connsiteY3" fmla="*/ 1699708 h 1699708"/>
              </a:gdLst>
              <a:ahLst/>
              <a:cxnLst>
                <a:cxn ang="0">
                  <a:pos x="connsiteX0" y="connsiteY0"/>
                </a:cxn>
                <a:cxn ang="0">
                  <a:pos x="connsiteX1" y="connsiteY1"/>
                </a:cxn>
                <a:cxn ang="0">
                  <a:pos x="connsiteX2" y="connsiteY2"/>
                </a:cxn>
                <a:cxn ang="0">
                  <a:pos x="connsiteX3" y="connsiteY3"/>
                </a:cxn>
              </a:cxnLst>
              <a:rect l="l" t="t" r="r" b="b"/>
              <a:pathLst>
                <a:path w="215153" h="1699708">
                  <a:moveTo>
                    <a:pt x="204395" y="0"/>
                  </a:moveTo>
                  <a:lnTo>
                    <a:pt x="0" y="0"/>
                  </a:lnTo>
                  <a:lnTo>
                    <a:pt x="0" y="1699708"/>
                  </a:lnTo>
                  <a:lnTo>
                    <a:pt x="215153" y="1699708"/>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cxnSp>
        <p:nvCxnSpPr>
          <p:cNvPr id="47" name="Conector reto 46">
            <a:extLst>
              <a:ext uri="{FF2B5EF4-FFF2-40B4-BE49-F238E27FC236}">
                <a16:creationId xmlns:a16="http://schemas.microsoft.com/office/drawing/2014/main" id="{DC0E148C-038D-D9E2-D9E1-9682D4077FD2}"/>
              </a:ext>
            </a:extLst>
          </p:cNvPr>
          <p:cNvCxnSpPr/>
          <p:nvPr/>
        </p:nvCxnSpPr>
        <p:spPr>
          <a:xfrm>
            <a:off x="5490967" y="3644245"/>
            <a:ext cx="331786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Conector reto 47">
            <a:extLst>
              <a:ext uri="{FF2B5EF4-FFF2-40B4-BE49-F238E27FC236}">
                <a16:creationId xmlns:a16="http://schemas.microsoft.com/office/drawing/2014/main" id="{02CA03A8-6020-3B49-A7BA-B25D9FD77D32}"/>
              </a:ext>
            </a:extLst>
          </p:cNvPr>
          <p:cNvCxnSpPr/>
          <p:nvPr/>
        </p:nvCxnSpPr>
        <p:spPr>
          <a:xfrm>
            <a:off x="5490967" y="4513276"/>
            <a:ext cx="331786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Conector reto 49">
            <a:extLst>
              <a:ext uri="{FF2B5EF4-FFF2-40B4-BE49-F238E27FC236}">
                <a16:creationId xmlns:a16="http://schemas.microsoft.com/office/drawing/2014/main" id="{A5B73DC1-BDE8-6B14-29FF-2CD3DB92B237}"/>
              </a:ext>
            </a:extLst>
          </p:cNvPr>
          <p:cNvCxnSpPr/>
          <p:nvPr/>
        </p:nvCxnSpPr>
        <p:spPr>
          <a:xfrm>
            <a:off x="5490967" y="5387289"/>
            <a:ext cx="331786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77" name="Agrupar 1076">
            <a:extLst>
              <a:ext uri="{FF2B5EF4-FFF2-40B4-BE49-F238E27FC236}">
                <a16:creationId xmlns:a16="http://schemas.microsoft.com/office/drawing/2014/main" id="{A9824C9A-20EE-BD65-4264-530ECA45F03D}"/>
              </a:ext>
            </a:extLst>
          </p:cNvPr>
          <p:cNvGrpSpPr/>
          <p:nvPr/>
        </p:nvGrpSpPr>
        <p:grpSpPr>
          <a:xfrm>
            <a:off x="467204" y="2117269"/>
            <a:ext cx="2812384" cy="3663548"/>
            <a:chOff x="379413" y="1895416"/>
            <a:chExt cx="2812384" cy="3663548"/>
          </a:xfrm>
        </p:grpSpPr>
        <p:sp>
          <p:nvSpPr>
            <p:cNvPr id="3" name="Retângulo: Cantos Arredondados 2">
              <a:extLst>
                <a:ext uri="{FF2B5EF4-FFF2-40B4-BE49-F238E27FC236}">
                  <a16:creationId xmlns:a16="http://schemas.microsoft.com/office/drawing/2014/main" id="{85C9CDF0-EC2B-E0E0-E568-3D3CE74974B1}"/>
                </a:ext>
              </a:extLst>
            </p:cNvPr>
            <p:cNvSpPr/>
            <p:nvPr/>
          </p:nvSpPr>
          <p:spPr>
            <a:xfrm>
              <a:off x="379413" y="1895416"/>
              <a:ext cx="2812384" cy="3663548"/>
            </a:xfrm>
            <a:prstGeom prst="roundRect">
              <a:avLst>
                <a:gd name="adj" fmla="val 0"/>
              </a:avLst>
            </a:prstGeom>
            <a:solidFill>
              <a:schemeClr val="bg1"/>
            </a:solidFill>
            <a:ln>
              <a:solidFill>
                <a:schemeClr val="bg2"/>
              </a:solid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9" name="TextBox 10">
              <a:extLst>
                <a:ext uri="{FF2B5EF4-FFF2-40B4-BE49-F238E27FC236}">
                  <a16:creationId xmlns:a16="http://schemas.microsoft.com/office/drawing/2014/main" id="{3E9B7DB9-BC33-30B3-5A79-914C403BE6EA}"/>
                </a:ext>
              </a:extLst>
            </p:cNvPr>
            <p:cNvSpPr txBox="1"/>
            <p:nvPr/>
          </p:nvSpPr>
          <p:spPr>
            <a:xfrm>
              <a:off x="434808" y="1902815"/>
              <a:ext cx="2701594" cy="666977"/>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867" b="1" i="0" u="none" strike="noStrike" kern="0" cap="none" spc="0" normalizeH="0" baseline="0" noProof="0" dirty="0" err="1">
                  <a:ln>
                    <a:noFill/>
                  </a:ln>
                  <a:solidFill>
                    <a:schemeClr val="bg2"/>
                  </a:solidFill>
                  <a:effectLst/>
                  <a:uLnTx/>
                  <a:uFillTx/>
                  <a:latin typeface="+mj-lt"/>
                  <a:ea typeface="ヒラギノ角ゴ Pro W3" panose="020B0300000000000000" pitchFamily="34" charset="-128"/>
                  <a:cs typeface="Arial"/>
                </a:rPr>
                <a:t>Demasiada</a:t>
              </a:r>
              <a:r>
                <a:rPr kumimoji="0" lang="en-US" sz="1867" b="1" i="0" u="none" strike="noStrike" kern="0" cap="none" spc="0" normalizeH="0" baseline="0" noProof="0" dirty="0">
                  <a:ln>
                    <a:noFill/>
                  </a:ln>
                  <a:solidFill>
                    <a:schemeClr val="bg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bg2"/>
                  </a:solidFill>
                  <a:effectLst/>
                  <a:uLnTx/>
                  <a:uFillTx/>
                  <a:latin typeface="+mj-lt"/>
                  <a:ea typeface="ヒラギノ角ゴ Pro W3" panose="020B0300000000000000" pitchFamily="34" charset="-128"/>
                  <a:cs typeface="Arial"/>
                </a:rPr>
                <a:t>ativação</a:t>
              </a:r>
              <a:r>
                <a:rPr kumimoji="0" lang="en-US" sz="1867" b="1" i="0" u="none" strike="noStrike" kern="0" cap="none" spc="0" normalizeH="0" baseline="0" noProof="0" dirty="0">
                  <a:ln>
                    <a:noFill/>
                  </a:ln>
                  <a:solidFill>
                    <a:schemeClr val="bg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bg2"/>
                  </a:solidFill>
                  <a:effectLst/>
                  <a:uLnTx/>
                  <a:uFillTx/>
                  <a:latin typeface="+mj-lt"/>
                  <a:ea typeface="ヒラギノ角ゴ Pro W3" panose="020B0300000000000000" pitchFamily="34" charset="-128"/>
                  <a:cs typeface="Arial"/>
                </a:rPr>
                <a:t>ou</a:t>
              </a:r>
              <a:r>
                <a:rPr kumimoji="0" lang="en-US" sz="1867" b="1" i="0" u="none" strike="noStrike" kern="0" cap="none" spc="0" normalizeH="0" baseline="0" noProof="0" dirty="0">
                  <a:ln>
                    <a:noFill/>
                  </a:ln>
                  <a:solidFill>
                    <a:schemeClr val="bg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bg2"/>
                  </a:solidFill>
                  <a:effectLst/>
                  <a:uLnTx/>
                  <a:uFillTx/>
                  <a:latin typeface="+mj-lt"/>
                  <a:ea typeface="ヒラギノ角ゴ Pro W3" panose="020B0300000000000000" pitchFamily="34" charset="-128"/>
                  <a:cs typeface="Arial"/>
                </a:rPr>
                <a:t>regulação</a:t>
              </a:r>
              <a:r>
                <a:rPr kumimoji="0" lang="en-US" sz="1867" b="1" i="0" u="none" strike="noStrike" kern="0" cap="none" spc="0" normalizeH="0" baseline="0" noProof="0" dirty="0">
                  <a:ln>
                    <a:noFill/>
                  </a:ln>
                  <a:solidFill>
                    <a:schemeClr val="bg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bg2"/>
                  </a:solidFill>
                  <a:effectLst/>
                  <a:uLnTx/>
                  <a:uFillTx/>
                  <a:latin typeface="+mj-lt"/>
                  <a:ea typeface="ヒラギノ角ゴ Pro W3" panose="020B0300000000000000" pitchFamily="34" charset="-128"/>
                  <a:cs typeface="Arial"/>
                </a:rPr>
                <a:t>insuficiente</a:t>
              </a:r>
              <a:endParaRPr kumimoji="0" lang="en-US" sz="1867" b="1" i="0" u="none" strike="noStrike" kern="0" cap="none" spc="0" normalizeH="0" baseline="0" noProof="0" dirty="0">
                <a:ln>
                  <a:noFill/>
                </a:ln>
                <a:solidFill>
                  <a:schemeClr val="bg2"/>
                </a:solidFill>
                <a:effectLst/>
                <a:uLnTx/>
                <a:uFillTx/>
                <a:latin typeface="+mj-lt"/>
                <a:ea typeface="ヒラギノ角ゴ Pro W3" panose="020B0300000000000000" pitchFamily="34" charset="-128"/>
                <a:cs typeface="Arial"/>
              </a:endParaRPr>
            </a:p>
          </p:txBody>
        </p:sp>
        <p:sp>
          <p:nvSpPr>
            <p:cNvPr id="16" name="Rectangle 70">
              <a:extLst>
                <a:ext uri="{FF2B5EF4-FFF2-40B4-BE49-F238E27FC236}">
                  <a16:creationId xmlns:a16="http://schemas.microsoft.com/office/drawing/2014/main" id="{63C42AF3-78A4-A8A7-7C05-5DAB7CD13028}"/>
                </a:ext>
              </a:extLst>
            </p:cNvPr>
            <p:cNvSpPr/>
            <p:nvPr/>
          </p:nvSpPr>
          <p:spPr>
            <a:xfrm>
              <a:off x="417068" y="4528159"/>
              <a:ext cx="2719334" cy="1024136"/>
            </a:xfrm>
            <a:prstGeom prst="rect">
              <a:avLst/>
            </a:prstGeom>
            <a:noFill/>
            <a:ln>
              <a:noFill/>
            </a:ln>
            <a:effectLst/>
          </p:spPr>
          <p:txBody>
            <a:bodyPr spcFirstLastPara="0" vert="horz" wrap="square" lIns="81280" tIns="81280" rIns="81280" bIns="81280" numCol="1" spcCol="1270" anchor="ctr" anchorCtr="0">
              <a:noAutofit/>
            </a:bodyPr>
            <a:lstStyle/>
            <a:p>
              <a:pPr marL="0" marR="0" lvl="0" indent="0" algn="ctr" defTabSz="1422364"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err="1">
                  <a:ln>
                    <a:noFill/>
                  </a:ln>
                  <a:solidFill>
                    <a:schemeClr val="bg2"/>
                  </a:solidFill>
                  <a:effectLst/>
                  <a:uLnTx/>
                  <a:uFillTx/>
                  <a:cs typeface="Arial"/>
                </a:rPr>
                <a:t>Inflamação</a:t>
              </a:r>
              <a:r>
                <a:rPr kumimoji="0" lang="en-US" sz="1600" b="1" i="0" u="none" strike="noStrike" kern="0" cap="none" spc="0" normalizeH="0" baseline="0" noProof="0" dirty="0">
                  <a:ln>
                    <a:noFill/>
                  </a:ln>
                  <a:solidFill>
                    <a:schemeClr val="bg2"/>
                  </a:solidFill>
                  <a:effectLst/>
                  <a:uLnTx/>
                  <a:uFillTx/>
                  <a:cs typeface="Arial"/>
                </a:rPr>
                <a:t> e</a:t>
              </a:r>
              <a:br>
                <a:rPr kumimoji="0" lang="en-US" sz="1600" b="1" i="0" u="none" strike="noStrike" kern="0" cap="none" spc="0" normalizeH="0" baseline="0" noProof="0" dirty="0">
                  <a:ln>
                    <a:noFill/>
                  </a:ln>
                  <a:solidFill>
                    <a:schemeClr val="bg2"/>
                  </a:solidFill>
                  <a:effectLst/>
                  <a:uLnTx/>
                  <a:uFillTx/>
                  <a:cs typeface="Arial"/>
                </a:rPr>
              </a:br>
              <a:r>
                <a:rPr kumimoji="0" lang="en-US" sz="1600" b="1" i="0" u="none" strike="noStrike" kern="0" cap="none" spc="0" normalizeH="0" baseline="0" noProof="0" dirty="0" err="1">
                  <a:ln>
                    <a:noFill/>
                  </a:ln>
                  <a:solidFill>
                    <a:schemeClr val="bg2"/>
                  </a:solidFill>
                  <a:effectLst/>
                  <a:uLnTx/>
                  <a:uFillTx/>
                  <a:cs typeface="Arial"/>
                </a:rPr>
                <a:t>destruição</a:t>
              </a:r>
              <a:r>
                <a:rPr kumimoji="0" lang="en-US" sz="1600" b="1" i="0" u="none" strike="noStrike" kern="0" cap="none" spc="0" normalizeH="0" baseline="0" noProof="0" dirty="0">
                  <a:ln>
                    <a:noFill/>
                  </a:ln>
                  <a:solidFill>
                    <a:schemeClr val="bg2"/>
                  </a:solidFill>
                  <a:effectLst/>
                  <a:uLnTx/>
                  <a:uFillTx/>
                  <a:cs typeface="Arial"/>
                </a:rPr>
                <a:t> do </a:t>
              </a:r>
              <a:r>
                <a:rPr kumimoji="0" lang="en-US" sz="1600" b="1" i="0" u="none" strike="noStrike" kern="0" cap="none" spc="0" normalizeH="0" baseline="0" noProof="0" dirty="0" err="1">
                  <a:ln>
                    <a:noFill/>
                  </a:ln>
                  <a:solidFill>
                    <a:schemeClr val="bg2"/>
                  </a:solidFill>
                  <a:effectLst/>
                  <a:uLnTx/>
                  <a:uFillTx/>
                  <a:cs typeface="Arial"/>
                </a:rPr>
                <a:t>tecido</a:t>
              </a:r>
              <a:r>
                <a:rPr kumimoji="0" lang="en-US" sz="1600" b="1" i="0" u="none" strike="noStrike" kern="0" cap="none" spc="0" normalizeH="0" baseline="0" noProof="0" dirty="0">
                  <a:ln>
                    <a:noFill/>
                  </a:ln>
                  <a:solidFill>
                    <a:schemeClr val="bg2"/>
                  </a:solidFill>
                  <a:effectLst/>
                  <a:uLnTx/>
                  <a:uFillTx/>
                  <a:cs typeface="Arial"/>
                </a:rPr>
                <a:t> </a:t>
              </a:r>
              <a:r>
                <a:rPr kumimoji="0" lang="en-US" sz="1600" b="1" i="0" u="none" strike="noStrike" kern="0" cap="none" spc="0" normalizeH="0" baseline="0" noProof="0" dirty="0" err="1">
                  <a:ln>
                    <a:noFill/>
                  </a:ln>
                  <a:solidFill>
                    <a:schemeClr val="bg2"/>
                  </a:solidFill>
                  <a:effectLst/>
                  <a:uLnTx/>
                  <a:uFillTx/>
                  <a:cs typeface="Arial"/>
                </a:rPr>
                <a:t>saudável</a:t>
              </a:r>
              <a:r>
                <a:rPr kumimoji="0" lang="en-US" sz="1600" b="1" i="0" u="none" strike="noStrike" kern="0" cap="none" spc="0" normalizeH="0" baseline="0" noProof="0" dirty="0">
                  <a:ln>
                    <a:noFill/>
                  </a:ln>
                  <a:solidFill>
                    <a:schemeClr val="bg2"/>
                  </a:solidFill>
                  <a:effectLst/>
                  <a:uLnTx/>
                  <a:uFillTx/>
                  <a:cs typeface="Arial"/>
                </a:rPr>
                <a:t> do </a:t>
              </a:r>
              <a:r>
                <a:rPr kumimoji="0" lang="en-US" sz="1600" b="1" i="0" u="none" strike="noStrike" kern="0" cap="none" spc="0" normalizeH="0" baseline="0" noProof="0" dirty="0" err="1">
                  <a:ln>
                    <a:noFill/>
                  </a:ln>
                  <a:solidFill>
                    <a:schemeClr val="bg2"/>
                  </a:solidFill>
                  <a:effectLst/>
                  <a:uLnTx/>
                  <a:uFillTx/>
                  <a:cs typeface="Arial"/>
                </a:rPr>
                <a:t>hospedeiro</a:t>
              </a:r>
              <a:endParaRPr kumimoji="0" lang="en-US" sz="1600" b="1" i="0" u="none" strike="noStrike" kern="0" cap="none" spc="0" normalizeH="0" baseline="0" noProof="0" dirty="0">
                <a:ln>
                  <a:noFill/>
                </a:ln>
                <a:solidFill>
                  <a:schemeClr val="bg2"/>
                </a:solidFill>
                <a:effectLst/>
                <a:uLnTx/>
                <a:uFillTx/>
                <a:cs typeface="Arial"/>
              </a:endParaRPr>
            </a:p>
          </p:txBody>
        </p:sp>
        <p:cxnSp>
          <p:nvCxnSpPr>
            <p:cNvPr id="186" name="Conector reto 185">
              <a:extLst>
                <a:ext uri="{FF2B5EF4-FFF2-40B4-BE49-F238E27FC236}">
                  <a16:creationId xmlns:a16="http://schemas.microsoft.com/office/drawing/2014/main" id="{F7BB0CB5-EEAE-F8D6-9FD7-4ED232543697}"/>
                </a:ext>
              </a:extLst>
            </p:cNvPr>
            <p:cNvCxnSpPr>
              <a:cxnSpLocks/>
            </p:cNvCxnSpPr>
            <p:nvPr/>
          </p:nvCxnSpPr>
          <p:spPr>
            <a:xfrm flipV="1">
              <a:off x="991808" y="2806273"/>
              <a:ext cx="1587207" cy="45714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28" name="Retângulo: Cantos Arredondados 1027">
              <a:extLst>
                <a:ext uri="{FF2B5EF4-FFF2-40B4-BE49-F238E27FC236}">
                  <a16:creationId xmlns:a16="http://schemas.microsoft.com/office/drawing/2014/main" id="{4B63C167-EFA7-4DAE-4FF7-F730117947AC}"/>
                </a:ext>
              </a:extLst>
            </p:cNvPr>
            <p:cNvSpPr/>
            <p:nvPr/>
          </p:nvSpPr>
          <p:spPr>
            <a:xfrm rot="5400000">
              <a:off x="987078" y="3489983"/>
              <a:ext cx="1611952" cy="5532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67" name="Elipse 66">
              <a:extLst>
                <a:ext uri="{FF2B5EF4-FFF2-40B4-BE49-F238E27FC236}">
                  <a16:creationId xmlns:a16="http://schemas.microsoft.com/office/drawing/2014/main" id="{1091A64E-9153-D80F-1428-3040D71AB374}"/>
                </a:ext>
              </a:extLst>
            </p:cNvPr>
            <p:cNvSpPr/>
            <p:nvPr/>
          </p:nvSpPr>
          <p:spPr>
            <a:xfrm>
              <a:off x="1711862" y="2949338"/>
              <a:ext cx="152105" cy="15210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61" name="Elipse 60">
              <a:extLst>
                <a:ext uri="{FF2B5EF4-FFF2-40B4-BE49-F238E27FC236}">
                  <a16:creationId xmlns:a16="http://schemas.microsoft.com/office/drawing/2014/main" id="{8B14685C-D5C3-B5A3-A5B6-B319C11E9D87}"/>
                </a:ext>
              </a:extLst>
            </p:cNvPr>
            <p:cNvSpPr/>
            <p:nvPr/>
          </p:nvSpPr>
          <p:spPr>
            <a:xfrm>
              <a:off x="1615976" y="4125680"/>
              <a:ext cx="378668" cy="37866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55" name="Trapezoide 54">
              <a:extLst>
                <a:ext uri="{FF2B5EF4-FFF2-40B4-BE49-F238E27FC236}">
                  <a16:creationId xmlns:a16="http://schemas.microsoft.com/office/drawing/2014/main" id="{ACC2B37B-AF84-557F-DB84-B7854B0CC025}"/>
                </a:ext>
              </a:extLst>
            </p:cNvPr>
            <p:cNvSpPr/>
            <p:nvPr/>
          </p:nvSpPr>
          <p:spPr>
            <a:xfrm>
              <a:off x="1131724" y="4426999"/>
              <a:ext cx="1280954" cy="154699"/>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56" name="Trapezoide 55">
              <a:extLst>
                <a:ext uri="{FF2B5EF4-FFF2-40B4-BE49-F238E27FC236}">
                  <a16:creationId xmlns:a16="http://schemas.microsoft.com/office/drawing/2014/main" id="{5A073B27-210E-40CD-8ECF-8E4BF07D48A7}"/>
                </a:ext>
              </a:extLst>
            </p:cNvPr>
            <p:cNvSpPr/>
            <p:nvPr/>
          </p:nvSpPr>
          <p:spPr>
            <a:xfrm>
              <a:off x="1477202" y="4330290"/>
              <a:ext cx="640477" cy="106594"/>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grpSp>
          <p:nvGrpSpPr>
            <p:cNvPr id="1053" name="Agrupar 1052">
              <a:extLst>
                <a:ext uri="{FF2B5EF4-FFF2-40B4-BE49-F238E27FC236}">
                  <a16:creationId xmlns:a16="http://schemas.microsoft.com/office/drawing/2014/main" id="{7B5B2ACF-AF74-B602-947B-ADF2BF77F409}"/>
                </a:ext>
              </a:extLst>
            </p:cNvPr>
            <p:cNvGrpSpPr/>
            <p:nvPr/>
          </p:nvGrpSpPr>
          <p:grpSpPr>
            <a:xfrm>
              <a:off x="415780" y="3222096"/>
              <a:ext cx="1152057" cy="1085345"/>
              <a:chOff x="415780" y="2963930"/>
              <a:chExt cx="1152057" cy="1085345"/>
            </a:xfrm>
          </p:grpSpPr>
          <p:grpSp>
            <p:nvGrpSpPr>
              <p:cNvPr id="1052" name="Agrupar 1051">
                <a:extLst>
                  <a:ext uri="{FF2B5EF4-FFF2-40B4-BE49-F238E27FC236}">
                    <a16:creationId xmlns:a16="http://schemas.microsoft.com/office/drawing/2014/main" id="{584898FD-1362-64D2-CA1B-BEC4DC927B50}"/>
                  </a:ext>
                </a:extLst>
              </p:cNvPr>
              <p:cNvGrpSpPr/>
              <p:nvPr/>
            </p:nvGrpSpPr>
            <p:grpSpPr>
              <a:xfrm>
                <a:off x="577056" y="2963930"/>
                <a:ext cx="843323" cy="1085345"/>
                <a:chOff x="577056" y="2963930"/>
                <a:chExt cx="843323" cy="1085345"/>
              </a:xfrm>
            </p:grpSpPr>
            <p:sp>
              <p:nvSpPr>
                <p:cNvPr id="1032" name="Triângulo isósceles 1031">
                  <a:extLst>
                    <a:ext uri="{FF2B5EF4-FFF2-40B4-BE49-F238E27FC236}">
                      <a16:creationId xmlns:a16="http://schemas.microsoft.com/office/drawing/2014/main" id="{37E97849-B9BA-04DD-3189-DDD307D145EA}"/>
                    </a:ext>
                  </a:extLst>
                </p:cNvPr>
                <p:cNvSpPr/>
                <p:nvPr/>
              </p:nvSpPr>
              <p:spPr>
                <a:xfrm>
                  <a:off x="645371" y="3016438"/>
                  <a:ext cx="694592" cy="598786"/>
                </a:xfrm>
                <a:prstGeom prst="triangl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1400" dirty="0" err="1"/>
                </a:p>
              </p:txBody>
            </p:sp>
            <p:sp>
              <p:nvSpPr>
                <p:cNvPr id="1029" name="Corda 1028">
                  <a:extLst>
                    <a:ext uri="{FF2B5EF4-FFF2-40B4-BE49-F238E27FC236}">
                      <a16:creationId xmlns:a16="http://schemas.microsoft.com/office/drawing/2014/main" id="{7319529D-1EAC-F578-AA08-2139D1E2588C}"/>
                    </a:ext>
                  </a:extLst>
                </p:cNvPr>
                <p:cNvSpPr/>
                <p:nvPr/>
              </p:nvSpPr>
              <p:spPr>
                <a:xfrm rot="18000000">
                  <a:off x="647810" y="3350174"/>
                  <a:ext cx="699101" cy="699101"/>
                </a:xfrm>
                <a:prstGeom prst="chord">
                  <a:avLst>
                    <a:gd name="adj1" fmla="val 2995502"/>
                    <a:gd name="adj2" fmla="val 148804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sz="1600" dirty="0" err="1"/>
                </a:p>
              </p:txBody>
            </p:sp>
            <p:sp>
              <p:nvSpPr>
                <p:cNvPr id="1027" name="Retângulo: Cantos Arredondados 1026">
                  <a:extLst>
                    <a:ext uri="{FF2B5EF4-FFF2-40B4-BE49-F238E27FC236}">
                      <a16:creationId xmlns:a16="http://schemas.microsoft.com/office/drawing/2014/main" id="{8E879FD9-6103-7167-0E3A-DFB5226339BC}"/>
                    </a:ext>
                  </a:extLst>
                </p:cNvPr>
                <p:cNvSpPr/>
                <p:nvPr/>
              </p:nvSpPr>
              <p:spPr>
                <a:xfrm>
                  <a:off x="577056" y="3574119"/>
                  <a:ext cx="843323" cy="106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25" name="Elipse 1024">
                  <a:extLst>
                    <a:ext uri="{FF2B5EF4-FFF2-40B4-BE49-F238E27FC236}">
                      <a16:creationId xmlns:a16="http://schemas.microsoft.com/office/drawing/2014/main" id="{1CA1F9D4-8D68-D636-1592-4EFB597291EC}"/>
                    </a:ext>
                  </a:extLst>
                </p:cNvPr>
                <p:cNvSpPr/>
                <p:nvPr/>
              </p:nvSpPr>
              <p:spPr>
                <a:xfrm>
                  <a:off x="946830" y="2963930"/>
                  <a:ext cx="91675" cy="9167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grpSp>
          <p:sp>
            <p:nvSpPr>
              <p:cNvPr id="1050" name="TextBox 28">
                <a:extLst>
                  <a:ext uri="{FF2B5EF4-FFF2-40B4-BE49-F238E27FC236}">
                    <a16:creationId xmlns:a16="http://schemas.microsoft.com/office/drawing/2014/main" id="{9835C995-68A5-07BA-DCC2-51E5F418A6A5}"/>
                  </a:ext>
                </a:extLst>
              </p:cNvPr>
              <p:cNvSpPr txBox="1"/>
              <p:nvPr/>
            </p:nvSpPr>
            <p:spPr>
              <a:xfrm>
                <a:off x="415780" y="3635848"/>
                <a:ext cx="1152057" cy="261610"/>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1"/>
                    </a:solidFill>
                    <a:effectLst/>
                    <a:uLnTx/>
                    <a:uFillTx/>
                    <a:ea typeface="ヒラギノ角ゴ Pro W3" panose="020B0300000000000000" pitchFamily="34" charset="-128"/>
                    <a:cs typeface="Arial"/>
                  </a:rPr>
                  <a:t>ATIVAÇÃO</a:t>
                </a:r>
              </a:p>
            </p:txBody>
          </p:sp>
        </p:grpSp>
        <p:grpSp>
          <p:nvGrpSpPr>
            <p:cNvPr id="1054" name="Agrupar 1053">
              <a:extLst>
                <a:ext uri="{FF2B5EF4-FFF2-40B4-BE49-F238E27FC236}">
                  <a16:creationId xmlns:a16="http://schemas.microsoft.com/office/drawing/2014/main" id="{F0BD3644-8B75-3065-599D-4BFB90962372}"/>
                </a:ext>
              </a:extLst>
            </p:cNvPr>
            <p:cNvGrpSpPr/>
            <p:nvPr/>
          </p:nvGrpSpPr>
          <p:grpSpPr>
            <a:xfrm>
              <a:off x="1956613" y="2784111"/>
              <a:ext cx="1152057" cy="1085345"/>
              <a:chOff x="1956613" y="2963930"/>
              <a:chExt cx="1152057" cy="1085345"/>
            </a:xfrm>
          </p:grpSpPr>
          <p:sp>
            <p:nvSpPr>
              <p:cNvPr id="1033" name="Triângulo isósceles 1032">
                <a:extLst>
                  <a:ext uri="{FF2B5EF4-FFF2-40B4-BE49-F238E27FC236}">
                    <a16:creationId xmlns:a16="http://schemas.microsoft.com/office/drawing/2014/main" id="{C3341179-B6CD-A236-E19B-216A1B91CF97}"/>
                  </a:ext>
                </a:extLst>
              </p:cNvPr>
              <p:cNvSpPr/>
              <p:nvPr/>
            </p:nvSpPr>
            <p:spPr>
              <a:xfrm>
                <a:off x="2190213" y="3016438"/>
                <a:ext cx="694592" cy="598786"/>
              </a:xfrm>
              <a:prstGeom prst="triangl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1400" dirty="0" err="1"/>
              </a:p>
            </p:txBody>
          </p:sp>
          <p:sp>
            <p:nvSpPr>
              <p:cNvPr id="1030" name="Corda 1029">
                <a:extLst>
                  <a:ext uri="{FF2B5EF4-FFF2-40B4-BE49-F238E27FC236}">
                    <a16:creationId xmlns:a16="http://schemas.microsoft.com/office/drawing/2014/main" id="{9A76A05E-1F23-2A0A-3A33-173D830190FF}"/>
                  </a:ext>
                </a:extLst>
              </p:cNvPr>
              <p:cNvSpPr/>
              <p:nvPr/>
            </p:nvSpPr>
            <p:spPr>
              <a:xfrm rot="18000000">
                <a:off x="2184842" y="3350174"/>
                <a:ext cx="699101" cy="699101"/>
              </a:xfrm>
              <a:prstGeom prst="chord">
                <a:avLst>
                  <a:gd name="adj1" fmla="val 2995502"/>
                  <a:gd name="adj2" fmla="val 148804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sz="1600" dirty="0" err="1"/>
              </a:p>
            </p:txBody>
          </p:sp>
          <p:sp>
            <p:nvSpPr>
              <p:cNvPr id="1031" name="Retângulo: Cantos Arredondados 1030">
                <a:extLst>
                  <a:ext uri="{FF2B5EF4-FFF2-40B4-BE49-F238E27FC236}">
                    <a16:creationId xmlns:a16="http://schemas.microsoft.com/office/drawing/2014/main" id="{60E144B0-22FA-4C12-FEE4-4347BD954BCA}"/>
                  </a:ext>
                </a:extLst>
              </p:cNvPr>
              <p:cNvSpPr/>
              <p:nvPr/>
            </p:nvSpPr>
            <p:spPr>
              <a:xfrm>
                <a:off x="2114088" y="3574119"/>
                <a:ext cx="843323" cy="10658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24" name="Elipse 1023">
                <a:extLst>
                  <a:ext uri="{FF2B5EF4-FFF2-40B4-BE49-F238E27FC236}">
                    <a16:creationId xmlns:a16="http://schemas.microsoft.com/office/drawing/2014/main" id="{18258E98-D20C-7EC6-8BD1-CEABFB32B069}"/>
                  </a:ext>
                </a:extLst>
              </p:cNvPr>
              <p:cNvSpPr/>
              <p:nvPr/>
            </p:nvSpPr>
            <p:spPr>
              <a:xfrm>
                <a:off x="2487340" y="2963930"/>
                <a:ext cx="91675" cy="9167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51" name="TextBox 30">
                <a:extLst>
                  <a:ext uri="{FF2B5EF4-FFF2-40B4-BE49-F238E27FC236}">
                    <a16:creationId xmlns:a16="http://schemas.microsoft.com/office/drawing/2014/main" id="{C7DABB06-4585-641C-EDA5-FF154F45D285}"/>
                  </a:ext>
                </a:extLst>
              </p:cNvPr>
              <p:cNvSpPr txBox="1"/>
              <p:nvPr/>
            </p:nvSpPr>
            <p:spPr>
              <a:xfrm>
                <a:off x="1956613" y="3655706"/>
                <a:ext cx="1152057" cy="261610"/>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1E60"/>
                    </a:solidFill>
                    <a:effectLst/>
                    <a:uLnTx/>
                    <a:uFillTx/>
                    <a:ea typeface="ヒラギノ角ゴ Pro W3" panose="020B0300000000000000" pitchFamily="34" charset="-128"/>
                    <a:cs typeface="Arial"/>
                  </a:rPr>
                  <a:t>CONTROLE</a:t>
                </a:r>
              </a:p>
            </p:txBody>
          </p:sp>
        </p:grpSp>
      </p:grpSp>
      <p:grpSp>
        <p:nvGrpSpPr>
          <p:cNvPr id="1078" name="Agrupar 1077">
            <a:extLst>
              <a:ext uri="{FF2B5EF4-FFF2-40B4-BE49-F238E27FC236}">
                <a16:creationId xmlns:a16="http://schemas.microsoft.com/office/drawing/2014/main" id="{A75AB263-64F2-27A6-2BC9-1D441EB56EB9}"/>
              </a:ext>
            </a:extLst>
          </p:cNvPr>
          <p:cNvGrpSpPr/>
          <p:nvPr/>
        </p:nvGrpSpPr>
        <p:grpSpPr>
          <a:xfrm>
            <a:off x="9042429" y="2117269"/>
            <a:ext cx="2857355" cy="3663548"/>
            <a:chOff x="9042429" y="1895416"/>
            <a:chExt cx="2857355" cy="3663548"/>
          </a:xfrm>
        </p:grpSpPr>
        <p:sp>
          <p:nvSpPr>
            <p:cNvPr id="5" name="Retângulo 4">
              <a:extLst>
                <a:ext uri="{FF2B5EF4-FFF2-40B4-BE49-F238E27FC236}">
                  <a16:creationId xmlns:a16="http://schemas.microsoft.com/office/drawing/2014/main" id="{6F637399-340F-43BC-28B7-6F2DC5A1833C}"/>
                </a:ext>
              </a:extLst>
            </p:cNvPr>
            <p:cNvSpPr/>
            <p:nvPr/>
          </p:nvSpPr>
          <p:spPr>
            <a:xfrm>
              <a:off x="9042429" y="1895416"/>
              <a:ext cx="2812384" cy="3663548"/>
            </a:xfrm>
            <a:prstGeom prst="rect">
              <a:avLst/>
            </a:prstGeom>
            <a:solidFill>
              <a:schemeClr val="bg1"/>
            </a:solidFill>
            <a:ln w="12700" cap="flat" cmpd="sng" algn="ctr">
              <a:solidFill>
                <a:schemeClr val="tx2"/>
              </a:solidFill>
              <a:prstDash val="solid"/>
              <a:miter lim="800000"/>
            </a:ln>
            <a:effectLst/>
          </p:spPr>
          <p:txBody>
            <a:bodyPr rtlCol="0" anchor="ctr"/>
            <a:lstStyle/>
            <a:p>
              <a:pPr algn="ctr" defTabSz="914040"/>
              <a:endParaRPr lang="pt-BR" sz="1200" kern="0" dirty="0" err="1">
                <a:solidFill>
                  <a:srgbClr val="FFFFFF"/>
                </a:solidFill>
                <a:cs typeface="Arial" panose="020B0604020202020204" pitchFamily="34" charset="0"/>
              </a:endParaRPr>
            </a:p>
          </p:txBody>
        </p:sp>
        <p:sp>
          <p:nvSpPr>
            <p:cNvPr id="14" name="TextBox 11">
              <a:extLst>
                <a:ext uri="{FF2B5EF4-FFF2-40B4-BE49-F238E27FC236}">
                  <a16:creationId xmlns:a16="http://schemas.microsoft.com/office/drawing/2014/main" id="{672299F8-A5CD-B9FC-C6F9-6E8BB26FACE5}"/>
                </a:ext>
              </a:extLst>
            </p:cNvPr>
            <p:cNvSpPr txBox="1"/>
            <p:nvPr/>
          </p:nvSpPr>
          <p:spPr>
            <a:xfrm>
              <a:off x="9177365" y="1902815"/>
              <a:ext cx="2722419" cy="666977"/>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867" b="1" i="0" u="none" strike="noStrike" kern="0" cap="none" spc="0" normalizeH="0" baseline="0" noProof="0" dirty="0" err="1">
                  <a:ln>
                    <a:noFill/>
                  </a:ln>
                  <a:solidFill>
                    <a:schemeClr val="tx2"/>
                  </a:solidFill>
                  <a:effectLst/>
                  <a:uLnTx/>
                  <a:uFillTx/>
                  <a:latin typeface="+mj-lt"/>
                  <a:ea typeface="ヒラギノ角ゴ Pro W3" panose="020B0300000000000000" pitchFamily="34" charset="-128"/>
                  <a:cs typeface="Arial"/>
                </a:rPr>
                <a:t>Muito</a:t>
              </a:r>
              <a:r>
                <a:rPr kumimoji="0" lang="en-US" sz="1867" b="1" i="0" u="none" strike="noStrike" kern="0" cap="none" spc="0" normalizeH="0" baseline="0" noProof="0" dirty="0">
                  <a:ln>
                    <a:noFill/>
                  </a:ln>
                  <a:solidFill>
                    <a:schemeClr val="tx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tx2"/>
                  </a:solidFill>
                  <a:effectLst/>
                  <a:uLnTx/>
                  <a:uFillTx/>
                  <a:latin typeface="+mj-lt"/>
                  <a:ea typeface="ヒラギノ角ゴ Pro W3" panose="020B0300000000000000" pitchFamily="34" charset="-128"/>
                  <a:cs typeface="Arial"/>
                </a:rPr>
                <a:t>controle</a:t>
              </a:r>
              <a:r>
                <a:rPr kumimoji="0" lang="en-US" sz="1867" b="1" i="0" u="none" strike="noStrike" kern="0" cap="none" spc="0" normalizeH="0" baseline="0" noProof="0" dirty="0">
                  <a:ln>
                    <a:noFill/>
                  </a:ln>
                  <a:solidFill>
                    <a:schemeClr val="tx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tx2"/>
                  </a:solidFill>
                  <a:effectLst/>
                  <a:uLnTx/>
                  <a:uFillTx/>
                  <a:latin typeface="+mj-lt"/>
                  <a:ea typeface="ヒラギノ角ゴ Pro W3" panose="020B0300000000000000" pitchFamily="34" charset="-128"/>
                  <a:cs typeface="Arial"/>
                </a:rPr>
                <a:t>ou</a:t>
              </a:r>
              <a:r>
                <a:rPr kumimoji="0" lang="en-US" sz="1867" b="1" i="0" u="none" strike="noStrike" kern="0" cap="none" spc="0" normalizeH="0" baseline="0" noProof="0" dirty="0">
                  <a:ln>
                    <a:noFill/>
                  </a:ln>
                  <a:solidFill>
                    <a:schemeClr val="tx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tx2"/>
                  </a:solidFill>
                  <a:effectLst/>
                  <a:uLnTx/>
                  <a:uFillTx/>
                  <a:latin typeface="+mj-lt"/>
                  <a:ea typeface="ヒラギノ角ゴ Pro W3" panose="020B0300000000000000" pitchFamily="34" charset="-128"/>
                  <a:cs typeface="Arial"/>
                </a:rPr>
                <a:t>ativação</a:t>
              </a:r>
              <a:r>
                <a:rPr kumimoji="0" lang="en-US" sz="1867" b="1" i="0" u="none" strike="noStrike" kern="0" cap="none" spc="0" normalizeH="0" baseline="0" noProof="0" dirty="0">
                  <a:ln>
                    <a:noFill/>
                  </a:ln>
                  <a:solidFill>
                    <a:schemeClr val="tx2"/>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tx2"/>
                  </a:solidFill>
                  <a:effectLst/>
                  <a:uLnTx/>
                  <a:uFillTx/>
                  <a:latin typeface="+mj-lt"/>
                  <a:ea typeface="ヒラギノ角ゴ Pro W3" panose="020B0300000000000000" pitchFamily="34" charset="-128"/>
                  <a:cs typeface="Arial"/>
                </a:rPr>
                <a:t>insuficiente</a:t>
              </a:r>
              <a:endParaRPr kumimoji="0" lang="en-US" sz="1867" b="1" i="0" u="none" strike="noStrike" kern="0" cap="none" spc="0" normalizeH="0" baseline="0" noProof="0" dirty="0">
                <a:ln>
                  <a:noFill/>
                </a:ln>
                <a:solidFill>
                  <a:schemeClr val="tx2"/>
                </a:solidFill>
                <a:effectLst/>
                <a:uLnTx/>
                <a:uFillTx/>
                <a:latin typeface="+mj-lt"/>
                <a:ea typeface="ヒラギノ角ゴ Pro W3" panose="020B0300000000000000" pitchFamily="34" charset="-128"/>
                <a:cs typeface="Arial"/>
              </a:endParaRPr>
            </a:p>
          </p:txBody>
        </p:sp>
        <p:sp>
          <p:nvSpPr>
            <p:cNvPr id="18" name="Rectangle 2051">
              <a:extLst>
                <a:ext uri="{FF2B5EF4-FFF2-40B4-BE49-F238E27FC236}">
                  <a16:creationId xmlns:a16="http://schemas.microsoft.com/office/drawing/2014/main" id="{4B9FFFF1-8860-2335-9380-CE3D662AE386}"/>
                </a:ext>
              </a:extLst>
            </p:cNvPr>
            <p:cNvSpPr/>
            <p:nvPr/>
          </p:nvSpPr>
          <p:spPr>
            <a:xfrm>
              <a:off x="9276023" y="4679669"/>
              <a:ext cx="2345195" cy="712620"/>
            </a:xfrm>
            <a:prstGeom prst="rect">
              <a:avLst/>
            </a:prstGeom>
            <a:noFill/>
            <a:ln>
              <a:noFill/>
            </a:ln>
            <a:effectLst/>
          </p:spPr>
          <p:txBody>
            <a:bodyPr spcFirstLastPara="0" vert="horz" wrap="square" lIns="81280" tIns="81280" rIns="81280" bIns="81280" numCol="1" spcCol="1270" anchor="ctr" anchorCtr="0">
              <a:noAutofit/>
            </a:bodyPr>
            <a:lstStyle/>
            <a:p>
              <a:pPr marL="0" marR="0" lvl="0" indent="0" algn="ctr" defTabSz="1422364"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err="1">
                  <a:ln>
                    <a:noFill/>
                  </a:ln>
                  <a:solidFill>
                    <a:schemeClr val="tx2"/>
                  </a:solidFill>
                  <a:effectLst/>
                  <a:uLnTx/>
                  <a:uFillTx/>
                  <a:cs typeface="Arial"/>
                </a:rPr>
                <a:t>Aumento</a:t>
              </a:r>
              <a:r>
                <a:rPr kumimoji="0" lang="en-US" sz="1600" b="1" i="0" u="none" strike="noStrike" kern="0" cap="none" spc="0" normalizeH="0" baseline="0" noProof="0" dirty="0">
                  <a:ln>
                    <a:noFill/>
                  </a:ln>
                  <a:solidFill>
                    <a:schemeClr val="tx2"/>
                  </a:solidFill>
                  <a:effectLst/>
                  <a:uLnTx/>
                  <a:uFillTx/>
                  <a:cs typeface="Arial"/>
                </a:rPr>
                <a:t> do </a:t>
              </a:r>
              <a:r>
                <a:rPr kumimoji="0" lang="en-US" sz="1600" b="1" i="0" u="none" strike="noStrike" kern="0" cap="none" spc="0" normalizeH="0" baseline="0" noProof="0" dirty="0" err="1">
                  <a:ln>
                    <a:noFill/>
                  </a:ln>
                  <a:solidFill>
                    <a:schemeClr val="tx2"/>
                  </a:solidFill>
                  <a:effectLst/>
                  <a:uLnTx/>
                  <a:uFillTx/>
                  <a:cs typeface="Arial"/>
                </a:rPr>
                <a:t>risco</a:t>
              </a:r>
              <a:r>
                <a:rPr kumimoji="0" lang="en-US" sz="1600" b="1" i="0" u="none" strike="noStrike" kern="0" cap="none" spc="0" normalizeH="0" baseline="0" noProof="0" dirty="0">
                  <a:ln>
                    <a:noFill/>
                  </a:ln>
                  <a:solidFill>
                    <a:schemeClr val="tx2"/>
                  </a:solidFill>
                  <a:effectLst/>
                  <a:uLnTx/>
                  <a:uFillTx/>
                  <a:cs typeface="Arial"/>
                </a:rPr>
                <a:t> de </a:t>
              </a:r>
              <a:r>
                <a:rPr kumimoji="0" lang="en-US" sz="1600" b="1" i="0" u="none" strike="noStrike" kern="0" cap="none" spc="0" normalizeH="0" baseline="0" noProof="0" dirty="0" err="1">
                  <a:ln>
                    <a:noFill/>
                  </a:ln>
                  <a:solidFill>
                    <a:schemeClr val="tx2"/>
                  </a:solidFill>
                  <a:effectLst/>
                  <a:uLnTx/>
                  <a:uFillTx/>
                  <a:cs typeface="Arial"/>
                </a:rPr>
                <a:t>infecção</a:t>
              </a:r>
              <a:endParaRPr kumimoji="0" lang="en-US" sz="1600" b="1" i="0" u="none" strike="noStrike" kern="0" cap="none" spc="0" normalizeH="0" baseline="0" noProof="0" dirty="0">
                <a:ln>
                  <a:noFill/>
                </a:ln>
                <a:solidFill>
                  <a:schemeClr val="tx2"/>
                </a:solidFill>
                <a:effectLst/>
                <a:uLnTx/>
                <a:uFillTx/>
                <a:cs typeface="Arial"/>
              </a:endParaRPr>
            </a:p>
          </p:txBody>
        </p:sp>
        <p:cxnSp>
          <p:nvCxnSpPr>
            <p:cNvPr id="1057" name="Conector reto 1056">
              <a:extLst>
                <a:ext uri="{FF2B5EF4-FFF2-40B4-BE49-F238E27FC236}">
                  <a16:creationId xmlns:a16="http://schemas.microsoft.com/office/drawing/2014/main" id="{7A292FFF-E139-DCC9-E926-EE2D5D1F0EC8}"/>
                </a:ext>
              </a:extLst>
            </p:cNvPr>
            <p:cNvCxnSpPr>
              <a:cxnSpLocks/>
            </p:cNvCxnSpPr>
            <p:nvPr/>
          </p:nvCxnSpPr>
          <p:spPr>
            <a:xfrm flipH="1" flipV="1">
              <a:off x="9686737" y="2806273"/>
              <a:ext cx="1587207" cy="45714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58" name="Retângulo: Cantos Arredondados 1057">
              <a:extLst>
                <a:ext uri="{FF2B5EF4-FFF2-40B4-BE49-F238E27FC236}">
                  <a16:creationId xmlns:a16="http://schemas.microsoft.com/office/drawing/2014/main" id="{F23262C0-30C0-0ADA-2A40-CEA212A72AB6}"/>
                </a:ext>
              </a:extLst>
            </p:cNvPr>
            <p:cNvSpPr/>
            <p:nvPr/>
          </p:nvSpPr>
          <p:spPr>
            <a:xfrm rot="5400000">
              <a:off x="9682007" y="3489983"/>
              <a:ext cx="1611952" cy="55324"/>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1059" name="Elipse 1058">
              <a:extLst>
                <a:ext uri="{FF2B5EF4-FFF2-40B4-BE49-F238E27FC236}">
                  <a16:creationId xmlns:a16="http://schemas.microsoft.com/office/drawing/2014/main" id="{B838DF25-74AE-F4A6-8430-639F16439B67}"/>
                </a:ext>
              </a:extLst>
            </p:cNvPr>
            <p:cNvSpPr/>
            <p:nvPr/>
          </p:nvSpPr>
          <p:spPr>
            <a:xfrm>
              <a:off x="10406791" y="2949338"/>
              <a:ext cx="152105" cy="15210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1060" name="Elipse 1059">
              <a:extLst>
                <a:ext uri="{FF2B5EF4-FFF2-40B4-BE49-F238E27FC236}">
                  <a16:creationId xmlns:a16="http://schemas.microsoft.com/office/drawing/2014/main" id="{CE994634-0C1F-05D8-A01E-C7B05D7CDEFA}"/>
                </a:ext>
              </a:extLst>
            </p:cNvPr>
            <p:cNvSpPr/>
            <p:nvPr/>
          </p:nvSpPr>
          <p:spPr>
            <a:xfrm>
              <a:off x="10310905" y="4125680"/>
              <a:ext cx="378668" cy="37866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spcAft>
                  <a:spcPts val="600"/>
                </a:spcAft>
              </a:pPr>
              <a:endParaRPr lang="pt-BR" dirty="0" err="1"/>
            </a:p>
          </p:txBody>
        </p:sp>
        <p:sp>
          <p:nvSpPr>
            <p:cNvPr id="1061" name="Trapezoide 1060">
              <a:extLst>
                <a:ext uri="{FF2B5EF4-FFF2-40B4-BE49-F238E27FC236}">
                  <a16:creationId xmlns:a16="http://schemas.microsoft.com/office/drawing/2014/main" id="{D7660169-4C94-0BB4-CD27-56C65AEAD4B9}"/>
                </a:ext>
              </a:extLst>
            </p:cNvPr>
            <p:cNvSpPr/>
            <p:nvPr/>
          </p:nvSpPr>
          <p:spPr>
            <a:xfrm>
              <a:off x="9826653" y="4426999"/>
              <a:ext cx="1280954" cy="154699"/>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1062" name="Trapezoide 1061">
              <a:extLst>
                <a:ext uri="{FF2B5EF4-FFF2-40B4-BE49-F238E27FC236}">
                  <a16:creationId xmlns:a16="http://schemas.microsoft.com/office/drawing/2014/main" id="{9276DEF2-E07C-A808-0427-7371011E8396}"/>
                </a:ext>
              </a:extLst>
            </p:cNvPr>
            <p:cNvSpPr/>
            <p:nvPr/>
          </p:nvSpPr>
          <p:spPr>
            <a:xfrm>
              <a:off x="10172131" y="4330290"/>
              <a:ext cx="640477" cy="106594"/>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grpSp>
          <p:nvGrpSpPr>
            <p:cNvPr id="1063" name="Agrupar 1062">
              <a:extLst>
                <a:ext uri="{FF2B5EF4-FFF2-40B4-BE49-F238E27FC236}">
                  <a16:creationId xmlns:a16="http://schemas.microsoft.com/office/drawing/2014/main" id="{F0E339B3-4F5B-04CD-7A48-911524E43A18}"/>
                </a:ext>
              </a:extLst>
            </p:cNvPr>
            <p:cNvGrpSpPr/>
            <p:nvPr/>
          </p:nvGrpSpPr>
          <p:grpSpPr>
            <a:xfrm>
              <a:off x="9110709" y="2771098"/>
              <a:ext cx="1152057" cy="1085345"/>
              <a:chOff x="415780" y="2963930"/>
              <a:chExt cx="1152057" cy="1085345"/>
            </a:xfrm>
          </p:grpSpPr>
          <p:grpSp>
            <p:nvGrpSpPr>
              <p:cNvPr id="1064" name="Agrupar 1063">
                <a:extLst>
                  <a:ext uri="{FF2B5EF4-FFF2-40B4-BE49-F238E27FC236}">
                    <a16:creationId xmlns:a16="http://schemas.microsoft.com/office/drawing/2014/main" id="{20248813-CBE7-82A1-4420-E0A6FEAB16DF}"/>
                  </a:ext>
                </a:extLst>
              </p:cNvPr>
              <p:cNvGrpSpPr/>
              <p:nvPr/>
            </p:nvGrpSpPr>
            <p:grpSpPr>
              <a:xfrm>
                <a:off x="577056" y="2963930"/>
                <a:ext cx="843323" cy="1085345"/>
                <a:chOff x="577056" y="2963930"/>
                <a:chExt cx="843323" cy="1085345"/>
              </a:xfrm>
            </p:grpSpPr>
            <p:sp>
              <p:nvSpPr>
                <p:cNvPr id="1066" name="Triângulo isósceles 1065">
                  <a:extLst>
                    <a:ext uri="{FF2B5EF4-FFF2-40B4-BE49-F238E27FC236}">
                      <a16:creationId xmlns:a16="http://schemas.microsoft.com/office/drawing/2014/main" id="{02CD8D1B-D6F7-0AB8-AD68-DF03B28E6771}"/>
                    </a:ext>
                  </a:extLst>
                </p:cNvPr>
                <p:cNvSpPr/>
                <p:nvPr/>
              </p:nvSpPr>
              <p:spPr>
                <a:xfrm>
                  <a:off x="645371" y="3016438"/>
                  <a:ext cx="694592" cy="598786"/>
                </a:xfrm>
                <a:prstGeom prst="triangl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1400" dirty="0" err="1"/>
                </a:p>
              </p:txBody>
            </p:sp>
            <p:sp>
              <p:nvSpPr>
                <p:cNvPr id="1067" name="Corda 1066">
                  <a:extLst>
                    <a:ext uri="{FF2B5EF4-FFF2-40B4-BE49-F238E27FC236}">
                      <a16:creationId xmlns:a16="http://schemas.microsoft.com/office/drawing/2014/main" id="{3F73E3FF-F504-137C-B39E-05FF27DB2C10}"/>
                    </a:ext>
                  </a:extLst>
                </p:cNvPr>
                <p:cNvSpPr/>
                <p:nvPr/>
              </p:nvSpPr>
              <p:spPr>
                <a:xfrm rot="18000000">
                  <a:off x="647810" y="3350174"/>
                  <a:ext cx="699101" cy="699101"/>
                </a:xfrm>
                <a:prstGeom prst="chord">
                  <a:avLst>
                    <a:gd name="adj1" fmla="val 2995502"/>
                    <a:gd name="adj2" fmla="val 148804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sz="1600" dirty="0" err="1"/>
                </a:p>
              </p:txBody>
            </p:sp>
            <p:sp>
              <p:nvSpPr>
                <p:cNvPr id="1068" name="Retângulo: Cantos Arredondados 1067">
                  <a:extLst>
                    <a:ext uri="{FF2B5EF4-FFF2-40B4-BE49-F238E27FC236}">
                      <a16:creationId xmlns:a16="http://schemas.microsoft.com/office/drawing/2014/main" id="{5180CEE5-C31B-8016-C501-0167217CFB31}"/>
                    </a:ext>
                  </a:extLst>
                </p:cNvPr>
                <p:cNvSpPr/>
                <p:nvPr/>
              </p:nvSpPr>
              <p:spPr>
                <a:xfrm>
                  <a:off x="577056" y="3574119"/>
                  <a:ext cx="843323" cy="106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69" name="Elipse 1068">
                  <a:extLst>
                    <a:ext uri="{FF2B5EF4-FFF2-40B4-BE49-F238E27FC236}">
                      <a16:creationId xmlns:a16="http://schemas.microsoft.com/office/drawing/2014/main" id="{0BA5DD5C-1221-BB50-A419-AEE17AEB85F4}"/>
                    </a:ext>
                  </a:extLst>
                </p:cNvPr>
                <p:cNvSpPr/>
                <p:nvPr/>
              </p:nvSpPr>
              <p:spPr>
                <a:xfrm>
                  <a:off x="946830" y="2963930"/>
                  <a:ext cx="91675" cy="9167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grpSp>
          <p:sp>
            <p:nvSpPr>
              <p:cNvPr id="1065" name="TextBox 28">
                <a:extLst>
                  <a:ext uri="{FF2B5EF4-FFF2-40B4-BE49-F238E27FC236}">
                    <a16:creationId xmlns:a16="http://schemas.microsoft.com/office/drawing/2014/main" id="{B8F942E8-F9DA-D9F0-AB1A-E16CDCD7D2F0}"/>
                  </a:ext>
                </a:extLst>
              </p:cNvPr>
              <p:cNvSpPr txBox="1"/>
              <p:nvPr/>
            </p:nvSpPr>
            <p:spPr>
              <a:xfrm>
                <a:off x="415780" y="3635848"/>
                <a:ext cx="1152057" cy="261610"/>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1"/>
                    </a:solidFill>
                    <a:effectLst/>
                    <a:uLnTx/>
                    <a:uFillTx/>
                    <a:ea typeface="ヒラギノ角ゴ Pro W3" panose="020B0300000000000000" pitchFamily="34" charset="-128"/>
                    <a:cs typeface="Arial"/>
                  </a:rPr>
                  <a:t>ATIVAÇÃO</a:t>
                </a:r>
              </a:p>
            </p:txBody>
          </p:sp>
        </p:grpSp>
        <p:grpSp>
          <p:nvGrpSpPr>
            <p:cNvPr id="1070" name="Agrupar 1069">
              <a:extLst>
                <a:ext uri="{FF2B5EF4-FFF2-40B4-BE49-F238E27FC236}">
                  <a16:creationId xmlns:a16="http://schemas.microsoft.com/office/drawing/2014/main" id="{5329D30D-6E7D-0804-D2DA-C389F6B276F2}"/>
                </a:ext>
              </a:extLst>
            </p:cNvPr>
            <p:cNvGrpSpPr/>
            <p:nvPr/>
          </p:nvGrpSpPr>
          <p:grpSpPr>
            <a:xfrm>
              <a:off x="10651542" y="3205966"/>
              <a:ext cx="1152057" cy="1085345"/>
              <a:chOff x="1956613" y="2963930"/>
              <a:chExt cx="1152057" cy="1085345"/>
            </a:xfrm>
          </p:grpSpPr>
          <p:sp>
            <p:nvSpPr>
              <p:cNvPr id="1071" name="Triângulo isósceles 1070">
                <a:extLst>
                  <a:ext uri="{FF2B5EF4-FFF2-40B4-BE49-F238E27FC236}">
                    <a16:creationId xmlns:a16="http://schemas.microsoft.com/office/drawing/2014/main" id="{E531D467-12D4-CB3B-03B2-036AF1FD65A6}"/>
                  </a:ext>
                </a:extLst>
              </p:cNvPr>
              <p:cNvSpPr/>
              <p:nvPr/>
            </p:nvSpPr>
            <p:spPr>
              <a:xfrm>
                <a:off x="2190213" y="3016438"/>
                <a:ext cx="694592" cy="598786"/>
              </a:xfrm>
              <a:prstGeom prst="triangl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1400" dirty="0" err="1"/>
              </a:p>
            </p:txBody>
          </p:sp>
          <p:sp>
            <p:nvSpPr>
              <p:cNvPr id="1072" name="Corda 1071">
                <a:extLst>
                  <a:ext uri="{FF2B5EF4-FFF2-40B4-BE49-F238E27FC236}">
                    <a16:creationId xmlns:a16="http://schemas.microsoft.com/office/drawing/2014/main" id="{11A564A7-A155-31C7-0AB6-96CC7CFF8760}"/>
                  </a:ext>
                </a:extLst>
              </p:cNvPr>
              <p:cNvSpPr/>
              <p:nvPr/>
            </p:nvSpPr>
            <p:spPr>
              <a:xfrm rot="18000000">
                <a:off x="2184842" y="3350174"/>
                <a:ext cx="699101" cy="699101"/>
              </a:xfrm>
              <a:prstGeom prst="chord">
                <a:avLst>
                  <a:gd name="adj1" fmla="val 2995502"/>
                  <a:gd name="adj2" fmla="val 148804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sz="1600" dirty="0" err="1"/>
              </a:p>
            </p:txBody>
          </p:sp>
          <p:sp>
            <p:nvSpPr>
              <p:cNvPr id="1073" name="Retângulo: Cantos Arredondados 1072">
                <a:extLst>
                  <a:ext uri="{FF2B5EF4-FFF2-40B4-BE49-F238E27FC236}">
                    <a16:creationId xmlns:a16="http://schemas.microsoft.com/office/drawing/2014/main" id="{F6501915-76A8-441C-F05E-F6AEF9FB12A6}"/>
                  </a:ext>
                </a:extLst>
              </p:cNvPr>
              <p:cNvSpPr/>
              <p:nvPr/>
            </p:nvSpPr>
            <p:spPr>
              <a:xfrm>
                <a:off x="2114088" y="3574119"/>
                <a:ext cx="843323" cy="10658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74" name="Elipse 1073">
                <a:extLst>
                  <a:ext uri="{FF2B5EF4-FFF2-40B4-BE49-F238E27FC236}">
                    <a16:creationId xmlns:a16="http://schemas.microsoft.com/office/drawing/2014/main" id="{63BF1343-E2DE-CDB6-8BEB-21FB47007A1F}"/>
                  </a:ext>
                </a:extLst>
              </p:cNvPr>
              <p:cNvSpPr/>
              <p:nvPr/>
            </p:nvSpPr>
            <p:spPr>
              <a:xfrm>
                <a:off x="2487340" y="2963930"/>
                <a:ext cx="91675" cy="91675"/>
              </a:xfrm>
              <a:prstGeom prst="ellipse">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pt-BR" sz="400" dirty="0" err="1"/>
              </a:p>
            </p:txBody>
          </p:sp>
          <p:sp>
            <p:nvSpPr>
              <p:cNvPr id="1075" name="TextBox 30">
                <a:extLst>
                  <a:ext uri="{FF2B5EF4-FFF2-40B4-BE49-F238E27FC236}">
                    <a16:creationId xmlns:a16="http://schemas.microsoft.com/office/drawing/2014/main" id="{FDD65B54-3AC9-7E91-5A3D-3C116241FDD5}"/>
                  </a:ext>
                </a:extLst>
              </p:cNvPr>
              <p:cNvSpPr txBox="1"/>
              <p:nvPr/>
            </p:nvSpPr>
            <p:spPr>
              <a:xfrm>
                <a:off x="1956613" y="3655706"/>
                <a:ext cx="1152057" cy="261610"/>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1E60"/>
                    </a:solidFill>
                    <a:effectLst/>
                    <a:uLnTx/>
                    <a:uFillTx/>
                    <a:ea typeface="ヒラギノ角ゴ Pro W3" panose="020B0300000000000000" pitchFamily="34" charset="-128"/>
                    <a:cs typeface="Arial"/>
                  </a:rPr>
                  <a:t>CONTROLE</a:t>
                </a:r>
              </a:p>
            </p:txBody>
          </p:sp>
        </p:grpSp>
      </p:grpSp>
      <p:sp>
        <p:nvSpPr>
          <p:cNvPr id="1076" name="Retângulo: Cantos Arredondados 1075">
            <a:extLst>
              <a:ext uri="{FF2B5EF4-FFF2-40B4-BE49-F238E27FC236}">
                <a16:creationId xmlns:a16="http://schemas.microsoft.com/office/drawing/2014/main" id="{E628283F-0B9E-1D35-E4F9-62C10603601D}"/>
              </a:ext>
            </a:extLst>
          </p:cNvPr>
          <p:cNvSpPr/>
          <p:nvPr/>
        </p:nvSpPr>
        <p:spPr>
          <a:xfrm>
            <a:off x="3826201" y="1662843"/>
            <a:ext cx="4731790" cy="783081"/>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19" name="TextBox 7">
            <a:extLst>
              <a:ext uri="{FF2B5EF4-FFF2-40B4-BE49-F238E27FC236}">
                <a16:creationId xmlns:a16="http://schemas.microsoft.com/office/drawing/2014/main" id="{1E021EDA-4A7E-6363-FD48-82211D0D8683}"/>
              </a:ext>
            </a:extLst>
          </p:cNvPr>
          <p:cNvSpPr txBox="1"/>
          <p:nvPr/>
        </p:nvSpPr>
        <p:spPr>
          <a:xfrm>
            <a:off x="5216343" y="1709486"/>
            <a:ext cx="3341647" cy="666977"/>
          </a:xfrm>
          <a:prstGeom prst="rect">
            <a:avLst/>
          </a:prstGeom>
          <a:noFill/>
          <a:ln>
            <a:noFill/>
          </a:ln>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chemeClr val="bg1"/>
                </a:solidFill>
                <a:effectLst/>
                <a:uLnTx/>
                <a:uFillTx/>
                <a:latin typeface="+mj-lt"/>
                <a:ea typeface="ヒラギノ角ゴ Pro W3" panose="020B0300000000000000" pitchFamily="34" charset="-128"/>
                <a:cs typeface="Arial"/>
              </a:rPr>
              <a:t>Sistema </a:t>
            </a:r>
            <a:r>
              <a:rPr kumimoji="0" lang="en-US" sz="1867" b="1" i="0" u="none" strike="noStrike" kern="0" cap="none" spc="0" normalizeH="0" baseline="0" noProof="0" dirty="0" err="1">
                <a:ln>
                  <a:noFill/>
                </a:ln>
                <a:solidFill>
                  <a:schemeClr val="bg1"/>
                </a:solidFill>
                <a:effectLst/>
                <a:uLnTx/>
                <a:uFillTx/>
                <a:latin typeface="+mj-lt"/>
                <a:ea typeface="ヒラギノ角ゴ Pro W3" panose="020B0300000000000000" pitchFamily="34" charset="-128"/>
                <a:cs typeface="Arial"/>
              </a:rPr>
              <a:t>complemento</a:t>
            </a:r>
            <a:r>
              <a:rPr kumimoji="0" lang="en-US" sz="1867" b="1" i="0" u="none" strike="noStrike" kern="0" cap="none" spc="0" normalizeH="0" baseline="0" noProof="0" dirty="0">
                <a:ln>
                  <a:noFill/>
                </a:ln>
                <a:solidFill>
                  <a:schemeClr val="bg1"/>
                </a:solidFill>
                <a:effectLst/>
                <a:uLnTx/>
                <a:uFillTx/>
                <a:latin typeface="+mj-lt"/>
                <a:ea typeface="ヒラギノ角ゴ Pro W3" panose="020B0300000000000000" pitchFamily="34" charset="-128"/>
                <a:cs typeface="Arial"/>
              </a:rPr>
              <a:t> </a:t>
            </a:r>
            <a:r>
              <a:rPr kumimoji="0" lang="en-US" sz="1867" b="1" i="0" u="none" strike="noStrike" kern="0" cap="none" spc="0" normalizeH="0" baseline="0" noProof="0" dirty="0" err="1">
                <a:ln>
                  <a:noFill/>
                </a:ln>
                <a:solidFill>
                  <a:schemeClr val="bg1"/>
                </a:solidFill>
                <a:effectLst/>
                <a:uLnTx/>
                <a:uFillTx/>
                <a:latin typeface="+mj-lt"/>
                <a:ea typeface="ヒラギノ角ゴ Pro W3" panose="020B0300000000000000" pitchFamily="34" charset="-128"/>
                <a:cs typeface="Arial"/>
              </a:rPr>
              <a:t>em</a:t>
            </a:r>
            <a:r>
              <a:rPr kumimoji="0" lang="en-US" sz="1867" b="1" i="0" u="none" strike="noStrike" kern="0" cap="none" spc="0" normalizeH="0" baseline="0" noProof="0" dirty="0">
                <a:ln>
                  <a:noFill/>
                </a:ln>
                <a:solidFill>
                  <a:schemeClr val="bg1"/>
                </a:solidFill>
                <a:effectLst/>
                <a:uLnTx/>
                <a:uFillTx/>
                <a:latin typeface="+mj-lt"/>
                <a:ea typeface="ヒラギノ角ゴ Pro W3" panose="020B0300000000000000" pitchFamily="34" charset="-128"/>
                <a:cs typeface="Arial"/>
              </a:rPr>
              <a:t> HOMEOSTASE</a:t>
            </a:r>
          </a:p>
        </p:txBody>
      </p:sp>
      <p:sp>
        <p:nvSpPr>
          <p:cNvPr id="1080" name="TextBox 33">
            <a:extLst>
              <a:ext uri="{FF2B5EF4-FFF2-40B4-BE49-F238E27FC236}">
                <a16:creationId xmlns:a16="http://schemas.microsoft.com/office/drawing/2014/main" id="{3DDDE11D-6AE0-05C8-F475-21D5A31BF98F}"/>
              </a:ext>
            </a:extLst>
          </p:cNvPr>
          <p:cNvSpPr txBox="1"/>
          <p:nvPr/>
        </p:nvSpPr>
        <p:spPr>
          <a:xfrm>
            <a:off x="1799653" y="5985331"/>
            <a:ext cx="2858475" cy="215444"/>
          </a:xfrm>
          <a:prstGeom prst="rect">
            <a:avLst/>
          </a:prstGeom>
          <a:noFill/>
        </p:spPr>
        <p:txBody>
          <a:bodyPr wrap="none" rtlCol="0">
            <a:spAutoFit/>
          </a:bodyPr>
          <a:lstStyle/>
          <a:p>
            <a:pPr fontAlgn="base">
              <a:spcBef>
                <a:spcPct val="0"/>
              </a:spcBef>
              <a:spcAft>
                <a:spcPct val="0"/>
              </a:spcAft>
            </a:pPr>
            <a:r>
              <a:rPr lang="en-US" sz="800" dirty="0" err="1">
                <a:ea typeface="ヒラギノ角ゴ Pro W3" panose="020B0300000000000000" pitchFamily="34" charset="-128"/>
                <a:cs typeface="Arial"/>
              </a:rPr>
              <a:t>Adaptado</a:t>
            </a:r>
            <a:r>
              <a:rPr lang="en-US" sz="800" dirty="0">
                <a:ea typeface="ヒラギノ角ゴ Pro W3" panose="020B0300000000000000" pitchFamily="34" charset="-128"/>
                <a:cs typeface="Arial"/>
              </a:rPr>
              <a:t> de Harry CL. </a:t>
            </a:r>
            <a:r>
              <a:rPr lang="en-US" sz="800" i="1" dirty="0">
                <a:ea typeface="ヒラギノ角ゴ Pro W3" panose="020B0300000000000000" pitchFamily="34" charset="-128"/>
                <a:cs typeface="Arial"/>
              </a:rPr>
              <a:t>Semin </a:t>
            </a:r>
            <a:r>
              <a:rPr lang="en-US" sz="800" i="1" dirty="0" err="1">
                <a:ea typeface="ヒラギノ角ゴ Pro W3" panose="020B0300000000000000" pitchFamily="34" charset="-128"/>
                <a:cs typeface="Arial"/>
              </a:rPr>
              <a:t>imunopatol</a:t>
            </a:r>
            <a:r>
              <a:rPr lang="en-US" sz="800" i="1" dirty="0">
                <a:ea typeface="ヒラギノ角ゴ Pro W3" panose="020B0300000000000000" pitchFamily="34" charset="-128"/>
                <a:cs typeface="Arial"/>
              </a:rPr>
              <a:t>. </a:t>
            </a:r>
            <a:r>
              <a:rPr lang="en-US" sz="800" dirty="0">
                <a:ea typeface="ヒラギノ角ゴ Pro W3" panose="020B0300000000000000" pitchFamily="34" charset="-128"/>
                <a:cs typeface="Arial"/>
              </a:rPr>
              <a:t>2018;40(1):125-140. </a:t>
            </a:r>
          </a:p>
        </p:txBody>
      </p:sp>
      <p:grpSp>
        <p:nvGrpSpPr>
          <p:cNvPr id="1098" name="Agrupar 1097">
            <a:extLst>
              <a:ext uri="{FF2B5EF4-FFF2-40B4-BE49-F238E27FC236}">
                <a16:creationId xmlns:a16="http://schemas.microsoft.com/office/drawing/2014/main" id="{13D2D8A2-25AD-DB80-6A26-371B447595DB}"/>
              </a:ext>
            </a:extLst>
          </p:cNvPr>
          <p:cNvGrpSpPr/>
          <p:nvPr/>
        </p:nvGrpSpPr>
        <p:grpSpPr>
          <a:xfrm>
            <a:off x="3914934" y="1454768"/>
            <a:ext cx="1172817" cy="1150011"/>
            <a:chOff x="3914934" y="1454768"/>
            <a:chExt cx="1172817" cy="1150011"/>
          </a:xfrm>
        </p:grpSpPr>
        <p:sp>
          <p:nvSpPr>
            <p:cNvPr id="1097" name="Retângulo 1096">
              <a:extLst>
                <a:ext uri="{FF2B5EF4-FFF2-40B4-BE49-F238E27FC236}">
                  <a16:creationId xmlns:a16="http://schemas.microsoft.com/office/drawing/2014/main" id="{47B3C4B9-5BB5-4A5C-3247-A7BF134A4039}"/>
                </a:ext>
              </a:extLst>
            </p:cNvPr>
            <p:cNvSpPr/>
            <p:nvPr/>
          </p:nvSpPr>
          <p:spPr>
            <a:xfrm>
              <a:off x="3937740" y="1454768"/>
              <a:ext cx="1150011" cy="1150011"/>
            </a:xfrm>
            <a:prstGeom prst="rect">
              <a:avLst/>
            </a:prstGeom>
            <a:solidFill>
              <a:schemeClr val="bg1"/>
            </a:soli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solidFill>
                  <a:srgbClr val="FFFFFF"/>
                </a:solidFill>
              </a:endParaRPr>
            </a:p>
          </p:txBody>
        </p:sp>
        <p:pic>
          <p:nvPicPr>
            <p:cNvPr id="1096" name="Imagem 1095">
              <a:extLst>
                <a:ext uri="{FF2B5EF4-FFF2-40B4-BE49-F238E27FC236}">
                  <a16:creationId xmlns:a16="http://schemas.microsoft.com/office/drawing/2014/main" id="{61C3C12C-97CA-64E5-5E0A-7B035B886E07}"/>
                </a:ext>
              </a:extLst>
            </p:cNvPr>
            <p:cNvPicPr>
              <a:picLocks noChangeAspect="1"/>
            </p:cNvPicPr>
            <p:nvPr/>
          </p:nvPicPr>
          <p:blipFill>
            <a:blip r:embed="rId3"/>
            <a:stretch>
              <a:fillRect/>
            </a:stretch>
          </p:blipFill>
          <p:spPr>
            <a:xfrm>
              <a:off x="3914934" y="1603484"/>
              <a:ext cx="1159540" cy="805382"/>
            </a:xfrm>
            <a:prstGeom prst="rect">
              <a:avLst/>
            </a:prstGeom>
          </p:spPr>
        </p:pic>
      </p:grpSp>
    </p:spTree>
    <p:extLst>
      <p:ext uri="{BB962C8B-B14F-4D97-AF65-F5344CB8AC3E}">
        <p14:creationId xmlns:p14="http://schemas.microsoft.com/office/powerpoint/2010/main" val="262730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77"/>
                                        </p:tgtEl>
                                        <p:attrNameLst>
                                          <p:attrName>style.visibility</p:attrName>
                                        </p:attrNameLst>
                                      </p:cBhvr>
                                      <p:to>
                                        <p:strVal val="visible"/>
                                      </p:to>
                                    </p:set>
                                    <p:animEffect transition="in" filter="fade">
                                      <p:cBhvr>
                                        <p:cTn id="7" dur="500"/>
                                        <p:tgtEl>
                                          <p:spTgt spid="1077"/>
                                        </p:tgtEl>
                                      </p:cBhvr>
                                    </p:animEffect>
                                  </p:childTnLst>
                                </p:cTn>
                              </p:par>
                            </p:childTnLst>
                          </p:cTn>
                        </p:par>
                        <p:par>
                          <p:cTn id="8" fill="hold">
                            <p:stCondLst>
                              <p:cond delay="500"/>
                            </p:stCondLst>
                            <p:childTnLst>
                              <p:par>
                                <p:cTn id="9" presetID="10" presetClass="entr" presetSubtype="0" fill="hold" nodeType="afterEffect">
                                  <p:stCondLst>
                                    <p:cond delay="250"/>
                                  </p:stCondLst>
                                  <p:childTnLst>
                                    <p:set>
                                      <p:cBhvr>
                                        <p:cTn id="10" dur="1" fill="hold">
                                          <p:stCondLst>
                                            <p:cond delay="0"/>
                                          </p:stCondLst>
                                        </p:cTn>
                                        <p:tgtEl>
                                          <p:spTgt spid="1078"/>
                                        </p:tgtEl>
                                        <p:attrNameLst>
                                          <p:attrName>style.visibility</p:attrName>
                                        </p:attrNameLst>
                                      </p:cBhvr>
                                      <p:to>
                                        <p:strVal val="visible"/>
                                      </p:to>
                                    </p:set>
                                    <p:animEffect transition="in" filter="fade">
                                      <p:cBhvr>
                                        <p:cTn id="11" dur="500"/>
                                        <p:tgtEl>
                                          <p:spTgt spid="1078"/>
                                        </p:tgtEl>
                                      </p:cBhvr>
                                    </p:animEffect>
                                  </p:childTnLst>
                                </p:cTn>
                              </p:par>
                            </p:childTnLst>
                          </p:cTn>
                        </p:par>
                        <p:par>
                          <p:cTn id="12" fill="hold">
                            <p:stCondLst>
                              <p:cond delay="1250"/>
                            </p:stCondLst>
                            <p:childTnLst>
                              <p:par>
                                <p:cTn id="13" presetID="2" presetClass="entr" presetSubtype="8" fill="hold" grpId="0" nodeType="afterEffect">
                                  <p:stCondLst>
                                    <p:cond delay="500"/>
                                  </p:stCondLst>
                                  <p:childTnLst>
                                    <p:set>
                                      <p:cBhvr>
                                        <p:cTn id="14" dur="1" fill="hold">
                                          <p:stCondLst>
                                            <p:cond delay="0"/>
                                          </p:stCondLst>
                                        </p:cTn>
                                        <p:tgtEl>
                                          <p:spTgt spid="1076"/>
                                        </p:tgtEl>
                                        <p:attrNameLst>
                                          <p:attrName>style.visibility</p:attrName>
                                        </p:attrNameLst>
                                      </p:cBhvr>
                                      <p:to>
                                        <p:strVal val="visible"/>
                                      </p:to>
                                    </p:set>
                                    <p:anim calcmode="lin" valueType="num">
                                      <p:cBhvr additive="base">
                                        <p:cTn id="15" dur="500" fill="hold"/>
                                        <p:tgtEl>
                                          <p:spTgt spid="1076"/>
                                        </p:tgtEl>
                                        <p:attrNameLst>
                                          <p:attrName>ppt_x</p:attrName>
                                        </p:attrNameLst>
                                      </p:cBhvr>
                                      <p:tavLst>
                                        <p:tav tm="0">
                                          <p:val>
                                            <p:strVal val="0-#ppt_w/2"/>
                                          </p:val>
                                        </p:tav>
                                        <p:tav tm="100000">
                                          <p:val>
                                            <p:strVal val="#ppt_x"/>
                                          </p:val>
                                        </p:tav>
                                      </p:tavLst>
                                    </p:anim>
                                    <p:anim calcmode="lin" valueType="num">
                                      <p:cBhvr additive="base">
                                        <p:cTn id="16" dur="500" fill="hold"/>
                                        <p:tgtEl>
                                          <p:spTgt spid="1076"/>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5"/>
                                        </p:tgtEl>
                                        <p:attrNameLst>
                                          <p:attrName>style.visibility</p:attrName>
                                        </p:attrNameLst>
                                      </p:cBhvr>
                                      <p:to>
                                        <p:strVal val="visible"/>
                                      </p:to>
                                    </p:set>
                                    <p:animEffect transition="in" filter="fade">
                                      <p:cBhvr>
                                        <p:cTn id="22" dur="500"/>
                                        <p:tgtEl>
                                          <p:spTgt spid="185"/>
                                        </p:tgtEl>
                                      </p:cBhvr>
                                    </p:animEffect>
                                  </p:childTnLst>
                                </p:cTn>
                              </p:par>
                              <p:par>
                                <p:cTn id="23" presetID="10" presetClass="entr" presetSubtype="0" fill="hold" nodeType="withEffect">
                                  <p:stCondLst>
                                    <p:cond delay="0"/>
                                  </p:stCondLst>
                                  <p:childTnLst>
                                    <p:set>
                                      <p:cBhvr>
                                        <p:cTn id="24" dur="1" fill="hold">
                                          <p:stCondLst>
                                            <p:cond delay="0"/>
                                          </p:stCondLst>
                                        </p:cTn>
                                        <p:tgtEl>
                                          <p:spTgt spid="1098"/>
                                        </p:tgtEl>
                                        <p:attrNameLst>
                                          <p:attrName>style.visibility</p:attrName>
                                        </p:attrNameLst>
                                      </p:cBhvr>
                                      <p:to>
                                        <p:strVal val="visible"/>
                                      </p:to>
                                    </p:set>
                                    <p:animEffect transition="in" filter="fade">
                                      <p:cBhvr>
                                        <p:cTn id="25" dur="500"/>
                                        <p:tgtEl>
                                          <p:spTgt spid="1098"/>
                                        </p:tgtEl>
                                      </p:cBhvr>
                                    </p:animEffect>
                                  </p:childTnLst>
                                </p:cTn>
                              </p:par>
                            </p:childTnLst>
                          </p:cTn>
                        </p:par>
                        <p:par>
                          <p:cTn id="26" fill="hold">
                            <p:stCondLst>
                              <p:cond delay="2250"/>
                            </p:stCondLst>
                            <p:childTnLst>
                              <p:par>
                                <p:cTn id="27" presetID="10" presetClass="entr" presetSubtype="0" fill="hold" nodeType="afterEffect">
                                  <p:stCondLst>
                                    <p:cond delay="250"/>
                                  </p:stCondLst>
                                  <p:childTnLst>
                                    <p:set>
                                      <p:cBhvr>
                                        <p:cTn id="28" dur="1" fill="hold">
                                          <p:stCondLst>
                                            <p:cond delay="0"/>
                                          </p:stCondLst>
                                        </p:cTn>
                                        <p:tgtEl>
                                          <p:spTgt spid="1079"/>
                                        </p:tgtEl>
                                        <p:attrNameLst>
                                          <p:attrName>style.visibility</p:attrName>
                                        </p:attrNameLst>
                                      </p:cBhvr>
                                      <p:to>
                                        <p:strVal val="visible"/>
                                      </p:to>
                                    </p:set>
                                    <p:animEffect transition="in" filter="fade">
                                      <p:cBhvr>
                                        <p:cTn id="29" dur="500"/>
                                        <p:tgtEl>
                                          <p:spTgt spid="1079"/>
                                        </p:tgtEl>
                                      </p:cBhvr>
                                    </p:animEffect>
                                  </p:childTnLst>
                                </p:cTn>
                              </p:par>
                              <p:par>
                                <p:cTn id="30" presetID="22" presetClass="entr" presetSubtype="8" fill="hold" nodeType="withEffect">
                                  <p:stCondLst>
                                    <p:cond delay="250"/>
                                  </p:stCondLst>
                                  <p:childTnLst>
                                    <p:set>
                                      <p:cBhvr>
                                        <p:cTn id="31" dur="1" fill="hold">
                                          <p:stCondLst>
                                            <p:cond delay="0"/>
                                          </p:stCondLst>
                                        </p:cTn>
                                        <p:tgtEl>
                                          <p:spTgt spid="47"/>
                                        </p:tgtEl>
                                        <p:attrNameLst>
                                          <p:attrName>style.visibility</p:attrName>
                                        </p:attrNameLst>
                                      </p:cBhvr>
                                      <p:to>
                                        <p:strVal val="visible"/>
                                      </p:to>
                                    </p:set>
                                    <p:animEffect transition="in" filter="wipe(left)">
                                      <p:cBhvr>
                                        <p:cTn id="32" dur="500"/>
                                        <p:tgtEl>
                                          <p:spTgt spid="47"/>
                                        </p:tgtEl>
                                      </p:cBhvr>
                                    </p:animEffect>
                                  </p:childTnLst>
                                </p:cTn>
                              </p:par>
                              <p:par>
                                <p:cTn id="33" presetID="22" presetClass="entr" presetSubtype="8" fill="hold" nodeType="withEffect">
                                  <p:stCondLst>
                                    <p:cond delay="250"/>
                                  </p:stCondLst>
                                  <p:childTnLst>
                                    <p:set>
                                      <p:cBhvr>
                                        <p:cTn id="34" dur="1" fill="hold">
                                          <p:stCondLst>
                                            <p:cond delay="0"/>
                                          </p:stCondLst>
                                        </p:cTn>
                                        <p:tgtEl>
                                          <p:spTgt spid="48"/>
                                        </p:tgtEl>
                                        <p:attrNameLst>
                                          <p:attrName>style.visibility</p:attrName>
                                        </p:attrNameLst>
                                      </p:cBhvr>
                                      <p:to>
                                        <p:strVal val="visible"/>
                                      </p:to>
                                    </p:set>
                                    <p:animEffect transition="in" filter="wipe(left)">
                                      <p:cBhvr>
                                        <p:cTn id="35" dur="500"/>
                                        <p:tgtEl>
                                          <p:spTgt spid="48"/>
                                        </p:tgtEl>
                                      </p:cBhvr>
                                    </p:animEffect>
                                  </p:childTnLst>
                                </p:cTn>
                              </p:par>
                              <p:par>
                                <p:cTn id="36" presetID="22" presetClass="entr" presetSubtype="8" fill="hold" nodeType="withEffect">
                                  <p:stCondLst>
                                    <p:cond delay="250"/>
                                  </p:stCondLst>
                                  <p:childTnLst>
                                    <p:set>
                                      <p:cBhvr>
                                        <p:cTn id="37" dur="1" fill="hold">
                                          <p:stCondLst>
                                            <p:cond delay="0"/>
                                          </p:stCondLst>
                                        </p:cTn>
                                        <p:tgtEl>
                                          <p:spTgt spid="50"/>
                                        </p:tgtEl>
                                        <p:attrNameLst>
                                          <p:attrName>style.visibility</p:attrName>
                                        </p:attrNameLst>
                                      </p:cBhvr>
                                      <p:to>
                                        <p:strVal val="visible"/>
                                      </p:to>
                                    </p:set>
                                    <p:animEffect transition="in" filter="wipe(left)">
                                      <p:cBhvr>
                                        <p:cTn id="38" dur="500"/>
                                        <p:tgtEl>
                                          <p:spTgt spid="50"/>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80"/>
                                        </p:tgtEl>
                                        <p:attrNameLst>
                                          <p:attrName>style.visibility</p:attrName>
                                        </p:attrNameLst>
                                      </p:cBhvr>
                                      <p:to>
                                        <p:strVal val="visible"/>
                                      </p:to>
                                    </p:set>
                                    <p:animEffect transition="in" filter="fade">
                                      <p:cBhvr>
                                        <p:cTn id="41" dur="500"/>
                                        <p:tgtEl>
                                          <p:spTgt spid="10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076" grpId="0" animBg="1"/>
      <p:bldP spid="19" grpId="0"/>
      <p:bldP spid="108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tângulo: Cantos Arredondados 91">
            <a:extLst>
              <a:ext uri="{FF2B5EF4-FFF2-40B4-BE49-F238E27FC236}">
                <a16:creationId xmlns:a16="http://schemas.microsoft.com/office/drawing/2014/main" id="{710FD460-7E69-78F3-78C6-7694E775D8B4}"/>
              </a:ext>
            </a:extLst>
          </p:cNvPr>
          <p:cNvSpPr/>
          <p:nvPr/>
        </p:nvSpPr>
        <p:spPr>
          <a:xfrm>
            <a:off x="426781" y="1340755"/>
            <a:ext cx="5757113" cy="4543677"/>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8" y="385036"/>
            <a:ext cx="11446825" cy="535531"/>
          </a:xfrm>
          <a:prstGeom prst="rect">
            <a:avLst/>
          </a:prstGeom>
          <a:noFill/>
        </p:spPr>
        <p:txBody>
          <a:bodyPr wrap="square" rtlCol="0">
            <a:spAutoFit/>
          </a:bodyPr>
          <a:lstStyle/>
          <a:p>
            <a:pPr lvl="0">
              <a:lnSpc>
                <a:spcPct val="80000"/>
              </a:lnSpc>
              <a:defRPr/>
            </a:pPr>
            <a:r>
              <a:rPr lang="pt-BR" sz="3600" b="1" dirty="0" err="1">
                <a:gradFill>
                  <a:gsLst>
                    <a:gs pos="0">
                      <a:schemeClr val="accent1"/>
                    </a:gs>
                    <a:gs pos="100000">
                      <a:schemeClr val="bg2"/>
                    </a:gs>
                  </a:gsLst>
                  <a:lin ang="2700000" scaled="0"/>
                </a:gradFill>
                <a:latin typeface="Calisto MT"/>
              </a:rPr>
              <a:t>Summary</a:t>
            </a:r>
            <a:endParaRPr lang="pt-BR" sz="3600" b="1" dirty="0">
              <a:gradFill>
                <a:gsLst>
                  <a:gs pos="0">
                    <a:schemeClr val="accent1"/>
                  </a:gs>
                  <a:gs pos="100000">
                    <a:schemeClr val="bg2"/>
                  </a:gs>
                </a:gsLst>
                <a:lin ang="2700000" scaled="0"/>
              </a:gradFill>
              <a:latin typeface="Calisto MT"/>
            </a:endParaRP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29291" y="6249679"/>
            <a:ext cx="10165959" cy="565786"/>
          </a:xfrm>
        </p:spPr>
        <p:txBody>
          <a:bodyPr/>
          <a:lstStyle/>
          <a:p>
            <a:pPr>
              <a:lnSpc>
                <a:spcPct val="100000"/>
              </a:lnSpc>
              <a:spcAft>
                <a:spcPts val="0"/>
              </a:spcAft>
            </a:pPr>
            <a:r>
              <a:rPr lang="en-US" sz="700" dirty="0" err="1"/>
              <a:t>aHUS</a:t>
            </a:r>
            <a:r>
              <a:rPr lang="en-US" sz="700" dirty="0"/>
              <a:t>, atypical hemolytic uremic syndrome; PNH, paroxysmal nocturnal hemoglobinuria; SLE, systemic lupus erythematosus.</a:t>
            </a:r>
          </a:p>
          <a:p>
            <a:pPr>
              <a:lnSpc>
                <a:spcPct val="100000"/>
              </a:lnSpc>
              <a:spcAft>
                <a:spcPts val="0"/>
              </a:spcAft>
            </a:pPr>
            <a:endParaRPr lang="en-US" sz="700" dirty="0"/>
          </a:p>
          <a:p>
            <a:pPr>
              <a:lnSpc>
                <a:spcPct val="100000"/>
              </a:lnSpc>
              <a:spcAft>
                <a:spcPts val="0"/>
              </a:spcAft>
            </a:pPr>
            <a:r>
              <a:rPr lang="en-US" sz="700" dirty="0"/>
              <a:t>1. </a:t>
            </a:r>
            <a:r>
              <a:rPr lang="en-US" sz="700" dirty="0" err="1"/>
              <a:t>Ricklin</a:t>
            </a:r>
            <a:r>
              <a:rPr lang="en-US" sz="700" dirty="0"/>
              <a:t> D, </a:t>
            </a:r>
            <a:r>
              <a:rPr lang="en-US" sz="700" dirty="0" err="1"/>
              <a:t>Mastellos</a:t>
            </a:r>
            <a:r>
              <a:rPr lang="en-US" sz="700" dirty="0"/>
              <a:t> DC, </a:t>
            </a:r>
            <a:r>
              <a:rPr lang="en-US" sz="700" dirty="0" err="1"/>
              <a:t>Lambris</a:t>
            </a:r>
            <a:r>
              <a:rPr lang="en-US" sz="700" dirty="0"/>
              <a:t> JD. Therapeutic targeting of the complement system. Nat Rev Drug </a:t>
            </a:r>
            <a:r>
              <a:rPr lang="en-US" sz="700" dirty="0" err="1"/>
              <a:t>Discov</a:t>
            </a:r>
            <a:r>
              <a:rPr lang="en-US" sz="700" dirty="0"/>
              <a:t> (2019).</a:t>
            </a:r>
          </a:p>
          <a:p>
            <a:pPr>
              <a:lnSpc>
                <a:spcPct val="100000"/>
              </a:lnSpc>
              <a:spcAft>
                <a:spcPts val="0"/>
              </a:spcAft>
            </a:pPr>
            <a:r>
              <a:rPr lang="en-US" sz="700" dirty="0"/>
              <a:t>2. </a:t>
            </a:r>
            <a:r>
              <a:rPr lang="en-US" sz="700" dirty="0" err="1"/>
              <a:t>Walport</a:t>
            </a:r>
            <a:r>
              <a:rPr lang="en-US" sz="700" dirty="0"/>
              <a:t> MJ. Complement. N Engl J Med. 2001 Apr 5;344(14):1058-66.</a:t>
            </a:r>
          </a:p>
          <a:p>
            <a:pPr>
              <a:lnSpc>
                <a:spcPct val="100000"/>
              </a:lnSpc>
              <a:spcAft>
                <a:spcPts val="0"/>
              </a:spcAft>
            </a:pPr>
            <a:r>
              <a:rPr lang="en-US" sz="700" dirty="0"/>
              <a:t>3.Merle NS, Noe R, </a:t>
            </a:r>
            <a:r>
              <a:rPr lang="en-US" sz="700" dirty="0" err="1"/>
              <a:t>Halbwachs-Mecarelli</a:t>
            </a:r>
            <a:r>
              <a:rPr lang="en-US" sz="700" dirty="0"/>
              <a:t> L et al. Complement System Part II: Role in Immunity. Front Immunol. 2015 May 26;6:257.</a:t>
            </a:r>
          </a:p>
          <a:p>
            <a:pPr>
              <a:lnSpc>
                <a:spcPct val="100000"/>
              </a:lnSpc>
              <a:spcAft>
                <a:spcPts val="0"/>
              </a:spcAft>
            </a:pPr>
            <a:r>
              <a:rPr lang="en-US" sz="700" dirty="0"/>
              <a:t>4. </a:t>
            </a:r>
            <a:r>
              <a:rPr lang="en-US" sz="700" dirty="0" err="1"/>
              <a:t>Dunkelberger</a:t>
            </a:r>
            <a:r>
              <a:rPr lang="en-US" sz="700" dirty="0"/>
              <a:t> JR, Song WC. Complement and its role in innate and adaptive immune responses. Cell Res. 2010 Jan;20(1):34-50.</a:t>
            </a:r>
          </a:p>
          <a:p>
            <a:pPr>
              <a:lnSpc>
                <a:spcPct val="100000"/>
              </a:lnSpc>
              <a:spcAft>
                <a:spcPts val="0"/>
              </a:spcAft>
            </a:pPr>
            <a:r>
              <a:rPr lang="en-US" sz="700" dirty="0"/>
              <a:t>5. Harris CL. Expanding horizons in complement drug discovery: challenges and emerging strategies. Semin </a:t>
            </a:r>
            <a:r>
              <a:rPr lang="en-US" sz="700" dirty="0" err="1"/>
              <a:t>Immunopathol</a:t>
            </a:r>
            <a:r>
              <a:rPr lang="en-US" sz="700" dirty="0"/>
              <a:t>. 2018 Jan;40(1):125-140.</a:t>
            </a:r>
          </a:p>
          <a:p>
            <a:pPr>
              <a:lnSpc>
                <a:spcPct val="100000"/>
              </a:lnSpc>
              <a:spcAft>
                <a:spcPts val="0"/>
              </a:spcAft>
            </a:pPr>
            <a:r>
              <a:rPr lang="en-US" sz="700" dirty="0"/>
              <a:t>6. </a:t>
            </a:r>
            <a:r>
              <a:rPr lang="en-US" sz="700" dirty="0" err="1"/>
              <a:t>Markiewski</a:t>
            </a:r>
            <a:r>
              <a:rPr lang="en-US" sz="700" dirty="0"/>
              <a:t> MM, Nilsson B, </a:t>
            </a:r>
            <a:r>
              <a:rPr lang="en-US" sz="700" dirty="0" err="1"/>
              <a:t>Ekdahl</a:t>
            </a:r>
            <a:r>
              <a:rPr lang="en-US" sz="700" dirty="0"/>
              <a:t> KN et al. Complement and coagulation: strangers or partners in crime? Trends Immunol. 2007 Apr;28(4):184-92.</a:t>
            </a:r>
          </a:p>
        </p:txBody>
      </p:sp>
      <p:grpSp>
        <p:nvGrpSpPr>
          <p:cNvPr id="101" name="Agrupar 100">
            <a:extLst>
              <a:ext uri="{FF2B5EF4-FFF2-40B4-BE49-F238E27FC236}">
                <a16:creationId xmlns:a16="http://schemas.microsoft.com/office/drawing/2014/main" id="{BD928890-8920-46EE-BB61-591628E41271}"/>
              </a:ext>
            </a:extLst>
          </p:cNvPr>
          <p:cNvGrpSpPr/>
          <p:nvPr/>
        </p:nvGrpSpPr>
        <p:grpSpPr>
          <a:xfrm>
            <a:off x="5570235" y="591671"/>
            <a:ext cx="6325497" cy="4226970"/>
            <a:chOff x="5570235" y="591671"/>
            <a:chExt cx="6325497" cy="4226970"/>
          </a:xfrm>
        </p:grpSpPr>
        <p:sp>
          <p:nvSpPr>
            <p:cNvPr id="185" name="Retângulo: Cantos Arredondados 184">
              <a:extLst>
                <a:ext uri="{FF2B5EF4-FFF2-40B4-BE49-F238E27FC236}">
                  <a16:creationId xmlns:a16="http://schemas.microsoft.com/office/drawing/2014/main" id="{9ED2F300-5353-1EFF-7399-FFECD8AF5F98}"/>
                </a:ext>
              </a:extLst>
            </p:cNvPr>
            <p:cNvSpPr/>
            <p:nvPr/>
          </p:nvSpPr>
          <p:spPr>
            <a:xfrm flipH="1">
              <a:off x="5570235" y="591671"/>
              <a:ext cx="6325497" cy="4202181"/>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82" name="Freeform 42">
              <a:extLst>
                <a:ext uri="{FF2B5EF4-FFF2-40B4-BE49-F238E27FC236}">
                  <a16:creationId xmlns:a16="http://schemas.microsoft.com/office/drawing/2014/main" id="{A4D2904C-8DC6-11F6-47CC-C222697E0471}"/>
                </a:ext>
              </a:extLst>
            </p:cNvPr>
            <p:cNvSpPr/>
            <p:nvPr/>
          </p:nvSpPr>
          <p:spPr>
            <a:xfrm>
              <a:off x="9066991" y="3960071"/>
              <a:ext cx="2685246" cy="558867"/>
            </a:xfrm>
            <a:custGeom>
              <a:avLst/>
              <a:gdLst>
                <a:gd name="connsiteX0" fmla="*/ 6571414 w 6571413"/>
                <a:gd name="connsiteY0" fmla="*/ 558868 h 558867"/>
                <a:gd name="connsiteX1" fmla="*/ 2284513 w 6571413"/>
                <a:gd name="connsiteY1" fmla="*/ 72221 h 558867"/>
                <a:gd name="connsiteX2" fmla="*/ 0 w 6571413"/>
                <a:gd name="connsiteY2" fmla="*/ 558868 h 558867"/>
                <a:gd name="connsiteX3" fmla="*/ 6571414 w 6571413"/>
                <a:gd name="connsiteY3" fmla="*/ 558868 h 558867"/>
              </a:gdLst>
              <a:ahLst/>
              <a:cxnLst>
                <a:cxn ang="0">
                  <a:pos x="connsiteX0" y="connsiteY0"/>
                </a:cxn>
                <a:cxn ang="0">
                  <a:pos x="connsiteX1" y="connsiteY1"/>
                </a:cxn>
                <a:cxn ang="0">
                  <a:pos x="connsiteX2" y="connsiteY2"/>
                </a:cxn>
                <a:cxn ang="0">
                  <a:pos x="connsiteX3" y="connsiteY3"/>
                </a:cxn>
              </a:cxnLst>
              <a:rect l="l" t="t" r="r" b="b"/>
              <a:pathLst>
                <a:path w="6571413" h="558867">
                  <a:moveTo>
                    <a:pt x="6571414" y="558868"/>
                  </a:moveTo>
                  <a:cubicBezTo>
                    <a:pt x="5644456" y="86420"/>
                    <a:pt x="4052982" y="-121715"/>
                    <a:pt x="2284513" y="72221"/>
                  </a:cubicBezTo>
                  <a:cubicBezTo>
                    <a:pt x="1449353" y="163895"/>
                    <a:pt x="672238" y="334539"/>
                    <a:pt x="0" y="558868"/>
                  </a:cubicBezTo>
                  <a:lnTo>
                    <a:pt x="6571414" y="558868"/>
                  </a:lnTo>
                  <a:close/>
                </a:path>
              </a:pathLst>
            </a:custGeom>
            <a:gradFill>
              <a:gsLst>
                <a:gs pos="99000">
                  <a:schemeClr val="bg1">
                    <a:lumMod val="65000"/>
                  </a:schemeClr>
                </a:gs>
                <a:gs pos="0">
                  <a:schemeClr val="bg1"/>
                </a:gs>
              </a:gsLst>
              <a:lin ang="16200000" scaled="0"/>
            </a:gradFill>
            <a:ln w="12452" cap="flat">
              <a:noFill/>
              <a:prstDash val="solid"/>
              <a:miter/>
            </a:ln>
          </p:spPr>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37302C"/>
                </a:solidFill>
                <a:effectLst/>
                <a:uLnTx/>
                <a:uFillTx/>
                <a:latin typeface="Arial" panose="020B0604020202020204"/>
                <a:ea typeface="ヒラギノ角ゴ Pro W3" panose="020B0300000000000000" pitchFamily="34" charset="-128"/>
                <a:cs typeface="+mn-cs"/>
              </a:endParaRPr>
            </a:p>
          </p:txBody>
        </p:sp>
        <p:sp>
          <p:nvSpPr>
            <p:cNvPr id="6" name="Freeform 5764">
              <a:extLst>
                <a:ext uri="{FF2B5EF4-FFF2-40B4-BE49-F238E27FC236}">
                  <a16:creationId xmlns:a16="http://schemas.microsoft.com/office/drawing/2014/main" id="{63C06920-4157-ACD2-0DEF-2BFFD9A558CB}"/>
                </a:ext>
              </a:extLst>
            </p:cNvPr>
            <p:cNvSpPr/>
            <p:nvPr/>
          </p:nvSpPr>
          <p:spPr>
            <a:xfrm>
              <a:off x="5727117" y="767780"/>
              <a:ext cx="1782177" cy="462032"/>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bg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 name="TextBox 5618">
              <a:extLst>
                <a:ext uri="{FF2B5EF4-FFF2-40B4-BE49-F238E27FC236}">
                  <a16:creationId xmlns:a16="http://schemas.microsoft.com/office/drawing/2014/main" id="{4BE4C757-8F66-1745-B4CE-08CA9FF2A6FB}"/>
                </a:ext>
              </a:extLst>
            </p:cNvPr>
            <p:cNvSpPr txBox="1"/>
            <p:nvPr/>
          </p:nvSpPr>
          <p:spPr>
            <a:xfrm>
              <a:off x="5839901" y="857320"/>
              <a:ext cx="156805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t>
              </a:r>
              <a:r>
                <a:rPr lang="en-US" sz="1400" b="1" dirty="0" err="1">
                  <a:solidFill>
                    <a:srgbClr val="FFFFFF"/>
                  </a:solidFill>
                  <a:latin typeface="+mj-lt"/>
                  <a:ea typeface="ヒラギノ角ゴ Pro W3" panose="020B0300000000000000" pitchFamily="34" charset="-128"/>
                  <a:cs typeface="Arial"/>
                  <a:sym typeface="Arial"/>
                </a:rPr>
                <a:t>clássico</a:t>
              </a:r>
              <a:endParaRPr lang="en-US" sz="1400" b="1" dirty="0">
                <a:solidFill>
                  <a:srgbClr val="FFFFFF"/>
                </a:solidFill>
                <a:latin typeface="+mj-lt"/>
                <a:ea typeface="ヒラギノ角ゴ Pro W3" panose="020B0300000000000000" pitchFamily="34" charset="-128"/>
                <a:cs typeface="Arial"/>
                <a:sym typeface="Arial"/>
              </a:endParaRPr>
            </a:p>
          </p:txBody>
        </p:sp>
        <p:sp>
          <p:nvSpPr>
            <p:cNvPr id="8" name="Freeform 5771">
              <a:extLst>
                <a:ext uri="{FF2B5EF4-FFF2-40B4-BE49-F238E27FC236}">
                  <a16:creationId xmlns:a16="http://schemas.microsoft.com/office/drawing/2014/main" id="{09B04E13-B146-B731-7276-5BD85BC577F1}"/>
                </a:ext>
              </a:extLst>
            </p:cNvPr>
            <p:cNvSpPr/>
            <p:nvPr/>
          </p:nvSpPr>
          <p:spPr>
            <a:xfrm>
              <a:off x="9595145" y="767780"/>
              <a:ext cx="1780032" cy="462032"/>
            </a:xfrm>
            <a:custGeom>
              <a:avLst/>
              <a:gdLst>
                <a:gd name="connsiteX0" fmla="*/ 0 w 1783167"/>
                <a:gd name="connsiteY0" fmla="*/ 0 h 323227"/>
                <a:gd name="connsiteX1" fmla="*/ 1783167 w 1783167"/>
                <a:gd name="connsiteY1" fmla="*/ 0 h 323227"/>
                <a:gd name="connsiteX2" fmla="*/ 1783167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7" y="0"/>
                  </a:lnTo>
                  <a:lnTo>
                    <a:pt x="1783167" y="323227"/>
                  </a:lnTo>
                  <a:lnTo>
                    <a:pt x="0" y="323227"/>
                  </a:lnTo>
                  <a:close/>
                </a:path>
              </a:pathLst>
            </a:custGeom>
            <a:solidFill>
              <a:schemeClr val="tx2"/>
            </a:solidFill>
            <a:ln w="12452" cap="flat">
              <a:noFill/>
              <a:prstDash val="solid"/>
              <a:miter/>
            </a:ln>
          </p:spPr>
          <p:txBody>
            <a:bodyPr rtlCol="0" anchor="ctr"/>
            <a:lstStyle/>
            <a:p>
              <a:pPr defTabSz="914377" fontAlgn="base">
                <a:spcBef>
                  <a:spcPct val="0"/>
                </a:spcBef>
                <a:spcAft>
                  <a:spcPct val="0"/>
                </a:spcAft>
                <a:defRPr/>
              </a:pPr>
              <a:endParaRPr lang="en-US">
                <a:solidFill>
                  <a:srgbClr val="37302C"/>
                </a:solidFill>
                <a:ea typeface="ヒラギノ角ゴ Pro W3" panose="020B0300000000000000" pitchFamily="34" charset="-128"/>
                <a:cs typeface="Arial"/>
              </a:endParaRPr>
            </a:p>
          </p:txBody>
        </p:sp>
        <p:sp>
          <p:nvSpPr>
            <p:cNvPr id="10" name="TextBox 5621">
              <a:extLst>
                <a:ext uri="{FF2B5EF4-FFF2-40B4-BE49-F238E27FC236}">
                  <a16:creationId xmlns:a16="http://schemas.microsoft.com/office/drawing/2014/main" id="{61FD441A-D5FE-138C-B1D7-33713C9A93B2}"/>
                </a:ext>
              </a:extLst>
            </p:cNvPr>
            <p:cNvSpPr txBox="1"/>
            <p:nvPr/>
          </p:nvSpPr>
          <p:spPr>
            <a:xfrm>
              <a:off x="9574527" y="836302"/>
              <a:ext cx="1821268"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err="1">
                  <a:solidFill>
                    <a:srgbClr val="FFFFFF"/>
                  </a:solidFill>
                  <a:latin typeface="+mj-lt"/>
                  <a:ea typeface="ヒラギノ角ゴ Pro W3" panose="020B0300000000000000" pitchFamily="34" charset="-128"/>
                  <a:cs typeface="Arial"/>
                  <a:sym typeface="Arial"/>
                </a:rPr>
                <a:t>Caminho</a:t>
              </a:r>
              <a:r>
                <a:rPr lang="en-US" sz="1400" b="1" dirty="0">
                  <a:solidFill>
                    <a:srgbClr val="FFFFFF"/>
                  </a:solidFill>
                  <a:latin typeface="+mj-lt"/>
                  <a:ea typeface="ヒラギノ角ゴ Pro W3" panose="020B0300000000000000" pitchFamily="34" charset="-128"/>
                  <a:cs typeface="Arial"/>
                  <a:sym typeface="Arial"/>
                </a:rPr>
                <a:t> alternativo</a:t>
              </a:r>
            </a:p>
          </p:txBody>
        </p:sp>
        <p:sp>
          <p:nvSpPr>
            <p:cNvPr id="13" name="TextBox 5669">
              <a:extLst>
                <a:ext uri="{FF2B5EF4-FFF2-40B4-BE49-F238E27FC236}">
                  <a16:creationId xmlns:a16="http://schemas.microsoft.com/office/drawing/2014/main" id="{B48C07BD-31BD-0492-3E1A-CF8473D5BA9C}"/>
                </a:ext>
              </a:extLst>
            </p:cNvPr>
            <p:cNvSpPr txBox="1"/>
            <p:nvPr/>
          </p:nvSpPr>
          <p:spPr>
            <a:xfrm>
              <a:off x="7818645" y="1327308"/>
              <a:ext cx="1649736" cy="307777"/>
            </a:xfrm>
            <a:prstGeom prst="rect">
              <a:avLst/>
            </a:prstGeom>
            <a:noFill/>
          </p:spPr>
          <p:txBody>
            <a:bodyPr wrap="square" rtlCol="0">
              <a:spAutoFit/>
            </a:bodyPr>
            <a:lstStyle/>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onversão</a:t>
              </a:r>
              <a:r>
                <a:rPr lang="en-US" sz="1400" b="1" dirty="0">
                  <a:solidFill>
                    <a:schemeClr val="accent1"/>
                  </a:solidFill>
                  <a:ea typeface="ヒラギノ角ゴ Pro W3" panose="020B0300000000000000" pitchFamily="34" charset="-128"/>
                  <a:cs typeface="Arial"/>
                  <a:sym typeface="Arial"/>
                </a:rPr>
                <a:t> de C3</a:t>
              </a:r>
            </a:p>
          </p:txBody>
        </p:sp>
        <p:sp>
          <p:nvSpPr>
            <p:cNvPr id="15" name="Freeform 8975">
              <a:extLst>
                <a:ext uri="{FF2B5EF4-FFF2-40B4-BE49-F238E27FC236}">
                  <a16:creationId xmlns:a16="http://schemas.microsoft.com/office/drawing/2014/main" id="{E5D4990D-ECBF-C9D9-0E26-2D302E1223D3}"/>
                </a:ext>
              </a:extLst>
            </p:cNvPr>
            <p:cNvSpPr/>
            <p:nvPr/>
          </p:nvSpPr>
          <p:spPr>
            <a:xfrm>
              <a:off x="7674052" y="2197101"/>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7" name="TextBox 5616">
              <a:extLst>
                <a:ext uri="{FF2B5EF4-FFF2-40B4-BE49-F238E27FC236}">
                  <a16:creationId xmlns:a16="http://schemas.microsoft.com/office/drawing/2014/main" id="{4AB452D9-F3FD-6EE5-CE48-300D0AB86B87}"/>
                </a:ext>
              </a:extLst>
            </p:cNvPr>
            <p:cNvSpPr txBox="1"/>
            <p:nvPr/>
          </p:nvSpPr>
          <p:spPr>
            <a:xfrm>
              <a:off x="7328104" y="2222959"/>
              <a:ext cx="393056"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accent1"/>
                  </a:solidFill>
                  <a:ea typeface="ヒラギノ角ゴ Pro W3" panose="020B0300000000000000" pitchFamily="34" charset="-128"/>
                  <a:cs typeface="Arial"/>
                  <a:sym typeface="Arial"/>
                </a:rPr>
                <a:t>C3a</a:t>
              </a:r>
            </a:p>
          </p:txBody>
        </p:sp>
        <p:sp>
          <p:nvSpPr>
            <p:cNvPr id="20" name="Freeform 8973">
              <a:extLst>
                <a:ext uri="{FF2B5EF4-FFF2-40B4-BE49-F238E27FC236}">
                  <a16:creationId xmlns:a16="http://schemas.microsoft.com/office/drawing/2014/main" id="{8CD6ED3A-4CE0-3DE5-2CF9-3DAC251515A7}"/>
                </a:ext>
              </a:extLst>
            </p:cNvPr>
            <p:cNvSpPr/>
            <p:nvPr/>
          </p:nvSpPr>
          <p:spPr>
            <a:xfrm>
              <a:off x="8406425" y="2154770"/>
              <a:ext cx="291589" cy="428727"/>
            </a:xfrm>
            <a:custGeom>
              <a:avLst/>
              <a:gdLst>
                <a:gd name="connsiteX0" fmla="*/ 206392 w 291589"/>
                <a:gd name="connsiteY0" fmla="*/ 428728 h 428727"/>
                <a:gd name="connsiteX1" fmla="*/ 85197 w 291589"/>
                <a:gd name="connsiteY1" fmla="*/ 428728 h 428727"/>
                <a:gd name="connsiteX2" fmla="*/ 0 w 291589"/>
                <a:gd name="connsiteY2" fmla="*/ 343530 h 428727"/>
                <a:gd name="connsiteX3" fmla="*/ 0 w 291589"/>
                <a:gd name="connsiteY3" fmla="*/ 85197 h 428727"/>
                <a:gd name="connsiteX4" fmla="*/ 85197 w 291589"/>
                <a:gd name="connsiteY4" fmla="*/ 0 h 428727"/>
                <a:gd name="connsiteX5" fmla="*/ 206392 w 291589"/>
                <a:gd name="connsiteY5" fmla="*/ 0 h 428727"/>
                <a:gd name="connsiteX6" fmla="*/ 291590 w 291589"/>
                <a:gd name="connsiteY6" fmla="*/ 85197 h 428727"/>
                <a:gd name="connsiteX7" fmla="*/ 291590 w 291589"/>
                <a:gd name="connsiteY7" fmla="*/ 343530 h 428727"/>
                <a:gd name="connsiteX8" fmla="*/ 206392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6392" y="428728"/>
                  </a:moveTo>
                  <a:lnTo>
                    <a:pt x="85197" y="428728"/>
                  </a:lnTo>
                  <a:cubicBezTo>
                    <a:pt x="38115" y="428728"/>
                    <a:pt x="0" y="390613"/>
                    <a:pt x="0" y="343530"/>
                  </a:cubicBezTo>
                  <a:lnTo>
                    <a:pt x="0" y="85197"/>
                  </a:lnTo>
                  <a:cubicBezTo>
                    <a:pt x="0" y="38115"/>
                    <a:pt x="38115" y="0"/>
                    <a:pt x="85197" y="0"/>
                  </a:cubicBezTo>
                  <a:lnTo>
                    <a:pt x="206392" y="0"/>
                  </a:lnTo>
                  <a:cubicBezTo>
                    <a:pt x="253475" y="0"/>
                    <a:pt x="291590" y="38115"/>
                    <a:pt x="291590" y="85197"/>
                  </a:cubicBezTo>
                  <a:lnTo>
                    <a:pt x="291590" y="343530"/>
                  </a:lnTo>
                  <a:cubicBezTo>
                    <a:pt x="291590" y="390613"/>
                    <a:pt x="253475" y="428728"/>
                    <a:pt x="206392" y="428728"/>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21" name="TextBox 5632">
              <a:extLst>
                <a:ext uri="{FF2B5EF4-FFF2-40B4-BE49-F238E27FC236}">
                  <a16:creationId xmlns:a16="http://schemas.microsoft.com/office/drawing/2014/main" id="{F96FC6A3-556D-3607-648F-43E3FD95A7C8}"/>
                </a:ext>
              </a:extLst>
            </p:cNvPr>
            <p:cNvSpPr txBox="1"/>
            <p:nvPr/>
          </p:nvSpPr>
          <p:spPr>
            <a:xfrm>
              <a:off x="8393526" y="2238509"/>
              <a:ext cx="325729"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a:t>
              </a:r>
            </a:p>
          </p:txBody>
        </p:sp>
        <p:sp>
          <p:nvSpPr>
            <p:cNvPr id="22" name="Freeform 3672">
              <a:extLst>
                <a:ext uri="{FF2B5EF4-FFF2-40B4-BE49-F238E27FC236}">
                  <a16:creationId xmlns:a16="http://schemas.microsoft.com/office/drawing/2014/main" id="{66938FCF-7E95-CAE6-9202-E0B29F93BEC1}"/>
                </a:ext>
              </a:extLst>
            </p:cNvPr>
            <p:cNvSpPr/>
            <p:nvPr/>
          </p:nvSpPr>
          <p:spPr>
            <a:xfrm>
              <a:off x="9272932" y="2112364"/>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23" name="TextBox 5679">
              <a:extLst>
                <a:ext uri="{FF2B5EF4-FFF2-40B4-BE49-F238E27FC236}">
                  <a16:creationId xmlns:a16="http://schemas.microsoft.com/office/drawing/2014/main" id="{CCDCD76F-627B-92E3-43F4-900920E2BD41}"/>
                </a:ext>
              </a:extLst>
            </p:cNvPr>
            <p:cNvSpPr txBox="1"/>
            <p:nvPr/>
          </p:nvSpPr>
          <p:spPr>
            <a:xfrm>
              <a:off x="9261149" y="2168777"/>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FFFFFF"/>
                  </a:solidFill>
                  <a:ea typeface="ヒラギノ角ゴ Pro W3" panose="020B0300000000000000" pitchFamily="34" charset="-128"/>
                  <a:cs typeface="Arial"/>
                  <a:sym typeface="Arial"/>
                </a:rPr>
                <a:t>C3b</a:t>
              </a:r>
            </a:p>
          </p:txBody>
        </p:sp>
        <p:sp>
          <p:nvSpPr>
            <p:cNvPr id="24" name="TextBox 5625">
              <a:extLst>
                <a:ext uri="{FF2B5EF4-FFF2-40B4-BE49-F238E27FC236}">
                  <a16:creationId xmlns:a16="http://schemas.microsoft.com/office/drawing/2014/main" id="{0670CF2D-CBE9-5F1F-7075-A49795CB57C1}"/>
                </a:ext>
              </a:extLst>
            </p:cNvPr>
            <p:cNvSpPr txBox="1"/>
            <p:nvPr/>
          </p:nvSpPr>
          <p:spPr>
            <a:xfrm>
              <a:off x="5809130" y="2004661"/>
              <a:ext cx="1554668" cy="584775"/>
            </a:xfrm>
            <a:prstGeom prst="rect">
              <a:avLst/>
            </a:prstGeom>
            <a:noFill/>
          </p:spPr>
          <p:txBody>
            <a:bodyPr wrap="squar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accent1"/>
                  </a:solidFill>
                  <a:effectLst/>
                  <a:uLnTx/>
                  <a:uFillTx/>
                  <a:latin typeface="+mj-lt"/>
                  <a:ea typeface="ヒラギノ角ゴ Pro W3" panose="020B0300000000000000" pitchFamily="34" charset="-128"/>
                  <a:cs typeface="Arial"/>
                  <a:sym typeface="Arial"/>
                </a:rPr>
                <a:t>Complemento</a:t>
              </a:r>
              <a:endPar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endParaRPr>
            </a:p>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rPr>
                <a:t>Proximal </a:t>
              </a:r>
            </a:p>
          </p:txBody>
        </p:sp>
        <p:sp>
          <p:nvSpPr>
            <p:cNvPr id="26" name="Forma Livre: Forma 25">
              <a:extLst>
                <a:ext uri="{FF2B5EF4-FFF2-40B4-BE49-F238E27FC236}">
                  <a16:creationId xmlns:a16="http://schemas.microsoft.com/office/drawing/2014/main" id="{BD4BAB4E-D6E4-E633-20BB-70C4B0F01FE2}"/>
                </a:ext>
              </a:extLst>
            </p:cNvPr>
            <p:cNvSpPr/>
            <p:nvPr/>
          </p:nvSpPr>
          <p:spPr>
            <a:xfrm>
              <a:off x="6632044" y="1237130"/>
              <a:ext cx="1197298" cy="268941"/>
            </a:xfrm>
            <a:custGeom>
              <a:avLst/>
              <a:gdLst>
                <a:gd name="connsiteX0" fmla="*/ 0 w 1775011"/>
                <a:gd name="connsiteY0" fmla="*/ 0 h 268941"/>
                <a:gd name="connsiteX1" fmla="*/ 0 w 1775011"/>
                <a:gd name="connsiteY1" fmla="*/ 268941 h 268941"/>
                <a:gd name="connsiteX2" fmla="*/ 1775011 w 1775011"/>
                <a:gd name="connsiteY2" fmla="*/ 268941 h 268941"/>
              </a:gdLst>
              <a:ahLst/>
              <a:cxnLst>
                <a:cxn ang="0">
                  <a:pos x="connsiteX0" y="connsiteY0"/>
                </a:cxn>
                <a:cxn ang="0">
                  <a:pos x="connsiteX1" y="connsiteY1"/>
                </a:cxn>
                <a:cxn ang="0">
                  <a:pos x="connsiteX2" y="connsiteY2"/>
                </a:cxn>
              </a:cxnLst>
              <a:rect l="l" t="t" r="r" b="b"/>
              <a:pathLst>
                <a:path w="1775011" h="268941">
                  <a:moveTo>
                    <a:pt x="0" y="0"/>
                  </a:moveTo>
                  <a:lnTo>
                    <a:pt x="0" y="268941"/>
                  </a:lnTo>
                  <a:lnTo>
                    <a:pt x="1775011" y="268941"/>
                  </a:lnTo>
                </a:path>
              </a:pathLst>
            </a:custGeom>
            <a:noFill/>
            <a:ln>
              <a:solidFill>
                <a:schemeClr val="bg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Forma Livre: Forma 26">
              <a:extLst>
                <a:ext uri="{FF2B5EF4-FFF2-40B4-BE49-F238E27FC236}">
                  <a16:creationId xmlns:a16="http://schemas.microsoft.com/office/drawing/2014/main" id="{3FCCAC12-3289-26A9-942B-5F464F71F2EF}"/>
                </a:ext>
              </a:extLst>
            </p:cNvPr>
            <p:cNvSpPr/>
            <p:nvPr/>
          </p:nvSpPr>
          <p:spPr>
            <a:xfrm flipH="1">
              <a:off x="9436025" y="1237130"/>
              <a:ext cx="1033427" cy="268941"/>
            </a:xfrm>
            <a:custGeom>
              <a:avLst/>
              <a:gdLst>
                <a:gd name="connsiteX0" fmla="*/ 0 w 1775011"/>
                <a:gd name="connsiteY0" fmla="*/ 0 h 268941"/>
                <a:gd name="connsiteX1" fmla="*/ 0 w 1775011"/>
                <a:gd name="connsiteY1" fmla="*/ 268941 h 268941"/>
                <a:gd name="connsiteX2" fmla="*/ 1775011 w 1775011"/>
                <a:gd name="connsiteY2" fmla="*/ 268941 h 268941"/>
              </a:gdLst>
              <a:ahLst/>
              <a:cxnLst>
                <a:cxn ang="0">
                  <a:pos x="connsiteX0" y="connsiteY0"/>
                </a:cxn>
                <a:cxn ang="0">
                  <a:pos x="connsiteX1" y="connsiteY1"/>
                </a:cxn>
                <a:cxn ang="0">
                  <a:pos x="connsiteX2" y="connsiteY2"/>
                </a:cxn>
              </a:cxnLst>
              <a:rect l="l" t="t" r="r" b="b"/>
              <a:pathLst>
                <a:path w="1775011" h="268941">
                  <a:moveTo>
                    <a:pt x="0" y="0"/>
                  </a:moveTo>
                  <a:lnTo>
                    <a:pt x="0" y="268941"/>
                  </a:lnTo>
                  <a:lnTo>
                    <a:pt x="1775011" y="268941"/>
                  </a:lnTo>
                </a:path>
              </a:pathLst>
            </a:custGeom>
            <a:noFill/>
            <a:ln>
              <a:solidFill>
                <a:schemeClr val="tx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9" name="Conector de Seta Reta 28">
              <a:extLst>
                <a:ext uri="{FF2B5EF4-FFF2-40B4-BE49-F238E27FC236}">
                  <a16:creationId xmlns:a16="http://schemas.microsoft.com/office/drawing/2014/main" id="{5346A91A-A3C7-D212-A85B-C0489F4AC3B9}"/>
                </a:ext>
              </a:extLst>
            </p:cNvPr>
            <p:cNvCxnSpPr/>
            <p:nvPr/>
          </p:nvCxnSpPr>
          <p:spPr>
            <a:xfrm>
              <a:off x="8552219" y="936800"/>
              <a:ext cx="0" cy="434800"/>
            </a:xfrm>
            <a:prstGeom prst="straightConnector1">
              <a:avLst/>
            </a:prstGeom>
            <a:ln w="127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TextBox 5623">
              <a:extLst>
                <a:ext uri="{FF2B5EF4-FFF2-40B4-BE49-F238E27FC236}">
                  <a16:creationId xmlns:a16="http://schemas.microsoft.com/office/drawing/2014/main" id="{E8320843-2943-0F06-7347-C7C0111105EA}"/>
                </a:ext>
              </a:extLst>
            </p:cNvPr>
            <p:cNvSpPr txBox="1"/>
            <p:nvPr/>
          </p:nvSpPr>
          <p:spPr>
            <a:xfrm>
              <a:off x="7652470" y="749681"/>
              <a:ext cx="1785632" cy="480131"/>
            </a:xfrm>
            <a:prstGeom prst="rect">
              <a:avLst/>
            </a:prstGeom>
            <a:solidFill>
              <a:schemeClr val="accent1"/>
            </a:solidFill>
          </p:spPr>
          <p:txBody>
            <a:bodyPr wrap="square" rtlCol="0" anchor="ctr" anchorCtr="1">
              <a:spAutoFit/>
            </a:bodyPr>
            <a:lstStyle/>
            <a:p>
              <a:pPr algn="ctr" defTabSz="914377" fontAlgn="base">
                <a:lnSpc>
                  <a:spcPct val="90000"/>
                </a:lnSpc>
                <a:spcBef>
                  <a:spcPct val="0"/>
                </a:spcBef>
                <a:spcAft>
                  <a:spcPct val="0"/>
                </a:spcAft>
                <a:defRPr/>
              </a:pPr>
              <a:r>
                <a:rPr lang="en-US" sz="1400" b="1">
                  <a:solidFill>
                    <a:srgbClr val="FFFFFF"/>
                  </a:solidFill>
                  <a:latin typeface="+mj-lt"/>
                  <a:ea typeface="ヒラギノ角ゴ Pro W3" panose="020B0300000000000000" pitchFamily="34" charset="-128"/>
                  <a:cs typeface="Arial"/>
                  <a:sym typeface="Arial"/>
                </a:rPr>
                <a:t>Ligação à manose</a:t>
              </a:r>
              <a:br>
                <a:rPr lang="en-US" sz="1400" b="1">
                  <a:solidFill>
                    <a:srgbClr val="FFFFFF"/>
                  </a:solidFill>
                  <a:latin typeface="+mj-lt"/>
                  <a:ea typeface="ヒラギノ角ゴ Pro W3" panose="020B0300000000000000" pitchFamily="34" charset="-128"/>
                  <a:cs typeface="Arial"/>
                  <a:sym typeface="Arial"/>
                </a:rPr>
              </a:br>
              <a:r>
                <a:rPr lang="en-US" sz="1400" b="1">
                  <a:solidFill>
                    <a:srgbClr val="FFFFFF"/>
                  </a:solidFill>
                  <a:latin typeface="+mj-lt"/>
                  <a:ea typeface="ヒラギノ角ゴ Pro W3" panose="020B0300000000000000" pitchFamily="34" charset="-128"/>
                  <a:cs typeface="Arial"/>
                  <a:sym typeface="Arial"/>
                </a:rPr>
                <a:t>via da lectina</a:t>
              </a:r>
            </a:p>
          </p:txBody>
        </p:sp>
        <p:cxnSp>
          <p:nvCxnSpPr>
            <p:cNvPr id="30" name="Conector de Seta Reta 29">
              <a:extLst>
                <a:ext uri="{FF2B5EF4-FFF2-40B4-BE49-F238E27FC236}">
                  <a16:creationId xmlns:a16="http://schemas.microsoft.com/office/drawing/2014/main" id="{B7C5DE20-351B-CF5C-864F-55F75C1B8904}"/>
                </a:ext>
              </a:extLst>
            </p:cNvPr>
            <p:cNvCxnSpPr/>
            <p:nvPr/>
          </p:nvCxnSpPr>
          <p:spPr>
            <a:xfrm>
              <a:off x="8552219" y="1635085"/>
              <a:ext cx="0" cy="434800"/>
            </a:xfrm>
            <a:prstGeom prst="straightConnector1">
              <a:avLst/>
            </a:prstGeom>
            <a:ln w="127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Conector de Seta Reta 30">
              <a:extLst>
                <a:ext uri="{FF2B5EF4-FFF2-40B4-BE49-F238E27FC236}">
                  <a16:creationId xmlns:a16="http://schemas.microsoft.com/office/drawing/2014/main" id="{F496ADDC-84FD-1FB0-FC83-4091F809CEF7}"/>
                </a:ext>
              </a:extLst>
            </p:cNvPr>
            <p:cNvCxnSpPr>
              <a:cxnSpLocks/>
            </p:cNvCxnSpPr>
            <p:nvPr/>
          </p:nvCxnSpPr>
          <p:spPr>
            <a:xfrm rot="5400000">
              <a:off x="8126613" y="2149382"/>
              <a:ext cx="0" cy="434800"/>
            </a:xfrm>
            <a:prstGeom prst="straightConnector1">
              <a:avLst/>
            </a:prstGeom>
            <a:ln w="127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Conector de Seta Reta 31">
              <a:extLst>
                <a:ext uri="{FF2B5EF4-FFF2-40B4-BE49-F238E27FC236}">
                  <a16:creationId xmlns:a16="http://schemas.microsoft.com/office/drawing/2014/main" id="{6F72DA17-18FE-56DF-7632-527FAAC68ABC}"/>
                </a:ext>
              </a:extLst>
            </p:cNvPr>
            <p:cNvCxnSpPr>
              <a:cxnSpLocks/>
            </p:cNvCxnSpPr>
            <p:nvPr/>
          </p:nvCxnSpPr>
          <p:spPr>
            <a:xfrm rot="16200000" flipH="1">
              <a:off x="8995100" y="2149382"/>
              <a:ext cx="0" cy="434800"/>
            </a:xfrm>
            <a:prstGeom prst="straightConnector1">
              <a:avLst/>
            </a:prstGeom>
            <a:ln w="127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Conector de Seta Reta 32">
              <a:extLst>
                <a:ext uri="{FF2B5EF4-FFF2-40B4-BE49-F238E27FC236}">
                  <a16:creationId xmlns:a16="http://schemas.microsoft.com/office/drawing/2014/main" id="{C3840045-5F9F-A5CA-C898-AA9D13E5A6E3}"/>
                </a:ext>
              </a:extLst>
            </p:cNvPr>
            <p:cNvCxnSpPr>
              <a:cxnSpLocks/>
            </p:cNvCxnSpPr>
            <p:nvPr/>
          </p:nvCxnSpPr>
          <p:spPr>
            <a:xfrm>
              <a:off x="8552219" y="2664494"/>
              <a:ext cx="0" cy="238983"/>
            </a:xfrm>
            <a:prstGeom prst="straightConnector1">
              <a:avLst/>
            </a:prstGeom>
            <a:ln w="127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4" name="Freeform 8876">
              <a:extLst>
                <a:ext uri="{FF2B5EF4-FFF2-40B4-BE49-F238E27FC236}">
                  <a16:creationId xmlns:a16="http://schemas.microsoft.com/office/drawing/2014/main" id="{CE922F27-D254-1D56-B5B3-527D8B78A98F}"/>
                </a:ext>
              </a:extLst>
            </p:cNvPr>
            <p:cNvSpPr/>
            <p:nvPr/>
          </p:nvSpPr>
          <p:spPr>
            <a:xfrm>
              <a:off x="9233922" y="3516133"/>
              <a:ext cx="461313" cy="373027"/>
            </a:xfrm>
            <a:custGeom>
              <a:avLst/>
              <a:gdLst>
                <a:gd name="connsiteX0" fmla="*/ 398187 w 461313"/>
                <a:gd name="connsiteY0" fmla="*/ 22670 h 373026"/>
                <a:gd name="connsiteX1" fmla="*/ 415999 w 461313"/>
                <a:gd name="connsiteY1" fmla="*/ 0 h 373026"/>
                <a:gd name="connsiteX2" fmla="*/ 432316 w 461313"/>
                <a:gd name="connsiteY2" fmla="*/ 15071 h 373026"/>
                <a:gd name="connsiteX3" fmla="*/ 437298 w 461313"/>
                <a:gd name="connsiteY3" fmla="*/ 142743 h 373026"/>
                <a:gd name="connsiteX4" fmla="*/ 251084 w 461313"/>
                <a:gd name="connsiteY4" fmla="*/ 344028 h 373026"/>
                <a:gd name="connsiteX5" fmla="*/ 123413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1"/>
                  </a:lnTo>
                  <a:cubicBezTo>
                    <a:pt x="468936" y="48951"/>
                    <a:pt x="471178" y="106123"/>
                    <a:pt x="437298" y="142743"/>
                  </a:cubicBezTo>
                  <a:lnTo>
                    <a:pt x="251084" y="344028"/>
                  </a:lnTo>
                  <a:cubicBezTo>
                    <a:pt x="217205" y="380648"/>
                    <a:pt x="160033" y="382891"/>
                    <a:pt x="123413" y="349011"/>
                  </a:cubicBezTo>
                  <a:lnTo>
                    <a:pt x="28998" y="261696"/>
                  </a:lnTo>
                  <a:cubicBezTo>
                    <a:pt x="-7622" y="227816"/>
                    <a:pt x="-9864" y="170644"/>
                    <a:pt x="24016" y="134024"/>
                  </a:cubicBezTo>
                  <a:lnTo>
                    <a:pt x="122914" y="27029"/>
                  </a:lnTo>
                  <a:cubicBezTo>
                    <a:pt x="124907" y="29022"/>
                    <a:pt x="126776" y="31139"/>
                    <a:pt x="128893" y="33132"/>
                  </a:cubicBezTo>
                  <a:cubicBezTo>
                    <a:pt x="206119" y="104753"/>
                    <a:pt x="326691" y="100020"/>
                    <a:pt x="398187" y="22670"/>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5" name="Freeform 8942">
              <a:extLst>
                <a:ext uri="{FF2B5EF4-FFF2-40B4-BE49-F238E27FC236}">
                  <a16:creationId xmlns:a16="http://schemas.microsoft.com/office/drawing/2014/main" id="{60958F46-D047-6CC2-5F68-AD7BFF09F254}"/>
                </a:ext>
              </a:extLst>
            </p:cNvPr>
            <p:cNvSpPr/>
            <p:nvPr/>
          </p:nvSpPr>
          <p:spPr>
            <a:xfrm>
              <a:off x="8412157" y="3493425"/>
              <a:ext cx="291589" cy="428727"/>
            </a:xfrm>
            <a:custGeom>
              <a:avLst/>
              <a:gdLst>
                <a:gd name="connsiteX0" fmla="*/ 205147 w 291589"/>
                <a:gd name="connsiteY0" fmla="*/ 428728 h 428727"/>
                <a:gd name="connsiteX1" fmla="*/ 86443 w 291589"/>
                <a:gd name="connsiteY1" fmla="*/ 428728 h 428727"/>
                <a:gd name="connsiteX2" fmla="*/ 0 w 291589"/>
                <a:gd name="connsiteY2" fmla="*/ 342285 h 428727"/>
                <a:gd name="connsiteX3" fmla="*/ 0 w 291589"/>
                <a:gd name="connsiteY3" fmla="*/ 86443 h 428727"/>
                <a:gd name="connsiteX4" fmla="*/ 86443 w 291589"/>
                <a:gd name="connsiteY4" fmla="*/ 0 h 428727"/>
                <a:gd name="connsiteX5" fmla="*/ 205147 w 291589"/>
                <a:gd name="connsiteY5" fmla="*/ 0 h 428727"/>
                <a:gd name="connsiteX6" fmla="*/ 291589 w 291589"/>
                <a:gd name="connsiteY6" fmla="*/ 86443 h 428727"/>
                <a:gd name="connsiteX7" fmla="*/ 291589 w 291589"/>
                <a:gd name="connsiteY7" fmla="*/ 342285 h 428727"/>
                <a:gd name="connsiteX8" fmla="*/ 205147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7" y="428728"/>
                  </a:moveTo>
                  <a:lnTo>
                    <a:pt x="86443" y="428728"/>
                  </a:lnTo>
                  <a:cubicBezTo>
                    <a:pt x="38737" y="428728"/>
                    <a:pt x="0" y="389990"/>
                    <a:pt x="0" y="342285"/>
                  </a:cubicBezTo>
                  <a:lnTo>
                    <a:pt x="0" y="86443"/>
                  </a:lnTo>
                  <a:cubicBezTo>
                    <a:pt x="0" y="38738"/>
                    <a:pt x="38737" y="0"/>
                    <a:pt x="86443" y="0"/>
                  </a:cubicBezTo>
                  <a:lnTo>
                    <a:pt x="205147" y="0"/>
                  </a:lnTo>
                  <a:cubicBezTo>
                    <a:pt x="252852" y="0"/>
                    <a:pt x="291589" y="38738"/>
                    <a:pt x="291589" y="86443"/>
                  </a:cubicBezTo>
                  <a:lnTo>
                    <a:pt x="291589" y="342285"/>
                  </a:lnTo>
                  <a:cubicBezTo>
                    <a:pt x="291589" y="390115"/>
                    <a:pt x="252852" y="428728"/>
                    <a:pt x="205147" y="428728"/>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6" name="Freeform 8952">
              <a:extLst>
                <a:ext uri="{FF2B5EF4-FFF2-40B4-BE49-F238E27FC236}">
                  <a16:creationId xmlns:a16="http://schemas.microsoft.com/office/drawing/2014/main" id="{3C291567-1144-1EF7-4ACC-CD19CABF8D8B}"/>
                </a:ext>
              </a:extLst>
            </p:cNvPr>
            <p:cNvSpPr/>
            <p:nvPr/>
          </p:nvSpPr>
          <p:spPr>
            <a:xfrm>
              <a:off x="10424012" y="3413723"/>
              <a:ext cx="457155" cy="312031"/>
            </a:xfrm>
            <a:custGeom>
              <a:avLst/>
              <a:gdLst>
                <a:gd name="connsiteX0" fmla="*/ 428119 w 457154"/>
                <a:gd name="connsiteY0" fmla="*/ 195929 h 312030"/>
                <a:gd name="connsiteX1" fmla="*/ 456767 w 457154"/>
                <a:gd name="connsiteY1" fmla="*/ 193064 h 312030"/>
                <a:gd name="connsiteX2" fmla="*/ 457141 w 457154"/>
                <a:gd name="connsiteY2" fmla="*/ 215236 h 312030"/>
                <a:gd name="connsiteX3" fmla="*/ 368331 w 457154"/>
                <a:gd name="connsiteY3" fmla="*/ 307159 h 312030"/>
                <a:gd name="connsiteX4" fmla="*/ 94180 w 457154"/>
                <a:gd name="connsiteY4" fmla="*/ 312017 h 312030"/>
                <a:gd name="connsiteX5" fmla="*/ 2256 w 457154"/>
                <a:gd name="connsiteY5" fmla="*/ 223208 h 312030"/>
                <a:gd name="connsiteX6" fmla="*/ 14 w 457154"/>
                <a:gd name="connsiteY6" fmla="*/ 94539 h 312030"/>
                <a:gd name="connsiteX7" fmla="*/ 88824 w 457154"/>
                <a:gd name="connsiteY7" fmla="*/ 2616 h 312030"/>
                <a:gd name="connsiteX8" fmla="*/ 234432 w 457154"/>
                <a:gd name="connsiteY8" fmla="*/ 0 h 312030"/>
                <a:gd name="connsiteX9" fmla="*/ 234182 w 457154"/>
                <a:gd name="connsiteY9" fmla="*/ 8595 h 312030"/>
                <a:gd name="connsiteX10" fmla="*/ 428119 w 457154"/>
                <a:gd name="connsiteY10" fmla="*/ 195929 h 3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54" h="312030">
                  <a:moveTo>
                    <a:pt x="428119" y="195929"/>
                  </a:moveTo>
                  <a:cubicBezTo>
                    <a:pt x="437959" y="195805"/>
                    <a:pt x="447425" y="194559"/>
                    <a:pt x="456767" y="193064"/>
                  </a:cubicBezTo>
                  <a:lnTo>
                    <a:pt x="457141" y="215236"/>
                  </a:lnTo>
                  <a:cubicBezTo>
                    <a:pt x="458013" y="265183"/>
                    <a:pt x="418279" y="306287"/>
                    <a:pt x="368331" y="307159"/>
                  </a:cubicBezTo>
                  <a:lnTo>
                    <a:pt x="94180" y="312017"/>
                  </a:lnTo>
                  <a:cubicBezTo>
                    <a:pt x="44232" y="312889"/>
                    <a:pt x="3128" y="273155"/>
                    <a:pt x="2256" y="223208"/>
                  </a:cubicBezTo>
                  <a:lnTo>
                    <a:pt x="14" y="94539"/>
                  </a:lnTo>
                  <a:cubicBezTo>
                    <a:pt x="-858" y="44591"/>
                    <a:pt x="38876" y="3488"/>
                    <a:pt x="88824" y="2616"/>
                  </a:cubicBezTo>
                  <a:lnTo>
                    <a:pt x="234432" y="0"/>
                  </a:lnTo>
                  <a:cubicBezTo>
                    <a:pt x="234307" y="2865"/>
                    <a:pt x="234058" y="5605"/>
                    <a:pt x="234182" y="8595"/>
                  </a:cubicBezTo>
                  <a:cubicBezTo>
                    <a:pt x="236051" y="113970"/>
                    <a:pt x="322867" y="197798"/>
                    <a:pt x="428119" y="195929"/>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kern="0">
                <a:solidFill>
                  <a:srgbClr val="37302C"/>
                </a:solidFill>
                <a:ea typeface="ヒラギノ角ゴ Pro W3" panose="020B0300000000000000" pitchFamily="34" charset="-128"/>
                <a:cs typeface="Arial"/>
              </a:endParaRPr>
            </a:p>
          </p:txBody>
        </p:sp>
        <p:sp>
          <p:nvSpPr>
            <p:cNvPr id="37" name="Freeform 8976">
              <a:extLst>
                <a:ext uri="{FF2B5EF4-FFF2-40B4-BE49-F238E27FC236}">
                  <a16:creationId xmlns:a16="http://schemas.microsoft.com/office/drawing/2014/main" id="{00388BB8-78B9-28E0-664F-90CFFFB24524}"/>
                </a:ext>
              </a:extLst>
            </p:cNvPr>
            <p:cNvSpPr/>
            <p:nvPr/>
          </p:nvSpPr>
          <p:spPr>
            <a:xfrm>
              <a:off x="7679997" y="3577597"/>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8 w 178681"/>
                <a:gd name="connsiteY4" fmla="*/ 291839 h 291838"/>
                <a:gd name="connsiteX5" fmla="*/ 163021 w 178681"/>
                <a:gd name="connsiteY5" fmla="*/ 185716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1" y="227940"/>
                    <a:pt x="83180" y="287354"/>
                  </a:cubicBezTo>
                  <a:cubicBezTo>
                    <a:pt x="85546" y="288974"/>
                    <a:pt x="88038" y="290344"/>
                    <a:pt x="90528" y="291839"/>
                  </a:cubicBezTo>
                  <a:lnTo>
                    <a:pt x="163021" y="185716"/>
                  </a:lnTo>
                  <a:cubicBezTo>
                    <a:pt x="191047" y="144362"/>
                    <a:pt x="180459" y="88187"/>
                    <a:pt x="139231" y="60037"/>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 name="TextBox 5596">
              <a:extLst>
                <a:ext uri="{FF2B5EF4-FFF2-40B4-BE49-F238E27FC236}">
                  <a16:creationId xmlns:a16="http://schemas.microsoft.com/office/drawing/2014/main" id="{2D1C0B67-30C6-2FDB-06DB-19478EB98A3B}"/>
                </a:ext>
              </a:extLst>
            </p:cNvPr>
            <p:cNvSpPr txBox="1"/>
            <p:nvPr/>
          </p:nvSpPr>
          <p:spPr>
            <a:xfrm>
              <a:off x="8389538" y="3571513"/>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a:t>
              </a:r>
            </a:p>
          </p:txBody>
        </p:sp>
        <p:sp>
          <p:nvSpPr>
            <p:cNvPr id="51" name="Freeform 8944">
              <a:extLst>
                <a:ext uri="{FF2B5EF4-FFF2-40B4-BE49-F238E27FC236}">
                  <a16:creationId xmlns:a16="http://schemas.microsoft.com/office/drawing/2014/main" id="{6946CA7B-28E0-20FD-1E1F-A58602776DD1}"/>
                </a:ext>
              </a:extLst>
            </p:cNvPr>
            <p:cNvSpPr/>
            <p:nvPr/>
          </p:nvSpPr>
          <p:spPr>
            <a:xfrm>
              <a:off x="9980887" y="3413723"/>
              <a:ext cx="428727" cy="291589"/>
            </a:xfrm>
            <a:custGeom>
              <a:avLst/>
              <a:gdLst>
                <a:gd name="connsiteX0" fmla="*/ 428727 w 428727"/>
                <a:gd name="connsiteY0" fmla="*/ 86443 h 291589"/>
                <a:gd name="connsiteX1" fmla="*/ 428727 w 428727"/>
                <a:gd name="connsiteY1" fmla="*/ 205147 h 291589"/>
                <a:gd name="connsiteX2" fmla="*/ 342284 w 428727"/>
                <a:gd name="connsiteY2" fmla="*/ 291590 h 291589"/>
                <a:gd name="connsiteX3" fmla="*/ 86443 w 428727"/>
                <a:gd name="connsiteY3" fmla="*/ 291590 h 291589"/>
                <a:gd name="connsiteX4" fmla="*/ 0 w 428727"/>
                <a:gd name="connsiteY4" fmla="*/ 205147 h 291589"/>
                <a:gd name="connsiteX5" fmla="*/ 0 w 428727"/>
                <a:gd name="connsiteY5" fmla="*/ 86443 h 291589"/>
                <a:gd name="connsiteX6" fmla="*/ 86443 w 428727"/>
                <a:gd name="connsiteY6" fmla="*/ 0 h 291589"/>
                <a:gd name="connsiteX7" fmla="*/ 342284 w 428727"/>
                <a:gd name="connsiteY7" fmla="*/ 0 h 291589"/>
                <a:gd name="connsiteX8" fmla="*/ 428727 w 428727"/>
                <a:gd name="connsiteY8" fmla="*/ 86443 h 29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27" h="291589">
                  <a:moveTo>
                    <a:pt x="428727" y="86443"/>
                  </a:moveTo>
                  <a:lnTo>
                    <a:pt x="428727" y="205147"/>
                  </a:lnTo>
                  <a:cubicBezTo>
                    <a:pt x="428727" y="252852"/>
                    <a:pt x="389990" y="291590"/>
                    <a:pt x="342284" y="291590"/>
                  </a:cubicBezTo>
                  <a:lnTo>
                    <a:pt x="86443" y="291590"/>
                  </a:lnTo>
                  <a:cubicBezTo>
                    <a:pt x="38737" y="291590"/>
                    <a:pt x="0" y="252852"/>
                    <a:pt x="0" y="205147"/>
                  </a:cubicBezTo>
                  <a:lnTo>
                    <a:pt x="0" y="86443"/>
                  </a:lnTo>
                  <a:cubicBezTo>
                    <a:pt x="0" y="38738"/>
                    <a:pt x="38737" y="0"/>
                    <a:pt x="86443" y="0"/>
                  </a:cubicBezTo>
                  <a:lnTo>
                    <a:pt x="342284" y="0"/>
                  </a:lnTo>
                  <a:cubicBezTo>
                    <a:pt x="390115" y="0"/>
                    <a:pt x="428727" y="38738"/>
                    <a:pt x="428727" y="86443"/>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 name="TextBox 5598">
              <a:extLst>
                <a:ext uri="{FF2B5EF4-FFF2-40B4-BE49-F238E27FC236}">
                  <a16:creationId xmlns:a16="http://schemas.microsoft.com/office/drawing/2014/main" id="{5ED9BEF2-A5EE-20E2-5582-D204E8F81CB0}"/>
                </a:ext>
              </a:extLst>
            </p:cNvPr>
            <p:cNvSpPr txBox="1"/>
            <p:nvPr/>
          </p:nvSpPr>
          <p:spPr>
            <a:xfrm>
              <a:off x="9986149" y="3418795"/>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6</a:t>
              </a:r>
            </a:p>
          </p:txBody>
        </p:sp>
        <p:sp>
          <p:nvSpPr>
            <p:cNvPr id="53" name="TextBox 5599">
              <a:extLst>
                <a:ext uri="{FF2B5EF4-FFF2-40B4-BE49-F238E27FC236}">
                  <a16:creationId xmlns:a16="http://schemas.microsoft.com/office/drawing/2014/main" id="{F785E6AC-E55F-A8BF-D297-47CE6DAA72F2}"/>
                </a:ext>
              </a:extLst>
            </p:cNvPr>
            <p:cNvSpPr txBox="1"/>
            <p:nvPr/>
          </p:nvSpPr>
          <p:spPr>
            <a:xfrm>
              <a:off x="7274983" y="3574165"/>
              <a:ext cx="393056"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accent4"/>
                  </a:solidFill>
                  <a:ea typeface="ヒラギノ角ゴ Pro W3" panose="020B0300000000000000" pitchFamily="34" charset="-128"/>
                  <a:cs typeface="Arial"/>
                  <a:sym typeface="Arial"/>
                </a:rPr>
                <a:t>C5a</a:t>
              </a:r>
            </a:p>
          </p:txBody>
        </p:sp>
        <p:sp>
          <p:nvSpPr>
            <p:cNvPr id="54" name="TextBox 5600">
              <a:extLst>
                <a:ext uri="{FF2B5EF4-FFF2-40B4-BE49-F238E27FC236}">
                  <a16:creationId xmlns:a16="http://schemas.microsoft.com/office/drawing/2014/main" id="{A60960B0-8450-BD9A-2FF2-720F04E9FBB6}"/>
                </a:ext>
              </a:extLst>
            </p:cNvPr>
            <p:cNvSpPr txBox="1"/>
            <p:nvPr/>
          </p:nvSpPr>
          <p:spPr>
            <a:xfrm>
              <a:off x="9215369" y="3572784"/>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bg1"/>
                  </a:solidFill>
                  <a:ea typeface="ヒラギノ角ゴ Pro W3" panose="020B0300000000000000" pitchFamily="34" charset="-128"/>
                  <a:cs typeface="Arial"/>
                  <a:sym typeface="Arial"/>
                </a:rPr>
                <a:t>C5b</a:t>
              </a:r>
            </a:p>
          </p:txBody>
        </p:sp>
        <p:sp>
          <p:nvSpPr>
            <p:cNvPr id="57" name="TextBox 5603">
              <a:extLst>
                <a:ext uri="{FF2B5EF4-FFF2-40B4-BE49-F238E27FC236}">
                  <a16:creationId xmlns:a16="http://schemas.microsoft.com/office/drawing/2014/main" id="{5914F8A3-DA2F-0072-62C0-F38621870E26}"/>
                </a:ext>
              </a:extLst>
            </p:cNvPr>
            <p:cNvSpPr txBox="1"/>
            <p:nvPr/>
          </p:nvSpPr>
          <p:spPr>
            <a:xfrm>
              <a:off x="10391124" y="3463110"/>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b</a:t>
              </a:r>
            </a:p>
          </p:txBody>
        </p:sp>
        <p:sp>
          <p:nvSpPr>
            <p:cNvPr id="58" name="TextBox 5604">
              <a:extLst>
                <a:ext uri="{FF2B5EF4-FFF2-40B4-BE49-F238E27FC236}">
                  <a16:creationId xmlns:a16="http://schemas.microsoft.com/office/drawing/2014/main" id="{AD155713-20BE-C4F6-3E31-63BC715A7244}"/>
                </a:ext>
              </a:extLst>
            </p:cNvPr>
            <p:cNvSpPr txBox="1"/>
            <p:nvPr/>
          </p:nvSpPr>
          <p:spPr>
            <a:xfrm>
              <a:off x="10859121" y="3576826"/>
              <a:ext cx="375424"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C9</a:t>
              </a:r>
              <a:r>
                <a:rPr lang="en-US" sz="1067" b="1" baseline="-25000" dirty="0">
                  <a:solidFill>
                    <a:srgbClr val="000000"/>
                  </a:solidFill>
                  <a:ea typeface="ヒラギノ角ゴ Pro W3" panose="020B0300000000000000" pitchFamily="34" charset="-128"/>
                  <a:cs typeface="Arial"/>
                  <a:sym typeface="Arial"/>
                </a:rPr>
                <a:t>n</a:t>
              </a:r>
            </a:p>
          </p:txBody>
        </p:sp>
        <p:sp>
          <p:nvSpPr>
            <p:cNvPr id="59" name="TextBox 5607">
              <a:extLst>
                <a:ext uri="{FF2B5EF4-FFF2-40B4-BE49-F238E27FC236}">
                  <a16:creationId xmlns:a16="http://schemas.microsoft.com/office/drawing/2014/main" id="{D031EA1E-F8A2-1A1D-518F-42FDCEAEB446}"/>
                </a:ext>
              </a:extLst>
            </p:cNvPr>
            <p:cNvSpPr txBox="1"/>
            <p:nvPr/>
          </p:nvSpPr>
          <p:spPr>
            <a:xfrm>
              <a:off x="7830609" y="2934223"/>
              <a:ext cx="1393587" cy="297454"/>
            </a:xfrm>
            <a:prstGeom prst="rect">
              <a:avLst/>
            </a:prstGeom>
            <a:noFill/>
          </p:spPr>
          <p:txBody>
            <a:bodyPr wrap="none" rtlCol="0">
              <a:spAutoFit/>
            </a:bodyPr>
            <a:lstStyle/>
            <a:p>
              <a:pPr defTabSz="914377" fontAlgn="base">
                <a:spcBef>
                  <a:spcPct val="0"/>
                </a:spcBef>
                <a:spcAft>
                  <a:spcPct val="0"/>
                </a:spcAft>
                <a:defRPr/>
              </a:pPr>
              <a:r>
                <a:rPr lang="en-US" sz="1333" b="1" dirty="0" err="1">
                  <a:solidFill>
                    <a:schemeClr val="tx2"/>
                  </a:solidFill>
                  <a:ea typeface="ヒラギノ角ゴ Pro W3" panose="020B0300000000000000" pitchFamily="34" charset="-128"/>
                  <a:cs typeface="Arial"/>
                  <a:sym typeface="Arial"/>
                </a:rPr>
                <a:t>Conversão</a:t>
              </a:r>
              <a:r>
                <a:rPr lang="en-US" sz="1333" b="1" dirty="0">
                  <a:solidFill>
                    <a:schemeClr val="tx2"/>
                  </a:solidFill>
                  <a:ea typeface="ヒラギノ角ゴ Pro W3" panose="020B0300000000000000" pitchFamily="34" charset="-128"/>
                  <a:cs typeface="Arial"/>
                  <a:sym typeface="Arial"/>
                </a:rPr>
                <a:t> de C5 </a:t>
              </a:r>
            </a:p>
          </p:txBody>
        </p:sp>
        <p:sp>
          <p:nvSpPr>
            <p:cNvPr id="60" name="TextBox 5619">
              <a:extLst>
                <a:ext uri="{FF2B5EF4-FFF2-40B4-BE49-F238E27FC236}">
                  <a16:creationId xmlns:a16="http://schemas.microsoft.com/office/drawing/2014/main" id="{98681CCF-A6D9-1B35-108E-890910E22B8E}"/>
                </a:ext>
              </a:extLst>
            </p:cNvPr>
            <p:cNvSpPr txBox="1"/>
            <p:nvPr/>
          </p:nvSpPr>
          <p:spPr>
            <a:xfrm>
              <a:off x="9923567" y="2903477"/>
              <a:ext cx="1648671"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chemeClr val="tx2"/>
                  </a:solidFill>
                  <a:ea typeface="ヒラギノ角ゴ Pro W3" panose="020B0300000000000000" pitchFamily="34" charset="-128"/>
                  <a:cs typeface="Arial"/>
                  <a:sym typeface="Arial"/>
                </a:rPr>
                <a:t>Complexo</a:t>
              </a:r>
              <a:r>
                <a:rPr lang="en-US" sz="1067" b="1" dirty="0">
                  <a:solidFill>
                    <a:schemeClr val="tx2"/>
                  </a:solidFill>
                  <a:ea typeface="ヒラギノ角ゴ Pro W3" panose="020B0300000000000000" pitchFamily="34" charset="-128"/>
                  <a:cs typeface="Arial"/>
                  <a:sym typeface="Arial"/>
                </a:rPr>
                <a:t> de </a:t>
              </a:r>
              <a:r>
                <a:rPr lang="en-US" sz="1067" b="1" dirty="0" err="1">
                  <a:solidFill>
                    <a:schemeClr val="tx2"/>
                  </a:solidFill>
                  <a:ea typeface="ヒラギノ角ゴ Pro W3" panose="020B0300000000000000" pitchFamily="34" charset="-128"/>
                  <a:cs typeface="Arial"/>
                  <a:sym typeface="Arial"/>
                </a:rPr>
                <a:t>ataque</a:t>
              </a:r>
              <a:r>
                <a:rPr lang="en-US" sz="1067" b="1" dirty="0">
                  <a:solidFill>
                    <a:schemeClr val="tx2"/>
                  </a:solidFill>
                  <a:ea typeface="ヒラギノ角ゴ Pro W3" panose="020B0300000000000000" pitchFamily="34" charset="-128"/>
                  <a:cs typeface="Arial"/>
                  <a:sym typeface="Arial"/>
                </a:rPr>
                <a:t> à membrana (MAC)</a:t>
              </a:r>
            </a:p>
          </p:txBody>
        </p:sp>
        <p:sp>
          <p:nvSpPr>
            <p:cNvPr id="62" name="TextBox 5626">
              <a:extLst>
                <a:ext uri="{FF2B5EF4-FFF2-40B4-BE49-F238E27FC236}">
                  <a16:creationId xmlns:a16="http://schemas.microsoft.com/office/drawing/2014/main" id="{66E83C79-69A4-E6B4-DC45-17AA33F10752}"/>
                </a:ext>
              </a:extLst>
            </p:cNvPr>
            <p:cNvSpPr txBox="1"/>
            <p:nvPr/>
          </p:nvSpPr>
          <p:spPr>
            <a:xfrm>
              <a:off x="5872814" y="3392040"/>
              <a:ext cx="2921427" cy="584775"/>
            </a:xfrm>
            <a:prstGeom prst="rect">
              <a:avLst/>
            </a:prstGeom>
            <a:noFill/>
          </p:spPr>
          <p:txBody>
            <a:bodyPr wrap="square" rtlCol="0">
              <a:spAutoFit/>
            </a:bodyPr>
            <a:lstStyle/>
            <a:p>
              <a:pPr defTabSz="914377" fontAlgn="base">
                <a:spcBef>
                  <a:spcPct val="0"/>
                </a:spcBef>
                <a:spcAft>
                  <a:spcPct val="0"/>
                </a:spcAft>
                <a:defRPr/>
              </a:pPr>
              <a:r>
                <a:rPr lang="en-US" sz="1600" b="1" dirty="0" err="1">
                  <a:solidFill>
                    <a:schemeClr val="tx2"/>
                  </a:solidFill>
                  <a:latin typeface="+mj-lt"/>
                  <a:ea typeface="ヒラギノ角ゴ Pro W3" panose="020B0300000000000000" pitchFamily="34" charset="-128"/>
                  <a:cs typeface="Arial"/>
                  <a:sym typeface="Arial"/>
                </a:rPr>
                <a:t>Complemento</a:t>
              </a:r>
              <a:r>
                <a:rPr lang="en-US" sz="1600" b="1" dirty="0">
                  <a:solidFill>
                    <a:schemeClr val="tx2"/>
                  </a:solidFill>
                  <a:latin typeface="+mj-lt"/>
                  <a:ea typeface="ヒラギノ角ゴ Pro W3" panose="020B0300000000000000" pitchFamily="34" charset="-128"/>
                  <a:cs typeface="Arial"/>
                  <a:sym typeface="Arial"/>
                </a:rPr>
                <a:t> </a:t>
              </a:r>
            </a:p>
            <a:p>
              <a:pPr defTabSz="914377" fontAlgn="base">
                <a:spcBef>
                  <a:spcPct val="0"/>
                </a:spcBef>
                <a:spcAft>
                  <a:spcPct val="0"/>
                </a:spcAft>
                <a:defRPr/>
              </a:pPr>
              <a:r>
                <a:rPr lang="en-US" sz="1600" b="1" dirty="0">
                  <a:solidFill>
                    <a:schemeClr val="tx2"/>
                  </a:solidFill>
                  <a:latin typeface="+mj-lt"/>
                  <a:ea typeface="ヒラギノ角ゴ Pro W3" panose="020B0300000000000000" pitchFamily="34" charset="-128"/>
                  <a:cs typeface="Arial"/>
                  <a:sym typeface="Arial"/>
                </a:rPr>
                <a:t>terminal</a:t>
              </a:r>
            </a:p>
          </p:txBody>
        </p:sp>
        <p:grpSp>
          <p:nvGrpSpPr>
            <p:cNvPr id="63" name="Graphic 2987">
              <a:extLst>
                <a:ext uri="{FF2B5EF4-FFF2-40B4-BE49-F238E27FC236}">
                  <a16:creationId xmlns:a16="http://schemas.microsoft.com/office/drawing/2014/main" id="{F58C1E5B-4898-ECB5-5412-AF2AFBF3D83E}"/>
                </a:ext>
              </a:extLst>
            </p:cNvPr>
            <p:cNvGrpSpPr/>
            <p:nvPr/>
          </p:nvGrpSpPr>
          <p:grpSpPr>
            <a:xfrm>
              <a:off x="10704326" y="3847541"/>
              <a:ext cx="654659" cy="689069"/>
              <a:chOff x="7861128" y="5428032"/>
              <a:chExt cx="654659" cy="689069"/>
            </a:xfrm>
            <a:solidFill>
              <a:srgbClr val="FFF4B5"/>
            </a:solidFill>
          </p:grpSpPr>
          <p:sp>
            <p:nvSpPr>
              <p:cNvPr id="64" name="Freeform 8866">
                <a:extLst>
                  <a:ext uri="{FF2B5EF4-FFF2-40B4-BE49-F238E27FC236}">
                    <a16:creationId xmlns:a16="http://schemas.microsoft.com/office/drawing/2014/main" id="{63A347F8-080C-650F-A472-6A3D4C8E3B98}"/>
                  </a:ext>
                </a:extLst>
              </p:cNvPr>
              <p:cNvSpPr/>
              <p:nvPr/>
            </p:nvSpPr>
            <p:spPr>
              <a:xfrm>
                <a:off x="8046923" y="5428173"/>
                <a:ext cx="277888" cy="606222"/>
              </a:xfrm>
              <a:custGeom>
                <a:avLst/>
                <a:gdLst>
                  <a:gd name="connsiteX0" fmla="*/ 272782 w 277888"/>
                  <a:gd name="connsiteY0" fmla="*/ 606222 h 606222"/>
                  <a:gd name="connsiteX1" fmla="*/ 0 w 277888"/>
                  <a:gd name="connsiteY1" fmla="*/ 603980 h 606222"/>
                  <a:gd name="connsiteX2" fmla="*/ 5107 w 277888"/>
                  <a:gd name="connsiteY2" fmla="*/ 0 h 606222"/>
                  <a:gd name="connsiteX3" fmla="*/ 277888 w 277888"/>
                  <a:gd name="connsiteY3" fmla="*/ 2242 h 606222"/>
                </a:gdLst>
                <a:ahLst/>
                <a:cxnLst>
                  <a:cxn ang="0">
                    <a:pos x="connsiteX0" y="connsiteY0"/>
                  </a:cxn>
                  <a:cxn ang="0">
                    <a:pos x="connsiteX1" y="connsiteY1"/>
                  </a:cxn>
                  <a:cxn ang="0">
                    <a:pos x="connsiteX2" y="connsiteY2"/>
                  </a:cxn>
                  <a:cxn ang="0">
                    <a:pos x="connsiteX3" y="connsiteY3"/>
                  </a:cxn>
                </a:cxnLst>
                <a:rect l="l" t="t" r="r" b="b"/>
                <a:pathLst>
                  <a:path w="277888" h="606222">
                    <a:moveTo>
                      <a:pt x="272782" y="606222"/>
                    </a:moveTo>
                    <a:lnTo>
                      <a:pt x="0" y="603980"/>
                    </a:lnTo>
                    <a:lnTo>
                      <a:pt x="5107" y="0"/>
                    </a:lnTo>
                    <a:lnTo>
                      <a:pt x="277888" y="2242"/>
                    </a:ln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nvGrpSpPr>
              <p:cNvPr id="65" name="Graphic 2987">
                <a:extLst>
                  <a:ext uri="{FF2B5EF4-FFF2-40B4-BE49-F238E27FC236}">
                    <a16:creationId xmlns:a16="http://schemas.microsoft.com/office/drawing/2014/main" id="{DB331D0D-F232-223F-92C0-D9202D1096BF}"/>
                  </a:ext>
                </a:extLst>
              </p:cNvPr>
              <p:cNvGrpSpPr/>
              <p:nvPr/>
            </p:nvGrpSpPr>
            <p:grpSpPr>
              <a:xfrm>
                <a:off x="7861128" y="5428032"/>
                <a:ext cx="253183" cy="684711"/>
                <a:chOff x="7861128" y="5428032"/>
                <a:chExt cx="253183" cy="684711"/>
              </a:xfrm>
              <a:solidFill>
                <a:srgbClr val="FFF4B5"/>
              </a:solidFill>
            </p:grpSpPr>
            <p:sp>
              <p:nvSpPr>
                <p:cNvPr id="71" name="Freeform 8868">
                  <a:extLst>
                    <a:ext uri="{FF2B5EF4-FFF2-40B4-BE49-F238E27FC236}">
                      <a16:creationId xmlns:a16="http://schemas.microsoft.com/office/drawing/2014/main" id="{EE8E74EE-AAD7-F712-F496-CDF0B1477879}"/>
                    </a:ext>
                  </a:extLst>
                </p:cNvPr>
                <p:cNvSpPr/>
                <p:nvPr/>
              </p:nvSpPr>
              <p:spPr>
                <a:xfrm>
                  <a:off x="7948772" y="5428032"/>
                  <a:ext cx="165539" cy="618321"/>
                </a:xfrm>
                <a:custGeom>
                  <a:avLst/>
                  <a:gdLst>
                    <a:gd name="connsiteX0" fmla="*/ 102387 w 165539"/>
                    <a:gd name="connsiteY0" fmla="*/ 17 h 618321"/>
                    <a:gd name="connsiteX1" fmla="*/ 165538 w 165539"/>
                    <a:gd name="connsiteY1" fmla="*/ 56441 h 618321"/>
                    <a:gd name="connsiteX2" fmla="*/ 160804 w 165539"/>
                    <a:gd name="connsiteY2" fmla="*/ 606613 h 618321"/>
                    <a:gd name="connsiteX3" fmla="*/ 115465 w 165539"/>
                    <a:gd name="connsiteY3" fmla="*/ 608107 h 618321"/>
                    <a:gd name="connsiteX4" fmla="*/ 74859 w 165539"/>
                    <a:gd name="connsiteY4" fmla="*/ 618321 h 618321"/>
                    <a:gd name="connsiteX5" fmla="*/ 79468 w 165539"/>
                    <a:gd name="connsiteY5" fmla="*/ 79734 h 618321"/>
                    <a:gd name="connsiteX6" fmla="*/ 0 w 165539"/>
                    <a:gd name="connsiteY6" fmla="*/ 16458 h 618321"/>
                    <a:gd name="connsiteX7" fmla="*/ 102387 w 165539"/>
                    <a:gd name="connsiteY7" fmla="*/ 17 h 6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39" h="618321">
                      <a:moveTo>
                        <a:pt x="102387" y="17"/>
                      </a:moveTo>
                      <a:cubicBezTo>
                        <a:pt x="144737" y="390"/>
                        <a:pt x="165786" y="24679"/>
                        <a:pt x="165538" y="56441"/>
                      </a:cubicBezTo>
                      <a:cubicBezTo>
                        <a:pt x="165288" y="88204"/>
                        <a:pt x="160804" y="606613"/>
                        <a:pt x="160804" y="606613"/>
                      </a:cubicBezTo>
                      <a:cubicBezTo>
                        <a:pt x="160804" y="606613"/>
                        <a:pt x="142494" y="604495"/>
                        <a:pt x="115465" y="608107"/>
                      </a:cubicBezTo>
                      <a:cubicBezTo>
                        <a:pt x="88436" y="611720"/>
                        <a:pt x="74859" y="618321"/>
                        <a:pt x="74859" y="618321"/>
                      </a:cubicBezTo>
                      <a:lnTo>
                        <a:pt x="79468" y="79734"/>
                      </a:lnTo>
                      <a:lnTo>
                        <a:pt x="0" y="16458"/>
                      </a:lnTo>
                      <a:cubicBezTo>
                        <a:pt x="0" y="16458"/>
                        <a:pt x="35873" y="-606"/>
                        <a:pt x="102387" y="17"/>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2" name="Freeform 8869">
                  <a:extLst>
                    <a:ext uri="{FF2B5EF4-FFF2-40B4-BE49-F238E27FC236}">
                      <a16:creationId xmlns:a16="http://schemas.microsoft.com/office/drawing/2014/main" id="{487FD6C3-DDD5-E4E0-4301-01C76AC4C459}"/>
                    </a:ext>
                  </a:extLst>
                </p:cNvPr>
                <p:cNvSpPr/>
                <p:nvPr/>
              </p:nvSpPr>
              <p:spPr>
                <a:xfrm>
                  <a:off x="7884750" y="5441747"/>
                  <a:ext cx="144613" cy="658414"/>
                </a:xfrm>
                <a:custGeom>
                  <a:avLst/>
                  <a:gdLst>
                    <a:gd name="connsiteX0" fmla="*/ 138881 w 144613"/>
                    <a:gd name="connsiteY0" fmla="*/ 604606 h 658414"/>
                    <a:gd name="connsiteX1" fmla="*/ 102137 w 144613"/>
                    <a:gd name="connsiteY1" fmla="*/ 623538 h 658414"/>
                    <a:gd name="connsiteX2" fmla="*/ 74236 w 144613"/>
                    <a:gd name="connsiteY2" fmla="*/ 658415 h 658414"/>
                    <a:gd name="connsiteX3" fmla="*/ 79592 w 144613"/>
                    <a:gd name="connsiteY3" fmla="*/ 91428 h 658414"/>
                    <a:gd name="connsiteX4" fmla="*/ 0 w 144613"/>
                    <a:gd name="connsiteY4" fmla="*/ 38367 h 658414"/>
                    <a:gd name="connsiteX5" fmla="*/ 92920 w 144613"/>
                    <a:gd name="connsiteY5" fmla="*/ 3 h 658414"/>
                    <a:gd name="connsiteX6" fmla="*/ 144611 w 144613"/>
                    <a:gd name="connsiteY6" fmla="*/ 44844 h 658414"/>
                    <a:gd name="connsiteX7" fmla="*/ 138881 w 144613"/>
                    <a:gd name="connsiteY7" fmla="*/ 604606 h 65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13" h="658414">
                      <a:moveTo>
                        <a:pt x="138881" y="604606"/>
                      </a:moveTo>
                      <a:cubicBezTo>
                        <a:pt x="138881" y="604606"/>
                        <a:pt x="123436" y="608342"/>
                        <a:pt x="102137" y="623538"/>
                      </a:cubicBezTo>
                      <a:cubicBezTo>
                        <a:pt x="80838" y="638734"/>
                        <a:pt x="74236" y="658415"/>
                        <a:pt x="74236" y="658415"/>
                      </a:cubicBezTo>
                      <a:lnTo>
                        <a:pt x="79592" y="91428"/>
                      </a:lnTo>
                      <a:lnTo>
                        <a:pt x="0" y="38367"/>
                      </a:lnTo>
                      <a:cubicBezTo>
                        <a:pt x="0" y="38367"/>
                        <a:pt x="42848" y="-371"/>
                        <a:pt x="92920" y="3"/>
                      </a:cubicBezTo>
                      <a:cubicBezTo>
                        <a:pt x="125678" y="252"/>
                        <a:pt x="144861" y="16818"/>
                        <a:pt x="144611" y="44844"/>
                      </a:cubicBezTo>
                      <a:cubicBezTo>
                        <a:pt x="144611" y="44844"/>
                        <a:pt x="138881" y="604606"/>
                        <a:pt x="138881" y="604606"/>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3" name="Freeform 8870">
                  <a:extLst>
                    <a:ext uri="{FF2B5EF4-FFF2-40B4-BE49-F238E27FC236}">
                      <a16:creationId xmlns:a16="http://schemas.microsoft.com/office/drawing/2014/main" id="{E6DDF793-8687-13AB-0A59-563D637E3FEC}"/>
                    </a:ext>
                  </a:extLst>
                </p:cNvPr>
                <p:cNvSpPr/>
                <p:nvPr/>
              </p:nvSpPr>
              <p:spPr>
                <a:xfrm>
                  <a:off x="7861128" y="5465538"/>
                  <a:ext cx="104003" cy="647204"/>
                </a:xfrm>
                <a:custGeom>
                  <a:avLst/>
                  <a:gdLst>
                    <a:gd name="connsiteX0" fmla="*/ 103961 w 104003"/>
                    <a:gd name="connsiteY0" fmla="*/ 49700 h 647204"/>
                    <a:gd name="connsiteX1" fmla="*/ 89140 w 104003"/>
                    <a:gd name="connsiteY1" fmla="*/ 16817 h 647204"/>
                    <a:gd name="connsiteX2" fmla="*/ 53391 w 104003"/>
                    <a:gd name="connsiteY2" fmla="*/ 2 h 647204"/>
                    <a:gd name="connsiteX3" fmla="*/ 23622 w 104003"/>
                    <a:gd name="connsiteY3" fmla="*/ 14575 h 647204"/>
                    <a:gd name="connsiteX4" fmla="*/ 5312 w 104003"/>
                    <a:gd name="connsiteY4" fmla="*/ 47334 h 647204"/>
                    <a:gd name="connsiteX5" fmla="*/ 3568 w 104003"/>
                    <a:gd name="connsiteY5" fmla="*/ 52316 h 647204"/>
                    <a:gd name="connsiteX6" fmla="*/ 6433 w 104003"/>
                    <a:gd name="connsiteY6" fmla="*/ 91676 h 647204"/>
                    <a:gd name="connsiteX7" fmla="*/ 49904 w 104003"/>
                    <a:gd name="connsiteY7" fmla="*/ 93295 h 647204"/>
                    <a:gd name="connsiteX8" fmla="*/ 84032 w 104003"/>
                    <a:gd name="connsiteY8" fmla="*/ 113972 h 647204"/>
                    <a:gd name="connsiteX9" fmla="*/ 78302 w 104003"/>
                    <a:gd name="connsiteY9" fmla="*/ 635869 h 647204"/>
                    <a:gd name="connsiteX10" fmla="*/ 88143 w 104003"/>
                    <a:gd name="connsiteY10" fmla="*/ 647203 h 647204"/>
                    <a:gd name="connsiteX11" fmla="*/ 97983 w 104003"/>
                    <a:gd name="connsiteY11" fmla="*/ 634499 h 647204"/>
                    <a:gd name="connsiteX12" fmla="*/ 103961 w 104003"/>
                    <a:gd name="connsiteY12" fmla="*/ 49700 h 64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003" h="647204">
                      <a:moveTo>
                        <a:pt x="103961" y="49700"/>
                      </a:moveTo>
                      <a:cubicBezTo>
                        <a:pt x="102716" y="37494"/>
                        <a:pt x="97983" y="25661"/>
                        <a:pt x="89140" y="16817"/>
                      </a:cubicBezTo>
                      <a:cubicBezTo>
                        <a:pt x="84406" y="12084"/>
                        <a:pt x="68463" y="126"/>
                        <a:pt x="53391" y="2"/>
                      </a:cubicBezTo>
                      <a:cubicBezTo>
                        <a:pt x="38320" y="-123"/>
                        <a:pt x="31469" y="6354"/>
                        <a:pt x="23622" y="14575"/>
                      </a:cubicBezTo>
                      <a:cubicBezTo>
                        <a:pt x="14903" y="23792"/>
                        <a:pt x="8550" y="35127"/>
                        <a:pt x="5312" y="47334"/>
                      </a:cubicBezTo>
                      <a:cubicBezTo>
                        <a:pt x="4689" y="48953"/>
                        <a:pt x="4066" y="50697"/>
                        <a:pt x="3568" y="52316"/>
                      </a:cubicBezTo>
                      <a:cubicBezTo>
                        <a:pt x="-542" y="65270"/>
                        <a:pt x="-2784" y="80217"/>
                        <a:pt x="6433" y="91676"/>
                      </a:cubicBezTo>
                      <a:cubicBezTo>
                        <a:pt x="18017" y="105876"/>
                        <a:pt x="35579" y="95039"/>
                        <a:pt x="49904" y="93295"/>
                      </a:cubicBezTo>
                      <a:cubicBezTo>
                        <a:pt x="57501" y="92424"/>
                        <a:pt x="84157" y="90181"/>
                        <a:pt x="84032" y="113972"/>
                      </a:cubicBezTo>
                      <a:cubicBezTo>
                        <a:pt x="83908" y="122816"/>
                        <a:pt x="77804" y="634748"/>
                        <a:pt x="78302" y="635869"/>
                      </a:cubicBezTo>
                      <a:cubicBezTo>
                        <a:pt x="77804" y="641349"/>
                        <a:pt x="81043" y="647203"/>
                        <a:pt x="88143" y="647203"/>
                      </a:cubicBezTo>
                      <a:cubicBezTo>
                        <a:pt x="95865" y="647328"/>
                        <a:pt x="99104" y="640353"/>
                        <a:pt x="97983" y="634499"/>
                      </a:cubicBezTo>
                      <a:cubicBezTo>
                        <a:pt x="98107" y="634000"/>
                        <a:pt x="104585" y="55181"/>
                        <a:pt x="103961" y="49700"/>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nvGrpSpPr>
              <p:cNvPr id="66" name="Graphic 2987">
                <a:extLst>
                  <a:ext uri="{FF2B5EF4-FFF2-40B4-BE49-F238E27FC236}">
                    <a16:creationId xmlns:a16="http://schemas.microsoft.com/office/drawing/2014/main" id="{C7683648-50CD-9038-9B58-EE161CF5764B}"/>
                  </a:ext>
                </a:extLst>
              </p:cNvPr>
              <p:cNvGrpSpPr/>
              <p:nvPr/>
            </p:nvGrpSpPr>
            <p:grpSpPr>
              <a:xfrm>
                <a:off x="8258796" y="5430411"/>
                <a:ext cx="256991" cy="686690"/>
                <a:chOff x="8258796" y="5430411"/>
                <a:chExt cx="256991" cy="686690"/>
              </a:xfrm>
              <a:solidFill>
                <a:srgbClr val="FFF4B5"/>
              </a:solidFill>
            </p:grpSpPr>
            <p:sp>
              <p:nvSpPr>
                <p:cNvPr id="68" name="Freeform 8872">
                  <a:extLst>
                    <a:ext uri="{FF2B5EF4-FFF2-40B4-BE49-F238E27FC236}">
                      <a16:creationId xmlns:a16="http://schemas.microsoft.com/office/drawing/2014/main" id="{A41A69FD-8E9E-F477-3AC8-4F180B10B69C}"/>
                    </a:ext>
                  </a:extLst>
                </p:cNvPr>
                <p:cNvSpPr/>
                <p:nvPr/>
              </p:nvSpPr>
              <p:spPr>
                <a:xfrm>
                  <a:off x="8258796" y="5430411"/>
                  <a:ext cx="170893" cy="618807"/>
                </a:xfrm>
                <a:custGeom>
                  <a:avLst/>
                  <a:gdLst>
                    <a:gd name="connsiteX0" fmla="*/ 68881 w 170893"/>
                    <a:gd name="connsiteY0" fmla="*/ 4 h 618807"/>
                    <a:gd name="connsiteX1" fmla="*/ 4733 w 170893"/>
                    <a:gd name="connsiteY1" fmla="*/ 55308 h 618807"/>
                    <a:gd name="connsiteX2" fmla="*/ 0 w 170893"/>
                    <a:gd name="connsiteY2" fmla="*/ 605479 h 618807"/>
                    <a:gd name="connsiteX3" fmla="*/ 45339 w 170893"/>
                    <a:gd name="connsiteY3" fmla="*/ 607846 h 618807"/>
                    <a:gd name="connsiteX4" fmla="*/ 85696 w 170893"/>
                    <a:gd name="connsiteY4" fmla="*/ 618807 h 618807"/>
                    <a:gd name="connsiteX5" fmla="*/ 90304 w 170893"/>
                    <a:gd name="connsiteY5" fmla="*/ 80219 h 618807"/>
                    <a:gd name="connsiteX6" fmla="*/ 170894 w 170893"/>
                    <a:gd name="connsiteY6" fmla="*/ 18190 h 618807"/>
                    <a:gd name="connsiteX7" fmla="*/ 68881 w 170893"/>
                    <a:gd name="connsiteY7" fmla="*/ 4 h 6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93" h="618807">
                      <a:moveTo>
                        <a:pt x="68881" y="4"/>
                      </a:moveTo>
                      <a:cubicBezTo>
                        <a:pt x="26531" y="-369"/>
                        <a:pt x="5107" y="23546"/>
                        <a:pt x="4733" y="55308"/>
                      </a:cubicBezTo>
                      <a:cubicBezTo>
                        <a:pt x="4484" y="87070"/>
                        <a:pt x="0" y="605479"/>
                        <a:pt x="0" y="605479"/>
                      </a:cubicBezTo>
                      <a:cubicBezTo>
                        <a:pt x="0" y="605479"/>
                        <a:pt x="18310" y="603735"/>
                        <a:pt x="45339" y="607846"/>
                      </a:cubicBezTo>
                      <a:cubicBezTo>
                        <a:pt x="72243" y="611956"/>
                        <a:pt x="85696" y="618807"/>
                        <a:pt x="85696" y="618807"/>
                      </a:cubicBezTo>
                      <a:lnTo>
                        <a:pt x="90304" y="80219"/>
                      </a:lnTo>
                      <a:lnTo>
                        <a:pt x="170894" y="18190"/>
                      </a:lnTo>
                      <a:cubicBezTo>
                        <a:pt x="170894" y="18190"/>
                        <a:pt x="135394" y="503"/>
                        <a:pt x="68881" y="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69" name="Freeform 8873">
                  <a:extLst>
                    <a:ext uri="{FF2B5EF4-FFF2-40B4-BE49-F238E27FC236}">
                      <a16:creationId xmlns:a16="http://schemas.microsoft.com/office/drawing/2014/main" id="{1D9CE7E5-7FA2-1045-C59C-E178A13EDD3E}"/>
                    </a:ext>
                  </a:extLst>
                </p:cNvPr>
                <p:cNvSpPr/>
                <p:nvPr/>
              </p:nvSpPr>
              <p:spPr>
                <a:xfrm>
                  <a:off x="8344617" y="5445359"/>
                  <a:ext cx="148472" cy="658663"/>
                </a:xfrm>
                <a:custGeom>
                  <a:avLst/>
                  <a:gdLst>
                    <a:gd name="connsiteX0" fmla="*/ 0 w 148472"/>
                    <a:gd name="connsiteY0" fmla="*/ 603734 h 658663"/>
                    <a:gd name="connsiteX1" fmla="*/ 36495 w 148472"/>
                    <a:gd name="connsiteY1" fmla="*/ 623290 h 658663"/>
                    <a:gd name="connsiteX2" fmla="*/ 63773 w 148472"/>
                    <a:gd name="connsiteY2" fmla="*/ 658664 h 658663"/>
                    <a:gd name="connsiteX3" fmla="*/ 68009 w 148472"/>
                    <a:gd name="connsiteY3" fmla="*/ 91677 h 658663"/>
                    <a:gd name="connsiteX4" fmla="*/ 148473 w 148472"/>
                    <a:gd name="connsiteY4" fmla="*/ 39986 h 658663"/>
                    <a:gd name="connsiteX5" fmla="*/ 56176 w 148472"/>
                    <a:gd name="connsiteY5" fmla="*/ 3 h 658663"/>
                    <a:gd name="connsiteX6" fmla="*/ 3737 w 148472"/>
                    <a:gd name="connsiteY6" fmla="*/ 43847 h 658663"/>
                    <a:gd name="connsiteX7" fmla="*/ 0 w 148472"/>
                    <a:gd name="connsiteY7" fmla="*/ 603734 h 6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72" h="658663">
                      <a:moveTo>
                        <a:pt x="0" y="603734"/>
                      </a:moveTo>
                      <a:cubicBezTo>
                        <a:pt x="0" y="603734"/>
                        <a:pt x="15445" y="607720"/>
                        <a:pt x="36495" y="623290"/>
                      </a:cubicBezTo>
                      <a:cubicBezTo>
                        <a:pt x="57546" y="638859"/>
                        <a:pt x="63773" y="658664"/>
                        <a:pt x="63773" y="658664"/>
                      </a:cubicBezTo>
                      <a:lnTo>
                        <a:pt x="68009" y="91677"/>
                      </a:lnTo>
                      <a:lnTo>
                        <a:pt x="148473" y="39986"/>
                      </a:lnTo>
                      <a:cubicBezTo>
                        <a:pt x="148473" y="39986"/>
                        <a:pt x="106372" y="501"/>
                        <a:pt x="56176" y="3"/>
                      </a:cubicBezTo>
                      <a:cubicBezTo>
                        <a:pt x="23417" y="-246"/>
                        <a:pt x="3986" y="15946"/>
                        <a:pt x="3737" y="43847"/>
                      </a:cubicBezTo>
                      <a:cubicBezTo>
                        <a:pt x="3861" y="43972"/>
                        <a:pt x="0" y="603734"/>
                        <a:pt x="0" y="60373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0" name="Freeform 8874">
                  <a:extLst>
                    <a:ext uri="{FF2B5EF4-FFF2-40B4-BE49-F238E27FC236}">
                      <a16:creationId xmlns:a16="http://schemas.microsoft.com/office/drawing/2014/main" id="{A8E8A069-4D13-6690-F223-36F9DC409994}"/>
                    </a:ext>
                  </a:extLst>
                </p:cNvPr>
                <p:cNvSpPr/>
                <p:nvPr/>
              </p:nvSpPr>
              <p:spPr>
                <a:xfrm>
                  <a:off x="8407999" y="5470148"/>
                  <a:ext cx="107788" cy="646953"/>
                </a:xfrm>
                <a:custGeom>
                  <a:avLst/>
                  <a:gdLst>
                    <a:gd name="connsiteX0" fmla="*/ 4252 w 107788"/>
                    <a:gd name="connsiteY0" fmla="*/ 48828 h 646953"/>
                    <a:gd name="connsiteX1" fmla="*/ 19572 w 107788"/>
                    <a:gd name="connsiteY1" fmla="*/ 16194 h 646953"/>
                    <a:gd name="connsiteX2" fmla="*/ 55570 w 107788"/>
                    <a:gd name="connsiteY2" fmla="*/ 1 h 646953"/>
                    <a:gd name="connsiteX3" fmla="*/ 85090 w 107788"/>
                    <a:gd name="connsiteY3" fmla="*/ 15197 h 646953"/>
                    <a:gd name="connsiteX4" fmla="*/ 102901 w 107788"/>
                    <a:gd name="connsiteY4" fmla="*/ 48329 h 646953"/>
                    <a:gd name="connsiteX5" fmla="*/ 104521 w 107788"/>
                    <a:gd name="connsiteY5" fmla="*/ 53436 h 646953"/>
                    <a:gd name="connsiteX6" fmla="*/ 101034 w 107788"/>
                    <a:gd name="connsiteY6" fmla="*/ 92672 h 646953"/>
                    <a:gd name="connsiteX7" fmla="*/ 57438 w 107788"/>
                    <a:gd name="connsiteY7" fmla="*/ 93669 h 646953"/>
                    <a:gd name="connsiteX8" fmla="*/ 23060 w 107788"/>
                    <a:gd name="connsiteY8" fmla="*/ 113847 h 646953"/>
                    <a:gd name="connsiteX9" fmla="*/ 19946 w 107788"/>
                    <a:gd name="connsiteY9" fmla="*/ 635744 h 646953"/>
                    <a:gd name="connsiteX10" fmla="*/ 9857 w 107788"/>
                    <a:gd name="connsiteY10" fmla="*/ 646954 h 646953"/>
                    <a:gd name="connsiteX11" fmla="*/ 266 w 107788"/>
                    <a:gd name="connsiteY11" fmla="*/ 634124 h 646953"/>
                    <a:gd name="connsiteX12" fmla="*/ 4252 w 107788"/>
                    <a:gd name="connsiteY12" fmla="*/ 48828 h 64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787" h="646953">
                      <a:moveTo>
                        <a:pt x="4252" y="48828"/>
                      </a:moveTo>
                      <a:cubicBezTo>
                        <a:pt x="5747" y="36621"/>
                        <a:pt x="10729" y="24913"/>
                        <a:pt x="19572" y="16194"/>
                      </a:cubicBezTo>
                      <a:cubicBezTo>
                        <a:pt x="24430" y="11460"/>
                        <a:pt x="40499" y="-123"/>
                        <a:pt x="55570" y="1"/>
                      </a:cubicBezTo>
                      <a:cubicBezTo>
                        <a:pt x="70641" y="126"/>
                        <a:pt x="77367" y="6727"/>
                        <a:pt x="85090" y="15197"/>
                      </a:cubicBezTo>
                      <a:cubicBezTo>
                        <a:pt x="93684" y="24539"/>
                        <a:pt x="99788" y="35998"/>
                        <a:pt x="102901" y="48329"/>
                      </a:cubicBezTo>
                      <a:cubicBezTo>
                        <a:pt x="103400" y="50073"/>
                        <a:pt x="104023" y="51692"/>
                        <a:pt x="104521" y="53436"/>
                      </a:cubicBezTo>
                      <a:cubicBezTo>
                        <a:pt x="108382" y="66515"/>
                        <a:pt x="110500" y="81462"/>
                        <a:pt x="101034" y="92672"/>
                      </a:cubicBezTo>
                      <a:cubicBezTo>
                        <a:pt x="89325" y="106747"/>
                        <a:pt x="71887" y="95537"/>
                        <a:pt x="57438" y="93669"/>
                      </a:cubicBezTo>
                      <a:cubicBezTo>
                        <a:pt x="49964" y="92672"/>
                        <a:pt x="23185" y="90056"/>
                        <a:pt x="23060" y="113847"/>
                      </a:cubicBezTo>
                      <a:cubicBezTo>
                        <a:pt x="22936" y="122690"/>
                        <a:pt x="20444" y="634623"/>
                        <a:pt x="19946" y="635744"/>
                      </a:cubicBezTo>
                      <a:cubicBezTo>
                        <a:pt x="20320" y="641224"/>
                        <a:pt x="16957" y="646954"/>
                        <a:pt x="9857" y="646954"/>
                      </a:cubicBezTo>
                      <a:cubicBezTo>
                        <a:pt x="2135" y="646829"/>
                        <a:pt x="-979" y="639854"/>
                        <a:pt x="266" y="634124"/>
                      </a:cubicBezTo>
                      <a:cubicBezTo>
                        <a:pt x="141" y="633128"/>
                        <a:pt x="3629" y="54433"/>
                        <a:pt x="4252" y="48828"/>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sp>
          <p:nvSpPr>
            <p:cNvPr id="74" name="Freeform 8946">
              <a:extLst>
                <a:ext uri="{FF2B5EF4-FFF2-40B4-BE49-F238E27FC236}">
                  <a16:creationId xmlns:a16="http://schemas.microsoft.com/office/drawing/2014/main" id="{93619D38-1F8F-39D3-D51C-60CF55E7F1E0}"/>
                </a:ext>
              </a:extLst>
            </p:cNvPr>
            <p:cNvSpPr/>
            <p:nvPr/>
          </p:nvSpPr>
          <p:spPr>
            <a:xfrm>
              <a:off x="10157295" y="3723251"/>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852" y="428727"/>
                    <a:pt x="205146" y="428727"/>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5" name="Freeform 8948">
              <a:extLst>
                <a:ext uri="{FF2B5EF4-FFF2-40B4-BE49-F238E27FC236}">
                  <a16:creationId xmlns:a16="http://schemas.microsoft.com/office/drawing/2014/main" id="{E0681D4E-F953-91C0-4160-C93338391FF9}"/>
                </a:ext>
              </a:extLst>
            </p:cNvPr>
            <p:cNvSpPr/>
            <p:nvPr/>
          </p:nvSpPr>
          <p:spPr>
            <a:xfrm>
              <a:off x="10469453" y="3723251"/>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977" y="428727"/>
                    <a:pt x="205146" y="42872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2452" cap="flat">
              <a:solidFill>
                <a:schemeClr val="bg1">
                  <a:lumMod val="6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7" name="TextBox 5662">
              <a:extLst>
                <a:ext uri="{FF2B5EF4-FFF2-40B4-BE49-F238E27FC236}">
                  <a16:creationId xmlns:a16="http://schemas.microsoft.com/office/drawing/2014/main" id="{D1A564E7-6D20-78CA-FE81-1249D2F1FEB8}"/>
                </a:ext>
              </a:extLst>
            </p:cNvPr>
            <p:cNvSpPr txBox="1"/>
            <p:nvPr/>
          </p:nvSpPr>
          <p:spPr>
            <a:xfrm>
              <a:off x="10454017" y="3797520"/>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8</a:t>
              </a:r>
            </a:p>
          </p:txBody>
        </p:sp>
        <p:sp>
          <p:nvSpPr>
            <p:cNvPr id="78" name="TextBox 5663">
              <a:extLst>
                <a:ext uri="{FF2B5EF4-FFF2-40B4-BE49-F238E27FC236}">
                  <a16:creationId xmlns:a16="http://schemas.microsoft.com/office/drawing/2014/main" id="{8BC195D4-D404-63E2-5034-17AA2CC6FFF1}"/>
                </a:ext>
              </a:extLst>
            </p:cNvPr>
            <p:cNvSpPr txBox="1"/>
            <p:nvPr/>
          </p:nvSpPr>
          <p:spPr>
            <a:xfrm>
              <a:off x="10147990" y="3797520"/>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7</a:t>
              </a:r>
            </a:p>
          </p:txBody>
        </p:sp>
        <p:cxnSp>
          <p:nvCxnSpPr>
            <p:cNvPr id="80" name="Conector de Seta Reta 79">
              <a:extLst>
                <a:ext uri="{FF2B5EF4-FFF2-40B4-BE49-F238E27FC236}">
                  <a16:creationId xmlns:a16="http://schemas.microsoft.com/office/drawing/2014/main" id="{E404D924-973F-D3A4-9D5D-4C4DAC926EF9}"/>
                </a:ext>
              </a:extLst>
            </p:cNvPr>
            <p:cNvCxnSpPr>
              <a:cxnSpLocks/>
            </p:cNvCxnSpPr>
            <p:nvPr/>
          </p:nvCxnSpPr>
          <p:spPr>
            <a:xfrm rot="5400000">
              <a:off x="8105097" y="3501245"/>
              <a:ext cx="0" cy="43480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Conector de Seta Reta 80">
              <a:extLst>
                <a:ext uri="{FF2B5EF4-FFF2-40B4-BE49-F238E27FC236}">
                  <a16:creationId xmlns:a16="http://schemas.microsoft.com/office/drawing/2014/main" id="{09B11442-F367-D4F0-E3F5-BB7A15E4913D}"/>
                </a:ext>
              </a:extLst>
            </p:cNvPr>
            <p:cNvCxnSpPr>
              <a:cxnSpLocks/>
            </p:cNvCxnSpPr>
            <p:nvPr/>
          </p:nvCxnSpPr>
          <p:spPr>
            <a:xfrm rot="16200000" flipH="1">
              <a:off x="8973584" y="3501245"/>
              <a:ext cx="0" cy="43480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3" name="Straight Connector 5672">
              <a:extLst>
                <a:ext uri="{FF2B5EF4-FFF2-40B4-BE49-F238E27FC236}">
                  <a16:creationId xmlns:a16="http://schemas.microsoft.com/office/drawing/2014/main" id="{1043CD65-4FC7-C4AF-E9A5-C7FBF73CD4A1}"/>
                </a:ext>
              </a:extLst>
            </p:cNvPr>
            <p:cNvCxnSpPr>
              <a:cxnSpLocks/>
            </p:cNvCxnSpPr>
            <p:nvPr/>
          </p:nvCxnSpPr>
          <p:spPr>
            <a:xfrm>
              <a:off x="5651811" y="2932302"/>
              <a:ext cx="6100426" cy="0"/>
            </a:xfrm>
            <a:prstGeom prst="line">
              <a:avLst/>
            </a:prstGeom>
            <a:noFill/>
            <a:ln w="9525" cap="flat" cmpd="sng" algn="ctr">
              <a:solidFill>
                <a:schemeClr val="bg1">
                  <a:lumMod val="65000"/>
                </a:schemeClr>
              </a:solidFill>
              <a:prstDash val="sysDash"/>
              <a:miter lim="800000"/>
            </a:ln>
            <a:effectLst/>
          </p:spPr>
        </p:cxnSp>
        <p:cxnSp>
          <p:nvCxnSpPr>
            <p:cNvPr id="88" name="Conector de Seta Reta 87">
              <a:extLst>
                <a:ext uri="{FF2B5EF4-FFF2-40B4-BE49-F238E27FC236}">
                  <a16:creationId xmlns:a16="http://schemas.microsoft.com/office/drawing/2014/main" id="{C3FBEBDE-D625-8173-FCEA-30DD024548D5}"/>
                </a:ext>
              </a:extLst>
            </p:cNvPr>
            <p:cNvCxnSpPr>
              <a:cxnSpLocks/>
            </p:cNvCxnSpPr>
            <p:nvPr/>
          </p:nvCxnSpPr>
          <p:spPr>
            <a:xfrm>
              <a:off x="8551030" y="3204741"/>
              <a:ext cx="0" cy="238983"/>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9" name="TextBox 61">
              <a:extLst>
                <a:ext uri="{FF2B5EF4-FFF2-40B4-BE49-F238E27FC236}">
                  <a16:creationId xmlns:a16="http://schemas.microsoft.com/office/drawing/2014/main" id="{4643D039-664B-58B7-CF3C-91CE6385F16E}"/>
                </a:ext>
              </a:extLst>
            </p:cNvPr>
            <p:cNvSpPr txBox="1"/>
            <p:nvPr/>
          </p:nvSpPr>
          <p:spPr>
            <a:xfrm>
              <a:off x="5611425" y="4603197"/>
              <a:ext cx="3272050" cy="21544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pt-BR" sz="800" b="0" i="0" dirty="0">
                  <a:solidFill>
                    <a:srgbClr val="1D1D1D"/>
                  </a:solidFill>
                  <a:effectLst/>
                  <a:latin typeface="Arial" panose="020B0604020202020204" pitchFamily="34" charset="0"/>
                </a:rPr>
                <a:t>Adaptado de </a:t>
              </a:r>
              <a:r>
                <a:rPr lang="pt-BR" sz="800" b="0" i="0" dirty="0" err="1">
                  <a:solidFill>
                    <a:srgbClr val="1D1D1D"/>
                  </a:solidFill>
                  <a:effectLst/>
                  <a:latin typeface="Arial" panose="020B0604020202020204" pitchFamily="34" charset="0"/>
                </a:rPr>
                <a:t>Walport</a:t>
              </a:r>
              <a:r>
                <a:rPr lang="pt-BR" sz="800" b="0" i="0" dirty="0">
                  <a:solidFill>
                    <a:srgbClr val="1D1D1D"/>
                  </a:solidFill>
                  <a:effectLst/>
                  <a:latin typeface="Arial" panose="020B0604020202020204" pitchFamily="34" charset="0"/>
                </a:rPr>
                <a:t> MJ. N </a:t>
              </a:r>
              <a:r>
                <a:rPr lang="pt-BR" sz="800" b="0" i="0" dirty="0" err="1">
                  <a:solidFill>
                    <a:srgbClr val="1D1D1D"/>
                  </a:solidFill>
                  <a:effectLst/>
                  <a:latin typeface="Arial" panose="020B0604020202020204" pitchFamily="34" charset="0"/>
                </a:rPr>
                <a:t>Engl</a:t>
              </a:r>
              <a:r>
                <a:rPr lang="pt-BR" sz="800" b="0" i="0" dirty="0">
                  <a:solidFill>
                    <a:srgbClr val="1D1D1D"/>
                  </a:solidFill>
                  <a:effectLst/>
                  <a:latin typeface="Arial" panose="020B0604020202020204" pitchFamily="34" charset="0"/>
                </a:rPr>
                <a:t> J Med. 2001;344(14):1058-1066.</a:t>
              </a:r>
              <a:r>
                <a:rPr kumimoji="0" lang="en-US" sz="800" i="0" u="none" strike="noStrike" kern="1200" cap="none" spc="0" normalizeH="0" baseline="0" noProof="0" dirty="0">
                  <a:ln>
                    <a:noFill/>
                  </a:ln>
                  <a:effectLst/>
                  <a:uLnTx/>
                  <a:uFillTx/>
                  <a:ea typeface="ヒラギノ角ゴ Pro W3" panose="020B0300000000000000" pitchFamily="34" charset="-128"/>
                  <a:cs typeface="+mn-cs"/>
                </a:rPr>
                <a:t>. </a:t>
              </a:r>
            </a:p>
          </p:txBody>
        </p:sp>
      </p:grpSp>
      <p:sp>
        <p:nvSpPr>
          <p:cNvPr id="93" name="Content Placeholder 5">
            <a:extLst>
              <a:ext uri="{FF2B5EF4-FFF2-40B4-BE49-F238E27FC236}">
                <a16:creationId xmlns:a16="http://schemas.microsoft.com/office/drawing/2014/main" id="{CE40C272-C629-05F4-1E9A-CB68623F8C30}"/>
              </a:ext>
            </a:extLst>
          </p:cNvPr>
          <p:cNvSpPr txBox="1">
            <a:spLocks/>
          </p:cNvSpPr>
          <p:nvPr/>
        </p:nvSpPr>
        <p:spPr>
          <a:xfrm>
            <a:off x="659052" y="1598694"/>
            <a:ext cx="4824652" cy="4202181"/>
          </a:xfrm>
          <a:prstGeom prst="rect">
            <a:avLst/>
          </a:prstGeom>
        </p:spPr>
        <p:txBody>
          <a:bodyPr/>
          <a:lst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rPr>
              <a:t>The complement system plays a central role in immunity</a:t>
            </a:r>
            <a:r>
              <a:rPr lang="en-US" sz="1400" baseline="30000" dirty="0">
                <a:solidFill>
                  <a:schemeClr val="bg1"/>
                </a:solidFill>
              </a:rPr>
              <a:t>1-3</a:t>
            </a:r>
            <a:endParaRPr lang="en-US" sz="1400" dirty="0">
              <a:solidFill>
                <a:schemeClr val="bg1"/>
              </a:solidFill>
            </a:endParaRPr>
          </a:p>
          <a:p>
            <a:pPr marL="0" indent="0">
              <a:buNone/>
            </a:pPr>
            <a:r>
              <a:rPr lang="en-US" sz="1400" dirty="0">
                <a:solidFill>
                  <a:schemeClr val="bg1"/>
                </a:solidFill>
              </a:rPr>
              <a:t>The main functions of the complement system in innate host defense are opsonization, inflammation, and lysis</a:t>
            </a:r>
            <a:r>
              <a:rPr lang="en-US" sz="1400" baseline="30000" dirty="0">
                <a:solidFill>
                  <a:schemeClr val="bg1"/>
                </a:solidFill>
              </a:rPr>
              <a:t>4</a:t>
            </a:r>
            <a:endParaRPr lang="en-US" sz="1400" dirty="0">
              <a:solidFill>
                <a:schemeClr val="bg1"/>
              </a:solidFill>
            </a:endParaRPr>
          </a:p>
          <a:p>
            <a:pPr marL="0" indent="0">
              <a:buNone/>
            </a:pPr>
            <a:r>
              <a:rPr lang="en-US" sz="1400" dirty="0">
                <a:solidFill>
                  <a:schemeClr val="bg1"/>
                </a:solidFill>
              </a:rPr>
              <a:t>The complement system is activated through the classical, lectin, and alternative pathways</a:t>
            </a:r>
            <a:r>
              <a:rPr lang="en-US" sz="1400" baseline="30000" dirty="0">
                <a:solidFill>
                  <a:schemeClr val="bg1"/>
                </a:solidFill>
              </a:rPr>
              <a:t>1-2</a:t>
            </a:r>
            <a:endParaRPr lang="en-US" sz="1400" dirty="0">
              <a:solidFill>
                <a:schemeClr val="bg1"/>
              </a:solidFill>
            </a:endParaRPr>
          </a:p>
          <a:p>
            <a:pPr marL="0" indent="0">
              <a:buNone/>
            </a:pPr>
            <a:r>
              <a:rPr lang="en-US" sz="1400" dirty="0">
                <a:solidFill>
                  <a:schemeClr val="bg1"/>
                </a:solidFill>
              </a:rPr>
              <a:t>All 3 pathways converge on the C3 convertase in the proximal pathway and ultimately lead to activation of the C5 convertase in the terminal pathway with subsequent MAC formation</a:t>
            </a:r>
            <a:r>
              <a:rPr lang="en-US" sz="1400" baseline="30000" dirty="0">
                <a:solidFill>
                  <a:schemeClr val="bg1"/>
                </a:solidFill>
              </a:rPr>
              <a:t>1-2</a:t>
            </a:r>
            <a:endParaRPr lang="en-US" sz="1400" dirty="0">
              <a:solidFill>
                <a:schemeClr val="bg1"/>
              </a:solidFill>
            </a:endParaRPr>
          </a:p>
          <a:p>
            <a:pPr marL="0" indent="0">
              <a:buNone/>
            </a:pPr>
            <a:r>
              <a:rPr lang="en-US" sz="1400" dirty="0">
                <a:solidFill>
                  <a:schemeClr val="bg1"/>
                </a:solidFill>
              </a:rPr>
              <a:t>Imbalance of complement system homeostasis can lead to inflammation, tissue destruction, and infection, playing a role in the pathophysiology of disease (e.g., SLE, </a:t>
            </a:r>
            <a:r>
              <a:rPr lang="en-US" sz="1400" dirty="0" err="1">
                <a:solidFill>
                  <a:schemeClr val="bg1"/>
                </a:solidFill>
              </a:rPr>
              <a:t>aHUS</a:t>
            </a:r>
            <a:r>
              <a:rPr lang="en-US" sz="1400" dirty="0">
                <a:solidFill>
                  <a:schemeClr val="bg1"/>
                </a:solidFill>
              </a:rPr>
              <a:t>, PNH)</a:t>
            </a:r>
            <a:r>
              <a:rPr lang="en-US" sz="1400" baseline="30000" dirty="0">
                <a:solidFill>
                  <a:schemeClr val="bg1"/>
                </a:solidFill>
              </a:rPr>
              <a:t>1,5</a:t>
            </a:r>
            <a:endParaRPr lang="en-US" sz="1400" dirty="0">
              <a:solidFill>
                <a:schemeClr val="bg1"/>
              </a:solidFill>
            </a:endParaRPr>
          </a:p>
          <a:p>
            <a:pPr marL="0" indent="0">
              <a:buNone/>
            </a:pPr>
            <a:r>
              <a:rPr lang="en-US" sz="1400" dirty="0">
                <a:solidFill>
                  <a:schemeClr val="bg1"/>
                </a:solidFill>
              </a:rPr>
              <a:t>There is reciprocal cross talk between the coagulation and complement systems, wherein complement components induce the clotting cascade and coagulation proteins activate the complement cascade</a:t>
            </a:r>
            <a:r>
              <a:rPr lang="en-US" sz="1400" baseline="30000" dirty="0">
                <a:solidFill>
                  <a:schemeClr val="bg1"/>
                </a:solidFill>
              </a:rPr>
              <a:t>6</a:t>
            </a:r>
            <a:endParaRPr lang="en-US" sz="1400" dirty="0">
              <a:solidFill>
                <a:schemeClr val="bg1"/>
              </a:solidFill>
            </a:endParaRPr>
          </a:p>
          <a:p>
            <a:pPr marL="0" indent="0">
              <a:buNone/>
            </a:pPr>
            <a:endParaRPr lang="en-US" sz="1400" dirty="0">
              <a:solidFill>
                <a:schemeClr val="bg1"/>
              </a:solidFill>
            </a:endParaRPr>
          </a:p>
        </p:txBody>
      </p:sp>
      <p:cxnSp>
        <p:nvCxnSpPr>
          <p:cNvPr id="95" name="Conector reto 94">
            <a:extLst>
              <a:ext uri="{FF2B5EF4-FFF2-40B4-BE49-F238E27FC236}">
                <a16:creationId xmlns:a16="http://schemas.microsoft.com/office/drawing/2014/main" id="{CB2FC054-D748-1E4C-0C08-7EC4A782F557}"/>
              </a:ext>
            </a:extLst>
          </p:cNvPr>
          <p:cNvCxnSpPr>
            <a:cxnSpLocks/>
          </p:cNvCxnSpPr>
          <p:nvPr/>
        </p:nvCxnSpPr>
        <p:spPr>
          <a:xfrm>
            <a:off x="742278" y="1931525"/>
            <a:ext cx="468736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7" name="Conector reto 96">
            <a:extLst>
              <a:ext uri="{FF2B5EF4-FFF2-40B4-BE49-F238E27FC236}">
                <a16:creationId xmlns:a16="http://schemas.microsoft.com/office/drawing/2014/main" id="{E59CF4B5-1D2A-5588-C760-93CB4A279EB0}"/>
              </a:ext>
            </a:extLst>
          </p:cNvPr>
          <p:cNvCxnSpPr>
            <a:cxnSpLocks/>
          </p:cNvCxnSpPr>
          <p:nvPr/>
        </p:nvCxnSpPr>
        <p:spPr>
          <a:xfrm>
            <a:off x="742278" y="2521214"/>
            <a:ext cx="468736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8" name="Conector reto 97">
            <a:extLst>
              <a:ext uri="{FF2B5EF4-FFF2-40B4-BE49-F238E27FC236}">
                <a16:creationId xmlns:a16="http://schemas.microsoft.com/office/drawing/2014/main" id="{8E9FE3AB-409D-449B-EA42-ACA883EE8BA0}"/>
              </a:ext>
            </a:extLst>
          </p:cNvPr>
          <p:cNvCxnSpPr>
            <a:cxnSpLocks/>
          </p:cNvCxnSpPr>
          <p:nvPr/>
        </p:nvCxnSpPr>
        <p:spPr>
          <a:xfrm>
            <a:off x="742278" y="3093708"/>
            <a:ext cx="468736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86889412-9268-ADF4-0C72-54DA2AEB68D3}"/>
              </a:ext>
            </a:extLst>
          </p:cNvPr>
          <p:cNvCxnSpPr>
            <a:cxnSpLocks/>
          </p:cNvCxnSpPr>
          <p:nvPr/>
        </p:nvCxnSpPr>
        <p:spPr>
          <a:xfrm>
            <a:off x="742278" y="3906900"/>
            <a:ext cx="468736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BB5B4927-1F05-482D-933B-11F8EADDE107}"/>
              </a:ext>
            </a:extLst>
          </p:cNvPr>
          <p:cNvCxnSpPr>
            <a:cxnSpLocks/>
          </p:cNvCxnSpPr>
          <p:nvPr/>
        </p:nvCxnSpPr>
        <p:spPr>
          <a:xfrm>
            <a:off x="742278" y="4678645"/>
            <a:ext cx="468736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9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92"/>
                                        </p:tgtEl>
                                        <p:attrNameLst>
                                          <p:attrName>style.visibility</p:attrName>
                                        </p:attrNameLst>
                                      </p:cBhvr>
                                      <p:to>
                                        <p:strVal val="visible"/>
                                      </p:to>
                                    </p:set>
                                    <p:anim calcmode="lin" valueType="num">
                                      <p:cBhvr additive="base">
                                        <p:cTn id="7" dur="500" fill="hold"/>
                                        <p:tgtEl>
                                          <p:spTgt spid="92"/>
                                        </p:tgtEl>
                                        <p:attrNameLst>
                                          <p:attrName>ppt_x</p:attrName>
                                        </p:attrNameLst>
                                      </p:cBhvr>
                                      <p:tavLst>
                                        <p:tav tm="0">
                                          <p:val>
                                            <p:strVal val="0-#ppt_w/2"/>
                                          </p:val>
                                        </p:tav>
                                        <p:tav tm="100000">
                                          <p:val>
                                            <p:strVal val="#ppt_x"/>
                                          </p:val>
                                        </p:tav>
                                      </p:tavLst>
                                    </p:anim>
                                    <p:anim calcmode="lin" valueType="num">
                                      <p:cBhvr additive="base">
                                        <p:cTn id="8" dur="500" fill="hold"/>
                                        <p:tgtEl>
                                          <p:spTgt spid="9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par>
                                <p:cTn id="12" presetID="22" presetClass="entr" presetSubtype="8" fill="hold" nodeType="withEffect">
                                  <p:stCondLst>
                                    <p:cond delay="250"/>
                                  </p:stCondLst>
                                  <p:childTnLst>
                                    <p:set>
                                      <p:cBhvr>
                                        <p:cTn id="13" dur="1" fill="hold">
                                          <p:stCondLst>
                                            <p:cond delay="0"/>
                                          </p:stCondLst>
                                        </p:cTn>
                                        <p:tgtEl>
                                          <p:spTgt spid="95"/>
                                        </p:tgtEl>
                                        <p:attrNameLst>
                                          <p:attrName>style.visibility</p:attrName>
                                        </p:attrNameLst>
                                      </p:cBhvr>
                                      <p:to>
                                        <p:strVal val="visible"/>
                                      </p:to>
                                    </p:set>
                                    <p:animEffect transition="in" filter="wipe(left)">
                                      <p:cBhvr>
                                        <p:cTn id="14" dur="500"/>
                                        <p:tgtEl>
                                          <p:spTgt spid="95"/>
                                        </p:tgtEl>
                                      </p:cBhvr>
                                    </p:animEffect>
                                  </p:childTnLst>
                                </p:cTn>
                              </p:par>
                              <p:par>
                                <p:cTn id="15" presetID="22" presetClass="entr" presetSubtype="8" fill="hold" nodeType="withEffect">
                                  <p:stCondLst>
                                    <p:cond delay="250"/>
                                  </p:stCondLst>
                                  <p:childTnLst>
                                    <p:set>
                                      <p:cBhvr>
                                        <p:cTn id="16" dur="1" fill="hold">
                                          <p:stCondLst>
                                            <p:cond delay="0"/>
                                          </p:stCondLst>
                                        </p:cTn>
                                        <p:tgtEl>
                                          <p:spTgt spid="97"/>
                                        </p:tgtEl>
                                        <p:attrNameLst>
                                          <p:attrName>style.visibility</p:attrName>
                                        </p:attrNameLst>
                                      </p:cBhvr>
                                      <p:to>
                                        <p:strVal val="visible"/>
                                      </p:to>
                                    </p:set>
                                    <p:animEffect transition="in" filter="wipe(left)">
                                      <p:cBhvr>
                                        <p:cTn id="17" dur="500"/>
                                        <p:tgtEl>
                                          <p:spTgt spid="97"/>
                                        </p:tgtEl>
                                      </p:cBhvr>
                                    </p:animEffect>
                                  </p:childTnLst>
                                </p:cTn>
                              </p:par>
                              <p:par>
                                <p:cTn id="18" presetID="22" presetClass="entr" presetSubtype="8" fill="hold" nodeType="withEffect">
                                  <p:stCondLst>
                                    <p:cond delay="250"/>
                                  </p:stCondLst>
                                  <p:childTnLst>
                                    <p:set>
                                      <p:cBhvr>
                                        <p:cTn id="19" dur="1" fill="hold">
                                          <p:stCondLst>
                                            <p:cond delay="0"/>
                                          </p:stCondLst>
                                        </p:cTn>
                                        <p:tgtEl>
                                          <p:spTgt spid="98"/>
                                        </p:tgtEl>
                                        <p:attrNameLst>
                                          <p:attrName>style.visibility</p:attrName>
                                        </p:attrNameLst>
                                      </p:cBhvr>
                                      <p:to>
                                        <p:strVal val="visible"/>
                                      </p:to>
                                    </p:set>
                                    <p:animEffect transition="in" filter="wipe(left)">
                                      <p:cBhvr>
                                        <p:cTn id="20" dur="500"/>
                                        <p:tgtEl>
                                          <p:spTgt spid="98"/>
                                        </p:tgtEl>
                                      </p:cBhvr>
                                    </p:animEffect>
                                  </p:childTnLst>
                                </p:cTn>
                              </p:par>
                              <p:par>
                                <p:cTn id="21" presetID="22" presetClass="entr" presetSubtype="8" fill="hold" nodeType="withEffect">
                                  <p:stCondLst>
                                    <p:cond delay="250"/>
                                  </p:stCondLst>
                                  <p:childTnLst>
                                    <p:set>
                                      <p:cBhvr>
                                        <p:cTn id="22" dur="1" fill="hold">
                                          <p:stCondLst>
                                            <p:cond delay="0"/>
                                          </p:stCondLst>
                                        </p:cTn>
                                        <p:tgtEl>
                                          <p:spTgt spid="99"/>
                                        </p:tgtEl>
                                        <p:attrNameLst>
                                          <p:attrName>style.visibility</p:attrName>
                                        </p:attrNameLst>
                                      </p:cBhvr>
                                      <p:to>
                                        <p:strVal val="visible"/>
                                      </p:to>
                                    </p:set>
                                    <p:animEffect transition="in" filter="wipe(left)">
                                      <p:cBhvr>
                                        <p:cTn id="23" dur="500"/>
                                        <p:tgtEl>
                                          <p:spTgt spid="99"/>
                                        </p:tgtEl>
                                      </p:cBhvr>
                                    </p:animEffect>
                                  </p:childTnLst>
                                </p:cTn>
                              </p:par>
                              <p:par>
                                <p:cTn id="24" presetID="22" presetClass="entr" presetSubtype="8" fill="hold" nodeType="withEffect">
                                  <p:stCondLst>
                                    <p:cond delay="250"/>
                                  </p:stCondLst>
                                  <p:childTnLst>
                                    <p:set>
                                      <p:cBhvr>
                                        <p:cTn id="25" dur="1" fill="hold">
                                          <p:stCondLst>
                                            <p:cond delay="0"/>
                                          </p:stCondLst>
                                        </p:cTn>
                                        <p:tgtEl>
                                          <p:spTgt spid="100"/>
                                        </p:tgtEl>
                                        <p:attrNameLst>
                                          <p:attrName>style.visibility</p:attrName>
                                        </p:attrNameLst>
                                      </p:cBhvr>
                                      <p:to>
                                        <p:strVal val="visible"/>
                                      </p:to>
                                    </p:set>
                                    <p:animEffect transition="in" filter="wipe(left)">
                                      <p:cBhvr>
                                        <p:cTn id="26" dur="500"/>
                                        <p:tgtEl>
                                          <p:spTgt spid="100"/>
                                        </p:tgtEl>
                                      </p:cBhvr>
                                    </p:animEffect>
                                  </p:childTnLst>
                                </p:cTn>
                              </p:par>
                            </p:childTnLst>
                          </p:cTn>
                        </p:par>
                        <p:par>
                          <p:cTn id="27" fill="hold">
                            <p:stCondLst>
                              <p:cond delay="750"/>
                            </p:stCondLst>
                            <p:childTnLst>
                              <p:par>
                                <p:cTn id="28" presetID="10" presetClass="entr" presetSubtype="0" fill="hold" nodeType="afterEffect">
                                  <p:stCondLst>
                                    <p:cond delay="750"/>
                                  </p:stCondLst>
                                  <p:childTnLst>
                                    <p:set>
                                      <p:cBhvr>
                                        <p:cTn id="29" dur="1" fill="hold">
                                          <p:stCondLst>
                                            <p:cond delay="0"/>
                                          </p:stCondLst>
                                        </p:cTn>
                                        <p:tgtEl>
                                          <p:spTgt spid="101"/>
                                        </p:tgtEl>
                                        <p:attrNameLst>
                                          <p:attrName>style.visibility</p:attrName>
                                        </p:attrNameLst>
                                      </p:cBhvr>
                                      <p:to>
                                        <p:strVal val="visible"/>
                                      </p:to>
                                    </p:set>
                                    <p:animEffect transition="in" filter="fade">
                                      <p:cBhvr>
                                        <p:cTn id="3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5" name="Retângulo: Cantos Arredondados 7214">
            <a:extLst>
              <a:ext uri="{FF2B5EF4-FFF2-40B4-BE49-F238E27FC236}">
                <a16:creationId xmlns:a16="http://schemas.microsoft.com/office/drawing/2014/main" id="{769A6CAC-DC4D-55B6-191A-192E8DB4CC72}"/>
              </a:ext>
            </a:extLst>
          </p:cNvPr>
          <p:cNvSpPr/>
          <p:nvPr/>
        </p:nvSpPr>
        <p:spPr>
          <a:xfrm flipH="1">
            <a:off x="161813" y="952501"/>
            <a:ext cx="11799021" cy="524827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2" name="CaixaDeTexto 1">
            <a:extLst>
              <a:ext uri="{FF2B5EF4-FFF2-40B4-BE49-F238E27FC236}">
                <a16:creationId xmlns:a16="http://schemas.microsoft.com/office/drawing/2014/main" id="{91FE33A9-3A9F-B116-3DC8-64A887FCD6B4}"/>
              </a:ext>
            </a:extLst>
          </p:cNvPr>
          <p:cNvSpPr txBox="1"/>
          <p:nvPr/>
        </p:nvSpPr>
        <p:spPr>
          <a:xfrm>
            <a:off x="296269" y="117045"/>
            <a:ext cx="11042964" cy="781752"/>
          </a:xfrm>
          <a:prstGeom prst="rect">
            <a:avLst/>
          </a:prstGeom>
          <a:noFill/>
        </p:spPr>
        <p:txBody>
          <a:bodyPr wrap="square" rtlCol="0">
            <a:spAutoFit/>
          </a:bodyPr>
          <a:lstStyle/>
          <a:p>
            <a:pPr lvl="0">
              <a:lnSpc>
                <a:spcPct val="80000"/>
              </a:lnSpc>
              <a:defRPr/>
            </a:pPr>
            <a:r>
              <a:rPr lang="pt-BR" sz="2800" b="1" dirty="0">
                <a:gradFill>
                  <a:gsLst>
                    <a:gs pos="0">
                      <a:schemeClr val="accent1"/>
                    </a:gs>
                    <a:gs pos="100000">
                      <a:schemeClr val="bg2"/>
                    </a:gs>
                  </a:gsLst>
                  <a:lin ang="2700000" scaled="0"/>
                </a:gradFill>
                <a:latin typeface="Calisto MT"/>
              </a:rPr>
              <a:t>O sistema complemento desempenha um papel central na </a:t>
            </a:r>
            <a:r>
              <a:rPr lang="pt-BR" sz="2800" b="1" dirty="0" err="1">
                <a:gradFill>
                  <a:gsLst>
                    <a:gs pos="0">
                      <a:schemeClr val="accent1"/>
                    </a:gs>
                    <a:gs pos="100000">
                      <a:schemeClr val="bg2"/>
                    </a:gs>
                  </a:gsLst>
                  <a:lin ang="2700000" scaled="0"/>
                </a:gradFill>
                <a:latin typeface="Calisto MT"/>
              </a:rPr>
              <a:t>patofisiologia</a:t>
            </a:r>
            <a:r>
              <a:rPr lang="pt-BR" sz="2800" b="1" dirty="0">
                <a:gradFill>
                  <a:gsLst>
                    <a:gs pos="0">
                      <a:schemeClr val="accent1"/>
                    </a:gs>
                    <a:gs pos="100000">
                      <a:schemeClr val="bg2"/>
                    </a:gs>
                  </a:gsLst>
                  <a:lin ang="2700000" scaled="0"/>
                </a:gradFill>
                <a:latin typeface="Calisto MT"/>
              </a:rPr>
              <a:t> de várias doenças</a:t>
            </a:r>
            <a:r>
              <a:rPr lang="pt-BR" sz="2800" b="1" baseline="30000" dirty="0">
                <a:gradFill>
                  <a:gsLst>
                    <a:gs pos="0">
                      <a:schemeClr val="accent1"/>
                    </a:gs>
                    <a:gs pos="100000">
                      <a:schemeClr val="bg2"/>
                    </a:gs>
                  </a:gsLst>
                  <a:lin ang="2700000" scaled="0"/>
                </a:gradFill>
                <a:latin typeface="Calisto MT"/>
              </a:rPr>
              <a:t>1-3</a:t>
            </a: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114507" y="5722735"/>
            <a:ext cx="11120557" cy="1119900"/>
          </a:xfrm>
        </p:spPr>
        <p:txBody>
          <a:bodyPr/>
          <a:lstStyle/>
          <a:p>
            <a:pPr>
              <a:lnSpc>
                <a:spcPct val="100000"/>
              </a:lnSpc>
              <a:spcAft>
                <a:spcPts val="0"/>
              </a:spcAft>
            </a:pPr>
            <a:r>
              <a:rPr lang="pt-BR" sz="700" dirty="0"/>
              <a:t>1. </a:t>
            </a:r>
            <a:r>
              <a:rPr lang="pt-BR" sz="700" dirty="0" err="1"/>
              <a:t>Ricklin</a:t>
            </a:r>
            <a:r>
              <a:rPr lang="pt-BR" sz="700" dirty="0"/>
              <a:t> D, </a:t>
            </a:r>
            <a:r>
              <a:rPr lang="pt-BR" sz="700" dirty="0" err="1"/>
              <a:t>Mastellos</a:t>
            </a:r>
            <a:r>
              <a:rPr lang="pt-BR" sz="700" dirty="0"/>
              <a:t> DC, Lambris JD. </a:t>
            </a:r>
            <a:r>
              <a:rPr lang="pt-BR" sz="700" dirty="0" err="1"/>
              <a:t>Therapeutic</a:t>
            </a:r>
            <a:r>
              <a:rPr lang="pt-BR" sz="700" dirty="0"/>
              <a:t> </a:t>
            </a:r>
            <a:r>
              <a:rPr lang="pt-BR" sz="700" dirty="0" err="1"/>
              <a:t>targeting</a:t>
            </a:r>
            <a:r>
              <a:rPr lang="pt-BR" sz="700" dirty="0"/>
              <a:t> </a:t>
            </a:r>
            <a:r>
              <a:rPr lang="pt-BR" sz="700" dirty="0" err="1"/>
              <a:t>of</a:t>
            </a:r>
            <a:r>
              <a:rPr lang="pt-BR" sz="700" dirty="0"/>
              <a:t> </a:t>
            </a:r>
            <a:r>
              <a:rPr lang="pt-BR" sz="700" dirty="0" err="1"/>
              <a:t>the</a:t>
            </a:r>
            <a:r>
              <a:rPr lang="pt-BR" sz="700" dirty="0"/>
              <a:t> </a:t>
            </a:r>
            <a:r>
              <a:rPr lang="pt-BR" sz="700" dirty="0" err="1"/>
              <a:t>complement</a:t>
            </a:r>
            <a:r>
              <a:rPr lang="pt-BR" sz="700" dirty="0"/>
              <a:t> system. Nat </a:t>
            </a:r>
            <a:r>
              <a:rPr lang="pt-BR" sz="700" dirty="0" err="1"/>
              <a:t>Rev</a:t>
            </a:r>
            <a:r>
              <a:rPr lang="pt-BR" sz="700" dirty="0"/>
              <a:t> </a:t>
            </a:r>
            <a:r>
              <a:rPr lang="pt-BR" sz="700" dirty="0" err="1"/>
              <a:t>Drug</a:t>
            </a:r>
            <a:r>
              <a:rPr lang="pt-BR" sz="700" dirty="0"/>
              <a:t> </a:t>
            </a:r>
            <a:r>
              <a:rPr lang="pt-BR" sz="700" dirty="0" err="1"/>
              <a:t>Discov</a:t>
            </a:r>
            <a:r>
              <a:rPr lang="pt-BR" sz="700" dirty="0"/>
              <a:t> (2019). 2. </a:t>
            </a:r>
            <a:r>
              <a:rPr lang="pt-BR" sz="700" dirty="0" err="1"/>
              <a:t>Walport</a:t>
            </a:r>
            <a:r>
              <a:rPr lang="pt-BR" sz="700" dirty="0"/>
              <a:t> MJ. </a:t>
            </a:r>
            <a:r>
              <a:rPr lang="pt-BR" sz="700" dirty="0" err="1"/>
              <a:t>Complement</a:t>
            </a:r>
            <a:r>
              <a:rPr lang="pt-BR" sz="700" dirty="0"/>
              <a:t>. </a:t>
            </a:r>
            <a:r>
              <a:rPr lang="pt-BR" sz="700" dirty="0" err="1"/>
              <a:t>First</a:t>
            </a:r>
            <a:r>
              <a:rPr lang="pt-BR" sz="700" dirty="0"/>
              <a:t> </a:t>
            </a:r>
            <a:r>
              <a:rPr lang="pt-BR" sz="700" dirty="0" err="1"/>
              <a:t>of</a:t>
            </a:r>
            <a:r>
              <a:rPr lang="pt-BR" sz="700" dirty="0"/>
              <a:t> </a:t>
            </a:r>
            <a:r>
              <a:rPr lang="pt-BR" sz="700" dirty="0" err="1"/>
              <a:t>two</a:t>
            </a:r>
            <a:r>
              <a:rPr lang="pt-BR" sz="700" dirty="0"/>
              <a:t> </a:t>
            </a:r>
            <a:r>
              <a:rPr lang="pt-BR" sz="700" dirty="0" err="1"/>
              <a:t>parts</a:t>
            </a:r>
            <a:r>
              <a:rPr lang="pt-BR" sz="700" dirty="0"/>
              <a:t>. N </a:t>
            </a:r>
            <a:r>
              <a:rPr lang="pt-BR" sz="700" dirty="0" err="1"/>
              <a:t>Engl</a:t>
            </a:r>
            <a:r>
              <a:rPr lang="pt-BR" sz="700" dirty="0"/>
              <a:t> J Med. 2001 </a:t>
            </a:r>
            <a:r>
              <a:rPr lang="pt-BR" sz="700" dirty="0" err="1"/>
              <a:t>Apr</a:t>
            </a:r>
            <a:r>
              <a:rPr lang="pt-BR" sz="700" dirty="0"/>
              <a:t> 5;344(14):1058-66. 3. </a:t>
            </a:r>
            <a:r>
              <a:rPr lang="pt-BR" sz="700" dirty="0" err="1"/>
              <a:t>Mariab</a:t>
            </a:r>
            <a:r>
              <a:rPr lang="pt-BR" sz="700" dirty="0"/>
              <a:t> EN, </a:t>
            </a:r>
            <a:r>
              <a:rPr lang="pt-BR" sz="700" dirty="0" err="1"/>
              <a:t>Hoehn</a:t>
            </a:r>
            <a:r>
              <a:rPr lang="pt-BR" sz="700" dirty="0"/>
              <a:t> K. In: </a:t>
            </a:r>
            <a:r>
              <a:rPr lang="pt-BR" sz="700" dirty="0" err="1"/>
              <a:t>Human</a:t>
            </a:r>
            <a:r>
              <a:rPr lang="pt-BR" sz="700" dirty="0"/>
              <a:t> </a:t>
            </a:r>
            <a:r>
              <a:rPr lang="pt-BR" sz="700" dirty="0" err="1"/>
              <a:t>Anatomy</a:t>
            </a:r>
            <a:r>
              <a:rPr lang="pt-BR" sz="700" dirty="0"/>
              <a:t>&amp; </a:t>
            </a:r>
            <a:r>
              <a:rPr lang="pt-BR" sz="700" dirty="0" err="1"/>
              <a:t>Physiology</a:t>
            </a:r>
            <a:r>
              <a:rPr lang="pt-BR" sz="700" dirty="0"/>
              <a:t>. 11ª ed. Nova York, Nova York: Pearson </a:t>
            </a:r>
            <a:r>
              <a:rPr lang="pt-BR" sz="700" dirty="0" err="1"/>
              <a:t>Education</a:t>
            </a:r>
            <a:r>
              <a:rPr lang="pt-BR" sz="700" dirty="0"/>
              <a:t>; 2019:781-817. 4. Rivas-</a:t>
            </a:r>
            <a:r>
              <a:rPr lang="pt-BR" sz="700" dirty="0" err="1"/>
              <a:t>Larrauri</a:t>
            </a:r>
            <a:r>
              <a:rPr lang="pt-BR" sz="700" dirty="0"/>
              <a:t> F, Yamazaki-</a:t>
            </a:r>
            <a:r>
              <a:rPr lang="pt-BR" sz="700" dirty="0" err="1"/>
              <a:t>Nakashimada</a:t>
            </a:r>
            <a:r>
              <a:rPr lang="pt-BR" sz="700" dirty="0"/>
              <a:t> MA. </a:t>
            </a:r>
            <a:r>
              <a:rPr lang="pt-BR" sz="700" dirty="0" err="1"/>
              <a:t>Systemic</a:t>
            </a:r>
            <a:r>
              <a:rPr lang="pt-BR" sz="700" dirty="0"/>
              <a:t> </a:t>
            </a:r>
            <a:r>
              <a:rPr lang="pt-BR" sz="700" dirty="0" err="1"/>
              <a:t>lupus</a:t>
            </a:r>
            <a:r>
              <a:rPr lang="pt-BR" sz="700" dirty="0"/>
              <a:t> </a:t>
            </a:r>
            <a:r>
              <a:rPr lang="pt-BR" sz="700" dirty="0" err="1"/>
              <a:t>erythematosus</a:t>
            </a:r>
            <a:r>
              <a:rPr lang="pt-BR" sz="700" dirty="0"/>
              <a:t>: </a:t>
            </a:r>
            <a:r>
              <a:rPr lang="pt-BR" sz="700" dirty="0" err="1"/>
              <a:t>Is</a:t>
            </a:r>
            <a:r>
              <a:rPr lang="pt-BR" sz="700" dirty="0"/>
              <a:t> it </a:t>
            </a:r>
            <a:r>
              <a:rPr lang="pt-BR" sz="700" dirty="0" err="1"/>
              <a:t>one</a:t>
            </a:r>
            <a:r>
              <a:rPr lang="pt-BR" sz="700" dirty="0"/>
              <a:t> </a:t>
            </a:r>
            <a:r>
              <a:rPr lang="pt-BR" sz="700" dirty="0" err="1"/>
              <a:t>disease</a:t>
            </a:r>
            <a:r>
              <a:rPr lang="pt-BR" sz="700" dirty="0"/>
              <a:t>? </a:t>
            </a:r>
            <a:r>
              <a:rPr lang="pt-BR" sz="700" dirty="0" err="1"/>
              <a:t>Reumatol</a:t>
            </a:r>
            <a:r>
              <a:rPr lang="pt-BR" sz="700" dirty="0"/>
              <a:t> Clin. 2016 Sep-Oct;12(5):274-81. </a:t>
            </a:r>
            <a:r>
              <a:rPr lang="pt-BR" sz="700" dirty="0" err="1"/>
              <a:t>English</a:t>
            </a:r>
            <a:r>
              <a:rPr lang="pt-BR" sz="700" dirty="0"/>
              <a:t>, Spanish. 5. Macedo AC, Isaac L. </a:t>
            </a:r>
            <a:r>
              <a:rPr lang="pt-BR" sz="700" dirty="0" err="1"/>
              <a:t>Systemic</a:t>
            </a:r>
            <a:r>
              <a:rPr lang="pt-BR" sz="700" dirty="0"/>
              <a:t> </a:t>
            </a:r>
            <a:r>
              <a:rPr lang="pt-BR" sz="700" dirty="0" err="1"/>
              <a:t>Lupus</a:t>
            </a:r>
            <a:r>
              <a:rPr lang="pt-BR" sz="700" dirty="0"/>
              <a:t> </a:t>
            </a:r>
            <a:r>
              <a:rPr lang="pt-BR" sz="700" dirty="0" err="1"/>
              <a:t>Erythematosus</a:t>
            </a:r>
            <a:r>
              <a:rPr lang="pt-BR" sz="700" dirty="0"/>
              <a:t> </a:t>
            </a:r>
            <a:r>
              <a:rPr lang="pt-BR" sz="700" dirty="0" err="1"/>
              <a:t>and</a:t>
            </a:r>
            <a:r>
              <a:rPr lang="pt-BR" sz="700" dirty="0"/>
              <a:t> </a:t>
            </a:r>
            <a:r>
              <a:rPr lang="pt-BR" sz="700" dirty="0" err="1"/>
              <a:t>Deficiencies</a:t>
            </a:r>
            <a:r>
              <a:rPr lang="pt-BR" sz="700" dirty="0"/>
              <a:t> </a:t>
            </a:r>
            <a:r>
              <a:rPr lang="pt-BR" sz="700" dirty="0" err="1"/>
              <a:t>of</a:t>
            </a:r>
            <a:r>
              <a:rPr lang="pt-BR" sz="700" dirty="0"/>
              <a:t> Early </a:t>
            </a:r>
            <a:r>
              <a:rPr lang="pt-BR" sz="700" dirty="0" err="1"/>
              <a:t>Components</a:t>
            </a:r>
            <a:r>
              <a:rPr lang="pt-BR" sz="700" dirty="0"/>
              <a:t> </a:t>
            </a:r>
            <a:r>
              <a:rPr lang="pt-BR" sz="700" dirty="0" err="1"/>
              <a:t>of</a:t>
            </a:r>
            <a:r>
              <a:rPr lang="pt-BR" sz="700" dirty="0"/>
              <a:t> </a:t>
            </a:r>
            <a:r>
              <a:rPr lang="pt-BR" sz="700" dirty="0" err="1"/>
              <a:t>the</a:t>
            </a:r>
            <a:r>
              <a:rPr lang="pt-BR" sz="700" dirty="0"/>
              <a:t> </a:t>
            </a:r>
            <a:r>
              <a:rPr lang="pt-BR" sz="700" dirty="0" err="1"/>
              <a:t>Complement</a:t>
            </a:r>
            <a:r>
              <a:rPr lang="pt-BR" sz="700" dirty="0"/>
              <a:t> </a:t>
            </a:r>
            <a:r>
              <a:rPr lang="pt-BR" sz="700" dirty="0" err="1"/>
              <a:t>Classical</a:t>
            </a:r>
            <a:r>
              <a:rPr lang="pt-BR" sz="700" dirty="0"/>
              <a:t> </a:t>
            </a:r>
            <a:r>
              <a:rPr lang="pt-BR" sz="700" dirty="0" err="1"/>
              <a:t>Pathway</a:t>
            </a:r>
            <a:r>
              <a:rPr lang="pt-BR" sz="700" dirty="0"/>
              <a:t>. Front </a:t>
            </a:r>
            <a:r>
              <a:rPr lang="pt-BR" sz="700" dirty="0" err="1"/>
              <a:t>Immunol</a:t>
            </a:r>
            <a:r>
              <a:rPr lang="pt-BR" sz="700" dirty="0"/>
              <a:t>. 2016 </a:t>
            </a:r>
            <a:r>
              <a:rPr lang="pt-BR" sz="700" dirty="0" err="1"/>
              <a:t>Feb</a:t>
            </a:r>
            <a:r>
              <a:rPr lang="pt-BR" sz="700" dirty="0"/>
              <a:t> 24;7:55. 6. Arruda MM de AS, Rodrigues CA, Yamamoto M, Figueiredo MS. Hemoglobinúria paroxística noturna: da fisiopatologia ao tratamento. </a:t>
            </a:r>
            <a:r>
              <a:rPr lang="pt-BR" sz="700" dirty="0" err="1"/>
              <a:t>Rev</a:t>
            </a:r>
            <a:r>
              <a:rPr lang="pt-BR" sz="700" dirty="0"/>
              <a:t> </a:t>
            </a:r>
            <a:r>
              <a:rPr lang="pt-BR" sz="700" dirty="0" err="1"/>
              <a:t>Assoc</a:t>
            </a:r>
            <a:r>
              <a:rPr lang="pt-BR" sz="700" dirty="0"/>
              <a:t> Med Bras. 2010;56(2):214–21.</a:t>
            </a:r>
          </a:p>
          <a:p>
            <a:pPr>
              <a:lnSpc>
                <a:spcPct val="100000"/>
              </a:lnSpc>
              <a:spcAft>
                <a:spcPts val="0"/>
              </a:spcAft>
            </a:pPr>
            <a:r>
              <a:rPr lang="pt-BR" sz="700" dirty="0"/>
              <a:t>7. Noris M, Caprioli J, </a:t>
            </a:r>
            <a:r>
              <a:rPr lang="pt-BR" sz="700" dirty="0" err="1"/>
              <a:t>Bresin</a:t>
            </a:r>
            <a:r>
              <a:rPr lang="pt-BR" sz="700" dirty="0"/>
              <a:t> E et al. </a:t>
            </a:r>
            <a:r>
              <a:rPr lang="pt-BR" sz="700" dirty="0" err="1"/>
              <a:t>Relative</a:t>
            </a:r>
            <a:r>
              <a:rPr lang="pt-BR" sz="700" dirty="0"/>
              <a:t> role </a:t>
            </a:r>
            <a:r>
              <a:rPr lang="pt-BR" sz="700" dirty="0" err="1"/>
              <a:t>of</a:t>
            </a:r>
            <a:r>
              <a:rPr lang="pt-BR" sz="700" dirty="0"/>
              <a:t> </a:t>
            </a:r>
            <a:r>
              <a:rPr lang="pt-BR" sz="700" dirty="0" err="1"/>
              <a:t>genetic</a:t>
            </a:r>
            <a:r>
              <a:rPr lang="pt-BR" sz="700" dirty="0"/>
              <a:t> </a:t>
            </a:r>
            <a:r>
              <a:rPr lang="pt-BR" sz="700" dirty="0" err="1"/>
              <a:t>complement</a:t>
            </a:r>
            <a:r>
              <a:rPr lang="pt-BR" sz="700" dirty="0"/>
              <a:t> </a:t>
            </a:r>
            <a:r>
              <a:rPr lang="pt-BR" sz="700" dirty="0" err="1"/>
              <a:t>abnormalities</a:t>
            </a:r>
            <a:r>
              <a:rPr lang="pt-BR" sz="700" dirty="0"/>
              <a:t> in </a:t>
            </a:r>
            <a:r>
              <a:rPr lang="pt-BR" sz="700" dirty="0" err="1"/>
              <a:t>sporadic</a:t>
            </a:r>
            <a:r>
              <a:rPr lang="pt-BR" sz="700" dirty="0"/>
              <a:t> </a:t>
            </a:r>
            <a:r>
              <a:rPr lang="pt-BR" sz="700" dirty="0" err="1"/>
              <a:t>and</a:t>
            </a:r>
            <a:r>
              <a:rPr lang="pt-BR" sz="700" dirty="0"/>
              <a:t> familial </a:t>
            </a:r>
            <a:r>
              <a:rPr lang="pt-BR" sz="700" dirty="0" err="1"/>
              <a:t>aHUS</a:t>
            </a:r>
            <a:r>
              <a:rPr lang="pt-BR" sz="700" dirty="0"/>
              <a:t> </a:t>
            </a:r>
            <a:r>
              <a:rPr lang="pt-BR" sz="700" dirty="0" err="1"/>
              <a:t>and</a:t>
            </a:r>
            <a:r>
              <a:rPr lang="pt-BR" sz="700" dirty="0"/>
              <a:t> </a:t>
            </a:r>
            <a:r>
              <a:rPr lang="pt-BR" sz="700" dirty="0" err="1"/>
              <a:t>their</a:t>
            </a:r>
            <a:r>
              <a:rPr lang="pt-BR" sz="700" dirty="0"/>
              <a:t> </a:t>
            </a:r>
            <a:r>
              <a:rPr lang="pt-BR" sz="700" dirty="0" err="1"/>
              <a:t>impact</a:t>
            </a:r>
            <a:r>
              <a:rPr lang="pt-BR" sz="700" dirty="0"/>
              <a:t> </a:t>
            </a:r>
            <a:r>
              <a:rPr lang="pt-BR" sz="700" dirty="0" err="1"/>
              <a:t>on</a:t>
            </a:r>
            <a:r>
              <a:rPr lang="pt-BR" sz="700" dirty="0"/>
              <a:t> </a:t>
            </a:r>
            <a:r>
              <a:rPr lang="pt-BR" sz="700" dirty="0" err="1"/>
              <a:t>clinical</a:t>
            </a:r>
            <a:r>
              <a:rPr lang="pt-BR" sz="700" dirty="0"/>
              <a:t> </a:t>
            </a:r>
            <a:r>
              <a:rPr lang="pt-BR" sz="700" dirty="0" err="1"/>
              <a:t>phenotype</a:t>
            </a:r>
            <a:r>
              <a:rPr lang="pt-BR" sz="700" dirty="0"/>
              <a:t>. Clin J Am </a:t>
            </a:r>
            <a:r>
              <a:rPr lang="pt-BR" sz="700" dirty="0" err="1"/>
              <a:t>Soc</a:t>
            </a:r>
            <a:r>
              <a:rPr lang="pt-BR" sz="700" dirty="0"/>
              <a:t> </a:t>
            </a:r>
            <a:r>
              <a:rPr lang="pt-BR" sz="700" dirty="0" err="1"/>
              <a:t>Nephrol</a:t>
            </a:r>
            <a:r>
              <a:rPr lang="pt-BR" sz="700" dirty="0"/>
              <a:t>. 2010 Oct;5(10):1844-59.</a:t>
            </a:r>
          </a:p>
          <a:p>
            <a:pPr>
              <a:lnSpc>
                <a:spcPct val="100000"/>
              </a:lnSpc>
              <a:spcAft>
                <a:spcPts val="0"/>
              </a:spcAft>
            </a:pPr>
            <a:r>
              <a:rPr lang="pt-BR" sz="700" dirty="0"/>
              <a:t>8. </a:t>
            </a:r>
            <a:r>
              <a:rPr lang="pt-BR" sz="700" dirty="0" err="1"/>
              <a:t>Schlaich</a:t>
            </a:r>
            <a:r>
              <a:rPr lang="pt-BR" sz="700" dirty="0"/>
              <a:t> MP, </a:t>
            </a:r>
            <a:r>
              <a:rPr lang="pt-BR" sz="700" dirty="0" err="1"/>
              <a:t>Sobotka</a:t>
            </a:r>
            <a:r>
              <a:rPr lang="pt-BR" sz="700" dirty="0"/>
              <a:t> PA, </a:t>
            </a:r>
            <a:r>
              <a:rPr lang="pt-BR" sz="700" dirty="0" err="1"/>
              <a:t>Krum</a:t>
            </a:r>
            <a:r>
              <a:rPr lang="pt-BR" sz="700" dirty="0"/>
              <a:t> H et al. Renal </a:t>
            </a:r>
            <a:r>
              <a:rPr lang="pt-BR" sz="700" dirty="0" err="1"/>
              <a:t>sympathetic-nerve</a:t>
            </a:r>
            <a:r>
              <a:rPr lang="pt-BR" sz="700" dirty="0"/>
              <a:t> </a:t>
            </a:r>
            <a:r>
              <a:rPr lang="pt-BR" sz="700" dirty="0" err="1"/>
              <a:t>ablation</a:t>
            </a:r>
            <a:r>
              <a:rPr lang="pt-BR" sz="700" dirty="0"/>
              <a:t> for </a:t>
            </a:r>
            <a:r>
              <a:rPr lang="pt-BR" sz="700" dirty="0" err="1"/>
              <a:t>uncontrolled</a:t>
            </a:r>
            <a:r>
              <a:rPr lang="pt-BR" sz="700" dirty="0"/>
              <a:t> </a:t>
            </a:r>
            <a:r>
              <a:rPr lang="pt-BR" sz="700" dirty="0" err="1"/>
              <a:t>hypertension</a:t>
            </a:r>
            <a:r>
              <a:rPr lang="pt-BR" sz="700" dirty="0"/>
              <a:t>. N </a:t>
            </a:r>
            <a:r>
              <a:rPr lang="pt-BR" sz="700" dirty="0" err="1"/>
              <a:t>Engl</a:t>
            </a:r>
            <a:r>
              <a:rPr lang="pt-BR" sz="700" dirty="0"/>
              <a:t> J Med. 2009 </a:t>
            </a:r>
            <a:r>
              <a:rPr lang="pt-BR" sz="700" dirty="0" err="1"/>
              <a:t>Aug</a:t>
            </a:r>
            <a:r>
              <a:rPr lang="pt-BR" sz="700" dirty="0"/>
              <a:t> 27;361(9):932-4.</a:t>
            </a:r>
          </a:p>
        </p:txBody>
      </p:sp>
      <p:grpSp>
        <p:nvGrpSpPr>
          <p:cNvPr id="7217" name="Agrupar 7216">
            <a:extLst>
              <a:ext uri="{FF2B5EF4-FFF2-40B4-BE49-F238E27FC236}">
                <a16:creationId xmlns:a16="http://schemas.microsoft.com/office/drawing/2014/main" id="{DD7038F3-1480-5FBD-A92A-C3826D92E3A0}"/>
              </a:ext>
            </a:extLst>
          </p:cNvPr>
          <p:cNvGrpSpPr/>
          <p:nvPr/>
        </p:nvGrpSpPr>
        <p:grpSpPr>
          <a:xfrm>
            <a:off x="1118813" y="977364"/>
            <a:ext cx="10661325" cy="1778514"/>
            <a:chOff x="1118813" y="977364"/>
            <a:chExt cx="10661325" cy="1778514"/>
          </a:xfrm>
        </p:grpSpPr>
        <p:cxnSp>
          <p:nvCxnSpPr>
            <p:cNvPr id="3639" name="Straight Arrow Connector 160">
              <a:extLst>
                <a:ext uri="{FF2B5EF4-FFF2-40B4-BE49-F238E27FC236}">
                  <a16:creationId xmlns:a16="http://schemas.microsoft.com/office/drawing/2014/main" id="{C20F730F-0A9E-619C-363B-3C0B13B84AFB}"/>
                </a:ext>
              </a:extLst>
            </p:cNvPr>
            <p:cNvCxnSpPr/>
            <p:nvPr/>
          </p:nvCxnSpPr>
          <p:spPr>
            <a:xfrm rot="10800000" flipV="1">
              <a:off x="6994152" y="2128778"/>
              <a:ext cx="3873553" cy="616943"/>
            </a:xfrm>
            <a:prstGeom prst="bentConnector3">
              <a:avLst>
                <a:gd name="adj1" fmla="val 4311"/>
              </a:avLst>
            </a:prstGeom>
            <a:noFill/>
            <a:ln w="19050" cap="flat" cmpd="sng" algn="ctr">
              <a:solidFill>
                <a:schemeClr val="tx2"/>
              </a:solidFill>
              <a:prstDash val="solid"/>
              <a:miter lim="800000"/>
              <a:headEnd type="none" w="med" len="med"/>
              <a:tailEnd type="arrow" w="med" len="med"/>
            </a:ln>
            <a:effectLst/>
          </p:spPr>
        </p:cxnSp>
        <p:sp>
          <p:nvSpPr>
            <p:cNvPr id="3645" name="Freeform 2991">
              <a:extLst>
                <a:ext uri="{FF2B5EF4-FFF2-40B4-BE49-F238E27FC236}">
                  <a16:creationId xmlns:a16="http://schemas.microsoft.com/office/drawing/2014/main" id="{81DA05E4-91A5-6985-A1E3-BAA038BF7ED1}"/>
                </a:ext>
              </a:extLst>
            </p:cNvPr>
            <p:cNvSpPr/>
            <p:nvPr/>
          </p:nvSpPr>
          <p:spPr>
            <a:xfrm>
              <a:off x="2175774" y="1092056"/>
              <a:ext cx="7704639" cy="747347"/>
            </a:xfrm>
            <a:custGeom>
              <a:avLst/>
              <a:gdLst>
                <a:gd name="connsiteX0" fmla="*/ 0 w 7704639"/>
                <a:gd name="connsiteY0" fmla="*/ 0 h 747346"/>
                <a:gd name="connsiteX1" fmla="*/ 3852320 w 7704639"/>
                <a:gd name="connsiteY1" fmla="*/ 747346 h 747346"/>
                <a:gd name="connsiteX2" fmla="*/ 7704640 w 7704639"/>
                <a:gd name="connsiteY2" fmla="*/ 0 h 747346"/>
                <a:gd name="connsiteX3" fmla="*/ 0 w 7704639"/>
                <a:gd name="connsiteY3" fmla="*/ 0 h 747346"/>
              </a:gdLst>
              <a:ahLst/>
              <a:cxnLst>
                <a:cxn ang="0">
                  <a:pos x="connsiteX0" y="connsiteY0"/>
                </a:cxn>
                <a:cxn ang="0">
                  <a:pos x="connsiteX1" y="connsiteY1"/>
                </a:cxn>
                <a:cxn ang="0">
                  <a:pos x="connsiteX2" y="connsiteY2"/>
                </a:cxn>
                <a:cxn ang="0">
                  <a:pos x="connsiteX3" y="connsiteY3"/>
                </a:cxn>
              </a:cxnLst>
              <a:rect l="l" t="t" r="r" b="b"/>
              <a:pathLst>
                <a:path w="7704639" h="747346">
                  <a:moveTo>
                    <a:pt x="0" y="0"/>
                  </a:moveTo>
                  <a:cubicBezTo>
                    <a:pt x="905534" y="455632"/>
                    <a:pt x="2294726" y="747346"/>
                    <a:pt x="3852320" y="747346"/>
                  </a:cubicBezTo>
                  <a:cubicBezTo>
                    <a:pt x="5409914" y="747346"/>
                    <a:pt x="6799105" y="455632"/>
                    <a:pt x="7704640" y="0"/>
                  </a:cubicBezTo>
                  <a:lnTo>
                    <a:pt x="0" y="0"/>
                  </a:lnTo>
                  <a:close/>
                </a:path>
              </a:pathLst>
            </a:custGeom>
            <a:gradFill>
              <a:gsLst>
                <a:gs pos="99000">
                  <a:srgbClr val="B52455">
                    <a:lumMod val="60000"/>
                    <a:lumOff val="40000"/>
                  </a:srgbClr>
                </a:gs>
                <a:gs pos="0">
                  <a:srgbClr val="FFFFFF"/>
                </a:gs>
              </a:gsLst>
              <a:lin ang="54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37302C"/>
                  </a:solidFill>
                  <a:effectLst/>
                  <a:uLnTx/>
                  <a:uFillTx/>
                  <a:ea typeface="ヒラギノ角ゴ Pro W3" panose="020B0300000000000000" pitchFamily="34" charset="-128"/>
                  <a:cs typeface="Arial"/>
                </a:rPr>
                <a:t> </a:t>
              </a:r>
            </a:p>
          </p:txBody>
        </p:sp>
        <p:grpSp>
          <p:nvGrpSpPr>
            <p:cNvPr id="5243" name="Graphic 2987">
              <a:extLst>
                <a:ext uri="{FF2B5EF4-FFF2-40B4-BE49-F238E27FC236}">
                  <a16:creationId xmlns:a16="http://schemas.microsoft.com/office/drawing/2014/main" id="{F0493B4C-92C9-96EA-3626-3A081C3CE18B}"/>
                </a:ext>
              </a:extLst>
            </p:cNvPr>
            <p:cNvGrpSpPr/>
            <p:nvPr/>
          </p:nvGrpSpPr>
          <p:grpSpPr>
            <a:xfrm>
              <a:off x="2121649" y="977364"/>
              <a:ext cx="7845799" cy="865404"/>
              <a:chOff x="2121647" y="1092700"/>
              <a:chExt cx="7845799" cy="912627"/>
            </a:xfrm>
            <a:solidFill>
              <a:srgbClr val="B52455"/>
            </a:solidFill>
          </p:grpSpPr>
          <p:grpSp>
            <p:nvGrpSpPr>
              <p:cNvPr id="5244" name="Graphic 2987">
                <a:extLst>
                  <a:ext uri="{FF2B5EF4-FFF2-40B4-BE49-F238E27FC236}">
                    <a16:creationId xmlns:a16="http://schemas.microsoft.com/office/drawing/2014/main" id="{82507854-77DC-AA43-A891-8A2939BEBF46}"/>
                  </a:ext>
                </a:extLst>
              </p:cNvPr>
              <p:cNvGrpSpPr/>
              <p:nvPr/>
            </p:nvGrpSpPr>
            <p:grpSpPr>
              <a:xfrm>
                <a:off x="9884396" y="1092700"/>
                <a:ext cx="83050" cy="135033"/>
                <a:chOff x="9884396" y="1092700"/>
                <a:chExt cx="83050" cy="135033"/>
              </a:xfrm>
              <a:grpFill/>
            </p:grpSpPr>
            <p:sp>
              <p:nvSpPr>
                <p:cNvPr id="7128" name="Freeform 6909">
                  <a:extLst>
                    <a:ext uri="{FF2B5EF4-FFF2-40B4-BE49-F238E27FC236}">
                      <a16:creationId xmlns:a16="http://schemas.microsoft.com/office/drawing/2014/main" id="{5774D533-883D-89B4-21C4-53D855F24096}"/>
                    </a:ext>
                  </a:extLst>
                </p:cNvPr>
                <p:cNvSpPr/>
                <p:nvPr/>
              </p:nvSpPr>
              <p:spPr>
                <a:xfrm>
                  <a:off x="9930485" y="1160080"/>
                  <a:ext cx="23416" cy="46460"/>
                </a:xfrm>
                <a:custGeom>
                  <a:avLst/>
                  <a:gdLst>
                    <a:gd name="connsiteX0" fmla="*/ 23417 w 23416"/>
                    <a:gd name="connsiteY0" fmla="*/ 46460 h 46460"/>
                    <a:gd name="connsiteX1" fmla="*/ 16566 w 23416"/>
                    <a:gd name="connsiteY1" fmla="*/ 29022 h 46460"/>
                    <a:gd name="connsiteX2" fmla="*/ 5605 w 23416"/>
                    <a:gd name="connsiteY2" fmla="*/ 15445 h 46460"/>
                    <a:gd name="connsiteX3" fmla="*/ 0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23417" y="46460"/>
                      </a:moveTo>
                      <a:cubicBezTo>
                        <a:pt x="21922" y="38239"/>
                        <a:pt x="19057" y="32634"/>
                        <a:pt x="16566" y="29022"/>
                      </a:cubicBezTo>
                      <a:cubicBezTo>
                        <a:pt x="12705" y="23168"/>
                        <a:pt x="9342" y="21424"/>
                        <a:pt x="5605" y="15445"/>
                      </a:cubicBezTo>
                      <a:cubicBezTo>
                        <a:pt x="1993"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9" name="Freeform 6910">
                  <a:extLst>
                    <a:ext uri="{FF2B5EF4-FFF2-40B4-BE49-F238E27FC236}">
                      <a16:creationId xmlns:a16="http://schemas.microsoft.com/office/drawing/2014/main" id="{86A8AEA1-B52F-E653-CC98-2FED7C661755}"/>
                    </a:ext>
                  </a:extLst>
                </p:cNvPr>
                <p:cNvSpPr/>
                <p:nvPr/>
              </p:nvSpPr>
              <p:spPr>
                <a:xfrm>
                  <a:off x="9925254" y="1168176"/>
                  <a:ext cx="24537" cy="45961"/>
                </a:xfrm>
                <a:custGeom>
                  <a:avLst/>
                  <a:gdLst>
                    <a:gd name="connsiteX0" fmla="*/ 0 w 24537"/>
                    <a:gd name="connsiteY0" fmla="*/ 0 h 45961"/>
                    <a:gd name="connsiteX1" fmla="*/ 10338 w 24537"/>
                    <a:gd name="connsiteY1" fmla="*/ 15694 h 45961"/>
                    <a:gd name="connsiteX2" fmla="*/ 15071 w 24537"/>
                    <a:gd name="connsiteY2" fmla="*/ 32385 h 45961"/>
                    <a:gd name="connsiteX3" fmla="*/ 24537 w 24537"/>
                    <a:gd name="connsiteY3" fmla="*/ 45962 h 45961"/>
                  </a:gdLst>
                  <a:ahLst/>
                  <a:cxnLst>
                    <a:cxn ang="0">
                      <a:pos x="connsiteX0" y="connsiteY0"/>
                    </a:cxn>
                    <a:cxn ang="0">
                      <a:pos x="connsiteX1" y="connsiteY1"/>
                    </a:cxn>
                    <a:cxn ang="0">
                      <a:pos x="connsiteX2" y="connsiteY2"/>
                    </a:cxn>
                    <a:cxn ang="0">
                      <a:pos x="connsiteX3" y="connsiteY3"/>
                    </a:cxn>
                  </a:cxnLst>
                  <a:rect l="l" t="t" r="r" b="b"/>
                  <a:pathLst>
                    <a:path w="24537" h="45961">
                      <a:moveTo>
                        <a:pt x="0" y="0"/>
                      </a:moveTo>
                      <a:cubicBezTo>
                        <a:pt x="5979" y="5979"/>
                        <a:pt x="8843" y="11708"/>
                        <a:pt x="10338" y="15694"/>
                      </a:cubicBezTo>
                      <a:cubicBezTo>
                        <a:pt x="12829" y="22171"/>
                        <a:pt x="12331" y="25908"/>
                        <a:pt x="15071" y="32385"/>
                      </a:cubicBezTo>
                      <a:cubicBezTo>
                        <a:pt x="17812" y="38737"/>
                        <a:pt x="21673" y="43222"/>
                        <a:pt x="24537" y="4596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0" name="Freeform 6911">
                  <a:extLst>
                    <a:ext uri="{FF2B5EF4-FFF2-40B4-BE49-F238E27FC236}">
                      <a16:creationId xmlns:a16="http://schemas.microsoft.com/office/drawing/2014/main" id="{1144904F-183A-07EC-598C-3984F1CF5B62}"/>
                    </a:ext>
                  </a:extLst>
                </p:cNvPr>
                <p:cNvSpPr/>
                <p:nvPr/>
              </p:nvSpPr>
              <p:spPr>
                <a:xfrm>
                  <a:off x="9940379" y="1201391"/>
                  <a:ext cx="27068" cy="26342"/>
                </a:xfrm>
                <a:custGeom>
                  <a:avLst/>
                  <a:gdLst>
                    <a:gd name="connsiteX0" fmla="*/ 1440 w 27068"/>
                    <a:gd name="connsiteY0" fmla="*/ 19099 h 26342"/>
                    <a:gd name="connsiteX1" fmla="*/ 7420 w 27068"/>
                    <a:gd name="connsiteY1" fmla="*/ 1412 h 26342"/>
                    <a:gd name="connsiteX2" fmla="*/ 25605 w 27068"/>
                    <a:gd name="connsiteY2" fmla="*/ 7266 h 26342"/>
                    <a:gd name="connsiteX3" fmla="*/ 19626 w 27068"/>
                    <a:gd name="connsiteY3" fmla="*/ 24953 h 26342"/>
                    <a:gd name="connsiteX4" fmla="*/ 1440 w 27068"/>
                    <a:gd name="connsiteY4" fmla="*/ 19099 h 2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7" h="26342">
                      <a:moveTo>
                        <a:pt x="1440" y="19099"/>
                      </a:moveTo>
                      <a:cubicBezTo>
                        <a:pt x="-1922" y="12622"/>
                        <a:pt x="818" y="4650"/>
                        <a:pt x="7420" y="1412"/>
                      </a:cubicBezTo>
                      <a:cubicBezTo>
                        <a:pt x="14021" y="-1827"/>
                        <a:pt x="22242" y="664"/>
                        <a:pt x="25605" y="7266"/>
                      </a:cubicBezTo>
                      <a:cubicBezTo>
                        <a:pt x="28968" y="13743"/>
                        <a:pt x="26352" y="21715"/>
                        <a:pt x="19626" y="24953"/>
                      </a:cubicBezTo>
                      <a:cubicBezTo>
                        <a:pt x="12900" y="28192"/>
                        <a:pt x="4804" y="25576"/>
                        <a:pt x="1440" y="190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1" name="Freeform 6912">
                  <a:extLst>
                    <a:ext uri="{FF2B5EF4-FFF2-40B4-BE49-F238E27FC236}">
                      <a16:creationId xmlns:a16="http://schemas.microsoft.com/office/drawing/2014/main" id="{66967D44-7F0B-9926-AA2B-F88FC6A828A6}"/>
                    </a:ext>
                  </a:extLst>
                </p:cNvPr>
                <p:cNvSpPr/>
                <p:nvPr/>
              </p:nvSpPr>
              <p:spPr>
                <a:xfrm>
                  <a:off x="9897602" y="1113744"/>
                  <a:ext cx="23416" cy="46584"/>
                </a:xfrm>
                <a:custGeom>
                  <a:avLst/>
                  <a:gdLst>
                    <a:gd name="connsiteX0" fmla="*/ 0 w 23416"/>
                    <a:gd name="connsiteY0" fmla="*/ 0 h 46584"/>
                    <a:gd name="connsiteX1" fmla="*/ 6851 w 23416"/>
                    <a:gd name="connsiteY1" fmla="*/ 17438 h 46584"/>
                    <a:gd name="connsiteX2" fmla="*/ 17812 w 23416"/>
                    <a:gd name="connsiteY2" fmla="*/ 31139 h 46584"/>
                    <a:gd name="connsiteX3" fmla="*/ 23417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0" y="0"/>
                      </a:moveTo>
                      <a:cubicBezTo>
                        <a:pt x="1495" y="8221"/>
                        <a:pt x="4484" y="13826"/>
                        <a:pt x="6851" y="17438"/>
                      </a:cubicBezTo>
                      <a:cubicBezTo>
                        <a:pt x="10712" y="23292"/>
                        <a:pt x="14075" y="25036"/>
                        <a:pt x="17812" y="31139"/>
                      </a:cubicBezTo>
                      <a:cubicBezTo>
                        <a:pt x="21424" y="36994"/>
                        <a:pt x="22794" y="42723"/>
                        <a:pt x="23417"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2" name="Freeform 6913">
                  <a:extLst>
                    <a:ext uri="{FF2B5EF4-FFF2-40B4-BE49-F238E27FC236}">
                      <a16:creationId xmlns:a16="http://schemas.microsoft.com/office/drawing/2014/main" id="{801BD114-F000-503C-4885-27CEC8134232}"/>
                    </a:ext>
                  </a:extLst>
                </p:cNvPr>
                <p:cNvSpPr/>
                <p:nvPr/>
              </p:nvSpPr>
              <p:spPr>
                <a:xfrm>
                  <a:off x="9901463" y="1106146"/>
                  <a:ext cx="24662" cy="45961"/>
                </a:xfrm>
                <a:custGeom>
                  <a:avLst/>
                  <a:gdLst>
                    <a:gd name="connsiteX0" fmla="*/ 24662 w 24662"/>
                    <a:gd name="connsiteY0" fmla="*/ 45962 h 45961"/>
                    <a:gd name="connsiteX1" fmla="*/ 14324 w 24662"/>
                    <a:gd name="connsiteY1" fmla="*/ 30268 h 45961"/>
                    <a:gd name="connsiteX2" fmla="*/ 9467 w 24662"/>
                    <a:gd name="connsiteY2" fmla="*/ 13577 h 45961"/>
                    <a:gd name="connsiteX3" fmla="*/ 0 w 24662"/>
                    <a:gd name="connsiteY3" fmla="*/ 0 h 45961"/>
                  </a:gdLst>
                  <a:ahLst/>
                  <a:cxnLst>
                    <a:cxn ang="0">
                      <a:pos x="connsiteX0" y="connsiteY0"/>
                    </a:cxn>
                    <a:cxn ang="0">
                      <a:pos x="connsiteX1" y="connsiteY1"/>
                    </a:cxn>
                    <a:cxn ang="0">
                      <a:pos x="connsiteX2" y="connsiteY2"/>
                    </a:cxn>
                    <a:cxn ang="0">
                      <a:pos x="connsiteX3" y="connsiteY3"/>
                    </a:cxn>
                  </a:cxnLst>
                  <a:rect l="l" t="t" r="r" b="b"/>
                  <a:pathLst>
                    <a:path w="24662" h="45961">
                      <a:moveTo>
                        <a:pt x="24662" y="45962"/>
                      </a:moveTo>
                      <a:cubicBezTo>
                        <a:pt x="18684" y="39983"/>
                        <a:pt x="15819" y="34253"/>
                        <a:pt x="14324" y="30268"/>
                      </a:cubicBezTo>
                      <a:cubicBezTo>
                        <a:pt x="11833" y="23791"/>
                        <a:pt x="12331" y="20054"/>
                        <a:pt x="9467" y="13577"/>
                      </a:cubicBezTo>
                      <a:cubicBezTo>
                        <a:pt x="6726" y="7224"/>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3" name="Freeform 6914">
                  <a:extLst>
                    <a:ext uri="{FF2B5EF4-FFF2-40B4-BE49-F238E27FC236}">
                      <a16:creationId xmlns:a16="http://schemas.microsoft.com/office/drawing/2014/main" id="{3BC61FDB-DF1C-F304-89AF-87641BEEA0E6}"/>
                    </a:ext>
                  </a:extLst>
                </p:cNvPr>
                <p:cNvSpPr/>
                <p:nvPr/>
              </p:nvSpPr>
              <p:spPr>
                <a:xfrm>
                  <a:off x="9884396" y="1092700"/>
                  <a:ext cx="26410" cy="26269"/>
                </a:xfrm>
                <a:custGeom>
                  <a:avLst/>
                  <a:gdLst>
                    <a:gd name="connsiteX0" fmla="*/ 24914 w 26410"/>
                    <a:gd name="connsiteY0" fmla="*/ 7343 h 26269"/>
                    <a:gd name="connsiteX1" fmla="*/ 19308 w 26410"/>
                    <a:gd name="connsiteY1" fmla="*/ 24905 h 26269"/>
                    <a:gd name="connsiteX2" fmla="*/ 1497 w 26410"/>
                    <a:gd name="connsiteY2" fmla="*/ 18927 h 26269"/>
                    <a:gd name="connsiteX3" fmla="*/ 7102 w 26410"/>
                    <a:gd name="connsiteY3" fmla="*/ 1364 h 26269"/>
                    <a:gd name="connsiteX4" fmla="*/ 24914 w 26410"/>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269">
                      <a:moveTo>
                        <a:pt x="24914" y="7343"/>
                      </a:moveTo>
                      <a:cubicBezTo>
                        <a:pt x="28277" y="13820"/>
                        <a:pt x="25786" y="21667"/>
                        <a:pt x="19308" y="24905"/>
                      </a:cubicBezTo>
                      <a:cubicBezTo>
                        <a:pt x="12832" y="28144"/>
                        <a:pt x="4860" y="25404"/>
                        <a:pt x="1497" y="18927"/>
                      </a:cubicBezTo>
                      <a:cubicBezTo>
                        <a:pt x="-1867" y="12450"/>
                        <a:pt x="625" y="4602"/>
                        <a:pt x="7102" y="1364"/>
                      </a:cubicBezTo>
                      <a:cubicBezTo>
                        <a:pt x="13579" y="-1875"/>
                        <a:pt x="21426" y="866"/>
                        <a:pt x="24914"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5" name="Graphic 2987">
                <a:extLst>
                  <a:ext uri="{FF2B5EF4-FFF2-40B4-BE49-F238E27FC236}">
                    <a16:creationId xmlns:a16="http://schemas.microsoft.com/office/drawing/2014/main" id="{7C351F24-9EDF-F8C9-66C2-0BA19654C81F}"/>
                  </a:ext>
                </a:extLst>
              </p:cNvPr>
              <p:cNvGrpSpPr/>
              <p:nvPr/>
            </p:nvGrpSpPr>
            <p:grpSpPr>
              <a:xfrm>
                <a:off x="9858017" y="1105709"/>
                <a:ext cx="82378" cy="135352"/>
                <a:chOff x="9858017" y="1105709"/>
                <a:chExt cx="82378" cy="135352"/>
              </a:xfrm>
              <a:grpFill/>
            </p:grpSpPr>
            <p:sp>
              <p:nvSpPr>
                <p:cNvPr id="7122" name="Freeform 6916">
                  <a:extLst>
                    <a:ext uri="{FF2B5EF4-FFF2-40B4-BE49-F238E27FC236}">
                      <a16:creationId xmlns:a16="http://schemas.microsoft.com/office/drawing/2014/main" id="{39195410-C50C-2E88-D68C-8556E0F03CE8}"/>
                    </a:ext>
                  </a:extLst>
                </p:cNvPr>
                <p:cNvSpPr/>
                <p:nvPr/>
              </p:nvSpPr>
              <p:spPr>
                <a:xfrm>
                  <a:off x="9903954" y="1173034"/>
                  <a:ext cx="23042" cy="46833"/>
                </a:xfrm>
                <a:custGeom>
                  <a:avLst/>
                  <a:gdLst>
                    <a:gd name="connsiteX0" fmla="*/ 23043 w 23042"/>
                    <a:gd name="connsiteY0" fmla="*/ 46834 h 46833"/>
                    <a:gd name="connsiteX1" fmla="*/ 16317 w 23042"/>
                    <a:gd name="connsiteY1" fmla="*/ 29271 h 46833"/>
                    <a:gd name="connsiteX2" fmla="*/ 5481 w 23042"/>
                    <a:gd name="connsiteY2" fmla="*/ 15570 h 46833"/>
                    <a:gd name="connsiteX3" fmla="*/ 0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23043" y="46834"/>
                      </a:moveTo>
                      <a:cubicBezTo>
                        <a:pt x="21673" y="38613"/>
                        <a:pt x="18684" y="32883"/>
                        <a:pt x="16317" y="29271"/>
                      </a:cubicBezTo>
                      <a:cubicBezTo>
                        <a:pt x="12456" y="23417"/>
                        <a:pt x="9092" y="21673"/>
                        <a:pt x="5481" y="15570"/>
                      </a:cubicBezTo>
                      <a:cubicBezTo>
                        <a:pt x="1869" y="9715"/>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3" name="Freeform 6917">
                  <a:extLst>
                    <a:ext uri="{FF2B5EF4-FFF2-40B4-BE49-F238E27FC236}">
                      <a16:creationId xmlns:a16="http://schemas.microsoft.com/office/drawing/2014/main" id="{763E922C-4C95-BF1C-60E4-80A8522823C7}"/>
                    </a:ext>
                  </a:extLst>
                </p:cNvPr>
                <p:cNvSpPr/>
                <p:nvPr/>
              </p:nvSpPr>
              <p:spPr>
                <a:xfrm>
                  <a:off x="9898598" y="1181379"/>
                  <a:ext cx="24164" cy="46086"/>
                </a:xfrm>
                <a:custGeom>
                  <a:avLst/>
                  <a:gdLst>
                    <a:gd name="connsiteX0" fmla="*/ 0 w 24164"/>
                    <a:gd name="connsiteY0" fmla="*/ 0 h 46086"/>
                    <a:gd name="connsiteX1" fmla="*/ 10214 w 24164"/>
                    <a:gd name="connsiteY1" fmla="*/ 15819 h 46086"/>
                    <a:gd name="connsiteX2" fmla="*/ 14822 w 24164"/>
                    <a:gd name="connsiteY2" fmla="*/ 32510 h 46086"/>
                    <a:gd name="connsiteX3" fmla="*/ 24164 w 24164"/>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164" h="46086">
                      <a:moveTo>
                        <a:pt x="0" y="0"/>
                      </a:moveTo>
                      <a:cubicBezTo>
                        <a:pt x="5854" y="6103"/>
                        <a:pt x="8719" y="11708"/>
                        <a:pt x="10214" y="15819"/>
                      </a:cubicBezTo>
                      <a:cubicBezTo>
                        <a:pt x="12704" y="22420"/>
                        <a:pt x="12082" y="26033"/>
                        <a:pt x="14822" y="32510"/>
                      </a:cubicBezTo>
                      <a:cubicBezTo>
                        <a:pt x="17438" y="38862"/>
                        <a:pt x="21424" y="43346"/>
                        <a:pt x="24164"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4" name="Freeform 6918">
                  <a:extLst>
                    <a:ext uri="{FF2B5EF4-FFF2-40B4-BE49-F238E27FC236}">
                      <a16:creationId xmlns:a16="http://schemas.microsoft.com/office/drawing/2014/main" id="{5C93D6EE-BF69-3985-BD56-14440AC2A194}"/>
                    </a:ext>
                  </a:extLst>
                </p:cNvPr>
                <p:cNvSpPr/>
                <p:nvPr/>
              </p:nvSpPr>
              <p:spPr>
                <a:xfrm>
                  <a:off x="9913474" y="1214562"/>
                  <a:ext cx="26921" cy="26498"/>
                </a:xfrm>
                <a:custGeom>
                  <a:avLst/>
                  <a:gdLst>
                    <a:gd name="connsiteX0" fmla="*/ 1441 w 26921"/>
                    <a:gd name="connsiteY0" fmla="*/ 19256 h 26498"/>
                    <a:gd name="connsiteX1" fmla="*/ 7419 w 26921"/>
                    <a:gd name="connsiteY1" fmla="*/ 1444 h 26498"/>
                    <a:gd name="connsiteX2" fmla="*/ 25480 w 26921"/>
                    <a:gd name="connsiteY2" fmla="*/ 7298 h 26498"/>
                    <a:gd name="connsiteX3" fmla="*/ 19502 w 26921"/>
                    <a:gd name="connsiteY3" fmla="*/ 25110 h 26498"/>
                    <a:gd name="connsiteX4" fmla="*/ 1441 w 26921"/>
                    <a:gd name="connsiteY4" fmla="*/ 19256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1" h="26498">
                      <a:moveTo>
                        <a:pt x="1441" y="19256"/>
                      </a:moveTo>
                      <a:cubicBezTo>
                        <a:pt x="-1923" y="12779"/>
                        <a:pt x="818" y="4807"/>
                        <a:pt x="7419" y="1444"/>
                      </a:cubicBezTo>
                      <a:cubicBezTo>
                        <a:pt x="14021" y="-1919"/>
                        <a:pt x="22117" y="821"/>
                        <a:pt x="25480" y="7298"/>
                      </a:cubicBezTo>
                      <a:cubicBezTo>
                        <a:pt x="28844" y="13775"/>
                        <a:pt x="26103" y="21747"/>
                        <a:pt x="19502" y="25110"/>
                      </a:cubicBezTo>
                      <a:cubicBezTo>
                        <a:pt x="12775" y="28348"/>
                        <a:pt x="4679" y="25733"/>
                        <a:pt x="1441" y="192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5" name="Freeform 6919">
                  <a:extLst>
                    <a:ext uri="{FF2B5EF4-FFF2-40B4-BE49-F238E27FC236}">
                      <a16:creationId xmlns:a16="http://schemas.microsoft.com/office/drawing/2014/main" id="{CB7056BF-468D-676A-3F2C-DE753514C0FC}"/>
                    </a:ext>
                  </a:extLst>
                </p:cNvPr>
                <p:cNvSpPr/>
                <p:nvPr/>
              </p:nvSpPr>
              <p:spPr>
                <a:xfrm>
                  <a:off x="9871320" y="1126698"/>
                  <a:ext cx="23042" cy="46833"/>
                </a:xfrm>
                <a:custGeom>
                  <a:avLst/>
                  <a:gdLst>
                    <a:gd name="connsiteX0" fmla="*/ 0 w 23042"/>
                    <a:gd name="connsiteY0" fmla="*/ 0 h 46833"/>
                    <a:gd name="connsiteX1" fmla="*/ 6726 w 23042"/>
                    <a:gd name="connsiteY1" fmla="*/ 17563 h 46833"/>
                    <a:gd name="connsiteX2" fmla="*/ 17562 w 23042"/>
                    <a:gd name="connsiteY2" fmla="*/ 31264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1495" y="8221"/>
                        <a:pt x="4359" y="13950"/>
                        <a:pt x="6726" y="17563"/>
                      </a:cubicBezTo>
                      <a:cubicBezTo>
                        <a:pt x="10587" y="23417"/>
                        <a:pt x="13826" y="25161"/>
                        <a:pt x="17562" y="31264"/>
                      </a:cubicBezTo>
                      <a:cubicBezTo>
                        <a:pt x="21175" y="37243"/>
                        <a:pt x="22420" y="42848"/>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6" name="Freeform 6920">
                  <a:extLst>
                    <a:ext uri="{FF2B5EF4-FFF2-40B4-BE49-F238E27FC236}">
                      <a16:creationId xmlns:a16="http://schemas.microsoft.com/office/drawing/2014/main" id="{A86CFDB7-88A3-F5CE-DCED-3BFD17F2A8E2}"/>
                    </a:ext>
                  </a:extLst>
                </p:cNvPr>
                <p:cNvSpPr/>
                <p:nvPr/>
              </p:nvSpPr>
              <p:spPr>
                <a:xfrm>
                  <a:off x="9875181" y="1119100"/>
                  <a:ext cx="24413" cy="46086"/>
                </a:xfrm>
                <a:custGeom>
                  <a:avLst/>
                  <a:gdLst>
                    <a:gd name="connsiteX0" fmla="*/ 24414 w 24413"/>
                    <a:gd name="connsiteY0" fmla="*/ 46086 h 46086"/>
                    <a:gd name="connsiteX1" fmla="*/ 14075 w 24413"/>
                    <a:gd name="connsiteY1" fmla="*/ 30268 h 46086"/>
                    <a:gd name="connsiteX2" fmla="*/ 9342 w 24413"/>
                    <a:gd name="connsiteY2" fmla="*/ 13577 h 46086"/>
                    <a:gd name="connsiteX3" fmla="*/ 0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24414" y="46086"/>
                      </a:moveTo>
                      <a:cubicBezTo>
                        <a:pt x="18559" y="39983"/>
                        <a:pt x="15694" y="34378"/>
                        <a:pt x="14075" y="30268"/>
                      </a:cubicBezTo>
                      <a:cubicBezTo>
                        <a:pt x="11584" y="23666"/>
                        <a:pt x="12082" y="20054"/>
                        <a:pt x="9342" y="13577"/>
                      </a:cubicBezTo>
                      <a:cubicBezTo>
                        <a:pt x="6601" y="7224"/>
                        <a:pt x="2740"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7" name="Freeform 6921">
                  <a:extLst>
                    <a:ext uri="{FF2B5EF4-FFF2-40B4-BE49-F238E27FC236}">
                      <a16:creationId xmlns:a16="http://schemas.microsoft.com/office/drawing/2014/main" id="{8E7D0520-472B-5EFB-A79B-2FDBC55BF1C1}"/>
                    </a:ext>
                  </a:extLst>
                </p:cNvPr>
                <p:cNvSpPr/>
                <p:nvPr/>
              </p:nvSpPr>
              <p:spPr>
                <a:xfrm>
                  <a:off x="9858017" y="1105709"/>
                  <a:ext cx="26481" cy="26214"/>
                </a:xfrm>
                <a:custGeom>
                  <a:avLst/>
                  <a:gdLst>
                    <a:gd name="connsiteX0" fmla="*/ 25011 w 26481"/>
                    <a:gd name="connsiteY0" fmla="*/ 7288 h 26214"/>
                    <a:gd name="connsiteX1" fmla="*/ 19282 w 26481"/>
                    <a:gd name="connsiteY1" fmla="*/ 24851 h 26214"/>
                    <a:gd name="connsiteX2" fmla="*/ 1470 w 26481"/>
                    <a:gd name="connsiteY2" fmla="*/ 18872 h 26214"/>
                    <a:gd name="connsiteX3" fmla="*/ 7200 w 26481"/>
                    <a:gd name="connsiteY3" fmla="*/ 1309 h 26214"/>
                    <a:gd name="connsiteX4" fmla="*/ 25011 w 26481"/>
                    <a:gd name="connsiteY4" fmla="*/ 7288 h 26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81" h="26213">
                      <a:moveTo>
                        <a:pt x="25011" y="7288"/>
                      </a:moveTo>
                      <a:cubicBezTo>
                        <a:pt x="28374" y="13765"/>
                        <a:pt x="25759" y="21737"/>
                        <a:pt x="19282" y="24851"/>
                      </a:cubicBezTo>
                      <a:cubicBezTo>
                        <a:pt x="12804" y="28089"/>
                        <a:pt x="4833" y="25349"/>
                        <a:pt x="1470" y="18872"/>
                      </a:cubicBezTo>
                      <a:cubicBezTo>
                        <a:pt x="-1893" y="12395"/>
                        <a:pt x="723" y="4423"/>
                        <a:pt x="7200" y="1309"/>
                      </a:cubicBezTo>
                      <a:cubicBezTo>
                        <a:pt x="13676" y="-1804"/>
                        <a:pt x="21648" y="811"/>
                        <a:pt x="25011" y="72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6" name="Graphic 2987">
                <a:extLst>
                  <a:ext uri="{FF2B5EF4-FFF2-40B4-BE49-F238E27FC236}">
                    <a16:creationId xmlns:a16="http://schemas.microsoft.com/office/drawing/2014/main" id="{B37FFFE4-8A86-20F9-E5F0-0B2F2CDF7E71}"/>
                  </a:ext>
                </a:extLst>
              </p:cNvPr>
              <p:cNvGrpSpPr/>
              <p:nvPr/>
            </p:nvGrpSpPr>
            <p:grpSpPr>
              <a:xfrm>
                <a:off x="9832062" y="1118541"/>
                <a:ext cx="81425" cy="135847"/>
                <a:chOff x="9832062" y="1118541"/>
                <a:chExt cx="81425" cy="135847"/>
              </a:xfrm>
              <a:grpFill/>
            </p:grpSpPr>
            <p:sp>
              <p:nvSpPr>
                <p:cNvPr id="7116" name="Freeform 6923">
                  <a:extLst>
                    <a:ext uri="{FF2B5EF4-FFF2-40B4-BE49-F238E27FC236}">
                      <a16:creationId xmlns:a16="http://schemas.microsoft.com/office/drawing/2014/main" id="{93432972-E7A0-01E6-DFE6-3803054E6CDD}"/>
                    </a:ext>
                  </a:extLst>
                </p:cNvPr>
                <p:cNvSpPr/>
                <p:nvPr/>
              </p:nvSpPr>
              <p:spPr>
                <a:xfrm>
                  <a:off x="9877423" y="1186361"/>
                  <a:ext cx="22669" cy="46833"/>
                </a:xfrm>
                <a:custGeom>
                  <a:avLst/>
                  <a:gdLst>
                    <a:gd name="connsiteX0" fmla="*/ 22670 w 22669"/>
                    <a:gd name="connsiteY0" fmla="*/ 46834 h 46833"/>
                    <a:gd name="connsiteX1" fmla="*/ 16068 w 22669"/>
                    <a:gd name="connsiteY1" fmla="*/ 29271 h 46833"/>
                    <a:gd name="connsiteX2" fmla="*/ 5356 w 22669"/>
                    <a:gd name="connsiteY2" fmla="*/ 15570 h 46833"/>
                    <a:gd name="connsiteX3" fmla="*/ 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22670" y="46834"/>
                      </a:moveTo>
                      <a:cubicBezTo>
                        <a:pt x="21300" y="38488"/>
                        <a:pt x="18434" y="32883"/>
                        <a:pt x="16068" y="29271"/>
                      </a:cubicBezTo>
                      <a:cubicBezTo>
                        <a:pt x="12206" y="23417"/>
                        <a:pt x="8968" y="21673"/>
                        <a:pt x="5356" y="15570"/>
                      </a:cubicBezTo>
                      <a:cubicBezTo>
                        <a:pt x="1869" y="9591"/>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7" name="Freeform 6924">
                  <a:extLst>
                    <a:ext uri="{FF2B5EF4-FFF2-40B4-BE49-F238E27FC236}">
                      <a16:creationId xmlns:a16="http://schemas.microsoft.com/office/drawing/2014/main" id="{F002B82C-A2E6-24BA-D6DF-F0D6FB4EC031}"/>
                    </a:ext>
                  </a:extLst>
                </p:cNvPr>
                <p:cNvSpPr/>
                <p:nvPr/>
              </p:nvSpPr>
              <p:spPr>
                <a:xfrm>
                  <a:off x="9871943" y="1194458"/>
                  <a:ext cx="24164" cy="46335"/>
                </a:xfrm>
                <a:custGeom>
                  <a:avLst/>
                  <a:gdLst>
                    <a:gd name="connsiteX0" fmla="*/ 0 w 24164"/>
                    <a:gd name="connsiteY0" fmla="*/ 0 h 46335"/>
                    <a:gd name="connsiteX1" fmla="*/ 10214 w 24164"/>
                    <a:gd name="connsiteY1" fmla="*/ 15819 h 46335"/>
                    <a:gd name="connsiteX2" fmla="*/ 14822 w 24164"/>
                    <a:gd name="connsiteY2" fmla="*/ 32634 h 46335"/>
                    <a:gd name="connsiteX3" fmla="*/ 24164 w 24164"/>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4164" h="46335">
                      <a:moveTo>
                        <a:pt x="0" y="0"/>
                      </a:moveTo>
                      <a:cubicBezTo>
                        <a:pt x="5855" y="6103"/>
                        <a:pt x="8719" y="11708"/>
                        <a:pt x="10214" y="15819"/>
                      </a:cubicBezTo>
                      <a:cubicBezTo>
                        <a:pt x="12580" y="22420"/>
                        <a:pt x="12082" y="26033"/>
                        <a:pt x="14822" y="32634"/>
                      </a:cubicBezTo>
                      <a:cubicBezTo>
                        <a:pt x="17438" y="38987"/>
                        <a:pt x="21300" y="43471"/>
                        <a:pt x="24164"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8" name="Freeform 6925">
                  <a:extLst>
                    <a:ext uri="{FF2B5EF4-FFF2-40B4-BE49-F238E27FC236}">
                      <a16:creationId xmlns:a16="http://schemas.microsoft.com/office/drawing/2014/main" id="{E15E4BCA-82C0-778F-CB01-BA7B825BFCAD}"/>
                    </a:ext>
                  </a:extLst>
                </p:cNvPr>
                <p:cNvSpPr/>
                <p:nvPr/>
              </p:nvSpPr>
              <p:spPr>
                <a:xfrm>
                  <a:off x="9886525" y="1227945"/>
                  <a:ext cx="26962" cy="26444"/>
                </a:xfrm>
                <a:custGeom>
                  <a:avLst/>
                  <a:gdLst>
                    <a:gd name="connsiteX0" fmla="*/ 1361 w 26962"/>
                    <a:gd name="connsiteY0" fmla="*/ 19201 h 26444"/>
                    <a:gd name="connsiteX1" fmla="*/ 7464 w 26962"/>
                    <a:gd name="connsiteY1" fmla="*/ 1389 h 26444"/>
                    <a:gd name="connsiteX2" fmla="*/ 25525 w 26962"/>
                    <a:gd name="connsiteY2" fmla="*/ 7243 h 26444"/>
                    <a:gd name="connsiteX3" fmla="*/ 19421 w 26962"/>
                    <a:gd name="connsiteY3" fmla="*/ 25055 h 26444"/>
                    <a:gd name="connsiteX4" fmla="*/ 1361 w 26962"/>
                    <a:gd name="connsiteY4" fmla="*/ 19201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2" h="26444">
                      <a:moveTo>
                        <a:pt x="1361" y="19201"/>
                      </a:moveTo>
                      <a:cubicBezTo>
                        <a:pt x="-1877" y="12599"/>
                        <a:pt x="862" y="4628"/>
                        <a:pt x="7464" y="1389"/>
                      </a:cubicBezTo>
                      <a:cubicBezTo>
                        <a:pt x="14066" y="-1849"/>
                        <a:pt x="22162" y="766"/>
                        <a:pt x="25525" y="7243"/>
                      </a:cubicBezTo>
                      <a:cubicBezTo>
                        <a:pt x="28888" y="13720"/>
                        <a:pt x="26148" y="21692"/>
                        <a:pt x="19421" y="25055"/>
                      </a:cubicBezTo>
                      <a:cubicBezTo>
                        <a:pt x="12696" y="28294"/>
                        <a:pt x="4599" y="25678"/>
                        <a:pt x="1361" y="192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9" name="Freeform 6926">
                  <a:extLst>
                    <a:ext uri="{FF2B5EF4-FFF2-40B4-BE49-F238E27FC236}">
                      <a16:creationId xmlns:a16="http://schemas.microsoft.com/office/drawing/2014/main" id="{CDC01959-0164-10A9-A7C8-C2411159C3BA}"/>
                    </a:ext>
                  </a:extLst>
                </p:cNvPr>
                <p:cNvSpPr/>
                <p:nvPr/>
              </p:nvSpPr>
              <p:spPr>
                <a:xfrm>
                  <a:off x="9845039" y="1139652"/>
                  <a:ext cx="22668" cy="46958"/>
                </a:xfrm>
                <a:custGeom>
                  <a:avLst/>
                  <a:gdLst>
                    <a:gd name="connsiteX0" fmla="*/ 0 w 22668"/>
                    <a:gd name="connsiteY0" fmla="*/ 0 h 46958"/>
                    <a:gd name="connsiteX1" fmla="*/ 6601 w 22668"/>
                    <a:gd name="connsiteY1" fmla="*/ 17563 h 46958"/>
                    <a:gd name="connsiteX2" fmla="*/ 17313 w 22668"/>
                    <a:gd name="connsiteY2" fmla="*/ 31389 h 46958"/>
                    <a:gd name="connsiteX3" fmla="*/ 22669 w 22668"/>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8" h="46958">
                      <a:moveTo>
                        <a:pt x="0" y="0"/>
                      </a:moveTo>
                      <a:cubicBezTo>
                        <a:pt x="1370" y="8221"/>
                        <a:pt x="4235" y="13950"/>
                        <a:pt x="6601" y="17563"/>
                      </a:cubicBezTo>
                      <a:cubicBezTo>
                        <a:pt x="10462" y="23417"/>
                        <a:pt x="13701" y="25285"/>
                        <a:pt x="17313" y="31389"/>
                      </a:cubicBezTo>
                      <a:cubicBezTo>
                        <a:pt x="20801" y="37367"/>
                        <a:pt x="22171" y="43097"/>
                        <a:pt x="22669"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0" name="Freeform 6927">
                  <a:extLst>
                    <a:ext uri="{FF2B5EF4-FFF2-40B4-BE49-F238E27FC236}">
                      <a16:creationId xmlns:a16="http://schemas.microsoft.com/office/drawing/2014/main" id="{7FB14392-88CB-DE2D-5D73-2528D40C71B0}"/>
                    </a:ext>
                  </a:extLst>
                </p:cNvPr>
                <p:cNvSpPr/>
                <p:nvPr/>
              </p:nvSpPr>
              <p:spPr>
                <a:xfrm>
                  <a:off x="9849024" y="1132054"/>
                  <a:ext cx="24040" cy="46335"/>
                </a:xfrm>
                <a:custGeom>
                  <a:avLst/>
                  <a:gdLst>
                    <a:gd name="connsiteX0" fmla="*/ 24040 w 24040"/>
                    <a:gd name="connsiteY0" fmla="*/ 46335 h 46335"/>
                    <a:gd name="connsiteX1" fmla="*/ 13826 w 24040"/>
                    <a:gd name="connsiteY1" fmla="*/ 30517 h 46335"/>
                    <a:gd name="connsiteX2" fmla="*/ 9218 w 24040"/>
                    <a:gd name="connsiteY2" fmla="*/ 13701 h 46335"/>
                    <a:gd name="connsiteX3" fmla="*/ 0 w 24040"/>
                    <a:gd name="connsiteY3" fmla="*/ 0 h 46335"/>
                  </a:gdLst>
                  <a:ahLst/>
                  <a:cxnLst>
                    <a:cxn ang="0">
                      <a:pos x="connsiteX0" y="connsiteY0"/>
                    </a:cxn>
                    <a:cxn ang="0">
                      <a:pos x="connsiteX1" y="connsiteY1"/>
                    </a:cxn>
                    <a:cxn ang="0">
                      <a:pos x="connsiteX2" y="connsiteY2"/>
                    </a:cxn>
                    <a:cxn ang="0">
                      <a:pos x="connsiteX3" y="connsiteY3"/>
                    </a:cxn>
                  </a:cxnLst>
                  <a:rect l="l" t="t" r="r" b="b"/>
                  <a:pathLst>
                    <a:path w="24040" h="46335">
                      <a:moveTo>
                        <a:pt x="24040" y="46335"/>
                      </a:moveTo>
                      <a:cubicBezTo>
                        <a:pt x="18186" y="40232"/>
                        <a:pt x="15321" y="34627"/>
                        <a:pt x="13826" y="30517"/>
                      </a:cubicBezTo>
                      <a:cubicBezTo>
                        <a:pt x="11460" y="23915"/>
                        <a:pt x="11958" y="20303"/>
                        <a:pt x="9218" y="13701"/>
                      </a:cubicBezTo>
                      <a:cubicBezTo>
                        <a:pt x="6602" y="7349"/>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21" name="Freeform 6928">
                  <a:extLst>
                    <a:ext uri="{FF2B5EF4-FFF2-40B4-BE49-F238E27FC236}">
                      <a16:creationId xmlns:a16="http://schemas.microsoft.com/office/drawing/2014/main" id="{2E0DAA56-0EC5-2E38-64A4-BA5296362DB5}"/>
                    </a:ext>
                  </a:extLst>
                </p:cNvPr>
                <p:cNvSpPr/>
                <p:nvPr/>
              </p:nvSpPr>
              <p:spPr>
                <a:xfrm>
                  <a:off x="9832062" y="1118541"/>
                  <a:ext cx="26278" cy="26458"/>
                </a:xfrm>
                <a:custGeom>
                  <a:avLst/>
                  <a:gdLst>
                    <a:gd name="connsiteX0" fmla="*/ 24809 w 26278"/>
                    <a:gd name="connsiteY0" fmla="*/ 7410 h 26458"/>
                    <a:gd name="connsiteX1" fmla="*/ 19080 w 26278"/>
                    <a:gd name="connsiteY1" fmla="*/ 25097 h 26458"/>
                    <a:gd name="connsiteX2" fmla="*/ 1392 w 26278"/>
                    <a:gd name="connsiteY2" fmla="*/ 18994 h 26458"/>
                    <a:gd name="connsiteX3" fmla="*/ 7122 w 26278"/>
                    <a:gd name="connsiteY3" fmla="*/ 1307 h 26458"/>
                    <a:gd name="connsiteX4" fmla="*/ 24809 w 26278"/>
                    <a:gd name="connsiteY4" fmla="*/ 7410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58">
                      <a:moveTo>
                        <a:pt x="24809" y="7410"/>
                      </a:moveTo>
                      <a:cubicBezTo>
                        <a:pt x="28172" y="13887"/>
                        <a:pt x="25556" y="21859"/>
                        <a:pt x="19080" y="25097"/>
                      </a:cubicBezTo>
                      <a:cubicBezTo>
                        <a:pt x="12602" y="28336"/>
                        <a:pt x="4630" y="25595"/>
                        <a:pt x="1392" y="18994"/>
                      </a:cubicBezTo>
                      <a:cubicBezTo>
                        <a:pt x="-1846" y="12392"/>
                        <a:pt x="769" y="4545"/>
                        <a:pt x="7122" y="1307"/>
                      </a:cubicBezTo>
                      <a:cubicBezTo>
                        <a:pt x="13599" y="-1807"/>
                        <a:pt x="21446" y="808"/>
                        <a:pt x="24809" y="74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7" name="Graphic 2987">
                <a:extLst>
                  <a:ext uri="{FF2B5EF4-FFF2-40B4-BE49-F238E27FC236}">
                    <a16:creationId xmlns:a16="http://schemas.microsoft.com/office/drawing/2014/main" id="{F71BBEDD-DBCC-0F5F-8B1F-3C48DE22A78C}"/>
                  </a:ext>
                </a:extLst>
              </p:cNvPr>
              <p:cNvGrpSpPr/>
              <p:nvPr/>
            </p:nvGrpSpPr>
            <p:grpSpPr>
              <a:xfrm>
                <a:off x="9805783" y="1131440"/>
                <a:ext cx="80720" cy="136375"/>
                <a:chOff x="9805783" y="1131440"/>
                <a:chExt cx="80720" cy="136375"/>
              </a:xfrm>
              <a:grpFill/>
            </p:grpSpPr>
            <p:sp>
              <p:nvSpPr>
                <p:cNvPr id="7110" name="Freeform 6930">
                  <a:extLst>
                    <a:ext uri="{FF2B5EF4-FFF2-40B4-BE49-F238E27FC236}">
                      <a16:creationId xmlns:a16="http://schemas.microsoft.com/office/drawing/2014/main" id="{E3F1D9F2-0391-8E54-E22C-2D03F38692F3}"/>
                    </a:ext>
                  </a:extLst>
                </p:cNvPr>
                <p:cNvSpPr/>
                <p:nvPr/>
              </p:nvSpPr>
              <p:spPr>
                <a:xfrm>
                  <a:off x="9850643" y="1199440"/>
                  <a:ext cx="22544" cy="47082"/>
                </a:xfrm>
                <a:custGeom>
                  <a:avLst/>
                  <a:gdLst>
                    <a:gd name="connsiteX0" fmla="*/ 22545 w 22544"/>
                    <a:gd name="connsiteY0" fmla="*/ 47083 h 47082"/>
                    <a:gd name="connsiteX1" fmla="*/ 16068 w 22544"/>
                    <a:gd name="connsiteY1" fmla="*/ 29396 h 47082"/>
                    <a:gd name="connsiteX2" fmla="*/ 5357 w 22544"/>
                    <a:gd name="connsiteY2" fmla="*/ 15570 h 47082"/>
                    <a:gd name="connsiteX3" fmla="*/ 0 w 22544"/>
                    <a:gd name="connsiteY3" fmla="*/ 0 h 47082"/>
                  </a:gdLst>
                  <a:ahLst/>
                  <a:cxnLst>
                    <a:cxn ang="0">
                      <a:pos x="connsiteX0" y="connsiteY0"/>
                    </a:cxn>
                    <a:cxn ang="0">
                      <a:pos x="connsiteX1" y="connsiteY1"/>
                    </a:cxn>
                    <a:cxn ang="0">
                      <a:pos x="connsiteX2" y="connsiteY2"/>
                    </a:cxn>
                    <a:cxn ang="0">
                      <a:pos x="connsiteX3" y="connsiteY3"/>
                    </a:cxn>
                  </a:cxnLst>
                  <a:rect l="l" t="t" r="r" b="b"/>
                  <a:pathLst>
                    <a:path w="22544" h="47082">
                      <a:moveTo>
                        <a:pt x="22545" y="47083"/>
                      </a:moveTo>
                      <a:cubicBezTo>
                        <a:pt x="21175" y="38737"/>
                        <a:pt x="18435" y="33132"/>
                        <a:pt x="16068" y="29396"/>
                      </a:cubicBezTo>
                      <a:cubicBezTo>
                        <a:pt x="12332" y="23541"/>
                        <a:pt x="8969" y="21673"/>
                        <a:pt x="5357" y="15570"/>
                      </a:cubicBezTo>
                      <a:cubicBezTo>
                        <a:pt x="1869" y="9591"/>
                        <a:pt x="62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1" name="Freeform 6931">
                  <a:extLst>
                    <a:ext uri="{FF2B5EF4-FFF2-40B4-BE49-F238E27FC236}">
                      <a16:creationId xmlns:a16="http://schemas.microsoft.com/office/drawing/2014/main" id="{723EA3E7-8164-C677-F031-6BCAF34DD509}"/>
                    </a:ext>
                  </a:extLst>
                </p:cNvPr>
                <p:cNvSpPr/>
                <p:nvPr/>
              </p:nvSpPr>
              <p:spPr>
                <a:xfrm>
                  <a:off x="9845412" y="1207661"/>
                  <a:ext cx="23790" cy="46460"/>
                </a:xfrm>
                <a:custGeom>
                  <a:avLst/>
                  <a:gdLst>
                    <a:gd name="connsiteX0" fmla="*/ 0 w 23790"/>
                    <a:gd name="connsiteY0" fmla="*/ 0 h 46460"/>
                    <a:gd name="connsiteX1" fmla="*/ 10089 w 23790"/>
                    <a:gd name="connsiteY1" fmla="*/ 15943 h 46460"/>
                    <a:gd name="connsiteX2" fmla="*/ 14573 w 23790"/>
                    <a:gd name="connsiteY2" fmla="*/ 32759 h 46460"/>
                    <a:gd name="connsiteX3" fmla="*/ 23791 w 23790"/>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790" h="46460">
                      <a:moveTo>
                        <a:pt x="0" y="0"/>
                      </a:moveTo>
                      <a:cubicBezTo>
                        <a:pt x="5730" y="6103"/>
                        <a:pt x="8595" y="11833"/>
                        <a:pt x="10089" y="15943"/>
                      </a:cubicBezTo>
                      <a:cubicBezTo>
                        <a:pt x="12456" y="22545"/>
                        <a:pt x="11833" y="26157"/>
                        <a:pt x="14573" y="32759"/>
                      </a:cubicBezTo>
                      <a:cubicBezTo>
                        <a:pt x="17189" y="39111"/>
                        <a:pt x="20926" y="43720"/>
                        <a:pt x="23791"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2" name="Freeform 6932">
                  <a:extLst>
                    <a:ext uri="{FF2B5EF4-FFF2-40B4-BE49-F238E27FC236}">
                      <a16:creationId xmlns:a16="http://schemas.microsoft.com/office/drawing/2014/main" id="{94D40368-90BE-7BD4-A01F-35A1F6B1F9E5}"/>
                    </a:ext>
                  </a:extLst>
                </p:cNvPr>
                <p:cNvSpPr/>
                <p:nvPr/>
              </p:nvSpPr>
              <p:spPr>
                <a:xfrm>
                  <a:off x="9859623" y="1241275"/>
                  <a:ext cx="26880" cy="26540"/>
                </a:xfrm>
                <a:custGeom>
                  <a:avLst/>
                  <a:gdLst>
                    <a:gd name="connsiteX0" fmla="*/ 1358 w 26880"/>
                    <a:gd name="connsiteY0" fmla="*/ 19198 h 26540"/>
                    <a:gd name="connsiteX1" fmla="*/ 7586 w 26880"/>
                    <a:gd name="connsiteY1" fmla="*/ 1386 h 26540"/>
                    <a:gd name="connsiteX2" fmla="*/ 25522 w 26880"/>
                    <a:gd name="connsiteY2" fmla="*/ 7365 h 26540"/>
                    <a:gd name="connsiteX3" fmla="*/ 19295 w 26880"/>
                    <a:gd name="connsiteY3" fmla="*/ 25177 h 26540"/>
                    <a:gd name="connsiteX4" fmla="*/ 1358 w 26880"/>
                    <a:gd name="connsiteY4" fmla="*/ 19198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540">
                      <a:moveTo>
                        <a:pt x="1358" y="19198"/>
                      </a:moveTo>
                      <a:cubicBezTo>
                        <a:pt x="-1880" y="12596"/>
                        <a:pt x="860" y="4625"/>
                        <a:pt x="7586" y="1386"/>
                      </a:cubicBezTo>
                      <a:cubicBezTo>
                        <a:pt x="14312" y="-1852"/>
                        <a:pt x="22284" y="763"/>
                        <a:pt x="25522" y="7365"/>
                      </a:cubicBezTo>
                      <a:cubicBezTo>
                        <a:pt x="28761" y="13966"/>
                        <a:pt x="26020" y="21938"/>
                        <a:pt x="19295" y="25177"/>
                      </a:cubicBezTo>
                      <a:cubicBezTo>
                        <a:pt x="12569" y="28415"/>
                        <a:pt x="4597" y="25675"/>
                        <a:pt x="1358" y="19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3" name="Freeform 6933">
                  <a:extLst>
                    <a:ext uri="{FF2B5EF4-FFF2-40B4-BE49-F238E27FC236}">
                      <a16:creationId xmlns:a16="http://schemas.microsoft.com/office/drawing/2014/main" id="{487C13E7-6CDE-4F84-89AB-3A32FA9D8A9F}"/>
                    </a:ext>
                  </a:extLst>
                </p:cNvPr>
                <p:cNvSpPr/>
                <p:nvPr/>
              </p:nvSpPr>
              <p:spPr>
                <a:xfrm>
                  <a:off x="9818756" y="1152606"/>
                  <a:ext cx="22296" cy="47207"/>
                </a:xfrm>
                <a:custGeom>
                  <a:avLst/>
                  <a:gdLst>
                    <a:gd name="connsiteX0" fmla="*/ 0 w 22296"/>
                    <a:gd name="connsiteY0" fmla="*/ 0 h 47207"/>
                    <a:gd name="connsiteX1" fmla="*/ 6477 w 22296"/>
                    <a:gd name="connsiteY1" fmla="*/ 17687 h 47207"/>
                    <a:gd name="connsiteX2" fmla="*/ 17064 w 22296"/>
                    <a:gd name="connsiteY2" fmla="*/ 31513 h 47207"/>
                    <a:gd name="connsiteX3" fmla="*/ 22296 w 2229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6" h="47207">
                      <a:moveTo>
                        <a:pt x="0" y="0"/>
                      </a:moveTo>
                      <a:cubicBezTo>
                        <a:pt x="1371" y="8345"/>
                        <a:pt x="4111" y="13950"/>
                        <a:pt x="6477" y="17687"/>
                      </a:cubicBezTo>
                      <a:cubicBezTo>
                        <a:pt x="10214" y="23541"/>
                        <a:pt x="13452" y="25410"/>
                        <a:pt x="17064" y="31513"/>
                      </a:cubicBezTo>
                      <a:cubicBezTo>
                        <a:pt x="20552" y="37492"/>
                        <a:pt x="21798" y="43222"/>
                        <a:pt x="2229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4" name="Freeform 6934">
                  <a:extLst>
                    <a:ext uri="{FF2B5EF4-FFF2-40B4-BE49-F238E27FC236}">
                      <a16:creationId xmlns:a16="http://schemas.microsoft.com/office/drawing/2014/main" id="{FE5633E5-F8CC-22FE-6D08-10F42B5FBF93}"/>
                    </a:ext>
                  </a:extLst>
                </p:cNvPr>
                <p:cNvSpPr/>
                <p:nvPr/>
              </p:nvSpPr>
              <p:spPr>
                <a:xfrm>
                  <a:off x="9822742" y="1145008"/>
                  <a:ext cx="23790" cy="46460"/>
                </a:xfrm>
                <a:custGeom>
                  <a:avLst/>
                  <a:gdLst>
                    <a:gd name="connsiteX0" fmla="*/ 23791 w 23790"/>
                    <a:gd name="connsiteY0" fmla="*/ 46460 h 46460"/>
                    <a:gd name="connsiteX1" fmla="*/ 13702 w 23790"/>
                    <a:gd name="connsiteY1" fmla="*/ 30517 h 46460"/>
                    <a:gd name="connsiteX2" fmla="*/ 9217 w 23790"/>
                    <a:gd name="connsiteY2" fmla="*/ 13701 h 46460"/>
                    <a:gd name="connsiteX3" fmla="*/ 0 w 23790"/>
                    <a:gd name="connsiteY3" fmla="*/ 0 h 46460"/>
                  </a:gdLst>
                  <a:ahLst/>
                  <a:cxnLst>
                    <a:cxn ang="0">
                      <a:pos x="connsiteX0" y="connsiteY0"/>
                    </a:cxn>
                    <a:cxn ang="0">
                      <a:pos x="connsiteX1" y="connsiteY1"/>
                    </a:cxn>
                    <a:cxn ang="0">
                      <a:pos x="connsiteX2" y="connsiteY2"/>
                    </a:cxn>
                    <a:cxn ang="0">
                      <a:pos x="connsiteX3" y="connsiteY3"/>
                    </a:cxn>
                  </a:cxnLst>
                  <a:rect l="l" t="t" r="r" b="b"/>
                  <a:pathLst>
                    <a:path w="23790" h="46460">
                      <a:moveTo>
                        <a:pt x="23791" y="46460"/>
                      </a:moveTo>
                      <a:cubicBezTo>
                        <a:pt x="18061" y="40357"/>
                        <a:pt x="15196" y="34627"/>
                        <a:pt x="13702" y="30517"/>
                      </a:cubicBezTo>
                      <a:cubicBezTo>
                        <a:pt x="11335" y="23915"/>
                        <a:pt x="11833" y="20303"/>
                        <a:pt x="9217" y="13701"/>
                      </a:cubicBezTo>
                      <a:cubicBezTo>
                        <a:pt x="6602" y="7349"/>
                        <a:pt x="2865"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15" name="Freeform 6935">
                  <a:extLst>
                    <a:ext uri="{FF2B5EF4-FFF2-40B4-BE49-F238E27FC236}">
                      <a16:creationId xmlns:a16="http://schemas.microsoft.com/office/drawing/2014/main" id="{0F721558-07A3-9E68-A7B2-447A478DF8FE}"/>
                    </a:ext>
                  </a:extLst>
                </p:cNvPr>
                <p:cNvSpPr/>
                <p:nvPr/>
              </p:nvSpPr>
              <p:spPr>
                <a:xfrm>
                  <a:off x="9805783" y="1131440"/>
                  <a:ext cx="26195" cy="26512"/>
                </a:xfrm>
                <a:custGeom>
                  <a:avLst/>
                  <a:gdLst>
                    <a:gd name="connsiteX0" fmla="*/ 24806 w 26195"/>
                    <a:gd name="connsiteY0" fmla="*/ 7464 h 26512"/>
                    <a:gd name="connsiteX1" fmla="*/ 18952 w 26195"/>
                    <a:gd name="connsiteY1" fmla="*/ 25152 h 26512"/>
                    <a:gd name="connsiteX2" fmla="*/ 1389 w 26195"/>
                    <a:gd name="connsiteY2" fmla="*/ 19048 h 26512"/>
                    <a:gd name="connsiteX3" fmla="*/ 7244 w 26195"/>
                    <a:gd name="connsiteY3" fmla="*/ 1361 h 26512"/>
                    <a:gd name="connsiteX4" fmla="*/ 24806 w 26195"/>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12">
                      <a:moveTo>
                        <a:pt x="24806" y="7464"/>
                      </a:moveTo>
                      <a:cubicBezTo>
                        <a:pt x="28045" y="14066"/>
                        <a:pt x="25429" y="21913"/>
                        <a:pt x="18952" y="25152"/>
                      </a:cubicBezTo>
                      <a:cubicBezTo>
                        <a:pt x="12475" y="28390"/>
                        <a:pt x="4628" y="25650"/>
                        <a:pt x="1389" y="19048"/>
                      </a:cubicBezTo>
                      <a:cubicBezTo>
                        <a:pt x="-1850" y="12447"/>
                        <a:pt x="766" y="4600"/>
                        <a:pt x="7244" y="1361"/>
                      </a:cubicBezTo>
                      <a:cubicBezTo>
                        <a:pt x="13720" y="-1877"/>
                        <a:pt x="21567" y="863"/>
                        <a:pt x="24806"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8" name="Graphic 2987">
                <a:extLst>
                  <a:ext uri="{FF2B5EF4-FFF2-40B4-BE49-F238E27FC236}">
                    <a16:creationId xmlns:a16="http://schemas.microsoft.com/office/drawing/2014/main" id="{F016E2C4-6B0A-8FBB-400D-1652296E5251}"/>
                  </a:ext>
                </a:extLst>
              </p:cNvPr>
              <p:cNvGrpSpPr/>
              <p:nvPr/>
            </p:nvGrpSpPr>
            <p:grpSpPr>
              <a:xfrm>
                <a:off x="9779582" y="1144394"/>
                <a:ext cx="79747" cy="136771"/>
                <a:chOff x="9779582" y="1144394"/>
                <a:chExt cx="79747" cy="136771"/>
              </a:xfrm>
              <a:grpFill/>
            </p:grpSpPr>
            <p:sp>
              <p:nvSpPr>
                <p:cNvPr id="7104" name="Freeform 6937">
                  <a:extLst>
                    <a:ext uri="{FF2B5EF4-FFF2-40B4-BE49-F238E27FC236}">
                      <a16:creationId xmlns:a16="http://schemas.microsoft.com/office/drawing/2014/main" id="{D95CE10E-3E76-264E-6115-B375A628517C}"/>
                    </a:ext>
                  </a:extLst>
                </p:cNvPr>
                <p:cNvSpPr/>
                <p:nvPr/>
              </p:nvSpPr>
              <p:spPr>
                <a:xfrm>
                  <a:off x="9824112" y="1212518"/>
                  <a:ext cx="22171" cy="47207"/>
                </a:xfrm>
                <a:custGeom>
                  <a:avLst/>
                  <a:gdLst>
                    <a:gd name="connsiteX0" fmla="*/ 22172 w 22171"/>
                    <a:gd name="connsiteY0" fmla="*/ 47207 h 47207"/>
                    <a:gd name="connsiteX1" fmla="*/ 15819 w 22171"/>
                    <a:gd name="connsiteY1" fmla="*/ 29520 h 47207"/>
                    <a:gd name="connsiteX2" fmla="*/ 5232 w 22171"/>
                    <a:gd name="connsiteY2" fmla="*/ 15694 h 47207"/>
                    <a:gd name="connsiteX3" fmla="*/ 0 w 22171"/>
                    <a:gd name="connsiteY3" fmla="*/ 0 h 47207"/>
                  </a:gdLst>
                  <a:ahLst/>
                  <a:cxnLst>
                    <a:cxn ang="0">
                      <a:pos x="connsiteX0" y="connsiteY0"/>
                    </a:cxn>
                    <a:cxn ang="0">
                      <a:pos x="connsiteX1" y="connsiteY1"/>
                    </a:cxn>
                    <a:cxn ang="0">
                      <a:pos x="connsiteX2" y="connsiteY2"/>
                    </a:cxn>
                    <a:cxn ang="0">
                      <a:pos x="connsiteX3" y="connsiteY3"/>
                    </a:cxn>
                  </a:cxnLst>
                  <a:rect l="l" t="t" r="r" b="b"/>
                  <a:pathLst>
                    <a:path w="22171" h="47207">
                      <a:moveTo>
                        <a:pt x="22172" y="47207"/>
                      </a:moveTo>
                      <a:cubicBezTo>
                        <a:pt x="20926" y="38862"/>
                        <a:pt x="18061" y="33132"/>
                        <a:pt x="15819" y="29520"/>
                      </a:cubicBezTo>
                      <a:cubicBezTo>
                        <a:pt x="12082" y="23666"/>
                        <a:pt x="8844" y="21798"/>
                        <a:pt x="5232" y="15694"/>
                      </a:cubicBezTo>
                      <a:cubicBezTo>
                        <a:pt x="1744" y="9715"/>
                        <a:pt x="49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5" name="Freeform 6938">
                  <a:extLst>
                    <a:ext uri="{FF2B5EF4-FFF2-40B4-BE49-F238E27FC236}">
                      <a16:creationId xmlns:a16="http://schemas.microsoft.com/office/drawing/2014/main" id="{A44BDDEB-49F4-C954-3F15-4775875F7BC0}"/>
                    </a:ext>
                  </a:extLst>
                </p:cNvPr>
                <p:cNvSpPr/>
                <p:nvPr/>
              </p:nvSpPr>
              <p:spPr>
                <a:xfrm>
                  <a:off x="9818756" y="1220864"/>
                  <a:ext cx="23416" cy="46709"/>
                </a:xfrm>
                <a:custGeom>
                  <a:avLst/>
                  <a:gdLst>
                    <a:gd name="connsiteX0" fmla="*/ 0 w 23416"/>
                    <a:gd name="connsiteY0" fmla="*/ 0 h 46709"/>
                    <a:gd name="connsiteX1" fmla="*/ 9965 w 23416"/>
                    <a:gd name="connsiteY1" fmla="*/ 15943 h 46709"/>
                    <a:gd name="connsiteX2" fmla="*/ 14324 w 23416"/>
                    <a:gd name="connsiteY2" fmla="*/ 32883 h 46709"/>
                    <a:gd name="connsiteX3" fmla="*/ 23417 w 23416"/>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416" h="46709">
                      <a:moveTo>
                        <a:pt x="0" y="0"/>
                      </a:moveTo>
                      <a:cubicBezTo>
                        <a:pt x="5730" y="6103"/>
                        <a:pt x="8470" y="11833"/>
                        <a:pt x="9965" y="15943"/>
                      </a:cubicBezTo>
                      <a:cubicBezTo>
                        <a:pt x="12332" y="22545"/>
                        <a:pt x="11708" y="26282"/>
                        <a:pt x="14324" y="32883"/>
                      </a:cubicBezTo>
                      <a:cubicBezTo>
                        <a:pt x="16816" y="39360"/>
                        <a:pt x="20677" y="43844"/>
                        <a:pt x="23417"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6" name="Freeform 6939">
                  <a:extLst>
                    <a:ext uri="{FF2B5EF4-FFF2-40B4-BE49-F238E27FC236}">
                      <a16:creationId xmlns:a16="http://schemas.microsoft.com/office/drawing/2014/main" id="{B1BC9A16-80E4-39BF-489A-075F8E69DE04}"/>
                    </a:ext>
                  </a:extLst>
                </p:cNvPr>
                <p:cNvSpPr/>
                <p:nvPr/>
              </p:nvSpPr>
              <p:spPr>
                <a:xfrm>
                  <a:off x="9832670" y="1254424"/>
                  <a:ext cx="26658" cy="26741"/>
                </a:xfrm>
                <a:custGeom>
                  <a:avLst/>
                  <a:gdLst>
                    <a:gd name="connsiteX0" fmla="*/ 1283 w 26658"/>
                    <a:gd name="connsiteY0" fmla="*/ 19377 h 26741"/>
                    <a:gd name="connsiteX1" fmla="*/ 7511 w 26658"/>
                    <a:gd name="connsiteY1" fmla="*/ 1441 h 26741"/>
                    <a:gd name="connsiteX2" fmla="*/ 25322 w 26658"/>
                    <a:gd name="connsiteY2" fmla="*/ 7419 h 26741"/>
                    <a:gd name="connsiteX3" fmla="*/ 19094 w 26658"/>
                    <a:gd name="connsiteY3" fmla="*/ 25356 h 26741"/>
                    <a:gd name="connsiteX4" fmla="*/ 1283 w 26658"/>
                    <a:gd name="connsiteY4" fmla="*/ 19377 h 26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741">
                      <a:moveTo>
                        <a:pt x="1283" y="19377"/>
                      </a:moveTo>
                      <a:cubicBezTo>
                        <a:pt x="-1831" y="12775"/>
                        <a:pt x="909" y="4804"/>
                        <a:pt x="7511" y="1441"/>
                      </a:cubicBezTo>
                      <a:cubicBezTo>
                        <a:pt x="14112" y="-1922"/>
                        <a:pt x="22084" y="818"/>
                        <a:pt x="25322" y="7419"/>
                      </a:cubicBezTo>
                      <a:cubicBezTo>
                        <a:pt x="28561" y="14021"/>
                        <a:pt x="25695" y="21993"/>
                        <a:pt x="19094" y="25356"/>
                      </a:cubicBezTo>
                      <a:cubicBezTo>
                        <a:pt x="12492" y="28594"/>
                        <a:pt x="4521" y="25979"/>
                        <a:pt x="1283" y="19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7" name="Freeform 6940">
                  <a:extLst>
                    <a:ext uri="{FF2B5EF4-FFF2-40B4-BE49-F238E27FC236}">
                      <a16:creationId xmlns:a16="http://schemas.microsoft.com/office/drawing/2014/main" id="{10E5B0DD-9758-D07E-460D-EC49BD4DFAD4}"/>
                    </a:ext>
                  </a:extLst>
                </p:cNvPr>
                <p:cNvSpPr/>
                <p:nvPr/>
              </p:nvSpPr>
              <p:spPr>
                <a:xfrm>
                  <a:off x="9792600" y="1165560"/>
                  <a:ext cx="22046" cy="47207"/>
                </a:xfrm>
                <a:custGeom>
                  <a:avLst/>
                  <a:gdLst>
                    <a:gd name="connsiteX0" fmla="*/ 0 w 22046"/>
                    <a:gd name="connsiteY0" fmla="*/ 0 h 47207"/>
                    <a:gd name="connsiteX1" fmla="*/ 6353 w 22046"/>
                    <a:gd name="connsiteY1" fmla="*/ 17687 h 47207"/>
                    <a:gd name="connsiteX2" fmla="*/ 16815 w 22046"/>
                    <a:gd name="connsiteY2" fmla="*/ 31513 h 47207"/>
                    <a:gd name="connsiteX3" fmla="*/ 22047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1245" y="8345"/>
                        <a:pt x="4111" y="14075"/>
                        <a:pt x="6353" y="17687"/>
                      </a:cubicBezTo>
                      <a:cubicBezTo>
                        <a:pt x="10089" y="23666"/>
                        <a:pt x="13328" y="25410"/>
                        <a:pt x="16815" y="31513"/>
                      </a:cubicBezTo>
                      <a:cubicBezTo>
                        <a:pt x="20303" y="37492"/>
                        <a:pt x="21548" y="43222"/>
                        <a:pt x="22047"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8" name="Freeform 6941">
                  <a:extLst>
                    <a:ext uri="{FF2B5EF4-FFF2-40B4-BE49-F238E27FC236}">
                      <a16:creationId xmlns:a16="http://schemas.microsoft.com/office/drawing/2014/main" id="{B4D59CCB-70CF-D8A7-5D97-B0BB7AF5BDB8}"/>
                    </a:ext>
                  </a:extLst>
                </p:cNvPr>
                <p:cNvSpPr/>
                <p:nvPr/>
              </p:nvSpPr>
              <p:spPr>
                <a:xfrm>
                  <a:off x="9796585" y="1157962"/>
                  <a:ext cx="23416" cy="46584"/>
                </a:xfrm>
                <a:custGeom>
                  <a:avLst/>
                  <a:gdLst>
                    <a:gd name="connsiteX0" fmla="*/ 23417 w 23416"/>
                    <a:gd name="connsiteY0" fmla="*/ 46585 h 46584"/>
                    <a:gd name="connsiteX1" fmla="*/ 13452 w 23416"/>
                    <a:gd name="connsiteY1" fmla="*/ 30641 h 46584"/>
                    <a:gd name="connsiteX2" fmla="*/ 9092 w 23416"/>
                    <a:gd name="connsiteY2" fmla="*/ 13826 h 46584"/>
                    <a:gd name="connsiteX3" fmla="*/ 0 w 23416"/>
                    <a:gd name="connsiteY3" fmla="*/ 0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46585"/>
                      </a:moveTo>
                      <a:cubicBezTo>
                        <a:pt x="17687" y="40481"/>
                        <a:pt x="14947" y="34752"/>
                        <a:pt x="13452" y="30641"/>
                      </a:cubicBezTo>
                      <a:cubicBezTo>
                        <a:pt x="11086" y="24040"/>
                        <a:pt x="11708" y="20303"/>
                        <a:pt x="9092" y="13826"/>
                      </a:cubicBezTo>
                      <a:cubicBezTo>
                        <a:pt x="6477" y="7473"/>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9" name="Freeform 6942">
                  <a:extLst>
                    <a:ext uri="{FF2B5EF4-FFF2-40B4-BE49-F238E27FC236}">
                      <a16:creationId xmlns:a16="http://schemas.microsoft.com/office/drawing/2014/main" id="{5A696FF3-B949-E8BB-E6FD-9E46B204B0EF}"/>
                    </a:ext>
                  </a:extLst>
                </p:cNvPr>
                <p:cNvSpPr/>
                <p:nvPr/>
              </p:nvSpPr>
              <p:spPr>
                <a:xfrm>
                  <a:off x="9779582" y="1144394"/>
                  <a:ext cx="26214" cy="26512"/>
                </a:xfrm>
                <a:custGeom>
                  <a:avLst/>
                  <a:gdLst>
                    <a:gd name="connsiteX0" fmla="*/ 24851 w 26214"/>
                    <a:gd name="connsiteY0" fmla="*/ 7464 h 26512"/>
                    <a:gd name="connsiteX1" fmla="*/ 18872 w 26214"/>
                    <a:gd name="connsiteY1" fmla="*/ 25152 h 26512"/>
                    <a:gd name="connsiteX2" fmla="*/ 1309 w 26214"/>
                    <a:gd name="connsiteY2" fmla="*/ 19048 h 26512"/>
                    <a:gd name="connsiteX3" fmla="*/ 7288 w 26214"/>
                    <a:gd name="connsiteY3" fmla="*/ 1361 h 26512"/>
                    <a:gd name="connsiteX4" fmla="*/ 24851 w 26214"/>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12">
                      <a:moveTo>
                        <a:pt x="24851" y="7464"/>
                      </a:moveTo>
                      <a:cubicBezTo>
                        <a:pt x="28090" y="14066"/>
                        <a:pt x="25349" y="22038"/>
                        <a:pt x="18872" y="25152"/>
                      </a:cubicBezTo>
                      <a:cubicBezTo>
                        <a:pt x="12395" y="28390"/>
                        <a:pt x="4548" y="25650"/>
                        <a:pt x="1309" y="19048"/>
                      </a:cubicBezTo>
                      <a:cubicBezTo>
                        <a:pt x="-1804" y="12447"/>
                        <a:pt x="811" y="4475"/>
                        <a:pt x="7288" y="1361"/>
                      </a:cubicBezTo>
                      <a:cubicBezTo>
                        <a:pt x="13765" y="-1877"/>
                        <a:pt x="21612" y="863"/>
                        <a:pt x="24851"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49" name="Graphic 2987">
                <a:extLst>
                  <a:ext uri="{FF2B5EF4-FFF2-40B4-BE49-F238E27FC236}">
                    <a16:creationId xmlns:a16="http://schemas.microsoft.com/office/drawing/2014/main" id="{E7F47D85-598C-CB0A-59D2-E733294F7854}"/>
                  </a:ext>
                </a:extLst>
              </p:cNvPr>
              <p:cNvGrpSpPr/>
              <p:nvPr/>
            </p:nvGrpSpPr>
            <p:grpSpPr>
              <a:xfrm>
                <a:off x="9753446" y="1157302"/>
                <a:ext cx="79100" cy="137143"/>
                <a:chOff x="9753446" y="1157302"/>
                <a:chExt cx="79100" cy="137143"/>
              </a:xfrm>
              <a:grpFill/>
            </p:grpSpPr>
            <p:sp>
              <p:nvSpPr>
                <p:cNvPr id="7098" name="Freeform 6944">
                  <a:extLst>
                    <a:ext uri="{FF2B5EF4-FFF2-40B4-BE49-F238E27FC236}">
                      <a16:creationId xmlns:a16="http://schemas.microsoft.com/office/drawing/2014/main" id="{6B5DF19E-D684-E4D9-B392-47EEB3C3D455}"/>
                    </a:ext>
                  </a:extLst>
                </p:cNvPr>
                <p:cNvSpPr/>
                <p:nvPr/>
              </p:nvSpPr>
              <p:spPr>
                <a:xfrm>
                  <a:off x="9797582" y="1225597"/>
                  <a:ext cx="21797" cy="47456"/>
                </a:xfrm>
                <a:custGeom>
                  <a:avLst/>
                  <a:gdLst>
                    <a:gd name="connsiteX0" fmla="*/ 21798 w 21797"/>
                    <a:gd name="connsiteY0" fmla="*/ 47456 h 47456"/>
                    <a:gd name="connsiteX1" fmla="*/ 15570 w 21797"/>
                    <a:gd name="connsiteY1" fmla="*/ 29645 h 47456"/>
                    <a:gd name="connsiteX2" fmla="*/ 5107 w 21797"/>
                    <a:gd name="connsiteY2" fmla="*/ 15694 h 47456"/>
                    <a:gd name="connsiteX3" fmla="*/ 0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47456"/>
                      </a:moveTo>
                      <a:cubicBezTo>
                        <a:pt x="20552" y="39111"/>
                        <a:pt x="17812" y="33381"/>
                        <a:pt x="15570" y="29645"/>
                      </a:cubicBezTo>
                      <a:cubicBezTo>
                        <a:pt x="11832" y="23666"/>
                        <a:pt x="8595" y="21922"/>
                        <a:pt x="5107" y="15694"/>
                      </a:cubicBezTo>
                      <a:cubicBezTo>
                        <a:pt x="1743" y="9715"/>
                        <a:pt x="498"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9" name="Freeform 6945">
                  <a:extLst>
                    <a:ext uri="{FF2B5EF4-FFF2-40B4-BE49-F238E27FC236}">
                      <a16:creationId xmlns:a16="http://schemas.microsoft.com/office/drawing/2014/main" id="{192A0BBE-6D5C-3072-8507-263E1241ABAA}"/>
                    </a:ext>
                  </a:extLst>
                </p:cNvPr>
                <p:cNvSpPr/>
                <p:nvPr/>
              </p:nvSpPr>
              <p:spPr>
                <a:xfrm>
                  <a:off x="9792102" y="1233942"/>
                  <a:ext cx="23042" cy="46833"/>
                </a:xfrm>
                <a:custGeom>
                  <a:avLst/>
                  <a:gdLst>
                    <a:gd name="connsiteX0" fmla="*/ 0 w 23042"/>
                    <a:gd name="connsiteY0" fmla="*/ 0 h 46833"/>
                    <a:gd name="connsiteX1" fmla="*/ 9840 w 23042"/>
                    <a:gd name="connsiteY1" fmla="*/ 16068 h 46833"/>
                    <a:gd name="connsiteX2" fmla="*/ 14075 w 23042"/>
                    <a:gd name="connsiteY2" fmla="*/ 33008 h 46833"/>
                    <a:gd name="connsiteX3" fmla="*/ 23043 w 23042"/>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2" h="46833">
                      <a:moveTo>
                        <a:pt x="0" y="0"/>
                      </a:moveTo>
                      <a:cubicBezTo>
                        <a:pt x="5729" y="6103"/>
                        <a:pt x="8345" y="11833"/>
                        <a:pt x="9840" y="16068"/>
                      </a:cubicBezTo>
                      <a:cubicBezTo>
                        <a:pt x="12082" y="22669"/>
                        <a:pt x="11459" y="26406"/>
                        <a:pt x="14075" y="33008"/>
                      </a:cubicBezTo>
                      <a:cubicBezTo>
                        <a:pt x="16566" y="39485"/>
                        <a:pt x="20303" y="43969"/>
                        <a:pt x="23043"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0" name="Freeform 6946">
                  <a:extLst>
                    <a:ext uri="{FF2B5EF4-FFF2-40B4-BE49-F238E27FC236}">
                      <a16:creationId xmlns:a16="http://schemas.microsoft.com/office/drawing/2014/main" id="{D3E57639-EF83-FBFA-9490-1D5676CB13BB}"/>
                    </a:ext>
                  </a:extLst>
                </p:cNvPr>
                <p:cNvSpPr/>
                <p:nvPr/>
              </p:nvSpPr>
              <p:spPr>
                <a:xfrm>
                  <a:off x="9805789" y="1267682"/>
                  <a:ext cx="26757" cy="26764"/>
                </a:xfrm>
                <a:custGeom>
                  <a:avLst/>
                  <a:gdLst>
                    <a:gd name="connsiteX0" fmla="*/ 1259 w 26757"/>
                    <a:gd name="connsiteY0" fmla="*/ 19322 h 26764"/>
                    <a:gd name="connsiteX1" fmla="*/ 7612 w 26757"/>
                    <a:gd name="connsiteY1" fmla="*/ 1386 h 26764"/>
                    <a:gd name="connsiteX2" fmla="*/ 25423 w 26757"/>
                    <a:gd name="connsiteY2" fmla="*/ 7365 h 26764"/>
                    <a:gd name="connsiteX3" fmla="*/ 19072 w 26757"/>
                    <a:gd name="connsiteY3" fmla="*/ 25301 h 26764"/>
                    <a:gd name="connsiteX4" fmla="*/ 1259 w 26757"/>
                    <a:gd name="connsiteY4" fmla="*/ 19322 h 2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764">
                      <a:moveTo>
                        <a:pt x="1259" y="19322"/>
                      </a:moveTo>
                      <a:cubicBezTo>
                        <a:pt x="-1855" y="12721"/>
                        <a:pt x="1011" y="4625"/>
                        <a:pt x="7612" y="1386"/>
                      </a:cubicBezTo>
                      <a:cubicBezTo>
                        <a:pt x="14214" y="-1852"/>
                        <a:pt x="22185" y="763"/>
                        <a:pt x="25423" y="7365"/>
                      </a:cubicBezTo>
                      <a:cubicBezTo>
                        <a:pt x="28662" y="13966"/>
                        <a:pt x="25797" y="21938"/>
                        <a:pt x="19072" y="25301"/>
                      </a:cubicBezTo>
                      <a:cubicBezTo>
                        <a:pt x="12345" y="28664"/>
                        <a:pt x="4373" y="26048"/>
                        <a:pt x="1259" y="193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1" name="Freeform 6947">
                  <a:extLst>
                    <a:ext uri="{FF2B5EF4-FFF2-40B4-BE49-F238E27FC236}">
                      <a16:creationId xmlns:a16="http://schemas.microsoft.com/office/drawing/2014/main" id="{8BADA9D7-AFA6-53DE-7C53-A5CC41D395D3}"/>
                    </a:ext>
                  </a:extLst>
                </p:cNvPr>
                <p:cNvSpPr/>
                <p:nvPr/>
              </p:nvSpPr>
              <p:spPr>
                <a:xfrm>
                  <a:off x="9766318" y="1178514"/>
                  <a:ext cx="21672" cy="47456"/>
                </a:xfrm>
                <a:custGeom>
                  <a:avLst/>
                  <a:gdLst>
                    <a:gd name="connsiteX0" fmla="*/ 0 w 21672"/>
                    <a:gd name="connsiteY0" fmla="*/ 0 h 47456"/>
                    <a:gd name="connsiteX1" fmla="*/ 6228 w 21672"/>
                    <a:gd name="connsiteY1" fmla="*/ 17812 h 47456"/>
                    <a:gd name="connsiteX2" fmla="*/ 16566 w 21672"/>
                    <a:gd name="connsiteY2" fmla="*/ 31762 h 47456"/>
                    <a:gd name="connsiteX3" fmla="*/ 21673 w 21672"/>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2" h="47456">
                      <a:moveTo>
                        <a:pt x="0" y="0"/>
                      </a:moveTo>
                      <a:cubicBezTo>
                        <a:pt x="1245" y="8345"/>
                        <a:pt x="3986" y="14075"/>
                        <a:pt x="6228" y="17812"/>
                      </a:cubicBezTo>
                      <a:cubicBezTo>
                        <a:pt x="9964" y="23791"/>
                        <a:pt x="13078" y="25534"/>
                        <a:pt x="16566" y="31762"/>
                      </a:cubicBezTo>
                      <a:cubicBezTo>
                        <a:pt x="19929" y="37741"/>
                        <a:pt x="21175" y="43595"/>
                        <a:pt x="21673"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2" name="Freeform 6948">
                  <a:extLst>
                    <a:ext uri="{FF2B5EF4-FFF2-40B4-BE49-F238E27FC236}">
                      <a16:creationId xmlns:a16="http://schemas.microsoft.com/office/drawing/2014/main" id="{C4F865C5-77DA-1E6D-11E2-1AE5A00D5708}"/>
                    </a:ext>
                  </a:extLst>
                </p:cNvPr>
                <p:cNvSpPr/>
                <p:nvPr/>
              </p:nvSpPr>
              <p:spPr>
                <a:xfrm>
                  <a:off x="9770304" y="1171041"/>
                  <a:ext cx="23167" cy="46709"/>
                </a:xfrm>
                <a:custGeom>
                  <a:avLst/>
                  <a:gdLst>
                    <a:gd name="connsiteX0" fmla="*/ 23168 w 23167"/>
                    <a:gd name="connsiteY0" fmla="*/ 46709 h 46709"/>
                    <a:gd name="connsiteX1" fmla="*/ 13327 w 23167"/>
                    <a:gd name="connsiteY1" fmla="*/ 30766 h 46709"/>
                    <a:gd name="connsiteX2" fmla="*/ 8968 w 23167"/>
                    <a:gd name="connsiteY2" fmla="*/ 13826 h 46709"/>
                    <a:gd name="connsiteX3" fmla="*/ 0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23168" y="46709"/>
                      </a:moveTo>
                      <a:cubicBezTo>
                        <a:pt x="17438" y="40606"/>
                        <a:pt x="14822" y="34876"/>
                        <a:pt x="13327" y="30766"/>
                      </a:cubicBezTo>
                      <a:cubicBezTo>
                        <a:pt x="11085" y="24164"/>
                        <a:pt x="11584" y="20427"/>
                        <a:pt x="8968" y="13826"/>
                      </a:cubicBezTo>
                      <a:cubicBezTo>
                        <a:pt x="6476" y="7349"/>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03" name="Freeform 6949">
                  <a:extLst>
                    <a:ext uri="{FF2B5EF4-FFF2-40B4-BE49-F238E27FC236}">
                      <a16:creationId xmlns:a16="http://schemas.microsoft.com/office/drawing/2014/main" id="{3830DA52-B7E7-ADD5-E349-B598A8EC38A1}"/>
                    </a:ext>
                  </a:extLst>
                </p:cNvPr>
                <p:cNvSpPr/>
                <p:nvPr/>
              </p:nvSpPr>
              <p:spPr>
                <a:xfrm>
                  <a:off x="9753446" y="1157302"/>
                  <a:ext cx="26014" cy="26680"/>
                </a:xfrm>
                <a:custGeom>
                  <a:avLst/>
                  <a:gdLst>
                    <a:gd name="connsiteX0" fmla="*/ 24705 w 26014"/>
                    <a:gd name="connsiteY0" fmla="*/ 7510 h 26680"/>
                    <a:gd name="connsiteX1" fmla="*/ 18726 w 26014"/>
                    <a:gd name="connsiteY1" fmla="*/ 25322 h 26680"/>
                    <a:gd name="connsiteX2" fmla="*/ 1288 w 26014"/>
                    <a:gd name="connsiteY2" fmla="*/ 19094 h 26680"/>
                    <a:gd name="connsiteX3" fmla="*/ 7267 w 26014"/>
                    <a:gd name="connsiteY3" fmla="*/ 1283 h 26680"/>
                    <a:gd name="connsiteX4" fmla="*/ 24705 w 26014"/>
                    <a:gd name="connsiteY4" fmla="*/ 7510 h 2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4" h="26680">
                      <a:moveTo>
                        <a:pt x="24705" y="7510"/>
                      </a:moveTo>
                      <a:cubicBezTo>
                        <a:pt x="27819" y="14112"/>
                        <a:pt x="25203" y="22084"/>
                        <a:pt x="18726" y="25322"/>
                      </a:cubicBezTo>
                      <a:cubicBezTo>
                        <a:pt x="12249" y="28561"/>
                        <a:pt x="4402" y="25820"/>
                        <a:pt x="1288" y="19094"/>
                      </a:cubicBezTo>
                      <a:cubicBezTo>
                        <a:pt x="-1826" y="12493"/>
                        <a:pt x="914" y="4521"/>
                        <a:pt x="7267" y="1283"/>
                      </a:cubicBezTo>
                      <a:cubicBezTo>
                        <a:pt x="13744" y="-1831"/>
                        <a:pt x="21591" y="909"/>
                        <a:pt x="24705" y="75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0" name="Graphic 2987">
                <a:extLst>
                  <a:ext uri="{FF2B5EF4-FFF2-40B4-BE49-F238E27FC236}">
                    <a16:creationId xmlns:a16="http://schemas.microsoft.com/office/drawing/2014/main" id="{B628F453-C41A-A375-CBE5-01BE857813B1}"/>
                  </a:ext>
                </a:extLst>
              </p:cNvPr>
              <p:cNvGrpSpPr/>
              <p:nvPr/>
            </p:nvGrpSpPr>
            <p:grpSpPr>
              <a:xfrm>
                <a:off x="9727089" y="1170202"/>
                <a:ext cx="78350" cy="137523"/>
                <a:chOff x="9727089" y="1170202"/>
                <a:chExt cx="78350" cy="137523"/>
              </a:xfrm>
              <a:grpFill/>
            </p:grpSpPr>
            <p:sp>
              <p:nvSpPr>
                <p:cNvPr id="7092" name="Freeform 6951">
                  <a:extLst>
                    <a:ext uri="{FF2B5EF4-FFF2-40B4-BE49-F238E27FC236}">
                      <a16:creationId xmlns:a16="http://schemas.microsoft.com/office/drawing/2014/main" id="{C53E5C4C-8233-B84B-387B-A0E96F7AB5D7}"/>
                    </a:ext>
                  </a:extLst>
                </p:cNvPr>
                <p:cNvSpPr/>
                <p:nvPr/>
              </p:nvSpPr>
              <p:spPr>
                <a:xfrm>
                  <a:off x="9771051" y="1238800"/>
                  <a:ext cx="21423" cy="47581"/>
                </a:xfrm>
                <a:custGeom>
                  <a:avLst/>
                  <a:gdLst>
                    <a:gd name="connsiteX0" fmla="*/ 21424 w 21423"/>
                    <a:gd name="connsiteY0" fmla="*/ 47581 h 47581"/>
                    <a:gd name="connsiteX1" fmla="*/ 15320 w 21423"/>
                    <a:gd name="connsiteY1" fmla="*/ 29769 h 47581"/>
                    <a:gd name="connsiteX2" fmla="*/ 4982 w 21423"/>
                    <a:gd name="connsiteY2" fmla="*/ 15819 h 47581"/>
                    <a:gd name="connsiteX3" fmla="*/ 0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47581"/>
                      </a:moveTo>
                      <a:cubicBezTo>
                        <a:pt x="20303" y="39236"/>
                        <a:pt x="17562" y="33506"/>
                        <a:pt x="15320" y="29769"/>
                      </a:cubicBezTo>
                      <a:cubicBezTo>
                        <a:pt x="11708" y="23791"/>
                        <a:pt x="8470" y="22047"/>
                        <a:pt x="4982" y="15819"/>
                      </a:cubicBezTo>
                      <a:cubicBezTo>
                        <a:pt x="1619" y="9840"/>
                        <a:pt x="498"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3" name="Freeform 6952">
                  <a:extLst>
                    <a:ext uri="{FF2B5EF4-FFF2-40B4-BE49-F238E27FC236}">
                      <a16:creationId xmlns:a16="http://schemas.microsoft.com/office/drawing/2014/main" id="{31562854-F9B0-B9F9-915C-C0A06AA44212}"/>
                    </a:ext>
                  </a:extLst>
                </p:cNvPr>
                <p:cNvSpPr/>
                <p:nvPr/>
              </p:nvSpPr>
              <p:spPr>
                <a:xfrm>
                  <a:off x="9765446" y="1247145"/>
                  <a:ext cx="22794" cy="46958"/>
                </a:xfrm>
                <a:custGeom>
                  <a:avLst/>
                  <a:gdLst>
                    <a:gd name="connsiteX0" fmla="*/ 0 w 22794"/>
                    <a:gd name="connsiteY0" fmla="*/ 0 h 46958"/>
                    <a:gd name="connsiteX1" fmla="*/ 9715 w 22794"/>
                    <a:gd name="connsiteY1" fmla="*/ 16068 h 46958"/>
                    <a:gd name="connsiteX2" fmla="*/ 13826 w 22794"/>
                    <a:gd name="connsiteY2" fmla="*/ 33008 h 46958"/>
                    <a:gd name="connsiteX3" fmla="*/ 22794 w 2279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794" h="46958">
                      <a:moveTo>
                        <a:pt x="0" y="0"/>
                      </a:moveTo>
                      <a:cubicBezTo>
                        <a:pt x="5729" y="6228"/>
                        <a:pt x="8345" y="11958"/>
                        <a:pt x="9715" y="16068"/>
                      </a:cubicBezTo>
                      <a:cubicBezTo>
                        <a:pt x="11957" y="22794"/>
                        <a:pt x="11210" y="26282"/>
                        <a:pt x="13826" y="33008"/>
                      </a:cubicBezTo>
                      <a:cubicBezTo>
                        <a:pt x="16317" y="39485"/>
                        <a:pt x="20054" y="44093"/>
                        <a:pt x="22794"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4" name="Freeform 6953">
                  <a:extLst>
                    <a:ext uri="{FF2B5EF4-FFF2-40B4-BE49-F238E27FC236}">
                      <a16:creationId xmlns:a16="http://schemas.microsoft.com/office/drawing/2014/main" id="{AECCB400-633F-289C-D4A3-B5CA8E7089ED}"/>
                    </a:ext>
                  </a:extLst>
                </p:cNvPr>
                <p:cNvSpPr/>
                <p:nvPr/>
              </p:nvSpPr>
              <p:spPr>
                <a:xfrm>
                  <a:off x="9778680" y="1281012"/>
                  <a:ext cx="26760" cy="26712"/>
                </a:xfrm>
                <a:custGeom>
                  <a:avLst/>
                  <a:gdLst>
                    <a:gd name="connsiteX0" fmla="*/ 1215 w 26760"/>
                    <a:gd name="connsiteY0" fmla="*/ 18946 h 26712"/>
                    <a:gd name="connsiteX1" fmla="*/ 7816 w 26760"/>
                    <a:gd name="connsiteY1" fmla="*/ 1383 h 26712"/>
                    <a:gd name="connsiteX2" fmla="*/ 25503 w 26760"/>
                    <a:gd name="connsiteY2" fmla="*/ 7486 h 26712"/>
                    <a:gd name="connsiteX3" fmla="*/ 19026 w 26760"/>
                    <a:gd name="connsiteY3" fmla="*/ 25423 h 26712"/>
                    <a:gd name="connsiteX4" fmla="*/ 1215 w 26760"/>
                    <a:gd name="connsiteY4" fmla="*/ 18946 h 2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712">
                      <a:moveTo>
                        <a:pt x="1215" y="18946"/>
                      </a:moveTo>
                      <a:cubicBezTo>
                        <a:pt x="-1899" y="12220"/>
                        <a:pt x="1215" y="4622"/>
                        <a:pt x="7816" y="1383"/>
                      </a:cubicBezTo>
                      <a:cubicBezTo>
                        <a:pt x="14418" y="-1855"/>
                        <a:pt x="22389" y="760"/>
                        <a:pt x="25503" y="7486"/>
                      </a:cubicBezTo>
                      <a:cubicBezTo>
                        <a:pt x="28617" y="14088"/>
                        <a:pt x="25753" y="22184"/>
                        <a:pt x="19026" y="25423"/>
                      </a:cubicBezTo>
                      <a:cubicBezTo>
                        <a:pt x="12300" y="28661"/>
                        <a:pt x="4204" y="25547"/>
                        <a:pt x="1215"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5" name="Freeform 6954">
                  <a:extLst>
                    <a:ext uri="{FF2B5EF4-FFF2-40B4-BE49-F238E27FC236}">
                      <a16:creationId xmlns:a16="http://schemas.microsoft.com/office/drawing/2014/main" id="{5A37D087-9BC7-C7FD-2096-03D4787E3ED3}"/>
                    </a:ext>
                  </a:extLst>
                </p:cNvPr>
                <p:cNvSpPr/>
                <p:nvPr/>
              </p:nvSpPr>
              <p:spPr>
                <a:xfrm>
                  <a:off x="9740036" y="1191468"/>
                  <a:ext cx="21424" cy="47456"/>
                </a:xfrm>
                <a:custGeom>
                  <a:avLst/>
                  <a:gdLst>
                    <a:gd name="connsiteX0" fmla="*/ 0 w 21424"/>
                    <a:gd name="connsiteY0" fmla="*/ 0 h 47456"/>
                    <a:gd name="connsiteX1" fmla="*/ 6104 w 21424"/>
                    <a:gd name="connsiteY1" fmla="*/ 17687 h 47456"/>
                    <a:gd name="connsiteX2" fmla="*/ 16442 w 21424"/>
                    <a:gd name="connsiteY2" fmla="*/ 31762 h 47456"/>
                    <a:gd name="connsiteX3" fmla="*/ 21424 w 21424"/>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424" h="47456">
                      <a:moveTo>
                        <a:pt x="0" y="0"/>
                      </a:moveTo>
                      <a:cubicBezTo>
                        <a:pt x="1121" y="8221"/>
                        <a:pt x="3862" y="14075"/>
                        <a:pt x="6104" y="17687"/>
                      </a:cubicBezTo>
                      <a:cubicBezTo>
                        <a:pt x="9716" y="23666"/>
                        <a:pt x="12954" y="25659"/>
                        <a:pt x="16442" y="31762"/>
                      </a:cubicBezTo>
                      <a:cubicBezTo>
                        <a:pt x="19805" y="37741"/>
                        <a:pt x="20926" y="43595"/>
                        <a:pt x="2142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6" name="Freeform 6955">
                  <a:extLst>
                    <a:ext uri="{FF2B5EF4-FFF2-40B4-BE49-F238E27FC236}">
                      <a16:creationId xmlns:a16="http://schemas.microsoft.com/office/drawing/2014/main" id="{01A3B00E-F280-E255-DC30-C1F8C31423BC}"/>
                    </a:ext>
                  </a:extLst>
                </p:cNvPr>
                <p:cNvSpPr/>
                <p:nvPr/>
              </p:nvSpPr>
              <p:spPr>
                <a:xfrm>
                  <a:off x="9744146" y="1183995"/>
                  <a:ext cx="22794" cy="46833"/>
                </a:xfrm>
                <a:custGeom>
                  <a:avLst/>
                  <a:gdLst>
                    <a:gd name="connsiteX0" fmla="*/ 22794 w 22794"/>
                    <a:gd name="connsiteY0" fmla="*/ 46834 h 46833"/>
                    <a:gd name="connsiteX1" fmla="*/ 13078 w 22794"/>
                    <a:gd name="connsiteY1" fmla="*/ 30766 h 46833"/>
                    <a:gd name="connsiteX2" fmla="*/ 8844 w 22794"/>
                    <a:gd name="connsiteY2" fmla="*/ 13826 h 46833"/>
                    <a:gd name="connsiteX3" fmla="*/ 0 w 22794"/>
                    <a:gd name="connsiteY3" fmla="*/ 0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46834"/>
                      </a:moveTo>
                      <a:cubicBezTo>
                        <a:pt x="17189" y="40606"/>
                        <a:pt x="14449" y="34876"/>
                        <a:pt x="13078" y="30766"/>
                      </a:cubicBezTo>
                      <a:cubicBezTo>
                        <a:pt x="10836" y="24164"/>
                        <a:pt x="11459" y="20427"/>
                        <a:pt x="8844" y="13826"/>
                      </a:cubicBezTo>
                      <a:cubicBezTo>
                        <a:pt x="6353" y="7349"/>
                        <a:pt x="2616" y="2740"/>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7" name="Freeform 6956">
                  <a:extLst>
                    <a:ext uri="{FF2B5EF4-FFF2-40B4-BE49-F238E27FC236}">
                      <a16:creationId xmlns:a16="http://schemas.microsoft.com/office/drawing/2014/main" id="{9F55B2A1-01EA-CEF9-F818-D5B0FC31BE76}"/>
                    </a:ext>
                  </a:extLst>
                </p:cNvPr>
                <p:cNvSpPr/>
                <p:nvPr/>
              </p:nvSpPr>
              <p:spPr>
                <a:xfrm>
                  <a:off x="9727089" y="1170202"/>
                  <a:ext cx="26189" cy="26590"/>
                </a:xfrm>
                <a:custGeom>
                  <a:avLst/>
                  <a:gdLst>
                    <a:gd name="connsiteX0" fmla="*/ 24905 w 26189"/>
                    <a:gd name="connsiteY0" fmla="*/ 7565 h 26590"/>
                    <a:gd name="connsiteX1" fmla="*/ 18801 w 26189"/>
                    <a:gd name="connsiteY1" fmla="*/ 25376 h 26590"/>
                    <a:gd name="connsiteX2" fmla="*/ 1239 w 26189"/>
                    <a:gd name="connsiteY2" fmla="*/ 18775 h 26590"/>
                    <a:gd name="connsiteX3" fmla="*/ 7591 w 26189"/>
                    <a:gd name="connsiteY3" fmla="*/ 1337 h 26590"/>
                    <a:gd name="connsiteX4" fmla="*/ 24905 w 2618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90">
                      <a:moveTo>
                        <a:pt x="24905" y="7565"/>
                      </a:moveTo>
                      <a:cubicBezTo>
                        <a:pt x="28018" y="14166"/>
                        <a:pt x="25279" y="22138"/>
                        <a:pt x="18801" y="25376"/>
                      </a:cubicBezTo>
                      <a:cubicBezTo>
                        <a:pt x="12324" y="28490"/>
                        <a:pt x="4353" y="25376"/>
                        <a:pt x="1239" y="18775"/>
                      </a:cubicBezTo>
                      <a:cubicBezTo>
                        <a:pt x="-1875" y="12049"/>
                        <a:pt x="1114" y="4451"/>
                        <a:pt x="7591" y="1337"/>
                      </a:cubicBezTo>
                      <a:cubicBezTo>
                        <a:pt x="13943" y="-1902"/>
                        <a:pt x="21791" y="963"/>
                        <a:pt x="24905"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1" name="Graphic 2987">
                <a:extLst>
                  <a:ext uri="{FF2B5EF4-FFF2-40B4-BE49-F238E27FC236}">
                    <a16:creationId xmlns:a16="http://schemas.microsoft.com/office/drawing/2014/main" id="{1463F5C0-FBBA-0BF2-34D7-FB28812287AD}"/>
                  </a:ext>
                </a:extLst>
              </p:cNvPr>
              <p:cNvGrpSpPr/>
              <p:nvPr/>
            </p:nvGrpSpPr>
            <p:grpSpPr>
              <a:xfrm>
                <a:off x="9700240" y="1182338"/>
                <a:ext cx="77876" cy="137537"/>
                <a:chOff x="9700240" y="1182338"/>
                <a:chExt cx="77876" cy="137537"/>
              </a:xfrm>
              <a:grpFill/>
            </p:grpSpPr>
            <p:sp>
              <p:nvSpPr>
                <p:cNvPr id="7086" name="Freeform 6958">
                  <a:extLst>
                    <a:ext uri="{FF2B5EF4-FFF2-40B4-BE49-F238E27FC236}">
                      <a16:creationId xmlns:a16="http://schemas.microsoft.com/office/drawing/2014/main" id="{5E437F2C-CA48-8D77-B935-1D9B4C4BC235}"/>
                    </a:ext>
                  </a:extLst>
                </p:cNvPr>
                <p:cNvSpPr/>
                <p:nvPr/>
              </p:nvSpPr>
              <p:spPr>
                <a:xfrm>
                  <a:off x="9743898" y="1251131"/>
                  <a:ext cx="21174" cy="47581"/>
                </a:xfrm>
                <a:custGeom>
                  <a:avLst/>
                  <a:gdLst>
                    <a:gd name="connsiteX0" fmla="*/ 21174 w 21174"/>
                    <a:gd name="connsiteY0" fmla="*/ 47581 h 47581"/>
                    <a:gd name="connsiteX1" fmla="*/ 15196 w 21174"/>
                    <a:gd name="connsiteY1" fmla="*/ 29769 h 47581"/>
                    <a:gd name="connsiteX2" fmla="*/ 4857 w 21174"/>
                    <a:gd name="connsiteY2" fmla="*/ 15694 h 47581"/>
                    <a:gd name="connsiteX3" fmla="*/ 0 w 21174"/>
                    <a:gd name="connsiteY3" fmla="*/ 0 h 47581"/>
                  </a:gdLst>
                  <a:ahLst/>
                  <a:cxnLst>
                    <a:cxn ang="0">
                      <a:pos x="connsiteX0" y="connsiteY0"/>
                    </a:cxn>
                    <a:cxn ang="0">
                      <a:pos x="connsiteX1" y="connsiteY1"/>
                    </a:cxn>
                    <a:cxn ang="0">
                      <a:pos x="connsiteX2" y="connsiteY2"/>
                    </a:cxn>
                    <a:cxn ang="0">
                      <a:pos x="connsiteX3" y="connsiteY3"/>
                    </a:cxn>
                  </a:cxnLst>
                  <a:rect l="l" t="t" r="r" b="b"/>
                  <a:pathLst>
                    <a:path w="21174" h="47581">
                      <a:moveTo>
                        <a:pt x="21174" y="47581"/>
                      </a:moveTo>
                      <a:cubicBezTo>
                        <a:pt x="20054" y="39236"/>
                        <a:pt x="17438" y="33506"/>
                        <a:pt x="15196" y="29769"/>
                      </a:cubicBezTo>
                      <a:cubicBezTo>
                        <a:pt x="11584" y="23791"/>
                        <a:pt x="8345" y="21922"/>
                        <a:pt x="4857" y="15694"/>
                      </a:cubicBezTo>
                      <a:cubicBezTo>
                        <a:pt x="1495" y="9591"/>
                        <a:pt x="373"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7" name="Freeform 6959">
                  <a:extLst>
                    <a:ext uri="{FF2B5EF4-FFF2-40B4-BE49-F238E27FC236}">
                      <a16:creationId xmlns:a16="http://schemas.microsoft.com/office/drawing/2014/main" id="{9FA973A3-4591-6ECC-F16F-D83ED9AE90CA}"/>
                    </a:ext>
                  </a:extLst>
                </p:cNvPr>
                <p:cNvSpPr/>
                <p:nvPr/>
              </p:nvSpPr>
              <p:spPr>
                <a:xfrm>
                  <a:off x="9738293" y="1259103"/>
                  <a:ext cx="22420" cy="47082"/>
                </a:xfrm>
                <a:custGeom>
                  <a:avLst/>
                  <a:gdLst>
                    <a:gd name="connsiteX0" fmla="*/ 0 w 22420"/>
                    <a:gd name="connsiteY0" fmla="*/ 0 h 47082"/>
                    <a:gd name="connsiteX1" fmla="*/ 9590 w 22420"/>
                    <a:gd name="connsiteY1" fmla="*/ 16192 h 47082"/>
                    <a:gd name="connsiteX2" fmla="*/ 13576 w 22420"/>
                    <a:gd name="connsiteY2" fmla="*/ 33132 h 47082"/>
                    <a:gd name="connsiteX3" fmla="*/ 22420 w 22420"/>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420" h="47082">
                      <a:moveTo>
                        <a:pt x="0" y="0"/>
                      </a:moveTo>
                      <a:cubicBezTo>
                        <a:pt x="5605" y="6352"/>
                        <a:pt x="8220" y="12082"/>
                        <a:pt x="9590" y="16192"/>
                      </a:cubicBezTo>
                      <a:cubicBezTo>
                        <a:pt x="11833" y="22794"/>
                        <a:pt x="11085" y="26406"/>
                        <a:pt x="13576" y="33132"/>
                      </a:cubicBezTo>
                      <a:cubicBezTo>
                        <a:pt x="15943" y="39609"/>
                        <a:pt x="19680" y="44218"/>
                        <a:pt x="2242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8" name="Freeform 6960">
                  <a:extLst>
                    <a:ext uri="{FF2B5EF4-FFF2-40B4-BE49-F238E27FC236}">
                      <a16:creationId xmlns:a16="http://schemas.microsoft.com/office/drawing/2014/main" id="{4F2E48BE-54CA-4DEB-DAC9-7C50E889B275}"/>
                    </a:ext>
                  </a:extLst>
                </p:cNvPr>
                <p:cNvSpPr/>
                <p:nvPr/>
              </p:nvSpPr>
              <p:spPr>
                <a:xfrm>
                  <a:off x="9751209" y="1293441"/>
                  <a:ext cx="26908" cy="26434"/>
                </a:xfrm>
                <a:custGeom>
                  <a:avLst/>
                  <a:gdLst>
                    <a:gd name="connsiteX0" fmla="*/ 1159 w 26908"/>
                    <a:gd name="connsiteY0" fmla="*/ 18599 h 26434"/>
                    <a:gd name="connsiteX1" fmla="*/ 7885 w 26908"/>
                    <a:gd name="connsiteY1" fmla="*/ 1161 h 26434"/>
                    <a:gd name="connsiteX2" fmla="*/ 25697 w 26908"/>
                    <a:gd name="connsiteY2" fmla="*/ 7763 h 26434"/>
                    <a:gd name="connsiteX3" fmla="*/ 18971 w 26908"/>
                    <a:gd name="connsiteY3" fmla="*/ 25201 h 26434"/>
                    <a:gd name="connsiteX4" fmla="*/ 1159 w 26908"/>
                    <a:gd name="connsiteY4" fmla="*/ 18599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434">
                      <a:moveTo>
                        <a:pt x="1159" y="18599"/>
                      </a:moveTo>
                      <a:cubicBezTo>
                        <a:pt x="-1831" y="11998"/>
                        <a:pt x="1159" y="4150"/>
                        <a:pt x="7885" y="1161"/>
                      </a:cubicBezTo>
                      <a:cubicBezTo>
                        <a:pt x="14611" y="-1828"/>
                        <a:pt x="22583" y="1161"/>
                        <a:pt x="25697" y="7763"/>
                      </a:cubicBezTo>
                      <a:cubicBezTo>
                        <a:pt x="28810" y="14364"/>
                        <a:pt x="25697" y="22211"/>
                        <a:pt x="18971" y="25201"/>
                      </a:cubicBezTo>
                      <a:cubicBezTo>
                        <a:pt x="12244" y="28315"/>
                        <a:pt x="4273" y="25325"/>
                        <a:pt x="1159" y="185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9" name="Freeform 6961">
                  <a:extLst>
                    <a:ext uri="{FF2B5EF4-FFF2-40B4-BE49-F238E27FC236}">
                      <a16:creationId xmlns:a16="http://schemas.microsoft.com/office/drawing/2014/main" id="{2AA5FB91-D397-130A-8A5D-DBB53506A2C1}"/>
                    </a:ext>
                  </a:extLst>
                </p:cNvPr>
                <p:cNvSpPr/>
                <p:nvPr/>
              </p:nvSpPr>
              <p:spPr>
                <a:xfrm>
                  <a:off x="9713132" y="1203301"/>
                  <a:ext cx="21050" cy="47705"/>
                </a:xfrm>
                <a:custGeom>
                  <a:avLst/>
                  <a:gdLst>
                    <a:gd name="connsiteX0" fmla="*/ 0 w 21050"/>
                    <a:gd name="connsiteY0" fmla="*/ 0 h 47705"/>
                    <a:gd name="connsiteX1" fmla="*/ 5979 w 21050"/>
                    <a:gd name="connsiteY1" fmla="*/ 17812 h 47705"/>
                    <a:gd name="connsiteX2" fmla="*/ 16192 w 21050"/>
                    <a:gd name="connsiteY2" fmla="*/ 32011 h 47705"/>
                    <a:gd name="connsiteX3" fmla="*/ 2105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0" y="0"/>
                      </a:moveTo>
                      <a:cubicBezTo>
                        <a:pt x="1121" y="8345"/>
                        <a:pt x="3737" y="14075"/>
                        <a:pt x="5979" y="17812"/>
                      </a:cubicBezTo>
                      <a:cubicBezTo>
                        <a:pt x="9591" y="23791"/>
                        <a:pt x="12830" y="25783"/>
                        <a:pt x="16192" y="32011"/>
                      </a:cubicBezTo>
                      <a:cubicBezTo>
                        <a:pt x="19556" y="38115"/>
                        <a:pt x="20676" y="43844"/>
                        <a:pt x="2105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0" name="Freeform 6962">
                  <a:extLst>
                    <a:ext uri="{FF2B5EF4-FFF2-40B4-BE49-F238E27FC236}">
                      <a16:creationId xmlns:a16="http://schemas.microsoft.com/office/drawing/2014/main" id="{4DA8F67C-F7BB-11D9-33F9-C236B43A28BA}"/>
                    </a:ext>
                  </a:extLst>
                </p:cNvPr>
                <p:cNvSpPr/>
                <p:nvPr/>
              </p:nvSpPr>
              <p:spPr>
                <a:xfrm>
                  <a:off x="9717491" y="1195952"/>
                  <a:ext cx="22420" cy="47082"/>
                </a:xfrm>
                <a:custGeom>
                  <a:avLst/>
                  <a:gdLst>
                    <a:gd name="connsiteX0" fmla="*/ 22421 w 22420"/>
                    <a:gd name="connsiteY0" fmla="*/ 47083 h 47082"/>
                    <a:gd name="connsiteX1" fmla="*/ 12830 w 22420"/>
                    <a:gd name="connsiteY1" fmla="*/ 30890 h 47082"/>
                    <a:gd name="connsiteX2" fmla="*/ 8844 w 22420"/>
                    <a:gd name="connsiteY2" fmla="*/ 13950 h 47082"/>
                    <a:gd name="connsiteX3" fmla="*/ 0 w 22420"/>
                    <a:gd name="connsiteY3" fmla="*/ 0 h 47082"/>
                  </a:gdLst>
                  <a:ahLst/>
                  <a:cxnLst>
                    <a:cxn ang="0">
                      <a:pos x="connsiteX0" y="connsiteY0"/>
                    </a:cxn>
                    <a:cxn ang="0">
                      <a:pos x="connsiteX1" y="connsiteY1"/>
                    </a:cxn>
                    <a:cxn ang="0">
                      <a:pos x="connsiteX2" y="connsiteY2"/>
                    </a:cxn>
                    <a:cxn ang="0">
                      <a:pos x="connsiteX3" y="connsiteY3"/>
                    </a:cxn>
                  </a:cxnLst>
                  <a:rect l="l" t="t" r="r" b="b"/>
                  <a:pathLst>
                    <a:path w="22420" h="47082">
                      <a:moveTo>
                        <a:pt x="22421" y="47083"/>
                      </a:moveTo>
                      <a:cubicBezTo>
                        <a:pt x="16816" y="40730"/>
                        <a:pt x="14200" y="35001"/>
                        <a:pt x="12830" y="30890"/>
                      </a:cubicBezTo>
                      <a:cubicBezTo>
                        <a:pt x="10588" y="24289"/>
                        <a:pt x="11335" y="20677"/>
                        <a:pt x="8844" y="13950"/>
                      </a:cubicBezTo>
                      <a:cubicBezTo>
                        <a:pt x="6353" y="7473"/>
                        <a:pt x="274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91" name="Freeform 6963">
                  <a:extLst>
                    <a:ext uri="{FF2B5EF4-FFF2-40B4-BE49-F238E27FC236}">
                      <a16:creationId xmlns:a16="http://schemas.microsoft.com/office/drawing/2014/main" id="{A400E289-8D5B-D5F0-77AE-58AEE1375F5F}"/>
                    </a:ext>
                  </a:extLst>
                </p:cNvPr>
                <p:cNvSpPr/>
                <p:nvPr/>
              </p:nvSpPr>
              <p:spPr>
                <a:xfrm>
                  <a:off x="9700240" y="1182338"/>
                  <a:ext cx="26478" cy="26338"/>
                </a:xfrm>
                <a:custGeom>
                  <a:avLst/>
                  <a:gdLst>
                    <a:gd name="connsiteX0" fmla="*/ 25222 w 26478"/>
                    <a:gd name="connsiteY0" fmla="*/ 7885 h 26338"/>
                    <a:gd name="connsiteX1" fmla="*/ 18746 w 26478"/>
                    <a:gd name="connsiteY1" fmla="*/ 25198 h 26338"/>
                    <a:gd name="connsiteX2" fmla="*/ 1183 w 26478"/>
                    <a:gd name="connsiteY2" fmla="*/ 18472 h 26338"/>
                    <a:gd name="connsiteX3" fmla="*/ 7660 w 26478"/>
                    <a:gd name="connsiteY3" fmla="*/ 1159 h 26338"/>
                    <a:gd name="connsiteX4" fmla="*/ 25222 w 26478"/>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338">
                      <a:moveTo>
                        <a:pt x="25222" y="7885"/>
                      </a:moveTo>
                      <a:cubicBezTo>
                        <a:pt x="28336" y="14486"/>
                        <a:pt x="25472" y="22334"/>
                        <a:pt x="18746" y="25198"/>
                      </a:cubicBezTo>
                      <a:cubicBezTo>
                        <a:pt x="12144" y="28188"/>
                        <a:pt x="4297" y="25074"/>
                        <a:pt x="1183" y="18472"/>
                      </a:cubicBezTo>
                      <a:cubicBezTo>
                        <a:pt x="-1806" y="11871"/>
                        <a:pt x="1058" y="4024"/>
                        <a:pt x="7660" y="1159"/>
                      </a:cubicBezTo>
                      <a:cubicBezTo>
                        <a:pt x="14386" y="-1831"/>
                        <a:pt x="22233" y="1159"/>
                        <a:pt x="25222"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2" name="Graphic 2987">
                <a:extLst>
                  <a:ext uri="{FF2B5EF4-FFF2-40B4-BE49-F238E27FC236}">
                    <a16:creationId xmlns:a16="http://schemas.microsoft.com/office/drawing/2014/main" id="{1D7FE3ED-E499-7459-D511-E3CEC452037E}"/>
                  </a:ext>
                </a:extLst>
              </p:cNvPr>
              <p:cNvGrpSpPr/>
              <p:nvPr/>
            </p:nvGrpSpPr>
            <p:grpSpPr>
              <a:xfrm>
                <a:off x="9673585" y="1194171"/>
                <a:ext cx="77198" cy="137888"/>
                <a:chOff x="9673585" y="1194171"/>
                <a:chExt cx="77198" cy="137888"/>
              </a:xfrm>
              <a:grpFill/>
            </p:grpSpPr>
            <p:sp>
              <p:nvSpPr>
                <p:cNvPr id="7080" name="Freeform 6965">
                  <a:extLst>
                    <a:ext uri="{FF2B5EF4-FFF2-40B4-BE49-F238E27FC236}">
                      <a16:creationId xmlns:a16="http://schemas.microsoft.com/office/drawing/2014/main" id="{E129FA82-19F5-33F0-5DB4-E6F6834CE8DD}"/>
                    </a:ext>
                  </a:extLst>
                </p:cNvPr>
                <p:cNvSpPr/>
                <p:nvPr/>
              </p:nvSpPr>
              <p:spPr>
                <a:xfrm>
                  <a:off x="9716868" y="1263089"/>
                  <a:ext cx="20801" cy="47830"/>
                </a:xfrm>
                <a:custGeom>
                  <a:avLst/>
                  <a:gdLst>
                    <a:gd name="connsiteX0" fmla="*/ 20802 w 20801"/>
                    <a:gd name="connsiteY0" fmla="*/ 47830 h 47830"/>
                    <a:gd name="connsiteX1" fmla="*/ 14947 w 20801"/>
                    <a:gd name="connsiteY1" fmla="*/ 30018 h 47830"/>
                    <a:gd name="connsiteX2" fmla="*/ 4733 w 20801"/>
                    <a:gd name="connsiteY2" fmla="*/ 15819 h 47830"/>
                    <a:gd name="connsiteX3" fmla="*/ 0 w 20801"/>
                    <a:gd name="connsiteY3" fmla="*/ 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2" y="47830"/>
                      </a:moveTo>
                      <a:cubicBezTo>
                        <a:pt x="19805" y="39485"/>
                        <a:pt x="17064" y="33755"/>
                        <a:pt x="14947" y="30018"/>
                      </a:cubicBezTo>
                      <a:cubicBezTo>
                        <a:pt x="11335" y="24040"/>
                        <a:pt x="8097" y="22047"/>
                        <a:pt x="4733" y="15819"/>
                      </a:cubicBezTo>
                      <a:cubicBezTo>
                        <a:pt x="1495" y="9715"/>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1" name="Freeform 6966">
                  <a:extLst>
                    <a:ext uri="{FF2B5EF4-FFF2-40B4-BE49-F238E27FC236}">
                      <a16:creationId xmlns:a16="http://schemas.microsoft.com/office/drawing/2014/main" id="{E8CC5231-CC1D-BE65-B0EF-6962AD901CCD}"/>
                    </a:ext>
                  </a:extLst>
                </p:cNvPr>
                <p:cNvSpPr/>
                <p:nvPr/>
              </p:nvSpPr>
              <p:spPr>
                <a:xfrm>
                  <a:off x="9711139" y="1271061"/>
                  <a:ext cx="22046" cy="47207"/>
                </a:xfrm>
                <a:custGeom>
                  <a:avLst/>
                  <a:gdLst>
                    <a:gd name="connsiteX0" fmla="*/ 0 w 22046"/>
                    <a:gd name="connsiteY0" fmla="*/ 0 h 47207"/>
                    <a:gd name="connsiteX1" fmla="*/ 9466 w 22046"/>
                    <a:gd name="connsiteY1" fmla="*/ 16192 h 47207"/>
                    <a:gd name="connsiteX2" fmla="*/ 13327 w 22046"/>
                    <a:gd name="connsiteY2" fmla="*/ 33132 h 47207"/>
                    <a:gd name="connsiteX3" fmla="*/ 22046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0" y="0"/>
                      </a:moveTo>
                      <a:cubicBezTo>
                        <a:pt x="5604" y="6352"/>
                        <a:pt x="8220" y="12082"/>
                        <a:pt x="9466" y="16192"/>
                      </a:cubicBezTo>
                      <a:cubicBezTo>
                        <a:pt x="11584" y="22794"/>
                        <a:pt x="10961" y="26531"/>
                        <a:pt x="13327" y="33132"/>
                      </a:cubicBezTo>
                      <a:cubicBezTo>
                        <a:pt x="15694" y="39609"/>
                        <a:pt x="19306" y="44218"/>
                        <a:pt x="22046"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2" name="Freeform 6967">
                  <a:extLst>
                    <a:ext uri="{FF2B5EF4-FFF2-40B4-BE49-F238E27FC236}">
                      <a16:creationId xmlns:a16="http://schemas.microsoft.com/office/drawing/2014/main" id="{AD74F4B5-8C96-5929-BABD-242F661D2FC4}"/>
                    </a:ext>
                  </a:extLst>
                </p:cNvPr>
                <p:cNvSpPr/>
                <p:nvPr/>
              </p:nvSpPr>
              <p:spPr>
                <a:xfrm>
                  <a:off x="9723808" y="1305701"/>
                  <a:ext cx="26975" cy="26358"/>
                </a:xfrm>
                <a:custGeom>
                  <a:avLst/>
                  <a:gdLst>
                    <a:gd name="connsiteX0" fmla="*/ 1156 w 26975"/>
                    <a:gd name="connsiteY0" fmla="*/ 18546 h 26358"/>
                    <a:gd name="connsiteX1" fmla="*/ 8007 w 26975"/>
                    <a:gd name="connsiteY1" fmla="*/ 1108 h 26358"/>
                    <a:gd name="connsiteX2" fmla="*/ 25819 w 26975"/>
                    <a:gd name="connsiteY2" fmla="*/ 7709 h 26358"/>
                    <a:gd name="connsiteX3" fmla="*/ 18968 w 26975"/>
                    <a:gd name="connsiteY3" fmla="*/ 25272 h 26358"/>
                    <a:gd name="connsiteX4" fmla="*/ 1156 w 26975"/>
                    <a:gd name="connsiteY4" fmla="*/ 18546 h 26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4" h="26358">
                      <a:moveTo>
                        <a:pt x="1156" y="18546"/>
                      </a:moveTo>
                      <a:cubicBezTo>
                        <a:pt x="-1833" y="11820"/>
                        <a:pt x="1156" y="3973"/>
                        <a:pt x="8007" y="1108"/>
                      </a:cubicBezTo>
                      <a:cubicBezTo>
                        <a:pt x="14858" y="-1757"/>
                        <a:pt x="22705" y="1108"/>
                        <a:pt x="25819" y="7709"/>
                      </a:cubicBezTo>
                      <a:cubicBezTo>
                        <a:pt x="28808" y="14311"/>
                        <a:pt x="25819" y="22158"/>
                        <a:pt x="18968" y="25272"/>
                      </a:cubicBezTo>
                      <a:cubicBezTo>
                        <a:pt x="12118" y="28137"/>
                        <a:pt x="4146" y="25147"/>
                        <a:pt x="1156" y="185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3" name="Freeform 6968">
                  <a:extLst>
                    <a:ext uri="{FF2B5EF4-FFF2-40B4-BE49-F238E27FC236}">
                      <a16:creationId xmlns:a16="http://schemas.microsoft.com/office/drawing/2014/main" id="{A52C1563-1CA9-8EAD-8648-5354623C9C4D}"/>
                    </a:ext>
                  </a:extLst>
                </p:cNvPr>
                <p:cNvSpPr/>
                <p:nvPr/>
              </p:nvSpPr>
              <p:spPr>
                <a:xfrm>
                  <a:off x="9686351" y="1215259"/>
                  <a:ext cx="20677" cy="47830"/>
                </a:xfrm>
                <a:custGeom>
                  <a:avLst/>
                  <a:gdLst>
                    <a:gd name="connsiteX0" fmla="*/ 0 w 20677"/>
                    <a:gd name="connsiteY0" fmla="*/ 0 h 47830"/>
                    <a:gd name="connsiteX1" fmla="*/ 5855 w 20677"/>
                    <a:gd name="connsiteY1" fmla="*/ 17812 h 47830"/>
                    <a:gd name="connsiteX2" fmla="*/ 15944 w 20677"/>
                    <a:gd name="connsiteY2" fmla="*/ 32011 h 47830"/>
                    <a:gd name="connsiteX3" fmla="*/ 20677 w 20677"/>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677" h="47830">
                      <a:moveTo>
                        <a:pt x="0" y="0"/>
                      </a:moveTo>
                      <a:cubicBezTo>
                        <a:pt x="1121" y="8345"/>
                        <a:pt x="3737" y="14075"/>
                        <a:pt x="5855" y="17812"/>
                      </a:cubicBezTo>
                      <a:cubicBezTo>
                        <a:pt x="9467" y="23791"/>
                        <a:pt x="12580" y="25783"/>
                        <a:pt x="15944" y="32011"/>
                      </a:cubicBezTo>
                      <a:cubicBezTo>
                        <a:pt x="19182" y="38115"/>
                        <a:pt x="20303" y="43844"/>
                        <a:pt x="20677"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4" name="Freeform 6969">
                  <a:extLst>
                    <a:ext uri="{FF2B5EF4-FFF2-40B4-BE49-F238E27FC236}">
                      <a16:creationId xmlns:a16="http://schemas.microsoft.com/office/drawing/2014/main" id="{FE8EADB6-A4A1-D2AA-7148-E00B6CBC558F}"/>
                    </a:ext>
                  </a:extLst>
                </p:cNvPr>
                <p:cNvSpPr/>
                <p:nvPr/>
              </p:nvSpPr>
              <p:spPr>
                <a:xfrm>
                  <a:off x="9690587" y="1207785"/>
                  <a:ext cx="22295" cy="47207"/>
                </a:xfrm>
                <a:custGeom>
                  <a:avLst/>
                  <a:gdLst>
                    <a:gd name="connsiteX0" fmla="*/ 22296 w 22295"/>
                    <a:gd name="connsiteY0" fmla="*/ 47207 h 47207"/>
                    <a:gd name="connsiteX1" fmla="*/ 12705 w 22295"/>
                    <a:gd name="connsiteY1" fmla="*/ 31015 h 47207"/>
                    <a:gd name="connsiteX2" fmla="*/ 8719 w 22295"/>
                    <a:gd name="connsiteY2" fmla="*/ 14075 h 47207"/>
                    <a:gd name="connsiteX3" fmla="*/ 0 w 22295"/>
                    <a:gd name="connsiteY3" fmla="*/ 0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47207"/>
                      </a:moveTo>
                      <a:cubicBezTo>
                        <a:pt x="16691" y="40855"/>
                        <a:pt x="14075" y="35125"/>
                        <a:pt x="12705" y="31015"/>
                      </a:cubicBezTo>
                      <a:cubicBezTo>
                        <a:pt x="10587" y="24413"/>
                        <a:pt x="11210" y="20801"/>
                        <a:pt x="8719" y="14075"/>
                      </a:cubicBezTo>
                      <a:cubicBezTo>
                        <a:pt x="6353" y="7598"/>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85" name="Freeform 6970">
                  <a:extLst>
                    <a:ext uri="{FF2B5EF4-FFF2-40B4-BE49-F238E27FC236}">
                      <a16:creationId xmlns:a16="http://schemas.microsoft.com/office/drawing/2014/main" id="{DE135B05-203C-3162-0272-6B29C9900A69}"/>
                    </a:ext>
                  </a:extLst>
                </p:cNvPr>
                <p:cNvSpPr/>
                <p:nvPr/>
              </p:nvSpPr>
              <p:spPr>
                <a:xfrm>
                  <a:off x="9673585" y="1194171"/>
                  <a:ext cx="26281" cy="26338"/>
                </a:xfrm>
                <a:custGeom>
                  <a:avLst/>
                  <a:gdLst>
                    <a:gd name="connsiteX0" fmla="*/ 25098 w 26281"/>
                    <a:gd name="connsiteY0" fmla="*/ 7885 h 26338"/>
                    <a:gd name="connsiteX1" fmla="*/ 18621 w 26281"/>
                    <a:gd name="connsiteY1" fmla="*/ 25198 h 26338"/>
                    <a:gd name="connsiteX2" fmla="*/ 1183 w 26281"/>
                    <a:gd name="connsiteY2" fmla="*/ 18472 h 26338"/>
                    <a:gd name="connsiteX3" fmla="*/ 7660 w 26281"/>
                    <a:gd name="connsiteY3" fmla="*/ 1159 h 26338"/>
                    <a:gd name="connsiteX4" fmla="*/ 25098 w 26281"/>
                    <a:gd name="connsiteY4" fmla="*/ 7885 h 2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338">
                      <a:moveTo>
                        <a:pt x="25098" y="7885"/>
                      </a:moveTo>
                      <a:cubicBezTo>
                        <a:pt x="28088" y="14486"/>
                        <a:pt x="25222" y="22334"/>
                        <a:pt x="18621" y="25198"/>
                      </a:cubicBezTo>
                      <a:cubicBezTo>
                        <a:pt x="12019" y="28188"/>
                        <a:pt x="4172" y="25074"/>
                        <a:pt x="1183" y="18472"/>
                      </a:cubicBezTo>
                      <a:cubicBezTo>
                        <a:pt x="-1806" y="11871"/>
                        <a:pt x="1058" y="4024"/>
                        <a:pt x="7660" y="1159"/>
                      </a:cubicBezTo>
                      <a:cubicBezTo>
                        <a:pt x="14262" y="-1831"/>
                        <a:pt x="22108" y="1159"/>
                        <a:pt x="25098"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3" name="Graphic 2987">
                <a:extLst>
                  <a:ext uri="{FF2B5EF4-FFF2-40B4-BE49-F238E27FC236}">
                    <a16:creationId xmlns:a16="http://schemas.microsoft.com/office/drawing/2014/main" id="{C4A2A09F-AF8B-660F-D385-A4F7341B1572}"/>
                  </a:ext>
                </a:extLst>
              </p:cNvPr>
              <p:cNvGrpSpPr/>
              <p:nvPr/>
            </p:nvGrpSpPr>
            <p:grpSpPr>
              <a:xfrm>
                <a:off x="9646703" y="1205900"/>
                <a:ext cx="76410" cy="138313"/>
                <a:chOff x="9646703" y="1205900"/>
                <a:chExt cx="76410" cy="138313"/>
              </a:xfrm>
              <a:grpFill/>
            </p:grpSpPr>
            <p:sp>
              <p:nvSpPr>
                <p:cNvPr id="7074" name="Freeform 6972">
                  <a:extLst>
                    <a:ext uri="{FF2B5EF4-FFF2-40B4-BE49-F238E27FC236}">
                      <a16:creationId xmlns:a16="http://schemas.microsoft.com/office/drawing/2014/main" id="{D40D7DD5-FD2A-F0C7-C2A1-BA2D485930CA}"/>
                    </a:ext>
                  </a:extLst>
                </p:cNvPr>
                <p:cNvSpPr/>
                <p:nvPr/>
              </p:nvSpPr>
              <p:spPr>
                <a:xfrm>
                  <a:off x="9689590" y="1275046"/>
                  <a:ext cx="20677" cy="47954"/>
                </a:xfrm>
                <a:custGeom>
                  <a:avLst/>
                  <a:gdLst>
                    <a:gd name="connsiteX0" fmla="*/ 20677 w 20677"/>
                    <a:gd name="connsiteY0" fmla="*/ 47955 h 47954"/>
                    <a:gd name="connsiteX1" fmla="*/ 14822 w 20677"/>
                    <a:gd name="connsiteY1" fmla="*/ 30018 h 47954"/>
                    <a:gd name="connsiteX2" fmla="*/ 4733 w 20677"/>
                    <a:gd name="connsiteY2" fmla="*/ 15819 h 47954"/>
                    <a:gd name="connsiteX3" fmla="*/ 0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20677" y="47955"/>
                      </a:moveTo>
                      <a:cubicBezTo>
                        <a:pt x="19680" y="39609"/>
                        <a:pt x="17064" y="33880"/>
                        <a:pt x="14822" y="30018"/>
                      </a:cubicBezTo>
                      <a:cubicBezTo>
                        <a:pt x="11210" y="24040"/>
                        <a:pt x="8097" y="22047"/>
                        <a:pt x="4733" y="15819"/>
                      </a:cubicBezTo>
                      <a:cubicBezTo>
                        <a:pt x="1495" y="9716"/>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5" name="Freeform 6973">
                  <a:extLst>
                    <a:ext uri="{FF2B5EF4-FFF2-40B4-BE49-F238E27FC236}">
                      <a16:creationId xmlns:a16="http://schemas.microsoft.com/office/drawing/2014/main" id="{FDDEC68D-E1D4-67D6-3045-32A519C5E794}"/>
                    </a:ext>
                  </a:extLst>
                </p:cNvPr>
                <p:cNvSpPr/>
                <p:nvPr/>
              </p:nvSpPr>
              <p:spPr>
                <a:xfrm>
                  <a:off x="9683985" y="1283143"/>
                  <a:ext cx="21797" cy="47331"/>
                </a:xfrm>
                <a:custGeom>
                  <a:avLst/>
                  <a:gdLst>
                    <a:gd name="connsiteX0" fmla="*/ 0 w 21797"/>
                    <a:gd name="connsiteY0" fmla="*/ 0 h 47331"/>
                    <a:gd name="connsiteX1" fmla="*/ 9467 w 21797"/>
                    <a:gd name="connsiteY1" fmla="*/ 16317 h 47331"/>
                    <a:gd name="connsiteX2" fmla="*/ 13204 w 21797"/>
                    <a:gd name="connsiteY2" fmla="*/ 33257 h 47331"/>
                    <a:gd name="connsiteX3" fmla="*/ 21798 w 21797"/>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797" h="47331">
                      <a:moveTo>
                        <a:pt x="0" y="0"/>
                      </a:moveTo>
                      <a:cubicBezTo>
                        <a:pt x="5605" y="6352"/>
                        <a:pt x="8097" y="12082"/>
                        <a:pt x="9467" y="16317"/>
                      </a:cubicBezTo>
                      <a:cubicBezTo>
                        <a:pt x="11585" y="23043"/>
                        <a:pt x="10837" y="26655"/>
                        <a:pt x="13204" y="33257"/>
                      </a:cubicBezTo>
                      <a:cubicBezTo>
                        <a:pt x="15570" y="39734"/>
                        <a:pt x="19182" y="44467"/>
                        <a:pt x="21798"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6" name="Freeform 6974">
                  <a:extLst>
                    <a:ext uri="{FF2B5EF4-FFF2-40B4-BE49-F238E27FC236}">
                      <a16:creationId xmlns:a16="http://schemas.microsoft.com/office/drawing/2014/main" id="{130BB071-6FD8-9ECA-DC47-5DCE334042D8}"/>
                    </a:ext>
                  </a:extLst>
                </p:cNvPr>
                <p:cNvSpPr/>
                <p:nvPr/>
              </p:nvSpPr>
              <p:spPr>
                <a:xfrm>
                  <a:off x="9696300" y="1317607"/>
                  <a:ext cx="26813" cy="26606"/>
                </a:xfrm>
                <a:custGeom>
                  <a:avLst/>
                  <a:gdLst>
                    <a:gd name="connsiteX0" fmla="*/ 1138 w 26813"/>
                    <a:gd name="connsiteY0" fmla="*/ 18721 h 26606"/>
                    <a:gd name="connsiteX1" fmla="*/ 7988 w 26813"/>
                    <a:gd name="connsiteY1" fmla="*/ 1159 h 26606"/>
                    <a:gd name="connsiteX2" fmla="*/ 25676 w 26813"/>
                    <a:gd name="connsiteY2" fmla="*/ 7885 h 26606"/>
                    <a:gd name="connsiteX3" fmla="*/ 18825 w 26813"/>
                    <a:gd name="connsiteY3" fmla="*/ 25448 h 26606"/>
                    <a:gd name="connsiteX4" fmla="*/ 1138 w 26813"/>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606">
                      <a:moveTo>
                        <a:pt x="1138" y="18721"/>
                      </a:moveTo>
                      <a:cubicBezTo>
                        <a:pt x="-1852" y="11995"/>
                        <a:pt x="1262" y="4148"/>
                        <a:pt x="7988" y="1159"/>
                      </a:cubicBezTo>
                      <a:cubicBezTo>
                        <a:pt x="14715" y="-1831"/>
                        <a:pt x="22687" y="1159"/>
                        <a:pt x="25676" y="7885"/>
                      </a:cubicBezTo>
                      <a:cubicBezTo>
                        <a:pt x="28665" y="14611"/>
                        <a:pt x="25551" y="22458"/>
                        <a:pt x="18825" y="25448"/>
                      </a:cubicBezTo>
                      <a:cubicBezTo>
                        <a:pt x="12099" y="28437"/>
                        <a:pt x="4127" y="25448"/>
                        <a:pt x="1138"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7" name="Freeform 6975">
                  <a:extLst>
                    <a:ext uri="{FF2B5EF4-FFF2-40B4-BE49-F238E27FC236}">
                      <a16:creationId xmlns:a16="http://schemas.microsoft.com/office/drawing/2014/main" id="{A6724E39-B484-A5E6-5D59-DEDB62C7FE8F}"/>
                    </a:ext>
                  </a:extLst>
                </p:cNvPr>
                <p:cNvSpPr/>
                <p:nvPr/>
              </p:nvSpPr>
              <p:spPr>
                <a:xfrm>
                  <a:off x="9659572" y="1227092"/>
                  <a:ext cx="20676" cy="47954"/>
                </a:xfrm>
                <a:custGeom>
                  <a:avLst/>
                  <a:gdLst>
                    <a:gd name="connsiteX0" fmla="*/ 0 w 20676"/>
                    <a:gd name="connsiteY0" fmla="*/ 0 h 47954"/>
                    <a:gd name="connsiteX1" fmla="*/ 5854 w 20676"/>
                    <a:gd name="connsiteY1" fmla="*/ 17936 h 47954"/>
                    <a:gd name="connsiteX2" fmla="*/ 15943 w 20676"/>
                    <a:gd name="connsiteY2" fmla="*/ 32136 h 47954"/>
                    <a:gd name="connsiteX3" fmla="*/ 20676 w 2067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676" h="47954">
                      <a:moveTo>
                        <a:pt x="0" y="0"/>
                      </a:moveTo>
                      <a:cubicBezTo>
                        <a:pt x="997" y="8345"/>
                        <a:pt x="3612" y="14075"/>
                        <a:pt x="5854" y="17936"/>
                      </a:cubicBezTo>
                      <a:cubicBezTo>
                        <a:pt x="9342" y="24040"/>
                        <a:pt x="12580" y="25908"/>
                        <a:pt x="15943" y="32136"/>
                      </a:cubicBezTo>
                      <a:cubicBezTo>
                        <a:pt x="19182" y="38239"/>
                        <a:pt x="20303" y="43969"/>
                        <a:pt x="20676"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8" name="Freeform 6976">
                  <a:extLst>
                    <a:ext uri="{FF2B5EF4-FFF2-40B4-BE49-F238E27FC236}">
                      <a16:creationId xmlns:a16="http://schemas.microsoft.com/office/drawing/2014/main" id="{5FBA512A-6015-2632-21F2-507AE988E7FD}"/>
                    </a:ext>
                  </a:extLst>
                </p:cNvPr>
                <p:cNvSpPr/>
                <p:nvPr/>
              </p:nvSpPr>
              <p:spPr>
                <a:xfrm>
                  <a:off x="9663807" y="1219618"/>
                  <a:ext cx="21922" cy="47331"/>
                </a:xfrm>
                <a:custGeom>
                  <a:avLst/>
                  <a:gdLst>
                    <a:gd name="connsiteX0" fmla="*/ 21922 w 21922"/>
                    <a:gd name="connsiteY0" fmla="*/ 47332 h 47331"/>
                    <a:gd name="connsiteX1" fmla="*/ 12456 w 21922"/>
                    <a:gd name="connsiteY1" fmla="*/ 31015 h 47331"/>
                    <a:gd name="connsiteX2" fmla="*/ 8595 w 21922"/>
                    <a:gd name="connsiteY2" fmla="*/ 14075 h 47331"/>
                    <a:gd name="connsiteX3" fmla="*/ 0 w 21922"/>
                    <a:gd name="connsiteY3" fmla="*/ 0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47332"/>
                      </a:moveTo>
                      <a:cubicBezTo>
                        <a:pt x="16317" y="40979"/>
                        <a:pt x="13826" y="35250"/>
                        <a:pt x="12456" y="31015"/>
                      </a:cubicBezTo>
                      <a:cubicBezTo>
                        <a:pt x="10339" y="24289"/>
                        <a:pt x="11086" y="20677"/>
                        <a:pt x="8595" y="14075"/>
                      </a:cubicBezTo>
                      <a:cubicBezTo>
                        <a:pt x="6228" y="7598"/>
                        <a:pt x="2616"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9" name="Freeform 6977">
                  <a:extLst>
                    <a:ext uri="{FF2B5EF4-FFF2-40B4-BE49-F238E27FC236}">
                      <a16:creationId xmlns:a16="http://schemas.microsoft.com/office/drawing/2014/main" id="{0146987C-DD3B-0CCC-32BD-246187F54862}"/>
                    </a:ext>
                  </a:extLst>
                </p:cNvPr>
                <p:cNvSpPr/>
                <p:nvPr/>
              </p:nvSpPr>
              <p:spPr>
                <a:xfrm>
                  <a:off x="9646703" y="1205900"/>
                  <a:ext cx="26361" cy="26564"/>
                </a:xfrm>
                <a:custGeom>
                  <a:avLst/>
                  <a:gdLst>
                    <a:gd name="connsiteX0" fmla="*/ 25201 w 26361"/>
                    <a:gd name="connsiteY0" fmla="*/ 7988 h 26564"/>
                    <a:gd name="connsiteX1" fmla="*/ 18599 w 26361"/>
                    <a:gd name="connsiteY1" fmla="*/ 25427 h 26564"/>
                    <a:gd name="connsiteX2" fmla="*/ 1161 w 26361"/>
                    <a:gd name="connsiteY2" fmla="*/ 18576 h 26564"/>
                    <a:gd name="connsiteX3" fmla="*/ 7762 w 26361"/>
                    <a:gd name="connsiteY3" fmla="*/ 1138 h 26564"/>
                    <a:gd name="connsiteX4" fmla="*/ 25201 w 26361"/>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63">
                      <a:moveTo>
                        <a:pt x="25201" y="7988"/>
                      </a:moveTo>
                      <a:cubicBezTo>
                        <a:pt x="28190" y="14715"/>
                        <a:pt x="25201" y="22437"/>
                        <a:pt x="18599" y="25427"/>
                      </a:cubicBezTo>
                      <a:cubicBezTo>
                        <a:pt x="11997" y="28416"/>
                        <a:pt x="4150" y="25302"/>
                        <a:pt x="1161" y="18576"/>
                      </a:cubicBezTo>
                      <a:cubicBezTo>
                        <a:pt x="-1828" y="11850"/>
                        <a:pt x="1161" y="4127"/>
                        <a:pt x="7762" y="1138"/>
                      </a:cubicBezTo>
                      <a:cubicBezTo>
                        <a:pt x="14364" y="-1852"/>
                        <a:pt x="22211" y="1262"/>
                        <a:pt x="2520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4" name="Graphic 2987">
                <a:extLst>
                  <a:ext uri="{FF2B5EF4-FFF2-40B4-BE49-F238E27FC236}">
                    <a16:creationId xmlns:a16="http://schemas.microsoft.com/office/drawing/2014/main" id="{73DA0612-5DF5-B08A-261C-560F1948DBDF}"/>
                  </a:ext>
                </a:extLst>
              </p:cNvPr>
              <p:cNvGrpSpPr/>
              <p:nvPr/>
            </p:nvGrpSpPr>
            <p:grpSpPr>
              <a:xfrm>
                <a:off x="9620119" y="1217733"/>
                <a:ext cx="75589" cy="138668"/>
                <a:chOff x="9620119" y="1217733"/>
                <a:chExt cx="75589" cy="138668"/>
              </a:xfrm>
              <a:grpFill/>
            </p:grpSpPr>
            <p:sp>
              <p:nvSpPr>
                <p:cNvPr id="7068" name="Freeform 6979">
                  <a:extLst>
                    <a:ext uri="{FF2B5EF4-FFF2-40B4-BE49-F238E27FC236}">
                      <a16:creationId xmlns:a16="http://schemas.microsoft.com/office/drawing/2014/main" id="{7607B4AB-D47C-9F31-0339-18F330E38436}"/>
                    </a:ext>
                  </a:extLst>
                </p:cNvPr>
                <p:cNvSpPr/>
                <p:nvPr/>
              </p:nvSpPr>
              <p:spPr>
                <a:xfrm>
                  <a:off x="9662561" y="1287128"/>
                  <a:ext cx="20302" cy="47954"/>
                </a:xfrm>
                <a:custGeom>
                  <a:avLst/>
                  <a:gdLst>
                    <a:gd name="connsiteX0" fmla="*/ 20303 w 20302"/>
                    <a:gd name="connsiteY0" fmla="*/ 47955 h 47954"/>
                    <a:gd name="connsiteX1" fmla="*/ 14573 w 20302"/>
                    <a:gd name="connsiteY1" fmla="*/ 30018 h 47954"/>
                    <a:gd name="connsiteX2" fmla="*/ 4609 w 20302"/>
                    <a:gd name="connsiteY2" fmla="*/ 15819 h 47954"/>
                    <a:gd name="connsiteX3" fmla="*/ 0 w 20302"/>
                    <a:gd name="connsiteY3" fmla="*/ 0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47955"/>
                      </a:moveTo>
                      <a:cubicBezTo>
                        <a:pt x="19306" y="39609"/>
                        <a:pt x="16815" y="33755"/>
                        <a:pt x="14573" y="30018"/>
                      </a:cubicBezTo>
                      <a:cubicBezTo>
                        <a:pt x="11086" y="23915"/>
                        <a:pt x="7847" y="22047"/>
                        <a:pt x="4609" y="15819"/>
                      </a:cubicBezTo>
                      <a:cubicBezTo>
                        <a:pt x="1370" y="9715"/>
                        <a:pt x="374"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9" name="Freeform 6980">
                  <a:extLst>
                    <a:ext uri="{FF2B5EF4-FFF2-40B4-BE49-F238E27FC236}">
                      <a16:creationId xmlns:a16="http://schemas.microsoft.com/office/drawing/2014/main" id="{E4EB8715-C0DE-E6CA-D8CC-020D1537C101}"/>
                    </a:ext>
                  </a:extLst>
                </p:cNvPr>
                <p:cNvSpPr/>
                <p:nvPr/>
              </p:nvSpPr>
              <p:spPr>
                <a:xfrm>
                  <a:off x="9656831" y="1295100"/>
                  <a:ext cx="21673" cy="47456"/>
                </a:xfrm>
                <a:custGeom>
                  <a:avLst/>
                  <a:gdLst>
                    <a:gd name="connsiteX0" fmla="*/ 0 w 21673"/>
                    <a:gd name="connsiteY0" fmla="*/ 0 h 47456"/>
                    <a:gd name="connsiteX1" fmla="*/ 9342 w 21673"/>
                    <a:gd name="connsiteY1" fmla="*/ 16317 h 47456"/>
                    <a:gd name="connsiteX2" fmla="*/ 13079 w 21673"/>
                    <a:gd name="connsiteY2" fmla="*/ 33381 h 47456"/>
                    <a:gd name="connsiteX3" fmla="*/ 21674 w 21673"/>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673" h="47456">
                      <a:moveTo>
                        <a:pt x="0" y="0"/>
                      </a:moveTo>
                      <a:cubicBezTo>
                        <a:pt x="5481" y="6352"/>
                        <a:pt x="7972" y="12207"/>
                        <a:pt x="9342" y="16317"/>
                      </a:cubicBezTo>
                      <a:cubicBezTo>
                        <a:pt x="11460" y="23043"/>
                        <a:pt x="10713" y="26655"/>
                        <a:pt x="13079" y="33381"/>
                      </a:cubicBezTo>
                      <a:cubicBezTo>
                        <a:pt x="15446" y="39858"/>
                        <a:pt x="18933" y="44592"/>
                        <a:pt x="21674"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0" name="Freeform 6981">
                  <a:extLst>
                    <a:ext uri="{FF2B5EF4-FFF2-40B4-BE49-F238E27FC236}">
                      <a16:creationId xmlns:a16="http://schemas.microsoft.com/office/drawing/2014/main" id="{349A612E-512B-29DB-ED94-50A167DF222B}"/>
                    </a:ext>
                  </a:extLst>
                </p:cNvPr>
                <p:cNvSpPr/>
                <p:nvPr/>
              </p:nvSpPr>
              <p:spPr>
                <a:xfrm>
                  <a:off x="9668970" y="1329814"/>
                  <a:ext cx="26738" cy="26587"/>
                </a:xfrm>
                <a:custGeom>
                  <a:avLst/>
                  <a:gdLst>
                    <a:gd name="connsiteX0" fmla="*/ 1065 w 26738"/>
                    <a:gd name="connsiteY0" fmla="*/ 18721 h 26587"/>
                    <a:gd name="connsiteX1" fmla="*/ 8040 w 26738"/>
                    <a:gd name="connsiteY1" fmla="*/ 1159 h 26587"/>
                    <a:gd name="connsiteX2" fmla="*/ 25603 w 26738"/>
                    <a:gd name="connsiteY2" fmla="*/ 7885 h 26587"/>
                    <a:gd name="connsiteX3" fmla="*/ 18628 w 26738"/>
                    <a:gd name="connsiteY3" fmla="*/ 25448 h 26587"/>
                    <a:gd name="connsiteX4" fmla="*/ 1065 w 26738"/>
                    <a:gd name="connsiteY4" fmla="*/ 1872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87">
                      <a:moveTo>
                        <a:pt x="1065" y="18721"/>
                      </a:moveTo>
                      <a:cubicBezTo>
                        <a:pt x="-1800" y="11995"/>
                        <a:pt x="1314" y="4148"/>
                        <a:pt x="8040" y="1159"/>
                      </a:cubicBezTo>
                      <a:cubicBezTo>
                        <a:pt x="14766" y="-1831"/>
                        <a:pt x="22738" y="1159"/>
                        <a:pt x="25603" y="7885"/>
                      </a:cubicBezTo>
                      <a:cubicBezTo>
                        <a:pt x="28592" y="14611"/>
                        <a:pt x="25478" y="22458"/>
                        <a:pt x="18628" y="25448"/>
                      </a:cubicBezTo>
                      <a:cubicBezTo>
                        <a:pt x="11901" y="28437"/>
                        <a:pt x="3930" y="25323"/>
                        <a:pt x="106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1" name="Freeform 6982">
                  <a:extLst>
                    <a:ext uri="{FF2B5EF4-FFF2-40B4-BE49-F238E27FC236}">
                      <a16:creationId xmlns:a16="http://schemas.microsoft.com/office/drawing/2014/main" id="{39D1368F-B348-FFCA-BF4F-7E78F86BFF73}"/>
                    </a:ext>
                  </a:extLst>
                </p:cNvPr>
                <p:cNvSpPr/>
                <p:nvPr/>
              </p:nvSpPr>
              <p:spPr>
                <a:xfrm>
                  <a:off x="9632667" y="1238925"/>
                  <a:ext cx="20302" cy="48079"/>
                </a:xfrm>
                <a:custGeom>
                  <a:avLst/>
                  <a:gdLst>
                    <a:gd name="connsiteX0" fmla="*/ 0 w 20302"/>
                    <a:gd name="connsiteY0" fmla="*/ 0 h 48079"/>
                    <a:gd name="connsiteX1" fmla="*/ 5730 w 20302"/>
                    <a:gd name="connsiteY1" fmla="*/ 17936 h 48079"/>
                    <a:gd name="connsiteX2" fmla="*/ 15694 w 20302"/>
                    <a:gd name="connsiteY2" fmla="*/ 32260 h 48079"/>
                    <a:gd name="connsiteX3" fmla="*/ 20303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0" y="0"/>
                      </a:moveTo>
                      <a:cubicBezTo>
                        <a:pt x="997" y="8345"/>
                        <a:pt x="3488" y="14200"/>
                        <a:pt x="5730" y="17936"/>
                      </a:cubicBezTo>
                      <a:cubicBezTo>
                        <a:pt x="9218" y="24040"/>
                        <a:pt x="12332" y="25908"/>
                        <a:pt x="15694" y="32260"/>
                      </a:cubicBezTo>
                      <a:cubicBezTo>
                        <a:pt x="18933" y="38364"/>
                        <a:pt x="19930" y="44218"/>
                        <a:pt x="20303"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2" name="Freeform 6983">
                  <a:extLst>
                    <a:ext uri="{FF2B5EF4-FFF2-40B4-BE49-F238E27FC236}">
                      <a16:creationId xmlns:a16="http://schemas.microsoft.com/office/drawing/2014/main" id="{85F9FBB0-0615-1220-484B-02F8EEAE3441}"/>
                    </a:ext>
                  </a:extLst>
                </p:cNvPr>
                <p:cNvSpPr/>
                <p:nvPr/>
              </p:nvSpPr>
              <p:spPr>
                <a:xfrm>
                  <a:off x="9637027" y="1231451"/>
                  <a:ext cx="21672" cy="47456"/>
                </a:xfrm>
                <a:custGeom>
                  <a:avLst/>
                  <a:gdLst>
                    <a:gd name="connsiteX0" fmla="*/ 21673 w 21672"/>
                    <a:gd name="connsiteY0" fmla="*/ 47456 h 47456"/>
                    <a:gd name="connsiteX1" fmla="*/ 12331 w 21672"/>
                    <a:gd name="connsiteY1" fmla="*/ 31139 h 47456"/>
                    <a:gd name="connsiteX2" fmla="*/ 8595 w 21672"/>
                    <a:gd name="connsiteY2" fmla="*/ 14075 h 47456"/>
                    <a:gd name="connsiteX3" fmla="*/ 0 w 21672"/>
                    <a:gd name="connsiteY3" fmla="*/ 0 h 47456"/>
                  </a:gdLst>
                  <a:ahLst/>
                  <a:cxnLst>
                    <a:cxn ang="0">
                      <a:pos x="connsiteX0" y="connsiteY0"/>
                    </a:cxn>
                    <a:cxn ang="0">
                      <a:pos x="connsiteX1" y="connsiteY1"/>
                    </a:cxn>
                    <a:cxn ang="0">
                      <a:pos x="connsiteX2" y="connsiteY2"/>
                    </a:cxn>
                    <a:cxn ang="0">
                      <a:pos x="connsiteX3" y="connsiteY3"/>
                    </a:cxn>
                  </a:cxnLst>
                  <a:rect l="l" t="t" r="r" b="b"/>
                  <a:pathLst>
                    <a:path w="21672" h="47456">
                      <a:moveTo>
                        <a:pt x="21673" y="47456"/>
                      </a:moveTo>
                      <a:cubicBezTo>
                        <a:pt x="16192" y="41104"/>
                        <a:pt x="13701" y="35250"/>
                        <a:pt x="12331" y="31139"/>
                      </a:cubicBezTo>
                      <a:cubicBezTo>
                        <a:pt x="10214" y="24413"/>
                        <a:pt x="10961" y="20801"/>
                        <a:pt x="8595" y="14075"/>
                      </a:cubicBezTo>
                      <a:cubicBezTo>
                        <a:pt x="6228" y="7598"/>
                        <a:pt x="2740"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73" name="Freeform 6984">
                  <a:extLst>
                    <a:ext uri="{FF2B5EF4-FFF2-40B4-BE49-F238E27FC236}">
                      <a16:creationId xmlns:a16="http://schemas.microsoft.com/office/drawing/2014/main" id="{F7722555-3DF3-ACAE-299F-DE7E87D2EC59}"/>
                    </a:ext>
                  </a:extLst>
                </p:cNvPr>
                <p:cNvSpPr/>
                <p:nvPr/>
              </p:nvSpPr>
              <p:spPr>
                <a:xfrm>
                  <a:off x="9620119" y="1217733"/>
                  <a:ext cx="26165" cy="26564"/>
                </a:xfrm>
                <a:custGeom>
                  <a:avLst/>
                  <a:gdLst>
                    <a:gd name="connsiteX0" fmla="*/ 25004 w 26165"/>
                    <a:gd name="connsiteY0" fmla="*/ 7988 h 26564"/>
                    <a:gd name="connsiteX1" fmla="*/ 18403 w 26165"/>
                    <a:gd name="connsiteY1" fmla="*/ 25427 h 26564"/>
                    <a:gd name="connsiteX2" fmla="*/ 1089 w 26165"/>
                    <a:gd name="connsiteY2" fmla="*/ 18576 h 26564"/>
                    <a:gd name="connsiteX3" fmla="*/ 7691 w 26165"/>
                    <a:gd name="connsiteY3" fmla="*/ 1138 h 26564"/>
                    <a:gd name="connsiteX4" fmla="*/ 25004 w 26165"/>
                    <a:gd name="connsiteY4" fmla="*/ 7988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5" h="26563">
                      <a:moveTo>
                        <a:pt x="25004" y="7988"/>
                      </a:moveTo>
                      <a:cubicBezTo>
                        <a:pt x="27994" y="14715"/>
                        <a:pt x="25004" y="22437"/>
                        <a:pt x="18403" y="25427"/>
                      </a:cubicBezTo>
                      <a:cubicBezTo>
                        <a:pt x="11801" y="28416"/>
                        <a:pt x="3953" y="25302"/>
                        <a:pt x="1089" y="18576"/>
                      </a:cubicBezTo>
                      <a:cubicBezTo>
                        <a:pt x="-1776" y="11850"/>
                        <a:pt x="1214" y="4003"/>
                        <a:pt x="7691" y="1138"/>
                      </a:cubicBezTo>
                      <a:cubicBezTo>
                        <a:pt x="14292" y="-1852"/>
                        <a:pt x="22014" y="1262"/>
                        <a:pt x="25004"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5" name="Graphic 2987">
                <a:extLst>
                  <a:ext uri="{FF2B5EF4-FFF2-40B4-BE49-F238E27FC236}">
                    <a16:creationId xmlns:a16="http://schemas.microsoft.com/office/drawing/2014/main" id="{AFC5B97A-BFB6-BF4E-E12A-24C12AA18FE1}"/>
                  </a:ext>
                </a:extLst>
              </p:cNvPr>
              <p:cNvGrpSpPr/>
              <p:nvPr/>
            </p:nvGrpSpPr>
            <p:grpSpPr>
              <a:xfrm>
                <a:off x="9593341" y="1229566"/>
                <a:ext cx="74943" cy="138936"/>
                <a:chOff x="9593341" y="1229566"/>
                <a:chExt cx="74943" cy="138936"/>
              </a:xfrm>
              <a:grpFill/>
            </p:grpSpPr>
            <p:sp>
              <p:nvSpPr>
                <p:cNvPr id="7062" name="Freeform 6986">
                  <a:extLst>
                    <a:ext uri="{FF2B5EF4-FFF2-40B4-BE49-F238E27FC236}">
                      <a16:creationId xmlns:a16="http://schemas.microsoft.com/office/drawing/2014/main" id="{9813C3D5-6CDD-88EC-83A9-03429737B91B}"/>
                    </a:ext>
                  </a:extLst>
                </p:cNvPr>
                <p:cNvSpPr/>
                <p:nvPr/>
              </p:nvSpPr>
              <p:spPr>
                <a:xfrm>
                  <a:off x="9635283" y="1298961"/>
                  <a:ext cx="20053" cy="48203"/>
                </a:xfrm>
                <a:custGeom>
                  <a:avLst/>
                  <a:gdLst>
                    <a:gd name="connsiteX0" fmla="*/ 20054 w 20053"/>
                    <a:gd name="connsiteY0" fmla="*/ 48204 h 48203"/>
                    <a:gd name="connsiteX1" fmla="*/ 14448 w 20053"/>
                    <a:gd name="connsiteY1" fmla="*/ 30268 h 48203"/>
                    <a:gd name="connsiteX2" fmla="*/ 4484 w 20053"/>
                    <a:gd name="connsiteY2" fmla="*/ 15943 h 48203"/>
                    <a:gd name="connsiteX3" fmla="*/ 0 w 20053"/>
                    <a:gd name="connsiteY3" fmla="*/ 0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48204"/>
                      </a:moveTo>
                      <a:cubicBezTo>
                        <a:pt x="19182" y="39858"/>
                        <a:pt x="16566" y="34004"/>
                        <a:pt x="14448" y="30268"/>
                      </a:cubicBezTo>
                      <a:cubicBezTo>
                        <a:pt x="10961" y="24164"/>
                        <a:pt x="7847" y="22296"/>
                        <a:pt x="4484" y="15943"/>
                      </a:cubicBezTo>
                      <a:cubicBezTo>
                        <a:pt x="1245" y="9840"/>
                        <a:pt x="374"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3" name="Freeform 6987">
                  <a:extLst>
                    <a:ext uri="{FF2B5EF4-FFF2-40B4-BE49-F238E27FC236}">
                      <a16:creationId xmlns:a16="http://schemas.microsoft.com/office/drawing/2014/main" id="{FB9F3590-3950-B614-4513-2F48B7962886}"/>
                    </a:ext>
                  </a:extLst>
                </p:cNvPr>
                <p:cNvSpPr/>
                <p:nvPr/>
              </p:nvSpPr>
              <p:spPr>
                <a:xfrm>
                  <a:off x="9629553" y="1307058"/>
                  <a:ext cx="21299" cy="47581"/>
                </a:xfrm>
                <a:custGeom>
                  <a:avLst/>
                  <a:gdLst>
                    <a:gd name="connsiteX0" fmla="*/ 0 w 21299"/>
                    <a:gd name="connsiteY0" fmla="*/ 0 h 47581"/>
                    <a:gd name="connsiteX1" fmla="*/ 9218 w 21299"/>
                    <a:gd name="connsiteY1" fmla="*/ 16317 h 47581"/>
                    <a:gd name="connsiteX2" fmla="*/ 12830 w 21299"/>
                    <a:gd name="connsiteY2" fmla="*/ 33381 h 47581"/>
                    <a:gd name="connsiteX3" fmla="*/ 21300 w 21299"/>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299" h="47581">
                      <a:moveTo>
                        <a:pt x="0" y="0"/>
                      </a:moveTo>
                      <a:cubicBezTo>
                        <a:pt x="5481" y="6352"/>
                        <a:pt x="7972" y="12207"/>
                        <a:pt x="9218" y="16317"/>
                      </a:cubicBezTo>
                      <a:cubicBezTo>
                        <a:pt x="11210" y="23043"/>
                        <a:pt x="10463" y="26655"/>
                        <a:pt x="12830" y="33381"/>
                      </a:cubicBezTo>
                      <a:cubicBezTo>
                        <a:pt x="15072" y="39858"/>
                        <a:pt x="18684" y="44592"/>
                        <a:pt x="2130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4" name="Freeform 6988">
                  <a:extLst>
                    <a:ext uri="{FF2B5EF4-FFF2-40B4-BE49-F238E27FC236}">
                      <a16:creationId xmlns:a16="http://schemas.microsoft.com/office/drawing/2014/main" id="{5D380BFA-CEEA-4655-5725-A8A6E527FD73}"/>
                    </a:ext>
                  </a:extLst>
                </p:cNvPr>
                <p:cNvSpPr/>
                <p:nvPr/>
              </p:nvSpPr>
              <p:spPr>
                <a:xfrm>
                  <a:off x="9641445" y="1341896"/>
                  <a:ext cx="26840" cy="26606"/>
                </a:xfrm>
                <a:custGeom>
                  <a:avLst/>
                  <a:gdLst>
                    <a:gd name="connsiteX0" fmla="*/ 1063 w 26840"/>
                    <a:gd name="connsiteY0" fmla="*/ 18721 h 26606"/>
                    <a:gd name="connsiteX1" fmla="*/ 8163 w 26840"/>
                    <a:gd name="connsiteY1" fmla="*/ 1159 h 26606"/>
                    <a:gd name="connsiteX2" fmla="*/ 25725 w 26840"/>
                    <a:gd name="connsiteY2" fmla="*/ 7885 h 26606"/>
                    <a:gd name="connsiteX3" fmla="*/ 18625 w 26840"/>
                    <a:gd name="connsiteY3" fmla="*/ 25448 h 26606"/>
                    <a:gd name="connsiteX4" fmla="*/ 1063 w 26840"/>
                    <a:gd name="connsiteY4" fmla="*/ 1872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0" h="26606">
                      <a:moveTo>
                        <a:pt x="1063" y="18721"/>
                      </a:moveTo>
                      <a:cubicBezTo>
                        <a:pt x="-1802" y="11995"/>
                        <a:pt x="1312" y="4148"/>
                        <a:pt x="8163" y="1159"/>
                      </a:cubicBezTo>
                      <a:cubicBezTo>
                        <a:pt x="14889" y="-1831"/>
                        <a:pt x="22736" y="1159"/>
                        <a:pt x="25725" y="7885"/>
                      </a:cubicBezTo>
                      <a:cubicBezTo>
                        <a:pt x="28714" y="14611"/>
                        <a:pt x="25476" y="22458"/>
                        <a:pt x="18625" y="25448"/>
                      </a:cubicBezTo>
                      <a:cubicBezTo>
                        <a:pt x="11899" y="28437"/>
                        <a:pt x="3928" y="25448"/>
                        <a:pt x="1063"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5" name="Freeform 6989">
                  <a:extLst>
                    <a:ext uri="{FF2B5EF4-FFF2-40B4-BE49-F238E27FC236}">
                      <a16:creationId xmlns:a16="http://schemas.microsoft.com/office/drawing/2014/main" id="{2E07CCDD-B173-E406-FCC8-3DAE92D8E50C}"/>
                    </a:ext>
                  </a:extLst>
                </p:cNvPr>
                <p:cNvSpPr/>
                <p:nvPr/>
              </p:nvSpPr>
              <p:spPr>
                <a:xfrm>
                  <a:off x="9605888" y="1250758"/>
                  <a:ext cx="19928" cy="48203"/>
                </a:xfrm>
                <a:custGeom>
                  <a:avLst/>
                  <a:gdLst>
                    <a:gd name="connsiteX0" fmla="*/ 0 w 19928"/>
                    <a:gd name="connsiteY0" fmla="*/ 0 h 48203"/>
                    <a:gd name="connsiteX1" fmla="*/ 5605 w 19928"/>
                    <a:gd name="connsiteY1" fmla="*/ 17936 h 48203"/>
                    <a:gd name="connsiteX2" fmla="*/ 15445 w 19928"/>
                    <a:gd name="connsiteY2" fmla="*/ 32260 h 48203"/>
                    <a:gd name="connsiteX3" fmla="*/ 19929 w 19928"/>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8" h="48203">
                      <a:moveTo>
                        <a:pt x="0" y="0"/>
                      </a:moveTo>
                      <a:cubicBezTo>
                        <a:pt x="997" y="8345"/>
                        <a:pt x="3487" y="14200"/>
                        <a:pt x="5605" y="17936"/>
                      </a:cubicBezTo>
                      <a:cubicBezTo>
                        <a:pt x="9092" y="24040"/>
                        <a:pt x="12206" y="25908"/>
                        <a:pt x="15445" y="32260"/>
                      </a:cubicBezTo>
                      <a:cubicBezTo>
                        <a:pt x="18684" y="38364"/>
                        <a:pt x="19556" y="44218"/>
                        <a:pt x="19929"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6" name="Freeform 6990">
                  <a:extLst>
                    <a:ext uri="{FF2B5EF4-FFF2-40B4-BE49-F238E27FC236}">
                      <a16:creationId xmlns:a16="http://schemas.microsoft.com/office/drawing/2014/main" id="{1A4507E0-6B96-BD66-0C36-66A9F96BA6A0}"/>
                    </a:ext>
                  </a:extLst>
                </p:cNvPr>
                <p:cNvSpPr/>
                <p:nvPr/>
              </p:nvSpPr>
              <p:spPr>
                <a:xfrm>
                  <a:off x="9610247" y="1243284"/>
                  <a:ext cx="21299" cy="47581"/>
                </a:xfrm>
                <a:custGeom>
                  <a:avLst/>
                  <a:gdLst>
                    <a:gd name="connsiteX0" fmla="*/ 21300 w 21299"/>
                    <a:gd name="connsiteY0" fmla="*/ 47581 h 47581"/>
                    <a:gd name="connsiteX1" fmla="*/ 12082 w 21299"/>
                    <a:gd name="connsiteY1" fmla="*/ 31264 h 47581"/>
                    <a:gd name="connsiteX2" fmla="*/ 8470 w 21299"/>
                    <a:gd name="connsiteY2" fmla="*/ 14200 h 47581"/>
                    <a:gd name="connsiteX3" fmla="*/ 0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21300" y="47581"/>
                      </a:moveTo>
                      <a:cubicBezTo>
                        <a:pt x="15819" y="41229"/>
                        <a:pt x="13328" y="35374"/>
                        <a:pt x="12082" y="31264"/>
                      </a:cubicBezTo>
                      <a:cubicBezTo>
                        <a:pt x="10089" y="24538"/>
                        <a:pt x="10712" y="20926"/>
                        <a:pt x="8470" y="14200"/>
                      </a:cubicBezTo>
                      <a:cubicBezTo>
                        <a:pt x="6228"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7" name="Freeform 6991">
                  <a:extLst>
                    <a:ext uri="{FF2B5EF4-FFF2-40B4-BE49-F238E27FC236}">
                      <a16:creationId xmlns:a16="http://schemas.microsoft.com/office/drawing/2014/main" id="{75093402-B137-52DA-ED37-5315775AE52B}"/>
                    </a:ext>
                  </a:extLst>
                </p:cNvPr>
                <p:cNvSpPr/>
                <p:nvPr/>
              </p:nvSpPr>
              <p:spPr>
                <a:xfrm>
                  <a:off x="9593341" y="1229566"/>
                  <a:ext cx="26088" cy="26511"/>
                </a:xfrm>
                <a:custGeom>
                  <a:avLst/>
                  <a:gdLst>
                    <a:gd name="connsiteX0" fmla="*/ 25002 w 26088"/>
                    <a:gd name="connsiteY0" fmla="*/ 7988 h 26511"/>
                    <a:gd name="connsiteX1" fmla="*/ 18275 w 26088"/>
                    <a:gd name="connsiteY1" fmla="*/ 25427 h 26511"/>
                    <a:gd name="connsiteX2" fmla="*/ 1087 w 26088"/>
                    <a:gd name="connsiteY2" fmla="*/ 18576 h 26511"/>
                    <a:gd name="connsiteX3" fmla="*/ 7813 w 26088"/>
                    <a:gd name="connsiteY3" fmla="*/ 1138 h 26511"/>
                    <a:gd name="connsiteX4" fmla="*/ 25002 w 26088"/>
                    <a:gd name="connsiteY4" fmla="*/ 7988 h 26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8" h="26511">
                      <a:moveTo>
                        <a:pt x="25002" y="7988"/>
                      </a:moveTo>
                      <a:cubicBezTo>
                        <a:pt x="27867" y="14715"/>
                        <a:pt x="24877" y="22562"/>
                        <a:pt x="18275" y="25427"/>
                      </a:cubicBezTo>
                      <a:cubicBezTo>
                        <a:pt x="11674" y="28291"/>
                        <a:pt x="3952" y="25302"/>
                        <a:pt x="1087" y="18576"/>
                      </a:cubicBezTo>
                      <a:cubicBezTo>
                        <a:pt x="-1778" y="11850"/>
                        <a:pt x="1211" y="4003"/>
                        <a:pt x="7813" y="1138"/>
                      </a:cubicBezTo>
                      <a:cubicBezTo>
                        <a:pt x="14290" y="-1852"/>
                        <a:pt x="22013" y="1262"/>
                        <a:pt x="25002"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6" name="Graphic 2987">
                <a:extLst>
                  <a:ext uri="{FF2B5EF4-FFF2-40B4-BE49-F238E27FC236}">
                    <a16:creationId xmlns:a16="http://schemas.microsoft.com/office/drawing/2014/main" id="{A5344803-1AD5-5FE1-CA8E-71D28E207000}"/>
                  </a:ext>
                </a:extLst>
              </p:cNvPr>
              <p:cNvGrpSpPr/>
              <p:nvPr/>
            </p:nvGrpSpPr>
            <p:grpSpPr>
              <a:xfrm>
                <a:off x="9566457" y="1241380"/>
                <a:ext cx="74248" cy="139307"/>
                <a:chOff x="9566457" y="1241380"/>
                <a:chExt cx="74248" cy="139307"/>
              </a:xfrm>
              <a:grpFill/>
            </p:grpSpPr>
            <p:sp>
              <p:nvSpPr>
                <p:cNvPr id="7056" name="Freeform 6993">
                  <a:extLst>
                    <a:ext uri="{FF2B5EF4-FFF2-40B4-BE49-F238E27FC236}">
                      <a16:creationId xmlns:a16="http://schemas.microsoft.com/office/drawing/2014/main" id="{3E61BC91-39CF-EDE4-C507-EDFC28CE2139}"/>
                    </a:ext>
                  </a:extLst>
                </p:cNvPr>
                <p:cNvSpPr/>
                <p:nvPr/>
              </p:nvSpPr>
              <p:spPr>
                <a:xfrm>
                  <a:off x="9608130" y="1310919"/>
                  <a:ext cx="19804" cy="48328"/>
                </a:xfrm>
                <a:custGeom>
                  <a:avLst/>
                  <a:gdLst>
                    <a:gd name="connsiteX0" fmla="*/ 19804 w 19804"/>
                    <a:gd name="connsiteY0" fmla="*/ 48328 h 48328"/>
                    <a:gd name="connsiteX1" fmla="*/ 14324 w 19804"/>
                    <a:gd name="connsiteY1" fmla="*/ 30268 h 48328"/>
                    <a:gd name="connsiteX2" fmla="*/ 4484 w 19804"/>
                    <a:gd name="connsiteY2" fmla="*/ 15943 h 48328"/>
                    <a:gd name="connsiteX3" fmla="*/ 0 w 19804"/>
                    <a:gd name="connsiteY3" fmla="*/ 0 h 48328"/>
                  </a:gdLst>
                  <a:ahLst/>
                  <a:cxnLst>
                    <a:cxn ang="0">
                      <a:pos x="connsiteX0" y="connsiteY0"/>
                    </a:cxn>
                    <a:cxn ang="0">
                      <a:pos x="connsiteX1" y="connsiteY1"/>
                    </a:cxn>
                    <a:cxn ang="0">
                      <a:pos x="connsiteX2" y="connsiteY2"/>
                    </a:cxn>
                    <a:cxn ang="0">
                      <a:pos x="connsiteX3" y="connsiteY3"/>
                    </a:cxn>
                  </a:cxnLst>
                  <a:rect l="l" t="t" r="r" b="b"/>
                  <a:pathLst>
                    <a:path w="19804" h="48328">
                      <a:moveTo>
                        <a:pt x="19804" y="48328"/>
                      </a:moveTo>
                      <a:cubicBezTo>
                        <a:pt x="18933" y="39858"/>
                        <a:pt x="16442" y="34129"/>
                        <a:pt x="14324" y="30268"/>
                      </a:cubicBezTo>
                      <a:cubicBezTo>
                        <a:pt x="10836" y="24164"/>
                        <a:pt x="7723" y="22296"/>
                        <a:pt x="4484" y="15943"/>
                      </a:cubicBezTo>
                      <a:cubicBezTo>
                        <a:pt x="1370"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7" name="Freeform 6994">
                  <a:extLst>
                    <a:ext uri="{FF2B5EF4-FFF2-40B4-BE49-F238E27FC236}">
                      <a16:creationId xmlns:a16="http://schemas.microsoft.com/office/drawing/2014/main" id="{F2D6BBA6-7BF3-D501-B609-4A9803E502DB}"/>
                    </a:ext>
                  </a:extLst>
                </p:cNvPr>
                <p:cNvSpPr/>
                <p:nvPr/>
              </p:nvSpPr>
              <p:spPr>
                <a:xfrm>
                  <a:off x="9602400" y="1319015"/>
                  <a:ext cx="20925" cy="47705"/>
                </a:xfrm>
                <a:custGeom>
                  <a:avLst/>
                  <a:gdLst>
                    <a:gd name="connsiteX0" fmla="*/ 0 w 20925"/>
                    <a:gd name="connsiteY0" fmla="*/ 0 h 47705"/>
                    <a:gd name="connsiteX1" fmla="*/ 9093 w 20925"/>
                    <a:gd name="connsiteY1" fmla="*/ 16442 h 47705"/>
                    <a:gd name="connsiteX2" fmla="*/ 12580 w 20925"/>
                    <a:gd name="connsiteY2" fmla="*/ 33506 h 47705"/>
                    <a:gd name="connsiteX3" fmla="*/ 20926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0" y="0"/>
                      </a:moveTo>
                      <a:cubicBezTo>
                        <a:pt x="5356" y="6352"/>
                        <a:pt x="7847" y="12207"/>
                        <a:pt x="9093" y="16442"/>
                      </a:cubicBezTo>
                      <a:cubicBezTo>
                        <a:pt x="11086" y="23168"/>
                        <a:pt x="10339" y="26780"/>
                        <a:pt x="12580" y="33506"/>
                      </a:cubicBezTo>
                      <a:cubicBezTo>
                        <a:pt x="14822" y="40108"/>
                        <a:pt x="18310" y="44716"/>
                        <a:pt x="20926"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8" name="Freeform 6995">
                  <a:extLst>
                    <a:ext uri="{FF2B5EF4-FFF2-40B4-BE49-F238E27FC236}">
                      <a16:creationId xmlns:a16="http://schemas.microsoft.com/office/drawing/2014/main" id="{FAF608DA-A510-B04B-1572-5541483E1769}"/>
                    </a:ext>
                  </a:extLst>
                </p:cNvPr>
                <p:cNvSpPr/>
                <p:nvPr/>
              </p:nvSpPr>
              <p:spPr>
                <a:xfrm>
                  <a:off x="9614060" y="1353978"/>
                  <a:ext cx="26645" cy="26709"/>
                </a:xfrm>
                <a:custGeom>
                  <a:avLst/>
                  <a:gdLst>
                    <a:gd name="connsiteX0" fmla="*/ 1045 w 26645"/>
                    <a:gd name="connsiteY0" fmla="*/ 18721 h 26709"/>
                    <a:gd name="connsiteX1" fmla="*/ 8145 w 26645"/>
                    <a:gd name="connsiteY1" fmla="*/ 1159 h 26709"/>
                    <a:gd name="connsiteX2" fmla="*/ 25583 w 26645"/>
                    <a:gd name="connsiteY2" fmla="*/ 7885 h 26709"/>
                    <a:gd name="connsiteX3" fmla="*/ 18484 w 26645"/>
                    <a:gd name="connsiteY3" fmla="*/ 25572 h 26709"/>
                    <a:gd name="connsiteX4" fmla="*/ 1045 w 26645"/>
                    <a:gd name="connsiteY4" fmla="*/ 18721 h 26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5" h="26709">
                      <a:moveTo>
                        <a:pt x="1045" y="18721"/>
                      </a:moveTo>
                      <a:cubicBezTo>
                        <a:pt x="-1819" y="11995"/>
                        <a:pt x="1418" y="4024"/>
                        <a:pt x="8145" y="1159"/>
                      </a:cubicBezTo>
                      <a:cubicBezTo>
                        <a:pt x="14871" y="-1831"/>
                        <a:pt x="22718" y="1159"/>
                        <a:pt x="25583" y="7885"/>
                      </a:cubicBezTo>
                      <a:cubicBezTo>
                        <a:pt x="28448" y="14611"/>
                        <a:pt x="25334" y="22458"/>
                        <a:pt x="18484" y="25572"/>
                      </a:cubicBezTo>
                      <a:cubicBezTo>
                        <a:pt x="11632" y="28561"/>
                        <a:pt x="3910" y="25448"/>
                        <a:pt x="1045" y="187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9" name="Freeform 6996">
                  <a:extLst>
                    <a:ext uri="{FF2B5EF4-FFF2-40B4-BE49-F238E27FC236}">
                      <a16:creationId xmlns:a16="http://schemas.microsoft.com/office/drawing/2014/main" id="{FB031941-EFAB-3E8E-18EE-8611DED5B731}"/>
                    </a:ext>
                  </a:extLst>
                </p:cNvPr>
                <p:cNvSpPr/>
                <p:nvPr/>
              </p:nvSpPr>
              <p:spPr>
                <a:xfrm>
                  <a:off x="9578983" y="1262591"/>
                  <a:ext cx="19555" cy="48328"/>
                </a:xfrm>
                <a:custGeom>
                  <a:avLst/>
                  <a:gdLst>
                    <a:gd name="connsiteX0" fmla="*/ 0 w 19555"/>
                    <a:gd name="connsiteY0" fmla="*/ 0 h 48328"/>
                    <a:gd name="connsiteX1" fmla="*/ 5481 w 19555"/>
                    <a:gd name="connsiteY1" fmla="*/ 18061 h 48328"/>
                    <a:gd name="connsiteX2" fmla="*/ 15196 w 19555"/>
                    <a:gd name="connsiteY2" fmla="*/ 32385 h 48328"/>
                    <a:gd name="connsiteX3" fmla="*/ 19556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0" y="0"/>
                      </a:moveTo>
                      <a:cubicBezTo>
                        <a:pt x="872" y="8345"/>
                        <a:pt x="3363" y="14200"/>
                        <a:pt x="5481" y="18061"/>
                      </a:cubicBezTo>
                      <a:cubicBezTo>
                        <a:pt x="8844" y="24164"/>
                        <a:pt x="12082" y="26157"/>
                        <a:pt x="15196" y="32385"/>
                      </a:cubicBezTo>
                      <a:cubicBezTo>
                        <a:pt x="18310" y="38488"/>
                        <a:pt x="19307" y="44343"/>
                        <a:pt x="19556"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0" name="Freeform 6997">
                  <a:extLst>
                    <a:ext uri="{FF2B5EF4-FFF2-40B4-BE49-F238E27FC236}">
                      <a16:creationId xmlns:a16="http://schemas.microsoft.com/office/drawing/2014/main" id="{2636AA86-4EDD-B27E-CA0E-CAA6137F3F37}"/>
                    </a:ext>
                  </a:extLst>
                </p:cNvPr>
                <p:cNvSpPr/>
                <p:nvPr/>
              </p:nvSpPr>
              <p:spPr>
                <a:xfrm>
                  <a:off x="9583467" y="1255117"/>
                  <a:ext cx="21050" cy="47705"/>
                </a:xfrm>
                <a:custGeom>
                  <a:avLst/>
                  <a:gdLst>
                    <a:gd name="connsiteX0" fmla="*/ 21050 w 21050"/>
                    <a:gd name="connsiteY0" fmla="*/ 47706 h 47705"/>
                    <a:gd name="connsiteX1" fmla="*/ 11957 w 21050"/>
                    <a:gd name="connsiteY1" fmla="*/ 31264 h 47705"/>
                    <a:gd name="connsiteX2" fmla="*/ 8345 w 21050"/>
                    <a:gd name="connsiteY2" fmla="*/ 14200 h 47705"/>
                    <a:gd name="connsiteX3" fmla="*/ 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47706"/>
                      </a:moveTo>
                      <a:cubicBezTo>
                        <a:pt x="15694" y="41353"/>
                        <a:pt x="13203" y="35499"/>
                        <a:pt x="11957" y="31264"/>
                      </a:cubicBezTo>
                      <a:cubicBezTo>
                        <a:pt x="9964" y="24538"/>
                        <a:pt x="10712" y="20926"/>
                        <a:pt x="8345" y="14200"/>
                      </a:cubicBezTo>
                      <a:cubicBezTo>
                        <a:pt x="6103" y="7723"/>
                        <a:pt x="2615"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61" name="Freeform 6998">
                  <a:extLst>
                    <a:ext uri="{FF2B5EF4-FFF2-40B4-BE49-F238E27FC236}">
                      <a16:creationId xmlns:a16="http://schemas.microsoft.com/office/drawing/2014/main" id="{D32D3639-915A-7950-BB5D-EB6201BA910F}"/>
                    </a:ext>
                  </a:extLst>
                </p:cNvPr>
                <p:cNvSpPr/>
                <p:nvPr/>
              </p:nvSpPr>
              <p:spPr>
                <a:xfrm>
                  <a:off x="9566457" y="1241380"/>
                  <a:ext cx="26191" cy="26529"/>
                </a:xfrm>
                <a:custGeom>
                  <a:avLst/>
                  <a:gdLst>
                    <a:gd name="connsiteX0" fmla="*/ 25106 w 26191"/>
                    <a:gd name="connsiteY0" fmla="*/ 8007 h 26529"/>
                    <a:gd name="connsiteX1" fmla="*/ 18256 w 26191"/>
                    <a:gd name="connsiteY1" fmla="*/ 25445 h 26529"/>
                    <a:gd name="connsiteX2" fmla="*/ 1067 w 26191"/>
                    <a:gd name="connsiteY2" fmla="*/ 18595 h 26529"/>
                    <a:gd name="connsiteX3" fmla="*/ 7917 w 26191"/>
                    <a:gd name="connsiteY3" fmla="*/ 1157 h 26529"/>
                    <a:gd name="connsiteX4" fmla="*/ 25106 w 26191"/>
                    <a:gd name="connsiteY4" fmla="*/ 8007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29">
                      <a:moveTo>
                        <a:pt x="25106" y="8007"/>
                      </a:moveTo>
                      <a:cubicBezTo>
                        <a:pt x="27971" y="14733"/>
                        <a:pt x="24981" y="22580"/>
                        <a:pt x="18256" y="25445"/>
                      </a:cubicBezTo>
                      <a:cubicBezTo>
                        <a:pt x="11530" y="28310"/>
                        <a:pt x="3931" y="25321"/>
                        <a:pt x="1067" y="18595"/>
                      </a:cubicBezTo>
                      <a:cubicBezTo>
                        <a:pt x="-1798" y="11868"/>
                        <a:pt x="1316" y="4021"/>
                        <a:pt x="7917" y="1157"/>
                      </a:cubicBezTo>
                      <a:cubicBezTo>
                        <a:pt x="14519" y="-1833"/>
                        <a:pt x="22241" y="1157"/>
                        <a:pt x="25106" y="8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7" name="Graphic 2987">
                <a:extLst>
                  <a:ext uri="{FF2B5EF4-FFF2-40B4-BE49-F238E27FC236}">
                    <a16:creationId xmlns:a16="http://schemas.microsoft.com/office/drawing/2014/main" id="{CBC8AA27-2F89-7FC2-6BAB-3BB268015788}"/>
                  </a:ext>
                </a:extLst>
              </p:cNvPr>
              <p:cNvGrpSpPr/>
              <p:nvPr/>
            </p:nvGrpSpPr>
            <p:grpSpPr>
              <a:xfrm>
                <a:off x="9539627" y="1253163"/>
                <a:ext cx="73656" cy="139442"/>
                <a:chOff x="9539627" y="1253163"/>
                <a:chExt cx="73656" cy="139442"/>
              </a:xfrm>
              <a:grpFill/>
            </p:grpSpPr>
            <p:sp>
              <p:nvSpPr>
                <p:cNvPr id="7050" name="Freeform 7000">
                  <a:extLst>
                    <a:ext uri="{FF2B5EF4-FFF2-40B4-BE49-F238E27FC236}">
                      <a16:creationId xmlns:a16="http://schemas.microsoft.com/office/drawing/2014/main" id="{89A156F2-98BE-2EDC-A842-858AD994E87C}"/>
                    </a:ext>
                  </a:extLst>
                </p:cNvPr>
                <p:cNvSpPr/>
                <p:nvPr/>
              </p:nvSpPr>
              <p:spPr>
                <a:xfrm>
                  <a:off x="9581101" y="1323126"/>
                  <a:ext cx="19430" cy="48328"/>
                </a:xfrm>
                <a:custGeom>
                  <a:avLst/>
                  <a:gdLst>
                    <a:gd name="connsiteX0" fmla="*/ 19431 w 19430"/>
                    <a:gd name="connsiteY0" fmla="*/ 48328 h 48328"/>
                    <a:gd name="connsiteX1" fmla="*/ 14075 w 19430"/>
                    <a:gd name="connsiteY1" fmla="*/ 30268 h 48328"/>
                    <a:gd name="connsiteX2" fmla="*/ 4359 w 19430"/>
                    <a:gd name="connsiteY2" fmla="*/ 15943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8684" y="39858"/>
                        <a:pt x="16192" y="34004"/>
                        <a:pt x="14075" y="30268"/>
                      </a:cubicBezTo>
                      <a:cubicBezTo>
                        <a:pt x="10712" y="24164"/>
                        <a:pt x="7473" y="22171"/>
                        <a:pt x="4359" y="15943"/>
                      </a:cubicBezTo>
                      <a:cubicBezTo>
                        <a:pt x="1245" y="9840"/>
                        <a:pt x="373"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1" name="Freeform 7001">
                  <a:extLst>
                    <a:ext uri="{FF2B5EF4-FFF2-40B4-BE49-F238E27FC236}">
                      <a16:creationId xmlns:a16="http://schemas.microsoft.com/office/drawing/2014/main" id="{44F032DC-4DDC-65A4-3109-AD1195ADB5C7}"/>
                    </a:ext>
                  </a:extLst>
                </p:cNvPr>
                <p:cNvSpPr/>
                <p:nvPr/>
              </p:nvSpPr>
              <p:spPr>
                <a:xfrm>
                  <a:off x="9575246" y="1330848"/>
                  <a:ext cx="20800" cy="47954"/>
                </a:xfrm>
                <a:custGeom>
                  <a:avLst/>
                  <a:gdLst>
                    <a:gd name="connsiteX0" fmla="*/ 0 w 20800"/>
                    <a:gd name="connsiteY0" fmla="*/ 0 h 47954"/>
                    <a:gd name="connsiteX1" fmla="*/ 9092 w 20800"/>
                    <a:gd name="connsiteY1" fmla="*/ 16566 h 47954"/>
                    <a:gd name="connsiteX2" fmla="*/ 12456 w 20800"/>
                    <a:gd name="connsiteY2" fmla="*/ 33631 h 47954"/>
                    <a:gd name="connsiteX3" fmla="*/ 20801 w 20800"/>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800" h="47954">
                      <a:moveTo>
                        <a:pt x="0" y="0"/>
                      </a:moveTo>
                      <a:cubicBezTo>
                        <a:pt x="5356" y="6477"/>
                        <a:pt x="7847" y="12331"/>
                        <a:pt x="9092" y="16566"/>
                      </a:cubicBezTo>
                      <a:cubicBezTo>
                        <a:pt x="11086" y="23292"/>
                        <a:pt x="10214" y="26904"/>
                        <a:pt x="12456" y="33631"/>
                      </a:cubicBezTo>
                      <a:cubicBezTo>
                        <a:pt x="14698" y="40232"/>
                        <a:pt x="18186" y="44965"/>
                        <a:pt x="20801"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2" name="Freeform 7002">
                  <a:extLst>
                    <a:ext uri="{FF2B5EF4-FFF2-40B4-BE49-F238E27FC236}">
                      <a16:creationId xmlns:a16="http://schemas.microsoft.com/office/drawing/2014/main" id="{80A416AB-F638-A49B-7CC8-96E745826B18}"/>
                    </a:ext>
                  </a:extLst>
                </p:cNvPr>
                <p:cNvSpPr/>
                <p:nvPr/>
              </p:nvSpPr>
              <p:spPr>
                <a:xfrm>
                  <a:off x="9586480" y="1365957"/>
                  <a:ext cx="26803" cy="26648"/>
                </a:xfrm>
                <a:custGeom>
                  <a:avLst/>
                  <a:gdLst>
                    <a:gd name="connsiteX0" fmla="*/ 972 w 26803"/>
                    <a:gd name="connsiteY0" fmla="*/ 18327 h 26648"/>
                    <a:gd name="connsiteX1" fmla="*/ 8322 w 26803"/>
                    <a:gd name="connsiteY1" fmla="*/ 1138 h 26648"/>
                    <a:gd name="connsiteX2" fmla="*/ 25760 w 26803"/>
                    <a:gd name="connsiteY2" fmla="*/ 7988 h 26648"/>
                    <a:gd name="connsiteX3" fmla="*/ 18535 w 26803"/>
                    <a:gd name="connsiteY3" fmla="*/ 25676 h 26648"/>
                    <a:gd name="connsiteX4" fmla="*/ 972 w 26803"/>
                    <a:gd name="connsiteY4" fmla="*/ 18327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48">
                      <a:moveTo>
                        <a:pt x="972" y="18327"/>
                      </a:moveTo>
                      <a:cubicBezTo>
                        <a:pt x="-1768" y="11601"/>
                        <a:pt x="1471" y="3878"/>
                        <a:pt x="8322" y="1138"/>
                      </a:cubicBezTo>
                      <a:cubicBezTo>
                        <a:pt x="15047" y="-1852"/>
                        <a:pt x="22895" y="1262"/>
                        <a:pt x="25760" y="7988"/>
                      </a:cubicBezTo>
                      <a:cubicBezTo>
                        <a:pt x="28625" y="14715"/>
                        <a:pt x="25386" y="22686"/>
                        <a:pt x="18535" y="25676"/>
                      </a:cubicBezTo>
                      <a:cubicBezTo>
                        <a:pt x="11560" y="28416"/>
                        <a:pt x="3713" y="25177"/>
                        <a:pt x="972" y="18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3" name="Freeform 7003">
                  <a:extLst>
                    <a:ext uri="{FF2B5EF4-FFF2-40B4-BE49-F238E27FC236}">
                      <a16:creationId xmlns:a16="http://schemas.microsoft.com/office/drawing/2014/main" id="{33B7B7CC-5050-A774-1D78-F5EA265286E5}"/>
                    </a:ext>
                  </a:extLst>
                </p:cNvPr>
                <p:cNvSpPr/>
                <p:nvPr/>
              </p:nvSpPr>
              <p:spPr>
                <a:xfrm>
                  <a:off x="9552079" y="1274299"/>
                  <a:ext cx="19306" cy="48452"/>
                </a:xfrm>
                <a:custGeom>
                  <a:avLst/>
                  <a:gdLst>
                    <a:gd name="connsiteX0" fmla="*/ 0 w 19306"/>
                    <a:gd name="connsiteY0" fmla="*/ 0 h 48452"/>
                    <a:gd name="connsiteX1" fmla="*/ 5356 w 19306"/>
                    <a:gd name="connsiteY1" fmla="*/ 17936 h 48452"/>
                    <a:gd name="connsiteX2" fmla="*/ 15072 w 19306"/>
                    <a:gd name="connsiteY2" fmla="*/ 32510 h 48452"/>
                    <a:gd name="connsiteX3" fmla="*/ 19306 w 19306"/>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306" h="48452">
                      <a:moveTo>
                        <a:pt x="0" y="0"/>
                      </a:moveTo>
                      <a:cubicBezTo>
                        <a:pt x="747" y="8345"/>
                        <a:pt x="3239" y="14200"/>
                        <a:pt x="5356" y="17936"/>
                      </a:cubicBezTo>
                      <a:cubicBezTo>
                        <a:pt x="8719" y="24040"/>
                        <a:pt x="11958" y="26157"/>
                        <a:pt x="15072" y="32510"/>
                      </a:cubicBezTo>
                      <a:cubicBezTo>
                        <a:pt x="18186" y="38737"/>
                        <a:pt x="19057" y="44467"/>
                        <a:pt x="19306"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4" name="Freeform 7004">
                  <a:extLst>
                    <a:ext uri="{FF2B5EF4-FFF2-40B4-BE49-F238E27FC236}">
                      <a16:creationId xmlns:a16="http://schemas.microsoft.com/office/drawing/2014/main" id="{8735AA4B-5F58-1565-74AB-75982AE58331}"/>
                    </a:ext>
                  </a:extLst>
                </p:cNvPr>
                <p:cNvSpPr/>
                <p:nvPr/>
              </p:nvSpPr>
              <p:spPr>
                <a:xfrm>
                  <a:off x="9556687" y="1266950"/>
                  <a:ext cx="20676" cy="47830"/>
                </a:xfrm>
                <a:custGeom>
                  <a:avLst/>
                  <a:gdLst>
                    <a:gd name="connsiteX0" fmla="*/ 20676 w 20676"/>
                    <a:gd name="connsiteY0" fmla="*/ 47830 h 47830"/>
                    <a:gd name="connsiteX1" fmla="*/ 11708 w 20676"/>
                    <a:gd name="connsiteY1" fmla="*/ 31389 h 47830"/>
                    <a:gd name="connsiteX2" fmla="*/ 8220 w 20676"/>
                    <a:gd name="connsiteY2" fmla="*/ 14200 h 47830"/>
                    <a:gd name="connsiteX3" fmla="*/ 0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20676" y="47830"/>
                      </a:moveTo>
                      <a:cubicBezTo>
                        <a:pt x="15320" y="41353"/>
                        <a:pt x="12830" y="35499"/>
                        <a:pt x="11708" y="31389"/>
                      </a:cubicBezTo>
                      <a:cubicBezTo>
                        <a:pt x="9716" y="24662"/>
                        <a:pt x="10463" y="21050"/>
                        <a:pt x="8220" y="14200"/>
                      </a:cubicBezTo>
                      <a:cubicBezTo>
                        <a:pt x="5979" y="7598"/>
                        <a:pt x="2491" y="2865"/>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55" name="Freeform 7005">
                  <a:extLst>
                    <a:ext uri="{FF2B5EF4-FFF2-40B4-BE49-F238E27FC236}">
                      <a16:creationId xmlns:a16="http://schemas.microsoft.com/office/drawing/2014/main" id="{B79F1B17-AEB3-6ACB-DD8E-E1DFFE24EEC1}"/>
                    </a:ext>
                  </a:extLst>
                </p:cNvPr>
                <p:cNvSpPr/>
                <p:nvPr/>
              </p:nvSpPr>
              <p:spPr>
                <a:xfrm>
                  <a:off x="9539627" y="1253163"/>
                  <a:ext cx="26223" cy="26523"/>
                </a:xfrm>
                <a:custGeom>
                  <a:avLst/>
                  <a:gdLst>
                    <a:gd name="connsiteX0" fmla="*/ 25157 w 26223"/>
                    <a:gd name="connsiteY0" fmla="*/ 8058 h 26523"/>
                    <a:gd name="connsiteX1" fmla="*/ 18306 w 26223"/>
                    <a:gd name="connsiteY1" fmla="*/ 25621 h 26523"/>
                    <a:gd name="connsiteX2" fmla="*/ 993 w 26223"/>
                    <a:gd name="connsiteY2" fmla="*/ 18147 h 26523"/>
                    <a:gd name="connsiteX3" fmla="*/ 8093 w 26223"/>
                    <a:gd name="connsiteY3" fmla="*/ 1083 h 26523"/>
                    <a:gd name="connsiteX4" fmla="*/ 25157 w 26223"/>
                    <a:gd name="connsiteY4" fmla="*/ 8058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3" h="26523">
                      <a:moveTo>
                        <a:pt x="25157" y="8058"/>
                      </a:moveTo>
                      <a:cubicBezTo>
                        <a:pt x="28022" y="14784"/>
                        <a:pt x="24908" y="22631"/>
                        <a:pt x="18306" y="25621"/>
                      </a:cubicBezTo>
                      <a:cubicBezTo>
                        <a:pt x="11580" y="28236"/>
                        <a:pt x="3733" y="24998"/>
                        <a:pt x="993" y="18147"/>
                      </a:cubicBezTo>
                      <a:cubicBezTo>
                        <a:pt x="-1748" y="11421"/>
                        <a:pt x="1366" y="3698"/>
                        <a:pt x="8093" y="1083"/>
                      </a:cubicBezTo>
                      <a:cubicBezTo>
                        <a:pt x="14569" y="-1782"/>
                        <a:pt x="22292" y="1207"/>
                        <a:pt x="25157"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8" name="Graphic 2987">
                <a:extLst>
                  <a:ext uri="{FF2B5EF4-FFF2-40B4-BE49-F238E27FC236}">
                    <a16:creationId xmlns:a16="http://schemas.microsoft.com/office/drawing/2014/main" id="{B4CFA363-0466-5689-D593-B6738F5E1024}"/>
                  </a:ext>
                </a:extLst>
              </p:cNvPr>
              <p:cNvGrpSpPr/>
              <p:nvPr/>
            </p:nvGrpSpPr>
            <p:grpSpPr>
              <a:xfrm>
                <a:off x="9512242" y="1264054"/>
                <a:ext cx="73368" cy="139620"/>
                <a:chOff x="9512242" y="1264054"/>
                <a:chExt cx="73368" cy="139620"/>
              </a:xfrm>
              <a:grpFill/>
            </p:grpSpPr>
            <p:sp>
              <p:nvSpPr>
                <p:cNvPr id="7044" name="Freeform 7007">
                  <a:extLst>
                    <a:ext uri="{FF2B5EF4-FFF2-40B4-BE49-F238E27FC236}">
                      <a16:creationId xmlns:a16="http://schemas.microsoft.com/office/drawing/2014/main" id="{C3B6EED3-8722-51A9-2286-169DB00D5A53}"/>
                    </a:ext>
                  </a:extLst>
                </p:cNvPr>
                <p:cNvSpPr/>
                <p:nvPr/>
              </p:nvSpPr>
              <p:spPr>
                <a:xfrm>
                  <a:off x="9553573" y="1333962"/>
                  <a:ext cx="19181" cy="48577"/>
                </a:xfrm>
                <a:custGeom>
                  <a:avLst/>
                  <a:gdLst>
                    <a:gd name="connsiteX0" fmla="*/ 19182 w 19181"/>
                    <a:gd name="connsiteY0" fmla="*/ 48577 h 48577"/>
                    <a:gd name="connsiteX1" fmla="*/ 13950 w 19181"/>
                    <a:gd name="connsiteY1" fmla="*/ 30517 h 48577"/>
                    <a:gd name="connsiteX2" fmla="*/ 4235 w 19181"/>
                    <a:gd name="connsiteY2" fmla="*/ 15943 h 48577"/>
                    <a:gd name="connsiteX3" fmla="*/ 0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48577"/>
                      </a:moveTo>
                      <a:cubicBezTo>
                        <a:pt x="18434" y="40232"/>
                        <a:pt x="16068" y="34378"/>
                        <a:pt x="13950" y="30517"/>
                      </a:cubicBezTo>
                      <a:cubicBezTo>
                        <a:pt x="10587" y="24413"/>
                        <a:pt x="7473" y="22296"/>
                        <a:pt x="4235" y="15943"/>
                      </a:cubicBezTo>
                      <a:cubicBezTo>
                        <a:pt x="1121" y="9715"/>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5" name="Freeform 7008">
                  <a:extLst>
                    <a:ext uri="{FF2B5EF4-FFF2-40B4-BE49-F238E27FC236}">
                      <a16:creationId xmlns:a16="http://schemas.microsoft.com/office/drawing/2014/main" id="{CF47720D-F3C5-D0A8-24C9-460752B599B9}"/>
                    </a:ext>
                  </a:extLst>
                </p:cNvPr>
                <p:cNvSpPr/>
                <p:nvPr/>
              </p:nvSpPr>
              <p:spPr>
                <a:xfrm>
                  <a:off x="9547595" y="1341809"/>
                  <a:ext cx="20426" cy="47954"/>
                </a:xfrm>
                <a:custGeom>
                  <a:avLst/>
                  <a:gdLst>
                    <a:gd name="connsiteX0" fmla="*/ 0 w 20426"/>
                    <a:gd name="connsiteY0" fmla="*/ 0 h 47954"/>
                    <a:gd name="connsiteX1" fmla="*/ 8968 w 20426"/>
                    <a:gd name="connsiteY1" fmla="*/ 16566 h 47954"/>
                    <a:gd name="connsiteX2" fmla="*/ 12206 w 20426"/>
                    <a:gd name="connsiteY2" fmla="*/ 33631 h 47954"/>
                    <a:gd name="connsiteX3" fmla="*/ 20427 w 20426"/>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6" h="47954">
                      <a:moveTo>
                        <a:pt x="0" y="0"/>
                      </a:moveTo>
                      <a:cubicBezTo>
                        <a:pt x="5356" y="6477"/>
                        <a:pt x="7723" y="12456"/>
                        <a:pt x="8968" y="16566"/>
                      </a:cubicBezTo>
                      <a:cubicBezTo>
                        <a:pt x="10836" y="23292"/>
                        <a:pt x="10089" y="26904"/>
                        <a:pt x="12206" y="33631"/>
                      </a:cubicBezTo>
                      <a:cubicBezTo>
                        <a:pt x="14324" y="40232"/>
                        <a:pt x="17812" y="44965"/>
                        <a:pt x="20427"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6" name="Freeform 7009">
                  <a:extLst>
                    <a:ext uri="{FF2B5EF4-FFF2-40B4-BE49-F238E27FC236}">
                      <a16:creationId xmlns:a16="http://schemas.microsoft.com/office/drawing/2014/main" id="{2AAF3BB4-8185-8AA0-F715-564DA5A90846}"/>
                    </a:ext>
                  </a:extLst>
                </p:cNvPr>
                <p:cNvSpPr/>
                <p:nvPr/>
              </p:nvSpPr>
              <p:spPr>
                <a:xfrm>
                  <a:off x="9558597" y="1377224"/>
                  <a:ext cx="27013" cy="26450"/>
                </a:xfrm>
                <a:custGeom>
                  <a:avLst/>
                  <a:gdLst>
                    <a:gd name="connsiteX0" fmla="*/ 954 w 27013"/>
                    <a:gd name="connsiteY0" fmla="*/ 18145 h 26450"/>
                    <a:gd name="connsiteX1" fmla="*/ 8428 w 27013"/>
                    <a:gd name="connsiteY1" fmla="*/ 956 h 26450"/>
                    <a:gd name="connsiteX2" fmla="*/ 25991 w 27013"/>
                    <a:gd name="connsiteY2" fmla="*/ 8305 h 26450"/>
                    <a:gd name="connsiteX3" fmla="*/ 18518 w 27013"/>
                    <a:gd name="connsiteY3" fmla="*/ 25494 h 26450"/>
                    <a:gd name="connsiteX4" fmla="*/ 954 w 27013"/>
                    <a:gd name="connsiteY4" fmla="*/ 18145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3" h="26449">
                      <a:moveTo>
                        <a:pt x="954" y="18145"/>
                      </a:moveTo>
                      <a:cubicBezTo>
                        <a:pt x="-1785" y="11419"/>
                        <a:pt x="1578" y="3697"/>
                        <a:pt x="8428" y="956"/>
                      </a:cubicBezTo>
                      <a:cubicBezTo>
                        <a:pt x="15279" y="-1784"/>
                        <a:pt x="23126" y="1579"/>
                        <a:pt x="25991" y="8305"/>
                      </a:cubicBezTo>
                      <a:cubicBezTo>
                        <a:pt x="28855" y="15031"/>
                        <a:pt x="25493" y="22754"/>
                        <a:pt x="18518" y="25494"/>
                      </a:cubicBezTo>
                      <a:cubicBezTo>
                        <a:pt x="11542" y="28234"/>
                        <a:pt x="3695" y="24871"/>
                        <a:pt x="954"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7" name="Freeform 7010">
                  <a:extLst>
                    <a:ext uri="{FF2B5EF4-FFF2-40B4-BE49-F238E27FC236}">
                      <a16:creationId xmlns:a16="http://schemas.microsoft.com/office/drawing/2014/main" id="{0C3DAEE3-6209-D985-6BE9-02BCEBE67C40}"/>
                    </a:ext>
                  </a:extLst>
                </p:cNvPr>
                <p:cNvSpPr/>
                <p:nvPr/>
              </p:nvSpPr>
              <p:spPr>
                <a:xfrm>
                  <a:off x="9524801" y="1285136"/>
                  <a:ext cx="19056" cy="48577"/>
                </a:xfrm>
                <a:custGeom>
                  <a:avLst/>
                  <a:gdLst>
                    <a:gd name="connsiteX0" fmla="*/ 0 w 19056"/>
                    <a:gd name="connsiteY0" fmla="*/ 0 h 48577"/>
                    <a:gd name="connsiteX1" fmla="*/ 5231 w 19056"/>
                    <a:gd name="connsiteY1" fmla="*/ 18061 h 48577"/>
                    <a:gd name="connsiteX2" fmla="*/ 14822 w 19056"/>
                    <a:gd name="connsiteY2" fmla="*/ 32634 h 48577"/>
                    <a:gd name="connsiteX3" fmla="*/ 19057 w 19056"/>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056" h="48577">
                      <a:moveTo>
                        <a:pt x="0" y="0"/>
                      </a:moveTo>
                      <a:cubicBezTo>
                        <a:pt x="747" y="8345"/>
                        <a:pt x="3239" y="14200"/>
                        <a:pt x="5231" y="18061"/>
                      </a:cubicBezTo>
                      <a:cubicBezTo>
                        <a:pt x="8595" y="24164"/>
                        <a:pt x="11708" y="26282"/>
                        <a:pt x="14822" y="32634"/>
                      </a:cubicBezTo>
                      <a:cubicBezTo>
                        <a:pt x="17936" y="38862"/>
                        <a:pt x="18808" y="44592"/>
                        <a:pt x="19057"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8" name="Freeform 7011">
                  <a:extLst>
                    <a:ext uri="{FF2B5EF4-FFF2-40B4-BE49-F238E27FC236}">
                      <a16:creationId xmlns:a16="http://schemas.microsoft.com/office/drawing/2014/main" id="{287FCA8D-CE4B-5719-8D53-CDB6A158B1BA}"/>
                    </a:ext>
                  </a:extLst>
                </p:cNvPr>
                <p:cNvSpPr/>
                <p:nvPr/>
              </p:nvSpPr>
              <p:spPr>
                <a:xfrm>
                  <a:off x="9529284" y="1277911"/>
                  <a:ext cx="20552" cy="47954"/>
                </a:xfrm>
                <a:custGeom>
                  <a:avLst/>
                  <a:gdLst>
                    <a:gd name="connsiteX0" fmla="*/ 20552 w 20552"/>
                    <a:gd name="connsiteY0" fmla="*/ 47955 h 47954"/>
                    <a:gd name="connsiteX1" fmla="*/ 11584 w 20552"/>
                    <a:gd name="connsiteY1" fmla="*/ 31389 h 47954"/>
                    <a:gd name="connsiteX2" fmla="*/ 8221 w 20552"/>
                    <a:gd name="connsiteY2" fmla="*/ 14324 h 47954"/>
                    <a:gd name="connsiteX3" fmla="*/ 0 w 20552"/>
                    <a:gd name="connsiteY3" fmla="*/ 0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47955"/>
                      </a:moveTo>
                      <a:cubicBezTo>
                        <a:pt x="15196" y="41478"/>
                        <a:pt x="12830" y="35499"/>
                        <a:pt x="11584" y="31389"/>
                      </a:cubicBezTo>
                      <a:cubicBezTo>
                        <a:pt x="9716" y="24662"/>
                        <a:pt x="10463" y="21050"/>
                        <a:pt x="8221" y="14324"/>
                      </a:cubicBezTo>
                      <a:cubicBezTo>
                        <a:pt x="6103" y="7723"/>
                        <a:pt x="2616"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9" name="Freeform 7012">
                  <a:extLst>
                    <a:ext uri="{FF2B5EF4-FFF2-40B4-BE49-F238E27FC236}">
                      <a16:creationId xmlns:a16="http://schemas.microsoft.com/office/drawing/2014/main" id="{D2F7E55B-1256-4F91-9437-C98FACFE0D6E}"/>
                    </a:ext>
                  </a:extLst>
                </p:cNvPr>
                <p:cNvSpPr/>
                <p:nvPr/>
              </p:nvSpPr>
              <p:spPr>
                <a:xfrm>
                  <a:off x="9512242" y="1264054"/>
                  <a:ext cx="26430" cy="26344"/>
                </a:xfrm>
                <a:custGeom>
                  <a:avLst/>
                  <a:gdLst>
                    <a:gd name="connsiteX0" fmla="*/ 25387 w 26430"/>
                    <a:gd name="connsiteY0" fmla="*/ 8377 h 26344"/>
                    <a:gd name="connsiteX1" fmla="*/ 18164 w 26430"/>
                    <a:gd name="connsiteY1" fmla="*/ 25441 h 26344"/>
                    <a:gd name="connsiteX2" fmla="*/ 975 w 26430"/>
                    <a:gd name="connsiteY2" fmla="*/ 17968 h 26344"/>
                    <a:gd name="connsiteX3" fmla="*/ 8199 w 26430"/>
                    <a:gd name="connsiteY3" fmla="*/ 903 h 26344"/>
                    <a:gd name="connsiteX4" fmla="*/ 25387 w 26430"/>
                    <a:gd name="connsiteY4" fmla="*/ 8377 h 26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344">
                      <a:moveTo>
                        <a:pt x="25387" y="8377"/>
                      </a:moveTo>
                      <a:cubicBezTo>
                        <a:pt x="28253" y="15103"/>
                        <a:pt x="25014" y="22825"/>
                        <a:pt x="18164" y="25441"/>
                      </a:cubicBezTo>
                      <a:cubicBezTo>
                        <a:pt x="11437" y="28057"/>
                        <a:pt x="3714" y="24818"/>
                        <a:pt x="975" y="17968"/>
                      </a:cubicBezTo>
                      <a:cubicBezTo>
                        <a:pt x="-1766" y="11117"/>
                        <a:pt x="1472" y="3519"/>
                        <a:pt x="8199" y="903"/>
                      </a:cubicBezTo>
                      <a:cubicBezTo>
                        <a:pt x="14925" y="-1712"/>
                        <a:pt x="22647" y="1526"/>
                        <a:pt x="2538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59" name="Graphic 2987">
                <a:extLst>
                  <a:ext uri="{FF2B5EF4-FFF2-40B4-BE49-F238E27FC236}">
                    <a16:creationId xmlns:a16="http://schemas.microsoft.com/office/drawing/2014/main" id="{4E0A0A16-1E2D-944C-9627-209E3C4E38A6}"/>
                  </a:ext>
                </a:extLst>
              </p:cNvPr>
              <p:cNvGrpSpPr/>
              <p:nvPr/>
            </p:nvGrpSpPr>
            <p:grpSpPr>
              <a:xfrm>
                <a:off x="9484964" y="1274781"/>
                <a:ext cx="72553" cy="139870"/>
                <a:chOff x="9484964" y="1274781"/>
                <a:chExt cx="72553" cy="139870"/>
              </a:xfrm>
              <a:grpFill/>
            </p:grpSpPr>
            <p:sp>
              <p:nvSpPr>
                <p:cNvPr id="7038" name="Freeform 7014">
                  <a:extLst>
                    <a:ext uri="{FF2B5EF4-FFF2-40B4-BE49-F238E27FC236}">
                      <a16:creationId xmlns:a16="http://schemas.microsoft.com/office/drawing/2014/main" id="{C536881C-6944-C89F-04E9-A152E7034905}"/>
                    </a:ext>
                  </a:extLst>
                </p:cNvPr>
                <p:cNvSpPr/>
                <p:nvPr/>
              </p:nvSpPr>
              <p:spPr>
                <a:xfrm>
                  <a:off x="9525922" y="1344923"/>
                  <a:ext cx="18932" cy="48577"/>
                </a:xfrm>
                <a:custGeom>
                  <a:avLst/>
                  <a:gdLst>
                    <a:gd name="connsiteX0" fmla="*/ 18932 w 18932"/>
                    <a:gd name="connsiteY0" fmla="*/ 48577 h 48577"/>
                    <a:gd name="connsiteX1" fmla="*/ 13701 w 18932"/>
                    <a:gd name="connsiteY1" fmla="*/ 30517 h 48577"/>
                    <a:gd name="connsiteX2" fmla="*/ 4110 w 18932"/>
                    <a:gd name="connsiteY2" fmla="*/ 15943 h 48577"/>
                    <a:gd name="connsiteX3" fmla="*/ 0 w 18932"/>
                    <a:gd name="connsiteY3" fmla="*/ 0 h 48577"/>
                  </a:gdLst>
                  <a:ahLst/>
                  <a:cxnLst>
                    <a:cxn ang="0">
                      <a:pos x="connsiteX0" y="connsiteY0"/>
                    </a:cxn>
                    <a:cxn ang="0">
                      <a:pos x="connsiteX1" y="connsiteY1"/>
                    </a:cxn>
                    <a:cxn ang="0">
                      <a:pos x="connsiteX2" y="connsiteY2"/>
                    </a:cxn>
                    <a:cxn ang="0">
                      <a:pos x="connsiteX3" y="connsiteY3"/>
                    </a:cxn>
                  </a:cxnLst>
                  <a:rect l="l" t="t" r="r" b="b"/>
                  <a:pathLst>
                    <a:path w="18932" h="48577">
                      <a:moveTo>
                        <a:pt x="18932" y="48577"/>
                      </a:moveTo>
                      <a:cubicBezTo>
                        <a:pt x="18185" y="40232"/>
                        <a:pt x="15818" y="34378"/>
                        <a:pt x="13701" y="30517"/>
                      </a:cubicBezTo>
                      <a:cubicBezTo>
                        <a:pt x="10338" y="24413"/>
                        <a:pt x="7224" y="22296"/>
                        <a:pt x="4110"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9" name="Freeform 7015">
                  <a:extLst>
                    <a:ext uri="{FF2B5EF4-FFF2-40B4-BE49-F238E27FC236}">
                      <a16:creationId xmlns:a16="http://schemas.microsoft.com/office/drawing/2014/main" id="{19F509FE-010F-F39C-9F96-49DC6FE95F35}"/>
                    </a:ext>
                  </a:extLst>
                </p:cNvPr>
                <p:cNvSpPr/>
                <p:nvPr/>
              </p:nvSpPr>
              <p:spPr>
                <a:xfrm>
                  <a:off x="9519943" y="1352770"/>
                  <a:ext cx="20302" cy="47954"/>
                </a:xfrm>
                <a:custGeom>
                  <a:avLst/>
                  <a:gdLst>
                    <a:gd name="connsiteX0" fmla="*/ 0 w 20302"/>
                    <a:gd name="connsiteY0" fmla="*/ 0 h 47954"/>
                    <a:gd name="connsiteX1" fmla="*/ 8844 w 20302"/>
                    <a:gd name="connsiteY1" fmla="*/ 16566 h 47954"/>
                    <a:gd name="connsiteX2" fmla="*/ 12082 w 20302"/>
                    <a:gd name="connsiteY2" fmla="*/ 33631 h 47954"/>
                    <a:gd name="connsiteX3" fmla="*/ 20303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0" y="0"/>
                      </a:moveTo>
                      <a:cubicBezTo>
                        <a:pt x="5356" y="6602"/>
                        <a:pt x="7723" y="12456"/>
                        <a:pt x="8844" y="16566"/>
                      </a:cubicBezTo>
                      <a:cubicBezTo>
                        <a:pt x="10712" y="23292"/>
                        <a:pt x="9841" y="26904"/>
                        <a:pt x="12082" y="33631"/>
                      </a:cubicBezTo>
                      <a:cubicBezTo>
                        <a:pt x="14200" y="40232"/>
                        <a:pt x="17687" y="44965"/>
                        <a:pt x="20303"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0" name="Freeform 7016">
                  <a:extLst>
                    <a:ext uri="{FF2B5EF4-FFF2-40B4-BE49-F238E27FC236}">
                      <a16:creationId xmlns:a16="http://schemas.microsoft.com/office/drawing/2014/main" id="{91137169-1242-A8A1-C9B1-1053F3C49F80}"/>
                    </a:ext>
                  </a:extLst>
                </p:cNvPr>
                <p:cNvSpPr/>
                <p:nvPr/>
              </p:nvSpPr>
              <p:spPr>
                <a:xfrm>
                  <a:off x="9530696" y="1388185"/>
                  <a:ext cx="26820" cy="26466"/>
                </a:xfrm>
                <a:custGeom>
                  <a:avLst/>
                  <a:gdLst>
                    <a:gd name="connsiteX0" fmla="*/ 955 w 26820"/>
                    <a:gd name="connsiteY0" fmla="*/ 18145 h 26466"/>
                    <a:gd name="connsiteX1" fmla="*/ 8428 w 26820"/>
                    <a:gd name="connsiteY1" fmla="*/ 956 h 26466"/>
                    <a:gd name="connsiteX2" fmla="*/ 25866 w 26820"/>
                    <a:gd name="connsiteY2" fmla="*/ 8305 h 26466"/>
                    <a:gd name="connsiteX3" fmla="*/ 18393 w 26820"/>
                    <a:gd name="connsiteY3" fmla="*/ 25494 h 26466"/>
                    <a:gd name="connsiteX4" fmla="*/ 955 w 26820"/>
                    <a:gd name="connsiteY4" fmla="*/ 1814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20" h="26466">
                      <a:moveTo>
                        <a:pt x="955" y="18145"/>
                      </a:moveTo>
                      <a:cubicBezTo>
                        <a:pt x="-1785" y="11295"/>
                        <a:pt x="1577" y="3697"/>
                        <a:pt x="8428" y="956"/>
                      </a:cubicBezTo>
                      <a:cubicBezTo>
                        <a:pt x="15279" y="-1784"/>
                        <a:pt x="23126" y="1579"/>
                        <a:pt x="25866" y="8305"/>
                      </a:cubicBezTo>
                      <a:cubicBezTo>
                        <a:pt x="28607" y="15031"/>
                        <a:pt x="25243" y="22754"/>
                        <a:pt x="18393" y="25494"/>
                      </a:cubicBezTo>
                      <a:cubicBezTo>
                        <a:pt x="11542" y="28234"/>
                        <a:pt x="3695" y="24996"/>
                        <a:pt x="955" y="1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1" name="Freeform 7017">
                  <a:extLst>
                    <a:ext uri="{FF2B5EF4-FFF2-40B4-BE49-F238E27FC236}">
                      <a16:creationId xmlns:a16="http://schemas.microsoft.com/office/drawing/2014/main" id="{6E11012C-8894-C31A-0845-0B6B2935FA75}"/>
                    </a:ext>
                  </a:extLst>
                </p:cNvPr>
                <p:cNvSpPr/>
                <p:nvPr/>
              </p:nvSpPr>
              <p:spPr>
                <a:xfrm>
                  <a:off x="9497522" y="1295848"/>
                  <a:ext cx="18933" cy="48577"/>
                </a:xfrm>
                <a:custGeom>
                  <a:avLst/>
                  <a:gdLst>
                    <a:gd name="connsiteX0" fmla="*/ 0 w 18933"/>
                    <a:gd name="connsiteY0" fmla="*/ 0 h 48577"/>
                    <a:gd name="connsiteX1" fmla="*/ 5231 w 18933"/>
                    <a:gd name="connsiteY1" fmla="*/ 18061 h 48577"/>
                    <a:gd name="connsiteX2" fmla="*/ 14822 w 18933"/>
                    <a:gd name="connsiteY2" fmla="*/ 32634 h 48577"/>
                    <a:gd name="connsiteX3" fmla="*/ 18933 w 18933"/>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933" h="48577">
                      <a:moveTo>
                        <a:pt x="0" y="0"/>
                      </a:moveTo>
                      <a:cubicBezTo>
                        <a:pt x="747" y="8345"/>
                        <a:pt x="3114" y="14200"/>
                        <a:pt x="5231" y="18061"/>
                      </a:cubicBezTo>
                      <a:cubicBezTo>
                        <a:pt x="8595" y="24289"/>
                        <a:pt x="11708" y="26282"/>
                        <a:pt x="14822" y="32634"/>
                      </a:cubicBezTo>
                      <a:cubicBezTo>
                        <a:pt x="17812" y="38862"/>
                        <a:pt x="18684" y="44716"/>
                        <a:pt x="18933"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2" name="Freeform 7018">
                  <a:extLst>
                    <a:ext uri="{FF2B5EF4-FFF2-40B4-BE49-F238E27FC236}">
                      <a16:creationId xmlns:a16="http://schemas.microsoft.com/office/drawing/2014/main" id="{D98DA8AA-5F44-716C-354F-481DDC6E9F0F}"/>
                    </a:ext>
                  </a:extLst>
                </p:cNvPr>
                <p:cNvSpPr/>
                <p:nvPr/>
              </p:nvSpPr>
              <p:spPr>
                <a:xfrm>
                  <a:off x="9502131" y="1288748"/>
                  <a:ext cx="20178" cy="47954"/>
                </a:xfrm>
                <a:custGeom>
                  <a:avLst/>
                  <a:gdLst>
                    <a:gd name="connsiteX0" fmla="*/ 20178 w 20178"/>
                    <a:gd name="connsiteY0" fmla="*/ 47955 h 47954"/>
                    <a:gd name="connsiteX1" fmla="*/ 11335 w 20178"/>
                    <a:gd name="connsiteY1" fmla="*/ 31389 h 47954"/>
                    <a:gd name="connsiteX2" fmla="*/ 8097 w 20178"/>
                    <a:gd name="connsiteY2" fmla="*/ 14324 h 47954"/>
                    <a:gd name="connsiteX3" fmla="*/ 0 w 20178"/>
                    <a:gd name="connsiteY3" fmla="*/ 0 h 47954"/>
                  </a:gdLst>
                  <a:ahLst/>
                  <a:cxnLst>
                    <a:cxn ang="0">
                      <a:pos x="connsiteX0" y="connsiteY0"/>
                    </a:cxn>
                    <a:cxn ang="0">
                      <a:pos x="connsiteX1" y="connsiteY1"/>
                    </a:cxn>
                    <a:cxn ang="0">
                      <a:pos x="connsiteX2" y="connsiteY2"/>
                    </a:cxn>
                    <a:cxn ang="0">
                      <a:pos x="connsiteX3" y="connsiteY3"/>
                    </a:cxn>
                  </a:cxnLst>
                  <a:rect l="l" t="t" r="r" b="b"/>
                  <a:pathLst>
                    <a:path w="20178" h="47954">
                      <a:moveTo>
                        <a:pt x="20178" y="47955"/>
                      </a:moveTo>
                      <a:cubicBezTo>
                        <a:pt x="14822" y="41353"/>
                        <a:pt x="12456" y="35499"/>
                        <a:pt x="11335" y="31389"/>
                      </a:cubicBezTo>
                      <a:cubicBezTo>
                        <a:pt x="9467" y="24662"/>
                        <a:pt x="10214" y="21050"/>
                        <a:pt x="8097" y="14324"/>
                      </a:cubicBezTo>
                      <a:cubicBezTo>
                        <a:pt x="5979" y="7723"/>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43" name="Freeform 7019">
                  <a:extLst>
                    <a:ext uri="{FF2B5EF4-FFF2-40B4-BE49-F238E27FC236}">
                      <a16:creationId xmlns:a16="http://schemas.microsoft.com/office/drawing/2014/main" id="{6214FD80-8DA8-B098-429E-F2B1370411E0}"/>
                    </a:ext>
                  </a:extLst>
                </p:cNvPr>
                <p:cNvSpPr/>
                <p:nvPr/>
              </p:nvSpPr>
              <p:spPr>
                <a:xfrm>
                  <a:off x="9484964" y="1274781"/>
                  <a:ext cx="26362" cy="26328"/>
                </a:xfrm>
                <a:custGeom>
                  <a:avLst/>
                  <a:gdLst>
                    <a:gd name="connsiteX0" fmla="*/ 25388 w 26362"/>
                    <a:gd name="connsiteY0" fmla="*/ 8361 h 26328"/>
                    <a:gd name="connsiteX1" fmla="*/ 18164 w 26362"/>
                    <a:gd name="connsiteY1" fmla="*/ 25426 h 26328"/>
                    <a:gd name="connsiteX2" fmla="*/ 975 w 26362"/>
                    <a:gd name="connsiteY2" fmla="*/ 17952 h 26328"/>
                    <a:gd name="connsiteX3" fmla="*/ 8199 w 26362"/>
                    <a:gd name="connsiteY3" fmla="*/ 888 h 26328"/>
                    <a:gd name="connsiteX4" fmla="*/ 25388 w 26362"/>
                    <a:gd name="connsiteY4" fmla="*/ 8361 h 2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327">
                      <a:moveTo>
                        <a:pt x="25388" y="8361"/>
                      </a:moveTo>
                      <a:cubicBezTo>
                        <a:pt x="28128" y="15087"/>
                        <a:pt x="24889" y="22810"/>
                        <a:pt x="18164" y="25426"/>
                      </a:cubicBezTo>
                      <a:cubicBezTo>
                        <a:pt x="11437" y="28041"/>
                        <a:pt x="3714" y="24803"/>
                        <a:pt x="975" y="17952"/>
                      </a:cubicBezTo>
                      <a:cubicBezTo>
                        <a:pt x="-1766" y="11102"/>
                        <a:pt x="1472" y="3504"/>
                        <a:pt x="8199" y="888"/>
                      </a:cubicBezTo>
                      <a:cubicBezTo>
                        <a:pt x="14925" y="-1728"/>
                        <a:pt x="22647" y="1635"/>
                        <a:pt x="25388"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0" name="Graphic 2987">
                <a:extLst>
                  <a:ext uri="{FF2B5EF4-FFF2-40B4-BE49-F238E27FC236}">
                    <a16:creationId xmlns:a16="http://schemas.microsoft.com/office/drawing/2014/main" id="{73A6FA4C-E899-2D3F-5818-A1FAE39A0DD0}"/>
                  </a:ext>
                </a:extLst>
              </p:cNvPr>
              <p:cNvGrpSpPr/>
              <p:nvPr/>
            </p:nvGrpSpPr>
            <p:grpSpPr>
              <a:xfrm>
                <a:off x="9457704" y="1285551"/>
                <a:ext cx="72035" cy="140170"/>
                <a:chOff x="9457704" y="1285551"/>
                <a:chExt cx="72035" cy="140170"/>
              </a:xfrm>
              <a:grpFill/>
            </p:grpSpPr>
            <p:sp>
              <p:nvSpPr>
                <p:cNvPr id="7032" name="Freeform 7021">
                  <a:extLst>
                    <a:ext uri="{FF2B5EF4-FFF2-40B4-BE49-F238E27FC236}">
                      <a16:creationId xmlns:a16="http://schemas.microsoft.com/office/drawing/2014/main" id="{C642F0BB-9331-3F3B-B947-65AECA2D1F89}"/>
                    </a:ext>
                  </a:extLst>
                </p:cNvPr>
                <p:cNvSpPr/>
                <p:nvPr/>
              </p:nvSpPr>
              <p:spPr>
                <a:xfrm>
                  <a:off x="9498270" y="1356009"/>
                  <a:ext cx="18808" cy="48577"/>
                </a:xfrm>
                <a:custGeom>
                  <a:avLst/>
                  <a:gdLst>
                    <a:gd name="connsiteX0" fmla="*/ 18808 w 18808"/>
                    <a:gd name="connsiteY0" fmla="*/ 48578 h 48577"/>
                    <a:gd name="connsiteX1" fmla="*/ 13701 w 18808"/>
                    <a:gd name="connsiteY1" fmla="*/ 30517 h 48577"/>
                    <a:gd name="connsiteX2" fmla="*/ 4111 w 18808"/>
                    <a:gd name="connsiteY2" fmla="*/ 15943 h 48577"/>
                    <a:gd name="connsiteX3" fmla="*/ 0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48578"/>
                      </a:moveTo>
                      <a:cubicBezTo>
                        <a:pt x="18186" y="40232"/>
                        <a:pt x="15819" y="34253"/>
                        <a:pt x="13701" y="30517"/>
                      </a:cubicBezTo>
                      <a:cubicBezTo>
                        <a:pt x="10339" y="24289"/>
                        <a:pt x="7225" y="22296"/>
                        <a:pt x="4111" y="15943"/>
                      </a:cubicBezTo>
                      <a:cubicBezTo>
                        <a:pt x="1121" y="9715"/>
                        <a:pt x="249"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3" name="Freeform 7022">
                  <a:extLst>
                    <a:ext uri="{FF2B5EF4-FFF2-40B4-BE49-F238E27FC236}">
                      <a16:creationId xmlns:a16="http://schemas.microsoft.com/office/drawing/2014/main" id="{6F6A8BDC-007E-C955-66A6-C112208B8BDB}"/>
                    </a:ext>
                  </a:extLst>
                </p:cNvPr>
                <p:cNvSpPr/>
                <p:nvPr/>
              </p:nvSpPr>
              <p:spPr>
                <a:xfrm>
                  <a:off x="9492291" y="1363607"/>
                  <a:ext cx="19928" cy="48328"/>
                </a:xfrm>
                <a:custGeom>
                  <a:avLst/>
                  <a:gdLst>
                    <a:gd name="connsiteX0" fmla="*/ 0 w 19928"/>
                    <a:gd name="connsiteY0" fmla="*/ 0 h 48328"/>
                    <a:gd name="connsiteX1" fmla="*/ 8719 w 19928"/>
                    <a:gd name="connsiteY1" fmla="*/ 16691 h 48328"/>
                    <a:gd name="connsiteX2" fmla="*/ 11833 w 19928"/>
                    <a:gd name="connsiteY2" fmla="*/ 33880 h 48328"/>
                    <a:gd name="connsiteX3" fmla="*/ 19929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0" y="0"/>
                      </a:moveTo>
                      <a:cubicBezTo>
                        <a:pt x="5231" y="6602"/>
                        <a:pt x="7598" y="12456"/>
                        <a:pt x="8719" y="16691"/>
                      </a:cubicBezTo>
                      <a:cubicBezTo>
                        <a:pt x="10587" y="23417"/>
                        <a:pt x="9715" y="27029"/>
                        <a:pt x="11833" y="33880"/>
                      </a:cubicBezTo>
                      <a:cubicBezTo>
                        <a:pt x="13950" y="40481"/>
                        <a:pt x="17313" y="45214"/>
                        <a:pt x="19929"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4" name="Freeform 7023">
                  <a:extLst>
                    <a:ext uri="{FF2B5EF4-FFF2-40B4-BE49-F238E27FC236}">
                      <a16:creationId xmlns:a16="http://schemas.microsoft.com/office/drawing/2014/main" id="{3CDB5A29-4627-1EBF-F675-39A8E85E24F9}"/>
                    </a:ext>
                  </a:extLst>
                </p:cNvPr>
                <p:cNvSpPr/>
                <p:nvPr/>
              </p:nvSpPr>
              <p:spPr>
                <a:xfrm>
                  <a:off x="9502813" y="1399322"/>
                  <a:ext cx="26926" cy="26399"/>
                </a:xfrm>
                <a:custGeom>
                  <a:avLst/>
                  <a:gdLst>
                    <a:gd name="connsiteX0" fmla="*/ 937 w 26926"/>
                    <a:gd name="connsiteY0" fmla="*/ 18094 h 26399"/>
                    <a:gd name="connsiteX1" fmla="*/ 8535 w 26926"/>
                    <a:gd name="connsiteY1" fmla="*/ 905 h 26399"/>
                    <a:gd name="connsiteX2" fmla="*/ 25973 w 26926"/>
                    <a:gd name="connsiteY2" fmla="*/ 8254 h 26399"/>
                    <a:gd name="connsiteX3" fmla="*/ 18376 w 26926"/>
                    <a:gd name="connsiteY3" fmla="*/ 25443 h 26399"/>
                    <a:gd name="connsiteX4" fmla="*/ 937 w 26926"/>
                    <a:gd name="connsiteY4" fmla="*/ 18094 h 26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6" h="26399">
                      <a:moveTo>
                        <a:pt x="937" y="18094"/>
                      </a:moveTo>
                      <a:cubicBezTo>
                        <a:pt x="-1803" y="11243"/>
                        <a:pt x="1685" y="3521"/>
                        <a:pt x="8535" y="905"/>
                      </a:cubicBezTo>
                      <a:cubicBezTo>
                        <a:pt x="15386" y="-1711"/>
                        <a:pt x="23233" y="1528"/>
                        <a:pt x="25973" y="8254"/>
                      </a:cubicBezTo>
                      <a:cubicBezTo>
                        <a:pt x="28713" y="15104"/>
                        <a:pt x="25351" y="22702"/>
                        <a:pt x="18376" y="25443"/>
                      </a:cubicBezTo>
                      <a:cubicBezTo>
                        <a:pt x="11400" y="28183"/>
                        <a:pt x="3677" y="24820"/>
                        <a:pt x="937" y="180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5" name="Freeform 7024">
                  <a:extLst>
                    <a:ext uri="{FF2B5EF4-FFF2-40B4-BE49-F238E27FC236}">
                      <a16:creationId xmlns:a16="http://schemas.microsoft.com/office/drawing/2014/main" id="{4BD8B378-183F-7045-608D-DB582354D00D}"/>
                    </a:ext>
                  </a:extLst>
                </p:cNvPr>
                <p:cNvSpPr/>
                <p:nvPr/>
              </p:nvSpPr>
              <p:spPr>
                <a:xfrm>
                  <a:off x="9470120" y="1306684"/>
                  <a:ext cx="18683" cy="48577"/>
                </a:xfrm>
                <a:custGeom>
                  <a:avLst/>
                  <a:gdLst>
                    <a:gd name="connsiteX0" fmla="*/ 0 w 18683"/>
                    <a:gd name="connsiteY0" fmla="*/ 0 h 48577"/>
                    <a:gd name="connsiteX1" fmla="*/ 5107 w 18683"/>
                    <a:gd name="connsiteY1" fmla="*/ 18061 h 48577"/>
                    <a:gd name="connsiteX2" fmla="*/ 14573 w 18683"/>
                    <a:gd name="connsiteY2" fmla="*/ 32634 h 48577"/>
                    <a:gd name="connsiteX3" fmla="*/ 18684 w 1868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683" h="48577">
                      <a:moveTo>
                        <a:pt x="0" y="0"/>
                      </a:moveTo>
                      <a:cubicBezTo>
                        <a:pt x="747" y="8345"/>
                        <a:pt x="2989" y="14200"/>
                        <a:pt x="5107" y="18061"/>
                      </a:cubicBezTo>
                      <a:cubicBezTo>
                        <a:pt x="8345" y="24289"/>
                        <a:pt x="11459" y="26282"/>
                        <a:pt x="14573" y="32634"/>
                      </a:cubicBezTo>
                      <a:cubicBezTo>
                        <a:pt x="17563" y="38862"/>
                        <a:pt x="18435" y="44716"/>
                        <a:pt x="18684"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6" name="Freeform 7025">
                  <a:extLst>
                    <a:ext uri="{FF2B5EF4-FFF2-40B4-BE49-F238E27FC236}">
                      <a16:creationId xmlns:a16="http://schemas.microsoft.com/office/drawing/2014/main" id="{3FDA9228-C24C-74A2-A46A-2942F4366E47}"/>
                    </a:ext>
                  </a:extLst>
                </p:cNvPr>
                <p:cNvSpPr/>
                <p:nvPr/>
              </p:nvSpPr>
              <p:spPr>
                <a:xfrm>
                  <a:off x="9474728" y="1299335"/>
                  <a:ext cx="20054" cy="48203"/>
                </a:xfrm>
                <a:custGeom>
                  <a:avLst/>
                  <a:gdLst>
                    <a:gd name="connsiteX0" fmla="*/ 20054 w 20054"/>
                    <a:gd name="connsiteY0" fmla="*/ 48204 h 48203"/>
                    <a:gd name="connsiteX1" fmla="*/ 11335 w 20054"/>
                    <a:gd name="connsiteY1" fmla="*/ 31513 h 48203"/>
                    <a:gd name="connsiteX2" fmla="*/ 8097 w 20054"/>
                    <a:gd name="connsiteY2" fmla="*/ 14449 h 48203"/>
                    <a:gd name="connsiteX3" fmla="*/ 0 w 20054"/>
                    <a:gd name="connsiteY3" fmla="*/ 0 h 48203"/>
                  </a:gdLst>
                  <a:ahLst/>
                  <a:cxnLst>
                    <a:cxn ang="0">
                      <a:pos x="connsiteX0" y="connsiteY0"/>
                    </a:cxn>
                    <a:cxn ang="0">
                      <a:pos x="connsiteX1" y="connsiteY1"/>
                    </a:cxn>
                    <a:cxn ang="0">
                      <a:pos x="connsiteX2" y="connsiteY2"/>
                    </a:cxn>
                    <a:cxn ang="0">
                      <a:pos x="connsiteX3" y="connsiteY3"/>
                    </a:cxn>
                  </a:cxnLst>
                  <a:rect l="l" t="t" r="r" b="b"/>
                  <a:pathLst>
                    <a:path w="20054" h="48203">
                      <a:moveTo>
                        <a:pt x="20054" y="48204"/>
                      </a:moveTo>
                      <a:cubicBezTo>
                        <a:pt x="14822" y="41602"/>
                        <a:pt x="12456" y="35748"/>
                        <a:pt x="11335" y="31513"/>
                      </a:cubicBezTo>
                      <a:cubicBezTo>
                        <a:pt x="9467" y="24787"/>
                        <a:pt x="10339" y="21175"/>
                        <a:pt x="8097" y="14449"/>
                      </a:cubicBezTo>
                      <a:cubicBezTo>
                        <a:pt x="5979" y="7847"/>
                        <a:pt x="2616"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7" name="Freeform 7026">
                  <a:extLst>
                    <a:ext uri="{FF2B5EF4-FFF2-40B4-BE49-F238E27FC236}">
                      <a16:creationId xmlns:a16="http://schemas.microsoft.com/office/drawing/2014/main" id="{48BE1FB0-EC6E-2A47-E3DB-E2152E05B538}"/>
                    </a:ext>
                  </a:extLst>
                </p:cNvPr>
                <p:cNvSpPr/>
                <p:nvPr/>
              </p:nvSpPr>
              <p:spPr>
                <a:xfrm>
                  <a:off x="9457704" y="1285551"/>
                  <a:ext cx="26342" cy="26571"/>
                </a:xfrm>
                <a:custGeom>
                  <a:avLst/>
                  <a:gdLst>
                    <a:gd name="connsiteX0" fmla="*/ 25370 w 26342"/>
                    <a:gd name="connsiteY0" fmla="*/ 8428 h 26571"/>
                    <a:gd name="connsiteX1" fmla="*/ 18021 w 26342"/>
                    <a:gd name="connsiteY1" fmla="*/ 25617 h 26571"/>
                    <a:gd name="connsiteX2" fmla="*/ 957 w 26342"/>
                    <a:gd name="connsiteY2" fmla="*/ 18144 h 26571"/>
                    <a:gd name="connsiteX3" fmla="*/ 8305 w 26342"/>
                    <a:gd name="connsiteY3" fmla="*/ 955 h 26571"/>
                    <a:gd name="connsiteX4" fmla="*/ 25370 w 26342"/>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2" h="26570">
                      <a:moveTo>
                        <a:pt x="25370" y="8428"/>
                      </a:moveTo>
                      <a:cubicBezTo>
                        <a:pt x="28110" y="15279"/>
                        <a:pt x="24871" y="22877"/>
                        <a:pt x="18021" y="25617"/>
                      </a:cubicBezTo>
                      <a:cubicBezTo>
                        <a:pt x="11170" y="28357"/>
                        <a:pt x="3573" y="24994"/>
                        <a:pt x="957" y="18144"/>
                      </a:cubicBezTo>
                      <a:cubicBezTo>
                        <a:pt x="-1784" y="11293"/>
                        <a:pt x="1579" y="3695"/>
                        <a:pt x="8305" y="955"/>
                      </a:cubicBezTo>
                      <a:cubicBezTo>
                        <a:pt x="15032" y="-1786"/>
                        <a:pt x="22629" y="1577"/>
                        <a:pt x="25370"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1" name="Graphic 2987">
                <a:extLst>
                  <a:ext uri="{FF2B5EF4-FFF2-40B4-BE49-F238E27FC236}">
                    <a16:creationId xmlns:a16="http://schemas.microsoft.com/office/drawing/2014/main" id="{4491F658-EF53-25DB-C1A6-A2873178A060}"/>
                  </a:ext>
                </a:extLst>
              </p:cNvPr>
              <p:cNvGrpSpPr/>
              <p:nvPr/>
            </p:nvGrpSpPr>
            <p:grpSpPr>
              <a:xfrm>
                <a:off x="9430477" y="1296279"/>
                <a:ext cx="71220" cy="140471"/>
                <a:chOff x="9430477" y="1296279"/>
                <a:chExt cx="71220" cy="140471"/>
              </a:xfrm>
              <a:grpFill/>
            </p:grpSpPr>
            <p:sp>
              <p:nvSpPr>
                <p:cNvPr id="7026" name="Freeform 7028">
                  <a:extLst>
                    <a:ext uri="{FF2B5EF4-FFF2-40B4-BE49-F238E27FC236}">
                      <a16:creationId xmlns:a16="http://schemas.microsoft.com/office/drawing/2014/main" id="{3772BBED-887B-4B95-B2EE-B95BF5B55F35}"/>
                    </a:ext>
                  </a:extLst>
                </p:cNvPr>
                <p:cNvSpPr/>
                <p:nvPr/>
              </p:nvSpPr>
              <p:spPr>
                <a:xfrm>
                  <a:off x="9470742" y="1366721"/>
                  <a:ext cx="18435" cy="48826"/>
                </a:xfrm>
                <a:custGeom>
                  <a:avLst/>
                  <a:gdLst>
                    <a:gd name="connsiteX0" fmla="*/ 18435 w 18435"/>
                    <a:gd name="connsiteY0" fmla="*/ 48827 h 48826"/>
                    <a:gd name="connsiteX1" fmla="*/ 13452 w 18435"/>
                    <a:gd name="connsiteY1" fmla="*/ 30641 h 48826"/>
                    <a:gd name="connsiteX2" fmla="*/ 3986 w 18435"/>
                    <a:gd name="connsiteY2" fmla="*/ 1606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7812" y="40481"/>
                        <a:pt x="15446" y="34502"/>
                        <a:pt x="13452" y="30641"/>
                      </a:cubicBezTo>
                      <a:cubicBezTo>
                        <a:pt x="10214" y="24413"/>
                        <a:pt x="7100" y="22420"/>
                        <a:pt x="3986"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7" name="Freeform 7029">
                  <a:extLst>
                    <a:ext uri="{FF2B5EF4-FFF2-40B4-BE49-F238E27FC236}">
                      <a16:creationId xmlns:a16="http://schemas.microsoft.com/office/drawing/2014/main" id="{595B72C4-20BA-360C-9DDE-FD7BDBF43781}"/>
                    </a:ext>
                  </a:extLst>
                </p:cNvPr>
                <p:cNvSpPr/>
                <p:nvPr/>
              </p:nvSpPr>
              <p:spPr>
                <a:xfrm>
                  <a:off x="9464764" y="1374568"/>
                  <a:ext cx="19680" cy="48328"/>
                </a:xfrm>
                <a:custGeom>
                  <a:avLst/>
                  <a:gdLst>
                    <a:gd name="connsiteX0" fmla="*/ 0 w 19680"/>
                    <a:gd name="connsiteY0" fmla="*/ 0 h 48328"/>
                    <a:gd name="connsiteX1" fmla="*/ 8719 w 19680"/>
                    <a:gd name="connsiteY1" fmla="*/ 16691 h 48328"/>
                    <a:gd name="connsiteX2" fmla="*/ 11708 w 19680"/>
                    <a:gd name="connsiteY2" fmla="*/ 33880 h 48328"/>
                    <a:gd name="connsiteX3" fmla="*/ 1968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0" y="0"/>
                      </a:moveTo>
                      <a:cubicBezTo>
                        <a:pt x="5231" y="6602"/>
                        <a:pt x="7598" y="12456"/>
                        <a:pt x="8719" y="16691"/>
                      </a:cubicBezTo>
                      <a:cubicBezTo>
                        <a:pt x="10587" y="23417"/>
                        <a:pt x="9591" y="27029"/>
                        <a:pt x="11708" y="33880"/>
                      </a:cubicBezTo>
                      <a:cubicBezTo>
                        <a:pt x="13701" y="40481"/>
                        <a:pt x="17189" y="45339"/>
                        <a:pt x="1968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8" name="Freeform 7030">
                  <a:extLst>
                    <a:ext uri="{FF2B5EF4-FFF2-40B4-BE49-F238E27FC236}">
                      <a16:creationId xmlns:a16="http://schemas.microsoft.com/office/drawing/2014/main" id="{E130AE2F-B0B7-4654-D83A-459FC5FBBF9D}"/>
                    </a:ext>
                  </a:extLst>
                </p:cNvPr>
                <p:cNvSpPr/>
                <p:nvPr/>
              </p:nvSpPr>
              <p:spPr>
                <a:xfrm>
                  <a:off x="9474963" y="1410107"/>
                  <a:ext cx="26735" cy="26643"/>
                </a:xfrm>
                <a:custGeom>
                  <a:avLst/>
                  <a:gdLst>
                    <a:gd name="connsiteX0" fmla="*/ 886 w 26735"/>
                    <a:gd name="connsiteY0" fmla="*/ 18270 h 26643"/>
                    <a:gd name="connsiteX1" fmla="*/ 8484 w 26735"/>
                    <a:gd name="connsiteY1" fmla="*/ 956 h 26643"/>
                    <a:gd name="connsiteX2" fmla="*/ 25798 w 26735"/>
                    <a:gd name="connsiteY2" fmla="*/ 8305 h 26643"/>
                    <a:gd name="connsiteX3" fmla="*/ 18200 w 26735"/>
                    <a:gd name="connsiteY3" fmla="*/ 25619 h 26643"/>
                    <a:gd name="connsiteX4" fmla="*/ 886 w 26735"/>
                    <a:gd name="connsiteY4" fmla="*/ 18270 h 2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42">
                      <a:moveTo>
                        <a:pt x="886" y="18270"/>
                      </a:moveTo>
                      <a:cubicBezTo>
                        <a:pt x="-1730" y="11419"/>
                        <a:pt x="1634" y="3697"/>
                        <a:pt x="8484" y="956"/>
                      </a:cubicBezTo>
                      <a:cubicBezTo>
                        <a:pt x="15335" y="-1784"/>
                        <a:pt x="23057" y="1579"/>
                        <a:pt x="25798" y="8305"/>
                      </a:cubicBezTo>
                      <a:cubicBezTo>
                        <a:pt x="28538" y="15156"/>
                        <a:pt x="25051" y="22879"/>
                        <a:pt x="18200" y="25619"/>
                      </a:cubicBezTo>
                      <a:cubicBezTo>
                        <a:pt x="11349" y="28484"/>
                        <a:pt x="3626" y="25121"/>
                        <a:pt x="886" y="182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9" name="Freeform 7031">
                  <a:extLst>
                    <a:ext uri="{FF2B5EF4-FFF2-40B4-BE49-F238E27FC236}">
                      <a16:creationId xmlns:a16="http://schemas.microsoft.com/office/drawing/2014/main" id="{DF93B5D8-78EC-B93A-A4C9-CA247A2875A8}"/>
                    </a:ext>
                  </a:extLst>
                </p:cNvPr>
                <p:cNvSpPr/>
                <p:nvPr/>
              </p:nvSpPr>
              <p:spPr>
                <a:xfrm>
                  <a:off x="9442841" y="1317396"/>
                  <a:ext cx="18310" cy="48951"/>
                </a:xfrm>
                <a:custGeom>
                  <a:avLst/>
                  <a:gdLst>
                    <a:gd name="connsiteX0" fmla="*/ 0 w 18310"/>
                    <a:gd name="connsiteY0" fmla="*/ 0 h 48951"/>
                    <a:gd name="connsiteX1" fmla="*/ 4983 w 18310"/>
                    <a:gd name="connsiteY1" fmla="*/ 18185 h 48951"/>
                    <a:gd name="connsiteX2" fmla="*/ 14324 w 18310"/>
                    <a:gd name="connsiteY2" fmla="*/ 32883 h 48951"/>
                    <a:gd name="connsiteX3" fmla="*/ 18310 w 1831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10" h="48951">
                      <a:moveTo>
                        <a:pt x="0" y="0"/>
                      </a:moveTo>
                      <a:cubicBezTo>
                        <a:pt x="623" y="8345"/>
                        <a:pt x="2989" y="14324"/>
                        <a:pt x="4983" y="18185"/>
                      </a:cubicBezTo>
                      <a:cubicBezTo>
                        <a:pt x="8221" y="24413"/>
                        <a:pt x="11335" y="26406"/>
                        <a:pt x="14324" y="32883"/>
                      </a:cubicBezTo>
                      <a:cubicBezTo>
                        <a:pt x="17314" y="39111"/>
                        <a:pt x="18061" y="44965"/>
                        <a:pt x="1831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0" name="Freeform 7032">
                  <a:extLst>
                    <a:ext uri="{FF2B5EF4-FFF2-40B4-BE49-F238E27FC236}">
                      <a16:creationId xmlns:a16="http://schemas.microsoft.com/office/drawing/2014/main" id="{7CEC4892-F439-65E7-CBF7-7BCD8358EBE3}"/>
                    </a:ext>
                  </a:extLst>
                </p:cNvPr>
                <p:cNvSpPr/>
                <p:nvPr/>
              </p:nvSpPr>
              <p:spPr>
                <a:xfrm>
                  <a:off x="9447450" y="1310172"/>
                  <a:ext cx="19805" cy="48328"/>
                </a:xfrm>
                <a:custGeom>
                  <a:avLst/>
                  <a:gdLst>
                    <a:gd name="connsiteX0" fmla="*/ 19805 w 19805"/>
                    <a:gd name="connsiteY0" fmla="*/ 48328 h 48328"/>
                    <a:gd name="connsiteX1" fmla="*/ 11086 w 19805"/>
                    <a:gd name="connsiteY1" fmla="*/ 31638 h 48328"/>
                    <a:gd name="connsiteX2" fmla="*/ 7972 w 19805"/>
                    <a:gd name="connsiteY2" fmla="*/ 14449 h 48328"/>
                    <a:gd name="connsiteX3" fmla="*/ 0 w 19805"/>
                    <a:gd name="connsiteY3" fmla="*/ 0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48328"/>
                      </a:moveTo>
                      <a:cubicBezTo>
                        <a:pt x="14574" y="41727"/>
                        <a:pt x="12207" y="35873"/>
                        <a:pt x="11086" y="31638"/>
                      </a:cubicBezTo>
                      <a:cubicBezTo>
                        <a:pt x="9217" y="24912"/>
                        <a:pt x="10089" y="21299"/>
                        <a:pt x="7972"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31" name="Freeform 7033">
                  <a:extLst>
                    <a:ext uri="{FF2B5EF4-FFF2-40B4-BE49-F238E27FC236}">
                      <a16:creationId xmlns:a16="http://schemas.microsoft.com/office/drawing/2014/main" id="{23B193F7-C6C9-C34B-FB36-FAEB094DE35E}"/>
                    </a:ext>
                  </a:extLst>
                </p:cNvPr>
                <p:cNvSpPr/>
                <p:nvPr/>
              </p:nvSpPr>
              <p:spPr>
                <a:xfrm>
                  <a:off x="9430477" y="1296279"/>
                  <a:ext cx="26274" cy="26489"/>
                </a:xfrm>
                <a:custGeom>
                  <a:avLst/>
                  <a:gdLst>
                    <a:gd name="connsiteX0" fmla="*/ 25319 w 26274"/>
                    <a:gd name="connsiteY0" fmla="*/ 8412 h 26489"/>
                    <a:gd name="connsiteX1" fmla="*/ 17969 w 26274"/>
                    <a:gd name="connsiteY1" fmla="*/ 25601 h 26489"/>
                    <a:gd name="connsiteX2" fmla="*/ 905 w 26274"/>
                    <a:gd name="connsiteY2" fmla="*/ 18128 h 26489"/>
                    <a:gd name="connsiteX3" fmla="*/ 8254 w 26274"/>
                    <a:gd name="connsiteY3" fmla="*/ 939 h 26489"/>
                    <a:gd name="connsiteX4" fmla="*/ 25319 w 26274"/>
                    <a:gd name="connsiteY4" fmla="*/ 8412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4" h="26488">
                      <a:moveTo>
                        <a:pt x="25319" y="8412"/>
                      </a:moveTo>
                      <a:cubicBezTo>
                        <a:pt x="28059" y="15263"/>
                        <a:pt x="24695" y="22861"/>
                        <a:pt x="17969" y="25601"/>
                      </a:cubicBezTo>
                      <a:cubicBezTo>
                        <a:pt x="11244" y="28217"/>
                        <a:pt x="3521" y="24854"/>
                        <a:pt x="905" y="18128"/>
                      </a:cubicBezTo>
                      <a:cubicBezTo>
                        <a:pt x="-1711" y="11277"/>
                        <a:pt x="1528" y="3679"/>
                        <a:pt x="8254" y="939"/>
                      </a:cubicBezTo>
                      <a:cubicBezTo>
                        <a:pt x="14980" y="-1801"/>
                        <a:pt x="22578" y="1686"/>
                        <a:pt x="25319" y="8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2" name="Graphic 2987">
                <a:extLst>
                  <a:ext uri="{FF2B5EF4-FFF2-40B4-BE49-F238E27FC236}">
                    <a16:creationId xmlns:a16="http://schemas.microsoft.com/office/drawing/2014/main" id="{E2F1735B-CF41-6D43-8E06-C85A398F5C33}"/>
                  </a:ext>
                </a:extLst>
              </p:cNvPr>
              <p:cNvGrpSpPr/>
              <p:nvPr/>
            </p:nvGrpSpPr>
            <p:grpSpPr>
              <a:xfrm>
                <a:off x="9403216" y="1307043"/>
                <a:ext cx="70653" cy="140780"/>
                <a:chOff x="9403216" y="1307043"/>
                <a:chExt cx="70653" cy="140780"/>
              </a:xfrm>
              <a:grpFill/>
            </p:grpSpPr>
            <p:sp>
              <p:nvSpPr>
                <p:cNvPr id="7020" name="Freeform 7035">
                  <a:extLst>
                    <a:ext uri="{FF2B5EF4-FFF2-40B4-BE49-F238E27FC236}">
                      <a16:creationId xmlns:a16="http://schemas.microsoft.com/office/drawing/2014/main" id="{E6802D1D-EC02-1B9E-CEF6-67223297E39B}"/>
                    </a:ext>
                  </a:extLst>
                </p:cNvPr>
                <p:cNvSpPr/>
                <p:nvPr/>
              </p:nvSpPr>
              <p:spPr>
                <a:xfrm>
                  <a:off x="9443215" y="1377557"/>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438" y="40481"/>
                        <a:pt x="15196" y="34627"/>
                        <a:pt x="13203" y="30766"/>
                      </a:cubicBezTo>
                      <a:cubicBezTo>
                        <a:pt x="9964" y="24538"/>
                        <a:pt x="6851" y="22545"/>
                        <a:pt x="3861" y="16068"/>
                      </a:cubicBezTo>
                      <a:cubicBezTo>
                        <a:pt x="872"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1" name="Freeform 7036">
                  <a:extLst>
                    <a:ext uri="{FF2B5EF4-FFF2-40B4-BE49-F238E27FC236}">
                      <a16:creationId xmlns:a16="http://schemas.microsoft.com/office/drawing/2014/main" id="{D97754B8-51A9-BA9E-4102-EFCFFEA27008}"/>
                    </a:ext>
                  </a:extLst>
                </p:cNvPr>
                <p:cNvSpPr/>
                <p:nvPr/>
              </p:nvSpPr>
              <p:spPr>
                <a:xfrm>
                  <a:off x="9437112" y="1385404"/>
                  <a:ext cx="19554" cy="48328"/>
                </a:xfrm>
                <a:custGeom>
                  <a:avLst/>
                  <a:gdLst>
                    <a:gd name="connsiteX0" fmla="*/ 0 w 19554"/>
                    <a:gd name="connsiteY0" fmla="*/ 0 h 48328"/>
                    <a:gd name="connsiteX1" fmla="*/ 8595 w 19554"/>
                    <a:gd name="connsiteY1" fmla="*/ 16691 h 48328"/>
                    <a:gd name="connsiteX2" fmla="*/ 11584 w 19554"/>
                    <a:gd name="connsiteY2" fmla="*/ 33880 h 48328"/>
                    <a:gd name="connsiteX3" fmla="*/ 19555 w 1955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4" h="48328">
                      <a:moveTo>
                        <a:pt x="0" y="0"/>
                      </a:moveTo>
                      <a:cubicBezTo>
                        <a:pt x="5231" y="6602"/>
                        <a:pt x="7473" y="12456"/>
                        <a:pt x="8595" y="16691"/>
                      </a:cubicBezTo>
                      <a:cubicBezTo>
                        <a:pt x="10338" y="23417"/>
                        <a:pt x="9466" y="27154"/>
                        <a:pt x="11584" y="33880"/>
                      </a:cubicBezTo>
                      <a:cubicBezTo>
                        <a:pt x="13576" y="40481"/>
                        <a:pt x="16940" y="45339"/>
                        <a:pt x="19555"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2" name="Freeform 7037">
                  <a:extLst>
                    <a:ext uri="{FF2B5EF4-FFF2-40B4-BE49-F238E27FC236}">
                      <a16:creationId xmlns:a16="http://schemas.microsoft.com/office/drawing/2014/main" id="{0BD1E997-512B-2182-8DC3-DF4EE3A305F4}"/>
                    </a:ext>
                  </a:extLst>
                </p:cNvPr>
                <p:cNvSpPr/>
                <p:nvPr/>
              </p:nvSpPr>
              <p:spPr>
                <a:xfrm>
                  <a:off x="9447079" y="1421194"/>
                  <a:ext cx="26790" cy="26629"/>
                </a:xfrm>
                <a:custGeom>
                  <a:avLst/>
                  <a:gdLst>
                    <a:gd name="connsiteX0" fmla="*/ 870 w 26790"/>
                    <a:gd name="connsiteY0" fmla="*/ 18268 h 26629"/>
                    <a:gd name="connsiteX1" fmla="*/ 8593 w 26790"/>
                    <a:gd name="connsiteY1" fmla="*/ 955 h 26629"/>
                    <a:gd name="connsiteX2" fmla="*/ 25906 w 26790"/>
                    <a:gd name="connsiteY2" fmla="*/ 8428 h 26629"/>
                    <a:gd name="connsiteX3" fmla="*/ 18183 w 26790"/>
                    <a:gd name="connsiteY3" fmla="*/ 25742 h 26629"/>
                    <a:gd name="connsiteX4" fmla="*/ 870 w 26790"/>
                    <a:gd name="connsiteY4" fmla="*/ 18268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629">
                      <a:moveTo>
                        <a:pt x="870" y="18268"/>
                      </a:moveTo>
                      <a:cubicBezTo>
                        <a:pt x="-1746" y="11418"/>
                        <a:pt x="1742" y="3695"/>
                        <a:pt x="8593" y="955"/>
                      </a:cubicBezTo>
                      <a:cubicBezTo>
                        <a:pt x="15443" y="-1786"/>
                        <a:pt x="23166" y="1578"/>
                        <a:pt x="25906" y="8428"/>
                      </a:cubicBezTo>
                      <a:cubicBezTo>
                        <a:pt x="28521" y="15279"/>
                        <a:pt x="25158" y="23001"/>
                        <a:pt x="18183" y="25742"/>
                      </a:cubicBezTo>
                      <a:cubicBezTo>
                        <a:pt x="11208" y="28357"/>
                        <a:pt x="3485" y="24994"/>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3" name="Freeform 7038">
                  <a:extLst>
                    <a:ext uri="{FF2B5EF4-FFF2-40B4-BE49-F238E27FC236}">
                      <a16:creationId xmlns:a16="http://schemas.microsoft.com/office/drawing/2014/main" id="{B9892B13-D684-905B-538A-E3D8E5FA8F06}"/>
                    </a:ext>
                  </a:extLst>
                </p:cNvPr>
                <p:cNvSpPr/>
                <p:nvPr/>
              </p:nvSpPr>
              <p:spPr>
                <a:xfrm>
                  <a:off x="9415563" y="1328233"/>
                  <a:ext cx="18061" cy="48951"/>
                </a:xfrm>
                <a:custGeom>
                  <a:avLst/>
                  <a:gdLst>
                    <a:gd name="connsiteX0" fmla="*/ 0 w 18061"/>
                    <a:gd name="connsiteY0" fmla="*/ 0 h 48951"/>
                    <a:gd name="connsiteX1" fmla="*/ 4858 w 18061"/>
                    <a:gd name="connsiteY1" fmla="*/ 18185 h 48951"/>
                    <a:gd name="connsiteX2" fmla="*/ 14200 w 18061"/>
                    <a:gd name="connsiteY2" fmla="*/ 3288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623" y="8345"/>
                        <a:pt x="2865" y="14324"/>
                        <a:pt x="4858" y="18185"/>
                      </a:cubicBezTo>
                      <a:cubicBezTo>
                        <a:pt x="8097" y="24413"/>
                        <a:pt x="11210" y="26406"/>
                        <a:pt x="14200" y="32883"/>
                      </a:cubicBezTo>
                      <a:cubicBezTo>
                        <a:pt x="17189" y="39111"/>
                        <a:pt x="17936" y="44965"/>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4" name="Freeform 7039">
                  <a:extLst>
                    <a:ext uri="{FF2B5EF4-FFF2-40B4-BE49-F238E27FC236}">
                      <a16:creationId xmlns:a16="http://schemas.microsoft.com/office/drawing/2014/main" id="{AEB7294D-1CD6-AD5B-FCC0-604677D15CB9}"/>
                    </a:ext>
                  </a:extLst>
                </p:cNvPr>
                <p:cNvSpPr/>
                <p:nvPr/>
              </p:nvSpPr>
              <p:spPr>
                <a:xfrm>
                  <a:off x="9420296" y="1321008"/>
                  <a:ext cx="19430" cy="48328"/>
                </a:xfrm>
                <a:custGeom>
                  <a:avLst/>
                  <a:gdLst>
                    <a:gd name="connsiteX0" fmla="*/ 19431 w 19430"/>
                    <a:gd name="connsiteY0" fmla="*/ 48328 h 48328"/>
                    <a:gd name="connsiteX1" fmla="*/ 10836 w 19430"/>
                    <a:gd name="connsiteY1" fmla="*/ 31638 h 48328"/>
                    <a:gd name="connsiteX2" fmla="*/ 7847 w 19430"/>
                    <a:gd name="connsiteY2" fmla="*/ 14449 h 48328"/>
                    <a:gd name="connsiteX3" fmla="*/ 0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48328"/>
                      </a:moveTo>
                      <a:cubicBezTo>
                        <a:pt x="14200" y="41727"/>
                        <a:pt x="11958" y="35873"/>
                        <a:pt x="10836" y="31638"/>
                      </a:cubicBezTo>
                      <a:cubicBezTo>
                        <a:pt x="9093" y="24912"/>
                        <a:pt x="9964" y="21299"/>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25" name="Freeform 7040">
                  <a:extLst>
                    <a:ext uri="{FF2B5EF4-FFF2-40B4-BE49-F238E27FC236}">
                      <a16:creationId xmlns:a16="http://schemas.microsoft.com/office/drawing/2014/main" id="{9197C42E-7426-DC44-EFDA-C339FB2A740E}"/>
                    </a:ext>
                  </a:extLst>
                </p:cNvPr>
                <p:cNvSpPr/>
                <p:nvPr/>
              </p:nvSpPr>
              <p:spPr>
                <a:xfrm>
                  <a:off x="9403216" y="1307043"/>
                  <a:ext cx="26204" cy="26559"/>
                </a:xfrm>
                <a:custGeom>
                  <a:avLst/>
                  <a:gdLst>
                    <a:gd name="connsiteX0" fmla="*/ 25302 w 26204"/>
                    <a:gd name="connsiteY0" fmla="*/ 8484 h 26559"/>
                    <a:gd name="connsiteX1" fmla="*/ 17828 w 26204"/>
                    <a:gd name="connsiteY1" fmla="*/ 25673 h 26559"/>
                    <a:gd name="connsiteX2" fmla="*/ 888 w 26204"/>
                    <a:gd name="connsiteY2" fmla="*/ 18075 h 26559"/>
                    <a:gd name="connsiteX3" fmla="*/ 8361 w 26204"/>
                    <a:gd name="connsiteY3" fmla="*/ 886 h 26559"/>
                    <a:gd name="connsiteX4" fmla="*/ 25302 w 26204"/>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4" h="26559">
                      <a:moveTo>
                        <a:pt x="25302" y="8484"/>
                      </a:moveTo>
                      <a:cubicBezTo>
                        <a:pt x="27917" y="15335"/>
                        <a:pt x="24678" y="23058"/>
                        <a:pt x="17828" y="25673"/>
                      </a:cubicBezTo>
                      <a:cubicBezTo>
                        <a:pt x="10977"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3" name="Graphic 2987">
                <a:extLst>
                  <a:ext uri="{FF2B5EF4-FFF2-40B4-BE49-F238E27FC236}">
                    <a16:creationId xmlns:a16="http://schemas.microsoft.com/office/drawing/2014/main" id="{2B42AF2D-6A09-C3DA-EF19-CA99C609F120}"/>
                  </a:ext>
                </a:extLst>
              </p:cNvPr>
              <p:cNvGrpSpPr/>
              <p:nvPr/>
            </p:nvGrpSpPr>
            <p:grpSpPr>
              <a:xfrm>
                <a:off x="9375938" y="1317755"/>
                <a:ext cx="69891" cy="141096"/>
                <a:chOff x="9375938" y="1317755"/>
                <a:chExt cx="69891" cy="141096"/>
              </a:xfrm>
              <a:grpFill/>
            </p:grpSpPr>
            <p:sp>
              <p:nvSpPr>
                <p:cNvPr id="7014" name="Freeform 7042">
                  <a:extLst>
                    <a:ext uri="{FF2B5EF4-FFF2-40B4-BE49-F238E27FC236}">
                      <a16:creationId xmlns:a16="http://schemas.microsoft.com/office/drawing/2014/main" id="{439A5455-CEE2-FED2-3567-AC87B5D52E1C}"/>
                    </a:ext>
                  </a:extLst>
                </p:cNvPr>
                <p:cNvSpPr/>
                <p:nvPr/>
              </p:nvSpPr>
              <p:spPr>
                <a:xfrm>
                  <a:off x="9415439" y="1388518"/>
                  <a:ext cx="18061" cy="48951"/>
                </a:xfrm>
                <a:custGeom>
                  <a:avLst/>
                  <a:gdLst>
                    <a:gd name="connsiteX0" fmla="*/ 18061 w 18061"/>
                    <a:gd name="connsiteY0" fmla="*/ 48951 h 48951"/>
                    <a:gd name="connsiteX1" fmla="*/ 13203 w 18061"/>
                    <a:gd name="connsiteY1" fmla="*/ 30766 h 48951"/>
                    <a:gd name="connsiteX2" fmla="*/ 3861 w 18061"/>
                    <a:gd name="connsiteY2" fmla="*/ 16068 h 48951"/>
                    <a:gd name="connsiteX3" fmla="*/ 0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18061" y="48951"/>
                      </a:moveTo>
                      <a:cubicBezTo>
                        <a:pt x="17563" y="40481"/>
                        <a:pt x="15196" y="34627"/>
                        <a:pt x="13203" y="30766"/>
                      </a:cubicBezTo>
                      <a:cubicBezTo>
                        <a:pt x="9965" y="24538"/>
                        <a:pt x="6975" y="22545"/>
                        <a:pt x="3861" y="16068"/>
                      </a:cubicBezTo>
                      <a:cubicBezTo>
                        <a:pt x="997" y="9840"/>
                        <a:pt x="249"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5" name="Freeform 7043">
                  <a:extLst>
                    <a:ext uri="{FF2B5EF4-FFF2-40B4-BE49-F238E27FC236}">
                      <a16:creationId xmlns:a16="http://schemas.microsoft.com/office/drawing/2014/main" id="{5E929D49-806D-8B46-6EF3-B914859271C5}"/>
                    </a:ext>
                  </a:extLst>
                </p:cNvPr>
                <p:cNvSpPr/>
                <p:nvPr/>
              </p:nvSpPr>
              <p:spPr>
                <a:xfrm>
                  <a:off x="9409460" y="1396366"/>
                  <a:ext cx="19181" cy="48328"/>
                </a:xfrm>
                <a:custGeom>
                  <a:avLst/>
                  <a:gdLst>
                    <a:gd name="connsiteX0" fmla="*/ 0 w 19181"/>
                    <a:gd name="connsiteY0" fmla="*/ 0 h 48328"/>
                    <a:gd name="connsiteX1" fmla="*/ 8470 w 19181"/>
                    <a:gd name="connsiteY1" fmla="*/ 16691 h 48328"/>
                    <a:gd name="connsiteX2" fmla="*/ 11335 w 19181"/>
                    <a:gd name="connsiteY2" fmla="*/ 33880 h 48328"/>
                    <a:gd name="connsiteX3" fmla="*/ 19182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0" y="0"/>
                      </a:moveTo>
                      <a:cubicBezTo>
                        <a:pt x="5107" y="6602"/>
                        <a:pt x="7349" y="12580"/>
                        <a:pt x="8470" y="16691"/>
                      </a:cubicBezTo>
                      <a:cubicBezTo>
                        <a:pt x="10214" y="23541"/>
                        <a:pt x="9342" y="27154"/>
                        <a:pt x="11335" y="33880"/>
                      </a:cubicBezTo>
                      <a:cubicBezTo>
                        <a:pt x="13328" y="40481"/>
                        <a:pt x="16691" y="45339"/>
                        <a:pt x="19182"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6" name="Freeform 7044">
                  <a:extLst>
                    <a:ext uri="{FF2B5EF4-FFF2-40B4-BE49-F238E27FC236}">
                      <a16:creationId xmlns:a16="http://schemas.microsoft.com/office/drawing/2014/main" id="{EDC75CDA-C51E-3FB6-0C9B-0AFCA5E75F7B}"/>
                    </a:ext>
                  </a:extLst>
                </p:cNvPr>
                <p:cNvSpPr/>
                <p:nvPr/>
              </p:nvSpPr>
              <p:spPr>
                <a:xfrm>
                  <a:off x="9419178" y="1432155"/>
                  <a:ext cx="26651" cy="26696"/>
                </a:xfrm>
                <a:custGeom>
                  <a:avLst/>
                  <a:gdLst>
                    <a:gd name="connsiteX0" fmla="*/ 870 w 26651"/>
                    <a:gd name="connsiteY0" fmla="*/ 18268 h 26696"/>
                    <a:gd name="connsiteX1" fmla="*/ 8593 w 26651"/>
                    <a:gd name="connsiteY1" fmla="*/ 955 h 26696"/>
                    <a:gd name="connsiteX2" fmla="*/ 25782 w 26651"/>
                    <a:gd name="connsiteY2" fmla="*/ 8428 h 26696"/>
                    <a:gd name="connsiteX3" fmla="*/ 18058 w 26651"/>
                    <a:gd name="connsiteY3" fmla="*/ 25742 h 26696"/>
                    <a:gd name="connsiteX4" fmla="*/ 870 w 26651"/>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1" h="26696">
                      <a:moveTo>
                        <a:pt x="870" y="18268"/>
                      </a:moveTo>
                      <a:cubicBezTo>
                        <a:pt x="-1746" y="11418"/>
                        <a:pt x="1741" y="3695"/>
                        <a:pt x="8593" y="955"/>
                      </a:cubicBezTo>
                      <a:cubicBezTo>
                        <a:pt x="15443" y="-1786"/>
                        <a:pt x="23166" y="1577"/>
                        <a:pt x="25782" y="8428"/>
                      </a:cubicBezTo>
                      <a:cubicBezTo>
                        <a:pt x="28397" y="15279"/>
                        <a:pt x="24910" y="23001"/>
                        <a:pt x="18058" y="25742"/>
                      </a:cubicBezTo>
                      <a:cubicBezTo>
                        <a:pt x="11208" y="28482"/>
                        <a:pt x="3485" y="25119"/>
                        <a:pt x="87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7" name="Freeform 7045">
                  <a:extLst>
                    <a:ext uri="{FF2B5EF4-FFF2-40B4-BE49-F238E27FC236}">
                      <a16:creationId xmlns:a16="http://schemas.microsoft.com/office/drawing/2014/main" id="{3482A12C-0B51-C4C3-B0AE-7311D38A4490}"/>
                    </a:ext>
                  </a:extLst>
                </p:cNvPr>
                <p:cNvSpPr/>
                <p:nvPr/>
              </p:nvSpPr>
              <p:spPr>
                <a:xfrm>
                  <a:off x="9388160" y="1339069"/>
                  <a:ext cx="17936" cy="48951"/>
                </a:xfrm>
                <a:custGeom>
                  <a:avLst/>
                  <a:gdLst>
                    <a:gd name="connsiteX0" fmla="*/ 0 w 17936"/>
                    <a:gd name="connsiteY0" fmla="*/ 0 h 48951"/>
                    <a:gd name="connsiteX1" fmla="*/ 4858 w 17936"/>
                    <a:gd name="connsiteY1" fmla="*/ 18185 h 48951"/>
                    <a:gd name="connsiteX2" fmla="*/ 14075 w 17936"/>
                    <a:gd name="connsiteY2" fmla="*/ 32883 h 48951"/>
                    <a:gd name="connsiteX3" fmla="*/ 17936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0" y="0"/>
                      </a:moveTo>
                      <a:cubicBezTo>
                        <a:pt x="623" y="8470"/>
                        <a:pt x="2865" y="14324"/>
                        <a:pt x="4858" y="18185"/>
                      </a:cubicBezTo>
                      <a:cubicBezTo>
                        <a:pt x="8097" y="24413"/>
                        <a:pt x="11086" y="26531"/>
                        <a:pt x="14075" y="32883"/>
                      </a:cubicBezTo>
                      <a:cubicBezTo>
                        <a:pt x="16940" y="39111"/>
                        <a:pt x="17688" y="44965"/>
                        <a:pt x="17936"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8" name="Freeform 7046">
                  <a:extLst>
                    <a:ext uri="{FF2B5EF4-FFF2-40B4-BE49-F238E27FC236}">
                      <a16:creationId xmlns:a16="http://schemas.microsoft.com/office/drawing/2014/main" id="{EB5A3F72-82E2-224B-964B-347CFFE0ABB8}"/>
                    </a:ext>
                  </a:extLst>
                </p:cNvPr>
                <p:cNvSpPr/>
                <p:nvPr/>
              </p:nvSpPr>
              <p:spPr>
                <a:xfrm>
                  <a:off x="9392894" y="1331845"/>
                  <a:ext cx="19182" cy="48328"/>
                </a:xfrm>
                <a:custGeom>
                  <a:avLst/>
                  <a:gdLst>
                    <a:gd name="connsiteX0" fmla="*/ 19182 w 19182"/>
                    <a:gd name="connsiteY0" fmla="*/ 48328 h 48328"/>
                    <a:gd name="connsiteX1" fmla="*/ 10713 w 19182"/>
                    <a:gd name="connsiteY1" fmla="*/ 31638 h 48328"/>
                    <a:gd name="connsiteX2" fmla="*/ 7847 w 19182"/>
                    <a:gd name="connsiteY2" fmla="*/ 14449 h 48328"/>
                    <a:gd name="connsiteX3" fmla="*/ 0 w 19182"/>
                    <a:gd name="connsiteY3" fmla="*/ 0 h 48328"/>
                  </a:gdLst>
                  <a:ahLst/>
                  <a:cxnLst>
                    <a:cxn ang="0">
                      <a:pos x="connsiteX0" y="connsiteY0"/>
                    </a:cxn>
                    <a:cxn ang="0">
                      <a:pos x="connsiteX1" y="connsiteY1"/>
                    </a:cxn>
                    <a:cxn ang="0">
                      <a:pos x="connsiteX2" y="connsiteY2"/>
                    </a:cxn>
                    <a:cxn ang="0">
                      <a:pos x="connsiteX3" y="connsiteY3"/>
                    </a:cxn>
                  </a:cxnLst>
                  <a:rect l="l" t="t" r="r" b="b"/>
                  <a:pathLst>
                    <a:path w="19182" h="48328">
                      <a:moveTo>
                        <a:pt x="19182" y="48328"/>
                      </a:moveTo>
                      <a:cubicBezTo>
                        <a:pt x="13950" y="41727"/>
                        <a:pt x="11833" y="35748"/>
                        <a:pt x="10713" y="31638"/>
                      </a:cubicBezTo>
                      <a:cubicBezTo>
                        <a:pt x="8969" y="24912"/>
                        <a:pt x="9841" y="21175"/>
                        <a:pt x="7847" y="14449"/>
                      </a:cubicBezTo>
                      <a:cubicBezTo>
                        <a:pt x="5855" y="7847"/>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9" name="Freeform 7047">
                  <a:extLst>
                    <a:ext uri="{FF2B5EF4-FFF2-40B4-BE49-F238E27FC236}">
                      <a16:creationId xmlns:a16="http://schemas.microsoft.com/office/drawing/2014/main" id="{5DCC9A7B-45AD-26FA-3812-51AC737581E2}"/>
                    </a:ext>
                  </a:extLst>
                </p:cNvPr>
                <p:cNvSpPr/>
                <p:nvPr/>
              </p:nvSpPr>
              <p:spPr>
                <a:xfrm>
                  <a:off x="9375938" y="1317755"/>
                  <a:ext cx="26189" cy="26559"/>
                </a:xfrm>
                <a:custGeom>
                  <a:avLst/>
                  <a:gdLst>
                    <a:gd name="connsiteX0" fmla="*/ 25302 w 26189"/>
                    <a:gd name="connsiteY0" fmla="*/ 8484 h 26559"/>
                    <a:gd name="connsiteX1" fmla="*/ 17828 w 26189"/>
                    <a:gd name="connsiteY1" fmla="*/ 25673 h 26559"/>
                    <a:gd name="connsiteX2" fmla="*/ 888 w 26189"/>
                    <a:gd name="connsiteY2" fmla="*/ 18075 h 26559"/>
                    <a:gd name="connsiteX3" fmla="*/ 8361 w 26189"/>
                    <a:gd name="connsiteY3" fmla="*/ 886 h 26559"/>
                    <a:gd name="connsiteX4" fmla="*/ 25302 w 2618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8" h="26559">
                      <a:moveTo>
                        <a:pt x="25302" y="8484"/>
                      </a:moveTo>
                      <a:cubicBezTo>
                        <a:pt x="27917" y="15335"/>
                        <a:pt x="24554" y="23058"/>
                        <a:pt x="17828" y="25673"/>
                      </a:cubicBezTo>
                      <a:cubicBezTo>
                        <a:pt x="11102" y="28289"/>
                        <a:pt x="3504" y="24926"/>
                        <a:pt x="888" y="18075"/>
                      </a:cubicBezTo>
                      <a:cubicBezTo>
                        <a:pt x="-1728" y="11225"/>
                        <a:pt x="1635" y="3502"/>
                        <a:pt x="8361" y="886"/>
                      </a:cubicBezTo>
                      <a:cubicBezTo>
                        <a:pt x="15088" y="-1729"/>
                        <a:pt x="22686" y="1634"/>
                        <a:pt x="25302"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4" name="Graphic 2987">
                <a:extLst>
                  <a:ext uri="{FF2B5EF4-FFF2-40B4-BE49-F238E27FC236}">
                    <a16:creationId xmlns:a16="http://schemas.microsoft.com/office/drawing/2014/main" id="{82D77E7D-2FCA-7E3E-0269-A9CAB573E304}"/>
                  </a:ext>
                </a:extLst>
              </p:cNvPr>
              <p:cNvGrpSpPr/>
              <p:nvPr/>
            </p:nvGrpSpPr>
            <p:grpSpPr>
              <a:xfrm>
                <a:off x="9348568" y="1328541"/>
                <a:ext cx="69607" cy="141273"/>
                <a:chOff x="9348568" y="1328541"/>
                <a:chExt cx="69607" cy="141273"/>
              </a:xfrm>
              <a:grpFill/>
            </p:grpSpPr>
            <p:sp>
              <p:nvSpPr>
                <p:cNvPr id="7008" name="Freeform 7049">
                  <a:extLst>
                    <a:ext uri="{FF2B5EF4-FFF2-40B4-BE49-F238E27FC236}">
                      <a16:creationId xmlns:a16="http://schemas.microsoft.com/office/drawing/2014/main" id="{43C38DB4-965E-F4B0-9988-5EAFFF46930F}"/>
                    </a:ext>
                  </a:extLst>
                </p:cNvPr>
                <p:cNvSpPr/>
                <p:nvPr/>
              </p:nvSpPr>
              <p:spPr>
                <a:xfrm>
                  <a:off x="9387912" y="1399604"/>
                  <a:ext cx="17686" cy="48951"/>
                </a:xfrm>
                <a:custGeom>
                  <a:avLst/>
                  <a:gdLst>
                    <a:gd name="connsiteX0" fmla="*/ 17687 w 17686"/>
                    <a:gd name="connsiteY0" fmla="*/ 48951 h 48951"/>
                    <a:gd name="connsiteX1" fmla="*/ 12954 w 17686"/>
                    <a:gd name="connsiteY1" fmla="*/ 30766 h 48951"/>
                    <a:gd name="connsiteX2" fmla="*/ 3737 w 17686"/>
                    <a:gd name="connsiteY2" fmla="*/ 16068 h 48951"/>
                    <a:gd name="connsiteX3" fmla="*/ 0 w 17686"/>
                    <a:gd name="connsiteY3" fmla="*/ 0 h 48951"/>
                  </a:gdLst>
                  <a:ahLst/>
                  <a:cxnLst>
                    <a:cxn ang="0">
                      <a:pos x="connsiteX0" y="connsiteY0"/>
                    </a:cxn>
                    <a:cxn ang="0">
                      <a:pos x="connsiteX1" y="connsiteY1"/>
                    </a:cxn>
                    <a:cxn ang="0">
                      <a:pos x="connsiteX2" y="connsiteY2"/>
                    </a:cxn>
                    <a:cxn ang="0">
                      <a:pos x="connsiteX3" y="connsiteY3"/>
                    </a:cxn>
                  </a:cxnLst>
                  <a:rect l="l" t="t" r="r" b="b"/>
                  <a:pathLst>
                    <a:path w="17686" h="48951">
                      <a:moveTo>
                        <a:pt x="17687" y="48951"/>
                      </a:moveTo>
                      <a:cubicBezTo>
                        <a:pt x="17189" y="40481"/>
                        <a:pt x="14947" y="34627"/>
                        <a:pt x="12954" y="30766"/>
                      </a:cubicBezTo>
                      <a:cubicBezTo>
                        <a:pt x="9715" y="24538"/>
                        <a:pt x="6726" y="22420"/>
                        <a:pt x="3737" y="16068"/>
                      </a:cubicBezTo>
                      <a:cubicBezTo>
                        <a:pt x="872" y="9840"/>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9" name="Freeform 7050">
                  <a:extLst>
                    <a:ext uri="{FF2B5EF4-FFF2-40B4-BE49-F238E27FC236}">
                      <a16:creationId xmlns:a16="http://schemas.microsoft.com/office/drawing/2014/main" id="{2AD0A1B4-B299-E3F2-77A0-B8C74D9F83FE}"/>
                    </a:ext>
                  </a:extLst>
                </p:cNvPr>
                <p:cNvSpPr/>
                <p:nvPr/>
              </p:nvSpPr>
              <p:spPr>
                <a:xfrm>
                  <a:off x="9381809" y="1407202"/>
                  <a:ext cx="18807" cy="48577"/>
                </a:xfrm>
                <a:custGeom>
                  <a:avLst/>
                  <a:gdLst>
                    <a:gd name="connsiteX0" fmla="*/ 0 w 18807"/>
                    <a:gd name="connsiteY0" fmla="*/ 0 h 48577"/>
                    <a:gd name="connsiteX1" fmla="*/ 8345 w 18807"/>
                    <a:gd name="connsiteY1" fmla="*/ 16815 h 48577"/>
                    <a:gd name="connsiteX2" fmla="*/ 11085 w 18807"/>
                    <a:gd name="connsiteY2" fmla="*/ 34004 h 48577"/>
                    <a:gd name="connsiteX3" fmla="*/ 18808 w 18807"/>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7" h="48577">
                      <a:moveTo>
                        <a:pt x="0" y="0"/>
                      </a:moveTo>
                      <a:cubicBezTo>
                        <a:pt x="5107" y="6602"/>
                        <a:pt x="7348" y="12580"/>
                        <a:pt x="8345" y="16815"/>
                      </a:cubicBezTo>
                      <a:cubicBezTo>
                        <a:pt x="10089" y="23666"/>
                        <a:pt x="9092" y="27278"/>
                        <a:pt x="11085" y="34004"/>
                      </a:cubicBezTo>
                      <a:cubicBezTo>
                        <a:pt x="13078" y="40606"/>
                        <a:pt x="16317" y="45588"/>
                        <a:pt x="18808"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0" name="Freeform 7051">
                  <a:extLst>
                    <a:ext uri="{FF2B5EF4-FFF2-40B4-BE49-F238E27FC236}">
                      <a16:creationId xmlns:a16="http://schemas.microsoft.com/office/drawing/2014/main" id="{C48615F7-543E-B28C-6854-C734ABB47F10}"/>
                    </a:ext>
                  </a:extLst>
                </p:cNvPr>
                <p:cNvSpPr/>
                <p:nvPr/>
              </p:nvSpPr>
              <p:spPr>
                <a:xfrm>
                  <a:off x="9391308" y="1443116"/>
                  <a:ext cx="26867" cy="26698"/>
                </a:xfrm>
                <a:custGeom>
                  <a:avLst/>
                  <a:gdLst>
                    <a:gd name="connsiteX0" fmla="*/ 838 w 26867"/>
                    <a:gd name="connsiteY0" fmla="*/ 18019 h 26698"/>
                    <a:gd name="connsiteX1" fmla="*/ 8810 w 26867"/>
                    <a:gd name="connsiteY1" fmla="*/ 955 h 26698"/>
                    <a:gd name="connsiteX2" fmla="*/ 25999 w 26867"/>
                    <a:gd name="connsiteY2" fmla="*/ 8428 h 26698"/>
                    <a:gd name="connsiteX3" fmla="*/ 18152 w 26867"/>
                    <a:gd name="connsiteY3" fmla="*/ 25742 h 26698"/>
                    <a:gd name="connsiteX4" fmla="*/ 838 w 26867"/>
                    <a:gd name="connsiteY4" fmla="*/ 18019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7" h="26698">
                      <a:moveTo>
                        <a:pt x="838" y="18019"/>
                      </a:moveTo>
                      <a:cubicBezTo>
                        <a:pt x="-1777" y="11044"/>
                        <a:pt x="1960" y="3820"/>
                        <a:pt x="8810" y="955"/>
                      </a:cubicBezTo>
                      <a:cubicBezTo>
                        <a:pt x="15661" y="-1786"/>
                        <a:pt x="23383" y="1578"/>
                        <a:pt x="25999" y="8428"/>
                      </a:cubicBezTo>
                      <a:cubicBezTo>
                        <a:pt x="28615" y="15279"/>
                        <a:pt x="25127" y="23001"/>
                        <a:pt x="18152" y="25742"/>
                      </a:cubicBezTo>
                      <a:cubicBezTo>
                        <a:pt x="11177" y="28607"/>
                        <a:pt x="3330" y="24745"/>
                        <a:pt x="838" y="18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1" name="Freeform 7052">
                  <a:extLst>
                    <a:ext uri="{FF2B5EF4-FFF2-40B4-BE49-F238E27FC236}">
                      <a16:creationId xmlns:a16="http://schemas.microsoft.com/office/drawing/2014/main" id="{3A9ECAE2-80B8-75B7-992F-F9B78445F82B}"/>
                    </a:ext>
                  </a:extLst>
                </p:cNvPr>
                <p:cNvSpPr/>
                <p:nvPr/>
              </p:nvSpPr>
              <p:spPr>
                <a:xfrm>
                  <a:off x="9360883" y="1349781"/>
                  <a:ext cx="17686" cy="49075"/>
                </a:xfrm>
                <a:custGeom>
                  <a:avLst/>
                  <a:gdLst>
                    <a:gd name="connsiteX0" fmla="*/ 0 w 17686"/>
                    <a:gd name="connsiteY0" fmla="*/ 0 h 49075"/>
                    <a:gd name="connsiteX1" fmla="*/ 4732 w 17686"/>
                    <a:gd name="connsiteY1" fmla="*/ 18185 h 49075"/>
                    <a:gd name="connsiteX2" fmla="*/ 13950 w 17686"/>
                    <a:gd name="connsiteY2" fmla="*/ 33008 h 49075"/>
                    <a:gd name="connsiteX3" fmla="*/ 17687 w 17686"/>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6" h="49075">
                      <a:moveTo>
                        <a:pt x="0" y="0"/>
                      </a:moveTo>
                      <a:cubicBezTo>
                        <a:pt x="498" y="8470"/>
                        <a:pt x="2740" y="14324"/>
                        <a:pt x="4732" y="18185"/>
                      </a:cubicBezTo>
                      <a:cubicBezTo>
                        <a:pt x="7846" y="24413"/>
                        <a:pt x="10960" y="26531"/>
                        <a:pt x="13950" y="33008"/>
                      </a:cubicBezTo>
                      <a:cubicBezTo>
                        <a:pt x="16815" y="39236"/>
                        <a:pt x="17562" y="45214"/>
                        <a:pt x="17687"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2" name="Freeform 7053">
                  <a:extLst>
                    <a:ext uri="{FF2B5EF4-FFF2-40B4-BE49-F238E27FC236}">
                      <a16:creationId xmlns:a16="http://schemas.microsoft.com/office/drawing/2014/main" id="{740A6E44-48AD-FFE3-5049-CCA80C7584A7}"/>
                    </a:ext>
                  </a:extLst>
                </p:cNvPr>
                <p:cNvSpPr/>
                <p:nvPr/>
              </p:nvSpPr>
              <p:spPr>
                <a:xfrm>
                  <a:off x="9365615" y="1342557"/>
                  <a:ext cx="18933" cy="48577"/>
                </a:xfrm>
                <a:custGeom>
                  <a:avLst/>
                  <a:gdLst>
                    <a:gd name="connsiteX0" fmla="*/ 18933 w 18933"/>
                    <a:gd name="connsiteY0" fmla="*/ 48577 h 48577"/>
                    <a:gd name="connsiteX1" fmla="*/ 10588 w 18933"/>
                    <a:gd name="connsiteY1" fmla="*/ 31762 h 48577"/>
                    <a:gd name="connsiteX2" fmla="*/ 7723 w 18933"/>
                    <a:gd name="connsiteY2" fmla="*/ 14573 h 48577"/>
                    <a:gd name="connsiteX3" fmla="*/ 0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48577"/>
                      </a:moveTo>
                      <a:cubicBezTo>
                        <a:pt x="13826" y="41976"/>
                        <a:pt x="11585" y="35997"/>
                        <a:pt x="10588" y="31762"/>
                      </a:cubicBezTo>
                      <a:cubicBezTo>
                        <a:pt x="8844" y="24912"/>
                        <a:pt x="9716" y="21299"/>
                        <a:pt x="7723" y="14573"/>
                      </a:cubicBezTo>
                      <a:cubicBezTo>
                        <a:pt x="5730" y="7972"/>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13" name="Freeform 7054">
                  <a:extLst>
                    <a:ext uri="{FF2B5EF4-FFF2-40B4-BE49-F238E27FC236}">
                      <a16:creationId xmlns:a16="http://schemas.microsoft.com/office/drawing/2014/main" id="{187582E2-3EB6-71C5-B372-7C4C732B77EF}"/>
                    </a:ext>
                  </a:extLst>
                </p:cNvPr>
                <p:cNvSpPr/>
                <p:nvPr/>
              </p:nvSpPr>
              <p:spPr>
                <a:xfrm>
                  <a:off x="9348568" y="1328541"/>
                  <a:ext cx="26279" cy="26614"/>
                </a:xfrm>
                <a:custGeom>
                  <a:avLst/>
                  <a:gdLst>
                    <a:gd name="connsiteX0" fmla="*/ 25393 w 26279"/>
                    <a:gd name="connsiteY0" fmla="*/ 8535 h 26614"/>
                    <a:gd name="connsiteX1" fmla="*/ 17795 w 26279"/>
                    <a:gd name="connsiteY1" fmla="*/ 25724 h 26614"/>
                    <a:gd name="connsiteX2" fmla="*/ 855 w 26279"/>
                    <a:gd name="connsiteY2" fmla="*/ 17877 h 26614"/>
                    <a:gd name="connsiteX3" fmla="*/ 8578 w 26279"/>
                    <a:gd name="connsiteY3" fmla="*/ 937 h 26614"/>
                    <a:gd name="connsiteX4" fmla="*/ 25393 w 26279"/>
                    <a:gd name="connsiteY4" fmla="*/ 8535 h 26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9" h="26613">
                      <a:moveTo>
                        <a:pt x="25393" y="8535"/>
                      </a:moveTo>
                      <a:cubicBezTo>
                        <a:pt x="28009" y="15386"/>
                        <a:pt x="24646" y="23109"/>
                        <a:pt x="17795" y="25724"/>
                      </a:cubicBezTo>
                      <a:cubicBezTo>
                        <a:pt x="11069" y="28465"/>
                        <a:pt x="3346" y="24603"/>
                        <a:pt x="855" y="17877"/>
                      </a:cubicBezTo>
                      <a:cubicBezTo>
                        <a:pt x="-1760" y="10902"/>
                        <a:pt x="1852" y="3678"/>
                        <a:pt x="8578" y="937"/>
                      </a:cubicBezTo>
                      <a:cubicBezTo>
                        <a:pt x="15304" y="-1803"/>
                        <a:pt x="22777" y="1685"/>
                        <a:pt x="25393" y="85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5" name="Graphic 2987">
                <a:extLst>
                  <a:ext uri="{FF2B5EF4-FFF2-40B4-BE49-F238E27FC236}">
                    <a16:creationId xmlns:a16="http://schemas.microsoft.com/office/drawing/2014/main" id="{7A82E08A-45DA-FBBD-7658-E5E31AAF6248}"/>
                  </a:ext>
                </a:extLst>
              </p:cNvPr>
              <p:cNvGrpSpPr/>
              <p:nvPr/>
            </p:nvGrpSpPr>
            <p:grpSpPr>
              <a:xfrm>
                <a:off x="9320968" y="1338593"/>
                <a:ext cx="68990" cy="141268"/>
                <a:chOff x="9320968" y="1338593"/>
                <a:chExt cx="68990" cy="141268"/>
              </a:xfrm>
              <a:grpFill/>
            </p:grpSpPr>
            <p:sp>
              <p:nvSpPr>
                <p:cNvPr id="7002" name="Freeform 7056">
                  <a:extLst>
                    <a:ext uri="{FF2B5EF4-FFF2-40B4-BE49-F238E27FC236}">
                      <a16:creationId xmlns:a16="http://schemas.microsoft.com/office/drawing/2014/main" id="{A1C94C4F-0B20-25D3-D8B4-41B9CCD90F98}"/>
                    </a:ext>
                  </a:extLst>
                </p:cNvPr>
                <p:cNvSpPr/>
                <p:nvPr/>
              </p:nvSpPr>
              <p:spPr>
                <a:xfrm>
                  <a:off x="9360135" y="1409693"/>
                  <a:ext cx="17438" cy="49075"/>
                </a:xfrm>
                <a:custGeom>
                  <a:avLst/>
                  <a:gdLst>
                    <a:gd name="connsiteX0" fmla="*/ 17438 w 17438"/>
                    <a:gd name="connsiteY0" fmla="*/ 49076 h 49075"/>
                    <a:gd name="connsiteX1" fmla="*/ 12830 w 17438"/>
                    <a:gd name="connsiteY1" fmla="*/ 30890 h 49075"/>
                    <a:gd name="connsiteX2" fmla="*/ 3613 w 17438"/>
                    <a:gd name="connsiteY2" fmla="*/ 16068 h 49075"/>
                    <a:gd name="connsiteX3" fmla="*/ 0 w 17438"/>
                    <a:gd name="connsiteY3" fmla="*/ 0 h 49075"/>
                  </a:gdLst>
                  <a:ahLst/>
                  <a:cxnLst>
                    <a:cxn ang="0">
                      <a:pos x="connsiteX0" y="connsiteY0"/>
                    </a:cxn>
                    <a:cxn ang="0">
                      <a:pos x="connsiteX1" y="connsiteY1"/>
                    </a:cxn>
                    <a:cxn ang="0">
                      <a:pos x="connsiteX2" y="connsiteY2"/>
                    </a:cxn>
                    <a:cxn ang="0">
                      <a:pos x="connsiteX3" y="connsiteY3"/>
                    </a:cxn>
                  </a:cxnLst>
                  <a:rect l="l" t="t" r="r" b="b"/>
                  <a:pathLst>
                    <a:path w="17438" h="49075">
                      <a:moveTo>
                        <a:pt x="17438" y="49076"/>
                      </a:moveTo>
                      <a:cubicBezTo>
                        <a:pt x="17065" y="40730"/>
                        <a:pt x="14822" y="34752"/>
                        <a:pt x="12830" y="30890"/>
                      </a:cubicBezTo>
                      <a:cubicBezTo>
                        <a:pt x="9716" y="24662"/>
                        <a:pt x="6602" y="22545"/>
                        <a:pt x="3613" y="16068"/>
                      </a:cubicBezTo>
                      <a:cubicBezTo>
                        <a:pt x="748" y="9715"/>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3" name="Freeform 7057">
                  <a:extLst>
                    <a:ext uri="{FF2B5EF4-FFF2-40B4-BE49-F238E27FC236}">
                      <a16:creationId xmlns:a16="http://schemas.microsoft.com/office/drawing/2014/main" id="{6C88CBD2-93FB-36E4-7D47-045F5358D9AE}"/>
                    </a:ext>
                  </a:extLst>
                </p:cNvPr>
                <p:cNvSpPr/>
                <p:nvPr/>
              </p:nvSpPr>
              <p:spPr>
                <a:xfrm>
                  <a:off x="9353907" y="1417167"/>
                  <a:ext cx="18683" cy="48702"/>
                </a:xfrm>
                <a:custGeom>
                  <a:avLst/>
                  <a:gdLst>
                    <a:gd name="connsiteX0" fmla="*/ 0 w 18683"/>
                    <a:gd name="connsiteY0" fmla="*/ 0 h 48702"/>
                    <a:gd name="connsiteX1" fmla="*/ 8346 w 18683"/>
                    <a:gd name="connsiteY1" fmla="*/ 16940 h 48702"/>
                    <a:gd name="connsiteX2" fmla="*/ 10961 w 18683"/>
                    <a:gd name="connsiteY2" fmla="*/ 34129 h 48702"/>
                    <a:gd name="connsiteX3" fmla="*/ 18684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0" y="0"/>
                      </a:moveTo>
                      <a:cubicBezTo>
                        <a:pt x="5107" y="6726"/>
                        <a:pt x="7349" y="12705"/>
                        <a:pt x="8346" y="16940"/>
                      </a:cubicBezTo>
                      <a:cubicBezTo>
                        <a:pt x="9965" y="23791"/>
                        <a:pt x="9093" y="27278"/>
                        <a:pt x="10961" y="34129"/>
                      </a:cubicBezTo>
                      <a:cubicBezTo>
                        <a:pt x="12830" y="40730"/>
                        <a:pt x="16193" y="45713"/>
                        <a:pt x="18684"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4" name="Freeform 7058">
                  <a:extLst>
                    <a:ext uri="{FF2B5EF4-FFF2-40B4-BE49-F238E27FC236}">
                      <a16:creationId xmlns:a16="http://schemas.microsoft.com/office/drawing/2014/main" id="{C665E3F4-4896-FEE3-8DAD-21DB33E6A766}"/>
                    </a:ext>
                  </a:extLst>
                </p:cNvPr>
                <p:cNvSpPr/>
                <p:nvPr/>
              </p:nvSpPr>
              <p:spPr>
                <a:xfrm>
                  <a:off x="9363084" y="1453371"/>
                  <a:ext cx="26873" cy="26489"/>
                </a:xfrm>
                <a:custGeom>
                  <a:avLst/>
                  <a:gdLst>
                    <a:gd name="connsiteX0" fmla="*/ 788 w 26873"/>
                    <a:gd name="connsiteY0" fmla="*/ 17729 h 26489"/>
                    <a:gd name="connsiteX1" fmla="*/ 8884 w 26873"/>
                    <a:gd name="connsiteY1" fmla="*/ 789 h 26489"/>
                    <a:gd name="connsiteX2" fmla="*/ 26073 w 26873"/>
                    <a:gd name="connsiteY2" fmla="*/ 8761 h 26489"/>
                    <a:gd name="connsiteX3" fmla="*/ 17977 w 26873"/>
                    <a:gd name="connsiteY3" fmla="*/ 25700 h 26489"/>
                    <a:gd name="connsiteX4" fmla="*/ 788 w 26873"/>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488">
                      <a:moveTo>
                        <a:pt x="788" y="17729"/>
                      </a:moveTo>
                      <a:cubicBezTo>
                        <a:pt x="-1704" y="10878"/>
                        <a:pt x="1908" y="3280"/>
                        <a:pt x="8884" y="789"/>
                      </a:cubicBezTo>
                      <a:cubicBezTo>
                        <a:pt x="15859" y="-1702"/>
                        <a:pt x="23581" y="1910"/>
                        <a:pt x="26073" y="8761"/>
                      </a:cubicBezTo>
                      <a:cubicBezTo>
                        <a:pt x="28564" y="15611"/>
                        <a:pt x="25076" y="23209"/>
                        <a:pt x="17977" y="25700"/>
                      </a:cubicBezTo>
                      <a:cubicBezTo>
                        <a:pt x="10877" y="28192"/>
                        <a:pt x="3278"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5" name="Freeform 7059">
                  <a:extLst>
                    <a:ext uri="{FF2B5EF4-FFF2-40B4-BE49-F238E27FC236}">
                      <a16:creationId xmlns:a16="http://schemas.microsoft.com/office/drawing/2014/main" id="{988837BD-5984-6D05-2C4D-A02D9FE5A66D}"/>
                    </a:ext>
                  </a:extLst>
                </p:cNvPr>
                <p:cNvSpPr/>
                <p:nvPr/>
              </p:nvSpPr>
              <p:spPr>
                <a:xfrm>
                  <a:off x="9333231" y="1359621"/>
                  <a:ext cx="17313" cy="49200"/>
                </a:xfrm>
                <a:custGeom>
                  <a:avLst/>
                  <a:gdLst>
                    <a:gd name="connsiteX0" fmla="*/ 0 w 17313"/>
                    <a:gd name="connsiteY0" fmla="*/ 0 h 49200"/>
                    <a:gd name="connsiteX1" fmla="*/ 4609 w 17313"/>
                    <a:gd name="connsiteY1" fmla="*/ 18185 h 49200"/>
                    <a:gd name="connsiteX2" fmla="*/ 13701 w 17313"/>
                    <a:gd name="connsiteY2" fmla="*/ 33132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98" y="8345"/>
                        <a:pt x="2616" y="14324"/>
                        <a:pt x="4609" y="18185"/>
                      </a:cubicBezTo>
                      <a:cubicBezTo>
                        <a:pt x="7723" y="24413"/>
                        <a:pt x="10836" y="26655"/>
                        <a:pt x="13701" y="33132"/>
                      </a:cubicBezTo>
                      <a:cubicBezTo>
                        <a:pt x="16566" y="39485"/>
                        <a:pt x="17189" y="45214"/>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6" name="Freeform 7060">
                  <a:extLst>
                    <a:ext uri="{FF2B5EF4-FFF2-40B4-BE49-F238E27FC236}">
                      <a16:creationId xmlns:a16="http://schemas.microsoft.com/office/drawing/2014/main" id="{8B3A5559-B815-DD63-4C89-755C75F2CA31}"/>
                    </a:ext>
                  </a:extLst>
                </p:cNvPr>
                <p:cNvSpPr/>
                <p:nvPr/>
              </p:nvSpPr>
              <p:spPr>
                <a:xfrm>
                  <a:off x="9337964" y="1352521"/>
                  <a:ext cx="18808" cy="48702"/>
                </a:xfrm>
                <a:custGeom>
                  <a:avLst/>
                  <a:gdLst>
                    <a:gd name="connsiteX0" fmla="*/ 18808 w 18808"/>
                    <a:gd name="connsiteY0" fmla="*/ 48702 h 48702"/>
                    <a:gd name="connsiteX1" fmla="*/ 10463 w 18808"/>
                    <a:gd name="connsiteY1" fmla="*/ 31762 h 48702"/>
                    <a:gd name="connsiteX2" fmla="*/ 7723 w 18808"/>
                    <a:gd name="connsiteY2" fmla="*/ 14573 h 48702"/>
                    <a:gd name="connsiteX3" fmla="*/ 0 w 18808"/>
                    <a:gd name="connsiteY3" fmla="*/ 0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48702"/>
                      </a:moveTo>
                      <a:cubicBezTo>
                        <a:pt x="13701" y="41976"/>
                        <a:pt x="11459" y="35997"/>
                        <a:pt x="10463" y="31762"/>
                      </a:cubicBezTo>
                      <a:cubicBezTo>
                        <a:pt x="8844" y="25036"/>
                        <a:pt x="9715" y="21424"/>
                        <a:pt x="7723" y="14573"/>
                      </a:cubicBezTo>
                      <a:cubicBezTo>
                        <a:pt x="5854" y="7972"/>
                        <a:pt x="2491" y="298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7" name="Freeform 7061">
                  <a:extLst>
                    <a:ext uri="{FF2B5EF4-FFF2-40B4-BE49-F238E27FC236}">
                      <a16:creationId xmlns:a16="http://schemas.microsoft.com/office/drawing/2014/main" id="{AE7D7DC4-9C7F-0D8D-9717-278AE5D1C0F8}"/>
                    </a:ext>
                  </a:extLst>
                </p:cNvPr>
                <p:cNvSpPr/>
                <p:nvPr/>
              </p:nvSpPr>
              <p:spPr>
                <a:xfrm>
                  <a:off x="9320968" y="1338593"/>
                  <a:ext cx="26394" cy="26362"/>
                </a:xfrm>
                <a:custGeom>
                  <a:avLst/>
                  <a:gdLst>
                    <a:gd name="connsiteX0" fmla="*/ 25591 w 26394"/>
                    <a:gd name="connsiteY0" fmla="*/ 8822 h 26362"/>
                    <a:gd name="connsiteX1" fmla="*/ 17744 w 26394"/>
                    <a:gd name="connsiteY1" fmla="*/ 25637 h 26362"/>
                    <a:gd name="connsiteX2" fmla="*/ 804 w 26394"/>
                    <a:gd name="connsiteY2" fmla="*/ 17541 h 26362"/>
                    <a:gd name="connsiteX3" fmla="*/ 8651 w 26394"/>
                    <a:gd name="connsiteY3" fmla="*/ 725 h 26362"/>
                    <a:gd name="connsiteX4" fmla="*/ 25591 w 26394"/>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362">
                      <a:moveTo>
                        <a:pt x="25591" y="8822"/>
                      </a:moveTo>
                      <a:cubicBezTo>
                        <a:pt x="28082" y="15672"/>
                        <a:pt x="24594" y="23270"/>
                        <a:pt x="17744" y="25637"/>
                      </a:cubicBezTo>
                      <a:cubicBezTo>
                        <a:pt x="10893" y="28004"/>
                        <a:pt x="3295" y="24391"/>
                        <a:pt x="804" y="17541"/>
                      </a:cubicBezTo>
                      <a:cubicBezTo>
                        <a:pt x="-1687" y="10690"/>
                        <a:pt x="1800" y="3092"/>
                        <a:pt x="8651" y="725"/>
                      </a:cubicBezTo>
                      <a:cubicBezTo>
                        <a:pt x="15377" y="-1641"/>
                        <a:pt x="22975" y="1971"/>
                        <a:pt x="25591"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6" name="Graphic 2987">
                <a:extLst>
                  <a:ext uri="{FF2B5EF4-FFF2-40B4-BE49-F238E27FC236}">
                    <a16:creationId xmlns:a16="http://schemas.microsoft.com/office/drawing/2014/main" id="{41A64788-D15D-5A55-7D08-04E787DF8291}"/>
                  </a:ext>
                </a:extLst>
              </p:cNvPr>
              <p:cNvGrpSpPr/>
              <p:nvPr/>
            </p:nvGrpSpPr>
            <p:grpSpPr>
              <a:xfrm>
                <a:off x="9293191" y="1348371"/>
                <a:ext cx="68479" cy="141454"/>
                <a:chOff x="9293191" y="1348371"/>
                <a:chExt cx="68479" cy="141454"/>
              </a:xfrm>
              <a:grpFill/>
            </p:grpSpPr>
            <p:sp>
              <p:nvSpPr>
                <p:cNvPr id="6996" name="Freeform 7063">
                  <a:extLst>
                    <a:ext uri="{FF2B5EF4-FFF2-40B4-BE49-F238E27FC236}">
                      <a16:creationId xmlns:a16="http://schemas.microsoft.com/office/drawing/2014/main" id="{221C9354-E4E3-F369-8CFE-5AD653279199}"/>
                    </a:ext>
                  </a:extLst>
                </p:cNvPr>
                <p:cNvSpPr/>
                <p:nvPr/>
              </p:nvSpPr>
              <p:spPr>
                <a:xfrm>
                  <a:off x="9332109" y="1419533"/>
                  <a:ext cx="17189" cy="49200"/>
                </a:xfrm>
                <a:custGeom>
                  <a:avLst/>
                  <a:gdLst>
                    <a:gd name="connsiteX0" fmla="*/ 17189 w 17189"/>
                    <a:gd name="connsiteY0" fmla="*/ 49200 h 49200"/>
                    <a:gd name="connsiteX1" fmla="*/ 12705 w 17189"/>
                    <a:gd name="connsiteY1" fmla="*/ 31015 h 49200"/>
                    <a:gd name="connsiteX2" fmla="*/ 3613 w 17189"/>
                    <a:gd name="connsiteY2" fmla="*/ 16068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6816" y="40855"/>
                        <a:pt x="14574" y="34876"/>
                        <a:pt x="12705" y="31015"/>
                      </a:cubicBezTo>
                      <a:cubicBezTo>
                        <a:pt x="9591" y="24787"/>
                        <a:pt x="6477" y="22545"/>
                        <a:pt x="3613" y="16068"/>
                      </a:cubicBezTo>
                      <a:cubicBezTo>
                        <a:pt x="748"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7" name="Freeform 7064">
                  <a:extLst>
                    <a:ext uri="{FF2B5EF4-FFF2-40B4-BE49-F238E27FC236}">
                      <a16:creationId xmlns:a16="http://schemas.microsoft.com/office/drawing/2014/main" id="{198BBB16-AADF-4F39-FF9F-5DC60CBEC181}"/>
                    </a:ext>
                  </a:extLst>
                </p:cNvPr>
                <p:cNvSpPr/>
                <p:nvPr/>
              </p:nvSpPr>
              <p:spPr>
                <a:xfrm>
                  <a:off x="9325882" y="1427007"/>
                  <a:ext cx="18435" cy="48826"/>
                </a:xfrm>
                <a:custGeom>
                  <a:avLst/>
                  <a:gdLst>
                    <a:gd name="connsiteX0" fmla="*/ 0 w 18435"/>
                    <a:gd name="connsiteY0" fmla="*/ 0 h 48826"/>
                    <a:gd name="connsiteX1" fmla="*/ 8221 w 18435"/>
                    <a:gd name="connsiteY1" fmla="*/ 16940 h 48826"/>
                    <a:gd name="connsiteX2" fmla="*/ 10837 w 18435"/>
                    <a:gd name="connsiteY2" fmla="*/ 34129 h 48826"/>
                    <a:gd name="connsiteX3" fmla="*/ 18435 w 1843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5" h="48826">
                      <a:moveTo>
                        <a:pt x="0" y="0"/>
                      </a:moveTo>
                      <a:cubicBezTo>
                        <a:pt x="5107" y="6726"/>
                        <a:pt x="7225" y="12705"/>
                        <a:pt x="8221" y="16940"/>
                      </a:cubicBezTo>
                      <a:cubicBezTo>
                        <a:pt x="9841" y="23791"/>
                        <a:pt x="8844" y="27278"/>
                        <a:pt x="10837" y="34129"/>
                      </a:cubicBezTo>
                      <a:cubicBezTo>
                        <a:pt x="12705" y="40730"/>
                        <a:pt x="15944" y="45713"/>
                        <a:pt x="18435"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8" name="Freeform 7065">
                  <a:extLst>
                    <a:ext uri="{FF2B5EF4-FFF2-40B4-BE49-F238E27FC236}">
                      <a16:creationId xmlns:a16="http://schemas.microsoft.com/office/drawing/2014/main" id="{028115A4-F4EC-12E6-99F3-2FCE260CE409}"/>
                    </a:ext>
                  </a:extLst>
                </p:cNvPr>
                <p:cNvSpPr/>
                <p:nvPr/>
              </p:nvSpPr>
              <p:spPr>
                <a:xfrm>
                  <a:off x="9334810" y="1463336"/>
                  <a:ext cx="26860" cy="26489"/>
                </a:xfrm>
                <a:custGeom>
                  <a:avLst/>
                  <a:gdLst>
                    <a:gd name="connsiteX0" fmla="*/ 788 w 26860"/>
                    <a:gd name="connsiteY0" fmla="*/ 17729 h 26489"/>
                    <a:gd name="connsiteX1" fmla="*/ 8884 w 26860"/>
                    <a:gd name="connsiteY1" fmla="*/ 789 h 26489"/>
                    <a:gd name="connsiteX2" fmla="*/ 26073 w 26860"/>
                    <a:gd name="connsiteY2" fmla="*/ 8761 h 26489"/>
                    <a:gd name="connsiteX3" fmla="*/ 17977 w 26860"/>
                    <a:gd name="connsiteY3" fmla="*/ 25700 h 26489"/>
                    <a:gd name="connsiteX4" fmla="*/ 788 w 26860"/>
                    <a:gd name="connsiteY4" fmla="*/ 17729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488">
                      <a:moveTo>
                        <a:pt x="788" y="17729"/>
                      </a:moveTo>
                      <a:cubicBezTo>
                        <a:pt x="-1704" y="10878"/>
                        <a:pt x="1909" y="3280"/>
                        <a:pt x="8884" y="789"/>
                      </a:cubicBezTo>
                      <a:cubicBezTo>
                        <a:pt x="15859" y="-1702"/>
                        <a:pt x="23582" y="1910"/>
                        <a:pt x="26073" y="8761"/>
                      </a:cubicBezTo>
                      <a:cubicBezTo>
                        <a:pt x="28564" y="15611"/>
                        <a:pt x="24952" y="23209"/>
                        <a:pt x="17977" y="25700"/>
                      </a:cubicBezTo>
                      <a:cubicBezTo>
                        <a:pt x="11001" y="28192"/>
                        <a:pt x="3279" y="24579"/>
                        <a:pt x="788"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9" name="Freeform 7066">
                  <a:extLst>
                    <a:ext uri="{FF2B5EF4-FFF2-40B4-BE49-F238E27FC236}">
                      <a16:creationId xmlns:a16="http://schemas.microsoft.com/office/drawing/2014/main" id="{05A2BC81-EBE3-E82D-0165-3543ACBFFD1F}"/>
                    </a:ext>
                  </a:extLst>
                </p:cNvPr>
                <p:cNvSpPr/>
                <p:nvPr/>
              </p:nvSpPr>
              <p:spPr>
                <a:xfrm>
                  <a:off x="9305455" y="1369461"/>
                  <a:ext cx="17189" cy="49200"/>
                </a:xfrm>
                <a:custGeom>
                  <a:avLst/>
                  <a:gdLst>
                    <a:gd name="connsiteX0" fmla="*/ 0 w 17189"/>
                    <a:gd name="connsiteY0" fmla="*/ 0 h 49200"/>
                    <a:gd name="connsiteX1" fmla="*/ 4484 w 17189"/>
                    <a:gd name="connsiteY1" fmla="*/ 18185 h 49200"/>
                    <a:gd name="connsiteX2" fmla="*/ 13576 w 17189"/>
                    <a:gd name="connsiteY2" fmla="*/ 33132 h 49200"/>
                    <a:gd name="connsiteX3" fmla="*/ 17189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0" y="0"/>
                      </a:moveTo>
                      <a:cubicBezTo>
                        <a:pt x="373" y="8345"/>
                        <a:pt x="2615" y="14324"/>
                        <a:pt x="4484" y="18185"/>
                      </a:cubicBezTo>
                      <a:cubicBezTo>
                        <a:pt x="7598" y="24413"/>
                        <a:pt x="10587" y="26655"/>
                        <a:pt x="13576" y="33132"/>
                      </a:cubicBezTo>
                      <a:cubicBezTo>
                        <a:pt x="16442" y="39485"/>
                        <a:pt x="17064" y="45339"/>
                        <a:pt x="17189"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0" name="Freeform 7067">
                  <a:extLst>
                    <a:ext uri="{FF2B5EF4-FFF2-40B4-BE49-F238E27FC236}">
                      <a16:creationId xmlns:a16="http://schemas.microsoft.com/office/drawing/2014/main" id="{014A589C-A92B-2C90-046D-E5CFAB237D3C}"/>
                    </a:ext>
                  </a:extLst>
                </p:cNvPr>
                <p:cNvSpPr/>
                <p:nvPr/>
              </p:nvSpPr>
              <p:spPr>
                <a:xfrm>
                  <a:off x="9310437" y="136236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467" y="21548"/>
                        <a:pt x="7599" y="14698"/>
                      </a:cubicBezTo>
                      <a:cubicBezTo>
                        <a:pt x="5730"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001" name="Freeform 7068">
                  <a:extLst>
                    <a:ext uri="{FF2B5EF4-FFF2-40B4-BE49-F238E27FC236}">
                      <a16:creationId xmlns:a16="http://schemas.microsoft.com/office/drawing/2014/main" id="{805587AF-16E7-EB39-9612-CFDC4C8DFB12}"/>
                    </a:ext>
                  </a:extLst>
                </p:cNvPr>
                <p:cNvSpPr/>
                <p:nvPr/>
              </p:nvSpPr>
              <p:spPr>
                <a:xfrm>
                  <a:off x="9293191" y="1348371"/>
                  <a:ext cx="26394" cy="26424"/>
                </a:xfrm>
                <a:custGeom>
                  <a:avLst/>
                  <a:gdLst>
                    <a:gd name="connsiteX0" fmla="*/ 25591 w 26394"/>
                    <a:gd name="connsiteY0" fmla="*/ 8884 h 26424"/>
                    <a:gd name="connsiteX1" fmla="*/ 17744 w 26394"/>
                    <a:gd name="connsiteY1" fmla="*/ 25699 h 26424"/>
                    <a:gd name="connsiteX2" fmla="*/ 804 w 26394"/>
                    <a:gd name="connsiteY2" fmla="*/ 17603 h 26424"/>
                    <a:gd name="connsiteX3" fmla="*/ 8651 w 26394"/>
                    <a:gd name="connsiteY3" fmla="*/ 788 h 26424"/>
                    <a:gd name="connsiteX4" fmla="*/ 25591 w 26394"/>
                    <a:gd name="connsiteY4" fmla="*/ 8884 h 26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4" h="26424">
                      <a:moveTo>
                        <a:pt x="25591" y="8884"/>
                      </a:moveTo>
                      <a:cubicBezTo>
                        <a:pt x="28082" y="15735"/>
                        <a:pt x="24595" y="23333"/>
                        <a:pt x="17744" y="25699"/>
                      </a:cubicBezTo>
                      <a:cubicBezTo>
                        <a:pt x="10893" y="28066"/>
                        <a:pt x="3295" y="24454"/>
                        <a:pt x="804" y="17603"/>
                      </a:cubicBezTo>
                      <a:cubicBezTo>
                        <a:pt x="-1687" y="10752"/>
                        <a:pt x="1800" y="3154"/>
                        <a:pt x="8651" y="788"/>
                      </a:cubicBezTo>
                      <a:cubicBezTo>
                        <a:pt x="15502" y="-1703"/>
                        <a:pt x="23100" y="1909"/>
                        <a:pt x="2559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7" name="Graphic 2987">
                <a:extLst>
                  <a:ext uri="{FF2B5EF4-FFF2-40B4-BE49-F238E27FC236}">
                    <a16:creationId xmlns:a16="http://schemas.microsoft.com/office/drawing/2014/main" id="{1FB01ACC-A5C8-69C7-8D21-A2835FF420E9}"/>
                  </a:ext>
                </a:extLst>
              </p:cNvPr>
              <p:cNvGrpSpPr/>
              <p:nvPr/>
            </p:nvGrpSpPr>
            <p:grpSpPr>
              <a:xfrm>
                <a:off x="9265604" y="1358148"/>
                <a:ext cx="67915" cy="141655"/>
                <a:chOff x="9265604" y="1358148"/>
                <a:chExt cx="67915" cy="141655"/>
              </a:xfrm>
              <a:grpFill/>
            </p:grpSpPr>
            <p:sp>
              <p:nvSpPr>
                <p:cNvPr id="6990" name="Freeform 7070">
                  <a:extLst>
                    <a:ext uri="{FF2B5EF4-FFF2-40B4-BE49-F238E27FC236}">
                      <a16:creationId xmlns:a16="http://schemas.microsoft.com/office/drawing/2014/main" id="{D9A8EC7E-CB73-5BCA-A1A4-12C4042E043F}"/>
                    </a:ext>
                  </a:extLst>
                </p:cNvPr>
                <p:cNvSpPr/>
                <p:nvPr/>
              </p:nvSpPr>
              <p:spPr>
                <a:xfrm>
                  <a:off x="9304209" y="1429373"/>
                  <a:ext cx="16940" cy="49324"/>
                </a:xfrm>
                <a:custGeom>
                  <a:avLst/>
                  <a:gdLst>
                    <a:gd name="connsiteX0" fmla="*/ 16940 w 16940"/>
                    <a:gd name="connsiteY0" fmla="*/ 49325 h 49324"/>
                    <a:gd name="connsiteX1" fmla="*/ 12456 w 16940"/>
                    <a:gd name="connsiteY1" fmla="*/ 31015 h 49324"/>
                    <a:gd name="connsiteX2" fmla="*/ 3488 w 16940"/>
                    <a:gd name="connsiteY2" fmla="*/ 16068 h 49324"/>
                    <a:gd name="connsiteX3" fmla="*/ 0 w 16940"/>
                    <a:gd name="connsiteY3" fmla="*/ 0 h 49324"/>
                  </a:gdLst>
                  <a:ahLst/>
                  <a:cxnLst>
                    <a:cxn ang="0">
                      <a:pos x="connsiteX0" y="connsiteY0"/>
                    </a:cxn>
                    <a:cxn ang="0">
                      <a:pos x="connsiteX1" y="connsiteY1"/>
                    </a:cxn>
                    <a:cxn ang="0">
                      <a:pos x="connsiteX2" y="connsiteY2"/>
                    </a:cxn>
                    <a:cxn ang="0">
                      <a:pos x="connsiteX3" y="connsiteY3"/>
                    </a:cxn>
                  </a:cxnLst>
                  <a:rect l="l" t="t" r="r" b="b"/>
                  <a:pathLst>
                    <a:path w="16940" h="49324">
                      <a:moveTo>
                        <a:pt x="16940" y="49325"/>
                      </a:moveTo>
                      <a:cubicBezTo>
                        <a:pt x="16566" y="40979"/>
                        <a:pt x="14449" y="35001"/>
                        <a:pt x="12456" y="31015"/>
                      </a:cubicBezTo>
                      <a:cubicBezTo>
                        <a:pt x="9342" y="24787"/>
                        <a:pt x="6353" y="22545"/>
                        <a:pt x="3488" y="16068"/>
                      </a:cubicBezTo>
                      <a:cubicBezTo>
                        <a:pt x="747" y="9716"/>
                        <a:pt x="125"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1" name="Freeform 7071">
                  <a:extLst>
                    <a:ext uri="{FF2B5EF4-FFF2-40B4-BE49-F238E27FC236}">
                      <a16:creationId xmlns:a16="http://schemas.microsoft.com/office/drawing/2014/main" id="{420540EB-D521-E5DF-F371-627F33F33D9C}"/>
                    </a:ext>
                  </a:extLst>
                </p:cNvPr>
                <p:cNvSpPr/>
                <p:nvPr/>
              </p:nvSpPr>
              <p:spPr>
                <a:xfrm>
                  <a:off x="9297856" y="1436971"/>
                  <a:ext cx="18310" cy="48826"/>
                </a:xfrm>
                <a:custGeom>
                  <a:avLst/>
                  <a:gdLst>
                    <a:gd name="connsiteX0" fmla="*/ 0 w 18310"/>
                    <a:gd name="connsiteY0" fmla="*/ 0 h 48826"/>
                    <a:gd name="connsiteX1" fmla="*/ 8221 w 18310"/>
                    <a:gd name="connsiteY1" fmla="*/ 16940 h 48826"/>
                    <a:gd name="connsiteX2" fmla="*/ 10713 w 18310"/>
                    <a:gd name="connsiteY2" fmla="*/ 34129 h 48826"/>
                    <a:gd name="connsiteX3" fmla="*/ 18310 w 1831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310" h="48826">
                      <a:moveTo>
                        <a:pt x="0" y="0"/>
                      </a:moveTo>
                      <a:cubicBezTo>
                        <a:pt x="5107" y="6726"/>
                        <a:pt x="7225" y="12705"/>
                        <a:pt x="8221" y="16940"/>
                      </a:cubicBezTo>
                      <a:cubicBezTo>
                        <a:pt x="9841" y="23791"/>
                        <a:pt x="8844" y="27278"/>
                        <a:pt x="10713" y="34129"/>
                      </a:cubicBezTo>
                      <a:cubicBezTo>
                        <a:pt x="12580" y="40730"/>
                        <a:pt x="15819" y="45713"/>
                        <a:pt x="1831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2" name="Freeform 7072">
                  <a:extLst>
                    <a:ext uri="{FF2B5EF4-FFF2-40B4-BE49-F238E27FC236}">
                      <a16:creationId xmlns:a16="http://schemas.microsoft.com/office/drawing/2014/main" id="{3F50AD43-77A8-8527-CDCB-B60EBAE560B5}"/>
                    </a:ext>
                  </a:extLst>
                </p:cNvPr>
                <p:cNvSpPr/>
                <p:nvPr/>
              </p:nvSpPr>
              <p:spPr>
                <a:xfrm>
                  <a:off x="9306674" y="1473301"/>
                  <a:ext cx="26844" cy="26503"/>
                </a:xfrm>
                <a:custGeom>
                  <a:avLst/>
                  <a:gdLst>
                    <a:gd name="connsiteX0" fmla="*/ 773 w 26844"/>
                    <a:gd name="connsiteY0" fmla="*/ 17729 h 26503"/>
                    <a:gd name="connsiteX1" fmla="*/ 8994 w 26844"/>
                    <a:gd name="connsiteY1" fmla="*/ 789 h 26503"/>
                    <a:gd name="connsiteX2" fmla="*/ 26059 w 26844"/>
                    <a:gd name="connsiteY2" fmla="*/ 8761 h 26503"/>
                    <a:gd name="connsiteX3" fmla="*/ 17838 w 26844"/>
                    <a:gd name="connsiteY3" fmla="*/ 25700 h 26503"/>
                    <a:gd name="connsiteX4" fmla="*/ 773 w 26844"/>
                    <a:gd name="connsiteY4" fmla="*/ 17729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4" h="26503">
                      <a:moveTo>
                        <a:pt x="773" y="17729"/>
                      </a:moveTo>
                      <a:cubicBezTo>
                        <a:pt x="-1718" y="10878"/>
                        <a:pt x="2019" y="3280"/>
                        <a:pt x="8994" y="789"/>
                      </a:cubicBezTo>
                      <a:cubicBezTo>
                        <a:pt x="15970" y="-1702"/>
                        <a:pt x="23567" y="1910"/>
                        <a:pt x="26059" y="8761"/>
                      </a:cubicBezTo>
                      <a:cubicBezTo>
                        <a:pt x="28549" y="15611"/>
                        <a:pt x="24937" y="23209"/>
                        <a:pt x="17838" y="25700"/>
                      </a:cubicBezTo>
                      <a:cubicBezTo>
                        <a:pt x="10862" y="28192"/>
                        <a:pt x="3140" y="24704"/>
                        <a:pt x="773" y="177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3" name="Freeform 7073">
                  <a:extLst>
                    <a:ext uri="{FF2B5EF4-FFF2-40B4-BE49-F238E27FC236}">
                      <a16:creationId xmlns:a16="http://schemas.microsoft.com/office/drawing/2014/main" id="{84EC788C-D901-591E-E18C-1E2DAC885C4C}"/>
                    </a:ext>
                  </a:extLst>
                </p:cNvPr>
                <p:cNvSpPr/>
                <p:nvPr/>
              </p:nvSpPr>
              <p:spPr>
                <a:xfrm>
                  <a:off x="9277678" y="1379177"/>
                  <a:ext cx="16940" cy="49324"/>
                </a:xfrm>
                <a:custGeom>
                  <a:avLst/>
                  <a:gdLst>
                    <a:gd name="connsiteX0" fmla="*/ 0 w 16940"/>
                    <a:gd name="connsiteY0" fmla="*/ 0 h 49324"/>
                    <a:gd name="connsiteX1" fmla="*/ 4485 w 16940"/>
                    <a:gd name="connsiteY1" fmla="*/ 18310 h 49324"/>
                    <a:gd name="connsiteX2" fmla="*/ 13452 w 16940"/>
                    <a:gd name="connsiteY2" fmla="*/ 33257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374" y="8345"/>
                        <a:pt x="2491" y="14324"/>
                        <a:pt x="4485" y="18310"/>
                      </a:cubicBezTo>
                      <a:cubicBezTo>
                        <a:pt x="7599" y="24662"/>
                        <a:pt x="10588" y="26780"/>
                        <a:pt x="13452" y="33257"/>
                      </a:cubicBezTo>
                      <a:cubicBezTo>
                        <a:pt x="16193" y="39609"/>
                        <a:pt x="16816" y="45464"/>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4" name="Freeform 7074">
                  <a:extLst>
                    <a:ext uri="{FF2B5EF4-FFF2-40B4-BE49-F238E27FC236}">
                      <a16:creationId xmlns:a16="http://schemas.microsoft.com/office/drawing/2014/main" id="{1B941D90-A877-B1C9-DA86-0F22B1CBD639}"/>
                    </a:ext>
                  </a:extLst>
                </p:cNvPr>
                <p:cNvSpPr/>
                <p:nvPr/>
              </p:nvSpPr>
              <p:spPr>
                <a:xfrm>
                  <a:off x="9282411" y="1372201"/>
                  <a:ext cx="18435" cy="48826"/>
                </a:xfrm>
                <a:custGeom>
                  <a:avLst/>
                  <a:gdLst>
                    <a:gd name="connsiteX0" fmla="*/ 18435 w 18435"/>
                    <a:gd name="connsiteY0" fmla="*/ 48827 h 48826"/>
                    <a:gd name="connsiteX1" fmla="*/ 10214 w 18435"/>
                    <a:gd name="connsiteY1" fmla="*/ 31887 h 48826"/>
                    <a:gd name="connsiteX2" fmla="*/ 7599 w 18435"/>
                    <a:gd name="connsiteY2" fmla="*/ 14698 h 48826"/>
                    <a:gd name="connsiteX3" fmla="*/ 0 w 18435"/>
                    <a:gd name="connsiteY3" fmla="*/ 0 h 48826"/>
                  </a:gdLst>
                  <a:ahLst/>
                  <a:cxnLst>
                    <a:cxn ang="0">
                      <a:pos x="connsiteX0" y="connsiteY0"/>
                    </a:cxn>
                    <a:cxn ang="0">
                      <a:pos x="connsiteX1" y="connsiteY1"/>
                    </a:cxn>
                    <a:cxn ang="0">
                      <a:pos x="connsiteX2" y="connsiteY2"/>
                    </a:cxn>
                    <a:cxn ang="0">
                      <a:pos x="connsiteX3" y="connsiteY3"/>
                    </a:cxn>
                  </a:cxnLst>
                  <a:rect l="l" t="t" r="r" b="b"/>
                  <a:pathLst>
                    <a:path w="18435" h="48826">
                      <a:moveTo>
                        <a:pt x="18435" y="48827"/>
                      </a:moveTo>
                      <a:cubicBezTo>
                        <a:pt x="13328" y="42100"/>
                        <a:pt x="11210" y="36122"/>
                        <a:pt x="10214" y="31887"/>
                      </a:cubicBezTo>
                      <a:cubicBezTo>
                        <a:pt x="8595" y="25036"/>
                        <a:pt x="9591" y="21548"/>
                        <a:pt x="7599" y="14698"/>
                      </a:cubicBezTo>
                      <a:cubicBezTo>
                        <a:pt x="5730" y="8096"/>
                        <a:pt x="2491"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95" name="Freeform 7075">
                  <a:extLst>
                    <a:ext uri="{FF2B5EF4-FFF2-40B4-BE49-F238E27FC236}">
                      <a16:creationId xmlns:a16="http://schemas.microsoft.com/office/drawing/2014/main" id="{7C79201B-5563-EA6B-4CA2-A652AA89054A}"/>
                    </a:ext>
                  </a:extLst>
                </p:cNvPr>
                <p:cNvSpPr/>
                <p:nvPr/>
              </p:nvSpPr>
              <p:spPr>
                <a:xfrm>
                  <a:off x="9265604" y="1358148"/>
                  <a:ext cx="26315" cy="26362"/>
                </a:xfrm>
                <a:custGeom>
                  <a:avLst/>
                  <a:gdLst>
                    <a:gd name="connsiteX0" fmla="*/ 25526 w 26315"/>
                    <a:gd name="connsiteY0" fmla="*/ 8822 h 26362"/>
                    <a:gd name="connsiteX1" fmla="*/ 17555 w 26315"/>
                    <a:gd name="connsiteY1" fmla="*/ 25637 h 26362"/>
                    <a:gd name="connsiteX2" fmla="*/ 740 w 26315"/>
                    <a:gd name="connsiteY2" fmla="*/ 17541 h 26362"/>
                    <a:gd name="connsiteX3" fmla="*/ 8711 w 26315"/>
                    <a:gd name="connsiteY3" fmla="*/ 725 h 26362"/>
                    <a:gd name="connsiteX4" fmla="*/ 25526 w 26315"/>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62">
                      <a:moveTo>
                        <a:pt x="25526" y="8822"/>
                      </a:moveTo>
                      <a:cubicBezTo>
                        <a:pt x="28018" y="15672"/>
                        <a:pt x="24406" y="23270"/>
                        <a:pt x="17555" y="25637"/>
                      </a:cubicBezTo>
                      <a:cubicBezTo>
                        <a:pt x="10704" y="28004"/>
                        <a:pt x="3106" y="24391"/>
                        <a:pt x="740" y="17541"/>
                      </a:cubicBezTo>
                      <a:cubicBezTo>
                        <a:pt x="-1627" y="10690"/>
                        <a:pt x="1861" y="3092"/>
                        <a:pt x="8711" y="725"/>
                      </a:cubicBezTo>
                      <a:cubicBezTo>
                        <a:pt x="15437" y="-1641"/>
                        <a:pt x="23035" y="1971"/>
                        <a:pt x="25526"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8" name="Graphic 2987">
                <a:extLst>
                  <a:ext uri="{FF2B5EF4-FFF2-40B4-BE49-F238E27FC236}">
                    <a16:creationId xmlns:a16="http://schemas.microsoft.com/office/drawing/2014/main" id="{80B4A231-7048-78B3-3279-6F11543A2D86}"/>
                  </a:ext>
                </a:extLst>
              </p:cNvPr>
              <p:cNvGrpSpPr/>
              <p:nvPr/>
            </p:nvGrpSpPr>
            <p:grpSpPr>
              <a:xfrm>
                <a:off x="9237952" y="1367975"/>
                <a:ext cx="67279" cy="141902"/>
                <a:chOff x="9237952" y="1367975"/>
                <a:chExt cx="67279" cy="141902"/>
              </a:xfrm>
              <a:grpFill/>
            </p:grpSpPr>
            <p:sp>
              <p:nvSpPr>
                <p:cNvPr id="6984" name="Freeform 7077">
                  <a:extLst>
                    <a:ext uri="{FF2B5EF4-FFF2-40B4-BE49-F238E27FC236}">
                      <a16:creationId xmlns:a16="http://schemas.microsoft.com/office/drawing/2014/main" id="{6078A2B3-DEB5-C3E3-E5E9-8F7C6C671E8F}"/>
                    </a:ext>
                  </a:extLst>
                </p:cNvPr>
                <p:cNvSpPr/>
                <p:nvPr/>
              </p:nvSpPr>
              <p:spPr>
                <a:xfrm>
                  <a:off x="9276183" y="1439213"/>
                  <a:ext cx="16691" cy="49449"/>
                </a:xfrm>
                <a:custGeom>
                  <a:avLst/>
                  <a:gdLst>
                    <a:gd name="connsiteX0" fmla="*/ 16691 w 16691"/>
                    <a:gd name="connsiteY0" fmla="*/ 49449 h 49449"/>
                    <a:gd name="connsiteX1" fmla="*/ 12331 w 16691"/>
                    <a:gd name="connsiteY1" fmla="*/ 31139 h 49449"/>
                    <a:gd name="connsiteX2" fmla="*/ 3363 w 16691"/>
                    <a:gd name="connsiteY2" fmla="*/ 16192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6317" y="40979"/>
                        <a:pt x="14200" y="35125"/>
                        <a:pt x="12331" y="31139"/>
                      </a:cubicBezTo>
                      <a:cubicBezTo>
                        <a:pt x="9217" y="24787"/>
                        <a:pt x="6228" y="22669"/>
                        <a:pt x="3363" y="16192"/>
                      </a:cubicBezTo>
                      <a:cubicBezTo>
                        <a:pt x="62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5" name="Freeform 7078">
                  <a:extLst>
                    <a:ext uri="{FF2B5EF4-FFF2-40B4-BE49-F238E27FC236}">
                      <a16:creationId xmlns:a16="http://schemas.microsoft.com/office/drawing/2014/main" id="{E134C74D-D6E7-DAAA-FE9A-A1A74AD99F52}"/>
                    </a:ext>
                  </a:extLst>
                </p:cNvPr>
                <p:cNvSpPr/>
                <p:nvPr/>
              </p:nvSpPr>
              <p:spPr>
                <a:xfrm>
                  <a:off x="9269831" y="1446811"/>
                  <a:ext cx="18061" cy="48951"/>
                </a:xfrm>
                <a:custGeom>
                  <a:avLst/>
                  <a:gdLst>
                    <a:gd name="connsiteX0" fmla="*/ 0 w 18061"/>
                    <a:gd name="connsiteY0" fmla="*/ 0 h 48951"/>
                    <a:gd name="connsiteX1" fmla="*/ 8097 w 18061"/>
                    <a:gd name="connsiteY1" fmla="*/ 16940 h 48951"/>
                    <a:gd name="connsiteX2" fmla="*/ 10588 w 18061"/>
                    <a:gd name="connsiteY2" fmla="*/ 34253 h 48951"/>
                    <a:gd name="connsiteX3" fmla="*/ 18061 w 18061"/>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1" h="48951">
                      <a:moveTo>
                        <a:pt x="0" y="0"/>
                      </a:moveTo>
                      <a:cubicBezTo>
                        <a:pt x="4983" y="6726"/>
                        <a:pt x="7100" y="12705"/>
                        <a:pt x="8097" y="16940"/>
                      </a:cubicBezTo>
                      <a:cubicBezTo>
                        <a:pt x="9716" y="23791"/>
                        <a:pt x="8719" y="27403"/>
                        <a:pt x="10588" y="34253"/>
                      </a:cubicBezTo>
                      <a:cubicBezTo>
                        <a:pt x="12456" y="40855"/>
                        <a:pt x="15694" y="45837"/>
                        <a:pt x="18061"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6" name="Freeform 7079">
                  <a:extLst>
                    <a:ext uri="{FF2B5EF4-FFF2-40B4-BE49-F238E27FC236}">
                      <a16:creationId xmlns:a16="http://schemas.microsoft.com/office/drawing/2014/main" id="{156D0D45-D661-4E09-AE23-0B8D7ABA55EA}"/>
                    </a:ext>
                  </a:extLst>
                </p:cNvPr>
                <p:cNvSpPr/>
                <p:nvPr/>
              </p:nvSpPr>
              <p:spPr>
                <a:xfrm>
                  <a:off x="9278448" y="1483267"/>
                  <a:ext cx="26782" cy="26611"/>
                </a:xfrm>
                <a:custGeom>
                  <a:avLst/>
                  <a:gdLst>
                    <a:gd name="connsiteX0" fmla="*/ 724 w 26782"/>
                    <a:gd name="connsiteY0" fmla="*/ 17727 h 26611"/>
                    <a:gd name="connsiteX1" fmla="*/ 8945 w 26782"/>
                    <a:gd name="connsiteY1" fmla="*/ 788 h 26611"/>
                    <a:gd name="connsiteX2" fmla="*/ 26010 w 26782"/>
                    <a:gd name="connsiteY2" fmla="*/ 8884 h 26611"/>
                    <a:gd name="connsiteX3" fmla="*/ 17789 w 26782"/>
                    <a:gd name="connsiteY3" fmla="*/ 25824 h 26611"/>
                    <a:gd name="connsiteX4" fmla="*/ 724 w 26782"/>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611">
                      <a:moveTo>
                        <a:pt x="724" y="17727"/>
                      </a:moveTo>
                      <a:cubicBezTo>
                        <a:pt x="-1642" y="10877"/>
                        <a:pt x="1970" y="3279"/>
                        <a:pt x="8945" y="788"/>
                      </a:cubicBezTo>
                      <a:cubicBezTo>
                        <a:pt x="15920" y="-1704"/>
                        <a:pt x="23518" y="1909"/>
                        <a:pt x="26010" y="8884"/>
                      </a:cubicBezTo>
                      <a:cubicBezTo>
                        <a:pt x="28501" y="15735"/>
                        <a:pt x="24764" y="23333"/>
                        <a:pt x="17789" y="25824"/>
                      </a:cubicBezTo>
                      <a:cubicBezTo>
                        <a:pt x="10814" y="28315"/>
                        <a:pt x="3091" y="24703"/>
                        <a:pt x="724"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7" name="Freeform 7080">
                  <a:extLst>
                    <a:ext uri="{FF2B5EF4-FFF2-40B4-BE49-F238E27FC236}">
                      <a16:creationId xmlns:a16="http://schemas.microsoft.com/office/drawing/2014/main" id="{138CCC1A-3917-7350-E249-4A3DCE0499F8}"/>
                    </a:ext>
                  </a:extLst>
                </p:cNvPr>
                <p:cNvSpPr/>
                <p:nvPr/>
              </p:nvSpPr>
              <p:spPr>
                <a:xfrm>
                  <a:off x="9250026" y="1389017"/>
                  <a:ext cx="16566" cy="49449"/>
                </a:xfrm>
                <a:custGeom>
                  <a:avLst/>
                  <a:gdLst>
                    <a:gd name="connsiteX0" fmla="*/ 0 w 16566"/>
                    <a:gd name="connsiteY0" fmla="*/ 0 h 49449"/>
                    <a:gd name="connsiteX1" fmla="*/ 4359 w 16566"/>
                    <a:gd name="connsiteY1" fmla="*/ 18310 h 49449"/>
                    <a:gd name="connsiteX2" fmla="*/ 13203 w 16566"/>
                    <a:gd name="connsiteY2" fmla="*/ 33257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373" y="8345"/>
                        <a:pt x="2491" y="14324"/>
                        <a:pt x="4359" y="18310"/>
                      </a:cubicBezTo>
                      <a:cubicBezTo>
                        <a:pt x="7348" y="24662"/>
                        <a:pt x="10462" y="26780"/>
                        <a:pt x="13203" y="33257"/>
                      </a:cubicBezTo>
                      <a:cubicBezTo>
                        <a:pt x="15943" y="39609"/>
                        <a:pt x="16566" y="45464"/>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8" name="Freeform 7081">
                  <a:extLst>
                    <a:ext uri="{FF2B5EF4-FFF2-40B4-BE49-F238E27FC236}">
                      <a16:creationId xmlns:a16="http://schemas.microsoft.com/office/drawing/2014/main" id="{08157112-B465-9DDA-C141-F8C38D946328}"/>
                    </a:ext>
                  </a:extLst>
                </p:cNvPr>
                <p:cNvSpPr/>
                <p:nvPr/>
              </p:nvSpPr>
              <p:spPr>
                <a:xfrm>
                  <a:off x="9254884" y="1382041"/>
                  <a:ext cx="18060" cy="48826"/>
                </a:xfrm>
                <a:custGeom>
                  <a:avLst/>
                  <a:gdLst>
                    <a:gd name="connsiteX0" fmla="*/ 18060 w 18060"/>
                    <a:gd name="connsiteY0" fmla="*/ 48827 h 48826"/>
                    <a:gd name="connsiteX1" fmla="*/ 9964 w 18060"/>
                    <a:gd name="connsiteY1" fmla="*/ 31887 h 48826"/>
                    <a:gd name="connsiteX2" fmla="*/ 7473 w 18060"/>
                    <a:gd name="connsiteY2" fmla="*/ 14698 h 48826"/>
                    <a:gd name="connsiteX3" fmla="*/ 0 w 18060"/>
                    <a:gd name="connsiteY3" fmla="*/ 0 h 48826"/>
                  </a:gdLst>
                  <a:ahLst/>
                  <a:cxnLst>
                    <a:cxn ang="0">
                      <a:pos x="connsiteX0" y="connsiteY0"/>
                    </a:cxn>
                    <a:cxn ang="0">
                      <a:pos x="connsiteX1" y="connsiteY1"/>
                    </a:cxn>
                    <a:cxn ang="0">
                      <a:pos x="connsiteX2" y="connsiteY2"/>
                    </a:cxn>
                    <a:cxn ang="0">
                      <a:pos x="connsiteX3" y="connsiteY3"/>
                    </a:cxn>
                  </a:cxnLst>
                  <a:rect l="l" t="t" r="r" b="b"/>
                  <a:pathLst>
                    <a:path w="18060" h="48826">
                      <a:moveTo>
                        <a:pt x="18060" y="48827"/>
                      </a:moveTo>
                      <a:cubicBezTo>
                        <a:pt x="13078" y="42100"/>
                        <a:pt x="10961" y="36122"/>
                        <a:pt x="9964" y="31887"/>
                      </a:cubicBezTo>
                      <a:cubicBezTo>
                        <a:pt x="8345" y="25036"/>
                        <a:pt x="9342" y="21548"/>
                        <a:pt x="7473" y="14698"/>
                      </a:cubicBezTo>
                      <a:cubicBezTo>
                        <a:pt x="5604"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9" name="Freeform 7082">
                  <a:extLst>
                    <a:ext uri="{FF2B5EF4-FFF2-40B4-BE49-F238E27FC236}">
                      <a16:creationId xmlns:a16="http://schemas.microsoft.com/office/drawing/2014/main" id="{FBA67708-A5A3-9809-EFD2-5CABAF80300F}"/>
                    </a:ext>
                  </a:extLst>
                </p:cNvPr>
                <p:cNvSpPr/>
                <p:nvPr/>
              </p:nvSpPr>
              <p:spPr>
                <a:xfrm>
                  <a:off x="9237952" y="1367975"/>
                  <a:ext cx="26315" cy="26375"/>
                </a:xfrm>
                <a:custGeom>
                  <a:avLst/>
                  <a:gdLst>
                    <a:gd name="connsiteX0" fmla="*/ 25527 w 26315"/>
                    <a:gd name="connsiteY0" fmla="*/ 8835 h 26375"/>
                    <a:gd name="connsiteX1" fmla="*/ 17555 w 26315"/>
                    <a:gd name="connsiteY1" fmla="*/ 25650 h 26375"/>
                    <a:gd name="connsiteX2" fmla="*/ 739 w 26315"/>
                    <a:gd name="connsiteY2" fmla="*/ 17554 h 26375"/>
                    <a:gd name="connsiteX3" fmla="*/ 8711 w 26315"/>
                    <a:gd name="connsiteY3" fmla="*/ 738 h 26375"/>
                    <a:gd name="connsiteX4" fmla="*/ 25527 w 26315"/>
                    <a:gd name="connsiteY4" fmla="*/ 8835 h 2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5" h="26375">
                      <a:moveTo>
                        <a:pt x="25527" y="8835"/>
                      </a:moveTo>
                      <a:cubicBezTo>
                        <a:pt x="28017" y="15685"/>
                        <a:pt x="24405" y="23283"/>
                        <a:pt x="17555" y="25650"/>
                      </a:cubicBezTo>
                      <a:cubicBezTo>
                        <a:pt x="10704" y="28017"/>
                        <a:pt x="3231" y="24404"/>
                        <a:pt x="739" y="17554"/>
                      </a:cubicBezTo>
                      <a:cubicBezTo>
                        <a:pt x="-1627" y="10703"/>
                        <a:pt x="1861" y="3105"/>
                        <a:pt x="8711" y="738"/>
                      </a:cubicBezTo>
                      <a:cubicBezTo>
                        <a:pt x="15562" y="-1628"/>
                        <a:pt x="23036" y="1859"/>
                        <a:pt x="25527" y="8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69" name="Graphic 2987">
                <a:extLst>
                  <a:ext uri="{FF2B5EF4-FFF2-40B4-BE49-F238E27FC236}">
                    <a16:creationId xmlns:a16="http://schemas.microsoft.com/office/drawing/2014/main" id="{21CF0E71-327E-8759-50AE-1B9AB943BE04}"/>
                  </a:ext>
                </a:extLst>
              </p:cNvPr>
              <p:cNvGrpSpPr/>
              <p:nvPr/>
            </p:nvGrpSpPr>
            <p:grpSpPr>
              <a:xfrm>
                <a:off x="9210190" y="1377655"/>
                <a:ext cx="66593" cy="142187"/>
                <a:chOff x="9210190" y="1377655"/>
                <a:chExt cx="66593" cy="142187"/>
              </a:xfrm>
              <a:grpFill/>
            </p:grpSpPr>
            <p:sp>
              <p:nvSpPr>
                <p:cNvPr id="6978" name="Freeform 7084">
                  <a:extLst>
                    <a:ext uri="{FF2B5EF4-FFF2-40B4-BE49-F238E27FC236}">
                      <a16:creationId xmlns:a16="http://schemas.microsoft.com/office/drawing/2014/main" id="{AD1386DF-C50F-83AD-212A-89A453C07126}"/>
                    </a:ext>
                  </a:extLst>
                </p:cNvPr>
                <p:cNvSpPr/>
                <p:nvPr/>
              </p:nvSpPr>
              <p:spPr>
                <a:xfrm>
                  <a:off x="9248282" y="1449178"/>
                  <a:ext cx="16441" cy="49449"/>
                </a:xfrm>
                <a:custGeom>
                  <a:avLst/>
                  <a:gdLst>
                    <a:gd name="connsiteX0" fmla="*/ 16442 w 16441"/>
                    <a:gd name="connsiteY0" fmla="*/ 49449 h 49449"/>
                    <a:gd name="connsiteX1" fmla="*/ 12206 w 16441"/>
                    <a:gd name="connsiteY1" fmla="*/ 31139 h 49449"/>
                    <a:gd name="connsiteX2" fmla="*/ 3363 w 16441"/>
                    <a:gd name="connsiteY2" fmla="*/ 16193 h 49449"/>
                    <a:gd name="connsiteX3" fmla="*/ 0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49449"/>
                      </a:moveTo>
                      <a:cubicBezTo>
                        <a:pt x="16192" y="40979"/>
                        <a:pt x="14075" y="35001"/>
                        <a:pt x="12206" y="31139"/>
                      </a:cubicBezTo>
                      <a:cubicBezTo>
                        <a:pt x="9217" y="24787"/>
                        <a:pt x="6103" y="22669"/>
                        <a:pt x="3363"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9" name="Freeform 7085">
                  <a:extLst>
                    <a:ext uri="{FF2B5EF4-FFF2-40B4-BE49-F238E27FC236}">
                      <a16:creationId xmlns:a16="http://schemas.microsoft.com/office/drawing/2014/main" id="{01CAE849-55F8-9E9C-267D-CB00F438E742}"/>
                    </a:ext>
                  </a:extLst>
                </p:cNvPr>
                <p:cNvSpPr/>
                <p:nvPr/>
              </p:nvSpPr>
              <p:spPr>
                <a:xfrm>
                  <a:off x="9241930" y="1456776"/>
                  <a:ext cx="17811" cy="49075"/>
                </a:xfrm>
                <a:custGeom>
                  <a:avLst/>
                  <a:gdLst>
                    <a:gd name="connsiteX0" fmla="*/ 0 w 17811"/>
                    <a:gd name="connsiteY0" fmla="*/ 0 h 49075"/>
                    <a:gd name="connsiteX1" fmla="*/ 7972 w 17811"/>
                    <a:gd name="connsiteY1" fmla="*/ 17064 h 49075"/>
                    <a:gd name="connsiteX2" fmla="*/ 10339 w 17811"/>
                    <a:gd name="connsiteY2" fmla="*/ 34378 h 49075"/>
                    <a:gd name="connsiteX3" fmla="*/ 17812 w 17811"/>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811" h="49075">
                      <a:moveTo>
                        <a:pt x="0" y="0"/>
                      </a:moveTo>
                      <a:cubicBezTo>
                        <a:pt x="4983" y="6726"/>
                        <a:pt x="7100" y="12705"/>
                        <a:pt x="7972" y="17064"/>
                      </a:cubicBezTo>
                      <a:cubicBezTo>
                        <a:pt x="9467" y="23915"/>
                        <a:pt x="8470" y="27527"/>
                        <a:pt x="10339" y="34378"/>
                      </a:cubicBezTo>
                      <a:cubicBezTo>
                        <a:pt x="12082" y="41104"/>
                        <a:pt x="15321" y="45962"/>
                        <a:pt x="17812"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0" name="Freeform 7086">
                  <a:extLst>
                    <a:ext uri="{FF2B5EF4-FFF2-40B4-BE49-F238E27FC236}">
                      <a16:creationId xmlns:a16="http://schemas.microsoft.com/office/drawing/2014/main" id="{7B20791D-8EBF-99DE-534A-E7CEBB7006CA}"/>
                    </a:ext>
                  </a:extLst>
                </p:cNvPr>
                <p:cNvSpPr/>
                <p:nvPr/>
              </p:nvSpPr>
              <p:spPr>
                <a:xfrm>
                  <a:off x="9250187" y="1493231"/>
                  <a:ext cx="26596" cy="26611"/>
                </a:xfrm>
                <a:custGeom>
                  <a:avLst/>
                  <a:gdLst>
                    <a:gd name="connsiteX0" fmla="*/ 712 w 26596"/>
                    <a:gd name="connsiteY0" fmla="*/ 17728 h 26611"/>
                    <a:gd name="connsiteX1" fmla="*/ 8932 w 26596"/>
                    <a:gd name="connsiteY1" fmla="*/ 788 h 26611"/>
                    <a:gd name="connsiteX2" fmla="*/ 25872 w 26596"/>
                    <a:gd name="connsiteY2" fmla="*/ 8884 h 26611"/>
                    <a:gd name="connsiteX3" fmla="*/ 17651 w 26596"/>
                    <a:gd name="connsiteY3" fmla="*/ 25824 h 26611"/>
                    <a:gd name="connsiteX4" fmla="*/ 712 w 26596"/>
                    <a:gd name="connsiteY4" fmla="*/ 17728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611">
                      <a:moveTo>
                        <a:pt x="712" y="17728"/>
                      </a:moveTo>
                      <a:cubicBezTo>
                        <a:pt x="-1655" y="10752"/>
                        <a:pt x="2082" y="3154"/>
                        <a:pt x="8932" y="788"/>
                      </a:cubicBezTo>
                      <a:cubicBezTo>
                        <a:pt x="15907" y="-1703"/>
                        <a:pt x="23506" y="1909"/>
                        <a:pt x="25872" y="8884"/>
                      </a:cubicBezTo>
                      <a:cubicBezTo>
                        <a:pt x="28239" y="15735"/>
                        <a:pt x="24627" y="23457"/>
                        <a:pt x="17651" y="25824"/>
                      </a:cubicBezTo>
                      <a:cubicBezTo>
                        <a:pt x="10676" y="28315"/>
                        <a:pt x="3078" y="24703"/>
                        <a:pt x="712" y="177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1" name="Freeform 7087">
                  <a:extLst>
                    <a:ext uri="{FF2B5EF4-FFF2-40B4-BE49-F238E27FC236}">
                      <a16:creationId xmlns:a16="http://schemas.microsoft.com/office/drawing/2014/main" id="{58C1426A-3C83-E501-B91D-C626AEF14392}"/>
                    </a:ext>
                  </a:extLst>
                </p:cNvPr>
                <p:cNvSpPr/>
                <p:nvPr/>
              </p:nvSpPr>
              <p:spPr>
                <a:xfrm>
                  <a:off x="9222250" y="1398857"/>
                  <a:ext cx="16440" cy="49449"/>
                </a:xfrm>
                <a:custGeom>
                  <a:avLst/>
                  <a:gdLst>
                    <a:gd name="connsiteX0" fmla="*/ 0 w 16440"/>
                    <a:gd name="connsiteY0" fmla="*/ 0 h 49449"/>
                    <a:gd name="connsiteX1" fmla="*/ 4235 w 16440"/>
                    <a:gd name="connsiteY1" fmla="*/ 18310 h 49449"/>
                    <a:gd name="connsiteX2" fmla="*/ 13078 w 16440"/>
                    <a:gd name="connsiteY2" fmla="*/ 33257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373" y="8470"/>
                        <a:pt x="2367" y="14449"/>
                        <a:pt x="4235" y="18310"/>
                      </a:cubicBezTo>
                      <a:cubicBezTo>
                        <a:pt x="7224" y="24662"/>
                        <a:pt x="10213" y="26780"/>
                        <a:pt x="13078" y="33257"/>
                      </a:cubicBezTo>
                      <a:cubicBezTo>
                        <a:pt x="15818" y="39609"/>
                        <a:pt x="16317" y="45464"/>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2" name="Freeform 7088">
                  <a:extLst>
                    <a:ext uri="{FF2B5EF4-FFF2-40B4-BE49-F238E27FC236}">
                      <a16:creationId xmlns:a16="http://schemas.microsoft.com/office/drawing/2014/main" id="{96293BA4-2817-35D1-1EE8-BD3D716E6850}"/>
                    </a:ext>
                  </a:extLst>
                </p:cNvPr>
                <p:cNvSpPr/>
                <p:nvPr/>
              </p:nvSpPr>
              <p:spPr>
                <a:xfrm>
                  <a:off x="9227357" y="1391632"/>
                  <a:ext cx="17686" cy="49075"/>
                </a:xfrm>
                <a:custGeom>
                  <a:avLst/>
                  <a:gdLst>
                    <a:gd name="connsiteX0" fmla="*/ 17687 w 17686"/>
                    <a:gd name="connsiteY0" fmla="*/ 49076 h 49075"/>
                    <a:gd name="connsiteX1" fmla="*/ 9716 w 17686"/>
                    <a:gd name="connsiteY1" fmla="*/ 32011 h 49075"/>
                    <a:gd name="connsiteX2" fmla="*/ 7349 w 17686"/>
                    <a:gd name="connsiteY2" fmla="*/ 14698 h 49075"/>
                    <a:gd name="connsiteX3" fmla="*/ 0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17687" y="49076"/>
                      </a:moveTo>
                      <a:cubicBezTo>
                        <a:pt x="12705" y="42350"/>
                        <a:pt x="10587" y="36371"/>
                        <a:pt x="9716" y="32011"/>
                      </a:cubicBezTo>
                      <a:cubicBezTo>
                        <a:pt x="8220" y="25161"/>
                        <a:pt x="9217" y="21548"/>
                        <a:pt x="7349" y="14698"/>
                      </a:cubicBezTo>
                      <a:cubicBezTo>
                        <a:pt x="5481" y="7972"/>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83" name="Freeform 7089">
                  <a:extLst>
                    <a:ext uri="{FF2B5EF4-FFF2-40B4-BE49-F238E27FC236}">
                      <a16:creationId xmlns:a16="http://schemas.microsoft.com/office/drawing/2014/main" id="{5A8DAD1B-2342-23EB-2AA3-416486384B84}"/>
                    </a:ext>
                  </a:extLst>
                </p:cNvPr>
                <p:cNvSpPr/>
                <p:nvPr/>
              </p:nvSpPr>
              <p:spPr>
                <a:xfrm>
                  <a:off x="9210190" y="1377655"/>
                  <a:ext cx="26250" cy="26535"/>
                </a:xfrm>
                <a:custGeom>
                  <a:avLst/>
                  <a:gdLst>
                    <a:gd name="connsiteX0" fmla="*/ 25512 w 26250"/>
                    <a:gd name="connsiteY0" fmla="*/ 8871 h 26535"/>
                    <a:gd name="connsiteX1" fmla="*/ 17416 w 26250"/>
                    <a:gd name="connsiteY1" fmla="*/ 25810 h 26535"/>
                    <a:gd name="connsiteX2" fmla="*/ 725 w 26250"/>
                    <a:gd name="connsiteY2" fmla="*/ 17714 h 26535"/>
                    <a:gd name="connsiteX3" fmla="*/ 8822 w 26250"/>
                    <a:gd name="connsiteY3" fmla="*/ 774 h 26535"/>
                    <a:gd name="connsiteX4" fmla="*/ 25512 w 26250"/>
                    <a:gd name="connsiteY4" fmla="*/ 8871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0" h="26535">
                      <a:moveTo>
                        <a:pt x="25512" y="8871"/>
                      </a:moveTo>
                      <a:cubicBezTo>
                        <a:pt x="27879" y="15721"/>
                        <a:pt x="24392" y="23319"/>
                        <a:pt x="17416" y="25810"/>
                      </a:cubicBezTo>
                      <a:cubicBezTo>
                        <a:pt x="10566" y="28177"/>
                        <a:pt x="3092" y="24565"/>
                        <a:pt x="725" y="17714"/>
                      </a:cubicBezTo>
                      <a:cubicBezTo>
                        <a:pt x="-1641" y="10739"/>
                        <a:pt x="1971" y="3265"/>
                        <a:pt x="8822" y="774"/>
                      </a:cubicBezTo>
                      <a:cubicBezTo>
                        <a:pt x="15672" y="-1717"/>
                        <a:pt x="23146" y="2020"/>
                        <a:pt x="25512"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0" name="Graphic 2987">
                <a:extLst>
                  <a:ext uri="{FF2B5EF4-FFF2-40B4-BE49-F238E27FC236}">
                    <a16:creationId xmlns:a16="http://schemas.microsoft.com/office/drawing/2014/main" id="{458163EA-2A5B-F74D-F53F-6B8CC470BF68}"/>
                  </a:ext>
                </a:extLst>
              </p:cNvPr>
              <p:cNvGrpSpPr/>
              <p:nvPr/>
            </p:nvGrpSpPr>
            <p:grpSpPr>
              <a:xfrm>
                <a:off x="9182538" y="1387420"/>
                <a:ext cx="66081" cy="142386"/>
                <a:chOff x="9182538" y="1387420"/>
                <a:chExt cx="66081" cy="142386"/>
              </a:xfrm>
              <a:grpFill/>
            </p:grpSpPr>
            <p:sp>
              <p:nvSpPr>
                <p:cNvPr id="6972" name="Freeform 7091">
                  <a:extLst>
                    <a:ext uri="{FF2B5EF4-FFF2-40B4-BE49-F238E27FC236}">
                      <a16:creationId xmlns:a16="http://schemas.microsoft.com/office/drawing/2014/main" id="{92283C59-672C-5DD8-A72C-09F2AB4C2519}"/>
                    </a:ext>
                  </a:extLst>
                </p:cNvPr>
                <p:cNvSpPr/>
                <p:nvPr/>
              </p:nvSpPr>
              <p:spPr>
                <a:xfrm>
                  <a:off x="9220132" y="1459018"/>
                  <a:ext cx="16317" cy="49573"/>
                </a:xfrm>
                <a:custGeom>
                  <a:avLst/>
                  <a:gdLst>
                    <a:gd name="connsiteX0" fmla="*/ 16317 w 16317"/>
                    <a:gd name="connsiteY0" fmla="*/ 49574 h 49573"/>
                    <a:gd name="connsiteX1" fmla="*/ 12082 w 16317"/>
                    <a:gd name="connsiteY1" fmla="*/ 31264 h 49573"/>
                    <a:gd name="connsiteX2" fmla="*/ 3239 w 16317"/>
                    <a:gd name="connsiteY2" fmla="*/ 16192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6068" y="41104"/>
                        <a:pt x="13950" y="35125"/>
                        <a:pt x="12082" y="31264"/>
                      </a:cubicBezTo>
                      <a:cubicBezTo>
                        <a:pt x="9093" y="24912"/>
                        <a:pt x="6103" y="22794"/>
                        <a:pt x="3239"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3" name="Freeform 7092">
                  <a:extLst>
                    <a:ext uri="{FF2B5EF4-FFF2-40B4-BE49-F238E27FC236}">
                      <a16:creationId xmlns:a16="http://schemas.microsoft.com/office/drawing/2014/main" id="{1286DB76-9835-6861-5F7F-B74E2FBEF6EF}"/>
                    </a:ext>
                  </a:extLst>
                </p:cNvPr>
                <p:cNvSpPr/>
                <p:nvPr/>
              </p:nvSpPr>
              <p:spPr>
                <a:xfrm>
                  <a:off x="9213904" y="1466616"/>
                  <a:ext cx="17563" cy="49075"/>
                </a:xfrm>
                <a:custGeom>
                  <a:avLst/>
                  <a:gdLst>
                    <a:gd name="connsiteX0" fmla="*/ 0 w 17563"/>
                    <a:gd name="connsiteY0" fmla="*/ 0 h 49075"/>
                    <a:gd name="connsiteX1" fmla="*/ 7972 w 17563"/>
                    <a:gd name="connsiteY1" fmla="*/ 17064 h 49075"/>
                    <a:gd name="connsiteX2" fmla="*/ 10214 w 17563"/>
                    <a:gd name="connsiteY2" fmla="*/ 34378 h 49075"/>
                    <a:gd name="connsiteX3" fmla="*/ 17563 w 17563"/>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3" h="49075">
                      <a:moveTo>
                        <a:pt x="0" y="0"/>
                      </a:moveTo>
                      <a:cubicBezTo>
                        <a:pt x="4983" y="6726"/>
                        <a:pt x="6975" y="12829"/>
                        <a:pt x="7972" y="17064"/>
                      </a:cubicBezTo>
                      <a:cubicBezTo>
                        <a:pt x="9467" y="23915"/>
                        <a:pt x="8470" y="27527"/>
                        <a:pt x="10214" y="34378"/>
                      </a:cubicBezTo>
                      <a:cubicBezTo>
                        <a:pt x="11958" y="41104"/>
                        <a:pt x="15196" y="45962"/>
                        <a:pt x="17563"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4" name="Freeform 7093">
                  <a:extLst>
                    <a:ext uri="{FF2B5EF4-FFF2-40B4-BE49-F238E27FC236}">
                      <a16:creationId xmlns:a16="http://schemas.microsoft.com/office/drawing/2014/main" id="{B0C45575-74DB-AEB6-049A-6C1916AB8F4D}"/>
                    </a:ext>
                  </a:extLst>
                </p:cNvPr>
                <p:cNvSpPr/>
                <p:nvPr/>
              </p:nvSpPr>
              <p:spPr>
                <a:xfrm>
                  <a:off x="9221913" y="1503196"/>
                  <a:ext cx="26706" cy="26611"/>
                </a:xfrm>
                <a:custGeom>
                  <a:avLst/>
                  <a:gdLst>
                    <a:gd name="connsiteX0" fmla="*/ 711 w 26706"/>
                    <a:gd name="connsiteY0" fmla="*/ 17727 h 26611"/>
                    <a:gd name="connsiteX1" fmla="*/ 9056 w 26706"/>
                    <a:gd name="connsiteY1" fmla="*/ 788 h 26611"/>
                    <a:gd name="connsiteX2" fmla="*/ 25996 w 26706"/>
                    <a:gd name="connsiteY2" fmla="*/ 8884 h 26611"/>
                    <a:gd name="connsiteX3" fmla="*/ 17650 w 26706"/>
                    <a:gd name="connsiteY3" fmla="*/ 25824 h 26611"/>
                    <a:gd name="connsiteX4" fmla="*/ 711 w 26706"/>
                    <a:gd name="connsiteY4" fmla="*/ 17727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17727"/>
                      </a:moveTo>
                      <a:cubicBezTo>
                        <a:pt x="-1656" y="10752"/>
                        <a:pt x="2081" y="3154"/>
                        <a:pt x="9056" y="788"/>
                      </a:cubicBezTo>
                      <a:cubicBezTo>
                        <a:pt x="16031" y="-1704"/>
                        <a:pt x="23630" y="1909"/>
                        <a:pt x="25996" y="8884"/>
                      </a:cubicBezTo>
                      <a:cubicBezTo>
                        <a:pt x="28363" y="15859"/>
                        <a:pt x="24626" y="23457"/>
                        <a:pt x="17650" y="25824"/>
                      </a:cubicBezTo>
                      <a:cubicBezTo>
                        <a:pt x="10675" y="28315"/>
                        <a:pt x="3077" y="24703"/>
                        <a:pt x="711" y="177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5" name="Freeform 7094">
                  <a:extLst>
                    <a:ext uri="{FF2B5EF4-FFF2-40B4-BE49-F238E27FC236}">
                      <a16:creationId xmlns:a16="http://schemas.microsoft.com/office/drawing/2014/main" id="{672DAD81-3044-C31F-EC07-B1E1723D7A86}"/>
                    </a:ext>
                  </a:extLst>
                </p:cNvPr>
                <p:cNvSpPr/>
                <p:nvPr/>
              </p:nvSpPr>
              <p:spPr>
                <a:xfrm>
                  <a:off x="9194598" y="1408572"/>
                  <a:ext cx="16192" cy="49573"/>
                </a:xfrm>
                <a:custGeom>
                  <a:avLst/>
                  <a:gdLst>
                    <a:gd name="connsiteX0" fmla="*/ 0 w 16192"/>
                    <a:gd name="connsiteY0" fmla="*/ 0 h 49573"/>
                    <a:gd name="connsiteX1" fmla="*/ 4235 w 16192"/>
                    <a:gd name="connsiteY1" fmla="*/ 18310 h 49573"/>
                    <a:gd name="connsiteX2" fmla="*/ 12954 w 16192"/>
                    <a:gd name="connsiteY2" fmla="*/ 33381 h 49573"/>
                    <a:gd name="connsiteX3" fmla="*/ 16192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0" y="0"/>
                      </a:moveTo>
                      <a:cubicBezTo>
                        <a:pt x="249" y="8470"/>
                        <a:pt x="2367" y="14449"/>
                        <a:pt x="4235" y="18310"/>
                      </a:cubicBezTo>
                      <a:cubicBezTo>
                        <a:pt x="7225" y="24662"/>
                        <a:pt x="10214" y="26780"/>
                        <a:pt x="12954" y="33381"/>
                      </a:cubicBezTo>
                      <a:cubicBezTo>
                        <a:pt x="15694" y="39734"/>
                        <a:pt x="16192" y="45588"/>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6" name="Freeform 7095">
                  <a:extLst>
                    <a:ext uri="{FF2B5EF4-FFF2-40B4-BE49-F238E27FC236}">
                      <a16:creationId xmlns:a16="http://schemas.microsoft.com/office/drawing/2014/main" id="{359FCD07-C9C8-663C-6971-DE1DD15944CC}"/>
                    </a:ext>
                  </a:extLst>
                </p:cNvPr>
                <p:cNvSpPr/>
                <p:nvPr/>
              </p:nvSpPr>
              <p:spPr>
                <a:xfrm>
                  <a:off x="9199456" y="1401472"/>
                  <a:ext cx="17686" cy="49200"/>
                </a:xfrm>
                <a:custGeom>
                  <a:avLst/>
                  <a:gdLst>
                    <a:gd name="connsiteX0" fmla="*/ 17687 w 17686"/>
                    <a:gd name="connsiteY0" fmla="*/ 49200 h 49200"/>
                    <a:gd name="connsiteX1" fmla="*/ 9715 w 17686"/>
                    <a:gd name="connsiteY1" fmla="*/ 32136 h 49200"/>
                    <a:gd name="connsiteX2" fmla="*/ 7348 w 17686"/>
                    <a:gd name="connsiteY2" fmla="*/ 14822 h 49200"/>
                    <a:gd name="connsiteX3" fmla="*/ 0 w 17686"/>
                    <a:gd name="connsiteY3" fmla="*/ 0 h 49200"/>
                  </a:gdLst>
                  <a:ahLst/>
                  <a:cxnLst>
                    <a:cxn ang="0">
                      <a:pos x="connsiteX0" y="connsiteY0"/>
                    </a:cxn>
                    <a:cxn ang="0">
                      <a:pos x="connsiteX1" y="connsiteY1"/>
                    </a:cxn>
                    <a:cxn ang="0">
                      <a:pos x="connsiteX2" y="connsiteY2"/>
                    </a:cxn>
                    <a:cxn ang="0">
                      <a:pos x="connsiteX3" y="connsiteY3"/>
                    </a:cxn>
                  </a:cxnLst>
                  <a:rect l="l" t="t" r="r" b="b"/>
                  <a:pathLst>
                    <a:path w="17686" h="49200">
                      <a:moveTo>
                        <a:pt x="17687" y="49200"/>
                      </a:moveTo>
                      <a:cubicBezTo>
                        <a:pt x="12705" y="42474"/>
                        <a:pt x="10712" y="36371"/>
                        <a:pt x="9715" y="32136"/>
                      </a:cubicBezTo>
                      <a:cubicBezTo>
                        <a:pt x="8220" y="25285"/>
                        <a:pt x="9217" y="21673"/>
                        <a:pt x="7348" y="14822"/>
                      </a:cubicBezTo>
                      <a:cubicBezTo>
                        <a:pt x="5605" y="8096"/>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7" name="Freeform 7096">
                  <a:extLst>
                    <a:ext uri="{FF2B5EF4-FFF2-40B4-BE49-F238E27FC236}">
                      <a16:creationId xmlns:a16="http://schemas.microsoft.com/office/drawing/2014/main" id="{FBA743EC-B0E7-4EE4-6038-C986AFB57566}"/>
                    </a:ext>
                  </a:extLst>
                </p:cNvPr>
                <p:cNvSpPr/>
                <p:nvPr/>
              </p:nvSpPr>
              <p:spPr>
                <a:xfrm>
                  <a:off x="9182538" y="1387420"/>
                  <a:ext cx="26237" cy="26609"/>
                </a:xfrm>
                <a:custGeom>
                  <a:avLst/>
                  <a:gdLst>
                    <a:gd name="connsiteX0" fmla="*/ 25512 w 26237"/>
                    <a:gd name="connsiteY0" fmla="*/ 8945 h 26609"/>
                    <a:gd name="connsiteX1" fmla="*/ 17416 w 26237"/>
                    <a:gd name="connsiteY1" fmla="*/ 25885 h 26609"/>
                    <a:gd name="connsiteX2" fmla="*/ 725 w 26237"/>
                    <a:gd name="connsiteY2" fmla="*/ 17664 h 26609"/>
                    <a:gd name="connsiteX3" fmla="*/ 8821 w 26237"/>
                    <a:gd name="connsiteY3" fmla="*/ 724 h 26609"/>
                    <a:gd name="connsiteX4" fmla="*/ 25512 w 26237"/>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609">
                      <a:moveTo>
                        <a:pt x="25512" y="8945"/>
                      </a:moveTo>
                      <a:cubicBezTo>
                        <a:pt x="27879" y="15920"/>
                        <a:pt x="24266" y="23394"/>
                        <a:pt x="17416" y="25885"/>
                      </a:cubicBezTo>
                      <a:cubicBezTo>
                        <a:pt x="10565" y="28252"/>
                        <a:pt x="3092" y="24639"/>
                        <a:pt x="725" y="17664"/>
                      </a:cubicBezTo>
                      <a:cubicBezTo>
                        <a:pt x="-1641" y="10689"/>
                        <a:pt x="1971" y="3215"/>
                        <a:pt x="8821" y="724"/>
                      </a:cubicBezTo>
                      <a:cubicBezTo>
                        <a:pt x="15672" y="-1642"/>
                        <a:pt x="23146" y="1970"/>
                        <a:pt x="25512"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1" name="Graphic 2987">
                <a:extLst>
                  <a:ext uri="{FF2B5EF4-FFF2-40B4-BE49-F238E27FC236}">
                    <a16:creationId xmlns:a16="http://schemas.microsoft.com/office/drawing/2014/main" id="{DCF0ACD3-1FAA-23B4-8CF5-8999DF8499C2}"/>
                  </a:ext>
                </a:extLst>
              </p:cNvPr>
              <p:cNvGrpSpPr/>
              <p:nvPr/>
            </p:nvGrpSpPr>
            <p:grpSpPr>
              <a:xfrm>
                <a:off x="9155023" y="1397149"/>
                <a:ext cx="65273" cy="142685"/>
                <a:chOff x="9155023" y="1397149"/>
                <a:chExt cx="65273" cy="142685"/>
              </a:xfrm>
              <a:grpFill/>
            </p:grpSpPr>
            <p:sp>
              <p:nvSpPr>
                <p:cNvPr id="6966" name="Freeform 7098">
                  <a:extLst>
                    <a:ext uri="{FF2B5EF4-FFF2-40B4-BE49-F238E27FC236}">
                      <a16:creationId xmlns:a16="http://schemas.microsoft.com/office/drawing/2014/main" id="{ADAEDAE8-19CD-D12A-F588-0B7429661462}"/>
                    </a:ext>
                  </a:extLst>
                </p:cNvPr>
                <p:cNvSpPr/>
                <p:nvPr/>
              </p:nvSpPr>
              <p:spPr>
                <a:xfrm>
                  <a:off x="9192231" y="1468858"/>
                  <a:ext cx="16068" cy="49698"/>
                </a:xfrm>
                <a:custGeom>
                  <a:avLst/>
                  <a:gdLst>
                    <a:gd name="connsiteX0" fmla="*/ 16068 w 16068"/>
                    <a:gd name="connsiteY0" fmla="*/ 49699 h 49698"/>
                    <a:gd name="connsiteX1" fmla="*/ 11958 w 16068"/>
                    <a:gd name="connsiteY1" fmla="*/ 31264 h 49698"/>
                    <a:gd name="connsiteX2" fmla="*/ 3239 w 16068"/>
                    <a:gd name="connsiteY2" fmla="*/ 16193 h 49698"/>
                    <a:gd name="connsiteX3" fmla="*/ 0 w 16068"/>
                    <a:gd name="connsiteY3" fmla="*/ 0 h 49698"/>
                  </a:gdLst>
                  <a:ahLst/>
                  <a:cxnLst>
                    <a:cxn ang="0">
                      <a:pos x="connsiteX0" y="connsiteY0"/>
                    </a:cxn>
                    <a:cxn ang="0">
                      <a:pos x="connsiteX1" y="connsiteY1"/>
                    </a:cxn>
                    <a:cxn ang="0">
                      <a:pos x="connsiteX2" y="connsiteY2"/>
                    </a:cxn>
                    <a:cxn ang="0">
                      <a:pos x="connsiteX3" y="connsiteY3"/>
                    </a:cxn>
                  </a:cxnLst>
                  <a:rect l="l" t="t" r="r" b="b"/>
                  <a:pathLst>
                    <a:path w="16068" h="49698">
                      <a:moveTo>
                        <a:pt x="16068" y="49699"/>
                      </a:moveTo>
                      <a:cubicBezTo>
                        <a:pt x="15819" y="41229"/>
                        <a:pt x="13826" y="35250"/>
                        <a:pt x="11958" y="31264"/>
                      </a:cubicBezTo>
                      <a:cubicBezTo>
                        <a:pt x="8969" y="24912"/>
                        <a:pt x="5979" y="22794"/>
                        <a:pt x="3239" y="16193"/>
                      </a:cubicBezTo>
                      <a:cubicBezTo>
                        <a:pt x="623" y="9840"/>
                        <a:pt x="125"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7" name="Freeform 7099">
                  <a:extLst>
                    <a:ext uri="{FF2B5EF4-FFF2-40B4-BE49-F238E27FC236}">
                      <a16:creationId xmlns:a16="http://schemas.microsoft.com/office/drawing/2014/main" id="{B3D24E08-5E1C-71C1-FE8C-D16E3B6B292E}"/>
                    </a:ext>
                  </a:extLst>
                </p:cNvPr>
                <p:cNvSpPr/>
                <p:nvPr/>
              </p:nvSpPr>
              <p:spPr>
                <a:xfrm>
                  <a:off x="9185879" y="1476456"/>
                  <a:ext cx="17313" cy="49200"/>
                </a:xfrm>
                <a:custGeom>
                  <a:avLst/>
                  <a:gdLst>
                    <a:gd name="connsiteX0" fmla="*/ 0 w 17313"/>
                    <a:gd name="connsiteY0" fmla="*/ 0 h 49200"/>
                    <a:gd name="connsiteX1" fmla="*/ 7847 w 17313"/>
                    <a:gd name="connsiteY1" fmla="*/ 17064 h 49200"/>
                    <a:gd name="connsiteX2" fmla="*/ 10089 w 17313"/>
                    <a:gd name="connsiteY2" fmla="*/ 34378 h 49200"/>
                    <a:gd name="connsiteX3" fmla="*/ 17314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975" y="12829"/>
                        <a:pt x="7847" y="17064"/>
                      </a:cubicBezTo>
                      <a:cubicBezTo>
                        <a:pt x="9342" y="23915"/>
                        <a:pt x="8221" y="27527"/>
                        <a:pt x="10089" y="34378"/>
                      </a:cubicBezTo>
                      <a:cubicBezTo>
                        <a:pt x="11833" y="41104"/>
                        <a:pt x="14947" y="46086"/>
                        <a:pt x="17314"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8" name="Freeform 7100">
                  <a:extLst>
                    <a:ext uri="{FF2B5EF4-FFF2-40B4-BE49-F238E27FC236}">
                      <a16:creationId xmlns:a16="http://schemas.microsoft.com/office/drawing/2014/main" id="{C86A36CD-676A-9675-F0B0-16522F4E77C0}"/>
                    </a:ext>
                  </a:extLst>
                </p:cNvPr>
                <p:cNvSpPr/>
                <p:nvPr/>
              </p:nvSpPr>
              <p:spPr>
                <a:xfrm>
                  <a:off x="9193775" y="1513160"/>
                  <a:ext cx="26522" cy="26673"/>
                </a:xfrm>
                <a:custGeom>
                  <a:avLst/>
                  <a:gdLst>
                    <a:gd name="connsiteX0" fmla="*/ 699 w 26522"/>
                    <a:gd name="connsiteY0" fmla="*/ 17852 h 26673"/>
                    <a:gd name="connsiteX1" fmla="*/ 9044 w 26522"/>
                    <a:gd name="connsiteY1" fmla="*/ 788 h 26673"/>
                    <a:gd name="connsiteX2" fmla="*/ 25859 w 26522"/>
                    <a:gd name="connsiteY2" fmla="*/ 8884 h 26673"/>
                    <a:gd name="connsiteX3" fmla="*/ 17514 w 26522"/>
                    <a:gd name="connsiteY3" fmla="*/ 25948 h 26673"/>
                    <a:gd name="connsiteX4" fmla="*/ 699 w 26522"/>
                    <a:gd name="connsiteY4" fmla="*/ 17852 h 26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22" h="26673">
                      <a:moveTo>
                        <a:pt x="699" y="17852"/>
                      </a:moveTo>
                      <a:cubicBezTo>
                        <a:pt x="-1668" y="10877"/>
                        <a:pt x="2193" y="3279"/>
                        <a:pt x="9044" y="788"/>
                      </a:cubicBezTo>
                      <a:cubicBezTo>
                        <a:pt x="16020" y="-1704"/>
                        <a:pt x="23617" y="1909"/>
                        <a:pt x="25859" y="8884"/>
                      </a:cubicBezTo>
                      <a:cubicBezTo>
                        <a:pt x="28101" y="15859"/>
                        <a:pt x="24489" y="23457"/>
                        <a:pt x="17514" y="25948"/>
                      </a:cubicBezTo>
                      <a:cubicBezTo>
                        <a:pt x="10539" y="28315"/>
                        <a:pt x="2940" y="24703"/>
                        <a:pt x="699" y="178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9" name="Freeform 7101">
                  <a:extLst>
                    <a:ext uri="{FF2B5EF4-FFF2-40B4-BE49-F238E27FC236}">
                      <a16:creationId xmlns:a16="http://schemas.microsoft.com/office/drawing/2014/main" id="{9697AD29-0A31-D7EC-617F-38824D879966}"/>
                    </a:ext>
                  </a:extLst>
                </p:cNvPr>
                <p:cNvSpPr/>
                <p:nvPr/>
              </p:nvSpPr>
              <p:spPr>
                <a:xfrm>
                  <a:off x="9166822" y="1418412"/>
                  <a:ext cx="16067" cy="49698"/>
                </a:xfrm>
                <a:custGeom>
                  <a:avLst/>
                  <a:gdLst>
                    <a:gd name="connsiteX0" fmla="*/ 0 w 16067"/>
                    <a:gd name="connsiteY0" fmla="*/ 0 h 49698"/>
                    <a:gd name="connsiteX1" fmla="*/ 4111 w 16067"/>
                    <a:gd name="connsiteY1" fmla="*/ 18435 h 49698"/>
                    <a:gd name="connsiteX2" fmla="*/ 12829 w 16067"/>
                    <a:gd name="connsiteY2" fmla="*/ 33506 h 49698"/>
                    <a:gd name="connsiteX3" fmla="*/ 16068 w 16067"/>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6067" h="49698">
                      <a:moveTo>
                        <a:pt x="0" y="0"/>
                      </a:moveTo>
                      <a:cubicBezTo>
                        <a:pt x="249" y="8470"/>
                        <a:pt x="2242" y="14449"/>
                        <a:pt x="4111" y="18435"/>
                      </a:cubicBezTo>
                      <a:cubicBezTo>
                        <a:pt x="7100" y="24787"/>
                        <a:pt x="10089" y="26904"/>
                        <a:pt x="12829" y="33506"/>
                      </a:cubicBezTo>
                      <a:cubicBezTo>
                        <a:pt x="15445" y="39858"/>
                        <a:pt x="15943" y="45713"/>
                        <a:pt x="1606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0" name="Freeform 7102">
                  <a:extLst>
                    <a:ext uri="{FF2B5EF4-FFF2-40B4-BE49-F238E27FC236}">
                      <a16:creationId xmlns:a16="http://schemas.microsoft.com/office/drawing/2014/main" id="{1962EE70-57AC-32E0-EB3E-6634E35646DA}"/>
                    </a:ext>
                  </a:extLst>
                </p:cNvPr>
                <p:cNvSpPr/>
                <p:nvPr/>
              </p:nvSpPr>
              <p:spPr>
                <a:xfrm>
                  <a:off x="9171804" y="1411312"/>
                  <a:ext cx="17313" cy="49200"/>
                </a:xfrm>
                <a:custGeom>
                  <a:avLst/>
                  <a:gdLst>
                    <a:gd name="connsiteX0" fmla="*/ 17314 w 17313"/>
                    <a:gd name="connsiteY0" fmla="*/ 49200 h 49200"/>
                    <a:gd name="connsiteX1" fmla="*/ 9467 w 17313"/>
                    <a:gd name="connsiteY1" fmla="*/ 32136 h 49200"/>
                    <a:gd name="connsiteX2" fmla="*/ 7225 w 17313"/>
                    <a:gd name="connsiteY2" fmla="*/ 14822 h 49200"/>
                    <a:gd name="connsiteX3" fmla="*/ 0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49200"/>
                      </a:moveTo>
                      <a:cubicBezTo>
                        <a:pt x="12456" y="42350"/>
                        <a:pt x="10339" y="36371"/>
                        <a:pt x="9467" y="32136"/>
                      </a:cubicBezTo>
                      <a:cubicBezTo>
                        <a:pt x="7972" y="25285"/>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71" name="Freeform 7103">
                  <a:extLst>
                    <a:ext uri="{FF2B5EF4-FFF2-40B4-BE49-F238E27FC236}">
                      <a16:creationId xmlns:a16="http://schemas.microsoft.com/office/drawing/2014/main" id="{C8128CEB-FFA5-1B6A-9E54-B892E2F4F139}"/>
                    </a:ext>
                  </a:extLst>
                </p:cNvPr>
                <p:cNvSpPr/>
                <p:nvPr/>
              </p:nvSpPr>
              <p:spPr>
                <a:xfrm>
                  <a:off x="9155023" y="1397149"/>
                  <a:ext cx="26100" cy="26596"/>
                </a:xfrm>
                <a:custGeom>
                  <a:avLst/>
                  <a:gdLst>
                    <a:gd name="connsiteX0" fmla="*/ 25375 w 26100"/>
                    <a:gd name="connsiteY0" fmla="*/ 8933 h 26596"/>
                    <a:gd name="connsiteX1" fmla="*/ 17279 w 26100"/>
                    <a:gd name="connsiteY1" fmla="*/ 25872 h 26596"/>
                    <a:gd name="connsiteX2" fmla="*/ 713 w 26100"/>
                    <a:gd name="connsiteY2" fmla="*/ 17652 h 26596"/>
                    <a:gd name="connsiteX3" fmla="*/ 8809 w 26100"/>
                    <a:gd name="connsiteY3" fmla="*/ 712 h 26596"/>
                    <a:gd name="connsiteX4" fmla="*/ 25375 w 26100"/>
                    <a:gd name="connsiteY4" fmla="*/ 893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0" h="26595">
                      <a:moveTo>
                        <a:pt x="25375" y="8933"/>
                      </a:moveTo>
                      <a:cubicBezTo>
                        <a:pt x="27742" y="15908"/>
                        <a:pt x="24130" y="23506"/>
                        <a:pt x="17279" y="25872"/>
                      </a:cubicBezTo>
                      <a:cubicBezTo>
                        <a:pt x="10429" y="28239"/>
                        <a:pt x="2955" y="24627"/>
                        <a:pt x="713" y="17652"/>
                      </a:cubicBezTo>
                      <a:cubicBezTo>
                        <a:pt x="-1654" y="10676"/>
                        <a:pt x="2083" y="3078"/>
                        <a:pt x="8809" y="712"/>
                      </a:cubicBezTo>
                      <a:cubicBezTo>
                        <a:pt x="15535" y="-1655"/>
                        <a:pt x="23008" y="2082"/>
                        <a:pt x="25375" y="893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2" name="Graphic 2987">
                <a:extLst>
                  <a:ext uri="{FF2B5EF4-FFF2-40B4-BE49-F238E27FC236}">
                    <a16:creationId xmlns:a16="http://schemas.microsoft.com/office/drawing/2014/main" id="{32754AF9-4385-A743-B869-6DEB5E1E9799}"/>
                  </a:ext>
                </a:extLst>
              </p:cNvPr>
              <p:cNvGrpSpPr/>
              <p:nvPr/>
            </p:nvGrpSpPr>
            <p:grpSpPr>
              <a:xfrm>
                <a:off x="9126935" y="1406746"/>
                <a:ext cx="65245" cy="142590"/>
                <a:chOff x="9126935" y="1406746"/>
                <a:chExt cx="65245" cy="142590"/>
              </a:xfrm>
              <a:grpFill/>
            </p:grpSpPr>
            <p:sp>
              <p:nvSpPr>
                <p:cNvPr id="6960" name="Freeform 7105">
                  <a:extLst>
                    <a:ext uri="{FF2B5EF4-FFF2-40B4-BE49-F238E27FC236}">
                      <a16:creationId xmlns:a16="http://schemas.microsoft.com/office/drawing/2014/main" id="{62FAAB58-17E7-C088-8694-550040136C2C}"/>
                    </a:ext>
                  </a:extLst>
                </p:cNvPr>
                <p:cNvSpPr/>
                <p:nvPr/>
              </p:nvSpPr>
              <p:spPr>
                <a:xfrm>
                  <a:off x="9164206" y="1478574"/>
                  <a:ext cx="15819" cy="49698"/>
                </a:xfrm>
                <a:custGeom>
                  <a:avLst/>
                  <a:gdLst>
                    <a:gd name="connsiteX0" fmla="*/ 15819 w 15819"/>
                    <a:gd name="connsiteY0" fmla="*/ 49699 h 49698"/>
                    <a:gd name="connsiteX1" fmla="*/ 11833 w 15819"/>
                    <a:gd name="connsiteY1" fmla="*/ 31389 h 49698"/>
                    <a:gd name="connsiteX2" fmla="*/ 3114 w 15819"/>
                    <a:gd name="connsiteY2" fmla="*/ 16192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9"/>
                      </a:moveTo>
                      <a:cubicBezTo>
                        <a:pt x="15694" y="41353"/>
                        <a:pt x="13702" y="35250"/>
                        <a:pt x="11833" y="31389"/>
                      </a:cubicBezTo>
                      <a:cubicBezTo>
                        <a:pt x="8844" y="25036"/>
                        <a:pt x="5855" y="22794"/>
                        <a:pt x="3114" y="16192"/>
                      </a:cubicBezTo>
                      <a:cubicBezTo>
                        <a:pt x="49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1" name="Freeform 7106">
                  <a:extLst>
                    <a:ext uri="{FF2B5EF4-FFF2-40B4-BE49-F238E27FC236}">
                      <a16:creationId xmlns:a16="http://schemas.microsoft.com/office/drawing/2014/main" id="{35FF5408-CF3C-FADA-E161-4EF83C79E663}"/>
                    </a:ext>
                  </a:extLst>
                </p:cNvPr>
                <p:cNvSpPr/>
                <p:nvPr/>
              </p:nvSpPr>
              <p:spPr>
                <a:xfrm>
                  <a:off x="9157729" y="1485923"/>
                  <a:ext cx="17065" cy="49200"/>
                </a:xfrm>
                <a:custGeom>
                  <a:avLst/>
                  <a:gdLst>
                    <a:gd name="connsiteX0" fmla="*/ 0 w 17065"/>
                    <a:gd name="connsiteY0" fmla="*/ 0 h 49200"/>
                    <a:gd name="connsiteX1" fmla="*/ 7723 w 17065"/>
                    <a:gd name="connsiteY1" fmla="*/ 17189 h 49200"/>
                    <a:gd name="connsiteX2" fmla="*/ 9841 w 17065"/>
                    <a:gd name="connsiteY2" fmla="*/ 34378 h 49200"/>
                    <a:gd name="connsiteX3" fmla="*/ 17065 w 17065"/>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5" h="49200">
                      <a:moveTo>
                        <a:pt x="0" y="0"/>
                      </a:moveTo>
                      <a:cubicBezTo>
                        <a:pt x="4858" y="6851"/>
                        <a:pt x="6851" y="12954"/>
                        <a:pt x="7723" y="17189"/>
                      </a:cubicBezTo>
                      <a:cubicBezTo>
                        <a:pt x="9218" y="24040"/>
                        <a:pt x="8097" y="27527"/>
                        <a:pt x="9841" y="34378"/>
                      </a:cubicBezTo>
                      <a:cubicBezTo>
                        <a:pt x="11585" y="41104"/>
                        <a:pt x="14698" y="46086"/>
                        <a:pt x="17065"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2" name="Freeform 7107">
                  <a:extLst>
                    <a:ext uri="{FF2B5EF4-FFF2-40B4-BE49-F238E27FC236}">
                      <a16:creationId xmlns:a16="http://schemas.microsoft.com/office/drawing/2014/main" id="{6384328B-AA1C-B89D-4F2F-C3BCDFC3C254}"/>
                    </a:ext>
                  </a:extLst>
                </p:cNvPr>
                <p:cNvSpPr/>
                <p:nvPr/>
              </p:nvSpPr>
              <p:spPr>
                <a:xfrm>
                  <a:off x="9165301" y="1522900"/>
                  <a:ext cx="26879" cy="26436"/>
                </a:xfrm>
                <a:custGeom>
                  <a:avLst/>
                  <a:gdLst>
                    <a:gd name="connsiteX0" fmla="*/ 649 w 26879"/>
                    <a:gd name="connsiteY0" fmla="*/ 17205 h 26436"/>
                    <a:gd name="connsiteX1" fmla="*/ 9243 w 26879"/>
                    <a:gd name="connsiteY1" fmla="*/ 639 h 26436"/>
                    <a:gd name="connsiteX2" fmla="*/ 26183 w 26879"/>
                    <a:gd name="connsiteY2" fmla="*/ 9108 h 26436"/>
                    <a:gd name="connsiteX3" fmla="*/ 17589 w 26879"/>
                    <a:gd name="connsiteY3" fmla="*/ 25799 h 26436"/>
                    <a:gd name="connsiteX4" fmla="*/ 649 w 26879"/>
                    <a:gd name="connsiteY4" fmla="*/ 17205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8" h="26436">
                      <a:moveTo>
                        <a:pt x="649" y="17205"/>
                      </a:moveTo>
                      <a:cubicBezTo>
                        <a:pt x="-1593" y="10229"/>
                        <a:pt x="2144" y="2756"/>
                        <a:pt x="9243" y="639"/>
                      </a:cubicBezTo>
                      <a:cubicBezTo>
                        <a:pt x="16219" y="-1604"/>
                        <a:pt x="23816" y="2258"/>
                        <a:pt x="26183" y="9108"/>
                      </a:cubicBezTo>
                      <a:cubicBezTo>
                        <a:pt x="28550" y="16084"/>
                        <a:pt x="24688" y="23557"/>
                        <a:pt x="17589" y="25799"/>
                      </a:cubicBezTo>
                      <a:cubicBezTo>
                        <a:pt x="10489" y="28041"/>
                        <a:pt x="2891" y="24180"/>
                        <a:pt x="649" y="17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3" name="Freeform 7108">
                  <a:extLst>
                    <a:ext uri="{FF2B5EF4-FFF2-40B4-BE49-F238E27FC236}">
                      <a16:creationId xmlns:a16="http://schemas.microsoft.com/office/drawing/2014/main" id="{D579F57B-1665-4259-1A47-BD791A8964FE}"/>
                    </a:ext>
                  </a:extLst>
                </p:cNvPr>
                <p:cNvSpPr/>
                <p:nvPr/>
              </p:nvSpPr>
              <p:spPr>
                <a:xfrm>
                  <a:off x="9138921" y="1427754"/>
                  <a:ext cx="15693" cy="49698"/>
                </a:xfrm>
                <a:custGeom>
                  <a:avLst/>
                  <a:gdLst>
                    <a:gd name="connsiteX0" fmla="*/ 0 w 15693"/>
                    <a:gd name="connsiteY0" fmla="*/ 0 h 49698"/>
                    <a:gd name="connsiteX1" fmla="*/ 3986 w 15693"/>
                    <a:gd name="connsiteY1" fmla="*/ 18310 h 49698"/>
                    <a:gd name="connsiteX2" fmla="*/ 12580 w 15693"/>
                    <a:gd name="connsiteY2" fmla="*/ 33506 h 49698"/>
                    <a:gd name="connsiteX3" fmla="*/ 15694 w 1569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3" h="49698">
                      <a:moveTo>
                        <a:pt x="0" y="0"/>
                      </a:moveTo>
                      <a:cubicBezTo>
                        <a:pt x="124" y="8345"/>
                        <a:pt x="2242" y="14449"/>
                        <a:pt x="3986" y="18310"/>
                      </a:cubicBezTo>
                      <a:cubicBezTo>
                        <a:pt x="6851" y="24662"/>
                        <a:pt x="9840" y="26904"/>
                        <a:pt x="12580" y="33506"/>
                      </a:cubicBezTo>
                      <a:cubicBezTo>
                        <a:pt x="15196" y="39858"/>
                        <a:pt x="15694" y="45713"/>
                        <a:pt x="15694"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4" name="Freeform 7109">
                  <a:extLst>
                    <a:ext uri="{FF2B5EF4-FFF2-40B4-BE49-F238E27FC236}">
                      <a16:creationId xmlns:a16="http://schemas.microsoft.com/office/drawing/2014/main" id="{F1403A9B-54DA-01C4-2EFB-2DB5ECC495A1}"/>
                    </a:ext>
                  </a:extLst>
                </p:cNvPr>
                <p:cNvSpPr/>
                <p:nvPr/>
              </p:nvSpPr>
              <p:spPr>
                <a:xfrm>
                  <a:off x="9144028" y="1420903"/>
                  <a:ext cx="17064" cy="49200"/>
                </a:xfrm>
                <a:custGeom>
                  <a:avLst/>
                  <a:gdLst>
                    <a:gd name="connsiteX0" fmla="*/ 17064 w 17064"/>
                    <a:gd name="connsiteY0" fmla="*/ 49200 h 49200"/>
                    <a:gd name="connsiteX1" fmla="*/ 9342 w 17064"/>
                    <a:gd name="connsiteY1" fmla="*/ 32011 h 49200"/>
                    <a:gd name="connsiteX2" fmla="*/ 7225 w 17064"/>
                    <a:gd name="connsiteY2" fmla="*/ 14822 h 49200"/>
                    <a:gd name="connsiteX3" fmla="*/ 0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49200"/>
                      </a:moveTo>
                      <a:cubicBezTo>
                        <a:pt x="12206" y="42350"/>
                        <a:pt x="10214" y="36246"/>
                        <a:pt x="9342" y="32011"/>
                      </a:cubicBezTo>
                      <a:cubicBezTo>
                        <a:pt x="7847" y="25161"/>
                        <a:pt x="8969" y="21673"/>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65" name="Freeform 7110">
                  <a:extLst>
                    <a:ext uri="{FF2B5EF4-FFF2-40B4-BE49-F238E27FC236}">
                      <a16:creationId xmlns:a16="http://schemas.microsoft.com/office/drawing/2014/main" id="{42F46072-A022-D677-3343-AD76AFBC0606}"/>
                    </a:ext>
                  </a:extLst>
                </p:cNvPr>
                <p:cNvSpPr/>
                <p:nvPr/>
              </p:nvSpPr>
              <p:spPr>
                <a:xfrm>
                  <a:off x="9126935" y="1406746"/>
                  <a:ext cx="26397" cy="26378"/>
                </a:xfrm>
                <a:custGeom>
                  <a:avLst/>
                  <a:gdLst>
                    <a:gd name="connsiteX0" fmla="*/ 25687 w 26397"/>
                    <a:gd name="connsiteY0" fmla="*/ 9175 h 26378"/>
                    <a:gd name="connsiteX1" fmla="*/ 17342 w 26397"/>
                    <a:gd name="connsiteY1" fmla="*/ 25741 h 26378"/>
                    <a:gd name="connsiteX2" fmla="*/ 651 w 26397"/>
                    <a:gd name="connsiteY2" fmla="*/ 17146 h 26378"/>
                    <a:gd name="connsiteX3" fmla="*/ 8996 w 26397"/>
                    <a:gd name="connsiteY3" fmla="*/ 580 h 26378"/>
                    <a:gd name="connsiteX4" fmla="*/ 25687 w 26397"/>
                    <a:gd name="connsiteY4" fmla="*/ 9175 h 26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377">
                      <a:moveTo>
                        <a:pt x="25687" y="9175"/>
                      </a:moveTo>
                      <a:cubicBezTo>
                        <a:pt x="28054" y="16150"/>
                        <a:pt x="24317" y="23623"/>
                        <a:pt x="17342" y="25741"/>
                      </a:cubicBezTo>
                      <a:cubicBezTo>
                        <a:pt x="10367" y="27983"/>
                        <a:pt x="2893" y="24122"/>
                        <a:pt x="651" y="17146"/>
                      </a:cubicBezTo>
                      <a:cubicBezTo>
                        <a:pt x="-1591" y="10171"/>
                        <a:pt x="2145" y="2822"/>
                        <a:pt x="8996" y="580"/>
                      </a:cubicBezTo>
                      <a:cubicBezTo>
                        <a:pt x="15972" y="-1537"/>
                        <a:pt x="23445" y="2324"/>
                        <a:pt x="25687" y="91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3" name="Graphic 2987">
                <a:extLst>
                  <a:ext uri="{FF2B5EF4-FFF2-40B4-BE49-F238E27FC236}">
                    <a16:creationId xmlns:a16="http://schemas.microsoft.com/office/drawing/2014/main" id="{3BF4D8DA-5E3B-D5EF-EF61-C5D4989C57CD}"/>
                  </a:ext>
                </a:extLst>
              </p:cNvPr>
              <p:cNvGrpSpPr/>
              <p:nvPr/>
            </p:nvGrpSpPr>
            <p:grpSpPr>
              <a:xfrm>
                <a:off x="9098911" y="1415533"/>
                <a:ext cx="64687" cy="142772"/>
                <a:chOff x="9098911" y="1415533"/>
                <a:chExt cx="64687" cy="142772"/>
              </a:xfrm>
              <a:grpFill/>
            </p:grpSpPr>
            <p:sp>
              <p:nvSpPr>
                <p:cNvPr id="6954" name="Freeform 7112">
                  <a:extLst>
                    <a:ext uri="{FF2B5EF4-FFF2-40B4-BE49-F238E27FC236}">
                      <a16:creationId xmlns:a16="http://schemas.microsoft.com/office/drawing/2014/main" id="{517668E5-D03E-68A9-5956-7455C91A6D38}"/>
                    </a:ext>
                  </a:extLst>
                </p:cNvPr>
                <p:cNvSpPr/>
                <p:nvPr/>
              </p:nvSpPr>
              <p:spPr>
                <a:xfrm>
                  <a:off x="9135914" y="1487542"/>
                  <a:ext cx="15586" cy="49698"/>
                </a:xfrm>
                <a:custGeom>
                  <a:avLst/>
                  <a:gdLst>
                    <a:gd name="connsiteX0" fmla="*/ 15587 w 15586"/>
                    <a:gd name="connsiteY0" fmla="*/ 49699 h 49698"/>
                    <a:gd name="connsiteX1" fmla="*/ 11602 w 15586"/>
                    <a:gd name="connsiteY1" fmla="*/ 31389 h 49698"/>
                    <a:gd name="connsiteX2" fmla="*/ 3007 w 15586"/>
                    <a:gd name="connsiteY2" fmla="*/ 16193 h 49698"/>
                    <a:gd name="connsiteX3" fmla="*/ 17 w 15586"/>
                    <a:gd name="connsiteY3" fmla="*/ 0 h 49698"/>
                  </a:gdLst>
                  <a:ahLst/>
                  <a:cxnLst>
                    <a:cxn ang="0">
                      <a:pos x="connsiteX0" y="connsiteY0"/>
                    </a:cxn>
                    <a:cxn ang="0">
                      <a:pos x="connsiteX1" y="connsiteY1"/>
                    </a:cxn>
                    <a:cxn ang="0">
                      <a:pos x="connsiteX2" y="connsiteY2"/>
                    </a:cxn>
                    <a:cxn ang="0">
                      <a:pos x="connsiteX3" y="connsiteY3"/>
                    </a:cxn>
                  </a:cxnLst>
                  <a:rect l="l" t="t" r="r" b="b"/>
                  <a:pathLst>
                    <a:path w="15586" h="49698">
                      <a:moveTo>
                        <a:pt x="15587" y="49699"/>
                      </a:moveTo>
                      <a:cubicBezTo>
                        <a:pt x="15463" y="41353"/>
                        <a:pt x="13470" y="35250"/>
                        <a:pt x="11602" y="31389"/>
                      </a:cubicBezTo>
                      <a:cubicBezTo>
                        <a:pt x="8736" y="25036"/>
                        <a:pt x="5747" y="22794"/>
                        <a:pt x="3007" y="16193"/>
                      </a:cubicBezTo>
                      <a:cubicBezTo>
                        <a:pt x="391" y="9840"/>
                        <a:pt x="-107" y="3986"/>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5" name="Freeform 7113">
                  <a:extLst>
                    <a:ext uri="{FF2B5EF4-FFF2-40B4-BE49-F238E27FC236}">
                      <a16:creationId xmlns:a16="http://schemas.microsoft.com/office/drawing/2014/main" id="{D7AF616C-3734-C2BB-4E56-E1E08C3674FD}"/>
                    </a:ext>
                  </a:extLst>
                </p:cNvPr>
                <p:cNvSpPr/>
                <p:nvPr/>
              </p:nvSpPr>
              <p:spPr>
                <a:xfrm>
                  <a:off x="9129455" y="1494766"/>
                  <a:ext cx="16814" cy="49449"/>
                </a:xfrm>
                <a:custGeom>
                  <a:avLst/>
                  <a:gdLst>
                    <a:gd name="connsiteX0" fmla="*/ 0 w 16814"/>
                    <a:gd name="connsiteY0" fmla="*/ 0 h 49449"/>
                    <a:gd name="connsiteX1" fmla="*/ 7723 w 16814"/>
                    <a:gd name="connsiteY1" fmla="*/ 17189 h 49449"/>
                    <a:gd name="connsiteX2" fmla="*/ 9715 w 16814"/>
                    <a:gd name="connsiteY2" fmla="*/ 34502 h 49449"/>
                    <a:gd name="connsiteX3" fmla="*/ 16815 w 16814"/>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814" h="49449">
                      <a:moveTo>
                        <a:pt x="0" y="0"/>
                      </a:moveTo>
                      <a:cubicBezTo>
                        <a:pt x="4858" y="6851"/>
                        <a:pt x="6851" y="12954"/>
                        <a:pt x="7723" y="17189"/>
                      </a:cubicBezTo>
                      <a:cubicBezTo>
                        <a:pt x="9092" y="24040"/>
                        <a:pt x="8096" y="27527"/>
                        <a:pt x="9715" y="34502"/>
                      </a:cubicBezTo>
                      <a:cubicBezTo>
                        <a:pt x="11334" y="41229"/>
                        <a:pt x="14448" y="46211"/>
                        <a:pt x="16815"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6" name="Freeform 7114">
                  <a:extLst>
                    <a:ext uri="{FF2B5EF4-FFF2-40B4-BE49-F238E27FC236}">
                      <a16:creationId xmlns:a16="http://schemas.microsoft.com/office/drawing/2014/main" id="{AC0CC52E-132F-A6F2-0B6E-26BAD5ECAFA3}"/>
                    </a:ext>
                  </a:extLst>
                </p:cNvPr>
                <p:cNvSpPr/>
                <p:nvPr/>
              </p:nvSpPr>
              <p:spPr>
                <a:xfrm>
                  <a:off x="9136789" y="1531869"/>
                  <a:ext cx="26809" cy="26435"/>
                </a:xfrm>
                <a:custGeom>
                  <a:avLst/>
                  <a:gdLst>
                    <a:gd name="connsiteX0" fmla="*/ 638 w 26809"/>
                    <a:gd name="connsiteY0" fmla="*/ 17204 h 26435"/>
                    <a:gd name="connsiteX1" fmla="*/ 9232 w 26809"/>
                    <a:gd name="connsiteY1" fmla="*/ 638 h 26435"/>
                    <a:gd name="connsiteX2" fmla="*/ 26172 w 26809"/>
                    <a:gd name="connsiteY2" fmla="*/ 9232 h 26435"/>
                    <a:gd name="connsiteX3" fmla="*/ 17578 w 26809"/>
                    <a:gd name="connsiteY3" fmla="*/ 25798 h 26435"/>
                    <a:gd name="connsiteX4" fmla="*/ 638 w 26809"/>
                    <a:gd name="connsiteY4" fmla="*/ 1720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9" h="26435">
                      <a:moveTo>
                        <a:pt x="638" y="17204"/>
                      </a:moveTo>
                      <a:cubicBezTo>
                        <a:pt x="-1605" y="10229"/>
                        <a:pt x="2256" y="2755"/>
                        <a:pt x="9232" y="638"/>
                      </a:cubicBezTo>
                      <a:cubicBezTo>
                        <a:pt x="16208" y="-1604"/>
                        <a:pt x="23805" y="2257"/>
                        <a:pt x="26172" y="9232"/>
                      </a:cubicBezTo>
                      <a:cubicBezTo>
                        <a:pt x="28414" y="16207"/>
                        <a:pt x="24553" y="23681"/>
                        <a:pt x="17578" y="25798"/>
                      </a:cubicBezTo>
                      <a:cubicBezTo>
                        <a:pt x="10478" y="28040"/>
                        <a:pt x="2880" y="24179"/>
                        <a:pt x="638" y="172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7" name="Freeform 7115">
                  <a:extLst>
                    <a:ext uri="{FF2B5EF4-FFF2-40B4-BE49-F238E27FC236}">
                      <a16:creationId xmlns:a16="http://schemas.microsoft.com/office/drawing/2014/main" id="{26EA2D29-107B-FAA1-C6FE-5FFE20DB38A6}"/>
                    </a:ext>
                  </a:extLst>
                </p:cNvPr>
                <p:cNvSpPr/>
                <p:nvPr/>
              </p:nvSpPr>
              <p:spPr>
                <a:xfrm>
                  <a:off x="9110896" y="1436598"/>
                  <a:ext cx="15586" cy="49698"/>
                </a:xfrm>
                <a:custGeom>
                  <a:avLst/>
                  <a:gdLst>
                    <a:gd name="connsiteX0" fmla="*/ 0 w 15586"/>
                    <a:gd name="connsiteY0" fmla="*/ 0 h 49698"/>
                    <a:gd name="connsiteX1" fmla="*/ 3986 w 15586"/>
                    <a:gd name="connsiteY1" fmla="*/ 18310 h 49698"/>
                    <a:gd name="connsiteX2" fmla="*/ 12580 w 15586"/>
                    <a:gd name="connsiteY2" fmla="*/ 33506 h 49698"/>
                    <a:gd name="connsiteX3" fmla="*/ 15570 w 15586"/>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86" h="49698">
                      <a:moveTo>
                        <a:pt x="0" y="0"/>
                      </a:moveTo>
                      <a:cubicBezTo>
                        <a:pt x="124" y="8345"/>
                        <a:pt x="2117" y="14449"/>
                        <a:pt x="3986" y="18310"/>
                      </a:cubicBezTo>
                      <a:cubicBezTo>
                        <a:pt x="6851" y="24662"/>
                        <a:pt x="9840" y="26904"/>
                        <a:pt x="12580" y="33506"/>
                      </a:cubicBezTo>
                      <a:cubicBezTo>
                        <a:pt x="15196" y="39858"/>
                        <a:pt x="15694" y="45713"/>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8" name="Freeform 7116">
                  <a:extLst>
                    <a:ext uri="{FF2B5EF4-FFF2-40B4-BE49-F238E27FC236}">
                      <a16:creationId xmlns:a16="http://schemas.microsoft.com/office/drawing/2014/main" id="{BD0C32BB-2D9C-BE6C-CBAA-69874579F3A3}"/>
                    </a:ext>
                  </a:extLst>
                </p:cNvPr>
                <p:cNvSpPr/>
                <p:nvPr/>
              </p:nvSpPr>
              <p:spPr>
                <a:xfrm>
                  <a:off x="9116002" y="1429622"/>
                  <a:ext cx="16939" cy="49449"/>
                </a:xfrm>
                <a:custGeom>
                  <a:avLst/>
                  <a:gdLst>
                    <a:gd name="connsiteX0" fmla="*/ 16940 w 16939"/>
                    <a:gd name="connsiteY0" fmla="*/ 49449 h 49449"/>
                    <a:gd name="connsiteX1" fmla="*/ 9217 w 16939"/>
                    <a:gd name="connsiteY1" fmla="*/ 32260 h 49449"/>
                    <a:gd name="connsiteX2" fmla="*/ 7100 w 16939"/>
                    <a:gd name="connsiteY2" fmla="*/ 14947 h 49449"/>
                    <a:gd name="connsiteX3" fmla="*/ 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16940" y="49449"/>
                      </a:moveTo>
                      <a:cubicBezTo>
                        <a:pt x="12082" y="42599"/>
                        <a:pt x="10089" y="36495"/>
                        <a:pt x="9217" y="32260"/>
                      </a:cubicBezTo>
                      <a:cubicBezTo>
                        <a:pt x="7847" y="25410"/>
                        <a:pt x="8844" y="21922"/>
                        <a:pt x="7100" y="14947"/>
                      </a:cubicBezTo>
                      <a:cubicBezTo>
                        <a:pt x="5481"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9" name="Freeform 7117">
                  <a:extLst>
                    <a:ext uri="{FF2B5EF4-FFF2-40B4-BE49-F238E27FC236}">
                      <a16:creationId xmlns:a16="http://schemas.microsoft.com/office/drawing/2014/main" id="{E2D40B10-6A00-1FF6-E190-CA57C4838415}"/>
                    </a:ext>
                  </a:extLst>
                </p:cNvPr>
                <p:cNvSpPr/>
                <p:nvPr/>
              </p:nvSpPr>
              <p:spPr>
                <a:xfrm>
                  <a:off x="9098911" y="1415533"/>
                  <a:ext cx="26460" cy="26435"/>
                </a:xfrm>
                <a:custGeom>
                  <a:avLst/>
                  <a:gdLst>
                    <a:gd name="connsiteX0" fmla="*/ 25811 w 26460"/>
                    <a:gd name="connsiteY0" fmla="*/ 9232 h 26435"/>
                    <a:gd name="connsiteX1" fmla="*/ 17341 w 26460"/>
                    <a:gd name="connsiteY1" fmla="*/ 25798 h 26435"/>
                    <a:gd name="connsiteX2" fmla="*/ 650 w 26460"/>
                    <a:gd name="connsiteY2" fmla="*/ 17204 h 26435"/>
                    <a:gd name="connsiteX3" fmla="*/ 9120 w 26460"/>
                    <a:gd name="connsiteY3" fmla="*/ 638 h 26435"/>
                    <a:gd name="connsiteX4" fmla="*/ 25811 w 26460"/>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 h="26435">
                      <a:moveTo>
                        <a:pt x="25811" y="9232"/>
                      </a:moveTo>
                      <a:cubicBezTo>
                        <a:pt x="28053" y="16207"/>
                        <a:pt x="24316" y="23556"/>
                        <a:pt x="17341" y="25798"/>
                      </a:cubicBezTo>
                      <a:cubicBezTo>
                        <a:pt x="10366" y="28040"/>
                        <a:pt x="2892" y="24179"/>
                        <a:pt x="650" y="17204"/>
                      </a:cubicBezTo>
                      <a:cubicBezTo>
                        <a:pt x="-1592" y="10229"/>
                        <a:pt x="2145" y="2880"/>
                        <a:pt x="9120" y="638"/>
                      </a:cubicBezTo>
                      <a:cubicBezTo>
                        <a:pt x="15971" y="-1604"/>
                        <a:pt x="23444" y="2257"/>
                        <a:pt x="25811"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4" name="Graphic 2987">
                <a:extLst>
                  <a:ext uri="{FF2B5EF4-FFF2-40B4-BE49-F238E27FC236}">
                    <a16:creationId xmlns:a16="http://schemas.microsoft.com/office/drawing/2014/main" id="{283BA064-FE98-CB42-0E36-A97C6992E368}"/>
                  </a:ext>
                </a:extLst>
              </p:cNvPr>
              <p:cNvGrpSpPr/>
              <p:nvPr/>
            </p:nvGrpSpPr>
            <p:grpSpPr>
              <a:xfrm>
                <a:off x="9070897" y="1424310"/>
                <a:ext cx="64176" cy="143030"/>
                <a:chOff x="9070897" y="1424310"/>
                <a:chExt cx="64176" cy="143030"/>
              </a:xfrm>
              <a:grpFill/>
            </p:grpSpPr>
            <p:sp>
              <p:nvSpPr>
                <p:cNvPr id="6948" name="Freeform 7119">
                  <a:extLst>
                    <a:ext uri="{FF2B5EF4-FFF2-40B4-BE49-F238E27FC236}">
                      <a16:creationId xmlns:a16="http://schemas.microsoft.com/office/drawing/2014/main" id="{924BD9C9-3055-3C03-90FC-436BA2E0F0FF}"/>
                    </a:ext>
                  </a:extLst>
                </p:cNvPr>
                <p:cNvSpPr/>
                <p:nvPr/>
              </p:nvSpPr>
              <p:spPr>
                <a:xfrm>
                  <a:off x="9107657" y="1496385"/>
                  <a:ext cx="15320" cy="49823"/>
                </a:xfrm>
                <a:custGeom>
                  <a:avLst/>
                  <a:gdLst>
                    <a:gd name="connsiteX0" fmla="*/ 15320 w 15320"/>
                    <a:gd name="connsiteY0" fmla="*/ 49823 h 49823"/>
                    <a:gd name="connsiteX1" fmla="*/ 11459 w 15320"/>
                    <a:gd name="connsiteY1" fmla="*/ 31389 h 49823"/>
                    <a:gd name="connsiteX2" fmla="*/ 2989 w 15320"/>
                    <a:gd name="connsiteY2" fmla="*/ 1619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0" y="49823"/>
                      </a:moveTo>
                      <a:cubicBezTo>
                        <a:pt x="15196" y="41478"/>
                        <a:pt x="13203" y="35374"/>
                        <a:pt x="11459" y="31389"/>
                      </a:cubicBezTo>
                      <a:cubicBezTo>
                        <a:pt x="8595" y="25036"/>
                        <a:pt x="5605" y="22794"/>
                        <a:pt x="2989" y="16192"/>
                      </a:cubicBezTo>
                      <a:cubicBezTo>
                        <a:pt x="373"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9" name="Freeform 7120">
                  <a:extLst>
                    <a:ext uri="{FF2B5EF4-FFF2-40B4-BE49-F238E27FC236}">
                      <a16:creationId xmlns:a16="http://schemas.microsoft.com/office/drawing/2014/main" id="{546D288C-BCC3-7863-4575-ACC3F221EA69}"/>
                    </a:ext>
                  </a:extLst>
                </p:cNvPr>
                <p:cNvSpPr/>
                <p:nvPr/>
              </p:nvSpPr>
              <p:spPr>
                <a:xfrm>
                  <a:off x="9101055" y="1503734"/>
                  <a:ext cx="16691" cy="49449"/>
                </a:xfrm>
                <a:custGeom>
                  <a:avLst/>
                  <a:gdLst>
                    <a:gd name="connsiteX0" fmla="*/ 0 w 16691"/>
                    <a:gd name="connsiteY0" fmla="*/ 0 h 49449"/>
                    <a:gd name="connsiteX1" fmla="*/ 7599 w 16691"/>
                    <a:gd name="connsiteY1" fmla="*/ 17189 h 49449"/>
                    <a:gd name="connsiteX2" fmla="*/ 9591 w 16691"/>
                    <a:gd name="connsiteY2" fmla="*/ 34502 h 49449"/>
                    <a:gd name="connsiteX3" fmla="*/ 16691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0" y="0"/>
                      </a:moveTo>
                      <a:cubicBezTo>
                        <a:pt x="4858" y="6851"/>
                        <a:pt x="6727" y="12954"/>
                        <a:pt x="7599" y="17189"/>
                      </a:cubicBezTo>
                      <a:cubicBezTo>
                        <a:pt x="8969" y="24040"/>
                        <a:pt x="7847" y="27527"/>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0" name="Freeform 7121">
                  <a:extLst>
                    <a:ext uri="{FF2B5EF4-FFF2-40B4-BE49-F238E27FC236}">
                      <a16:creationId xmlns:a16="http://schemas.microsoft.com/office/drawing/2014/main" id="{0BDAF89F-6696-7A7F-C0C9-EFCB1E42D2DB}"/>
                    </a:ext>
                  </a:extLst>
                </p:cNvPr>
                <p:cNvSpPr/>
                <p:nvPr/>
              </p:nvSpPr>
              <p:spPr>
                <a:xfrm>
                  <a:off x="9108266" y="1540838"/>
                  <a:ext cx="26807" cy="26503"/>
                </a:xfrm>
                <a:custGeom>
                  <a:avLst/>
                  <a:gdLst>
                    <a:gd name="connsiteX0" fmla="*/ 637 w 26807"/>
                    <a:gd name="connsiteY0" fmla="*/ 17328 h 26503"/>
                    <a:gd name="connsiteX1" fmla="*/ 9356 w 26807"/>
                    <a:gd name="connsiteY1" fmla="*/ 638 h 26503"/>
                    <a:gd name="connsiteX2" fmla="*/ 26171 w 26807"/>
                    <a:gd name="connsiteY2" fmla="*/ 9232 h 26503"/>
                    <a:gd name="connsiteX3" fmla="*/ 17452 w 26807"/>
                    <a:gd name="connsiteY3" fmla="*/ 25923 h 26503"/>
                    <a:gd name="connsiteX4" fmla="*/ 637 w 26807"/>
                    <a:gd name="connsiteY4" fmla="*/ 17328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3">
                      <a:moveTo>
                        <a:pt x="637" y="17328"/>
                      </a:moveTo>
                      <a:cubicBezTo>
                        <a:pt x="-1605" y="10353"/>
                        <a:pt x="2256" y="2880"/>
                        <a:pt x="9356" y="638"/>
                      </a:cubicBezTo>
                      <a:cubicBezTo>
                        <a:pt x="16331" y="-1604"/>
                        <a:pt x="23929" y="2257"/>
                        <a:pt x="26171" y="9232"/>
                      </a:cubicBezTo>
                      <a:cubicBezTo>
                        <a:pt x="28414" y="16207"/>
                        <a:pt x="24552" y="23681"/>
                        <a:pt x="17452" y="25923"/>
                      </a:cubicBezTo>
                      <a:cubicBezTo>
                        <a:pt x="10353" y="28040"/>
                        <a:pt x="2879" y="24179"/>
                        <a:pt x="637"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1" name="Freeform 7122">
                  <a:extLst>
                    <a:ext uri="{FF2B5EF4-FFF2-40B4-BE49-F238E27FC236}">
                      <a16:creationId xmlns:a16="http://schemas.microsoft.com/office/drawing/2014/main" id="{1DB41A7C-FC29-82C7-856B-B19BEE77E0E3}"/>
                    </a:ext>
                  </a:extLst>
                </p:cNvPr>
                <p:cNvSpPr/>
                <p:nvPr/>
              </p:nvSpPr>
              <p:spPr>
                <a:xfrm>
                  <a:off x="9082870" y="1445441"/>
                  <a:ext cx="15320" cy="49823"/>
                </a:xfrm>
                <a:custGeom>
                  <a:avLst/>
                  <a:gdLst>
                    <a:gd name="connsiteX0" fmla="*/ 0 w 15320"/>
                    <a:gd name="connsiteY0" fmla="*/ 0 h 49823"/>
                    <a:gd name="connsiteX1" fmla="*/ 3861 w 15320"/>
                    <a:gd name="connsiteY1" fmla="*/ 18435 h 49823"/>
                    <a:gd name="connsiteX2" fmla="*/ 12331 w 15320"/>
                    <a:gd name="connsiteY2" fmla="*/ 33631 h 49823"/>
                    <a:gd name="connsiteX3" fmla="*/ 1532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4" y="8345"/>
                        <a:pt x="2117" y="14449"/>
                        <a:pt x="3861" y="18435"/>
                      </a:cubicBezTo>
                      <a:cubicBezTo>
                        <a:pt x="6726" y="24787"/>
                        <a:pt x="9715" y="27029"/>
                        <a:pt x="12331" y="33631"/>
                      </a:cubicBezTo>
                      <a:cubicBezTo>
                        <a:pt x="14946" y="39983"/>
                        <a:pt x="15320" y="45962"/>
                        <a:pt x="1532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2" name="Freeform 7123">
                  <a:extLst>
                    <a:ext uri="{FF2B5EF4-FFF2-40B4-BE49-F238E27FC236}">
                      <a16:creationId xmlns:a16="http://schemas.microsoft.com/office/drawing/2014/main" id="{82A54E93-8A36-8727-E6E4-B51FA3F1177C}"/>
                    </a:ext>
                  </a:extLst>
                </p:cNvPr>
                <p:cNvSpPr/>
                <p:nvPr/>
              </p:nvSpPr>
              <p:spPr>
                <a:xfrm>
                  <a:off x="9087977" y="1438466"/>
                  <a:ext cx="16691" cy="49449"/>
                </a:xfrm>
                <a:custGeom>
                  <a:avLst/>
                  <a:gdLst>
                    <a:gd name="connsiteX0" fmla="*/ 16691 w 16691"/>
                    <a:gd name="connsiteY0" fmla="*/ 49449 h 49449"/>
                    <a:gd name="connsiteX1" fmla="*/ 9092 w 16691"/>
                    <a:gd name="connsiteY1" fmla="*/ 32260 h 49449"/>
                    <a:gd name="connsiteX2" fmla="*/ 7100 w 16691"/>
                    <a:gd name="connsiteY2" fmla="*/ 14947 h 49449"/>
                    <a:gd name="connsiteX3" fmla="*/ 0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49449"/>
                      </a:moveTo>
                      <a:cubicBezTo>
                        <a:pt x="11833" y="42599"/>
                        <a:pt x="9964" y="36495"/>
                        <a:pt x="9092" y="32260"/>
                      </a:cubicBezTo>
                      <a:cubicBezTo>
                        <a:pt x="7723" y="25410"/>
                        <a:pt x="8844"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53" name="Freeform 7124">
                  <a:extLst>
                    <a:ext uri="{FF2B5EF4-FFF2-40B4-BE49-F238E27FC236}">
                      <a16:creationId xmlns:a16="http://schemas.microsoft.com/office/drawing/2014/main" id="{0095C9BA-4FD0-307F-B92A-F6F2045B3FAB}"/>
                    </a:ext>
                  </a:extLst>
                </p:cNvPr>
                <p:cNvSpPr/>
                <p:nvPr/>
              </p:nvSpPr>
              <p:spPr>
                <a:xfrm>
                  <a:off x="9070897" y="1424310"/>
                  <a:ext cx="26324" cy="26490"/>
                </a:xfrm>
                <a:custGeom>
                  <a:avLst/>
                  <a:gdLst>
                    <a:gd name="connsiteX0" fmla="*/ 25675 w 26324"/>
                    <a:gd name="connsiteY0" fmla="*/ 9298 h 26490"/>
                    <a:gd name="connsiteX1" fmla="*/ 17205 w 26324"/>
                    <a:gd name="connsiteY1" fmla="*/ 25865 h 26490"/>
                    <a:gd name="connsiteX2" fmla="*/ 638 w 26324"/>
                    <a:gd name="connsiteY2" fmla="*/ 17146 h 26490"/>
                    <a:gd name="connsiteX3" fmla="*/ 9108 w 26324"/>
                    <a:gd name="connsiteY3" fmla="*/ 579 h 26490"/>
                    <a:gd name="connsiteX4" fmla="*/ 25675 w 2632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90">
                      <a:moveTo>
                        <a:pt x="25675" y="9298"/>
                      </a:moveTo>
                      <a:cubicBezTo>
                        <a:pt x="27917" y="16274"/>
                        <a:pt x="24180" y="23623"/>
                        <a:pt x="17205" y="25865"/>
                      </a:cubicBezTo>
                      <a:cubicBezTo>
                        <a:pt x="10230" y="28107"/>
                        <a:pt x="2880" y="24121"/>
                        <a:pt x="638" y="17146"/>
                      </a:cubicBezTo>
                      <a:cubicBezTo>
                        <a:pt x="-1603" y="10170"/>
                        <a:pt x="2258" y="2697"/>
                        <a:pt x="9108" y="579"/>
                      </a:cubicBezTo>
                      <a:cubicBezTo>
                        <a:pt x="16083" y="-1538"/>
                        <a:pt x="23433" y="2323"/>
                        <a:pt x="2567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5" name="Graphic 2987">
                <a:extLst>
                  <a:ext uri="{FF2B5EF4-FFF2-40B4-BE49-F238E27FC236}">
                    <a16:creationId xmlns:a16="http://schemas.microsoft.com/office/drawing/2014/main" id="{4432F71B-DEAE-7E7B-4A39-54ECB10C2602}"/>
                  </a:ext>
                </a:extLst>
              </p:cNvPr>
              <p:cNvGrpSpPr/>
              <p:nvPr/>
            </p:nvGrpSpPr>
            <p:grpSpPr>
              <a:xfrm>
                <a:off x="9042871" y="1433153"/>
                <a:ext cx="63667" cy="143212"/>
                <a:chOff x="9042871" y="1433153"/>
                <a:chExt cx="63667" cy="143212"/>
              </a:xfrm>
              <a:grpFill/>
            </p:grpSpPr>
            <p:sp>
              <p:nvSpPr>
                <p:cNvPr id="6942" name="Freeform 7126">
                  <a:extLst>
                    <a:ext uri="{FF2B5EF4-FFF2-40B4-BE49-F238E27FC236}">
                      <a16:creationId xmlns:a16="http://schemas.microsoft.com/office/drawing/2014/main" id="{2E489D17-8C07-6D39-4C52-F4886431D59D}"/>
                    </a:ext>
                  </a:extLst>
                </p:cNvPr>
                <p:cNvSpPr/>
                <p:nvPr/>
              </p:nvSpPr>
              <p:spPr>
                <a:xfrm>
                  <a:off x="9079361" y="1505354"/>
                  <a:ext cx="15092" cy="49823"/>
                </a:xfrm>
                <a:custGeom>
                  <a:avLst/>
                  <a:gdLst>
                    <a:gd name="connsiteX0" fmla="*/ 15093 w 15092"/>
                    <a:gd name="connsiteY0" fmla="*/ 49823 h 49823"/>
                    <a:gd name="connsiteX1" fmla="*/ 11356 w 15092"/>
                    <a:gd name="connsiteY1" fmla="*/ 31389 h 49823"/>
                    <a:gd name="connsiteX2" fmla="*/ 2885 w 15092"/>
                    <a:gd name="connsiteY2" fmla="*/ 16193 h 49823"/>
                    <a:gd name="connsiteX3" fmla="*/ 21 w 15092"/>
                    <a:gd name="connsiteY3" fmla="*/ 0 h 49823"/>
                  </a:gdLst>
                  <a:ahLst/>
                  <a:cxnLst>
                    <a:cxn ang="0">
                      <a:pos x="connsiteX0" y="connsiteY0"/>
                    </a:cxn>
                    <a:cxn ang="0">
                      <a:pos x="connsiteX1" y="connsiteY1"/>
                    </a:cxn>
                    <a:cxn ang="0">
                      <a:pos x="connsiteX2" y="connsiteY2"/>
                    </a:cxn>
                    <a:cxn ang="0">
                      <a:pos x="connsiteX3" y="connsiteY3"/>
                    </a:cxn>
                  </a:cxnLst>
                  <a:rect l="l" t="t" r="r" b="b"/>
                  <a:pathLst>
                    <a:path w="15092" h="49823">
                      <a:moveTo>
                        <a:pt x="15093" y="49823"/>
                      </a:moveTo>
                      <a:cubicBezTo>
                        <a:pt x="15093" y="41353"/>
                        <a:pt x="13099" y="35374"/>
                        <a:pt x="11356" y="31389"/>
                      </a:cubicBezTo>
                      <a:cubicBezTo>
                        <a:pt x="8491" y="25036"/>
                        <a:pt x="5501" y="22794"/>
                        <a:pt x="2885" y="16193"/>
                      </a:cubicBezTo>
                      <a:cubicBezTo>
                        <a:pt x="270" y="9716"/>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3" name="Freeform 7127">
                  <a:extLst>
                    <a:ext uri="{FF2B5EF4-FFF2-40B4-BE49-F238E27FC236}">
                      <a16:creationId xmlns:a16="http://schemas.microsoft.com/office/drawing/2014/main" id="{014420FE-E4BC-3F1D-63BA-3BAD3A0FCB05}"/>
                    </a:ext>
                  </a:extLst>
                </p:cNvPr>
                <p:cNvSpPr/>
                <p:nvPr/>
              </p:nvSpPr>
              <p:spPr>
                <a:xfrm>
                  <a:off x="9072781" y="1512702"/>
                  <a:ext cx="16440" cy="49449"/>
                </a:xfrm>
                <a:custGeom>
                  <a:avLst/>
                  <a:gdLst>
                    <a:gd name="connsiteX0" fmla="*/ 0 w 16440"/>
                    <a:gd name="connsiteY0" fmla="*/ 0 h 49449"/>
                    <a:gd name="connsiteX1" fmla="*/ 7598 w 16440"/>
                    <a:gd name="connsiteY1" fmla="*/ 17189 h 49449"/>
                    <a:gd name="connsiteX2" fmla="*/ 9466 w 16440"/>
                    <a:gd name="connsiteY2" fmla="*/ 34502 h 49449"/>
                    <a:gd name="connsiteX3" fmla="*/ 16441 w 164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0" h="49449">
                      <a:moveTo>
                        <a:pt x="0" y="0"/>
                      </a:moveTo>
                      <a:cubicBezTo>
                        <a:pt x="4857" y="6975"/>
                        <a:pt x="6726" y="12954"/>
                        <a:pt x="7598" y="17189"/>
                      </a:cubicBezTo>
                      <a:cubicBezTo>
                        <a:pt x="8968" y="24040"/>
                        <a:pt x="7847" y="27652"/>
                        <a:pt x="9466" y="34502"/>
                      </a:cubicBezTo>
                      <a:cubicBezTo>
                        <a:pt x="11085" y="41229"/>
                        <a:pt x="14199" y="46211"/>
                        <a:pt x="1644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4" name="Freeform 7128">
                  <a:extLst>
                    <a:ext uri="{FF2B5EF4-FFF2-40B4-BE49-F238E27FC236}">
                      <a16:creationId xmlns:a16="http://schemas.microsoft.com/office/drawing/2014/main" id="{B13EF084-A567-7170-78AC-B28034000B80}"/>
                    </a:ext>
                  </a:extLst>
                </p:cNvPr>
                <p:cNvSpPr/>
                <p:nvPr/>
              </p:nvSpPr>
              <p:spPr>
                <a:xfrm>
                  <a:off x="9079753" y="1549806"/>
                  <a:ext cx="26785" cy="26560"/>
                </a:xfrm>
                <a:custGeom>
                  <a:avLst/>
                  <a:gdLst>
                    <a:gd name="connsiteX0" fmla="*/ 626 w 26785"/>
                    <a:gd name="connsiteY0" fmla="*/ 17328 h 26560"/>
                    <a:gd name="connsiteX1" fmla="*/ 9345 w 26785"/>
                    <a:gd name="connsiteY1" fmla="*/ 638 h 26560"/>
                    <a:gd name="connsiteX2" fmla="*/ 26160 w 26785"/>
                    <a:gd name="connsiteY2" fmla="*/ 9232 h 26560"/>
                    <a:gd name="connsiteX3" fmla="*/ 17441 w 26785"/>
                    <a:gd name="connsiteY3" fmla="*/ 25923 h 26560"/>
                    <a:gd name="connsiteX4" fmla="*/ 626 w 26785"/>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5" h="26560">
                      <a:moveTo>
                        <a:pt x="626" y="17328"/>
                      </a:moveTo>
                      <a:cubicBezTo>
                        <a:pt x="-1616" y="10353"/>
                        <a:pt x="2370" y="2880"/>
                        <a:pt x="9345" y="638"/>
                      </a:cubicBezTo>
                      <a:cubicBezTo>
                        <a:pt x="16320" y="-1604"/>
                        <a:pt x="23918" y="2257"/>
                        <a:pt x="26160" y="9232"/>
                      </a:cubicBezTo>
                      <a:cubicBezTo>
                        <a:pt x="28402" y="16207"/>
                        <a:pt x="24416" y="23681"/>
                        <a:pt x="17441" y="25923"/>
                      </a:cubicBezTo>
                      <a:cubicBezTo>
                        <a:pt x="10341" y="28165"/>
                        <a:pt x="2743" y="24304"/>
                        <a:pt x="626"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5" name="Freeform 7129">
                  <a:extLst>
                    <a:ext uri="{FF2B5EF4-FFF2-40B4-BE49-F238E27FC236}">
                      <a16:creationId xmlns:a16="http://schemas.microsoft.com/office/drawing/2014/main" id="{3C959340-D46B-1465-73AB-35D7541ACDE3}"/>
                    </a:ext>
                  </a:extLst>
                </p:cNvPr>
                <p:cNvSpPr/>
                <p:nvPr/>
              </p:nvSpPr>
              <p:spPr>
                <a:xfrm>
                  <a:off x="9054720" y="1454285"/>
                  <a:ext cx="15091" cy="49823"/>
                </a:xfrm>
                <a:custGeom>
                  <a:avLst/>
                  <a:gdLst>
                    <a:gd name="connsiteX0" fmla="*/ 0 w 15091"/>
                    <a:gd name="connsiteY0" fmla="*/ 0 h 49823"/>
                    <a:gd name="connsiteX1" fmla="*/ 3737 w 15091"/>
                    <a:gd name="connsiteY1" fmla="*/ 18435 h 49823"/>
                    <a:gd name="connsiteX2" fmla="*/ 12206 w 15091"/>
                    <a:gd name="connsiteY2" fmla="*/ 33631 h 49823"/>
                    <a:gd name="connsiteX3" fmla="*/ 15071 w 15091"/>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091" h="49823">
                      <a:moveTo>
                        <a:pt x="0" y="0"/>
                      </a:moveTo>
                      <a:cubicBezTo>
                        <a:pt x="125" y="8345"/>
                        <a:pt x="1993" y="14449"/>
                        <a:pt x="3737" y="18435"/>
                      </a:cubicBezTo>
                      <a:cubicBezTo>
                        <a:pt x="6601" y="24787"/>
                        <a:pt x="9467" y="27154"/>
                        <a:pt x="12206" y="33631"/>
                      </a:cubicBezTo>
                      <a:cubicBezTo>
                        <a:pt x="14822" y="40108"/>
                        <a:pt x="15196" y="45962"/>
                        <a:pt x="1507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6" name="Freeform 7130">
                  <a:extLst>
                    <a:ext uri="{FF2B5EF4-FFF2-40B4-BE49-F238E27FC236}">
                      <a16:creationId xmlns:a16="http://schemas.microsoft.com/office/drawing/2014/main" id="{A6FAB5CF-8107-F2E3-664C-365C722DDFF2}"/>
                    </a:ext>
                  </a:extLst>
                </p:cNvPr>
                <p:cNvSpPr/>
                <p:nvPr/>
              </p:nvSpPr>
              <p:spPr>
                <a:xfrm>
                  <a:off x="9059827" y="1447434"/>
                  <a:ext cx="16566" cy="49449"/>
                </a:xfrm>
                <a:custGeom>
                  <a:avLst/>
                  <a:gdLst>
                    <a:gd name="connsiteX0" fmla="*/ 16566 w 16566"/>
                    <a:gd name="connsiteY0" fmla="*/ 49449 h 49449"/>
                    <a:gd name="connsiteX1" fmla="*/ 8969 w 16566"/>
                    <a:gd name="connsiteY1" fmla="*/ 32260 h 49449"/>
                    <a:gd name="connsiteX2" fmla="*/ 6975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1" y="36495"/>
                        <a:pt x="8969" y="32260"/>
                      </a:cubicBezTo>
                      <a:cubicBezTo>
                        <a:pt x="7598" y="25410"/>
                        <a:pt x="8719" y="21798"/>
                        <a:pt x="6975" y="14947"/>
                      </a:cubicBezTo>
                      <a:cubicBezTo>
                        <a:pt x="5356" y="8221"/>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7" name="Freeform 7131">
                  <a:extLst>
                    <a:ext uri="{FF2B5EF4-FFF2-40B4-BE49-F238E27FC236}">
                      <a16:creationId xmlns:a16="http://schemas.microsoft.com/office/drawing/2014/main" id="{CF9E0230-DD76-127D-3E00-651C0C89A7EB}"/>
                    </a:ext>
                  </a:extLst>
                </p:cNvPr>
                <p:cNvSpPr/>
                <p:nvPr/>
              </p:nvSpPr>
              <p:spPr>
                <a:xfrm>
                  <a:off x="9042871" y="1433153"/>
                  <a:ext cx="26313" cy="26444"/>
                </a:xfrm>
                <a:custGeom>
                  <a:avLst/>
                  <a:gdLst>
                    <a:gd name="connsiteX0" fmla="*/ 25675 w 26313"/>
                    <a:gd name="connsiteY0" fmla="*/ 9299 h 26444"/>
                    <a:gd name="connsiteX1" fmla="*/ 17205 w 26313"/>
                    <a:gd name="connsiteY1" fmla="*/ 25865 h 26444"/>
                    <a:gd name="connsiteX2" fmla="*/ 638 w 26313"/>
                    <a:gd name="connsiteY2" fmla="*/ 17146 h 26444"/>
                    <a:gd name="connsiteX3" fmla="*/ 9108 w 26313"/>
                    <a:gd name="connsiteY3" fmla="*/ 579 h 26444"/>
                    <a:gd name="connsiteX4" fmla="*/ 25675 w 26313"/>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3" h="26444">
                      <a:moveTo>
                        <a:pt x="25675" y="9299"/>
                      </a:moveTo>
                      <a:cubicBezTo>
                        <a:pt x="27917" y="16274"/>
                        <a:pt x="24055" y="23747"/>
                        <a:pt x="17205" y="25865"/>
                      </a:cubicBezTo>
                      <a:cubicBezTo>
                        <a:pt x="10354" y="27982"/>
                        <a:pt x="2880" y="24121"/>
                        <a:pt x="638" y="17146"/>
                      </a:cubicBezTo>
                      <a:cubicBezTo>
                        <a:pt x="-1603" y="10170"/>
                        <a:pt x="2258" y="2697"/>
                        <a:pt x="9108" y="579"/>
                      </a:cubicBezTo>
                      <a:cubicBezTo>
                        <a:pt x="16083" y="-1538"/>
                        <a:pt x="23433" y="2323"/>
                        <a:pt x="2567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6" name="Graphic 2987">
                <a:extLst>
                  <a:ext uri="{FF2B5EF4-FFF2-40B4-BE49-F238E27FC236}">
                    <a16:creationId xmlns:a16="http://schemas.microsoft.com/office/drawing/2014/main" id="{B4438979-BE41-6881-50E9-AF466E87A09E}"/>
                  </a:ext>
                </a:extLst>
              </p:cNvPr>
              <p:cNvGrpSpPr/>
              <p:nvPr/>
            </p:nvGrpSpPr>
            <p:grpSpPr>
              <a:xfrm>
                <a:off x="9014769" y="1441997"/>
                <a:ext cx="63245" cy="143337"/>
                <a:chOff x="9014769" y="1441997"/>
                <a:chExt cx="63245" cy="143337"/>
              </a:xfrm>
              <a:grpFill/>
            </p:grpSpPr>
            <p:sp>
              <p:nvSpPr>
                <p:cNvPr id="6936" name="Freeform 7133">
                  <a:extLst>
                    <a:ext uri="{FF2B5EF4-FFF2-40B4-BE49-F238E27FC236}">
                      <a16:creationId xmlns:a16="http://schemas.microsoft.com/office/drawing/2014/main" id="{606BD7B5-8EE5-3CE5-E567-8DA81F03D5B8}"/>
                    </a:ext>
                  </a:extLst>
                </p:cNvPr>
                <p:cNvSpPr/>
                <p:nvPr/>
              </p:nvSpPr>
              <p:spPr>
                <a:xfrm>
                  <a:off x="9050983" y="1514197"/>
                  <a:ext cx="14946" cy="50072"/>
                </a:xfrm>
                <a:custGeom>
                  <a:avLst/>
                  <a:gdLst>
                    <a:gd name="connsiteX0" fmla="*/ 14946 w 14946"/>
                    <a:gd name="connsiteY0" fmla="*/ 50072 h 50072"/>
                    <a:gd name="connsiteX1" fmla="*/ 11210 w 14946"/>
                    <a:gd name="connsiteY1" fmla="*/ 31638 h 50072"/>
                    <a:gd name="connsiteX2" fmla="*/ 2865 w 14946"/>
                    <a:gd name="connsiteY2" fmla="*/ 16317 h 50072"/>
                    <a:gd name="connsiteX3" fmla="*/ 0 w 14946"/>
                    <a:gd name="connsiteY3" fmla="*/ 0 h 50072"/>
                  </a:gdLst>
                  <a:ahLst/>
                  <a:cxnLst>
                    <a:cxn ang="0">
                      <a:pos x="connsiteX0" y="connsiteY0"/>
                    </a:cxn>
                    <a:cxn ang="0">
                      <a:pos x="connsiteX1" y="connsiteY1"/>
                    </a:cxn>
                    <a:cxn ang="0">
                      <a:pos x="connsiteX2" y="connsiteY2"/>
                    </a:cxn>
                    <a:cxn ang="0">
                      <a:pos x="connsiteX3" y="connsiteY3"/>
                    </a:cxn>
                  </a:cxnLst>
                  <a:rect l="l" t="t" r="r" b="b"/>
                  <a:pathLst>
                    <a:path w="14946" h="50072">
                      <a:moveTo>
                        <a:pt x="14946" y="50072"/>
                      </a:moveTo>
                      <a:cubicBezTo>
                        <a:pt x="14946" y="41602"/>
                        <a:pt x="12954" y="35623"/>
                        <a:pt x="11210" y="31638"/>
                      </a:cubicBezTo>
                      <a:cubicBezTo>
                        <a:pt x="8345" y="25285"/>
                        <a:pt x="5481" y="22919"/>
                        <a:pt x="2865" y="16317"/>
                      </a:cubicBezTo>
                      <a:cubicBezTo>
                        <a:pt x="373"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7" name="Freeform 7134">
                  <a:extLst>
                    <a:ext uri="{FF2B5EF4-FFF2-40B4-BE49-F238E27FC236}">
                      <a16:creationId xmlns:a16="http://schemas.microsoft.com/office/drawing/2014/main" id="{CDE192C6-46AE-BF5E-039C-9EB6B1BF6EEC}"/>
                    </a:ext>
                  </a:extLst>
                </p:cNvPr>
                <p:cNvSpPr/>
                <p:nvPr/>
              </p:nvSpPr>
              <p:spPr>
                <a:xfrm>
                  <a:off x="9044506" y="1521546"/>
                  <a:ext cx="16317" cy="49573"/>
                </a:xfrm>
                <a:custGeom>
                  <a:avLst/>
                  <a:gdLst>
                    <a:gd name="connsiteX0" fmla="*/ 0 w 16317"/>
                    <a:gd name="connsiteY0" fmla="*/ 0 h 49573"/>
                    <a:gd name="connsiteX1" fmla="*/ 7473 w 16317"/>
                    <a:gd name="connsiteY1" fmla="*/ 17314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1" y="12954"/>
                        <a:pt x="7473" y="17314"/>
                      </a:cubicBezTo>
                      <a:cubicBezTo>
                        <a:pt x="8844" y="24164"/>
                        <a:pt x="7723" y="27776"/>
                        <a:pt x="9342" y="34627"/>
                      </a:cubicBezTo>
                      <a:cubicBezTo>
                        <a:pt x="10961" y="41353"/>
                        <a:pt x="13950" y="46335"/>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8" name="Freeform 7135">
                  <a:extLst>
                    <a:ext uri="{FF2B5EF4-FFF2-40B4-BE49-F238E27FC236}">
                      <a16:creationId xmlns:a16="http://schemas.microsoft.com/office/drawing/2014/main" id="{6C2F36F4-A3CE-F768-50F2-81FED1EF8776}"/>
                    </a:ext>
                  </a:extLst>
                </p:cNvPr>
                <p:cNvSpPr/>
                <p:nvPr/>
              </p:nvSpPr>
              <p:spPr>
                <a:xfrm>
                  <a:off x="9051276" y="1558774"/>
                  <a:ext cx="26738" cy="26560"/>
                </a:xfrm>
                <a:custGeom>
                  <a:avLst/>
                  <a:gdLst>
                    <a:gd name="connsiteX0" fmla="*/ 579 w 26738"/>
                    <a:gd name="connsiteY0" fmla="*/ 17328 h 26560"/>
                    <a:gd name="connsiteX1" fmla="*/ 9422 w 26738"/>
                    <a:gd name="connsiteY1" fmla="*/ 638 h 26560"/>
                    <a:gd name="connsiteX2" fmla="*/ 26114 w 26738"/>
                    <a:gd name="connsiteY2" fmla="*/ 9232 h 26560"/>
                    <a:gd name="connsiteX3" fmla="*/ 17270 w 26738"/>
                    <a:gd name="connsiteY3" fmla="*/ 25923 h 26560"/>
                    <a:gd name="connsiteX4" fmla="*/ 579 w 26738"/>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8" h="26560">
                      <a:moveTo>
                        <a:pt x="579" y="17328"/>
                      </a:moveTo>
                      <a:cubicBezTo>
                        <a:pt x="-1539" y="10353"/>
                        <a:pt x="2323" y="2880"/>
                        <a:pt x="9422" y="638"/>
                      </a:cubicBezTo>
                      <a:cubicBezTo>
                        <a:pt x="16398" y="-1604"/>
                        <a:pt x="23995" y="2257"/>
                        <a:pt x="26114" y="9232"/>
                      </a:cubicBezTo>
                      <a:cubicBezTo>
                        <a:pt x="28355" y="16207"/>
                        <a:pt x="24370" y="23681"/>
                        <a:pt x="17270" y="25923"/>
                      </a:cubicBezTo>
                      <a:cubicBezTo>
                        <a:pt x="10170" y="28165"/>
                        <a:pt x="2697" y="24304"/>
                        <a:pt x="579"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9" name="Freeform 7136">
                  <a:extLst>
                    <a:ext uri="{FF2B5EF4-FFF2-40B4-BE49-F238E27FC236}">
                      <a16:creationId xmlns:a16="http://schemas.microsoft.com/office/drawing/2014/main" id="{195EA039-C6D1-93EC-BE1F-98FD04828ABD}"/>
                    </a:ext>
                  </a:extLst>
                </p:cNvPr>
                <p:cNvSpPr/>
                <p:nvPr/>
              </p:nvSpPr>
              <p:spPr>
                <a:xfrm>
                  <a:off x="9026695" y="1463128"/>
                  <a:ext cx="14947" cy="50072"/>
                </a:xfrm>
                <a:custGeom>
                  <a:avLst/>
                  <a:gdLst>
                    <a:gd name="connsiteX0" fmla="*/ 0 w 14947"/>
                    <a:gd name="connsiteY0" fmla="*/ 0 h 50072"/>
                    <a:gd name="connsiteX1" fmla="*/ 3737 w 14947"/>
                    <a:gd name="connsiteY1" fmla="*/ 18435 h 50072"/>
                    <a:gd name="connsiteX2" fmla="*/ 12082 w 14947"/>
                    <a:gd name="connsiteY2" fmla="*/ 33755 h 50072"/>
                    <a:gd name="connsiteX3" fmla="*/ 14947 w 1494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7" h="50072">
                      <a:moveTo>
                        <a:pt x="0" y="0"/>
                      </a:moveTo>
                      <a:cubicBezTo>
                        <a:pt x="0" y="8470"/>
                        <a:pt x="1993" y="14449"/>
                        <a:pt x="3737" y="18435"/>
                      </a:cubicBezTo>
                      <a:cubicBezTo>
                        <a:pt x="6601" y="24787"/>
                        <a:pt x="9467" y="27154"/>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0" name="Freeform 7137">
                  <a:extLst>
                    <a:ext uri="{FF2B5EF4-FFF2-40B4-BE49-F238E27FC236}">
                      <a16:creationId xmlns:a16="http://schemas.microsoft.com/office/drawing/2014/main" id="{FE8241D8-B85E-8CCE-68BB-1D220922750D}"/>
                    </a:ext>
                  </a:extLst>
                </p:cNvPr>
                <p:cNvSpPr/>
                <p:nvPr/>
              </p:nvSpPr>
              <p:spPr>
                <a:xfrm>
                  <a:off x="9031801" y="1456278"/>
                  <a:ext cx="16317" cy="49449"/>
                </a:xfrm>
                <a:custGeom>
                  <a:avLst/>
                  <a:gdLst>
                    <a:gd name="connsiteX0" fmla="*/ 16317 w 16317"/>
                    <a:gd name="connsiteY0" fmla="*/ 49449 h 49449"/>
                    <a:gd name="connsiteX1" fmla="*/ 8844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716" y="36495"/>
                        <a:pt x="8844" y="32260"/>
                      </a:cubicBezTo>
                      <a:cubicBezTo>
                        <a:pt x="7474" y="25410"/>
                        <a:pt x="8595" y="21798"/>
                        <a:pt x="6975" y="14947"/>
                      </a:cubicBezTo>
                      <a:cubicBezTo>
                        <a:pt x="5356"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41" name="Freeform 7138">
                  <a:extLst>
                    <a:ext uri="{FF2B5EF4-FFF2-40B4-BE49-F238E27FC236}">
                      <a16:creationId xmlns:a16="http://schemas.microsoft.com/office/drawing/2014/main" id="{5B2A17E9-F440-9433-30F9-8A737FCB3330}"/>
                    </a:ext>
                  </a:extLst>
                </p:cNvPr>
                <p:cNvSpPr/>
                <p:nvPr/>
              </p:nvSpPr>
              <p:spPr>
                <a:xfrm>
                  <a:off x="9014769" y="1441997"/>
                  <a:ext cx="26389" cy="26490"/>
                </a:xfrm>
                <a:custGeom>
                  <a:avLst/>
                  <a:gdLst>
                    <a:gd name="connsiteX0" fmla="*/ 25752 w 26389"/>
                    <a:gd name="connsiteY0" fmla="*/ 9298 h 26490"/>
                    <a:gd name="connsiteX1" fmla="*/ 17157 w 26389"/>
                    <a:gd name="connsiteY1" fmla="*/ 25865 h 26490"/>
                    <a:gd name="connsiteX2" fmla="*/ 591 w 26389"/>
                    <a:gd name="connsiteY2" fmla="*/ 17146 h 26490"/>
                    <a:gd name="connsiteX3" fmla="*/ 9185 w 26389"/>
                    <a:gd name="connsiteY3" fmla="*/ 579 h 26490"/>
                    <a:gd name="connsiteX4" fmla="*/ 25752 w 26389"/>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90">
                      <a:moveTo>
                        <a:pt x="25752" y="9298"/>
                      </a:moveTo>
                      <a:cubicBezTo>
                        <a:pt x="27994" y="16274"/>
                        <a:pt x="24132" y="23747"/>
                        <a:pt x="17157" y="25865"/>
                      </a:cubicBezTo>
                      <a:cubicBezTo>
                        <a:pt x="10182" y="28107"/>
                        <a:pt x="2833" y="24121"/>
                        <a:pt x="591" y="17146"/>
                      </a:cubicBezTo>
                      <a:cubicBezTo>
                        <a:pt x="-1526" y="10170"/>
                        <a:pt x="2210" y="2697"/>
                        <a:pt x="9185" y="579"/>
                      </a:cubicBezTo>
                      <a:cubicBezTo>
                        <a:pt x="16161" y="-1538"/>
                        <a:pt x="23634" y="2323"/>
                        <a:pt x="25752"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7" name="Graphic 2987">
                <a:extLst>
                  <a:ext uri="{FF2B5EF4-FFF2-40B4-BE49-F238E27FC236}">
                    <a16:creationId xmlns:a16="http://schemas.microsoft.com/office/drawing/2014/main" id="{348D87A7-FF72-291D-01E3-5F17F9AA4CEE}"/>
                  </a:ext>
                </a:extLst>
              </p:cNvPr>
              <p:cNvGrpSpPr/>
              <p:nvPr/>
            </p:nvGrpSpPr>
            <p:grpSpPr>
              <a:xfrm>
                <a:off x="8986878" y="1450841"/>
                <a:ext cx="62565" cy="143461"/>
                <a:chOff x="8986878" y="1450841"/>
                <a:chExt cx="62565" cy="143461"/>
              </a:xfrm>
              <a:grpFill/>
            </p:grpSpPr>
            <p:sp>
              <p:nvSpPr>
                <p:cNvPr id="6930" name="Freeform 7140">
                  <a:extLst>
                    <a:ext uri="{FF2B5EF4-FFF2-40B4-BE49-F238E27FC236}">
                      <a16:creationId xmlns:a16="http://schemas.microsoft.com/office/drawing/2014/main" id="{99F3EB0D-8329-D8FD-3FF5-457A3274BD3E}"/>
                    </a:ext>
                  </a:extLst>
                </p:cNvPr>
                <p:cNvSpPr/>
                <p:nvPr/>
              </p:nvSpPr>
              <p:spPr>
                <a:xfrm>
                  <a:off x="9022688" y="1523165"/>
                  <a:ext cx="14718" cy="50072"/>
                </a:xfrm>
                <a:custGeom>
                  <a:avLst/>
                  <a:gdLst>
                    <a:gd name="connsiteX0" fmla="*/ 14719 w 14718"/>
                    <a:gd name="connsiteY0" fmla="*/ 50072 h 50072"/>
                    <a:gd name="connsiteX1" fmla="*/ 11107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4"/>
                        <a:pt x="11107" y="31638"/>
                      </a:cubicBezTo>
                      <a:cubicBezTo>
                        <a:pt x="8241" y="25285"/>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1" name="Freeform 7141">
                  <a:extLst>
                    <a:ext uri="{FF2B5EF4-FFF2-40B4-BE49-F238E27FC236}">
                      <a16:creationId xmlns:a16="http://schemas.microsoft.com/office/drawing/2014/main" id="{CE68D19B-3E94-F4D6-29CD-29DDAE095E1F}"/>
                    </a:ext>
                  </a:extLst>
                </p:cNvPr>
                <p:cNvSpPr/>
                <p:nvPr/>
              </p:nvSpPr>
              <p:spPr>
                <a:xfrm>
                  <a:off x="9016107" y="1530514"/>
                  <a:ext cx="15943" cy="49573"/>
                </a:xfrm>
                <a:custGeom>
                  <a:avLst/>
                  <a:gdLst>
                    <a:gd name="connsiteX0" fmla="*/ 0 w 15943"/>
                    <a:gd name="connsiteY0" fmla="*/ 0 h 49573"/>
                    <a:gd name="connsiteX1" fmla="*/ 7349 w 15943"/>
                    <a:gd name="connsiteY1" fmla="*/ 17314 h 49573"/>
                    <a:gd name="connsiteX2" fmla="*/ 9093 w 15943"/>
                    <a:gd name="connsiteY2" fmla="*/ 34627 h 49573"/>
                    <a:gd name="connsiteX3" fmla="*/ 15944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2954"/>
                        <a:pt x="7349" y="17314"/>
                      </a:cubicBezTo>
                      <a:cubicBezTo>
                        <a:pt x="8595" y="24164"/>
                        <a:pt x="7474" y="27776"/>
                        <a:pt x="9093" y="34627"/>
                      </a:cubicBezTo>
                      <a:cubicBezTo>
                        <a:pt x="10588" y="41353"/>
                        <a:pt x="13702" y="46460"/>
                        <a:pt x="15944"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2" name="Freeform 7142">
                  <a:extLst>
                    <a:ext uri="{FF2B5EF4-FFF2-40B4-BE49-F238E27FC236}">
                      <a16:creationId xmlns:a16="http://schemas.microsoft.com/office/drawing/2014/main" id="{1FDF863B-02C9-D99E-F295-99A14EDD63EB}"/>
                    </a:ext>
                  </a:extLst>
                </p:cNvPr>
                <p:cNvSpPr/>
                <p:nvPr/>
              </p:nvSpPr>
              <p:spPr>
                <a:xfrm>
                  <a:off x="9022763" y="1567742"/>
                  <a:ext cx="26681" cy="26560"/>
                </a:xfrm>
                <a:custGeom>
                  <a:avLst/>
                  <a:gdLst>
                    <a:gd name="connsiteX0" fmla="*/ 568 w 26681"/>
                    <a:gd name="connsiteY0" fmla="*/ 17328 h 26560"/>
                    <a:gd name="connsiteX1" fmla="*/ 9412 w 26681"/>
                    <a:gd name="connsiteY1" fmla="*/ 638 h 26560"/>
                    <a:gd name="connsiteX2" fmla="*/ 26102 w 26681"/>
                    <a:gd name="connsiteY2" fmla="*/ 9232 h 26560"/>
                    <a:gd name="connsiteX3" fmla="*/ 17259 w 26681"/>
                    <a:gd name="connsiteY3" fmla="*/ 25923 h 26560"/>
                    <a:gd name="connsiteX4" fmla="*/ 568 w 26681"/>
                    <a:gd name="connsiteY4" fmla="*/ 17328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60">
                      <a:moveTo>
                        <a:pt x="568" y="17328"/>
                      </a:moveTo>
                      <a:cubicBezTo>
                        <a:pt x="-1549" y="10353"/>
                        <a:pt x="2437" y="2880"/>
                        <a:pt x="9412" y="638"/>
                      </a:cubicBezTo>
                      <a:cubicBezTo>
                        <a:pt x="16387" y="-1604"/>
                        <a:pt x="23861" y="2257"/>
                        <a:pt x="26102" y="9232"/>
                      </a:cubicBezTo>
                      <a:cubicBezTo>
                        <a:pt x="28221" y="16207"/>
                        <a:pt x="24359" y="23681"/>
                        <a:pt x="17259" y="25923"/>
                      </a:cubicBezTo>
                      <a:cubicBezTo>
                        <a:pt x="10159" y="28165"/>
                        <a:pt x="2686" y="24304"/>
                        <a:pt x="568" y="17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3" name="Freeform 7143">
                  <a:extLst>
                    <a:ext uri="{FF2B5EF4-FFF2-40B4-BE49-F238E27FC236}">
                      <a16:creationId xmlns:a16="http://schemas.microsoft.com/office/drawing/2014/main" id="{A5269BA4-9807-CE0A-11DF-81B5DFF80C04}"/>
                    </a:ext>
                  </a:extLst>
                </p:cNvPr>
                <p:cNvSpPr/>
                <p:nvPr/>
              </p:nvSpPr>
              <p:spPr>
                <a:xfrm>
                  <a:off x="8998669" y="1471972"/>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3" y="24912"/>
                        <a:pt x="9342" y="27154"/>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4" name="Freeform 7144">
                  <a:extLst>
                    <a:ext uri="{FF2B5EF4-FFF2-40B4-BE49-F238E27FC236}">
                      <a16:creationId xmlns:a16="http://schemas.microsoft.com/office/drawing/2014/main" id="{1F54180C-820F-A4AF-9C3F-760C74612AA5}"/>
                    </a:ext>
                  </a:extLst>
                </p:cNvPr>
                <p:cNvSpPr/>
                <p:nvPr/>
              </p:nvSpPr>
              <p:spPr>
                <a:xfrm>
                  <a:off x="9003900" y="1465121"/>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342" y="36620"/>
                        <a:pt x="8595" y="32260"/>
                      </a:cubicBezTo>
                      <a:cubicBezTo>
                        <a:pt x="7225"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35" name="Freeform 7145">
                  <a:extLst>
                    <a:ext uri="{FF2B5EF4-FFF2-40B4-BE49-F238E27FC236}">
                      <a16:creationId xmlns:a16="http://schemas.microsoft.com/office/drawing/2014/main" id="{AC25EF00-8824-FF12-D1BC-FE15F5718241}"/>
                    </a:ext>
                  </a:extLst>
                </p:cNvPr>
                <p:cNvSpPr/>
                <p:nvPr/>
              </p:nvSpPr>
              <p:spPr>
                <a:xfrm>
                  <a:off x="8986878" y="1450841"/>
                  <a:ext cx="26196" cy="26490"/>
                </a:xfrm>
                <a:custGeom>
                  <a:avLst/>
                  <a:gdLst>
                    <a:gd name="connsiteX0" fmla="*/ 25616 w 26196"/>
                    <a:gd name="connsiteY0" fmla="*/ 9299 h 26490"/>
                    <a:gd name="connsiteX1" fmla="*/ 17022 w 26196"/>
                    <a:gd name="connsiteY1" fmla="*/ 25865 h 26490"/>
                    <a:gd name="connsiteX2" fmla="*/ 580 w 26196"/>
                    <a:gd name="connsiteY2" fmla="*/ 17146 h 26490"/>
                    <a:gd name="connsiteX3" fmla="*/ 9175 w 26196"/>
                    <a:gd name="connsiteY3" fmla="*/ 579 h 26490"/>
                    <a:gd name="connsiteX4" fmla="*/ 25616 w 26196"/>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90">
                      <a:moveTo>
                        <a:pt x="25616" y="9299"/>
                      </a:moveTo>
                      <a:cubicBezTo>
                        <a:pt x="27734" y="16274"/>
                        <a:pt x="23872" y="23747"/>
                        <a:pt x="17022" y="25865"/>
                      </a:cubicBezTo>
                      <a:cubicBezTo>
                        <a:pt x="10047" y="28107"/>
                        <a:pt x="2697" y="24121"/>
                        <a:pt x="580" y="17146"/>
                      </a:cubicBezTo>
                      <a:cubicBezTo>
                        <a:pt x="-1537" y="10170"/>
                        <a:pt x="2324" y="2697"/>
                        <a:pt x="9175" y="579"/>
                      </a:cubicBezTo>
                      <a:cubicBezTo>
                        <a:pt x="16150" y="-1538"/>
                        <a:pt x="23499" y="2323"/>
                        <a:pt x="25616"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8" name="Graphic 2987">
                <a:extLst>
                  <a:ext uri="{FF2B5EF4-FFF2-40B4-BE49-F238E27FC236}">
                    <a16:creationId xmlns:a16="http://schemas.microsoft.com/office/drawing/2014/main" id="{3F357F14-ECF3-7785-E70A-4598BC052F3A}"/>
                  </a:ext>
                </a:extLst>
              </p:cNvPr>
              <p:cNvGrpSpPr/>
              <p:nvPr/>
            </p:nvGrpSpPr>
            <p:grpSpPr>
              <a:xfrm>
                <a:off x="8958729" y="1459638"/>
                <a:ext cx="62180" cy="143756"/>
                <a:chOff x="8958729" y="1459638"/>
                <a:chExt cx="62180" cy="143756"/>
              </a:xfrm>
              <a:grpFill/>
            </p:grpSpPr>
            <p:sp>
              <p:nvSpPr>
                <p:cNvPr id="6924" name="Freeform 7147">
                  <a:extLst>
                    <a:ext uri="{FF2B5EF4-FFF2-40B4-BE49-F238E27FC236}">
                      <a16:creationId xmlns:a16="http://schemas.microsoft.com/office/drawing/2014/main" id="{50159528-8676-FCE1-EC38-7CBCC36FF2E3}"/>
                    </a:ext>
                  </a:extLst>
                </p:cNvPr>
                <p:cNvSpPr/>
                <p:nvPr/>
              </p:nvSpPr>
              <p:spPr>
                <a:xfrm>
                  <a:off x="8994558" y="1532133"/>
                  <a:ext cx="14449" cy="50072"/>
                </a:xfrm>
                <a:custGeom>
                  <a:avLst/>
                  <a:gdLst>
                    <a:gd name="connsiteX0" fmla="*/ 14449 w 14449"/>
                    <a:gd name="connsiteY0" fmla="*/ 50072 h 50072"/>
                    <a:gd name="connsiteX1" fmla="*/ 10961 w 14449"/>
                    <a:gd name="connsiteY1" fmla="*/ 31638 h 50072"/>
                    <a:gd name="connsiteX2" fmla="*/ 2741 w 14449"/>
                    <a:gd name="connsiteY2" fmla="*/ 16317 h 50072"/>
                    <a:gd name="connsiteX3" fmla="*/ 0 w 14449"/>
                    <a:gd name="connsiteY3" fmla="*/ 0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50072"/>
                      </a:moveTo>
                      <a:cubicBezTo>
                        <a:pt x="14449" y="41602"/>
                        <a:pt x="12580" y="35624"/>
                        <a:pt x="10961" y="31638"/>
                      </a:cubicBezTo>
                      <a:cubicBezTo>
                        <a:pt x="8221" y="25161"/>
                        <a:pt x="5231" y="22919"/>
                        <a:pt x="2741" y="16317"/>
                      </a:cubicBezTo>
                      <a:cubicBezTo>
                        <a:pt x="249"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5" name="Freeform 7148">
                  <a:extLst>
                    <a:ext uri="{FF2B5EF4-FFF2-40B4-BE49-F238E27FC236}">
                      <a16:creationId xmlns:a16="http://schemas.microsoft.com/office/drawing/2014/main" id="{57DD92DA-DB07-4ED8-DF8E-8EE234284E42}"/>
                    </a:ext>
                  </a:extLst>
                </p:cNvPr>
                <p:cNvSpPr/>
                <p:nvPr/>
              </p:nvSpPr>
              <p:spPr>
                <a:xfrm>
                  <a:off x="8987833" y="1539482"/>
                  <a:ext cx="15818" cy="49698"/>
                </a:xfrm>
                <a:custGeom>
                  <a:avLst/>
                  <a:gdLst>
                    <a:gd name="connsiteX0" fmla="*/ 0 w 15818"/>
                    <a:gd name="connsiteY0" fmla="*/ 0 h 49698"/>
                    <a:gd name="connsiteX1" fmla="*/ 7348 w 15818"/>
                    <a:gd name="connsiteY1" fmla="*/ 17314 h 49698"/>
                    <a:gd name="connsiteX2" fmla="*/ 8968 w 15818"/>
                    <a:gd name="connsiteY2" fmla="*/ 34752 h 49698"/>
                    <a:gd name="connsiteX3" fmla="*/ 15818 w 15818"/>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818" h="49698">
                      <a:moveTo>
                        <a:pt x="0" y="0"/>
                      </a:moveTo>
                      <a:cubicBezTo>
                        <a:pt x="4733" y="6975"/>
                        <a:pt x="6476" y="13079"/>
                        <a:pt x="7348" y="17314"/>
                      </a:cubicBezTo>
                      <a:cubicBezTo>
                        <a:pt x="8595" y="24164"/>
                        <a:pt x="7473" y="27776"/>
                        <a:pt x="8968" y="34752"/>
                      </a:cubicBezTo>
                      <a:cubicBezTo>
                        <a:pt x="10462" y="41478"/>
                        <a:pt x="13452" y="46585"/>
                        <a:pt x="15818"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6" name="Freeform 7149">
                  <a:extLst>
                    <a:ext uri="{FF2B5EF4-FFF2-40B4-BE49-F238E27FC236}">
                      <a16:creationId xmlns:a16="http://schemas.microsoft.com/office/drawing/2014/main" id="{E59BAEBD-675D-CD0D-10D1-BC80DB08ED0F}"/>
                    </a:ext>
                  </a:extLst>
                </p:cNvPr>
                <p:cNvSpPr/>
                <p:nvPr/>
              </p:nvSpPr>
              <p:spPr>
                <a:xfrm>
                  <a:off x="8994240" y="1576711"/>
                  <a:ext cx="26669" cy="26683"/>
                </a:xfrm>
                <a:custGeom>
                  <a:avLst/>
                  <a:gdLst>
                    <a:gd name="connsiteX0" fmla="*/ 568 w 26669"/>
                    <a:gd name="connsiteY0" fmla="*/ 17327 h 26683"/>
                    <a:gd name="connsiteX1" fmla="*/ 9536 w 26669"/>
                    <a:gd name="connsiteY1" fmla="*/ 637 h 26683"/>
                    <a:gd name="connsiteX2" fmla="*/ 26102 w 26669"/>
                    <a:gd name="connsiteY2" fmla="*/ 9356 h 26683"/>
                    <a:gd name="connsiteX3" fmla="*/ 17134 w 26669"/>
                    <a:gd name="connsiteY3" fmla="*/ 26046 h 26683"/>
                    <a:gd name="connsiteX4" fmla="*/ 568 w 26669"/>
                    <a:gd name="connsiteY4" fmla="*/ 17327 h 26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83">
                      <a:moveTo>
                        <a:pt x="568" y="17327"/>
                      </a:moveTo>
                      <a:cubicBezTo>
                        <a:pt x="-1550" y="10352"/>
                        <a:pt x="2436" y="2879"/>
                        <a:pt x="9536" y="637"/>
                      </a:cubicBezTo>
                      <a:cubicBezTo>
                        <a:pt x="16511" y="-1605"/>
                        <a:pt x="23985" y="2256"/>
                        <a:pt x="26102" y="9356"/>
                      </a:cubicBezTo>
                      <a:cubicBezTo>
                        <a:pt x="28219" y="16456"/>
                        <a:pt x="24233" y="23804"/>
                        <a:pt x="17134" y="26046"/>
                      </a:cubicBezTo>
                      <a:cubicBezTo>
                        <a:pt x="10034" y="28289"/>
                        <a:pt x="2560" y="24427"/>
                        <a:pt x="568" y="17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7" name="Freeform 7150">
                  <a:extLst>
                    <a:ext uri="{FF2B5EF4-FFF2-40B4-BE49-F238E27FC236}">
                      <a16:creationId xmlns:a16="http://schemas.microsoft.com/office/drawing/2014/main" id="{758A6669-C3FE-F953-738E-A4A4EC7B56CF}"/>
                    </a:ext>
                  </a:extLst>
                </p:cNvPr>
                <p:cNvSpPr/>
                <p:nvPr/>
              </p:nvSpPr>
              <p:spPr>
                <a:xfrm>
                  <a:off x="8970519" y="1480816"/>
                  <a:ext cx="14448" cy="50072"/>
                </a:xfrm>
                <a:custGeom>
                  <a:avLst/>
                  <a:gdLst>
                    <a:gd name="connsiteX0" fmla="*/ 0 w 14448"/>
                    <a:gd name="connsiteY0" fmla="*/ 0 h 50072"/>
                    <a:gd name="connsiteX1" fmla="*/ 3487 w 14448"/>
                    <a:gd name="connsiteY1" fmla="*/ 18435 h 50072"/>
                    <a:gd name="connsiteX2" fmla="*/ 11708 w 14448"/>
                    <a:gd name="connsiteY2" fmla="*/ 33755 h 50072"/>
                    <a:gd name="connsiteX3" fmla="*/ 14448 w 1444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8" h="50072">
                      <a:moveTo>
                        <a:pt x="0" y="0"/>
                      </a:moveTo>
                      <a:cubicBezTo>
                        <a:pt x="0" y="8470"/>
                        <a:pt x="1869" y="14449"/>
                        <a:pt x="3487" y="18435"/>
                      </a:cubicBezTo>
                      <a:cubicBezTo>
                        <a:pt x="6228" y="24912"/>
                        <a:pt x="9092" y="27154"/>
                        <a:pt x="11708" y="33755"/>
                      </a:cubicBezTo>
                      <a:cubicBezTo>
                        <a:pt x="14200" y="40232"/>
                        <a:pt x="14448" y="46086"/>
                        <a:pt x="1444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8" name="Freeform 7151">
                  <a:extLst>
                    <a:ext uri="{FF2B5EF4-FFF2-40B4-BE49-F238E27FC236}">
                      <a16:creationId xmlns:a16="http://schemas.microsoft.com/office/drawing/2014/main" id="{517CB864-F903-6C49-ABB2-E316678B5E81}"/>
                    </a:ext>
                  </a:extLst>
                </p:cNvPr>
                <p:cNvSpPr/>
                <p:nvPr/>
              </p:nvSpPr>
              <p:spPr>
                <a:xfrm>
                  <a:off x="8975625" y="1473965"/>
                  <a:ext cx="15943" cy="49573"/>
                </a:xfrm>
                <a:custGeom>
                  <a:avLst/>
                  <a:gdLst>
                    <a:gd name="connsiteX0" fmla="*/ 15944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4" y="49574"/>
                      </a:moveTo>
                      <a:cubicBezTo>
                        <a:pt x="11210" y="42599"/>
                        <a:pt x="9467" y="36495"/>
                        <a:pt x="8595" y="32260"/>
                      </a:cubicBezTo>
                      <a:cubicBezTo>
                        <a:pt x="7349" y="25410"/>
                        <a:pt x="8471" y="21798"/>
                        <a:pt x="6851" y="14947"/>
                      </a:cubicBezTo>
                      <a:cubicBezTo>
                        <a:pt x="5357"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9" name="Freeform 7152">
                  <a:extLst>
                    <a:ext uri="{FF2B5EF4-FFF2-40B4-BE49-F238E27FC236}">
                      <a16:creationId xmlns:a16="http://schemas.microsoft.com/office/drawing/2014/main" id="{7E3F8E32-2869-104C-E5B1-88482EC29C40}"/>
                    </a:ext>
                  </a:extLst>
                </p:cNvPr>
                <p:cNvSpPr/>
                <p:nvPr/>
              </p:nvSpPr>
              <p:spPr>
                <a:xfrm>
                  <a:off x="8958729" y="1459638"/>
                  <a:ext cx="26319" cy="26661"/>
                </a:xfrm>
                <a:custGeom>
                  <a:avLst/>
                  <a:gdLst>
                    <a:gd name="connsiteX0" fmla="*/ 25740 w 26319"/>
                    <a:gd name="connsiteY0" fmla="*/ 9345 h 26661"/>
                    <a:gd name="connsiteX1" fmla="*/ 17021 w 26319"/>
                    <a:gd name="connsiteY1" fmla="*/ 26035 h 26661"/>
                    <a:gd name="connsiteX2" fmla="*/ 579 w 26319"/>
                    <a:gd name="connsiteY2" fmla="*/ 17316 h 26661"/>
                    <a:gd name="connsiteX3" fmla="*/ 9299 w 26319"/>
                    <a:gd name="connsiteY3" fmla="*/ 626 h 26661"/>
                    <a:gd name="connsiteX4" fmla="*/ 25740 w 2631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661">
                      <a:moveTo>
                        <a:pt x="25740" y="9345"/>
                      </a:moveTo>
                      <a:cubicBezTo>
                        <a:pt x="27858" y="16320"/>
                        <a:pt x="23996" y="23793"/>
                        <a:pt x="17021" y="26035"/>
                      </a:cubicBezTo>
                      <a:cubicBezTo>
                        <a:pt x="10046" y="28278"/>
                        <a:pt x="2697" y="24292"/>
                        <a:pt x="579" y="17316"/>
                      </a:cubicBezTo>
                      <a:cubicBezTo>
                        <a:pt x="-1538" y="10341"/>
                        <a:pt x="2323" y="2868"/>
                        <a:pt x="9299" y="626"/>
                      </a:cubicBezTo>
                      <a:cubicBezTo>
                        <a:pt x="16274" y="-1616"/>
                        <a:pt x="23623" y="2370"/>
                        <a:pt x="25740"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79" name="Graphic 2987">
                <a:extLst>
                  <a:ext uri="{FF2B5EF4-FFF2-40B4-BE49-F238E27FC236}">
                    <a16:creationId xmlns:a16="http://schemas.microsoft.com/office/drawing/2014/main" id="{91EB43CC-9560-ED47-01BF-CEBFF253B98F}"/>
                  </a:ext>
                </a:extLst>
              </p:cNvPr>
              <p:cNvGrpSpPr/>
              <p:nvPr/>
            </p:nvGrpSpPr>
            <p:grpSpPr>
              <a:xfrm>
                <a:off x="8930839" y="1468482"/>
                <a:ext cx="61422" cy="143982"/>
                <a:chOff x="8930839" y="1468482"/>
                <a:chExt cx="61422" cy="143982"/>
              </a:xfrm>
              <a:grpFill/>
            </p:grpSpPr>
            <p:sp>
              <p:nvSpPr>
                <p:cNvPr id="6918" name="Freeform 7154">
                  <a:extLst>
                    <a:ext uri="{FF2B5EF4-FFF2-40B4-BE49-F238E27FC236}">
                      <a16:creationId xmlns:a16="http://schemas.microsoft.com/office/drawing/2014/main" id="{CF3938B3-E0BD-EC69-AD5A-FE0F0EB1177F}"/>
                    </a:ext>
                  </a:extLst>
                </p:cNvPr>
                <p:cNvSpPr/>
                <p:nvPr/>
              </p:nvSpPr>
              <p:spPr>
                <a:xfrm>
                  <a:off x="8966134" y="1540977"/>
                  <a:ext cx="14355" cy="50196"/>
                </a:xfrm>
                <a:custGeom>
                  <a:avLst/>
                  <a:gdLst>
                    <a:gd name="connsiteX0" fmla="*/ 14349 w 14355"/>
                    <a:gd name="connsiteY0" fmla="*/ 50197 h 50196"/>
                    <a:gd name="connsiteX1" fmla="*/ 10862 w 14355"/>
                    <a:gd name="connsiteY1" fmla="*/ 31638 h 50196"/>
                    <a:gd name="connsiteX2" fmla="*/ 2641 w 14355"/>
                    <a:gd name="connsiteY2" fmla="*/ 16317 h 50196"/>
                    <a:gd name="connsiteX3" fmla="*/ 26 w 14355"/>
                    <a:gd name="connsiteY3" fmla="*/ 0 h 50196"/>
                  </a:gdLst>
                  <a:ahLst/>
                  <a:cxnLst>
                    <a:cxn ang="0">
                      <a:pos x="connsiteX0" y="connsiteY0"/>
                    </a:cxn>
                    <a:cxn ang="0">
                      <a:pos x="connsiteX1" y="connsiteY1"/>
                    </a:cxn>
                    <a:cxn ang="0">
                      <a:pos x="connsiteX2" y="connsiteY2"/>
                    </a:cxn>
                    <a:cxn ang="0">
                      <a:pos x="connsiteX3" y="connsiteY3"/>
                    </a:cxn>
                  </a:cxnLst>
                  <a:rect l="l" t="t" r="r" b="b"/>
                  <a:pathLst>
                    <a:path w="14355" h="50196">
                      <a:moveTo>
                        <a:pt x="14349" y="50197"/>
                      </a:moveTo>
                      <a:cubicBezTo>
                        <a:pt x="14474" y="41727"/>
                        <a:pt x="12605" y="35624"/>
                        <a:pt x="10862" y="31638"/>
                      </a:cubicBezTo>
                      <a:cubicBezTo>
                        <a:pt x="8121" y="25161"/>
                        <a:pt x="5257" y="22919"/>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9" name="Freeform 7155">
                  <a:extLst>
                    <a:ext uri="{FF2B5EF4-FFF2-40B4-BE49-F238E27FC236}">
                      <a16:creationId xmlns:a16="http://schemas.microsoft.com/office/drawing/2014/main" id="{7F8BBA35-7DA7-3D19-0A1F-C38156C7E0A3}"/>
                    </a:ext>
                  </a:extLst>
                </p:cNvPr>
                <p:cNvSpPr/>
                <p:nvPr/>
              </p:nvSpPr>
              <p:spPr>
                <a:xfrm>
                  <a:off x="8959558" y="1548326"/>
                  <a:ext cx="15569" cy="49823"/>
                </a:xfrm>
                <a:custGeom>
                  <a:avLst/>
                  <a:gdLst>
                    <a:gd name="connsiteX0" fmla="*/ 0 w 15569"/>
                    <a:gd name="connsiteY0" fmla="*/ 0 h 49823"/>
                    <a:gd name="connsiteX1" fmla="*/ 7225 w 15569"/>
                    <a:gd name="connsiteY1" fmla="*/ 17314 h 49823"/>
                    <a:gd name="connsiteX2" fmla="*/ 8844 w 15569"/>
                    <a:gd name="connsiteY2" fmla="*/ 34752 h 49823"/>
                    <a:gd name="connsiteX3" fmla="*/ 1557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0" y="0"/>
                      </a:moveTo>
                      <a:cubicBezTo>
                        <a:pt x="4609" y="6975"/>
                        <a:pt x="6477" y="13079"/>
                        <a:pt x="7225" y="17314"/>
                      </a:cubicBezTo>
                      <a:cubicBezTo>
                        <a:pt x="8470" y="24164"/>
                        <a:pt x="7349" y="27776"/>
                        <a:pt x="8844" y="34752"/>
                      </a:cubicBezTo>
                      <a:cubicBezTo>
                        <a:pt x="10339" y="41478"/>
                        <a:pt x="13328" y="46585"/>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0" name="Freeform 7156">
                  <a:extLst>
                    <a:ext uri="{FF2B5EF4-FFF2-40B4-BE49-F238E27FC236}">
                      <a16:creationId xmlns:a16="http://schemas.microsoft.com/office/drawing/2014/main" id="{428C7B00-0E48-144A-5C9F-8E714AB9A3DF}"/>
                    </a:ext>
                  </a:extLst>
                </p:cNvPr>
                <p:cNvSpPr/>
                <p:nvPr/>
              </p:nvSpPr>
              <p:spPr>
                <a:xfrm>
                  <a:off x="8965602" y="1585804"/>
                  <a:ext cx="26659" cy="26660"/>
                </a:xfrm>
                <a:custGeom>
                  <a:avLst/>
                  <a:gdLst>
                    <a:gd name="connsiteX0" fmla="*/ 558 w 26659"/>
                    <a:gd name="connsiteY0" fmla="*/ 17203 h 26660"/>
                    <a:gd name="connsiteX1" fmla="*/ 9526 w 26659"/>
                    <a:gd name="connsiteY1" fmla="*/ 637 h 26660"/>
                    <a:gd name="connsiteX2" fmla="*/ 26092 w 26659"/>
                    <a:gd name="connsiteY2" fmla="*/ 9356 h 26660"/>
                    <a:gd name="connsiteX3" fmla="*/ 17124 w 26659"/>
                    <a:gd name="connsiteY3" fmla="*/ 26046 h 26660"/>
                    <a:gd name="connsiteX4" fmla="*/ 558 w 26659"/>
                    <a:gd name="connsiteY4" fmla="*/ 17203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660">
                      <a:moveTo>
                        <a:pt x="558" y="17203"/>
                      </a:moveTo>
                      <a:cubicBezTo>
                        <a:pt x="-1560" y="10228"/>
                        <a:pt x="2551" y="2879"/>
                        <a:pt x="9526" y="637"/>
                      </a:cubicBezTo>
                      <a:cubicBezTo>
                        <a:pt x="16501" y="-1605"/>
                        <a:pt x="23974" y="2256"/>
                        <a:pt x="26092" y="9356"/>
                      </a:cubicBezTo>
                      <a:cubicBezTo>
                        <a:pt x="28209" y="16331"/>
                        <a:pt x="24223" y="23804"/>
                        <a:pt x="17124" y="26046"/>
                      </a:cubicBezTo>
                      <a:cubicBezTo>
                        <a:pt x="10148" y="28289"/>
                        <a:pt x="2675" y="24178"/>
                        <a:pt x="558"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1" name="Freeform 7157">
                  <a:extLst>
                    <a:ext uri="{FF2B5EF4-FFF2-40B4-BE49-F238E27FC236}">
                      <a16:creationId xmlns:a16="http://schemas.microsoft.com/office/drawing/2014/main" id="{6E1D5E48-1EF1-F094-E2A7-D89D4FF6A0ED}"/>
                    </a:ext>
                  </a:extLst>
                </p:cNvPr>
                <p:cNvSpPr/>
                <p:nvPr/>
              </p:nvSpPr>
              <p:spPr>
                <a:xfrm>
                  <a:off x="8942493" y="1489659"/>
                  <a:ext cx="14225" cy="50196"/>
                </a:xfrm>
                <a:custGeom>
                  <a:avLst/>
                  <a:gdLst>
                    <a:gd name="connsiteX0" fmla="*/ 0 w 14225"/>
                    <a:gd name="connsiteY0" fmla="*/ 0 h 50196"/>
                    <a:gd name="connsiteX1" fmla="*/ 3487 w 14225"/>
                    <a:gd name="connsiteY1" fmla="*/ 18559 h 50196"/>
                    <a:gd name="connsiteX2" fmla="*/ 11584 w 14225"/>
                    <a:gd name="connsiteY2" fmla="*/ 33880 h 50196"/>
                    <a:gd name="connsiteX3" fmla="*/ 14200 w 142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225" h="50196">
                      <a:moveTo>
                        <a:pt x="0" y="0"/>
                      </a:moveTo>
                      <a:cubicBezTo>
                        <a:pt x="0" y="8470"/>
                        <a:pt x="1744" y="14573"/>
                        <a:pt x="3487" y="18559"/>
                      </a:cubicBezTo>
                      <a:cubicBezTo>
                        <a:pt x="6228" y="25036"/>
                        <a:pt x="9092" y="27278"/>
                        <a:pt x="11584" y="33880"/>
                      </a:cubicBezTo>
                      <a:cubicBezTo>
                        <a:pt x="14075" y="40357"/>
                        <a:pt x="14324" y="46211"/>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2" name="Freeform 7158">
                  <a:extLst>
                    <a:ext uri="{FF2B5EF4-FFF2-40B4-BE49-F238E27FC236}">
                      <a16:creationId xmlns:a16="http://schemas.microsoft.com/office/drawing/2014/main" id="{8E745D0A-A0F5-B35F-137E-AB1F75B9D578}"/>
                    </a:ext>
                  </a:extLst>
                </p:cNvPr>
                <p:cNvSpPr/>
                <p:nvPr/>
              </p:nvSpPr>
              <p:spPr>
                <a:xfrm>
                  <a:off x="8947725" y="1482684"/>
                  <a:ext cx="15569" cy="49823"/>
                </a:xfrm>
                <a:custGeom>
                  <a:avLst/>
                  <a:gdLst>
                    <a:gd name="connsiteX0" fmla="*/ 15570 w 15569"/>
                    <a:gd name="connsiteY0" fmla="*/ 49823 h 49823"/>
                    <a:gd name="connsiteX1" fmla="*/ 8346 w 15569"/>
                    <a:gd name="connsiteY1" fmla="*/ 32510 h 49823"/>
                    <a:gd name="connsiteX2" fmla="*/ 6727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836" y="42848"/>
                        <a:pt x="9093" y="36745"/>
                        <a:pt x="8346" y="32510"/>
                      </a:cubicBezTo>
                      <a:cubicBezTo>
                        <a:pt x="7100" y="25659"/>
                        <a:pt x="8221" y="22047"/>
                        <a:pt x="6727" y="15071"/>
                      </a:cubicBezTo>
                      <a:cubicBezTo>
                        <a:pt x="5232"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23" name="Freeform 7159">
                  <a:extLst>
                    <a:ext uri="{FF2B5EF4-FFF2-40B4-BE49-F238E27FC236}">
                      <a16:creationId xmlns:a16="http://schemas.microsoft.com/office/drawing/2014/main" id="{F938A343-7FCD-089A-74BD-DF6D1AF4B555}"/>
                    </a:ext>
                  </a:extLst>
                </p:cNvPr>
                <p:cNvSpPr/>
                <p:nvPr/>
              </p:nvSpPr>
              <p:spPr>
                <a:xfrm>
                  <a:off x="8930839" y="1468482"/>
                  <a:ext cx="26184" cy="26660"/>
                </a:xfrm>
                <a:custGeom>
                  <a:avLst/>
                  <a:gdLst>
                    <a:gd name="connsiteX0" fmla="*/ 25605 w 26184"/>
                    <a:gd name="connsiteY0" fmla="*/ 9345 h 26660"/>
                    <a:gd name="connsiteX1" fmla="*/ 16886 w 26184"/>
                    <a:gd name="connsiteY1" fmla="*/ 26035 h 26660"/>
                    <a:gd name="connsiteX2" fmla="*/ 569 w 26184"/>
                    <a:gd name="connsiteY2" fmla="*/ 17192 h 26660"/>
                    <a:gd name="connsiteX3" fmla="*/ 9288 w 26184"/>
                    <a:gd name="connsiteY3" fmla="*/ 626 h 26660"/>
                    <a:gd name="connsiteX4" fmla="*/ 25605 w 26184"/>
                    <a:gd name="connsiteY4" fmla="*/ 9345 h 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660">
                      <a:moveTo>
                        <a:pt x="25605" y="9345"/>
                      </a:moveTo>
                      <a:cubicBezTo>
                        <a:pt x="27723" y="16320"/>
                        <a:pt x="23861" y="23793"/>
                        <a:pt x="16886" y="26035"/>
                      </a:cubicBezTo>
                      <a:cubicBezTo>
                        <a:pt x="9911" y="28278"/>
                        <a:pt x="2562" y="24292"/>
                        <a:pt x="569" y="17192"/>
                      </a:cubicBezTo>
                      <a:cubicBezTo>
                        <a:pt x="-1548" y="10217"/>
                        <a:pt x="2438" y="2868"/>
                        <a:pt x="9288" y="626"/>
                      </a:cubicBezTo>
                      <a:cubicBezTo>
                        <a:pt x="16139" y="-1616"/>
                        <a:pt x="23488" y="2370"/>
                        <a:pt x="25605"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0" name="Graphic 2987">
                <a:extLst>
                  <a:ext uri="{FF2B5EF4-FFF2-40B4-BE49-F238E27FC236}">
                    <a16:creationId xmlns:a16="http://schemas.microsoft.com/office/drawing/2014/main" id="{BA0A7C28-CD7D-DB09-9287-57C634690219}"/>
                  </a:ext>
                </a:extLst>
              </p:cNvPr>
              <p:cNvGrpSpPr/>
              <p:nvPr/>
            </p:nvGrpSpPr>
            <p:grpSpPr>
              <a:xfrm>
                <a:off x="8902371" y="1476710"/>
                <a:ext cx="61231" cy="143989"/>
                <a:chOff x="8902371" y="1476710"/>
                <a:chExt cx="61231" cy="143989"/>
              </a:xfrm>
              <a:grpFill/>
            </p:grpSpPr>
            <p:sp>
              <p:nvSpPr>
                <p:cNvPr id="6912" name="Freeform 7161">
                  <a:extLst>
                    <a:ext uri="{FF2B5EF4-FFF2-40B4-BE49-F238E27FC236}">
                      <a16:creationId xmlns:a16="http://schemas.microsoft.com/office/drawing/2014/main" id="{A6762CA6-D9AD-E308-4556-18AB407F5599}"/>
                    </a:ext>
                  </a:extLst>
                </p:cNvPr>
                <p:cNvSpPr/>
                <p:nvPr/>
              </p:nvSpPr>
              <p:spPr>
                <a:xfrm>
                  <a:off x="8937818" y="1549447"/>
                  <a:ext cx="14022" cy="50196"/>
                </a:xfrm>
                <a:custGeom>
                  <a:avLst/>
                  <a:gdLst>
                    <a:gd name="connsiteX0" fmla="*/ 14017 w 14022"/>
                    <a:gd name="connsiteY0" fmla="*/ 50197 h 50196"/>
                    <a:gd name="connsiteX1" fmla="*/ 10654 w 14022"/>
                    <a:gd name="connsiteY1" fmla="*/ 31762 h 50196"/>
                    <a:gd name="connsiteX2" fmla="*/ 2558 w 14022"/>
                    <a:gd name="connsiteY2" fmla="*/ 16317 h 50196"/>
                    <a:gd name="connsiteX3" fmla="*/ 66 w 14022"/>
                    <a:gd name="connsiteY3" fmla="*/ 0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50197"/>
                      </a:moveTo>
                      <a:cubicBezTo>
                        <a:pt x="14141" y="41851"/>
                        <a:pt x="12273" y="35748"/>
                        <a:pt x="10654" y="31762"/>
                      </a:cubicBezTo>
                      <a:cubicBezTo>
                        <a:pt x="7914" y="25285"/>
                        <a:pt x="5048" y="22919"/>
                        <a:pt x="2558" y="16317"/>
                      </a:cubicBezTo>
                      <a:cubicBezTo>
                        <a:pt x="191" y="9840"/>
                        <a:pt x="-183" y="3986"/>
                        <a:pt x="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3" name="Freeform 7162">
                  <a:extLst>
                    <a:ext uri="{FF2B5EF4-FFF2-40B4-BE49-F238E27FC236}">
                      <a16:creationId xmlns:a16="http://schemas.microsoft.com/office/drawing/2014/main" id="{679A2797-DA9C-DD10-1CAC-7F7F836551C7}"/>
                    </a:ext>
                  </a:extLst>
                </p:cNvPr>
                <p:cNvSpPr/>
                <p:nvPr/>
              </p:nvSpPr>
              <p:spPr>
                <a:xfrm>
                  <a:off x="8931034" y="1556547"/>
                  <a:ext cx="15445" cy="49823"/>
                </a:xfrm>
                <a:custGeom>
                  <a:avLst/>
                  <a:gdLst>
                    <a:gd name="connsiteX0" fmla="*/ 0 w 15445"/>
                    <a:gd name="connsiteY0" fmla="*/ 0 h 49823"/>
                    <a:gd name="connsiteX1" fmla="*/ 7224 w 15445"/>
                    <a:gd name="connsiteY1" fmla="*/ 17438 h 49823"/>
                    <a:gd name="connsiteX2" fmla="*/ 8718 w 15445"/>
                    <a:gd name="connsiteY2" fmla="*/ 34752 h 49823"/>
                    <a:gd name="connsiteX3" fmla="*/ 15445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0" y="0"/>
                      </a:moveTo>
                      <a:cubicBezTo>
                        <a:pt x="4609" y="7100"/>
                        <a:pt x="6476" y="13079"/>
                        <a:pt x="7224" y="17438"/>
                      </a:cubicBezTo>
                      <a:cubicBezTo>
                        <a:pt x="8470" y="24289"/>
                        <a:pt x="7224" y="27776"/>
                        <a:pt x="8718" y="34752"/>
                      </a:cubicBezTo>
                      <a:cubicBezTo>
                        <a:pt x="10214" y="41478"/>
                        <a:pt x="13203" y="46585"/>
                        <a:pt x="15445"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4" name="Freeform 7163">
                  <a:extLst>
                    <a:ext uri="{FF2B5EF4-FFF2-40B4-BE49-F238E27FC236}">
                      <a16:creationId xmlns:a16="http://schemas.microsoft.com/office/drawing/2014/main" id="{6540ED3D-70FC-FFD6-81BD-555BA3082304}"/>
                    </a:ext>
                  </a:extLst>
                </p:cNvPr>
                <p:cNvSpPr/>
                <p:nvPr/>
              </p:nvSpPr>
              <p:spPr>
                <a:xfrm>
                  <a:off x="8936874" y="1594283"/>
                  <a:ext cx="26728" cy="26416"/>
                </a:xfrm>
                <a:custGeom>
                  <a:avLst/>
                  <a:gdLst>
                    <a:gd name="connsiteX0" fmla="*/ 513 w 26728"/>
                    <a:gd name="connsiteY0" fmla="*/ 16820 h 26416"/>
                    <a:gd name="connsiteX1" fmla="*/ 9605 w 26728"/>
                    <a:gd name="connsiteY1" fmla="*/ 503 h 26416"/>
                    <a:gd name="connsiteX2" fmla="*/ 26171 w 26728"/>
                    <a:gd name="connsiteY2" fmla="*/ 9596 h 26416"/>
                    <a:gd name="connsiteX3" fmla="*/ 17078 w 26728"/>
                    <a:gd name="connsiteY3" fmla="*/ 25913 h 26416"/>
                    <a:gd name="connsiteX4" fmla="*/ 513 w 26728"/>
                    <a:gd name="connsiteY4" fmla="*/ 16820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416">
                      <a:moveTo>
                        <a:pt x="513" y="16820"/>
                      </a:moveTo>
                      <a:cubicBezTo>
                        <a:pt x="-1481" y="9845"/>
                        <a:pt x="2505" y="2496"/>
                        <a:pt x="9605" y="503"/>
                      </a:cubicBezTo>
                      <a:cubicBezTo>
                        <a:pt x="16705" y="-1490"/>
                        <a:pt x="24178" y="2621"/>
                        <a:pt x="26171" y="9596"/>
                      </a:cubicBezTo>
                      <a:cubicBezTo>
                        <a:pt x="28289" y="16571"/>
                        <a:pt x="24178" y="23920"/>
                        <a:pt x="17078" y="25913"/>
                      </a:cubicBezTo>
                      <a:cubicBezTo>
                        <a:pt x="9978" y="27906"/>
                        <a:pt x="2630" y="23795"/>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5" name="Freeform 7164">
                  <a:extLst>
                    <a:ext uri="{FF2B5EF4-FFF2-40B4-BE49-F238E27FC236}">
                      <a16:creationId xmlns:a16="http://schemas.microsoft.com/office/drawing/2014/main" id="{268C6F78-8490-AB49-7102-FA76A9191938}"/>
                    </a:ext>
                  </a:extLst>
                </p:cNvPr>
                <p:cNvSpPr/>
                <p:nvPr/>
              </p:nvSpPr>
              <p:spPr>
                <a:xfrm>
                  <a:off x="8914213" y="1497756"/>
                  <a:ext cx="14022" cy="50196"/>
                </a:xfrm>
                <a:custGeom>
                  <a:avLst/>
                  <a:gdLst>
                    <a:gd name="connsiteX0" fmla="*/ 6 w 14022"/>
                    <a:gd name="connsiteY0" fmla="*/ 0 h 50196"/>
                    <a:gd name="connsiteX1" fmla="*/ 3369 w 14022"/>
                    <a:gd name="connsiteY1" fmla="*/ 18435 h 50196"/>
                    <a:gd name="connsiteX2" fmla="*/ 11466 w 14022"/>
                    <a:gd name="connsiteY2" fmla="*/ 33880 h 50196"/>
                    <a:gd name="connsiteX3" fmla="*/ 1395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6" y="0"/>
                      </a:moveTo>
                      <a:cubicBezTo>
                        <a:pt x="-119" y="8345"/>
                        <a:pt x="1750" y="14449"/>
                        <a:pt x="3369" y="18435"/>
                      </a:cubicBezTo>
                      <a:cubicBezTo>
                        <a:pt x="6109" y="24912"/>
                        <a:pt x="8974" y="27278"/>
                        <a:pt x="11466" y="33880"/>
                      </a:cubicBezTo>
                      <a:cubicBezTo>
                        <a:pt x="13832" y="40357"/>
                        <a:pt x="14206" y="46211"/>
                        <a:pt x="1395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6" name="Freeform 7165">
                  <a:extLst>
                    <a:ext uri="{FF2B5EF4-FFF2-40B4-BE49-F238E27FC236}">
                      <a16:creationId xmlns:a16="http://schemas.microsoft.com/office/drawing/2014/main" id="{EEC0D80B-58BF-4C9C-00EC-8A4E324BF96B}"/>
                    </a:ext>
                  </a:extLst>
                </p:cNvPr>
                <p:cNvSpPr/>
                <p:nvPr/>
              </p:nvSpPr>
              <p:spPr>
                <a:xfrm>
                  <a:off x="8919326" y="1491029"/>
                  <a:ext cx="15569" cy="49823"/>
                </a:xfrm>
                <a:custGeom>
                  <a:avLst/>
                  <a:gdLst>
                    <a:gd name="connsiteX0" fmla="*/ 15570 w 15569"/>
                    <a:gd name="connsiteY0" fmla="*/ 49823 h 49823"/>
                    <a:gd name="connsiteX1" fmla="*/ 8345 w 15569"/>
                    <a:gd name="connsiteY1" fmla="*/ 32385 h 49823"/>
                    <a:gd name="connsiteX2" fmla="*/ 6726 w 15569"/>
                    <a:gd name="connsiteY2" fmla="*/ 15071 h 49823"/>
                    <a:gd name="connsiteX3" fmla="*/ 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49823"/>
                      </a:moveTo>
                      <a:cubicBezTo>
                        <a:pt x="10961" y="42723"/>
                        <a:pt x="9092" y="36745"/>
                        <a:pt x="8345" y="32385"/>
                      </a:cubicBezTo>
                      <a:cubicBezTo>
                        <a:pt x="7100" y="25534"/>
                        <a:pt x="8345" y="22047"/>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7" name="Freeform 7166">
                  <a:extLst>
                    <a:ext uri="{FF2B5EF4-FFF2-40B4-BE49-F238E27FC236}">
                      <a16:creationId xmlns:a16="http://schemas.microsoft.com/office/drawing/2014/main" id="{14D5619A-C5D9-96E0-C8F4-F7C4E43A43EB}"/>
                    </a:ext>
                  </a:extLst>
                </p:cNvPr>
                <p:cNvSpPr/>
                <p:nvPr/>
              </p:nvSpPr>
              <p:spPr>
                <a:xfrm>
                  <a:off x="8902371" y="1476710"/>
                  <a:ext cx="26490" cy="26530"/>
                </a:xfrm>
                <a:custGeom>
                  <a:avLst/>
                  <a:gdLst>
                    <a:gd name="connsiteX0" fmla="*/ 25923 w 26490"/>
                    <a:gd name="connsiteY0" fmla="*/ 9711 h 26530"/>
                    <a:gd name="connsiteX1" fmla="*/ 16955 w 26490"/>
                    <a:gd name="connsiteY1" fmla="*/ 26028 h 26530"/>
                    <a:gd name="connsiteX2" fmla="*/ 513 w 26490"/>
                    <a:gd name="connsiteY2" fmla="*/ 16811 h 26530"/>
                    <a:gd name="connsiteX3" fmla="*/ 9481 w 26490"/>
                    <a:gd name="connsiteY3" fmla="*/ 494 h 26530"/>
                    <a:gd name="connsiteX4" fmla="*/ 25923 w 26490"/>
                    <a:gd name="connsiteY4" fmla="*/ 971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0" h="26530">
                      <a:moveTo>
                        <a:pt x="25923" y="9711"/>
                      </a:moveTo>
                      <a:cubicBezTo>
                        <a:pt x="28040" y="16686"/>
                        <a:pt x="24055" y="24035"/>
                        <a:pt x="16955" y="26028"/>
                      </a:cubicBezTo>
                      <a:cubicBezTo>
                        <a:pt x="9980" y="28021"/>
                        <a:pt x="2630" y="23910"/>
                        <a:pt x="513" y="16811"/>
                      </a:cubicBezTo>
                      <a:cubicBezTo>
                        <a:pt x="-1480" y="9835"/>
                        <a:pt x="2506" y="2487"/>
                        <a:pt x="9481" y="494"/>
                      </a:cubicBezTo>
                      <a:cubicBezTo>
                        <a:pt x="16456" y="-1499"/>
                        <a:pt x="23930" y="2736"/>
                        <a:pt x="25923" y="97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1" name="Graphic 2987">
                <a:extLst>
                  <a:ext uri="{FF2B5EF4-FFF2-40B4-BE49-F238E27FC236}">
                    <a16:creationId xmlns:a16="http://schemas.microsoft.com/office/drawing/2014/main" id="{497ADBB6-5E87-0CAA-8F3E-D794465846B2}"/>
                  </a:ext>
                </a:extLst>
              </p:cNvPr>
              <p:cNvGrpSpPr/>
              <p:nvPr/>
            </p:nvGrpSpPr>
            <p:grpSpPr>
              <a:xfrm>
                <a:off x="8874221" y="1484725"/>
                <a:ext cx="60722" cy="143999"/>
                <a:chOff x="8874221" y="1484725"/>
                <a:chExt cx="60722" cy="143999"/>
              </a:xfrm>
              <a:grpFill/>
            </p:grpSpPr>
            <p:sp>
              <p:nvSpPr>
                <p:cNvPr id="6906" name="Freeform 7168">
                  <a:extLst>
                    <a:ext uri="{FF2B5EF4-FFF2-40B4-BE49-F238E27FC236}">
                      <a16:creationId xmlns:a16="http://schemas.microsoft.com/office/drawing/2014/main" id="{C179E388-DA86-5057-C86D-FFD10517D3BB}"/>
                    </a:ext>
                  </a:extLst>
                </p:cNvPr>
                <p:cNvSpPr/>
                <p:nvPr/>
              </p:nvSpPr>
              <p:spPr>
                <a:xfrm>
                  <a:off x="8909086" y="1557543"/>
                  <a:ext cx="13982" cy="50196"/>
                </a:xfrm>
                <a:custGeom>
                  <a:avLst/>
                  <a:gdLst>
                    <a:gd name="connsiteX0" fmla="*/ 13976 w 13982"/>
                    <a:gd name="connsiteY0" fmla="*/ 50197 h 50196"/>
                    <a:gd name="connsiteX1" fmla="*/ 10613 w 13982"/>
                    <a:gd name="connsiteY1" fmla="*/ 31762 h 50196"/>
                    <a:gd name="connsiteX2" fmla="*/ 2517 w 13982"/>
                    <a:gd name="connsiteY2" fmla="*/ 16317 h 50196"/>
                    <a:gd name="connsiteX3" fmla="*/ 26 w 13982"/>
                    <a:gd name="connsiteY3" fmla="*/ 0 h 50196"/>
                  </a:gdLst>
                  <a:ahLst/>
                  <a:cxnLst>
                    <a:cxn ang="0">
                      <a:pos x="connsiteX0" y="connsiteY0"/>
                    </a:cxn>
                    <a:cxn ang="0">
                      <a:pos x="connsiteX1" y="connsiteY1"/>
                    </a:cxn>
                    <a:cxn ang="0">
                      <a:pos x="connsiteX2" y="connsiteY2"/>
                    </a:cxn>
                    <a:cxn ang="0">
                      <a:pos x="connsiteX3" y="connsiteY3"/>
                    </a:cxn>
                  </a:cxnLst>
                  <a:rect l="l" t="t" r="r" b="b"/>
                  <a:pathLst>
                    <a:path w="13982" h="50196">
                      <a:moveTo>
                        <a:pt x="13976" y="50197"/>
                      </a:moveTo>
                      <a:cubicBezTo>
                        <a:pt x="14101" y="41851"/>
                        <a:pt x="12357" y="35748"/>
                        <a:pt x="10613" y="31762"/>
                      </a:cubicBezTo>
                      <a:cubicBezTo>
                        <a:pt x="7873" y="25285"/>
                        <a:pt x="5008" y="22919"/>
                        <a:pt x="2517" y="16317"/>
                      </a:cubicBezTo>
                      <a:cubicBezTo>
                        <a:pt x="151"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7" name="Freeform 7169">
                  <a:extLst>
                    <a:ext uri="{FF2B5EF4-FFF2-40B4-BE49-F238E27FC236}">
                      <a16:creationId xmlns:a16="http://schemas.microsoft.com/office/drawing/2014/main" id="{2931317B-B58E-4DA5-B7CA-A90E3D26CD0C}"/>
                    </a:ext>
                  </a:extLst>
                </p:cNvPr>
                <p:cNvSpPr/>
                <p:nvPr/>
              </p:nvSpPr>
              <p:spPr>
                <a:xfrm>
                  <a:off x="8902385" y="1564518"/>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7100"/>
                        <a:pt x="6353" y="13203"/>
                        <a:pt x="7100" y="17438"/>
                      </a:cubicBezTo>
                      <a:cubicBezTo>
                        <a:pt x="8346" y="24289"/>
                        <a:pt x="7100" y="27776"/>
                        <a:pt x="8595" y="34752"/>
                      </a:cubicBezTo>
                      <a:cubicBezTo>
                        <a:pt x="10090"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8" name="Freeform 7170">
                  <a:extLst>
                    <a:ext uri="{FF2B5EF4-FFF2-40B4-BE49-F238E27FC236}">
                      <a16:creationId xmlns:a16="http://schemas.microsoft.com/office/drawing/2014/main" id="{0AC2C23F-101B-3F99-B7C6-E8FFAB2D5802}"/>
                    </a:ext>
                  </a:extLst>
                </p:cNvPr>
                <p:cNvSpPr/>
                <p:nvPr/>
              </p:nvSpPr>
              <p:spPr>
                <a:xfrm>
                  <a:off x="8908111" y="1602254"/>
                  <a:ext cx="26832" cy="26469"/>
                </a:xfrm>
                <a:custGeom>
                  <a:avLst/>
                  <a:gdLst>
                    <a:gd name="connsiteX0" fmla="*/ 502 w 26832"/>
                    <a:gd name="connsiteY0" fmla="*/ 16820 h 26469"/>
                    <a:gd name="connsiteX1" fmla="*/ 9720 w 26832"/>
                    <a:gd name="connsiteY1" fmla="*/ 503 h 26469"/>
                    <a:gd name="connsiteX2" fmla="*/ 26286 w 26832"/>
                    <a:gd name="connsiteY2" fmla="*/ 9596 h 26469"/>
                    <a:gd name="connsiteX3" fmla="*/ 17069 w 26832"/>
                    <a:gd name="connsiteY3" fmla="*/ 25913 h 26469"/>
                    <a:gd name="connsiteX4" fmla="*/ 502 w 26832"/>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469">
                      <a:moveTo>
                        <a:pt x="502" y="16820"/>
                      </a:moveTo>
                      <a:cubicBezTo>
                        <a:pt x="-1490" y="9845"/>
                        <a:pt x="2620" y="2496"/>
                        <a:pt x="9720" y="503"/>
                      </a:cubicBezTo>
                      <a:cubicBezTo>
                        <a:pt x="16820" y="-1490"/>
                        <a:pt x="24293" y="2621"/>
                        <a:pt x="26286" y="9596"/>
                      </a:cubicBezTo>
                      <a:cubicBezTo>
                        <a:pt x="28404" y="16571"/>
                        <a:pt x="24169" y="23920"/>
                        <a:pt x="17069" y="25913"/>
                      </a:cubicBezTo>
                      <a:cubicBezTo>
                        <a:pt x="9969"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9" name="Freeform 7171">
                  <a:extLst>
                    <a:ext uri="{FF2B5EF4-FFF2-40B4-BE49-F238E27FC236}">
                      <a16:creationId xmlns:a16="http://schemas.microsoft.com/office/drawing/2014/main" id="{86610CA2-F4B6-DA5E-583E-190343ECA61F}"/>
                    </a:ext>
                  </a:extLst>
                </p:cNvPr>
                <p:cNvSpPr/>
                <p:nvPr/>
              </p:nvSpPr>
              <p:spPr>
                <a:xfrm>
                  <a:off x="8885813" y="1505727"/>
                  <a:ext cx="13982" cy="50196"/>
                </a:xfrm>
                <a:custGeom>
                  <a:avLst/>
                  <a:gdLst>
                    <a:gd name="connsiteX0" fmla="*/ 6 w 13982"/>
                    <a:gd name="connsiteY0" fmla="*/ 0 h 50196"/>
                    <a:gd name="connsiteX1" fmla="*/ 3369 w 13982"/>
                    <a:gd name="connsiteY1" fmla="*/ 18435 h 50196"/>
                    <a:gd name="connsiteX2" fmla="*/ 11465 w 13982"/>
                    <a:gd name="connsiteY2" fmla="*/ 33880 h 50196"/>
                    <a:gd name="connsiteX3" fmla="*/ 13957 w 1398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982" h="50196">
                      <a:moveTo>
                        <a:pt x="6" y="0"/>
                      </a:moveTo>
                      <a:cubicBezTo>
                        <a:pt x="-118" y="8345"/>
                        <a:pt x="1626" y="14449"/>
                        <a:pt x="3369" y="18435"/>
                      </a:cubicBezTo>
                      <a:cubicBezTo>
                        <a:pt x="6110" y="24912"/>
                        <a:pt x="8974" y="27278"/>
                        <a:pt x="11465" y="33880"/>
                      </a:cubicBezTo>
                      <a:cubicBezTo>
                        <a:pt x="13832" y="40357"/>
                        <a:pt x="14081" y="46211"/>
                        <a:pt x="13957"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0" name="Freeform 7172">
                  <a:extLst>
                    <a:ext uri="{FF2B5EF4-FFF2-40B4-BE49-F238E27FC236}">
                      <a16:creationId xmlns:a16="http://schemas.microsoft.com/office/drawing/2014/main" id="{2EFBE841-83B0-2191-AE27-07AF77186138}"/>
                    </a:ext>
                  </a:extLst>
                </p:cNvPr>
                <p:cNvSpPr/>
                <p:nvPr/>
              </p:nvSpPr>
              <p:spPr>
                <a:xfrm>
                  <a:off x="8891176" y="1499126"/>
                  <a:ext cx="15195" cy="49823"/>
                </a:xfrm>
                <a:custGeom>
                  <a:avLst/>
                  <a:gdLst>
                    <a:gd name="connsiteX0" fmla="*/ 15196 w 15195"/>
                    <a:gd name="connsiteY0" fmla="*/ 49823 h 49823"/>
                    <a:gd name="connsiteX1" fmla="*/ 8096 w 15195"/>
                    <a:gd name="connsiteY1" fmla="*/ 32385 h 49823"/>
                    <a:gd name="connsiteX2" fmla="*/ 6601 w 15195"/>
                    <a:gd name="connsiteY2" fmla="*/ 15071 h 49823"/>
                    <a:gd name="connsiteX3" fmla="*/ 0 w 15195"/>
                    <a:gd name="connsiteY3" fmla="*/ 0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49823"/>
                      </a:moveTo>
                      <a:cubicBezTo>
                        <a:pt x="10587" y="42723"/>
                        <a:pt x="8844" y="36620"/>
                        <a:pt x="8096" y="32385"/>
                      </a:cubicBezTo>
                      <a:cubicBezTo>
                        <a:pt x="6851" y="25534"/>
                        <a:pt x="8096" y="22047"/>
                        <a:pt x="6601" y="15071"/>
                      </a:cubicBezTo>
                      <a:cubicBezTo>
                        <a:pt x="5107"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11" name="Freeform 7173">
                  <a:extLst>
                    <a:ext uri="{FF2B5EF4-FFF2-40B4-BE49-F238E27FC236}">
                      <a16:creationId xmlns:a16="http://schemas.microsoft.com/office/drawing/2014/main" id="{111EC2BE-A170-2C4C-24C4-7A5DEFC15550}"/>
                    </a:ext>
                  </a:extLst>
                </p:cNvPr>
                <p:cNvSpPr/>
                <p:nvPr/>
              </p:nvSpPr>
              <p:spPr>
                <a:xfrm>
                  <a:off x="8874221" y="1484725"/>
                  <a:ext cx="26356" cy="26487"/>
                </a:xfrm>
                <a:custGeom>
                  <a:avLst/>
                  <a:gdLst>
                    <a:gd name="connsiteX0" fmla="*/ 25798 w 26356"/>
                    <a:gd name="connsiteY0" fmla="*/ 9668 h 26487"/>
                    <a:gd name="connsiteX1" fmla="*/ 16830 w 26356"/>
                    <a:gd name="connsiteY1" fmla="*/ 25985 h 26487"/>
                    <a:gd name="connsiteX2" fmla="*/ 513 w 26356"/>
                    <a:gd name="connsiteY2" fmla="*/ 16768 h 26487"/>
                    <a:gd name="connsiteX3" fmla="*/ 9481 w 26356"/>
                    <a:gd name="connsiteY3" fmla="*/ 451 h 26487"/>
                    <a:gd name="connsiteX4" fmla="*/ 25798 w 26356"/>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87">
                      <a:moveTo>
                        <a:pt x="25798" y="9668"/>
                      </a:moveTo>
                      <a:cubicBezTo>
                        <a:pt x="27916" y="16643"/>
                        <a:pt x="23805" y="23992"/>
                        <a:pt x="16830" y="25985"/>
                      </a:cubicBezTo>
                      <a:cubicBezTo>
                        <a:pt x="9855" y="27978"/>
                        <a:pt x="2506" y="23867"/>
                        <a:pt x="513" y="16768"/>
                      </a:cubicBezTo>
                      <a:cubicBezTo>
                        <a:pt x="-1480" y="9792"/>
                        <a:pt x="2506" y="2443"/>
                        <a:pt x="9481" y="451"/>
                      </a:cubicBezTo>
                      <a:cubicBezTo>
                        <a:pt x="16457" y="-1418"/>
                        <a:pt x="23805" y="2693"/>
                        <a:pt x="25798"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2" name="Graphic 2987">
                <a:extLst>
                  <a:ext uri="{FF2B5EF4-FFF2-40B4-BE49-F238E27FC236}">
                    <a16:creationId xmlns:a16="http://schemas.microsoft.com/office/drawing/2014/main" id="{FC7FE2A3-82FE-A3A0-84E0-49ADB32D2509}"/>
                  </a:ext>
                </a:extLst>
              </p:cNvPr>
              <p:cNvGrpSpPr/>
              <p:nvPr/>
            </p:nvGrpSpPr>
            <p:grpSpPr>
              <a:xfrm>
                <a:off x="8845946" y="1492644"/>
                <a:ext cx="60180" cy="144176"/>
                <a:chOff x="8845946" y="1492644"/>
                <a:chExt cx="60180" cy="144176"/>
              </a:xfrm>
              <a:grpFill/>
            </p:grpSpPr>
            <p:sp>
              <p:nvSpPr>
                <p:cNvPr id="6900" name="Freeform 7175">
                  <a:extLst>
                    <a:ext uri="{FF2B5EF4-FFF2-40B4-BE49-F238E27FC236}">
                      <a16:creationId xmlns:a16="http://schemas.microsoft.com/office/drawing/2014/main" id="{D6E63C87-8028-42AA-D01C-6A2E8CA2BC9F}"/>
                    </a:ext>
                  </a:extLst>
                </p:cNvPr>
                <p:cNvSpPr/>
                <p:nvPr/>
              </p:nvSpPr>
              <p:spPr>
                <a:xfrm>
                  <a:off x="8880636" y="1565515"/>
                  <a:ext cx="13676" cy="50321"/>
                </a:xfrm>
                <a:custGeom>
                  <a:avLst/>
                  <a:gdLst>
                    <a:gd name="connsiteX0" fmla="*/ 13654 w 13676"/>
                    <a:gd name="connsiteY0" fmla="*/ 50321 h 50321"/>
                    <a:gd name="connsiteX1" fmla="*/ 10415 w 13676"/>
                    <a:gd name="connsiteY1" fmla="*/ 31762 h 50321"/>
                    <a:gd name="connsiteX2" fmla="*/ 2443 w 13676"/>
                    <a:gd name="connsiteY2" fmla="*/ 16317 h 50321"/>
                    <a:gd name="connsiteX3" fmla="*/ 77 w 13676"/>
                    <a:gd name="connsiteY3" fmla="*/ 0 h 50321"/>
                  </a:gdLst>
                  <a:ahLst/>
                  <a:cxnLst>
                    <a:cxn ang="0">
                      <a:pos x="connsiteX0" y="connsiteY0"/>
                    </a:cxn>
                    <a:cxn ang="0">
                      <a:pos x="connsiteX1" y="connsiteY1"/>
                    </a:cxn>
                    <a:cxn ang="0">
                      <a:pos x="connsiteX2" y="connsiteY2"/>
                    </a:cxn>
                    <a:cxn ang="0">
                      <a:pos x="connsiteX3" y="connsiteY3"/>
                    </a:cxn>
                  </a:cxnLst>
                  <a:rect l="l" t="t" r="r" b="b"/>
                  <a:pathLst>
                    <a:path w="13676" h="50321">
                      <a:moveTo>
                        <a:pt x="13654" y="50321"/>
                      </a:moveTo>
                      <a:cubicBezTo>
                        <a:pt x="13903" y="41976"/>
                        <a:pt x="12035" y="35873"/>
                        <a:pt x="10415" y="31762"/>
                      </a:cubicBezTo>
                      <a:cubicBezTo>
                        <a:pt x="7799" y="25285"/>
                        <a:pt x="4810" y="22919"/>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1" name="Freeform 7176">
                  <a:extLst>
                    <a:ext uri="{FF2B5EF4-FFF2-40B4-BE49-F238E27FC236}">
                      <a16:creationId xmlns:a16="http://schemas.microsoft.com/office/drawing/2014/main" id="{458BB500-BE2F-A275-F005-40836FDFACA1}"/>
                    </a:ext>
                  </a:extLst>
                </p:cNvPr>
                <p:cNvSpPr/>
                <p:nvPr/>
              </p:nvSpPr>
              <p:spPr>
                <a:xfrm>
                  <a:off x="8873862" y="1572615"/>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2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6975" y="27901"/>
                        <a:pt x="8470" y="34752"/>
                      </a:cubicBezTo>
                      <a:cubicBezTo>
                        <a:pt x="9840" y="41478"/>
                        <a:pt x="12830" y="46585"/>
                        <a:pt x="1507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2" name="Freeform 7177">
                  <a:extLst>
                    <a:ext uri="{FF2B5EF4-FFF2-40B4-BE49-F238E27FC236}">
                      <a16:creationId xmlns:a16="http://schemas.microsoft.com/office/drawing/2014/main" id="{94CE3BB2-95AC-2990-246B-BBA5586A7BB0}"/>
                    </a:ext>
                  </a:extLst>
                </p:cNvPr>
                <p:cNvSpPr/>
                <p:nvPr/>
              </p:nvSpPr>
              <p:spPr>
                <a:xfrm>
                  <a:off x="8879338" y="1610351"/>
                  <a:ext cx="26788" cy="26469"/>
                </a:xfrm>
                <a:custGeom>
                  <a:avLst/>
                  <a:gdLst>
                    <a:gd name="connsiteX0" fmla="*/ 502 w 26788"/>
                    <a:gd name="connsiteY0" fmla="*/ 16820 h 26469"/>
                    <a:gd name="connsiteX1" fmla="*/ 9720 w 26788"/>
                    <a:gd name="connsiteY1" fmla="*/ 503 h 26469"/>
                    <a:gd name="connsiteX2" fmla="*/ 26286 w 26788"/>
                    <a:gd name="connsiteY2" fmla="*/ 9596 h 26469"/>
                    <a:gd name="connsiteX3" fmla="*/ 17069 w 26788"/>
                    <a:gd name="connsiteY3" fmla="*/ 25913 h 26469"/>
                    <a:gd name="connsiteX4" fmla="*/ 502 w 26788"/>
                    <a:gd name="connsiteY4" fmla="*/ 1682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69">
                      <a:moveTo>
                        <a:pt x="502" y="16820"/>
                      </a:moveTo>
                      <a:cubicBezTo>
                        <a:pt x="-1490" y="9720"/>
                        <a:pt x="2620" y="2496"/>
                        <a:pt x="9720" y="503"/>
                      </a:cubicBezTo>
                      <a:cubicBezTo>
                        <a:pt x="16819" y="-1490"/>
                        <a:pt x="24169" y="2621"/>
                        <a:pt x="26286" y="9596"/>
                      </a:cubicBezTo>
                      <a:cubicBezTo>
                        <a:pt x="28279" y="16571"/>
                        <a:pt x="24169" y="23920"/>
                        <a:pt x="17069" y="25913"/>
                      </a:cubicBezTo>
                      <a:cubicBezTo>
                        <a:pt x="9844" y="28030"/>
                        <a:pt x="2496" y="23920"/>
                        <a:pt x="50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3" name="Freeform 7178">
                  <a:extLst>
                    <a:ext uri="{FF2B5EF4-FFF2-40B4-BE49-F238E27FC236}">
                      <a16:creationId xmlns:a16="http://schemas.microsoft.com/office/drawing/2014/main" id="{9688C7BE-BDC4-08EA-A506-9C47F0EDF301}"/>
                    </a:ext>
                  </a:extLst>
                </p:cNvPr>
                <p:cNvSpPr/>
                <p:nvPr/>
              </p:nvSpPr>
              <p:spPr>
                <a:xfrm>
                  <a:off x="8857539" y="1513699"/>
                  <a:ext cx="13660" cy="50321"/>
                </a:xfrm>
                <a:custGeom>
                  <a:avLst/>
                  <a:gdLst>
                    <a:gd name="connsiteX0" fmla="*/ 6 w 13660"/>
                    <a:gd name="connsiteY0" fmla="*/ 0 h 50321"/>
                    <a:gd name="connsiteX1" fmla="*/ 3245 w 13660"/>
                    <a:gd name="connsiteY1" fmla="*/ 18559 h 50321"/>
                    <a:gd name="connsiteX2" fmla="*/ 11217 w 13660"/>
                    <a:gd name="connsiteY2" fmla="*/ 34004 h 50321"/>
                    <a:gd name="connsiteX3" fmla="*/ 13583 w 13660"/>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60" h="50321">
                      <a:moveTo>
                        <a:pt x="6" y="0"/>
                      </a:moveTo>
                      <a:cubicBezTo>
                        <a:pt x="-118" y="8345"/>
                        <a:pt x="1626" y="14449"/>
                        <a:pt x="3245" y="18559"/>
                      </a:cubicBezTo>
                      <a:cubicBezTo>
                        <a:pt x="5861" y="25036"/>
                        <a:pt x="8726" y="27403"/>
                        <a:pt x="11217"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4" name="Freeform 7179">
                  <a:extLst>
                    <a:ext uri="{FF2B5EF4-FFF2-40B4-BE49-F238E27FC236}">
                      <a16:creationId xmlns:a16="http://schemas.microsoft.com/office/drawing/2014/main" id="{66DCF922-7BBD-1D7E-7CB5-D5A093FB1F17}"/>
                    </a:ext>
                  </a:extLst>
                </p:cNvPr>
                <p:cNvSpPr/>
                <p:nvPr/>
              </p:nvSpPr>
              <p:spPr>
                <a:xfrm>
                  <a:off x="8862776" y="1506973"/>
                  <a:ext cx="15071" cy="49947"/>
                </a:xfrm>
                <a:custGeom>
                  <a:avLst/>
                  <a:gdLst>
                    <a:gd name="connsiteX0" fmla="*/ 15072 w 15071"/>
                    <a:gd name="connsiteY0" fmla="*/ 49948 h 49947"/>
                    <a:gd name="connsiteX1" fmla="*/ 7972 w 15071"/>
                    <a:gd name="connsiteY1" fmla="*/ 32510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10"/>
                      </a:cubicBezTo>
                      <a:cubicBezTo>
                        <a:pt x="6851" y="25659"/>
                        <a:pt x="7972" y="22171"/>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905" name="Freeform 7180">
                  <a:extLst>
                    <a:ext uri="{FF2B5EF4-FFF2-40B4-BE49-F238E27FC236}">
                      <a16:creationId xmlns:a16="http://schemas.microsoft.com/office/drawing/2014/main" id="{7D7DC82B-1CF8-9420-2E29-C3C64D7298AC}"/>
                    </a:ext>
                  </a:extLst>
                </p:cNvPr>
                <p:cNvSpPr/>
                <p:nvPr/>
              </p:nvSpPr>
              <p:spPr>
                <a:xfrm>
                  <a:off x="8845946" y="1492644"/>
                  <a:ext cx="26311" cy="26539"/>
                </a:xfrm>
                <a:custGeom>
                  <a:avLst/>
                  <a:gdLst>
                    <a:gd name="connsiteX0" fmla="*/ 25798 w 26311"/>
                    <a:gd name="connsiteY0" fmla="*/ 9720 h 26539"/>
                    <a:gd name="connsiteX1" fmla="*/ 16830 w 26311"/>
                    <a:gd name="connsiteY1" fmla="*/ 26037 h 26539"/>
                    <a:gd name="connsiteX2" fmla="*/ 513 w 26311"/>
                    <a:gd name="connsiteY2" fmla="*/ 16820 h 26539"/>
                    <a:gd name="connsiteX3" fmla="*/ 9481 w 26311"/>
                    <a:gd name="connsiteY3" fmla="*/ 503 h 26539"/>
                    <a:gd name="connsiteX4" fmla="*/ 25798 w 2631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25798" y="9720"/>
                      </a:moveTo>
                      <a:cubicBezTo>
                        <a:pt x="27791" y="16695"/>
                        <a:pt x="23805" y="24044"/>
                        <a:pt x="16830" y="26037"/>
                      </a:cubicBezTo>
                      <a:cubicBezTo>
                        <a:pt x="9855" y="28030"/>
                        <a:pt x="2506" y="23919"/>
                        <a:pt x="513" y="16820"/>
                      </a:cubicBezTo>
                      <a:cubicBezTo>
                        <a:pt x="-1480" y="9720"/>
                        <a:pt x="2506" y="2495"/>
                        <a:pt x="9481" y="503"/>
                      </a:cubicBezTo>
                      <a:cubicBezTo>
                        <a:pt x="16457" y="-1490"/>
                        <a:pt x="23681" y="2620"/>
                        <a:pt x="25798"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3" name="Graphic 2987">
                <a:extLst>
                  <a:ext uri="{FF2B5EF4-FFF2-40B4-BE49-F238E27FC236}">
                    <a16:creationId xmlns:a16="http://schemas.microsoft.com/office/drawing/2014/main" id="{A62A395E-ADCA-99C7-D029-C74850FE3522}"/>
                  </a:ext>
                </a:extLst>
              </p:cNvPr>
              <p:cNvGrpSpPr/>
              <p:nvPr/>
            </p:nvGrpSpPr>
            <p:grpSpPr>
              <a:xfrm>
                <a:off x="8817433" y="1500616"/>
                <a:ext cx="59920" cy="144256"/>
                <a:chOff x="8817433" y="1500616"/>
                <a:chExt cx="59920" cy="144256"/>
              </a:xfrm>
              <a:grpFill/>
            </p:grpSpPr>
            <p:sp>
              <p:nvSpPr>
                <p:cNvPr id="6894" name="Freeform 7182">
                  <a:extLst>
                    <a:ext uri="{FF2B5EF4-FFF2-40B4-BE49-F238E27FC236}">
                      <a16:creationId xmlns:a16="http://schemas.microsoft.com/office/drawing/2014/main" id="{AA43A6B6-B0BF-EB3B-6923-3018952E4AD4}"/>
                    </a:ext>
                  </a:extLst>
                </p:cNvPr>
                <p:cNvSpPr/>
                <p:nvPr/>
              </p:nvSpPr>
              <p:spPr>
                <a:xfrm>
                  <a:off x="8852032" y="1573362"/>
                  <a:ext cx="13508" cy="50445"/>
                </a:xfrm>
                <a:custGeom>
                  <a:avLst/>
                  <a:gdLst>
                    <a:gd name="connsiteX0" fmla="*/ 13485 w 13508"/>
                    <a:gd name="connsiteY0" fmla="*/ 50446 h 50445"/>
                    <a:gd name="connsiteX1" fmla="*/ 10371 w 13508"/>
                    <a:gd name="connsiteY1" fmla="*/ 31887 h 50445"/>
                    <a:gd name="connsiteX2" fmla="*/ 2399 w 13508"/>
                    <a:gd name="connsiteY2" fmla="*/ 16317 h 50445"/>
                    <a:gd name="connsiteX3" fmla="*/ 33 w 13508"/>
                    <a:gd name="connsiteY3" fmla="*/ 0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50446"/>
                      </a:moveTo>
                      <a:cubicBezTo>
                        <a:pt x="13734" y="41976"/>
                        <a:pt x="11990" y="35997"/>
                        <a:pt x="10371" y="31887"/>
                      </a:cubicBezTo>
                      <a:cubicBezTo>
                        <a:pt x="7755" y="25410"/>
                        <a:pt x="4891" y="23043"/>
                        <a:pt x="2399" y="16317"/>
                      </a:cubicBezTo>
                      <a:cubicBezTo>
                        <a:pt x="33" y="9840"/>
                        <a:pt x="-92"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5" name="Freeform 7183">
                  <a:extLst>
                    <a:ext uri="{FF2B5EF4-FFF2-40B4-BE49-F238E27FC236}">
                      <a16:creationId xmlns:a16="http://schemas.microsoft.com/office/drawing/2014/main" id="{E0CAA4A9-17A3-BA45-639E-A2E625CB1157}"/>
                    </a:ext>
                  </a:extLst>
                </p:cNvPr>
                <p:cNvSpPr/>
                <p:nvPr/>
              </p:nvSpPr>
              <p:spPr>
                <a:xfrm>
                  <a:off x="8845214" y="1580586"/>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7"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6" name="Freeform 7184">
                  <a:extLst>
                    <a:ext uri="{FF2B5EF4-FFF2-40B4-BE49-F238E27FC236}">
                      <a16:creationId xmlns:a16="http://schemas.microsoft.com/office/drawing/2014/main" id="{FE134AB7-022F-26FF-E7DB-4F6028B746C1}"/>
                    </a:ext>
                  </a:extLst>
                </p:cNvPr>
                <p:cNvSpPr/>
                <p:nvPr/>
              </p:nvSpPr>
              <p:spPr>
                <a:xfrm>
                  <a:off x="8850575" y="1618447"/>
                  <a:ext cx="26778" cy="26425"/>
                </a:xfrm>
                <a:custGeom>
                  <a:avLst/>
                  <a:gdLst>
                    <a:gd name="connsiteX0" fmla="*/ 493 w 26778"/>
                    <a:gd name="connsiteY0" fmla="*/ 16820 h 26425"/>
                    <a:gd name="connsiteX1" fmla="*/ 9835 w 26778"/>
                    <a:gd name="connsiteY1" fmla="*/ 503 h 26425"/>
                    <a:gd name="connsiteX2" fmla="*/ 26276 w 26778"/>
                    <a:gd name="connsiteY2" fmla="*/ 9596 h 26425"/>
                    <a:gd name="connsiteX3" fmla="*/ 16935 w 26778"/>
                    <a:gd name="connsiteY3" fmla="*/ 25913 h 26425"/>
                    <a:gd name="connsiteX4" fmla="*/ 493 w 26778"/>
                    <a:gd name="connsiteY4" fmla="*/ 16820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424">
                      <a:moveTo>
                        <a:pt x="493" y="16820"/>
                      </a:moveTo>
                      <a:cubicBezTo>
                        <a:pt x="-1500" y="9720"/>
                        <a:pt x="2736" y="2496"/>
                        <a:pt x="9835" y="503"/>
                      </a:cubicBezTo>
                      <a:cubicBezTo>
                        <a:pt x="16935" y="-1490"/>
                        <a:pt x="24284" y="2621"/>
                        <a:pt x="26276" y="9596"/>
                      </a:cubicBezTo>
                      <a:cubicBezTo>
                        <a:pt x="28270" y="16696"/>
                        <a:pt x="24159" y="23920"/>
                        <a:pt x="16935" y="25913"/>
                      </a:cubicBezTo>
                      <a:cubicBezTo>
                        <a:pt x="9835" y="27906"/>
                        <a:pt x="2486" y="23920"/>
                        <a:pt x="49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7" name="Freeform 7185">
                  <a:extLst>
                    <a:ext uri="{FF2B5EF4-FFF2-40B4-BE49-F238E27FC236}">
                      <a16:creationId xmlns:a16="http://schemas.microsoft.com/office/drawing/2014/main" id="{7F823A95-5066-D621-3BD2-03B4B864B28E}"/>
                    </a:ext>
                  </a:extLst>
                </p:cNvPr>
                <p:cNvSpPr/>
                <p:nvPr/>
              </p:nvSpPr>
              <p:spPr>
                <a:xfrm>
                  <a:off x="8829122" y="1521671"/>
                  <a:ext cx="13508" cy="50445"/>
                </a:xfrm>
                <a:custGeom>
                  <a:avLst/>
                  <a:gdLst>
                    <a:gd name="connsiteX0" fmla="*/ 24 w 13508"/>
                    <a:gd name="connsiteY0" fmla="*/ 0 h 50445"/>
                    <a:gd name="connsiteX1" fmla="*/ 3138 w 13508"/>
                    <a:gd name="connsiteY1" fmla="*/ 18559 h 50445"/>
                    <a:gd name="connsiteX2" fmla="*/ 11109 w 13508"/>
                    <a:gd name="connsiteY2" fmla="*/ 34129 h 50445"/>
                    <a:gd name="connsiteX3" fmla="*/ 13476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24" y="0"/>
                      </a:moveTo>
                      <a:cubicBezTo>
                        <a:pt x="-225" y="8345"/>
                        <a:pt x="1519" y="14449"/>
                        <a:pt x="3138" y="18559"/>
                      </a:cubicBezTo>
                      <a:cubicBezTo>
                        <a:pt x="5753" y="25036"/>
                        <a:pt x="8618" y="27403"/>
                        <a:pt x="11109" y="34129"/>
                      </a:cubicBezTo>
                      <a:cubicBezTo>
                        <a:pt x="13476" y="40606"/>
                        <a:pt x="13600" y="46460"/>
                        <a:pt x="1347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8" name="Freeform 7186">
                  <a:extLst>
                    <a:ext uri="{FF2B5EF4-FFF2-40B4-BE49-F238E27FC236}">
                      <a16:creationId xmlns:a16="http://schemas.microsoft.com/office/drawing/2014/main" id="{A22E4787-361D-0B0A-D760-4A32C323E97C}"/>
                    </a:ext>
                  </a:extLst>
                </p:cNvPr>
                <p:cNvSpPr/>
                <p:nvPr/>
              </p:nvSpPr>
              <p:spPr>
                <a:xfrm>
                  <a:off x="8834502" y="1514944"/>
                  <a:ext cx="14822" cy="49947"/>
                </a:xfrm>
                <a:custGeom>
                  <a:avLst/>
                  <a:gdLst>
                    <a:gd name="connsiteX0" fmla="*/ 14822 w 14822"/>
                    <a:gd name="connsiteY0" fmla="*/ 49948 h 49947"/>
                    <a:gd name="connsiteX1" fmla="*/ 7847 w 14822"/>
                    <a:gd name="connsiteY1" fmla="*/ 32510 h 49947"/>
                    <a:gd name="connsiteX2" fmla="*/ 6476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1" y="22047"/>
                        <a:pt x="6476" y="15196"/>
                      </a:cubicBezTo>
                      <a:cubicBezTo>
                        <a:pt x="510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9" name="Freeform 7187">
                  <a:extLst>
                    <a:ext uri="{FF2B5EF4-FFF2-40B4-BE49-F238E27FC236}">
                      <a16:creationId xmlns:a16="http://schemas.microsoft.com/office/drawing/2014/main" id="{ACE787C0-1C80-D3F2-6512-726A1D767CCE}"/>
                    </a:ext>
                  </a:extLst>
                </p:cNvPr>
                <p:cNvSpPr/>
                <p:nvPr/>
              </p:nvSpPr>
              <p:spPr>
                <a:xfrm>
                  <a:off x="8817433" y="1500616"/>
                  <a:ext cx="26415" cy="26539"/>
                </a:xfrm>
                <a:custGeom>
                  <a:avLst/>
                  <a:gdLst>
                    <a:gd name="connsiteX0" fmla="*/ 25913 w 26415"/>
                    <a:gd name="connsiteY0" fmla="*/ 9720 h 26539"/>
                    <a:gd name="connsiteX1" fmla="*/ 16820 w 26415"/>
                    <a:gd name="connsiteY1" fmla="*/ 26037 h 26539"/>
                    <a:gd name="connsiteX2" fmla="*/ 503 w 26415"/>
                    <a:gd name="connsiteY2" fmla="*/ 16820 h 26539"/>
                    <a:gd name="connsiteX3" fmla="*/ 9596 w 26415"/>
                    <a:gd name="connsiteY3" fmla="*/ 503 h 26539"/>
                    <a:gd name="connsiteX4" fmla="*/ 25913 w 2641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9720"/>
                      </a:moveTo>
                      <a:cubicBezTo>
                        <a:pt x="27906" y="16820"/>
                        <a:pt x="23795" y="24044"/>
                        <a:pt x="16820" y="26037"/>
                      </a:cubicBezTo>
                      <a:cubicBezTo>
                        <a:pt x="9845" y="28030"/>
                        <a:pt x="2496" y="23919"/>
                        <a:pt x="503" y="16820"/>
                      </a:cubicBezTo>
                      <a:cubicBezTo>
                        <a:pt x="-1490" y="9720"/>
                        <a:pt x="2620" y="2495"/>
                        <a:pt x="9596" y="503"/>
                      </a:cubicBezTo>
                      <a:cubicBezTo>
                        <a:pt x="16695" y="-1490"/>
                        <a:pt x="23920" y="2620"/>
                        <a:pt x="2591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4" name="Graphic 2987">
                <a:extLst>
                  <a:ext uri="{FF2B5EF4-FFF2-40B4-BE49-F238E27FC236}">
                    <a16:creationId xmlns:a16="http://schemas.microsoft.com/office/drawing/2014/main" id="{99B530C3-9D7B-01AD-EC9F-6D9AA1BA8F4A}"/>
                  </a:ext>
                </a:extLst>
              </p:cNvPr>
              <p:cNvGrpSpPr/>
              <p:nvPr/>
            </p:nvGrpSpPr>
            <p:grpSpPr>
              <a:xfrm>
                <a:off x="8789283" y="1508515"/>
                <a:ext cx="59289" cy="144516"/>
                <a:chOff x="8789283" y="1508515"/>
                <a:chExt cx="59289" cy="144516"/>
              </a:xfrm>
              <a:grpFill/>
            </p:grpSpPr>
            <p:sp>
              <p:nvSpPr>
                <p:cNvPr id="6888" name="Freeform 7189">
                  <a:extLst>
                    <a:ext uri="{FF2B5EF4-FFF2-40B4-BE49-F238E27FC236}">
                      <a16:creationId xmlns:a16="http://schemas.microsoft.com/office/drawing/2014/main" id="{B3079020-CB84-7D33-A2A5-F5373AF3E621}"/>
                    </a:ext>
                  </a:extLst>
                </p:cNvPr>
                <p:cNvSpPr/>
                <p:nvPr/>
              </p:nvSpPr>
              <p:spPr>
                <a:xfrm>
                  <a:off x="8823451" y="1581458"/>
                  <a:ext cx="13317" cy="50445"/>
                </a:xfrm>
                <a:custGeom>
                  <a:avLst/>
                  <a:gdLst>
                    <a:gd name="connsiteX0" fmla="*/ 13293 w 13317"/>
                    <a:gd name="connsiteY0" fmla="*/ 50446 h 50445"/>
                    <a:gd name="connsiteX1" fmla="*/ 10180 w 13317"/>
                    <a:gd name="connsiteY1" fmla="*/ 31887 h 50445"/>
                    <a:gd name="connsiteX2" fmla="*/ 2332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2" y="41976"/>
                        <a:pt x="11799" y="35873"/>
                        <a:pt x="10180" y="31887"/>
                      </a:cubicBezTo>
                      <a:cubicBezTo>
                        <a:pt x="7564" y="25410"/>
                        <a:pt x="4699" y="23043"/>
                        <a:pt x="2332"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9" name="Freeform 7190">
                  <a:extLst>
                    <a:ext uri="{FF2B5EF4-FFF2-40B4-BE49-F238E27FC236}">
                      <a16:creationId xmlns:a16="http://schemas.microsoft.com/office/drawing/2014/main" id="{17D7A3A7-A069-BC13-4328-B5E315C152F0}"/>
                    </a:ext>
                  </a:extLst>
                </p:cNvPr>
                <p:cNvSpPr/>
                <p:nvPr/>
              </p:nvSpPr>
              <p:spPr>
                <a:xfrm>
                  <a:off x="8816690" y="1588683"/>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4"/>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0" name="Freeform 7191">
                  <a:extLst>
                    <a:ext uri="{FF2B5EF4-FFF2-40B4-BE49-F238E27FC236}">
                      <a16:creationId xmlns:a16="http://schemas.microsoft.com/office/drawing/2014/main" id="{8CE0B2A6-4C61-3E0E-08A1-D934A78E4222}"/>
                    </a:ext>
                  </a:extLst>
                </p:cNvPr>
                <p:cNvSpPr/>
                <p:nvPr/>
              </p:nvSpPr>
              <p:spPr>
                <a:xfrm>
                  <a:off x="8821802" y="1626419"/>
                  <a:ext cx="26769" cy="26611"/>
                </a:xfrm>
                <a:custGeom>
                  <a:avLst/>
                  <a:gdLst>
                    <a:gd name="connsiteX0" fmla="*/ 493 w 26769"/>
                    <a:gd name="connsiteY0" fmla="*/ 16944 h 26611"/>
                    <a:gd name="connsiteX1" fmla="*/ 9835 w 26769"/>
                    <a:gd name="connsiteY1" fmla="*/ 503 h 26611"/>
                    <a:gd name="connsiteX2" fmla="*/ 26276 w 26769"/>
                    <a:gd name="connsiteY2" fmla="*/ 9720 h 26611"/>
                    <a:gd name="connsiteX3" fmla="*/ 16935 w 26769"/>
                    <a:gd name="connsiteY3" fmla="*/ 26161 h 26611"/>
                    <a:gd name="connsiteX4" fmla="*/ 493 w 26769"/>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11">
                      <a:moveTo>
                        <a:pt x="493" y="16944"/>
                      </a:moveTo>
                      <a:cubicBezTo>
                        <a:pt x="-1500" y="9844"/>
                        <a:pt x="2735" y="2495"/>
                        <a:pt x="9835" y="503"/>
                      </a:cubicBezTo>
                      <a:cubicBezTo>
                        <a:pt x="16935" y="-1490"/>
                        <a:pt x="24284" y="2620"/>
                        <a:pt x="26276" y="9720"/>
                      </a:cubicBezTo>
                      <a:cubicBezTo>
                        <a:pt x="28270" y="16820"/>
                        <a:pt x="24035" y="24044"/>
                        <a:pt x="16935" y="26161"/>
                      </a:cubicBezTo>
                      <a:cubicBezTo>
                        <a:pt x="9711" y="28030"/>
                        <a:pt x="2362" y="23919"/>
                        <a:pt x="493"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1" name="Freeform 7192">
                  <a:extLst>
                    <a:ext uri="{FF2B5EF4-FFF2-40B4-BE49-F238E27FC236}">
                      <a16:creationId xmlns:a16="http://schemas.microsoft.com/office/drawing/2014/main" id="{6DC6FE4F-5875-5A59-E880-8C723AD1E767}"/>
                    </a:ext>
                  </a:extLst>
                </p:cNvPr>
                <p:cNvSpPr/>
                <p:nvPr/>
              </p:nvSpPr>
              <p:spPr>
                <a:xfrm>
                  <a:off x="8800723" y="1529642"/>
                  <a:ext cx="13317" cy="50445"/>
                </a:xfrm>
                <a:custGeom>
                  <a:avLst/>
                  <a:gdLst>
                    <a:gd name="connsiteX0" fmla="*/ 24 w 13317"/>
                    <a:gd name="connsiteY0" fmla="*/ 0 h 50445"/>
                    <a:gd name="connsiteX1" fmla="*/ 3138 w 13317"/>
                    <a:gd name="connsiteY1" fmla="*/ 18559 h 50445"/>
                    <a:gd name="connsiteX2" fmla="*/ 10985 w 13317"/>
                    <a:gd name="connsiteY2" fmla="*/ 34129 h 50445"/>
                    <a:gd name="connsiteX3" fmla="*/ 13227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24" y="0"/>
                      </a:moveTo>
                      <a:cubicBezTo>
                        <a:pt x="-225" y="8470"/>
                        <a:pt x="1519" y="14573"/>
                        <a:pt x="3138" y="18559"/>
                      </a:cubicBezTo>
                      <a:cubicBezTo>
                        <a:pt x="5754"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2" name="Freeform 7193">
                  <a:extLst>
                    <a:ext uri="{FF2B5EF4-FFF2-40B4-BE49-F238E27FC236}">
                      <a16:creationId xmlns:a16="http://schemas.microsoft.com/office/drawing/2014/main" id="{C395B228-91FC-CA68-CEBC-F975A34EE8FC}"/>
                    </a:ext>
                  </a:extLst>
                </p:cNvPr>
                <p:cNvSpPr/>
                <p:nvPr/>
              </p:nvSpPr>
              <p:spPr>
                <a:xfrm>
                  <a:off x="8806103" y="1522792"/>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214" y="42972"/>
                        <a:pt x="8470"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93" name="Freeform 7194">
                  <a:extLst>
                    <a:ext uri="{FF2B5EF4-FFF2-40B4-BE49-F238E27FC236}">
                      <a16:creationId xmlns:a16="http://schemas.microsoft.com/office/drawing/2014/main" id="{32779702-1F26-E1F2-4DA1-2936AA92A7D9}"/>
                    </a:ext>
                  </a:extLst>
                </p:cNvPr>
                <p:cNvSpPr/>
                <p:nvPr/>
              </p:nvSpPr>
              <p:spPr>
                <a:xfrm>
                  <a:off x="8789283" y="1508515"/>
                  <a:ext cx="26291" cy="26487"/>
                </a:xfrm>
                <a:custGeom>
                  <a:avLst/>
                  <a:gdLst>
                    <a:gd name="connsiteX0" fmla="*/ 25789 w 26291"/>
                    <a:gd name="connsiteY0" fmla="*/ 9668 h 26487"/>
                    <a:gd name="connsiteX1" fmla="*/ 16695 w 26291"/>
                    <a:gd name="connsiteY1" fmla="*/ 25985 h 26487"/>
                    <a:gd name="connsiteX2" fmla="*/ 503 w 26291"/>
                    <a:gd name="connsiteY2" fmla="*/ 16768 h 26487"/>
                    <a:gd name="connsiteX3" fmla="*/ 9596 w 26291"/>
                    <a:gd name="connsiteY3" fmla="*/ 451 h 26487"/>
                    <a:gd name="connsiteX4" fmla="*/ 25789 w 26291"/>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25789" y="9668"/>
                      </a:moveTo>
                      <a:cubicBezTo>
                        <a:pt x="27781" y="16768"/>
                        <a:pt x="23671" y="23992"/>
                        <a:pt x="16695" y="25985"/>
                      </a:cubicBezTo>
                      <a:cubicBezTo>
                        <a:pt x="9720" y="27978"/>
                        <a:pt x="2372" y="23867"/>
                        <a:pt x="503" y="16768"/>
                      </a:cubicBezTo>
                      <a:cubicBezTo>
                        <a:pt x="-1490" y="9668"/>
                        <a:pt x="2620" y="2443"/>
                        <a:pt x="9596" y="451"/>
                      </a:cubicBezTo>
                      <a:cubicBezTo>
                        <a:pt x="16571" y="-1418"/>
                        <a:pt x="23795" y="2693"/>
                        <a:pt x="25789"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5" name="Graphic 2987">
                <a:extLst>
                  <a:ext uri="{FF2B5EF4-FFF2-40B4-BE49-F238E27FC236}">
                    <a16:creationId xmlns:a16="http://schemas.microsoft.com/office/drawing/2014/main" id="{DD073EE1-CD74-E1B4-324C-11FAD5C5FCC4}"/>
                  </a:ext>
                </a:extLst>
              </p:cNvPr>
              <p:cNvGrpSpPr/>
              <p:nvPr/>
            </p:nvGrpSpPr>
            <p:grpSpPr>
              <a:xfrm>
                <a:off x="8760768" y="1516435"/>
                <a:ext cx="58905" cy="144692"/>
                <a:chOff x="8760768" y="1516435"/>
                <a:chExt cx="58905" cy="144692"/>
              </a:xfrm>
              <a:grpFill/>
            </p:grpSpPr>
            <p:sp>
              <p:nvSpPr>
                <p:cNvPr id="6882" name="Freeform 7196">
                  <a:extLst>
                    <a:ext uri="{FF2B5EF4-FFF2-40B4-BE49-F238E27FC236}">
                      <a16:creationId xmlns:a16="http://schemas.microsoft.com/office/drawing/2014/main" id="{7FBF3CE5-41E7-4DD9-30B1-8CCAC35BDB30}"/>
                    </a:ext>
                  </a:extLst>
                </p:cNvPr>
                <p:cNvSpPr/>
                <p:nvPr/>
              </p:nvSpPr>
              <p:spPr>
                <a:xfrm>
                  <a:off x="8794815" y="1589555"/>
                  <a:ext cx="13181" cy="50445"/>
                </a:xfrm>
                <a:custGeom>
                  <a:avLst/>
                  <a:gdLst>
                    <a:gd name="connsiteX0" fmla="*/ 13156 w 13181"/>
                    <a:gd name="connsiteY0" fmla="*/ 50446 h 50445"/>
                    <a:gd name="connsiteX1" fmla="*/ 10167 w 13181"/>
                    <a:gd name="connsiteY1" fmla="*/ 31887 h 50445"/>
                    <a:gd name="connsiteX2" fmla="*/ 2320 w 13181"/>
                    <a:gd name="connsiteY2" fmla="*/ 16317 h 50445"/>
                    <a:gd name="connsiteX3" fmla="*/ 78 w 13181"/>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50446"/>
                      </a:moveTo>
                      <a:cubicBezTo>
                        <a:pt x="13405" y="41976"/>
                        <a:pt x="11786" y="35873"/>
                        <a:pt x="10167" y="31887"/>
                      </a:cubicBezTo>
                      <a:cubicBezTo>
                        <a:pt x="7551" y="25410"/>
                        <a:pt x="4686" y="23043"/>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3" name="Freeform 7197">
                  <a:extLst>
                    <a:ext uri="{FF2B5EF4-FFF2-40B4-BE49-F238E27FC236}">
                      <a16:creationId xmlns:a16="http://schemas.microsoft.com/office/drawing/2014/main" id="{A307EA46-7B8A-3AEB-D980-EB8DB2922B29}"/>
                    </a:ext>
                  </a:extLst>
                </p:cNvPr>
                <p:cNvSpPr/>
                <p:nvPr/>
              </p:nvSpPr>
              <p:spPr>
                <a:xfrm>
                  <a:off x="8788042" y="1596654"/>
                  <a:ext cx="14449" cy="50196"/>
                </a:xfrm>
                <a:custGeom>
                  <a:avLst/>
                  <a:gdLst>
                    <a:gd name="connsiteX0" fmla="*/ 0 w 14449"/>
                    <a:gd name="connsiteY0" fmla="*/ 0 h 50196"/>
                    <a:gd name="connsiteX1" fmla="*/ 6851 w 14449"/>
                    <a:gd name="connsiteY1" fmla="*/ 17563 h 50196"/>
                    <a:gd name="connsiteX2" fmla="*/ 8097 w 14449"/>
                    <a:gd name="connsiteY2" fmla="*/ 35001 h 50196"/>
                    <a:gd name="connsiteX3" fmla="*/ 14449 w 1444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9" h="50196">
                      <a:moveTo>
                        <a:pt x="0" y="0"/>
                      </a:moveTo>
                      <a:cubicBezTo>
                        <a:pt x="4485" y="7100"/>
                        <a:pt x="6228" y="13203"/>
                        <a:pt x="6851" y="17563"/>
                      </a:cubicBezTo>
                      <a:cubicBezTo>
                        <a:pt x="7972" y="24538"/>
                        <a:pt x="6727" y="28025"/>
                        <a:pt x="8097" y="35001"/>
                      </a:cubicBezTo>
                      <a:cubicBezTo>
                        <a:pt x="9467" y="41727"/>
                        <a:pt x="12332"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4" name="Freeform 7198">
                  <a:extLst>
                    <a:ext uri="{FF2B5EF4-FFF2-40B4-BE49-F238E27FC236}">
                      <a16:creationId xmlns:a16="http://schemas.microsoft.com/office/drawing/2014/main" id="{3F9DCCF9-20C7-3C37-808F-59D1FDB91F7B}"/>
                    </a:ext>
                  </a:extLst>
                </p:cNvPr>
                <p:cNvSpPr/>
                <p:nvPr/>
              </p:nvSpPr>
              <p:spPr>
                <a:xfrm>
                  <a:off x="8793072" y="1634516"/>
                  <a:ext cx="26601" cy="26611"/>
                </a:xfrm>
                <a:custGeom>
                  <a:avLst/>
                  <a:gdLst>
                    <a:gd name="connsiteX0" fmla="*/ 450 w 26601"/>
                    <a:gd name="connsiteY0" fmla="*/ 16944 h 26611"/>
                    <a:gd name="connsiteX1" fmla="*/ 9792 w 26601"/>
                    <a:gd name="connsiteY1" fmla="*/ 503 h 26611"/>
                    <a:gd name="connsiteX2" fmla="*/ 26109 w 26601"/>
                    <a:gd name="connsiteY2" fmla="*/ 9720 h 26611"/>
                    <a:gd name="connsiteX3" fmla="*/ 16767 w 26601"/>
                    <a:gd name="connsiteY3" fmla="*/ 26161 h 26611"/>
                    <a:gd name="connsiteX4" fmla="*/ 450 w 26601"/>
                    <a:gd name="connsiteY4" fmla="*/ 1694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11">
                      <a:moveTo>
                        <a:pt x="450" y="16944"/>
                      </a:moveTo>
                      <a:cubicBezTo>
                        <a:pt x="-1418" y="9844"/>
                        <a:pt x="2692" y="2495"/>
                        <a:pt x="9792" y="503"/>
                      </a:cubicBezTo>
                      <a:cubicBezTo>
                        <a:pt x="16892" y="-1490"/>
                        <a:pt x="24241" y="2620"/>
                        <a:pt x="26109" y="9720"/>
                      </a:cubicBezTo>
                      <a:cubicBezTo>
                        <a:pt x="28102" y="16820"/>
                        <a:pt x="23867" y="24168"/>
                        <a:pt x="16767" y="26161"/>
                      </a:cubicBezTo>
                      <a:cubicBezTo>
                        <a:pt x="9667" y="28030"/>
                        <a:pt x="2319" y="23919"/>
                        <a:pt x="450"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5" name="Freeform 7199">
                  <a:extLst>
                    <a:ext uri="{FF2B5EF4-FFF2-40B4-BE49-F238E27FC236}">
                      <a16:creationId xmlns:a16="http://schemas.microsoft.com/office/drawing/2014/main" id="{BD8C51E0-5720-5D2B-91A1-6489814FCB28}"/>
                    </a:ext>
                  </a:extLst>
                </p:cNvPr>
                <p:cNvSpPr/>
                <p:nvPr/>
              </p:nvSpPr>
              <p:spPr>
                <a:xfrm>
                  <a:off x="8772446" y="1537489"/>
                  <a:ext cx="13057" cy="50445"/>
                </a:xfrm>
                <a:custGeom>
                  <a:avLst/>
                  <a:gdLst>
                    <a:gd name="connsiteX0" fmla="*/ 25 w 13057"/>
                    <a:gd name="connsiteY0" fmla="*/ 0 h 50445"/>
                    <a:gd name="connsiteX1" fmla="*/ 3015 w 13057"/>
                    <a:gd name="connsiteY1" fmla="*/ 18559 h 50445"/>
                    <a:gd name="connsiteX2" fmla="*/ 10738 w 13057"/>
                    <a:gd name="connsiteY2" fmla="*/ 34129 h 50445"/>
                    <a:gd name="connsiteX3" fmla="*/ 12980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25" y="0"/>
                      </a:moveTo>
                      <a:cubicBezTo>
                        <a:pt x="-223" y="8470"/>
                        <a:pt x="1396" y="14573"/>
                        <a:pt x="3015" y="18559"/>
                      </a:cubicBezTo>
                      <a:cubicBezTo>
                        <a:pt x="5631" y="25036"/>
                        <a:pt x="8495" y="27403"/>
                        <a:pt x="10738" y="34129"/>
                      </a:cubicBezTo>
                      <a:cubicBezTo>
                        <a:pt x="12980" y="40606"/>
                        <a:pt x="13228" y="46585"/>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6" name="Freeform 7200">
                  <a:extLst>
                    <a:ext uri="{FF2B5EF4-FFF2-40B4-BE49-F238E27FC236}">
                      <a16:creationId xmlns:a16="http://schemas.microsoft.com/office/drawing/2014/main" id="{42EA4779-1428-F8A4-0902-21FF643CB478}"/>
                    </a:ext>
                  </a:extLst>
                </p:cNvPr>
                <p:cNvSpPr/>
                <p:nvPr/>
              </p:nvSpPr>
              <p:spPr>
                <a:xfrm>
                  <a:off x="8777828" y="1530639"/>
                  <a:ext cx="14449" cy="50196"/>
                </a:xfrm>
                <a:custGeom>
                  <a:avLst/>
                  <a:gdLst>
                    <a:gd name="connsiteX0" fmla="*/ 14449 w 14449"/>
                    <a:gd name="connsiteY0" fmla="*/ 50197 h 50196"/>
                    <a:gd name="connsiteX1" fmla="*/ 7599 w 14449"/>
                    <a:gd name="connsiteY1" fmla="*/ 32634 h 50196"/>
                    <a:gd name="connsiteX2" fmla="*/ 6353 w 14449"/>
                    <a:gd name="connsiteY2" fmla="*/ 15196 h 50196"/>
                    <a:gd name="connsiteX3" fmla="*/ 0 w 14449"/>
                    <a:gd name="connsiteY3" fmla="*/ 0 h 50196"/>
                  </a:gdLst>
                  <a:ahLst/>
                  <a:cxnLst>
                    <a:cxn ang="0">
                      <a:pos x="connsiteX0" y="connsiteY0"/>
                    </a:cxn>
                    <a:cxn ang="0">
                      <a:pos x="connsiteX1" y="connsiteY1"/>
                    </a:cxn>
                    <a:cxn ang="0">
                      <a:pos x="connsiteX2" y="connsiteY2"/>
                    </a:cxn>
                    <a:cxn ang="0">
                      <a:pos x="connsiteX3" y="connsiteY3"/>
                    </a:cxn>
                  </a:cxnLst>
                  <a:rect l="l" t="t" r="r" b="b"/>
                  <a:pathLst>
                    <a:path w="14449" h="50196">
                      <a:moveTo>
                        <a:pt x="14449" y="50197"/>
                      </a:moveTo>
                      <a:cubicBezTo>
                        <a:pt x="9965" y="43097"/>
                        <a:pt x="8221" y="36994"/>
                        <a:pt x="7599" y="32634"/>
                      </a:cubicBezTo>
                      <a:cubicBezTo>
                        <a:pt x="6477" y="25659"/>
                        <a:pt x="7723" y="22171"/>
                        <a:pt x="6353" y="15196"/>
                      </a:cubicBezTo>
                      <a:cubicBezTo>
                        <a:pt x="4983"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7" name="Freeform 7201">
                  <a:extLst>
                    <a:ext uri="{FF2B5EF4-FFF2-40B4-BE49-F238E27FC236}">
                      <a16:creationId xmlns:a16="http://schemas.microsoft.com/office/drawing/2014/main" id="{1A863126-FBE2-D241-D824-754786182527}"/>
                    </a:ext>
                  </a:extLst>
                </p:cNvPr>
                <p:cNvSpPr/>
                <p:nvPr/>
              </p:nvSpPr>
              <p:spPr>
                <a:xfrm>
                  <a:off x="8760768" y="1516435"/>
                  <a:ext cx="26405" cy="26539"/>
                </a:xfrm>
                <a:custGeom>
                  <a:avLst/>
                  <a:gdLst>
                    <a:gd name="connsiteX0" fmla="*/ 25903 w 26405"/>
                    <a:gd name="connsiteY0" fmla="*/ 9720 h 26539"/>
                    <a:gd name="connsiteX1" fmla="*/ 16686 w 26405"/>
                    <a:gd name="connsiteY1" fmla="*/ 26037 h 26539"/>
                    <a:gd name="connsiteX2" fmla="*/ 494 w 26405"/>
                    <a:gd name="connsiteY2" fmla="*/ 16820 h 26539"/>
                    <a:gd name="connsiteX3" fmla="*/ 9711 w 26405"/>
                    <a:gd name="connsiteY3" fmla="*/ 503 h 26539"/>
                    <a:gd name="connsiteX4" fmla="*/ 25903 w 2640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8">
                      <a:moveTo>
                        <a:pt x="25903" y="9720"/>
                      </a:moveTo>
                      <a:cubicBezTo>
                        <a:pt x="27897" y="16820"/>
                        <a:pt x="23786" y="24044"/>
                        <a:pt x="16686" y="26037"/>
                      </a:cubicBezTo>
                      <a:cubicBezTo>
                        <a:pt x="9711" y="28030"/>
                        <a:pt x="2486" y="23919"/>
                        <a:pt x="494" y="16820"/>
                      </a:cubicBezTo>
                      <a:cubicBezTo>
                        <a:pt x="-1500" y="9720"/>
                        <a:pt x="2736" y="2495"/>
                        <a:pt x="9711" y="503"/>
                      </a:cubicBezTo>
                      <a:cubicBezTo>
                        <a:pt x="16811" y="-1490"/>
                        <a:pt x="24035" y="2620"/>
                        <a:pt x="2590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6" name="Graphic 2987">
                <a:extLst>
                  <a:ext uri="{FF2B5EF4-FFF2-40B4-BE49-F238E27FC236}">
                    <a16:creationId xmlns:a16="http://schemas.microsoft.com/office/drawing/2014/main" id="{A066D49F-F3A0-49EA-6D7D-9E540E686568}"/>
                  </a:ext>
                </a:extLst>
              </p:cNvPr>
              <p:cNvGrpSpPr/>
              <p:nvPr/>
            </p:nvGrpSpPr>
            <p:grpSpPr>
              <a:xfrm>
                <a:off x="8732661" y="1524450"/>
                <a:ext cx="58196" cy="144701"/>
                <a:chOff x="8732661" y="1524450"/>
                <a:chExt cx="58196" cy="144701"/>
              </a:xfrm>
              <a:grpFill/>
            </p:grpSpPr>
            <p:sp>
              <p:nvSpPr>
                <p:cNvPr id="6876" name="Freeform 7203">
                  <a:extLst>
                    <a:ext uri="{FF2B5EF4-FFF2-40B4-BE49-F238E27FC236}">
                      <a16:creationId xmlns:a16="http://schemas.microsoft.com/office/drawing/2014/main" id="{CDE8E1F7-A122-CB10-7EB8-1D9A5836B543}"/>
                    </a:ext>
                  </a:extLst>
                </p:cNvPr>
                <p:cNvSpPr/>
                <p:nvPr/>
              </p:nvSpPr>
              <p:spPr>
                <a:xfrm>
                  <a:off x="8766211" y="1597526"/>
                  <a:ext cx="13012" cy="50570"/>
                </a:xfrm>
                <a:custGeom>
                  <a:avLst/>
                  <a:gdLst>
                    <a:gd name="connsiteX0" fmla="*/ 12987 w 13012"/>
                    <a:gd name="connsiteY0" fmla="*/ 50570 h 50570"/>
                    <a:gd name="connsiteX1" fmla="*/ 9998 w 13012"/>
                    <a:gd name="connsiteY1" fmla="*/ 32011 h 50570"/>
                    <a:gd name="connsiteX2" fmla="*/ 2275 w 13012"/>
                    <a:gd name="connsiteY2" fmla="*/ 16442 h 50570"/>
                    <a:gd name="connsiteX3" fmla="*/ 33 w 13012"/>
                    <a:gd name="connsiteY3" fmla="*/ 0 h 50570"/>
                  </a:gdLst>
                  <a:ahLst/>
                  <a:cxnLst>
                    <a:cxn ang="0">
                      <a:pos x="connsiteX0" y="connsiteY0"/>
                    </a:cxn>
                    <a:cxn ang="0">
                      <a:pos x="connsiteX1" y="connsiteY1"/>
                    </a:cxn>
                    <a:cxn ang="0">
                      <a:pos x="connsiteX2" y="connsiteY2"/>
                    </a:cxn>
                    <a:cxn ang="0">
                      <a:pos x="connsiteX3" y="connsiteY3"/>
                    </a:cxn>
                  </a:cxnLst>
                  <a:rect l="l" t="t" r="r" b="b"/>
                  <a:pathLst>
                    <a:path w="13011" h="50570">
                      <a:moveTo>
                        <a:pt x="12987" y="50570"/>
                      </a:moveTo>
                      <a:cubicBezTo>
                        <a:pt x="13236" y="42101"/>
                        <a:pt x="11617" y="35997"/>
                        <a:pt x="9998" y="32011"/>
                      </a:cubicBezTo>
                      <a:cubicBezTo>
                        <a:pt x="7382" y="25534"/>
                        <a:pt x="4517" y="23168"/>
                        <a:pt x="2275" y="16442"/>
                      </a:cubicBezTo>
                      <a:cubicBezTo>
                        <a:pt x="33" y="9965"/>
                        <a:pt x="-91" y="3986"/>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7" name="Freeform 7204">
                  <a:extLst>
                    <a:ext uri="{FF2B5EF4-FFF2-40B4-BE49-F238E27FC236}">
                      <a16:creationId xmlns:a16="http://schemas.microsoft.com/office/drawing/2014/main" id="{B0D4698E-AC58-0E0B-908B-28938DE6C31C}"/>
                    </a:ext>
                  </a:extLst>
                </p:cNvPr>
                <p:cNvSpPr/>
                <p:nvPr/>
              </p:nvSpPr>
              <p:spPr>
                <a:xfrm>
                  <a:off x="8759518" y="1604626"/>
                  <a:ext cx="14199" cy="50196"/>
                </a:xfrm>
                <a:custGeom>
                  <a:avLst/>
                  <a:gdLst>
                    <a:gd name="connsiteX0" fmla="*/ 0 w 14199"/>
                    <a:gd name="connsiteY0" fmla="*/ 0 h 50196"/>
                    <a:gd name="connsiteX1" fmla="*/ 6726 w 14199"/>
                    <a:gd name="connsiteY1" fmla="*/ 17563 h 50196"/>
                    <a:gd name="connsiteX2" fmla="*/ 7847 w 14199"/>
                    <a:gd name="connsiteY2" fmla="*/ 35001 h 50196"/>
                    <a:gd name="connsiteX3" fmla="*/ 1420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0" y="0"/>
                      </a:moveTo>
                      <a:cubicBezTo>
                        <a:pt x="4484" y="7100"/>
                        <a:pt x="6103" y="13203"/>
                        <a:pt x="6726" y="17563"/>
                      </a:cubicBezTo>
                      <a:cubicBezTo>
                        <a:pt x="7723" y="24538"/>
                        <a:pt x="6477" y="28025"/>
                        <a:pt x="7847" y="35001"/>
                      </a:cubicBezTo>
                      <a:cubicBezTo>
                        <a:pt x="9217" y="41727"/>
                        <a:pt x="11958" y="46958"/>
                        <a:pt x="1420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8" name="Freeform 7205">
                  <a:extLst>
                    <a:ext uri="{FF2B5EF4-FFF2-40B4-BE49-F238E27FC236}">
                      <a16:creationId xmlns:a16="http://schemas.microsoft.com/office/drawing/2014/main" id="{F6BAA01C-EFD4-3AAF-A476-3FEA19E75A08}"/>
                    </a:ext>
                  </a:extLst>
                </p:cNvPr>
                <p:cNvSpPr/>
                <p:nvPr/>
              </p:nvSpPr>
              <p:spPr>
                <a:xfrm>
                  <a:off x="8764183" y="1642487"/>
                  <a:ext cx="26674" cy="26663"/>
                </a:xfrm>
                <a:custGeom>
                  <a:avLst/>
                  <a:gdLst>
                    <a:gd name="connsiteX0" fmla="*/ 441 w 26674"/>
                    <a:gd name="connsiteY0" fmla="*/ 16944 h 26663"/>
                    <a:gd name="connsiteX1" fmla="*/ 9908 w 26674"/>
                    <a:gd name="connsiteY1" fmla="*/ 503 h 26663"/>
                    <a:gd name="connsiteX2" fmla="*/ 26225 w 26674"/>
                    <a:gd name="connsiteY2" fmla="*/ 9720 h 26663"/>
                    <a:gd name="connsiteX3" fmla="*/ 16758 w 26674"/>
                    <a:gd name="connsiteY3" fmla="*/ 26161 h 26663"/>
                    <a:gd name="connsiteX4" fmla="*/ 441 w 26674"/>
                    <a:gd name="connsiteY4" fmla="*/ 16944 h 26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63">
                      <a:moveTo>
                        <a:pt x="441" y="16944"/>
                      </a:moveTo>
                      <a:cubicBezTo>
                        <a:pt x="-1427" y="9844"/>
                        <a:pt x="2808" y="2495"/>
                        <a:pt x="9908" y="503"/>
                      </a:cubicBezTo>
                      <a:cubicBezTo>
                        <a:pt x="17008" y="-1490"/>
                        <a:pt x="24357" y="2620"/>
                        <a:pt x="26225" y="9720"/>
                      </a:cubicBezTo>
                      <a:cubicBezTo>
                        <a:pt x="28093" y="16820"/>
                        <a:pt x="23983" y="24168"/>
                        <a:pt x="16758" y="26161"/>
                      </a:cubicBezTo>
                      <a:cubicBezTo>
                        <a:pt x="9659" y="28154"/>
                        <a:pt x="2435" y="24044"/>
                        <a:pt x="441" y="16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9" name="Freeform 7206">
                  <a:extLst>
                    <a:ext uri="{FF2B5EF4-FFF2-40B4-BE49-F238E27FC236}">
                      <a16:creationId xmlns:a16="http://schemas.microsoft.com/office/drawing/2014/main" id="{03435CA5-DFF6-1B09-D481-0F7ADE4BAB76}"/>
                    </a:ext>
                  </a:extLst>
                </p:cNvPr>
                <p:cNvSpPr/>
                <p:nvPr/>
              </p:nvSpPr>
              <p:spPr>
                <a:xfrm>
                  <a:off x="8744048" y="1545461"/>
                  <a:ext cx="12946" cy="50570"/>
                </a:xfrm>
                <a:custGeom>
                  <a:avLst/>
                  <a:gdLst>
                    <a:gd name="connsiteX0" fmla="*/ 26 w 12946"/>
                    <a:gd name="connsiteY0" fmla="*/ 0 h 50570"/>
                    <a:gd name="connsiteX1" fmla="*/ 3015 w 12946"/>
                    <a:gd name="connsiteY1" fmla="*/ 18559 h 50570"/>
                    <a:gd name="connsiteX2" fmla="*/ 10737 w 12946"/>
                    <a:gd name="connsiteY2" fmla="*/ 34129 h 50570"/>
                    <a:gd name="connsiteX3" fmla="*/ 12855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26" y="0"/>
                      </a:moveTo>
                      <a:cubicBezTo>
                        <a:pt x="-224" y="8470"/>
                        <a:pt x="1395" y="14573"/>
                        <a:pt x="3015" y="18559"/>
                      </a:cubicBezTo>
                      <a:cubicBezTo>
                        <a:pt x="5506" y="25036"/>
                        <a:pt x="8371" y="27403"/>
                        <a:pt x="10737" y="34129"/>
                      </a:cubicBezTo>
                      <a:cubicBezTo>
                        <a:pt x="12979" y="40606"/>
                        <a:pt x="13104" y="46585"/>
                        <a:pt x="1285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0" name="Freeform 7207">
                  <a:extLst>
                    <a:ext uri="{FF2B5EF4-FFF2-40B4-BE49-F238E27FC236}">
                      <a16:creationId xmlns:a16="http://schemas.microsoft.com/office/drawing/2014/main" id="{FA823540-CA21-8C43-4EC5-866D4B011A5D}"/>
                    </a:ext>
                  </a:extLst>
                </p:cNvPr>
                <p:cNvSpPr/>
                <p:nvPr/>
              </p:nvSpPr>
              <p:spPr>
                <a:xfrm>
                  <a:off x="8749554" y="1538735"/>
                  <a:ext cx="14199" cy="50196"/>
                </a:xfrm>
                <a:custGeom>
                  <a:avLst/>
                  <a:gdLst>
                    <a:gd name="connsiteX0" fmla="*/ 14200 w 14199"/>
                    <a:gd name="connsiteY0" fmla="*/ 50197 h 50196"/>
                    <a:gd name="connsiteX1" fmla="*/ 7473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3" y="32634"/>
                      </a:cubicBezTo>
                      <a:cubicBezTo>
                        <a:pt x="6353" y="25659"/>
                        <a:pt x="7723" y="22171"/>
                        <a:pt x="6353"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81" name="Freeform 7208">
                  <a:extLst>
                    <a:ext uri="{FF2B5EF4-FFF2-40B4-BE49-F238E27FC236}">
                      <a16:creationId xmlns:a16="http://schemas.microsoft.com/office/drawing/2014/main" id="{2B7B445E-8EC5-2D28-24B7-489C7A55EF12}"/>
                    </a:ext>
                  </a:extLst>
                </p:cNvPr>
                <p:cNvSpPr/>
                <p:nvPr/>
              </p:nvSpPr>
              <p:spPr>
                <a:xfrm>
                  <a:off x="8732661" y="1524450"/>
                  <a:ext cx="26186" cy="26495"/>
                </a:xfrm>
                <a:custGeom>
                  <a:avLst/>
                  <a:gdLst>
                    <a:gd name="connsiteX0" fmla="*/ 25735 w 26186"/>
                    <a:gd name="connsiteY0" fmla="*/ 9676 h 26495"/>
                    <a:gd name="connsiteX1" fmla="*/ 16518 w 26186"/>
                    <a:gd name="connsiteY1" fmla="*/ 25993 h 26495"/>
                    <a:gd name="connsiteX2" fmla="*/ 451 w 26186"/>
                    <a:gd name="connsiteY2" fmla="*/ 16776 h 26495"/>
                    <a:gd name="connsiteX3" fmla="*/ 9668 w 26186"/>
                    <a:gd name="connsiteY3" fmla="*/ 459 h 26495"/>
                    <a:gd name="connsiteX4" fmla="*/ 25735 w 26186"/>
                    <a:gd name="connsiteY4" fmla="*/ 9676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95">
                      <a:moveTo>
                        <a:pt x="25735" y="9676"/>
                      </a:moveTo>
                      <a:cubicBezTo>
                        <a:pt x="27604" y="16776"/>
                        <a:pt x="23494" y="24000"/>
                        <a:pt x="16518" y="25993"/>
                      </a:cubicBezTo>
                      <a:cubicBezTo>
                        <a:pt x="9543" y="27986"/>
                        <a:pt x="2319" y="23876"/>
                        <a:pt x="451" y="16776"/>
                      </a:cubicBezTo>
                      <a:cubicBezTo>
                        <a:pt x="-1418" y="9676"/>
                        <a:pt x="2693" y="2327"/>
                        <a:pt x="9668" y="459"/>
                      </a:cubicBezTo>
                      <a:cubicBezTo>
                        <a:pt x="16643" y="-1409"/>
                        <a:pt x="23868" y="2577"/>
                        <a:pt x="25735"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7" name="Graphic 2987">
                <a:extLst>
                  <a:ext uri="{FF2B5EF4-FFF2-40B4-BE49-F238E27FC236}">
                    <a16:creationId xmlns:a16="http://schemas.microsoft.com/office/drawing/2014/main" id="{CA500BEF-C2E9-32FE-94B0-6E5851F6E1D0}"/>
                  </a:ext>
                </a:extLst>
              </p:cNvPr>
              <p:cNvGrpSpPr/>
              <p:nvPr/>
            </p:nvGrpSpPr>
            <p:grpSpPr>
              <a:xfrm>
                <a:off x="8704395" y="1532378"/>
                <a:ext cx="57681" cy="144903"/>
                <a:chOff x="8704395" y="1532378"/>
                <a:chExt cx="57681" cy="144903"/>
              </a:xfrm>
              <a:grpFill/>
            </p:grpSpPr>
            <p:sp>
              <p:nvSpPr>
                <p:cNvPr id="6870" name="Freeform 7210">
                  <a:extLst>
                    <a:ext uri="{FF2B5EF4-FFF2-40B4-BE49-F238E27FC236}">
                      <a16:creationId xmlns:a16="http://schemas.microsoft.com/office/drawing/2014/main" id="{1A81B3F7-A6D8-A816-44D8-34BAACFB9536}"/>
                    </a:ext>
                  </a:extLst>
                </p:cNvPr>
                <p:cNvSpPr/>
                <p:nvPr/>
              </p:nvSpPr>
              <p:spPr>
                <a:xfrm>
                  <a:off x="8737629" y="1605498"/>
                  <a:ext cx="12847" cy="50570"/>
                </a:xfrm>
                <a:custGeom>
                  <a:avLst/>
                  <a:gdLst>
                    <a:gd name="connsiteX0" fmla="*/ 12797 w 12847"/>
                    <a:gd name="connsiteY0" fmla="*/ 50570 h 50570"/>
                    <a:gd name="connsiteX1" fmla="*/ 9931 w 12847"/>
                    <a:gd name="connsiteY1" fmla="*/ 32011 h 50570"/>
                    <a:gd name="connsiteX2" fmla="*/ 2209 w 12847"/>
                    <a:gd name="connsiteY2" fmla="*/ 16442 h 50570"/>
                    <a:gd name="connsiteX3" fmla="*/ 92 w 12847"/>
                    <a:gd name="connsiteY3" fmla="*/ 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7" y="50570"/>
                      </a:moveTo>
                      <a:cubicBezTo>
                        <a:pt x="13170" y="42100"/>
                        <a:pt x="11426" y="35997"/>
                        <a:pt x="9931" y="32011"/>
                      </a:cubicBezTo>
                      <a:cubicBezTo>
                        <a:pt x="7441" y="25534"/>
                        <a:pt x="4576" y="23168"/>
                        <a:pt x="2209" y="16442"/>
                      </a:cubicBezTo>
                      <a:cubicBezTo>
                        <a:pt x="-33" y="9965"/>
                        <a:pt x="-158" y="3986"/>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1" name="Freeform 7211">
                  <a:extLst>
                    <a:ext uri="{FF2B5EF4-FFF2-40B4-BE49-F238E27FC236}">
                      <a16:creationId xmlns:a16="http://schemas.microsoft.com/office/drawing/2014/main" id="{B430BD8B-5577-38B5-E923-12A2A5610307}"/>
                    </a:ext>
                  </a:extLst>
                </p:cNvPr>
                <p:cNvSpPr/>
                <p:nvPr/>
              </p:nvSpPr>
              <p:spPr>
                <a:xfrm>
                  <a:off x="8730870" y="1612722"/>
                  <a:ext cx="14075" cy="50196"/>
                </a:xfrm>
                <a:custGeom>
                  <a:avLst/>
                  <a:gdLst>
                    <a:gd name="connsiteX0" fmla="*/ 0 w 14075"/>
                    <a:gd name="connsiteY0" fmla="*/ 0 h 50196"/>
                    <a:gd name="connsiteX1" fmla="*/ 6726 w 14075"/>
                    <a:gd name="connsiteY1" fmla="*/ 17563 h 50196"/>
                    <a:gd name="connsiteX2" fmla="*/ 7847 w 14075"/>
                    <a:gd name="connsiteY2" fmla="*/ 35001 h 50196"/>
                    <a:gd name="connsiteX3" fmla="*/ 14075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0" y="0"/>
                      </a:moveTo>
                      <a:cubicBezTo>
                        <a:pt x="4484" y="7100"/>
                        <a:pt x="6103" y="13203"/>
                        <a:pt x="6726" y="17563"/>
                      </a:cubicBezTo>
                      <a:cubicBezTo>
                        <a:pt x="7723" y="24538"/>
                        <a:pt x="6476" y="28025"/>
                        <a:pt x="7847" y="35001"/>
                      </a:cubicBezTo>
                      <a:cubicBezTo>
                        <a:pt x="9092" y="41851"/>
                        <a:pt x="11957" y="46958"/>
                        <a:pt x="14075"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2" name="Freeform 7212">
                  <a:extLst>
                    <a:ext uri="{FF2B5EF4-FFF2-40B4-BE49-F238E27FC236}">
                      <a16:creationId xmlns:a16="http://schemas.microsoft.com/office/drawing/2014/main" id="{31DC9D09-54EB-826D-0E0F-CB875720A602}"/>
                    </a:ext>
                  </a:extLst>
                </p:cNvPr>
                <p:cNvSpPr/>
                <p:nvPr/>
              </p:nvSpPr>
              <p:spPr>
                <a:xfrm>
                  <a:off x="8735411" y="1650583"/>
                  <a:ext cx="26666" cy="26698"/>
                </a:xfrm>
                <a:custGeom>
                  <a:avLst/>
                  <a:gdLst>
                    <a:gd name="connsiteX0" fmla="*/ 441 w 26666"/>
                    <a:gd name="connsiteY0" fmla="*/ 16820 h 26698"/>
                    <a:gd name="connsiteX1" fmla="*/ 9908 w 26666"/>
                    <a:gd name="connsiteY1" fmla="*/ 503 h 26698"/>
                    <a:gd name="connsiteX2" fmla="*/ 26225 w 26666"/>
                    <a:gd name="connsiteY2" fmla="*/ 9720 h 26698"/>
                    <a:gd name="connsiteX3" fmla="*/ 16758 w 26666"/>
                    <a:gd name="connsiteY3" fmla="*/ 26161 h 26698"/>
                    <a:gd name="connsiteX4" fmla="*/ 441 w 26666"/>
                    <a:gd name="connsiteY4" fmla="*/ 16820 h 2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698">
                      <a:moveTo>
                        <a:pt x="441" y="16820"/>
                      </a:moveTo>
                      <a:cubicBezTo>
                        <a:pt x="-1427" y="9720"/>
                        <a:pt x="2808" y="2620"/>
                        <a:pt x="9908" y="503"/>
                      </a:cubicBezTo>
                      <a:cubicBezTo>
                        <a:pt x="17008" y="-1490"/>
                        <a:pt x="24357" y="2620"/>
                        <a:pt x="26225" y="9720"/>
                      </a:cubicBezTo>
                      <a:cubicBezTo>
                        <a:pt x="28093" y="16820"/>
                        <a:pt x="23858" y="24169"/>
                        <a:pt x="16758" y="26161"/>
                      </a:cubicBezTo>
                      <a:cubicBezTo>
                        <a:pt x="9659" y="28279"/>
                        <a:pt x="2310" y="23919"/>
                        <a:pt x="441"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3" name="Freeform 7213">
                  <a:extLst>
                    <a:ext uri="{FF2B5EF4-FFF2-40B4-BE49-F238E27FC236}">
                      <a16:creationId xmlns:a16="http://schemas.microsoft.com/office/drawing/2014/main" id="{146C881A-781A-1BBF-2F2E-33C3EAFB2201}"/>
                    </a:ext>
                  </a:extLst>
                </p:cNvPr>
                <p:cNvSpPr/>
                <p:nvPr/>
              </p:nvSpPr>
              <p:spPr>
                <a:xfrm>
                  <a:off x="8715622" y="1553433"/>
                  <a:ext cx="12723" cy="50570"/>
                </a:xfrm>
                <a:custGeom>
                  <a:avLst/>
                  <a:gdLst>
                    <a:gd name="connsiteX0" fmla="*/ 51 w 12723"/>
                    <a:gd name="connsiteY0" fmla="*/ 0 h 50570"/>
                    <a:gd name="connsiteX1" fmla="*/ 2916 w 12723"/>
                    <a:gd name="connsiteY1" fmla="*/ 18559 h 50570"/>
                    <a:gd name="connsiteX2" fmla="*/ 10514 w 12723"/>
                    <a:gd name="connsiteY2" fmla="*/ 34129 h 50570"/>
                    <a:gd name="connsiteX3" fmla="*/ 12632 w 1272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3" h="50570">
                      <a:moveTo>
                        <a:pt x="51" y="0"/>
                      </a:moveTo>
                      <a:cubicBezTo>
                        <a:pt x="-322" y="8470"/>
                        <a:pt x="1422" y="14573"/>
                        <a:pt x="2916" y="18559"/>
                      </a:cubicBezTo>
                      <a:cubicBezTo>
                        <a:pt x="5407" y="25036"/>
                        <a:pt x="8272" y="27403"/>
                        <a:pt x="10514" y="34129"/>
                      </a:cubicBezTo>
                      <a:cubicBezTo>
                        <a:pt x="12756" y="40606"/>
                        <a:pt x="12881" y="46585"/>
                        <a:pt x="1263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4" name="Freeform 7214">
                  <a:extLst>
                    <a:ext uri="{FF2B5EF4-FFF2-40B4-BE49-F238E27FC236}">
                      <a16:creationId xmlns:a16="http://schemas.microsoft.com/office/drawing/2014/main" id="{C8F28A59-3D13-5219-FD5F-484245D850CF}"/>
                    </a:ext>
                  </a:extLst>
                </p:cNvPr>
                <p:cNvSpPr/>
                <p:nvPr/>
              </p:nvSpPr>
              <p:spPr>
                <a:xfrm>
                  <a:off x="8721154" y="1546707"/>
                  <a:ext cx="14075" cy="50196"/>
                </a:xfrm>
                <a:custGeom>
                  <a:avLst/>
                  <a:gdLst>
                    <a:gd name="connsiteX0" fmla="*/ 14075 w 14075"/>
                    <a:gd name="connsiteY0" fmla="*/ 50197 h 50196"/>
                    <a:gd name="connsiteX1" fmla="*/ 7349 w 14075"/>
                    <a:gd name="connsiteY1" fmla="*/ 32634 h 50196"/>
                    <a:gd name="connsiteX2" fmla="*/ 6228 w 14075"/>
                    <a:gd name="connsiteY2" fmla="*/ 15196 h 50196"/>
                    <a:gd name="connsiteX3" fmla="*/ 0 w 14075"/>
                    <a:gd name="connsiteY3" fmla="*/ 0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50197"/>
                      </a:moveTo>
                      <a:cubicBezTo>
                        <a:pt x="9591" y="43097"/>
                        <a:pt x="7972" y="36994"/>
                        <a:pt x="7349" y="32634"/>
                      </a:cubicBezTo>
                      <a:cubicBezTo>
                        <a:pt x="6353" y="25659"/>
                        <a:pt x="7599" y="22171"/>
                        <a:pt x="6228" y="15196"/>
                      </a:cubicBezTo>
                      <a:cubicBezTo>
                        <a:pt x="4983" y="8345"/>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75" name="Freeform 7215">
                  <a:extLst>
                    <a:ext uri="{FF2B5EF4-FFF2-40B4-BE49-F238E27FC236}">
                      <a16:creationId xmlns:a16="http://schemas.microsoft.com/office/drawing/2014/main" id="{0F90DB8E-6F00-B746-FD28-97A10245D265}"/>
                    </a:ext>
                  </a:extLst>
                </p:cNvPr>
                <p:cNvSpPr/>
                <p:nvPr/>
              </p:nvSpPr>
              <p:spPr>
                <a:xfrm>
                  <a:off x="8704395" y="1532378"/>
                  <a:ext cx="26177" cy="26529"/>
                </a:xfrm>
                <a:custGeom>
                  <a:avLst/>
                  <a:gdLst>
                    <a:gd name="connsiteX0" fmla="*/ 25727 w 26177"/>
                    <a:gd name="connsiteY0" fmla="*/ 9720 h 26529"/>
                    <a:gd name="connsiteX1" fmla="*/ 16510 w 26177"/>
                    <a:gd name="connsiteY1" fmla="*/ 26037 h 26529"/>
                    <a:gd name="connsiteX2" fmla="*/ 442 w 26177"/>
                    <a:gd name="connsiteY2" fmla="*/ 16695 h 26529"/>
                    <a:gd name="connsiteX3" fmla="*/ 9784 w 26177"/>
                    <a:gd name="connsiteY3" fmla="*/ 503 h 26529"/>
                    <a:gd name="connsiteX4" fmla="*/ 25727 w 26177"/>
                    <a:gd name="connsiteY4" fmla="*/ 9720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29">
                      <a:moveTo>
                        <a:pt x="25727" y="9720"/>
                      </a:moveTo>
                      <a:cubicBezTo>
                        <a:pt x="27595" y="16820"/>
                        <a:pt x="23485" y="24168"/>
                        <a:pt x="16510" y="26037"/>
                      </a:cubicBezTo>
                      <a:cubicBezTo>
                        <a:pt x="9535" y="28030"/>
                        <a:pt x="2310" y="23795"/>
                        <a:pt x="442" y="16695"/>
                      </a:cubicBezTo>
                      <a:cubicBezTo>
                        <a:pt x="-1426" y="9595"/>
                        <a:pt x="2808" y="2495"/>
                        <a:pt x="9784" y="503"/>
                      </a:cubicBezTo>
                      <a:cubicBezTo>
                        <a:pt x="16634" y="-1490"/>
                        <a:pt x="23734" y="2620"/>
                        <a:pt x="25727"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8" name="Graphic 2987">
                <a:extLst>
                  <a:ext uri="{FF2B5EF4-FFF2-40B4-BE49-F238E27FC236}">
                    <a16:creationId xmlns:a16="http://schemas.microsoft.com/office/drawing/2014/main" id="{B4DC5087-437A-D044-0348-EDE7E32D9665}"/>
                  </a:ext>
                </a:extLst>
              </p:cNvPr>
              <p:cNvGrpSpPr/>
              <p:nvPr/>
            </p:nvGrpSpPr>
            <p:grpSpPr>
              <a:xfrm>
                <a:off x="8675623" y="1539721"/>
                <a:ext cx="57547" cy="144889"/>
                <a:chOff x="8675623" y="1539721"/>
                <a:chExt cx="57547" cy="144889"/>
              </a:xfrm>
              <a:grpFill/>
            </p:grpSpPr>
            <p:sp>
              <p:nvSpPr>
                <p:cNvPr id="6864" name="Freeform 7217">
                  <a:extLst>
                    <a:ext uri="{FF2B5EF4-FFF2-40B4-BE49-F238E27FC236}">
                      <a16:creationId xmlns:a16="http://schemas.microsoft.com/office/drawing/2014/main" id="{5C7E89C5-41E7-4577-0F6F-4A28840625D0}"/>
                    </a:ext>
                  </a:extLst>
                </p:cNvPr>
                <p:cNvSpPr/>
                <p:nvPr/>
              </p:nvSpPr>
              <p:spPr>
                <a:xfrm>
                  <a:off x="8709035" y="1613096"/>
                  <a:ext cx="12672" cy="50570"/>
                </a:xfrm>
                <a:custGeom>
                  <a:avLst/>
                  <a:gdLst>
                    <a:gd name="connsiteX0" fmla="*/ 12618 w 12672"/>
                    <a:gd name="connsiteY0" fmla="*/ 50570 h 50570"/>
                    <a:gd name="connsiteX1" fmla="*/ 9753 w 12672"/>
                    <a:gd name="connsiteY1" fmla="*/ 32011 h 50570"/>
                    <a:gd name="connsiteX2" fmla="*/ 2155 w 12672"/>
                    <a:gd name="connsiteY2" fmla="*/ 16317 h 50570"/>
                    <a:gd name="connsiteX3" fmla="*/ 162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12618" y="50570"/>
                      </a:moveTo>
                      <a:cubicBezTo>
                        <a:pt x="12991" y="42225"/>
                        <a:pt x="11372" y="36122"/>
                        <a:pt x="9753" y="32011"/>
                      </a:cubicBezTo>
                      <a:cubicBezTo>
                        <a:pt x="7262" y="25410"/>
                        <a:pt x="4397" y="23043"/>
                        <a:pt x="2155" y="16317"/>
                      </a:cubicBezTo>
                      <a:cubicBezTo>
                        <a:pt x="-87" y="9716"/>
                        <a:pt x="-212" y="3861"/>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5" name="Freeform 7218">
                  <a:extLst>
                    <a:ext uri="{FF2B5EF4-FFF2-40B4-BE49-F238E27FC236}">
                      <a16:creationId xmlns:a16="http://schemas.microsoft.com/office/drawing/2014/main" id="{9EDE4D27-12A5-08BD-91E5-28589EEA3FF0}"/>
                    </a:ext>
                  </a:extLst>
                </p:cNvPr>
                <p:cNvSpPr/>
                <p:nvPr/>
              </p:nvSpPr>
              <p:spPr>
                <a:xfrm>
                  <a:off x="8702097" y="1619947"/>
                  <a:ext cx="13825" cy="50196"/>
                </a:xfrm>
                <a:custGeom>
                  <a:avLst/>
                  <a:gdLst>
                    <a:gd name="connsiteX0" fmla="*/ 0 w 13825"/>
                    <a:gd name="connsiteY0" fmla="*/ 0 h 50196"/>
                    <a:gd name="connsiteX1" fmla="*/ 6601 w 13825"/>
                    <a:gd name="connsiteY1" fmla="*/ 17563 h 50196"/>
                    <a:gd name="connsiteX2" fmla="*/ 7598 w 13825"/>
                    <a:gd name="connsiteY2" fmla="*/ 34876 h 50196"/>
                    <a:gd name="connsiteX3" fmla="*/ 13826 w 1382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25" h="50196">
                      <a:moveTo>
                        <a:pt x="0" y="0"/>
                      </a:moveTo>
                      <a:cubicBezTo>
                        <a:pt x="4484" y="7224"/>
                        <a:pt x="5979" y="13328"/>
                        <a:pt x="6601" y="17563"/>
                      </a:cubicBezTo>
                      <a:cubicBezTo>
                        <a:pt x="7598" y="24538"/>
                        <a:pt x="6228" y="27901"/>
                        <a:pt x="7598" y="34876"/>
                      </a:cubicBezTo>
                      <a:cubicBezTo>
                        <a:pt x="8843" y="41602"/>
                        <a:pt x="11708" y="46834"/>
                        <a:pt x="138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6" name="Freeform 7219">
                  <a:extLst>
                    <a:ext uri="{FF2B5EF4-FFF2-40B4-BE49-F238E27FC236}">
                      <a16:creationId xmlns:a16="http://schemas.microsoft.com/office/drawing/2014/main" id="{7791183C-6DFE-3E9C-4687-31E254DFC55A}"/>
                    </a:ext>
                  </a:extLst>
                </p:cNvPr>
                <p:cNvSpPr/>
                <p:nvPr/>
              </p:nvSpPr>
              <p:spPr>
                <a:xfrm>
                  <a:off x="8706397" y="1658168"/>
                  <a:ext cx="26773" cy="26442"/>
                </a:xfrm>
                <a:custGeom>
                  <a:avLst/>
                  <a:gdLst>
                    <a:gd name="connsiteX0" fmla="*/ 433 w 26773"/>
                    <a:gd name="connsiteY0" fmla="*/ 16460 h 26442"/>
                    <a:gd name="connsiteX1" fmla="*/ 10024 w 26773"/>
                    <a:gd name="connsiteY1" fmla="*/ 392 h 26442"/>
                    <a:gd name="connsiteX2" fmla="*/ 26341 w 26773"/>
                    <a:gd name="connsiteY2" fmla="*/ 9983 h 26442"/>
                    <a:gd name="connsiteX3" fmla="*/ 16750 w 26773"/>
                    <a:gd name="connsiteY3" fmla="*/ 26051 h 26442"/>
                    <a:gd name="connsiteX4" fmla="*/ 433 w 26773"/>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442">
                      <a:moveTo>
                        <a:pt x="433" y="16460"/>
                      </a:moveTo>
                      <a:cubicBezTo>
                        <a:pt x="-1436" y="9360"/>
                        <a:pt x="2924" y="2136"/>
                        <a:pt x="10024" y="392"/>
                      </a:cubicBezTo>
                      <a:cubicBezTo>
                        <a:pt x="17123" y="-1352"/>
                        <a:pt x="24473" y="2883"/>
                        <a:pt x="26341" y="9983"/>
                      </a:cubicBezTo>
                      <a:cubicBezTo>
                        <a:pt x="28209" y="17082"/>
                        <a:pt x="23850" y="24182"/>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7" name="Freeform 7220">
                  <a:extLst>
                    <a:ext uri="{FF2B5EF4-FFF2-40B4-BE49-F238E27FC236}">
                      <a16:creationId xmlns:a16="http://schemas.microsoft.com/office/drawing/2014/main" id="{A8237DFC-1096-7661-E1E5-9BCA28EC57DD}"/>
                    </a:ext>
                  </a:extLst>
                </p:cNvPr>
                <p:cNvSpPr/>
                <p:nvPr/>
              </p:nvSpPr>
              <p:spPr>
                <a:xfrm>
                  <a:off x="8687096" y="1560657"/>
                  <a:ext cx="12672" cy="50570"/>
                </a:xfrm>
                <a:custGeom>
                  <a:avLst/>
                  <a:gdLst>
                    <a:gd name="connsiteX0" fmla="*/ 54 w 12672"/>
                    <a:gd name="connsiteY0" fmla="*/ 0 h 50570"/>
                    <a:gd name="connsiteX1" fmla="*/ 2919 w 12672"/>
                    <a:gd name="connsiteY1" fmla="*/ 18559 h 50570"/>
                    <a:gd name="connsiteX2" fmla="*/ 10518 w 12672"/>
                    <a:gd name="connsiteY2" fmla="*/ 34253 h 50570"/>
                    <a:gd name="connsiteX3" fmla="*/ 12510 w 12672"/>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0"/>
                      </a:moveTo>
                      <a:cubicBezTo>
                        <a:pt x="-320" y="8345"/>
                        <a:pt x="1300" y="14449"/>
                        <a:pt x="2919" y="18559"/>
                      </a:cubicBezTo>
                      <a:cubicBezTo>
                        <a:pt x="5410" y="25161"/>
                        <a:pt x="8275" y="27527"/>
                        <a:pt x="10518" y="34253"/>
                      </a:cubicBezTo>
                      <a:cubicBezTo>
                        <a:pt x="12760" y="40855"/>
                        <a:pt x="12883" y="46709"/>
                        <a:pt x="1251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8" name="Freeform 7221">
                  <a:extLst>
                    <a:ext uri="{FF2B5EF4-FFF2-40B4-BE49-F238E27FC236}">
                      <a16:creationId xmlns:a16="http://schemas.microsoft.com/office/drawing/2014/main" id="{998EF431-100A-E012-E5F8-7F5B93636305}"/>
                    </a:ext>
                  </a:extLst>
                </p:cNvPr>
                <p:cNvSpPr/>
                <p:nvPr/>
              </p:nvSpPr>
              <p:spPr>
                <a:xfrm>
                  <a:off x="8692755" y="1554180"/>
                  <a:ext cx="13825" cy="50196"/>
                </a:xfrm>
                <a:custGeom>
                  <a:avLst/>
                  <a:gdLst>
                    <a:gd name="connsiteX0" fmla="*/ 13826 w 13825"/>
                    <a:gd name="connsiteY0" fmla="*/ 50197 h 50196"/>
                    <a:gd name="connsiteX1" fmla="*/ 7224 w 13825"/>
                    <a:gd name="connsiteY1" fmla="*/ 32634 h 50196"/>
                    <a:gd name="connsiteX2" fmla="*/ 6228 w 13825"/>
                    <a:gd name="connsiteY2" fmla="*/ 15321 h 50196"/>
                    <a:gd name="connsiteX3" fmla="*/ 0 w 13825"/>
                    <a:gd name="connsiteY3" fmla="*/ 0 h 50196"/>
                  </a:gdLst>
                  <a:ahLst/>
                  <a:cxnLst>
                    <a:cxn ang="0">
                      <a:pos x="connsiteX0" y="connsiteY0"/>
                    </a:cxn>
                    <a:cxn ang="0">
                      <a:pos x="connsiteX1" y="connsiteY1"/>
                    </a:cxn>
                    <a:cxn ang="0">
                      <a:pos x="connsiteX2" y="connsiteY2"/>
                    </a:cxn>
                    <a:cxn ang="0">
                      <a:pos x="connsiteX3" y="connsiteY3"/>
                    </a:cxn>
                  </a:cxnLst>
                  <a:rect l="l" t="t" r="r" b="b"/>
                  <a:pathLst>
                    <a:path w="13825" h="50196">
                      <a:moveTo>
                        <a:pt x="13826" y="50197"/>
                      </a:moveTo>
                      <a:cubicBezTo>
                        <a:pt x="9342" y="42972"/>
                        <a:pt x="7847" y="36869"/>
                        <a:pt x="7224" y="32634"/>
                      </a:cubicBezTo>
                      <a:cubicBezTo>
                        <a:pt x="6228" y="25659"/>
                        <a:pt x="7473" y="22296"/>
                        <a:pt x="6228" y="15321"/>
                      </a:cubicBezTo>
                      <a:cubicBezTo>
                        <a:pt x="4982"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9" name="Freeform 7222">
                  <a:extLst>
                    <a:ext uri="{FF2B5EF4-FFF2-40B4-BE49-F238E27FC236}">
                      <a16:creationId xmlns:a16="http://schemas.microsoft.com/office/drawing/2014/main" id="{8F3E3ADA-F7FE-1B0D-C9BE-53D6E12E6551}"/>
                    </a:ext>
                  </a:extLst>
                </p:cNvPr>
                <p:cNvSpPr/>
                <p:nvPr/>
              </p:nvSpPr>
              <p:spPr>
                <a:xfrm>
                  <a:off x="8675623" y="1539721"/>
                  <a:ext cx="26541" cy="26427"/>
                </a:xfrm>
                <a:custGeom>
                  <a:avLst/>
                  <a:gdLst>
                    <a:gd name="connsiteX0" fmla="*/ 26100 w 26541"/>
                    <a:gd name="connsiteY0" fmla="*/ 10100 h 26427"/>
                    <a:gd name="connsiteX1" fmla="*/ 16634 w 26541"/>
                    <a:gd name="connsiteY1" fmla="*/ 26043 h 26427"/>
                    <a:gd name="connsiteX2" fmla="*/ 441 w 26541"/>
                    <a:gd name="connsiteY2" fmla="*/ 16327 h 26427"/>
                    <a:gd name="connsiteX3" fmla="*/ 9908 w 26541"/>
                    <a:gd name="connsiteY3" fmla="*/ 384 h 26427"/>
                    <a:gd name="connsiteX4" fmla="*/ 26100 w 26541"/>
                    <a:gd name="connsiteY4" fmla="*/ 10100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27">
                      <a:moveTo>
                        <a:pt x="26100" y="10100"/>
                      </a:moveTo>
                      <a:cubicBezTo>
                        <a:pt x="27969" y="17199"/>
                        <a:pt x="23733" y="24299"/>
                        <a:pt x="16634" y="26043"/>
                      </a:cubicBezTo>
                      <a:cubicBezTo>
                        <a:pt x="9534" y="27787"/>
                        <a:pt x="2310" y="23427"/>
                        <a:pt x="441" y="16327"/>
                      </a:cubicBezTo>
                      <a:cubicBezTo>
                        <a:pt x="-1427" y="9228"/>
                        <a:pt x="2808" y="2128"/>
                        <a:pt x="9908" y="384"/>
                      </a:cubicBezTo>
                      <a:cubicBezTo>
                        <a:pt x="17008" y="-1360"/>
                        <a:pt x="24232" y="3000"/>
                        <a:pt x="2610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89" name="Graphic 2987">
                <a:extLst>
                  <a:ext uri="{FF2B5EF4-FFF2-40B4-BE49-F238E27FC236}">
                    <a16:creationId xmlns:a16="http://schemas.microsoft.com/office/drawing/2014/main" id="{52FD09B2-D810-CB1C-1115-F0E2BFCF8F65}"/>
                  </a:ext>
                </a:extLst>
              </p:cNvPr>
              <p:cNvGrpSpPr/>
              <p:nvPr/>
            </p:nvGrpSpPr>
            <p:grpSpPr>
              <a:xfrm>
                <a:off x="8647107" y="1546743"/>
                <a:ext cx="57166" cy="145091"/>
                <a:chOff x="8647107" y="1546743"/>
                <a:chExt cx="57166" cy="145091"/>
              </a:xfrm>
              <a:grpFill/>
            </p:grpSpPr>
            <p:sp>
              <p:nvSpPr>
                <p:cNvPr id="6858" name="Freeform 7224">
                  <a:extLst>
                    <a:ext uri="{FF2B5EF4-FFF2-40B4-BE49-F238E27FC236}">
                      <a16:creationId xmlns:a16="http://schemas.microsoft.com/office/drawing/2014/main" id="{C3236384-EB24-5677-4B5F-71371A5B7D87}"/>
                    </a:ext>
                  </a:extLst>
                </p:cNvPr>
                <p:cNvSpPr/>
                <p:nvPr/>
              </p:nvSpPr>
              <p:spPr>
                <a:xfrm>
                  <a:off x="8680191" y="1620320"/>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3"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9" name="Freeform 7225">
                  <a:extLst>
                    <a:ext uri="{FF2B5EF4-FFF2-40B4-BE49-F238E27FC236}">
                      <a16:creationId xmlns:a16="http://schemas.microsoft.com/office/drawing/2014/main" id="{569EA64D-C1EE-6556-FF0E-A4A2EED1D1BA}"/>
                    </a:ext>
                  </a:extLst>
                </p:cNvPr>
                <p:cNvSpPr/>
                <p:nvPr/>
              </p:nvSpPr>
              <p:spPr>
                <a:xfrm>
                  <a:off x="8673324" y="1627171"/>
                  <a:ext cx="13701" cy="50321"/>
                </a:xfrm>
                <a:custGeom>
                  <a:avLst/>
                  <a:gdLst>
                    <a:gd name="connsiteX0" fmla="*/ 0 w 13701"/>
                    <a:gd name="connsiteY0" fmla="*/ 0 h 50321"/>
                    <a:gd name="connsiteX1" fmla="*/ 6601 w 13701"/>
                    <a:gd name="connsiteY1" fmla="*/ 17687 h 50321"/>
                    <a:gd name="connsiteX2" fmla="*/ 7473 w 13701"/>
                    <a:gd name="connsiteY2" fmla="*/ 35001 h 50321"/>
                    <a:gd name="connsiteX3" fmla="*/ 13701 w 1370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701" h="50321">
                      <a:moveTo>
                        <a:pt x="0" y="0"/>
                      </a:moveTo>
                      <a:cubicBezTo>
                        <a:pt x="4359" y="7224"/>
                        <a:pt x="5979" y="13328"/>
                        <a:pt x="6601" y="17687"/>
                      </a:cubicBezTo>
                      <a:cubicBezTo>
                        <a:pt x="7598" y="24662"/>
                        <a:pt x="6228" y="28025"/>
                        <a:pt x="7473" y="35001"/>
                      </a:cubicBezTo>
                      <a:cubicBezTo>
                        <a:pt x="8719" y="41851"/>
                        <a:pt x="11459" y="46958"/>
                        <a:pt x="13701"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0" name="Freeform 7226">
                  <a:extLst>
                    <a:ext uri="{FF2B5EF4-FFF2-40B4-BE49-F238E27FC236}">
                      <a16:creationId xmlns:a16="http://schemas.microsoft.com/office/drawing/2014/main" id="{A13C5387-7BB2-474E-0218-ECD8150A80C9}"/>
                    </a:ext>
                  </a:extLst>
                </p:cNvPr>
                <p:cNvSpPr/>
                <p:nvPr/>
              </p:nvSpPr>
              <p:spPr>
                <a:xfrm>
                  <a:off x="8677376" y="1665392"/>
                  <a:ext cx="26897" cy="26442"/>
                </a:xfrm>
                <a:custGeom>
                  <a:avLst/>
                  <a:gdLst>
                    <a:gd name="connsiteX0" fmla="*/ 433 w 26897"/>
                    <a:gd name="connsiteY0" fmla="*/ 16460 h 26442"/>
                    <a:gd name="connsiteX1" fmla="*/ 10148 w 26897"/>
                    <a:gd name="connsiteY1" fmla="*/ 392 h 26442"/>
                    <a:gd name="connsiteX2" fmla="*/ 26465 w 26897"/>
                    <a:gd name="connsiteY2" fmla="*/ 9983 h 26442"/>
                    <a:gd name="connsiteX3" fmla="*/ 16750 w 26897"/>
                    <a:gd name="connsiteY3" fmla="*/ 26051 h 26442"/>
                    <a:gd name="connsiteX4" fmla="*/ 433 w 26897"/>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7" h="26442">
                      <a:moveTo>
                        <a:pt x="433" y="16460"/>
                      </a:moveTo>
                      <a:cubicBezTo>
                        <a:pt x="-1436" y="9360"/>
                        <a:pt x="2924" y="2136"/>
                        <a:pt x="10148" y="392"/>
                      </a:cubicBezTo>
                      <a:cubicBezTo>
                        <a:pt x="17372" y="-1352"/>
                        <a:pt x="24597" y="2883"/>
                        <a:pt x="26465" y="9983"/>
                      </a:cubicBezTo>
                      <a:cubicBezTo>
                        <a:pt x="28333" y="17082"/>
                        <a:pt x="23974" y="24307"/>
                        <a:pt x="16750" y="26051"/>
                      </a:cubicBezTo>
                      <a:cubicBezTo>
                        <a:pt x="9650" y="27794"/>
                        <a:pt x="2301" y="23559"/>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1" name="Freeform 7227">
                  <a:extLst>
                    <a:ext uri="{FF2B5EF4-FFF2-40B4-BE49-F238E27FC236}">
                      <a16:creationId xmlns:a16="http://schemas.microsoft.com/office/drawing/2014/main" id="{F2BF10B3-6809-7E95-12A0-439540CCF127}"/>
                    </a:ext>
                  </a:extLst>
                </p:cNvPr>
                <p:cNvSpPr/>
                <p:nvPr/>
              </p:nvSpPr>
              <p:spPr>
                <a:xfrm>
                  <a:off x="8658572" y="1567757"/>
                  <a:ext cx="12494" cy="50570"/>
                </a:xfrm>
                <a:custGeom>
                  <a:avLst/>
                  <a:gdLst>
                    <a:gd name="connsiteX0" fmla="*/ 55 w 12494"/>
                    <a:gd name="connsiteY0" fmla="*/ 0 h 50570"/>
                    <a:gd name="connsiteX1" fmla="*/ 2794 w 12494"/>
                    <a:gd name="connsiteY1" fmla="*/ 18559 h 50570"/>
                    <a:gd name="connsiteX2" fmla="*/ 10392 w 12494"/>
                    <a:gd name="connsiteY2" fmla="*/ 34253 h 50570"/>
                    <a:gd name="connsiteX3" fmla="*/ 12386 w 1249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4" h="50570">
                      <a:moveTo>
                        <a:pt x="55" y="0"/>
                      </a:moveTo>
                      <a:cubicBezTo>
                        <a:pt x="-320" y="8345"/>
                        <a:pt x="1300" y="14573"/>
                        <a:pt x="2794" y="18559"/>
                      </a:cubicBezTo>
                      <a:cubicBezTo>
                        <a:pt x="5286" y="25161"/>
                        <a:pt x="8150" y="27527"/>
                        <a:pt x="10392" y="34253"/>
                      </a:cubicBezTo>
                      <a:cubicBezTo>
                        <a:pt x="12634" y="40855"/>
                        <a:pt x="12634" y="46709"/>
                        <a:pt x="1238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2" name="Freeform 7228">
                  <a:extLst>
                    <a:ext uri="{FF2B5EF4-FFF2-40B4-BE49-F238E27FC236}">
                      <a16:creationId xmlns:a16="http://schemas.microsoft.com/office/drawing/2014/main" id="{7E39D475-0CB4-2C69-D8FC-2E70D3F60294}"/>
                    </a:ext>
                  </a:extLst>
                </p:cNvPr>
                <p:cNvSpPr/>
                <p:nvPr/>
              </p:nvSpPr>
              <p:spPr>
                <a:xfrm>
                  <a:off x="8663983" y="1561280"/>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7" y="43097"/>
                        <a:pt x="7847" y="36994"/>
                        <a:pt x="7224" y="32634"/>
                      </a:cubicBezTo>
                      <a:cubicBezTo>
                        <a:pt x="6228" y="25659"/>
                        <a:pt x="7598" y="22296"/>
                        <a:pt x="6228" y="15321"/>
                      </a:cubicBezTo>
                      <a:cubicBezTo>
                        <a:pt x="4982" y="8594"/>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63" name="Freeform 7229">
                  <a:extLst>
                    <a:ext uri="{FF2B5EF4-FFF2-40B4-BE49-F238E27FC236}">
                      <a16:creationId xmlns:a16="http://schemas.microsoft.com/office/drawing/2014/main" id="{CE4F0774-10EF-48E5-9A0F-59F30ABA4759}"/>
                    </a:ext>
                  </a:extLst>
                </p:cNvPr>
                <p:cNvSpPr/>
                <p:nvPr/>
              </p:nvSpPr>
              <p:spPr>
                <a:xfrm>
                  <a:off x="8647107" y="1546743"/>
                  <a:ext cx="26409" cy="26504"/>
                </a:xfrm>
                <a:custGeom>
                  <a:avLst/>
                  <a:gdLst>
                    <a:gd name="connsiteX0" fmla="*/ 25968 w 26409"/>
                    <a:gd name="connsiteY0" fmla="*/ 10177 h 26504"/>
                    <a:gd name="connsiteX1" fmla="*/ 16501 w 26409"/>
                    <a:gd name="connsiteY1" fmla="*/ 26121 h 26504"/>
                    <a:gd name="connsiteX2" fmla="*/ 434 w 26409"/>
                    <a:gd name="connsiteY2" fmla="*/ 16405 h 26504"/>
                    <a:gd name="connsiteX3" fmla="*/ 9900 w 26409"/>
                    <a:gd name="connsiteY3" fmla="*/ 337 h 26504"/>
                    <a:gd name="connsiteX4" fmla="*/ 25968 w 26409"/>
                    <a:gd name="connsiteY4" fmla="*/ 1017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9" h="26504">
                      <a:moveTo>
                        <a:pt x="25968" y="10177"/>
                      </a:moveTo>
                      <a:cubicBezTo>
                        <a:pt x="27836" y="17277"/>
                        <a:pt x="23601" y="24377"/>
                        <a:pt x="16501" y="26121"/>
                      </a:cubicBezTo>
                      <a:cubicBezTo>
                        <a:pt x="9401" y="27865"/>
                        <a:pt x="2178" y="23505"/>
                        <a:pt x="434" y="16405"/>
                      </a:cubicBezTo>
                      <a:cubicBezTo>
                        <a:pt x="-1435" y="9306"/>
                        <a:pt x="2925" y="2206"/>
                        <a:pt x="9900" y="337"/>
                      </a:cubicBezTo>
                      <a:cubicBezTo>
                        <a:pt x="17000" y="-1282"/>
                        <a:pt x="24099" y="3078"/>
                        <a:pt x="25968"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0" name="Graphic 2987">
                <a:extLst>
                  <a:ext uri="{FF2B5EF4-FFF2-40B4-BE49-F238E27FC236}">
                    <a16:creationId xmlns:a16="http://schemas.microsoft.com/office/drawing/2014/main" id="{F191FF85-ED1F-6E63-EFC4-8CD88CFA5F0E}"/>
                  </a:ext>
                </a:extLst>
              </p:cNvPr>
              <p:cNvGrpSpPr/>
              <p:nvPr/>
            </p:nvGrpSpPr>
            <p:grpSpPr>
              <a:xfrm>
                <a:off x="8618583" y="1553921"/>
                <a:ext cx="56667" cy="145130"/>
                <a:chOff x="8618583" y="1553921"/>
                <a:chExt cx="56667" cy="145130"/>
              </a:xfrm>
              <a:grpFill/>
            </p:grpSpPr>
            <p:sp>
              <p:nvSpPr>
                <p:cNvPr id="6852" name="Freeform 7231">
                  <a:extLst>
                    <a:ext uri="{FF2B5EF4-FFF2-40B4-BE49-F238E27FC236}">
                      <a16:creationId xmlns:a16="http://schemas.microsoft.com/office/drawing/2014/main" id="{511FB240-3ED8-AB47-9E47-D823EBDB7C62}"/>
                    </a:ext>
                  </a:extLst>
                </p:cNvPr>
                <p:cNvSpPr/>
                <p:nvPr/>
              </p:nvSpPr>
              <p:spPr>
                <a:xfrm>
                  <a:off x="8651362" y="1627295"/>
                  <a:ext cx="12338" cy="50694"/>
                </a:xfrm>
                <a:custGeom>
                  <a:avLst/>
                  <a:gdLst>
                    <a:gd name="connsiteX0" fmla="*/ 12246 w 12338"/>
                    <a:gd name="connsiteY0" fmla="*/ 50695 h 50694"/>
                    <a:gd name="connsiteX1" fmla="*/ 9631 w 12338"/>
                    <a:gd name="connsiteY1" fmla="*/ 32136 h 50694"/>
                    <a:gd name="connsiteX2" fmla="*/ 2032 w 12338"/>
                    <a:gd name="connsiteY2" fmla="*/ 16442 h 50694"/>
                    <a:gd name="connsiteX3" fmla="*/ 165 w 12338"/>
                    <a:gd name="connsiteY3" fmla="*/ 0 h 50694"/>
                  </a:gdLst>
                  <a:ahLst/>
                  <a:cxnLst>
                    <a:cxn ang="0">
                      <a:pos x="connsiteX0" y="connsiteY0"/>
                    </a:cxn>
                    <a:cxn ang="0">
                      <a:pos x="connsiteX1" y="connsiteY1"/>
                    </a:cxn>
                    <a:cxn ang="0">
                      <a:pos x="connsiteX2" y="connsiteY2"/>
                    </a:cxn>
                    <a:cxn ang="0">
                      <a:pos x="connsiteX3" y="connsiteY3"/>
                    </a:cxn>
                  </a:cxnLst>
                  <a:rect l="l" t="t" r="r" b="b"/>
                  <a:pathLst>
                    <a:path w="12338" h="50694">
                      <a:moveTo>
                        <a:pt x="12246" y="50695"/>
                      </a:moveTo>
                      <a:cubicBezTo>
                        <a:pt x="12745" y="42350"/>
                        <a:pt x="11126" y="36122"/>
                        <a:pt x="9631" y="32136"/>
                      </a:cubicBezTo>
                      <a:cubicBezTo>
                        <a:pt x="7140" y="25534"/>
                        <a:pt x="4274" y="23168"/>
                        <a:pt x="2032" y="16442"/>
                      </a:cubicBezTo>
                      <a:cubicBezTo>
                        <a:pt x="-85" y="9840"/>
                        <a:pt x="-210" y="3986"/>
                        <a:pt x="1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3" name="Freeform 7232">
                  <a:extLst>
                    <a:ext uri="{FF2B5EF4-FFF2-40B4-BE49-F238E27FC236}">
                      <a16:creationId xmlns:a16="http://schemas.microsoft.com/office/drawing/2014/main" id="{1DB82A57-3300-1C42-013E-43447AC4F16C}"/>
                    </a:ext>
                  </a:extLst>
                </p:cNvPr>
                <p:cNvSpPr/>
                <p:nvPr/>
              </p:nvSpPr>
              <p:spPr>
                <a:xfrm>
                  <a:off x="8644552" y="1634271"/>
                  <a:ext cx="13451" cy="50445"/>
                </a:xfrm>
                <a:custGeom>
                  <a:avLst/>
                  <a:gdLst>
                    <a:gd name="connsiteX0" fmla="*/ 0 w 13451"/>
                    <a:gd name="connsiteY0" fmla="*/ 0 h 50445"/>
                    <a:gd name="connsiteX1" fmla="*/ 6476 w 13451"/>
                    <a:gd name="connsiteY1" fmla="*/ 17687 h 50445"/>
                    <a:gd name="connsiteX2" fmla="*/ 7348 w 13451"/>
                    <a:gd name="connsiteY2" fmla="*/ 35125 h 50445"/>
                    <a:gd name="connsiteX3" fmla="*/ 13452 w 1345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6" y="17687"/>
                      </a:cubicBezTo>
                      <a:cubicBezTo>
                        <a:pt x="7473" y="24662"/>
                        <a:pt x="6103" y="28025"/>
                        <a:pt x="7348" y="35125"/>
                      </a:cubicBezTo>
                      <a:cubicBezTo>
                        <a:pt x="8595" y="41976"/>
                        <a:pt x="11334"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4" name="Freeform 7233">
                  <a:extLst>
                    <a:ext uri="{FF2B5EF4-FFF2-40B4-BE49-F238E27FC236}">
                      <a16:creationId xmlns:a16="http://schemas.microsoft.com/office/drawing/2014/main" id="{6E76F46C-CE34-EC9E-35E1-B140B787F507}"/>
                    </a:ext>
                  </a:extLst>
                </p:cNvPr>
                <p:cNvSpPr/>
                <p:nvPr/>
              </p:nvSpPr>
              <p:spPr>
                <a:xfrm>
                  <a:off x="8648527" y="1672616"/>
                  <a:ext cx="26724" cy="26435"/>
                </a:xfrm>
                <a:custGeom>
                  <a:avLst/>
                  <a:gdLst>
                    <a:gd name="connsiteX0" fmla="*/ 384 w 26724"/>
                    <a:gd name="connsiteY0" fmla="*/ 16460 h 26435"/>
                    <a:gd name="connsiteX1" fmla="*/ 10100 w 26724"/>
                    <a:gd name="connsiteY1" fmla="*/ 392 h 26435"/>
                    <a:gd name="connsiteX2" fmla="*/ 26292 w 26724"/>
                    <a:gd name="connsiteY2" fmla="*/ 9983 h 26435"/>
                    <a:gd name="connsiteX3" fmla="*/ 16576 w 26724"/>
                    <a:gd name="connsiteY3" fmla="*/ 26051 h 26435"/>
                    <a:gd name="connsiteX4" fmla="*/ 384 w 26724"/>
                    <a:gd name="connsiteY4" fmla="*/ 16460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35">
                      <a:moveTo>
                        <a:pt x="384" y="16460"/>
                      </a:moveTo>
                      <a:cubicBezTo>
                        <a:pt x="-1360" y="9360"/>
                        <a:pt x="3000" y="2136"/>
                        <a:pt x="10100" y="392"/>
                      </a:cubicBezTo>
                      <a:cubicBezTo>
                        <a:pt x="17199" y="-1352"/>
                        <a:pt x="24548" y="2883"/>
                        <a:pt x="26292" y="9983"/>
                      </a:cubicBezTo>
                      <a:cubicBezTo>
                        <a:pt x="28160" y="17082"/>
                        <a:pt x="23801" y="24307"/>
                        <a:pt x="16576" y="26051"/>
                      </a:cubicBezTo>
                      <a:cubicBezTo>
                        <a:pt x="9353" y="27794"/>
                        <a:pt x="2128" y="23435"/>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5" name="Freeform 7234">
                  <a:extLst>
                    <a:ext uri="{FF2B5EF4-FFF2-40B4-BE49-F238E27FC236}">
                      <a16:creationId xmlns:a16="http://schemas.microsoft.com/office/drawing/2014/main" id="{C9E50001-7599-9B10-E8A7-1A2120CC5B44}"/>
                    </a:ext>
                  </a:extLst>
                </p:cNvPr>
                <p:cNvSpPr/>
                <p:nvPr/>
              </p:nvSpPr>
              <p:spPr>
                <a:xfrm>
                  <a:off x="8629920" y="1574857"/>
                  <a:ext cx="12180" cy="50694"/>
                </a:xfrm>
                <a:custGeom>
                  <a:avLst/>
                  <a:gdLst>
                    <a:gd name="connsiteX0" fmla="*/ 58 w 12180"/>
                    <a:gd name="connsiteY0" fmla="*/ 0 h 50694"/>
                    <a:gd name="connsiteX1" fmla="*/ 2674 w 12180"/>
                    <a:gd name="connsiteY1" fmla="*/ 18559 h 50694"/>
                    <a:gd name="connsiteX2" fmla="*/ 10147 w 12180"/>
                    <a:gd name="connsiteY2" fmla="*/ 34253 h 50694"/>
                    <a:gd name="connsiteX3" fmla="*/ 12016 w 1218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80" h="50694">
                      <a:moveTo>
                        <a:pt x="58" y="0"/>
                      </a:moveTo>
                      <a:cubicBezTo>
                        <a:pt x="-315" y="8345"/>
                        <a:pt x="1179" y="14573"/>
                        <a:pt x="2674" y="18559"/>
                      </a:cubicBezTo>
                      <a:cubicBezTo>
                        <a:pt x="5165" y="25161"/>
                        <a:pt x="7905" y="27527"/>
                        <a:pt x="10147" y="34253"/>
                      </a:cubicBezTo>
                      <a:cubicBezTo>
                        <a:pt x="12265" y="40855"/>
                        <a:pt x="12390" y="46709"/>
                        <a:pt x="1201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6" name="Freeform 7235">
                  <a:extLst>
                    <a:ext uri="{FF2B5EF4-FFF2-40B4-BE49-F238E27FC236}">
                      <a16:creationId xmlns:a16="http://schemas.microsoft.com/office/drawing/2014/main" id="{FAF9313C-60DE-4949-27B9-4F30BDEE6609}"/>
                    </a:ext>
                  </a:extLst>
                </p:cNvPr>
                <p:cNvSpPr/>
                <p:nvPr/>
              </p:nvSpPr>
              <p:spPr>
                <a:xfrm>
                  <a:off x="8635583" y="1568380"/>
                  <a:ext cx="13452" cy="50321"/>
                </a:xfrm>
                <a:custGeom>
                  <a:avLst/>
                  <a:gdLst>
                    <a:gd name="connsiteX0" fmla="*/ 13452 w 13452"/>
                    <a:gd name="connsiteY0" fmla="*/ 50321 h 50321"/>
                    <a:gd name="connsiteX1" fmla="*/ 6975 w 13452"/>
                    <a:gd name="connsiteY1" fmla="*/ 32634 h 50321"/>
                    <a:gd name="connsiteX2" fmla="*/ 6103 w 13452"/>
                    <a:gd name="connsiteY2" fmla="*/ 15321 h 50321"/>
                    <a:gd name="connsiteX3" fmla="*/ 0 w 13452"/>
                    <a:gd name="connsiteY3" fmla="*/ 0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50321"/>
                      </a:moveTo>
                      <a:cubicBezTo>
                        <a:pt x="9093" y="43097"/>
                        <a:pt x="7474" y="36994"/>
                        <a:pt x="6975" y="32634"/>
                      </a:cubicBezTo>
                      <a:cubicBezTo>
                        <a:pt x="5979" y="25659"/>
                        <a:pt x="7349" y="22296"/>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7" name="Freeform 7236">
                  <a:extLst>
                    <a:ext uri="{FF2B5EF4-FFF2-40B4-BE49-F238E27FC236}">
                      <a16:creationId xmlns:a16="http://schemas.microsoft.com/office/drawing/2014/main" id="{0127D946-600A-21DA-0150-5FC75866447E}"/>
                    </a:ext>
                  </a:extLst>
                </p:cNvPr>
                <p:cNvSpPr/>
                <p:nvPr/>
              </p:nvSpPr>
              <p:spPr>
                <a:xfrm>
                  <a:off x="8618583" y="1553921"/>
                  <a:ext cx="26401" cy="26551"/>
                </a:xfrm>
                <a:custGeom>
                  <a:avLst/>
                  <a:gdLst>
                    <a:gd name="connsiteX0" fmla="*/ 25968 w 26401"/>
                    <a:gd name="connsiteY0" fmla="*/ 10100 h 26551"/>
                    <a:gd name="connsiteX1" fmla="*/ 16502 w 26401"/>
                    <a:gd name="connsiteY1" fmla="*/ 26168 h 26551"/>
                    <a:gd name="connsiteX2" fmla="*/ 433 w 26401"/>
                    <a:gd name="connsiteY2" fmla="*/ 16452 h 26551"/>
                    <a:gd name="connsiteX3" fmla="*/ 9900 w 26401"/>
                    <a:gd name="connsiteY3" fmla="*/ 384 h 26551"/>
                    <a:gd name="connsiteX4" fmla="*/ 25968 w 2640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51">
                      <a:moveTo>
                        <a:pt x="25968" y="10100"/>
                      </a:moveTo>
                      <a:cubicBezTo>
                        <a:pt x="27836" y="17199"/>
                        <a:pt x="23477" y="24424"/>
                        <a:pt x="16502" y="26168"/>
                      </a:cubicBezTo>
                      <a:cubicBezTo>
                        <a:pt x="9402" y="27911"/>
                        <a:pt x="2302" y="23552"/>
                        <a:pt x="433" y="16452"/>
                      </a:cubicBezTo>
                      <a:cubicBezTo>
                        <a:pt x="-1435" y="9352"/>
                        <a:pt x="2925" y="2128"/>
                        <a:pt x="9900" y="384"/>
                      </a:cubicBezTo>
                      <a:cubicBezTo>
                        <a:pt x="17000" y="-1360"/>
                        <a:pt x="24100" y="3000"/>
                        <a:pt x="25968"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1" name="Graphic 2987">
                <a:extLst>
                  <a:ext uri="{FF2B5EF4-FFF2-40B4-BE49-F238E27FC236}">
                    <a16:creationId xmlns:a16="http://schemas.microsoft.com/office/drawing/2014/main" id="{EDCA1288-E9D4-4D99-3834-354C0C22E85A}"/>
                  </a:ext>
                </a:extLst>
              </p:cNvPr>
              <p:cNvGrpSpPr/>
              <p:nvPr/>
            </p:nvGrpSpPr>
            <p:grpSpPr>
              <a:xfrm>
                <a:off x="8589977" y="1560942"/>
                <a:ext cx="56203" cy="145257"/>
                <a:chOff x="8589977" y="1560942"/>
                <a:chExt cx="56203" cy="145257"/>
              </a:xfrm>
              <a:grpFill/>
            </p:grpSpPr>
            <p:sp>
              <p:nvSpPr>
                <p:cNvPr id="6846" name="Freeform 7238">
                  <a:extLst>
                    <a:ext uri="{FF2B5EF4-FFF2-40B4-BE49-F238E27FC236}">
                      <a16:creationId xmlns:a16="http://schemas.microsoft.com/office/drawing/2014/main" id="{7AC7B71F-D280-7A96-AD3F-C7F04A6CE884}"/>
                    </a:ext>
                  </a:extLst>
                </p:cNvPr>
                <p:cNvSpPr/>
                <p:nvPr/>
              </p:nvSpPr>
              <p:spPr>
                <a:xfrm>
                  <a:off x="8622643" y="1634520"/>
                  <a:ext cx="12160" cy="50694"/>
                </a:xfrm>
                <a:custGeom>
                  <a:avLst/>
                  <a:gdLst>
                    <a:gd name="connsiteX0" fmla="*/ 12068 w 12160"/>
                    <a:gd name="connsiteY0" fmla="*/ 50695 h 50694"/>
                    <a:gd name="connsiteX1" fmla="*/ 9453 w 12160"/>
                    <a:gd name="connsiteY1" fmla="*/ 32136 h 50694"/>
                    <a:gd name="connsiteX2" fmla="*/ 1979 w 12160"/>
                    <a:gd name="connsiteY2" fmla="*/ 16442 h 50694"/>
                    <a:gd name="connsiteX3" fmla="*/ 111 w 12160"/>
                    <a:gd name="connsiteY3" fmla="*/ 0 h 50694"/>
                  </a:gdLst>
                  <a:ahLst/>
                  <a:cxnLst>
                    <a:cxn ang="0">
                      <a:pos x="connsiteX0" y="connsiteY0"/>
                    </a:cxn>
                    <a:cxn ang="0">
                      <a:pos x="connsiteX1" y="connsiteY1"/>
                    </a:cxn>
                    <a:cxn ang="0">
                      <a:pos x="connsiteX2" y="connsiteY2"/>
                    </a:cxn>
                    <a:cxn ang="0">
                      <a:pos x="connsiteX3" y="connsiteY3"/>
                    </a:cxn>
                  </a:cxnLst>
                  <a:rect l="l" t="t" r="r" b="b"/>
                  <a:pathLst>
                    <a:path w="12160" h="50694">
                      <a:moveTo>
                        <a:pt x="12068" y="50695"/>
                      </a:moveTo>
                      <a:cubicBezTo>
                        <a:pt x="12567" y="42350"/>
                        <a:pt x="10948" y="36122"/>
                        <a:pt x="9453" y="32136"/>
                      </a:cubicBezTo>
                      <a:cubicBezTo>
                        <a:pt x="6962" y="25534"/>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7" name="Freeform 7239">
                  <a:extLst>
                    <a:ext uri="{FF2B5EF4-FFF2-40B4-BE49-F238E27FC236}">
                      <a16:creationId xmlns:a16="http://schemas.microsoft.com/office/drawing/2014/main" id="{C9C6BA0B-38A6-CEEA-4902-BFDAA0DCD1D0}"/>
                    </a:ext>
                  </a:extLst>
                </p:cNvPr>
                <p:cNvSpPr/>
                <p:nvPr/>
              </p:nvSpPr>
              <p:spPr>
                <a:xfrm>
                  <a:off x="8615779" y="1641371"/>
                  <a:ext cx="13327" cy="50445"/>
                </a:xfrm>
                <a:custGeom>
                  <a:avLst/>
                  <a:gdLst>
                    <a:gd name="connsiteX0" fmla="*/ 0 w 13327"/>
                    <a:gd name="connsiteY0" fmla="*/ 0 h 50445"/>
                    <a:gd name="connsiteX1" fmla="*/ 6476 w 13327"/>
                    <a:gd name="connsiteY1" fmla="*/ 17687 h 50445"/>
                    <a:gd name="connsiteX2" fmla="*/ 7224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59" y="7224"/>
                        <a:pt x="5854" y="13328"/>
                        <a:pt x="6476" y="17687"/>
                      </a:cubicBezTo>
                      <a:cubicBezTo>
                        <a:pt x="7348" y="24662"/>
                        <a:pt x="6103" y="28150"/>
                        <a:pt x="7224" y="35125"/>
                      </a:cubicBezTo>
                      <a:cubicBezTo>
                        <a:pt x="8470" y="41976"/>
                        <a:pt x="11210"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8" name="Freeform 7240">
                  <a:extLst>
                    <a:ext uri="{FF2B5EF4-FFF2-40B4-BE49-F238E27FC236}">
                      <a16:creationId xmlns:a16="http://schemas.microsoft.com/office/drawing/2014/main" id="{34D52913-A81C-638C-FE0C-E298E03E8E70}"/>
                    </a:ext>
                  </a:extLst>
                </p:cNvPr>
                <p:cNvSpPr/>
                <p:nvPr/>
              </p:nvSpPr>
              <p:spPr>
                <a:xfrm>
                  <a:off x="8619505" y="1679716"/>
                  <a:ext cx="26676" cy="26483"/>
                </a:xfrm>
                <a:custGeom>
                  <a:avLst/>
                  <a:gdLst>
                    <a:gd name="connsiteX0" fmla="*/ 384 w 26676"/>
                    <a:gd name="connsiteY0" fmla="*/ 16460 h 26483"/>
                    <a:gd name="connsiteX1" fmla="*/ 10100 w 26676"/>
                    <a:gd name="connsiteY1" fmla="*/ 392 h 26483"/>
                    <a:gd name="connsiteX2" fmla="*/ 26292 w 26676"/>
                    <a:gd name="connsiteY2" fmla="*/ 9983 h 26483"/>
                    <a:gd name="connsiteX3" fmla="*/ 16577 w 26676"/>
                    <a:gd name="connsiteY3" fmla="*/ 26051 h 26483"/>
                    <a:gd name="connsiteX4" fmla="*/ 384 w 26676"/>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6" h="26483">
                      <a:moveTo>
                        <a:pt x="384" y="16460"/>
                      </a:moveTo>
                      <a:cubicBezTo>
                        <a:pt x="-1359" y="9360"/>
                        <a:pt x="3000" y="2136"/>
                        <a:pt x="10100" y="392"/>
                      </a:cubicBezTo>
                      <a:cubicBezTo>
                        <a:pt x="17200" y="-1352"/>
                        <a:pt x="24548" y="2883"/>
                        <a:pt x="26292" y="9983"/>
                      </a:cubicBezTo>
                      <a:cubicBezTo>
                        <a:pt x="28036" y="17082"/>
                        <a:pt x="23676" y="24307"/>
                        <a:pt x="16577" y="26051"/>
                      </a:cubicBezTo>
                      <a:cubicBezTo>
                        <a:pt x="9352" y="27919"/>
                        <a:pt x="2128"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9" name="Freeform 7241">
                  <a:extLst>
                    <a:ext uri="{FF2B5EF4-FFF2-40B4-BE49-F238E27FC236}">
                      <a16:creationId xmlns:a16="http://schemas.microsoft.com/office/drawing/2014/main" id="{5E4A3ECF-FAC3-8603-7DD7-28640553E14D}"/>
                    </a:ext>
                  </a:extLst>
                </p:cNvPr>
                <p:cNvSpPr/>
                <p:nvPr/>
              </p:nvSpPr>
              <p:spPr>
                <a:xfrm>
                  <a:off x="8601238" y="1581956"/>
                  <a:ext cx="12160" cy="50694"/>
                </a:xfrm>
                <a:custGeom>
                  <a:avLst/>
                  <a:gdLst>
                    <a:gd name="connsiteX0" fmla="*/ 92 w 12160"/>
                    <a:gd name="connsiteY0" fmla="*/ 0 h 50694"/>
                    <a:gd name="connsiteX1" fmla="*/ 2708 w 12160"/>
                    <a:gd name="connsiteY1" fmla="*/ 18559 h 50694"/>
                    <a:gd name="connsiteX2" fmla="*/ 10181 w 12160"/>
                    <a:gd name="connsiteY2" fmla="*/ 34253 h 50694"/>
                    <a:gd name="connsiteX3" fmla="*/ 12050 w 12160"/>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160" h="50694">
                      <a:moveTo>
                        <a:pt x="92" y="0"/>
                      </a:moveTo>
                      <a:cubicBezTo>
                        <a:pt x="-406" y="8345"/>
                        <a:pt x="1213" y="14573"/>
                        <a:pt x="2708" y="18559"/>
                      </a:cubicBezTo>
                      <a:cubicBezTo>
                        <a:pt x="5199" y="25161"/>
                        <a:pt x="7939" y="27527"/>
                        <a:pt x="10181" y="34253"/>
                      </a:cubicBezTo>
                      <a:cubicBezTo>
                        <a:pt x="12299" y="40855"/>
                        <a:pt x="12299" y="46709"/>
                        <a:pt x="1205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0" name="Freeform 7242">
                  <a:extLst>
                    <a:ext uri="{FF2B5EF4-FFF2-40B4-BE49-F238E27FC236}">
                      <a16:creationId xmlns:a16="http://schemas.microsoft.com/office/drawing/2014/main" id="{9676C116-B2BF-76F4-A0D9-BA5263AB2ACD}"/>
                    </a:ext>
                  </a:extLst>
                </p:cNvPr>
                <p:cNvSpPr/>
                <p:nvPr/>
              </p:nvSpPr>
              <p:spPr>
                <a:xfrm>
                  <a:off x="8606810" y="1575355"/>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2" y="43222"/>
                        <a:pt x="7598" y="37118"/>
                        <a:pt x="6975" y="32759"/>
                      </a:cubicBezTo>
                      <a:cubicBezTo>
                        <a:pt x="5979" y="25783"/>
                        <a:pt x="7349" y="22420"/>
                        <a:pt x="6103" y="15321"/>
                      </a:cubicBezTo>
                      <a:cubicBezTo>
                        <a:pt x="4858"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51" name="Freeform 7243">
                  <a:extLst>
                    <a:ext uri="{FF2B5EF4-FFF2-40B4-BE49-F238E27FC236}">
                      <a16:creationId xmlns:a16="http://schemas.microsoft.com/office/drawing/2014/main" id="{9E106F1F-5EAC-28BD-8463-C36DE1075D1A}"/>
                    </a:ext>
                  </a:extLst>
                </p:cNvPr>
                <p:cNvSpPr/>
                <p:nvPr/>
              </p:nvSpPr>
              <p:spPr>
                <a:xfrm>
                  <a:off x="8589977" y="1560942"/>
                  <a:ext cx="26317" cy="26505"/>
                </a:xfrm>
                <a:custGeom>
                  <a:avLst/>
                  <a:gdLst>
                    <a:gd name="connsiteX0" fmla="*/ 25926 w 26317"/>
                    <a:gd name="connsiteY0" fmla="*/ 10053 h 26505"/>
                    <a:gd name="connsiteX1" fmla="*/ 16335 w 26317"/>
                    <a:gd name="connsiteY1" fmla="*/ 26121 h 26505"/>
                    <a:gd name="connsiteX2" fmla="*/ 392 w 26317"/>
                    <a:gd name="connsiteY2" fmla="*/ 16406 h 26505"/>
                    <a:gd name="connsiteX3" fmla="*/ 9983 w 26317"/>
                    <a:gd name="connsiteY3" fmla="*/ 338 h 26505"/>
                    <a:gd name="connsiteX4" fmla="*/ 25926 w 26317"/>
                    <a:gd name="connsiteY4" fmla="*/ 10053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05">
                      <a:moveTo>
                        <a:pt x="25926" y="10053"/>
                      </a:moveTo>
                      <a:cubicBezTo>
                        <a:pt x="27670" y="17153"/>
                        <a:pt x="23435" y="24377"/>
                        <a:pt x="16335" y="26121"/>
                      </a:cubicBezTo>
                      <a:cubicBezTo>
                        <a:pt x="9235" y="27865"/>
                        <a:pt x="2136" y="23506"/>
                        <a:pt x="392" y="16406"/>
                      </a:cubicBezTo>
                      <a:cubicBezTo>
                        <a:pt x="-1352" y="9306"/>
                        <a:pt x="2883" y="2082"/>
                        <a:pt x="9983" y="338"/>
                      </a:cubicBezTo>
                      <a:cubicBezTo>
                        <a:pt x="17083" y="-1281"/>
                        <a:pt x="24182" y="3078"/>
                        <a:pt x="25926" y="100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2" name="Graphic 2987">
                <a:extLst>
                  <a:ext uri="{FF2B5EF4-FFF2-40B4-BE49-F238E27FC236}">
                    <a16:creationId xmlns:a16="http://schemas.microsoft.com/office/drawing/2014/main" id="{45235669-2DD8-0327-D2E4-4FE0A9D4343D}"/>
                  </a:ext>
                </a:extLst>
              </p:cNvPr>
              <p:cNvGrpSpPr/>
              <p:nvPr/>
            </p:nvGrpSpPr>
            <p:grpSpPr>
              <a:xfrm>
                <a:off x="8561461" y="1567996"/>
                <a:ext cx="55822" cy="145428"/>
                <a:chOff x="8561461" y="1567996"/>
                <a:chExt cx="55822" cy="145428"/>
              </a:xfrm>
              <a:grpFill/>
            </p:grpSpPr>
            <p:sp>
              <p:nvSpPr>
                <p:cNvPr id="6840" name="Freeform 7245">
                  <a:extLst>
                    <a:ext uri="{FF2B5EF4-FFF2-40B4-BE49-F238E27FC236}">
                      <a16:creationId xmlns:a16="http://schemas.microsoft.com/office/drawing/2014/main" id="{2E2670D1-BC47-7219-BC56-573AB3FE95EB}"/>
                    </a:ext>
                  </a:extLst>
                </p:cNvPr>
                <p:cNvSpPr/>
                <p:nvPr/>
              </p:nvSpPr>
              <p:spPr>
                <a:xfrm>
                  <a:off x="8593745" y="1641495"/>
                  <a:ext cx="12041" cy="50944"/>
                </a:xfrm>
                <a:custGeom>
                  <a:avLst/>
                  <a:gdLst>
                    <a:gd name="connsiteX0" fmla="*/ 11944 w 12041"/>
                    <a:gd name="connsiteY0" fmla="*/ 50944 h 50944"/>
                    <a:gd name="connsiteX1" fmla="*/ 9453 w 12041"/>
                    <a:gd name="connsiteY1" fmla="*/ 32260 h 50944"/>
                    <a:gd name="connsiteX2" fmla="*/ 1979 w 12041"/>
                    <a:gd name="connsiteY2" fmla="*/ 16442 h 50944"/>
                    <a:gd name="connsiteX3" fmla="*/ 111 w 12041"/>
                    <a:gd name="connsiteY3" fmla="*/ 0 h 50944"/>
                  </a:gdLst>
                  <a:ahLst/>
                  <a:cxnLst>
                    <a:cxn ang="0">
                      <a:pos x="connsiteX0" y="connsiteY0"/>
                    </a:cxn>
                    <a:cxn ang="0">
                      <a:pos x="connsiteX1" y="connsiteY1"/>
                    </a:cxn>
                    <a:cxn ang="0">
                      <a:pos x="connsiteX2" y="connsiteY2"/>
                    </a:cxn>
                    <a:cxn ang="0">
                      <a:pos x="connsiteX3" y="connsiteY3"/>
                    </a:cxn>
                  </a:cxnLst>
                  <a:rect l="l" t="t" r="r" b="b"/>
                  <a:pathLst>
                    <a:path w="12041" h="50944">
                      <a:moveTo>
                        <a:pt x="11944" y="50944"/>
                      </a:moveTo>
                      <a:cubicBezTo>
                        <a:pt x="12442" y="42474"/>
                        <a:pt x="10948" y="36371"/>
                        <a:pt x="9453" y="32260"/>
                      </a:cubicBezTo>
                      <a:cubicBezTo>
                        <a:pt x="7086" y="25659"/>
                        <a:pt x="4222" y="23292"/>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1" name="Freeform 7246">
                  <a:extLst>
                    <a:ext uri="{FF2B5EF4-FFF2-40B4-BE49-F238E27FC236}">
                      <a16:creationId xmlns:a16="http://schemas.microsoft.com/office/drawing/2014/main" id="{14209D28-EB43-42DE-A97E-4BD4D1AA135D}"/>
                    </a:ext>
                  </a:extLst>
                </p:cNvPr>
                <p:cNvSpPr/>
                <p:nvPr/>
              </p:nvSpPr>
              <p:spPr>
                <a:xfrm>
                  <a:off x="8586881" y="1648595"/>
                  <a:ext cx="13078" cy="50445"/>
                </a:xfrm>
                <a:custGeom>
                  <a:avLst/>
                  <a:gdLst>
                    <a:gd name="connsiteX0" fmla="*/ 0 w 13078"/>
                    <a:gd name="connsiteY0" fmla="*/ 0 h 50445"/>
                    <a:gd name="connsiteX1" fmla="*/ 6353 w 13078"/>
                    <a:gd name="connsiteY1" fmla="*/ 17687 h 50445"/>
                    <a:gd name="connsiteX2" fmla="*/ 7100 w 13078"/>
                    <a:gd name="connsiteY2" fmla="*/ 35125 h 50445"/>
                    <a:gd name="connsiteX3" fmla="*/ 13078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0" y="0"/>
                      </a:moveTo>
                      <a:cubicBezTo>
                        <a:pt x="4359" y="7224"/>
                        <a:pt x="5854" y="13328"/>
                        <a:pt x="6353" y="17687"/>
                      </a:cubicBezTo>
                      <a:cubicBezTo>
                        <a:pt x="7224" y="24662"/>
                        <a:pt x="5854" y="28150"/>
                        <a:pt x="7100"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2" name="Freeform 7247">
                  <a:extLst>
                    <a:ext uri="{FF2B5EF4-FFF2-40B4-BE49-F238E27FC236}">
                      <a16:creationId xmlns:a16="http://schemas.microsoft.com/office/drawing/2014/main" id="{011B1DA3-E5C3-65F3-D3E2-9FA05D7C78B9}"/>
                    </a:ext>
                  </a:extLst>
                </p:cNvPr>
                <p:cNvSpPr/>
                <p:nvPr/>
              </p:nvSpPr>
              <p:spPr>
                <a:xfrm>
                  <a:off x="8590484" y="1686941"/>
                  <a:ext cx="26799" cy="26483"/>
                </a:xfrm>
                <a:custGeom>
                  <a:avLst/>
                  <a:gdLst>
                    <a:gd name="connsiteX0" fmla="*/ 384 w 26799"/>
                    <a:gd name="connsiteY0" fmla="*/ 16460 h 26483"/>
                    <a:gd name="connsiteX1" fmla="*/ 10224 w 26799"/>
                    <a:gd name="connsiteY1" fmla="*/ 392 h 26483"/>
                    <a:gd name="connsiteX2" fmla="*/ 26416 w 26799"/>
                    <a:gd name="connsiteY2" fmla="*/ 9983 h 26483"/>
                    <a:gd name="connsiteX3" fmla="*/ 16576 w 26799"/>
                    <a:gd name="connsiteY3" fmla="*/ 26051 h 26483"/>
                    <a:gd name="connsiteX4" fmla="*/ 384 w 26799"/>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483">
                      <a:moveTo>
                        <a:pt x="384" y="16460"/>
                      </a:moveTo>
                      <a:cubicBezTo>
                        <a:pt x="-1360" y="9360"/>
                        <a:pt x="2999" y="2136"/>
                        <a:pt x="10224" y="392"/>
                      </a:cubicBezTo>
                      <a:cubicBezTo>
                        <a:pt x="17323" y="-1352"/>
                        <a:pt x="24548" y="2883"/>
                        <a:pt x="26416" y="9983"/>
                      </a:cubicBezTo>
                      <a:cubicBezTo>
                        <a:pt x="28160" y="17082"/>
                        <a:pt x="23801" y="24307"/>
                        <a:pt x="16576" y="26051"/>
                      </a:cubicBezTo>
                      <a:cubicBezTo>
                        <a:pt x="9352" y="27919"/>
                        <a:pt x="2127" y="23559"/>
                        <a:pt x="384"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3" name="Freeform 7248">
                  <a:extLst>
                    <a:ext uri="{FF2B5EF4-FFF2-40B4-BE49-F238E27FC236}">
                      <a16:creationId xmlns:a16="http://schemas.microsoft.com/office/drawing/2014/main" id="{825727EC-9FBD-331A-4712-5CC6B44A76C6}"/>
                    </a:ext>
                  </a:extLst>
                </p:cNvPr>
                <p:cNvSpPr/>
                <p:nvPr/>
              </p:nvSpPr>
              <p:spPr>
                <a:xfrm>
                  <a:off x="8572708" y="1589056"/>
                  <a:ext cx="11917" cy="50944"/>
                </a:xfrm>
                <a:custGeom>
                  <a:avLst/>
                  <a:gdLst>
                    <a:gd name="connsiteX0" fmla="*/ 98 w 11917"/>
                    <a:gd name="connsiteY0" fmla="*/ 0 h 50944"/>
                    <a:gd name="connsiteX1" fmla="*/ 2589 w 11917"/>
                    <a:gd name="connsiteY1" fmla="*/ 18684 h 50944"/>
                    <a:gd name="connsiteX2" fmla="*/ 9938 w 11917"/>
                    <a:gd name="connsiteY2" fmla="*/ 34502 h 50944"/>
                    <a:gd name="connsiteX3" fmla="*/ 11806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98" y="0"/>
                      </a:moveTo>
                      <a:cubicBezTo>
                        <a:pt x="-401" y="8345"/>
                        <a:pt x="1095" y="14573"/>
                        <a:pt x="2589" y="18684"/>
                      </a:cubicBezTo>
                      <a:cubicBezTo>
                        <a:pt x="4956" y="25285"/>
                        <a:pt x="7820" y="27652"/>
                        <a:pt x="9938" y="34502"/>
                      </a:cubicBezTo>
                      <a:cubicBezTo>
                        <a:pt x="12055" y="41104"/>
                        <a:pt x="12055" y="46958"/>
                        <a:pt x="11806"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4" name="Freeform 7249">
                  <a:extLst>
                    <a:ext uri="{FF2B5EF4-FFF2-40B4-BE49-F238E27FC236}">
                      <a16:creationId xmlns:a16="http://schemas.microsoft.com/office/drawing/2014/main" id="{56D3A28E-0B67-3D23-454D-DD7C4F657CBB}"/>
                    </a:ext>
                  </a:extLst>
                </p:cNvPr>
                <p:cNvSpPr/>
                <p:nvPr/>
              </p:nvSpPr>
              <p:spPr>
                <a:xfrm>
                  <a:off x="8578412" y="1582455"/>
                  <a:ext cx="13078" cy="50445"/>
                </a:xfrm>
                <a:custGeom>
                  <a:avLst/>
                  <a:gdLst>
                    <a:gd name="connsiteX0" fmla="*/ 13078 w 13078"/>
                    <a:gd name="connsiteY0" fmla="*/ 50446 h 50445"/>
                    <a:gd name="connsiteX1" fmla="*/ 6726 w 13078"/>
                    <a:gd name="connsiteY1" fmla="*/ 32759 h 50445"/>
                    <a:gd name="connsiteX2" fmla="*/ 5979 w 13078"/>
                    <a:gd name="connsiteY2" fmla="*/ 15321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50446"/>
                      </a:moveTo>
                      <a:cubicBezTo>
                        <a:pt x="8718" y="43222"/>
                        <a:pt x="7224" y="37118"/>
                        <a:pt x="6726" y="32759"/>
                      </a:cubicBezTo>
                      <a:cubicBezTo>
                        <a:pt x="5854" y="25783"/>
                        <a:pt x="7100" y="22296"/>
                        <a:pt x="5979" y="15321"/>
                      </a:cubicBezTo>
                      <a:cubicBezTo>
                        <a:pt x="4857"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45" name="Freeform 7250">
                  <a:extLst>
                    <a:ext uri="{FF2B5EF4-FFF2-40B4-BE49-F238E27FC236}">
                      <a16:creationId xmlns:a16="http://schemas.microsoft.com/office/drawing/2014/main" id="{23975A31-AF05-BA32-B2B1-F0646770BA47}"/>
                    </a:ext>
                  </a:extLst>
                </p:cNvPr>
                <p:cNvSpPr/>
                <p:nvPr/>
              </p:nvSpPr>
              <p:spPr>
                <a:xfrm>
                  <a:off x="8561461" y="1567996"/>
                  <a:ext cx="26310" cy="26551"/>
                </a:xfrm>
                <a:custGeom>
                  <a:avLst/>
                  <a:gdLst>
                    <a:gd name="connsiteX0" fmla="*/ 25919 w 26310"/>
                    <a:gd name="connsiteY0" fmla="*/ 10100 h 26551"/>
                    <a:gd name="connsiteX1" fmla="*/ 16328 w 26310"/>
                    <a:gd name="connsiteY1" fmla="*/ 26168 h 26551"/>
                    <a:gd name="connsiteX2" fmla="*/ 385 w 26310"/>
                    <a:gd name="connsiteY2" fmla="*/ 16452 h 26551"/>
                    <a:gd name="connsiteX3" fmla="*/ 9976 w 26310"/>
                    <a:gd name="connsiteY3" fmla="*/ 384 h 26551"/>
                    <a:gd name="connsiteX4" fmla="*/ 25919 w 2631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25919" y="10100"/>
                      </a:moveTo>
                      <a:cubicBezTo>
                        <a:pt x="27663" y="17199"/>
                        <a:pt x="23427" y="24424"/>
                        <a:pt x="16328" y="26168"/>
                      </a:cubicBezTo>
                      <a:cubicBezTo>
                        <a:pt x="9228" y="27911"/>
                        <a:pt x="2129" y="23552"/>
                        <a:pt x="385" y="16452"/>
                      </a:cubicBezTo>
                      <a:cubicBezTo>
                        <a:pt x="-1359" y="9352"/>
                        <a:pt x="3001" y="2128"/>
                        <a:pt x="9976" y="384"/>
                      </a:cubicBezTo>
                      <a:cubicBezTo>
                        <a:pt x="16951" y="-1360"/>
                        <a:pt x="24175" y="3000"/>
                        <a:pt x="2591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3" name="Graphic 2987">
                <a:extLst>
                  <a:ext uri="{FF2B5EF4-FFF2-40B4-BE49-F238E27FC236}">
                    <a16:creationId xmlns:a16="http://schemas.microsoft.com/office/drawing/2014/main" id="{FC5D2DE4-F339-444B-E2CC-1C587A8F2A85}"/>
                  </a:ext>
                </a:extLst>
              </p:cNvPr>
              <p:cNvGrpSpPr/>
              <p:nvPr/>
            </p:nvGrpSpPr>
            <p:grpSpPr>
              <a:xfrm>
                <a:off x="8532813" y="1575095"/>
                <a:ext cx="55324" cy="145628"/>
                <a:chOff x="8532813" y="1575095"/>
                <a:chExt cx="55324" cy="145628"/>
              </a:xfrm>
              <a:grpFill/>
            </p:grpSpPr>
            <p:sp>
              <p:nvSpPr>
                <p:cNvPr id="6834" name="Freeform 7252">
                  <a:extLst>
                    <a:ext uri="{FF2B5EF4-FFF2-40B4-BE49-F238E27FC236}">
                      <a16:creationId xmlns:a16="http://schemas.microsoft.com/office/drawing/2014/main" id="{D47FC4A1-7185-3416-1B1C-C16F192CB499}"/>
                    </a:ext>
                  </a:extLst>
                </p:cNvPr>
                <p:cNvSpPr/>
                <p:nvPr/>
              </p:nvSpPr>
              <p:spPr>
                <a:xfrm>
                  <a:off x="8565020" y="1648719"/>
                  <a:ext cx="11870" cy="50944"/>
                </a:xfrm>
                <a:custGeom>
                  <a:avLst/>
                  <a:gdLst>
                    <a:gd name="connsiteX0" fmla="*/ 11772 w 11870"/>
                    <a:gd name="connsiteY0" fmla="*/ 50944 h 50944"/>
                    <a:gd name="connsiteX1" fmla="*/ 9281 w 11870"/>
                    <a:gd name="connsiteY1" fmla="*/ 32260 h 50944"/>
                    <a:gd name="connsiteX2" fmla="*/ 1932 w 11870"/>
                    <a:gd name="connsiteY2" fmla="*/ 16442 h 50944"/>
                    <a:gd name="connsiteX3" fmla="*/ 189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50944"/>
                      </a:moveTo>
                      <a:cubicBezTo>
                        <a:pt x="12270" y="42474"/>
                        <a:pt x="10776" y="36371"/>
                        <a:pt x="9281" y="32260"/>
                      </a:cubicBezTo>
                      <a:cubicBezTo>
                        <a:pt x="6914" y="25659"/>
                        <a:pt x="4050" y="23292"/>
                        <a:pt x="1932" y="16442"/>
                      </a:cubicBezTo>
                      <a:cubicBezTo>
                        <a:pt x="-185" y="9840"/>
                        <a:pt x="-185" y="3986"/>
                        <a:pt x="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5" name="Freeform 7253">
                  <a:extLst>
                    <a:ext uri="{FF2B5EF4-FFF2-40B4-BE49-F238E27FC236}">
                      <a16:creationId xmlns:a16="http://schemas.microsoft.com/office/drawing/2014/main" id="{E00CDE58-1206-4E65-A5B5-F7FFE4F2A43E}"/>
                    </a:ext>
                  </a:extLst>
                </p:cNvPr>
                <p:cNvSpPr/>
                <p:nvPr/>
              </p:nvSpPr>
              <p:spPr>
                <a:xfrm>
                  <a:off x="8558109" y="1655695"/>
                  <a:ext cx="12953" cy="50445"/>
                </a:xfrm>
                <a:custGeom>
                  <a:avLst/>
                  <a:gdLst>
                    <a:gd name="connsiteX0" fmla="*/ 0 w 12953"/>
                    <a:gd name="connsiteY0" fmla="*/ 0 h 50445"/>
                    <a:gd name="connsiteX1" fmla="*/ 6353 w 12953"/>
                    <a:gd name="connsiteY1" fmla="*/ 17687 h 50445"/>
                    <a:gd name="connsiteX2" fmla="*/ 6975 w 12953"/>
                    <a:gd name="connsiteY2" fmla="*/ 35125 h 50445"/>
                    <a:gd name="connsiteX3" fmla="*/ 12954 w 12953"/>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952" h="50445">
                      <a:moveTo>
                        <a:pt x="0" y="0"/>
                      </a:moveTo>
                      <a:cubicBezTo>
                        <a:pt x="4359" y="7224"/>
                        <a:pt x="5729" y="13328"/>
                        <a:pt x="6353" y="17687"/>
                      </a:cubicBezTo>
                      <a:cubicBezTo>
                        <a:pt x="7224" y="24662"/>
                        <a:pt x="5854" y="28150"/>
                        <a:pt x="6975" y="35125"/>
                      </a:cubicBezTo>
                      <a:cubicBezTo>
                        <a:pt x="8096" y="41976"/>
                        <a:pt x="10836" y="47207"/>
                        <a:pt x="1295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6" name="Freeform 7254">
                  <a:extLst>
                    <a:ext uri="{FF2B5EF4-FFF2-40B4-BE49-F238E27FC236}">
                      <a16:creationId xmlns:a16="http://schemas.microsoft.com/office/drawing/2014/main" id="{1A8298F4-28E9-F8AB-9C92-9CDBF3FF5154}"/>
                    </a:ext>
                  </a:extLst>
                </p:cNvPr>
                <p:cNvSpPr/>
                <p:nvPr/>
              </p:nvSpPr>
              <p:spPr>
                <a:xfrm>
                  <a:off x="8561468" y="1694165"/>
                  <a:ext cx="26668" cy="26558"/>
                </a:xfrm>
                <a:custGeom>
                  <a:avLst/>
                  <a:gdLst>
                    <a:gd name="connsiteX0" fmla="*/ 377 w 26668"/>
                    <a:gd name="connsiteY0" fmla="*/ 16459 h 26558"/>
                    <a:gd name="connsiteX1" fmla="*/ 10217 w 26668"/>
                    <a:gd name="connsiteY1" fmla="*/ 391 h 26558"/>
                    <a:gd name="connsiteX2" fmla="*/ 26285 w 26668"/>
                    <a:gd name="connsiteY2" fmla="*/ 10107 h 26558"/>
                    <a:gd name="connsiteX3" fmla="*/ 16445 w 26668"/>
                    <a:gd name="connsiteY3" fmla="*/ 26175 h 26558"/>
                    <a:gd name="connsiteX4" fmla="*/ 377 w 26668"/>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8">
                      <a:moveTo>
                        <a:pt x="377" y="16459"/>
                      </a:moveTo>
                      <a:cubicBezTo>
                        <a:pt x="-1367" y="9359"/>
                        <a:pt x="3117" y="2135"/>
                        <a:pt x="10217" y="391"/>
                      </a:cubicBezTo>
                      <a:cubicBezTo>
                        <a:pt x="17317" y="-1353"/>
                        <a:pt x="24541" y="2882"/>
                        <a:pt x="26285" y="10107"/>
                      </a:cubicBezTo>
                      <a:cubicBezTo>
                        <a:pt x="28028" y="17207"/>
                        <a:pt x="23669" y="24431"/>
                        <a:pt x="16445" y="26175"/>
                      </a:cubicBezTo>
                      <a:cubicBezTo>
                        <a:pt x="9345" y="27919"/>
                        <a:pt x="2121" y="23559"/>
                        <a:pt x="377"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7" name="Freeform 7255">
                  <a:extLst>
                    <a:ext uri="{FF2B5EF4-FFF2-40B4-BE49-F238E27FC236}">
                      <a16:creationId xmlns:a16="http://schemas.microsoft.com/office/drawing/2014/main" id="{6D35FF97-F629-9CF8-7BBA-05B17BD8FB0D}"/>
                    </a:ext>
                  </a:extLst>
                </p:cNvPr>
                <p:cNvSpPr/>
                <p:nvPr/>
              </p:nvSpPr>
              <p:spPr>
                <a:xfrm>
                  <a:off x="8544060" y="1596156"/>
                  <a:ext cx="11869" cy="50944"/>
                </a:xfrm>
                <a:custGeom>
                  <a:avLst/>
                  <a:gdLst>
                    <a:gd name="connsiteX0" fmla="*/ 98 w 11869"/>
                    <a:gd name="connsiteY0" fmla="*/ 0 h 50944"/>
                    <a:gd name="connsiteX1" fmla="*/ 2588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470"/>
                        <a:pt x="1094" y="14573"/>
                        <a:pt x="2588" y="18684"/>
                      </a:cubicBezTo>
                      <a:cubicBezTo>
                        <a:pt x="4955" y="25285"/>
                        <a:pt x="7696" y="27652"/>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8" name="Freeform 7256">
                  <a:extLst>
                    <a:ext uri="{FF2B5EF4-FFF2-40B4-BE49-F238E27FC236}">
                      <a16:creationId xmlns:a16="http://schemas.microsoft.com/office/drawing/2014/main" id="{C717310E-1BA6-CD8F-8C8F-222A15228BDE}"/>
                    </a:ext>
                  </a:extLst>
                </p:cNvPr>
                <p:cNvSpPr/>
                <p:nvPr/>
              </p:nvSpPr>
              <p:spPr>
                <a:xfrm>
                  <a:off x="8549639" y="1589555"/>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8" y="43346"/>
                        <a:pt x="7348" y="37243"/>
                        <a:pt x="6726" y="32883"/>
                      </a:cubicBezTo>
                      <a:cubicBezTo>
                        <a:pt x="5854" y="25908"/>
                        <a:pt x="7224" y="22420"/>
                        <a:pt x="5979" y="15445"/>
                      </a:cubicBezTo>
                      <a:cubicBezTo>
                        <a:pt x="4857"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9" name="Freeform 7257">
                  <a:extLst>
                    <a:ext uri="{FF2B5EF4-FFF2-40B4-BE49-F238E27FC236}">
                      <a16:creationId xmlns:a16="http://schemas.microsoft.com/office/drawing/2014/main" id="{4944EA43-83E5-5D3F-3AC0-3A3772D4B8B2}"/>
                    </a:ext>
                  </a:extLst>
                </p:cNvPr>
                <p:cNvSpPr/>
                <p:nvPr/>
              </p:nvSpPr>
              <p:spPr>
                <a:xfrm>
                  <a:off x="8532813" y="1575095"/>
                  <a:ext cx="26427" cy="26551"/>
                </a:xfrm>
                <a:custGeom>
                  <a:avLst/>
                  <a:gdLst>
                    <a:gd name="connsiteX0" fmla="*/ 26043 w 26427"/>
                    <a:gd name="connsiteY0" fmla="*/ 10100 h 26551"/>
                    <a:gd name="connsiteX1" fmla="*/ 16327 w 26427"/>
                    <a:gd name="connsiteY1" fmla="*/ 26168 h 26551"/>
                    <a:gd name="connsiteX2" fmla="*/ 384 w 26427"/>
                    <a:gd name="connsiteY2" fmla="*/ 16452 h 26551"/>
                    <a:gd name="connsiteX3" fmla="*/ 10099 w 26427"/>
                    <a:gd name="connsiteY3" fmla="*/ 384 h 26551"/>
                    <a:gd name="connsiteX4" fmla="*/ 26043 w 26427"/>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551">
                      <a:moveTo>
                        <a:pt x="26043" y="10100"/>
                      </a:moveTo>
                      <a:cubicBezTo>
                        <a:pt x="27787" y="17199"/>
                        <a:pt x="23427" y="24424"/>
                        <a:pt x="16327" y="26168"/>
                      </a:cubicBezTo>
                      <a:cubicBezTo>
                        <a:pt x="9227" y="27911"/>
                        <a:pt x="2127" y="23552"/>
                        <a:pt x="384" y="16452"/>
                      </a:cubicBezTo>
                      <a:cubicBezTo>
                        <a:pt x="-1360" y="9352"/>
                        <a:pt x="2999" y="2128"/>
                        <a:pt x="10099" y="384"/>
                      </a:cubicBezTo>
                      <a:cubicBezTo>
                        <a:pt x="17199" y="-1360"/>
                        <a:pt x="24299" y="3000"/>
                        <a:pt x="2604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4" name="Graphic 2987">
                <a:extLst>
                  <a:ext uri="{FF2B5EF4-FFF2-40B4-BE49-F238E27FC236}">
                    <a16:creationId xmlns:a16="http://schemas.microsoft.com/office/drawing/2014/main" id="{A1C45FD3-10A2-F52E-D51B-C6AF1DA7CEB8}"/>
                  </a:ext>
                </a:extLst>
              </p:cNvPr>
              <p:cNvGrpSpPr/>
              <p:nvPr/>
            </p:nvGrpSpPr>
            <p:grpSpPr>
              <a:xfrm>
                <a:off x="8504329" y="1582195"/>
                <a:ext cx="54779" cy="145635"/>
                <a:chOff x="8504329" y="1582195"/>
                <a:chExt cx="54779" cy="145635"/>
              </a:xfrm>
              <a:grpFill/>
            </p:grpSpPr>
            <p:sp>
              <p:nvSpPr>
                <p:cNvPr id="6828" name="Freeform 7259">
                  <a:extLst>
                    <a:ext uri="{FF2B5EF4-FFF2-40B4-BE49-F238E27FC236}">
                      <a16:creationId xmlns:a16="http://schemas.microsoft.com/office/drawing/2014/main" id="{BED2F91F-792E-CE34-1743-370B35DDA1DD}"/>
                    </a:ext>
                  </a:extLst>
                </p:cNvPr>
                <p:cNvSpPr/>
                <p:nvPr/>
              </p:nvSpPr>
              <p:spPr>
                <a:xfrm>
                  <a:off x="8536177" y="1655819"/>
                  <a:ext cx="11690" cy="50944"/>
                </a:xfrm>
                <a:custGeom>
                  <a:avLst/>
                  <a:gdLst>
                    <a:gd name="connsiteX0" fmla="*/ 11593 w 11690"/>
                    <a:gd name="connsiteY0" fmla="*/ 50944 h 50944"/>
                    <a:gd name="connsiteX1" fmla="*/ 9226 w 11690"/>
                    <a:gd name="connsiteY1" fmla="*/ 32260 h 50944"/>
                    <a:gd name="connsiteX2" fmla="*/ 1877 w 11690"/>
                    <a:gd name="connsiteY2" fmla="*/ 16442 h 50944"/>
                    <a:gd name="connsiteX3" fmla="*/ 134 w 11690"/>
                    <a:gd name="connsiteY3" fmla="*/ 0 h 50944"/>
                  </a:gdLst>
                  <a:ahLst/>
                  <a:cxnLst>
                    <a:cxn ang="0">
                      <a:pos x="connsiteX0" y="connsiteY0"/>
                    </a:cxn>
                    <a:cxn ang="0">
                      <a:pos x="connsiteX1" y="connsiteY1"/>
                    </a:cxn>
                    <a:cxn ang="0">
                      <a:pos x="connsiteX2" y="connsiteY2"/>
                    </a:cxn>
                    <a:cxn ang="0">
                      <a:pos x="connsiteX3" y="connsiteY3"/>
                    </a:cxn>
                  </a:cxnLst>
                  <a:rect l="l" t="t" r="r" b="b"/>
                  <a:pathLst>
                    <a:path w="11690" h="50944">
                      <a:moveTo>
                        <a:pt x="11593" y="50944"/>
                      </a:moveTo>
                      <a:cubicBezTo>
                        <a:pt x="12091" y="42474"/>
                        <a:pt x="10596" y="36371"/>
                        <a:pt x="9226" y="32260"/>
                      </a:cubicBezTo>
                      <a:cubicBezTo>
                        <a:pt x="6860" y="25659"/>
                        <a:pt x="4120" y="23292"/>
                        <a:pt x="1877" y="16442"/>
                      </a:cubicBezTo>
                      <a:cubicBezTo>
                        <a:pt x="-240" y="9840"/>
                        <a:pt x="-116" y="3986"/>
                        <a:pt x="1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9" name="Freeform 7260">
                  <a:extLst>
                    <a:ext uri="{FF2B5EF4-FFF2-40B4-BE49-F238E27FC236}">
                      <a16:creationId xmlns:a16="http://schemas.microsoft.com/office/drawing/2014/main" id="{4FD3A278-898B-9F5A-B02C-4C002C88C349}"/>
                    </a:ext>
                  </a:extLst>
                </p:cNvPr>
                <p:cNvSpPr/>
                <p:nvPr/>
              </p:nvSpPr>
              <p:spPr>
                <a:xfrm>
                  <a:off x="8529336" y="1662794"/>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1" y="41976"/>
                        <a:pt x="10712"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0" name="Freeform 7261">
                  <a:extLst>
                    <a:ext uri="{FF2B5EF4-FFF2-40B4-BE49-F238E27FC236}">
                      <a16:creationId xmlns:a16="http://schemas.microsoft.com/office/drawing/2014/main" id="{0050757A-DD73-CECD-DC48-7AFAC2C3D768}"/>
                    </a:ext>
                  </a:extLst>
                </p:cNvPr>
                <p:cNvSpPr/>
                <p:nvPr/>
              </p:nvSpPr>
              <p:spPr>
                <a:xfrm>
                  <a:off x="8532446" y="1701272"/>
                  <a:ext cx="26661" cy="26558"/>
                </a:xfrm>
                <a:custGeom>
                  <a:avLst/>
                  <a:gdLst>
                    <a:gd name="connsiteX0" fmla="*/ 377 w 26661"/>
                    <a:gd name="connsiteY0" fmla="*/ 16452 h 26558"/>
                    <a:gd name="connsiteX1" fmla="*/ 10217 w 26661"/>
                    <a:gd name="connsiteY1" fmla="*/ 384 h 26558"/>
                    <a:gd name="connsiteX2" fmla="*/ 26285 w 26661"/>
                    <a:gd name="connsiteY2" fmla="*/ 10100 h 26558"/>
                    <a:gd name="connsiteX3" fmla="*/ 16445 w 26661"/>
                    <a:gd name="connsiteY3" fmla="*/ 26168 h 26558"/>
                    <a:gd name="connsiteX4" fmla="*/ 377 w 26661"/>
                    <a:gd name="connsiteY4" fmla="*/ 16452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8">
                      <a:moveTo>
                        <a:pt x="377" y="16452"/>
                      </a:moveTo>
                      <a:cubicBezTo>
                        <a:pt x="-1367" y="9352"/>
                        <a:pt x="3117" y="2128"/>
                        <a:pt x="10217" y="384"/>
                      </a:cubicBezTo>
                      <a:cubicBezTo>
                        <a:pt x="17316" y="-1360"/>
                        <a:pt x="24541" y="3000"/>
                        <a:pt x="26285" y="10100"/>
                      </a:cubicBezTo>
                      <a:cubicBezTo>
                        <a:pt x="28029" y="17199"/>
                        <a:pt x="23544" y="24424"/>
                        <a:pt x="16445" y="26168"/>
                      </a:cubicBezTo>
                      <a:cubicBezTo>
                        <a:pt x="9345" y="27911"/>
                        <a:pt x="2121" y="23676"/>
                        <a:pt x="37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1" name="Freeform 7262">
                  <a:extLst>
                    <a:ext uri="{FF2B5EF4-FFF2-40B4-BE49-F238E27FC236}">
                      <a16:creationId xmlns:a16="http://schemas.microsoft.com/office/drawing/2014/main" id="{68A687BF-9456-D058-01EA-AA6D4093676E}"/>
                    </a:ext>
                  </a:extLst>
                </p:cNvPr>
                <p:cNvSpPr/>
                <p:nvPr/>
              </p:nvSpPr>
              <p:spPr>
                <a:xfrm>
                  <a:off x="8515536" y="1603256"/>
                  <a:ext cx="11566" cy="50944"/>
                </a:xfrm>
                <a:custGeom>
                  <a:avLst/>
                  <a:gdLst>
                    <a:gd name="connsiteX0" fmla="*/ 98 w 11566"/>
                    <a:gd name="connsiteY0" fmla="*/ 0 h 50944"/>
                    <a:gd name="connsiteX1" fmla="*/ 2465 w 11566"/>
                    <a:gd name="connsiteY1" fmla="*/ 18684 h 50944"/>
                    <a:gd name="connsiteX2" fmla="*/ 9689 w 11566"/>
                    <a:gd name="connsiteY2" fmla="*/ 34502 h 50944"/>
                    <a:gd name="connsiteX3" fmla="*/ 11433 w 1156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66" h="50944">
                      <a:moveTo>
                        <a:pt x="98" y="0"/>
                      </a:moveTo>
                      <a:cubicBezTo>
                        <a:pt x="-400" y="8470"/>
                        <a:pt x="1095" y="14573"/>
                        <a:pt x="2465" y="18684"/>
                      </a:cubicBezTo>
                      <a:cubicBezTo>
                        <a:pt x="4831" y="25285"/>
                        <a:pt x="7572" y="27652"/>
                        <a:pt x="9689" y="34502"/>
                      </a:cubicBezTo>
                      <a:cubicBezTo>
                        <a:pt x="11806" y="41104"/>
                        <a:pt x="11682" y="46958"/>
                        <a:pt x="11433"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2" name="Freeform 7263">
                  <a:extLst>
                    <a:ext uri="{FF2B5EF4-FFF2-40B4-BE49-F238E27FC236}">
                      <a16:creationId xmlns:a16="http://schemas.microsoft.com/office/drawing/2014/main" id="{5671DC6C-45B6-E52B-90CF-E525FA0A0C27}"/>
                    </a:ext>
                  </a:extLst>
                </p:cNvPr>
                <p:cNvSpPr/>
                <p:nvPr/>
              </p:nvSpPr>
              <p:spPr>
                <a:xfrm>
                  <a:off x="8521239" y="1596654"/>
                  <a:ext cx="12705" cy="50570"/>
                </a:xfrm>
                <a:custGeom>
                  <a:avLst/>
                  <a:gdLst>
                    <a:gd name="connsiteX0" fmla="*/ 12705 w 12705"/>
                    <a:gd name="connsiteY0" fmla="*/ 50570 h 50570"/>
                    <a:gd name="connsiteX1" fmla="*/ 6477 w 12705"/>
                    <a:gd name="connsiteY1" fmla="*/ 32883 h 50570"/>
                    <a:gd name="connsiteX2" fmla="*/ 5855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5" y="15445"/>
                      </a:cubicBezTo>
                      <a:cubicBezTo>
                        <a:pt x="4733"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33" name="Freeform 7264">
                  <a:extLst>
                    <a:ext uri="{FF2B5EF4-FFF2-40B4-BE49-F238E27FC236}">
                      <a16:creationId xmlns:a16="http://schemas.microsoft.com/office/drawing/2014/main" id="{B80B3BDE-B12C-4CAB-137B-18F3ABF291E7}"/>
                    </a:ext>
                  </a:extLst>
                </p:cNvPr>
                <p:cNvSpPr/>
                <p:nvPr/>
              </p:nvSpPr>
              <p:spPr>
                <a:xfrm>
                  <a:off x="8504329" y="1582195"/>
                  <a:ext cx="26263" cy="26551"/>
                </a:xfrm>
                <a:custGeom>
                  <a:avLst/>
                  <a:gdLst>
                    <a:gd name="connsiteX0" fmla="*/ 25879 w 26263"/>
                    <a:gd name="connsiteY0" fmla="*/ 10100 h 26551"/>
                    <a:gd name="connsiteX1" fmla="*/ 16163 w 26263"/>
                    <a:gd name="connsiteY1" fmla="*/ 26168 h 26551"/>
                    <a:gd name="connsiteX2" fmla="*/ 344 w 26263"/>
                    <a:gd name="connsiteY2" fmla="*/ 16452 h 26551"/>
                    <a:gd name="connsiteX3" fmla="*/ 10060 w 26263"/>
                    <a:gd name="connsiteY3" fmla="*/ 384 h 26551"/>
                    <a:gd name="connsiteX4" fmla="*/ 25879 w 2626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3" h="26551">
                      <a:moveTo>
                        <a:pt x="25879" y="10100"/>
                      </a:moveTo>
                      <a:cubicBezTo>
                        <a:pt x="27622" y="17199"/>
                        <a:pt x="23263" y="24424"/>
                        <a:pt x="16163" y="26168"/>
                      </a:cubicBezTo>
                      <a:cubicBezTo>
                        <a:pt x="9063" y="27911"/>
                        <a:pt x="1964" y="23552"/>
                        <a:pt x="344" y="16452"/>
                      </a:cubicBezTo>
                      <a:cubicBezTo>
                        <a:pt x="-1275" y="9352"/>
                        <a:pt x="2960" y="2128"/>
                        <a:pt x="10060" y="384"/>
                      </a:cubicBezTo>
                      <a:cubicBezTo>
                        <a:pt x="17160" y="-1360"/>
                        <a:pt x="24260" y="3000"/>
                        <a:pt x="25879"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5" name="Graphic 2987">
                <a:extLst>
                  <a:ext uri="{FF2B5EF4-FFF2-40B4-BE49-F238E27FC236}">
                    <a16:creationId xmlns:a16="http://schemas.microsoft.com/office/drawing/2014/main" id="{6B5913DA-DA94-5C35-8ADC-CAD35D2CC69E}"/>
                  </a:ext>
                </a:extLst>
              </p:cNvPr>
              <p:cNvGrpSpPr/>
              <p:nvPr/>
            </p:nvGrpSpPr>
            <p:grpSpPr>
              <a:xfrm>
                <a:off x="8475812" y="1589295"/>
                <a:ext cx="54398" cy="145753"/>
                <a:chOff x="8475812" y="1589295"/>
                <a:chExt cx="54398" cy="145753"/>
              </a:xfrm>
              <a:grpFill/>
            </p:grpSpPr>
            <p:sp>
              <p:nvSpPr>
                <p:cNvPr id="6822" name="Freeform 7266">
                  <a:extLst>
                    <a:ext uri="{FF2B5EF4-FFF2-40B4-BE49-F238E27FC236}">
                      <a16:creationId xmlns:a16="http://schemas.microsoft.com/office/drawing/2014/main" id="{E75D1F2E-2409-936D-80AE-BC347D26E8C7}"/>
                    </a:ext>
                  </a:extLst>
                </p:cNvPr>
                <p:cNvSpPr/>
                <p:nvPr/>
              </p:nvSpPr>
              <p:spPr>
                <a:xfrm>
                  <a:off x="8507346" y="1663044"/>
                  <a:ext cx="11546" cy="50944"/>
                </a:xfrm>
                <a:custGeom>
                  <a:avLst/>
                  <a:gdLst>
                    <a:gd name="connsiteX0" fmla="*/ 11402 w 11546"/>
                    <a:gd name="connsiteY0" fmla="*/ 50944 h 50944"/>
                    <a:gd name="connsiteX1" fmla="*/ 9035 w 11546"/>
                    <a:gd name="connsiteY1" fmla="*/ 32260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4" y="42474"/>
                        <a:pt x="10530" y="36371"/>
                        <a:pt x="9035" y="32260"/>
                      </a:cubicBezTo>
                      <a:cubicBezTo>
                        <a:pt x="6668" y="25659"/>
                        <a:pt x="3929"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3" name="Freeform 7267">
                  <a:extLst>
                    <a:ext uri="{FF2B5EF4-FFF2-40B4-BE49-F238E27FC236}">
                      <a16:creationId xmlns:a16="http://schemas.microsoft.com/office/drawing/2014/main" id="{793DA169-DE90-CD9D-F796-0BEB8910E1B0}"/>
                    </a:ext>
                  </a:extLst>
                </p:cNvPr>
                <p:cNvSpPr/>
                <p:nvPr/>
              </p:nvSpPr>
              <p:spPr>
                <a:xfrm>
                  <a:off x="8500438" y="1670019"/>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4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29" y="13452"/>
                        <a:pt x="6228" y="17687"/>
                      </a:cubicBezTo>
                      <a:cubicBezTo>
                        <a:pt x="7100" y="24662"/>
                        <a:pt x="5729" y="28150"/>
                        <a:pt x="6851" y="35125"/>
                      </a:cubicBezTo>
                      <a:cubicBezTo>
                        <a:pt x="7972" y="41976"/>
                        <a:pt x="10587" y="47207"/>
                        <a:pt x="1270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4" name="Freeform 7268">
                  <a:extLst>
                    <a:ext uri="{FF2B5EF4-FFF2-40B4-BE49-F238E27FC236}">
                      <a16:creationId xmlns:a16="http://schemas.microsoft.com/office/drawing/2014/main" id="{6EBF5E88-5C71-18A7-8C86-842815537CFE}"/>
                    </a:ext>
                  </a:extLst>
                </p:cNvPr>
                <p:cNvSpPr/>
                <p:nvPr/>
              </p:nvSpPr>
              <p:spPr>
                <a:xfrm>
                  <a:off x="8503588" y="1708497"/>
                  <a:ext cx="26621" cy="26551"/>
                </a:xfrm>
                <a:custGeom>
                  <a:avLst/>
                  <a:gdLst>
                    <a:gd name="connsiteX0" fmla="*/ 337 w 26621"/>
                    <a:gd name="connsiteY0" fmla="*/ 16452 h 26551"/>
                    <a:gd name="connsiteX1" fmla="*/ 10302 w 26621"/>
                    <a:gd name="connsiteY1" fmla="*/ 384 h 26551"/>
                    <a:gd name="connsiteX2" fmla="*/ 26245 w 26621"/>
                    <a:gd name="connsiteY2" fmla="*/ 10100 h 26551"/>
                    <a:gd name="connsiteX3" fmla="*/ 16281 w 26621"/>
                    <a:gd name="connsiteY3" fmla="*/ 26168 h 26551"/>
                    <a:gd name="connsiteX4" fmla="*/ 337 w 26621"/>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1" h="26551">
                      <a:moveTo>
                        <a:pt x="337" y="16452"/>
                      </a:moveTo>
                      <a:cubicBezTo>
                        <a:pt x="-1282" y="9352"/>
                        <a:pt x="3078" y="2128"/>
                        <a:pt x="10302" y="384"/>
                      </a:cubicBezTo>
                      <a:cubicBezTo>
                        <a:pt x="17401" y="-1360"/>
                        <a:pt x="24626" y="3000"/>
                        <a:pt x="26245" y="10100"/>
                      </a:cubicBezTo>
                      <a:cubicBezTo>
                        <a:pt x="27989" y="17199"/>
                        <a:pt x="23505" y="24424"/>
                        <a:pt x="16281" y="26168"/>
                      </a:cubicBezTo>
                      <a:cubicBezTo>
                        <a:pt x="9056" y="27911"/>
                        <a:pt x="1956" y="23552"/>
                        <a:pt x="337"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5" name="Freeform 7269">
                  <a:extLst>
                    <a:ext uri="{FF2B5EF4-FFF2-40B4-BE49-F238E27FC236}">
                      <a16:creationId xmlns:a16="http://schemas.microsoft.com/office/drawing/2014/main" id="{7720E351-0AEA-8A6B-C4AC-30CEFE5331D4}"/>
                    </a:ext>
                  </a:extLst>
                </p:cNvPr>
                <p:cNvSpPr/>
                <p:nvPr/>
              </p:nvSpPr>
              <p:spPr>
                <a:xfrm>
                  <a:off x="8486882" y="1610356"/>
                  <a:ext cx="11506" cy="50944"/>
                </a:xfrm>
                <a:custGeom>
                  <a:avLst/>
                  <a:gdLst>
                    <a:gd name="connsiteX0" fmla="*/ 104 w 11506"/>
                    <a:gd name="connsiteY0" fmla="*/ 0 h 50944"/>
                    <a:gd name="connsiteX1" fmla="*/ 2471 w 11506"/>
                    <a:gd name="connsiteY1" fmla="*/ 18684 h 50944"/>
                    <a:gd name="connsiteX2" fmla="*/ 9695 w 11506"/>
                    <a:gd name="connsiteY2" fmla="*/ 34502 h 50944"/>
                    <a:gd name="connsiteX3" fmla="*/ 11315 w 1150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06" h="50944">
                      <a:moveTo>
                        <a:pt x="104" y="0"/>
                      </a:moveTo>
                      <a:cubicBezTo>
                        <a:pt x="-394" y="8470"/>
                        <a:pt x="976" y="14573"/>
                        <a:pt x="2471" y="18684"/>
                      </a:cubicBezTo>
                      <a:cubicBezTo>
                        <a:pt x="4837" y="25285"/>
                        <a:pt x="7577" y="27776"/>
                        <a:pt x="9695" y="34502"/>
                      </a:cubicBezTo>
                      <a:cubicBezTo>
                        <a:pt x="11688" y="41104"/>
                        <a:pt x="11688" y="46958"/>
                        <a:pt x="1131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6" name="Freeform 7270">
                  <a:extLst>
                    <a:ext uri="{FF2B5EF4-FFF2-40B4-BE49-F238E27FC236}">
                      <a16:creationId xmlns:a16="http://schemas.microsoft.com/office/drawing/2014/main" id="{F4CD5D3F-C7DC-F767-BBCA-C54DF59E3FE2}"/>
                    </a:ext>
                  </a:extLst>
                </p:cNvPr>
                <p:cNvSpPr/>
                <p:nvPr/>
              </p:nvSpPr>
              <p:spPr>
                <a:xfrm>
                  <a:off x="8492591" y="1603754"/>
                  <a:ext cx="12705" cy="50570"/>
                </a:xfrm>
                <a:custGeom>
                  <a:avLst/>
                  <a:gdLst>
                    <a:gd name="connsiteX0" fmla="*/ 12705 w 12705"/>
                    <a:gd name="connsiteY0" fmla="*/ 50570 h 50570"/>
                    <a:gd name="connsiteX1" fmla="*/ 6477 w 12705"/>
                    <a:gd name="connsiteY1" fmla="*/ 32883 h 50570"/>
                    <a:gd name="connsiteX2" fmla="*/ 5854 w 12705"/>
                    <a:gd name="connsiteY2" fmla="*/ 15445 h 50570"/>
                    <a:gd name="connsiteX3" fmla="*/ 0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12705" y="50570"/>
                      </a:moveTo>
                      <a:cubicBezTo>
                        <a:pt x="8470" y="43346"/>
                        <a:pt x="6975" y="37118"/>
                        <a:pt x="6477" y="32883"/>
                      </a:cubicBezTo>
                      <a:cubicBezTo>
                        <a:pt x="5605" y="25908"/>
                        <a:pt x="6975" y="22420"/>
                        <a:pt x="5854" y="15445"/>
                      </a:cubicBezTo>
                      <a:cubicBezTo>
                        <a:pt x="4733" y="8594"/>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7" name="Freeform 7271">
                  <a:extLst>
                    <a:ext uri="{FF2B5EF4-FFF2-40B4-BE49-F238E27FC236}">
                      <a16:creationId xmlns:a16="http://schemas.microsoft.com/office/drawing/2014/main" id="{C76A44B1-8A17-C5C1-DFEB-86279E27BD45}"/>
                    </a:ext>
                  </a:extLst>
                </p:cNvPr>
                <p:cNvSpPr/>
                <p:nvPr/>
              </p:nvSpPr>
              <p:spPr>
                <a:xfrm>
                  <a:off x="8475812" y="1589295"/>
                  <a:ext cx="26249" cy="26551"/>
                </a:xfrm>
                <a:custGeom>
                  <a:avLst/>
                  <a:gdLst>
                    <a:gd name="connsiteX0" fmla="*/ 25872 w 26249"/>
                    <a:gd name="connsiteY0" fmla="*/ 10100 h 26551"/>
                    <a:gd name="connsiteX1" fmla="*/ 16157 w 26249"/>
                    <a:gd name="connsiteY1" fmla="*/ 26168 h 26551"/>
                    <a:gd name="connsiteX2" fmla="*/ 338 w 26249"/>
                    <a:gd name="connsiteY2" fmla="*/ 16452 h 26551"/>
                    <a:gd name="connsiteX3" fmla="*/ 10054 w 26249"/>
                    <a:gd name="connsiteY3" fmla="*/ 384 h 26551"/>
                    <a:gd name="connsiteX4" fmla="*/ 25872 w 262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51">
                      <a:moveTo>
                        <a:pt x="25872" y="10100"/>
                      </a:moveTo>
                      <a:cubicBezTo>
                        <a:pt x="27616" y="17199"/>
                        <a:pt x="23132" y="24424"/>
                        <a:pt x="16157" y="26168"/>
                      </a:cubicBezTo>
                      <a:cubicBezTo>
                        <a:pt x="9057" y="27911"/>
                        <a:pt x="1957" y="23552"/>
                        <a:pt x="338" y="16452"/>
                      </a:cubicBezTo>
                      <a:cubicBezTo>
                        <a:pt x="-1281" y="9352"/>
                        <a:pt x="3078" y="2128"/>
                        <a:pt x="10054" y="384"/>
                      </a:cubicBezTo>
                      <a:cubicBezTo>
                        <a:pt x="17029" y="-1360"/>
                        <a:pt x="24128" y="3000"/>
                        <a:pt x="2587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6" name="Graphic 2987">
                <a:extLst>
                  <a:ext uri="{FF2B5EF4-FFF2-40B4-BE49-F238E27FC236}">
                    <a16:creationId xmlns:a16="http://schemas.microsoft.com/office/drawing/2014/main" id="{3DE01C49-96E1-E046-4CBF-F9BB8F335EA4}"/>
                  </a:ext>
                </a:extLst>
              </p:cNvPr>
              <p:cNvGrpSpPr/>
              <p:nvPr/>
            </p:nvGrpSpPr>
            <p:grpSpPr>
              <a:xfrm>
                <a:off x="8447039" y="1596118"/>
                <a:ext cx="54102" cy="145684"/>
                <a:chOff x="8447039" y="1596118"/>
                <a:chExt cx="54102" cy="145684"/>
              </a:xfrm>
              <a:grpFill/>
            </p:grpSpPr>
            <p:sp>
              <p:nvSpPr>
                <p:cNvPr id="6816" name="Freeform 7273">
                  <a:extLst>
                    <a:ext uri="{FF2B5EF4-FFF2-40B4-BE49-F238E27FC236}">
                      <a16:creationId xmlns:a16="http://schemas.microsoft.com/office/drawing/2014/main" id="{C4DBB853-F3C1-4941-07CD-D8B96567A965}"/>
                    </a:ext>
                  </a:extLst>
                </p:cNvPr>
                <p:cNvSpPr/>
                <p:nvPr/>
              </p:nvSpPr>
              <p:spPr>
                <a:xfrm>
                  <a:off x="8478449" y="1669770"/>
                  <a:ext cx="11423" cy="51068"/>
                </a:xfrm>
                <a:custGeom>
                  <a:avLst/>
                  <a:gdLst>
                    <a:gd name="connsiteX0" fmla="*/ 11278 w 11423"/>
                    <a:gd name="connsiteY0" fmla="*/ 51069 h 51068"/>
                    <a:gd name="connsiteX1" fmla="*/ 9035 w 11423"/>
                    <a:gd name="connsiteY1" fmla="*/ 32385 h 51068"/>
                    <a:gd name="connsiteX2" fmla="*/ 1811 w 11423"/>
                    <a:gd name="connsiteY2" fmla="*/ 16442 h 51068"/>
                    <a:gd name="connsiteX3" fmla="*/ 192 w 11423"/>
                    <a:gd name="connsiteY3" fmla="*/ 0 h 51068"/>
                  </a:gdLst>
                  <a:ahLst/>
                  <a:cxnLst>
                    <a:cxn ang="0">
                      <a:pos x="connsiteX0" y="connsiteY0"/>
                    </a:cxn>
                    <a:cxn ang="0">
                      <a:pos x="connsiteX1" y="connsiteY1"/>
                    </a:cxn>
                    <a:cxn ang="0">
                      <a:pos x="connsiteX2" y="connsiteY2"/>
                    </a:cxn>
                    <a:cxn ang="0">
                      <a:pos x="connsiteX3" y="connsiteY3"/>
                    </a:cxn>
                  </a:cxnLst>
                  <a:rect l="l" t="t" r="r" b="b"/>
                  <a:pathLst>
                    <a:path w="11423" h="51068">
                      <a:moveTo>
                        <a:pt x="11278" y="51069"/>
                      </a:moveTo>
                      <a:cubicBezTo>
                        <a:pt x="11900" y="42723"/>
                        <a:pt x="10406" y="36495"/>
                        <a:pt x="9035" y="32385"/>
                      </a:cubicBezTo>
                      <a:cubicBezTo>
                        <a:pt x="6668" y="25783"/>
                        <a:pt x="3929" y="23292"/>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7" name="Freeform 7274">
                  <a:extLst>
                    <a:ext uri="{FF2B5EF4-FFF2-40B4-BE49-F238E27FC236}">
                      <a16:creationId xmlns:a16="http://schemas.microsoft.com/office/drawing/2014/main" id="{6B98F896-2F55-4F14-A5C4-4FDC3D5C87DD}"/>
                    </a:ext>
                  </a:extLst>
                </p:cNvPr>
                <p:cNvSpPr/>
                <p:nvPr/>
              </p:nvSpPr>
              <p:spPr>
                <a:xfrm>
                  <a:off x="8471541" y="1676620"/>
                  <a:ext cx="12455" cy="50570"/>
                </a:xfrm>
                <a:custGeom>
                  <a:avLst/>
                  <a:gdLst>
                    <a:gd name="connsiteX0" fmla="*/ 0 w 12455"/>
                    <a:gd name="connsiteY0" fmla="*/ 0 h 50570"/>
                    <a:gd name="connsiteX1" fmla="*/ 6103 w 12455"/>
                    <a:gd name="connsiteY1" fmla="*/ 17812 h 50570"/>
                    <a:gd name="connsiteX2" fmla="*/ 6601 w 12455"/>
                    <a:gd name="connsiteY2" fmla="*/ 35125 h 50570"/>
                    <a:gd name="connsiteX3" fmla="*/ 12456 w 12455"/>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55" h="50570">
                      <a:moveTo>
                        <a:pt x="0" y="0"/>
                      </a:moveTo>
                      <a:cubicBezTo>
                        <a:pt x="4235" y="7349"/>
                        <a:pt x="5605" y="13452"/>
                        <a:pt x="6103" y="17812"/>
                      </a:cubicBezTo>
                      <a:cubicBezTo>
                        <a:pt x="6851" y="24787"/>
                        <a:pt x="5481" y="28150"/>
                        <a:pt x="6601" y="35125"/>
                      </a:cubicBezTo>
                      <a:cubicBezTo>
                        <a:pt x="7723" y="41976"/>
                        <a:pt x="10339" y="47207"/>
                        <a:pt x="12456"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8" name="Freeform 7275">
                  <a:extLst>
                    <a:ext uri="{FF2B5EF4-FFF2-40B4-BE49-F238E27FC236}">
                      <a16:creationId xmlns:a16="http://schemas.microsoft.com/office/drawing/2014/main" id="{E9536519-C935-3FBC-5742-2F8497F1EEEB}"/>
                    </a:ext>
                  </a:extLst>
                </p:cNvPr>
                <p:cNvSpPr/>
                <p:nvPr/>
              </p:nvSpPr>
              <p:spPr>
                <a:xfrm>
                  <a:off x="8474324" y="1715282"/>
                  <a:ext cx="26817" cy="26519"/>
                </a:xfrm>
                <a:custGeom>
                  <a:avLst/>
                  <a:gdLst>
                    <a:gd name="connsiteX0" fmla="*/ 331 w 26817"/>
                    <a:gd name="connsiteY0" fmla="*/ 16143 h 26519"/>
                    <a:gd name="connsiteX1" fmla="*/ 10420 w 26817"/>
                    <a:gd name="connsiteY1" fmla="*/ 324 h 26519"/>
                    <a:gd name="connsiteX2" fmla="*/ 26487 w 26817"/>
                    <a:gd name="connsiteY2" fmla="*/ 10414 h 26519"/>
                    <a:gd name="connsiteX3" fmla="*/ 16398 w 26817"/>
                    <a:gd name="connsiteY3" fmla="*/ 26232 h 26519"/>
                    <a:gd name="connsiteX4" fmla="*/ 331 w 2681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7" h="26519">
                      <a:moveTo>
                        <a:pt x="331" y="16143"/>
                      </a:moveTo>
                      <a:cubicBezTo>
                        <a:pt x="-1289" y="9044"/>
                        <a:pt x="3195" y="1944"/>
                        <a:pt x="10420" y="324"/>
                      </a:cubicBezTo>
                      <a:cubicBezTo>
                        <a:pt x="17644" y="-1295"/>
                        <a:pt x="24744" y="3314"/>
                        <a:pt x="26487" y="10414"/>
                      </a:cubicBezTo>
                      <a:cubicBezTo>
                        <a:pt x="28107" y="17513"/>
                        <a:pt x="23623" y="24613"/>
                        <a:pt x="16398" y="26232"/>
                      </a:cubicBezTo>
                      <a:cubicBezTo>
                        <a:pt x="9174" y="27727"/>
                        <a:pt x="2075"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9" name="Freeform 7276">
                  <a:extLst>
                    <a:ext uri="{FF2B5EF4-FFF2-40B4-BE49-F238E27FC236}">
                      <a16:creationId xmlns:a16="http://schemas.microsoft.com/office/drawing/2014/main" id="{15B8514C-D7C4-D648-94AE-8E64C352A619}"/>
                    </a:ext>
                  </a:extLst>
                </p:cNvPr>
                <p:cNvSpPr/>
                <p:nvPr/>
              </p:nvSpPr>
              <p:spPr>
                <a:xfrm>
                  <a:off x="8458192" y="1616957"/>
                  <a:ext cx="11422" cy="51068"/>
                </a:xfrm>
                <a:custGeom>
                  <a:avLst/>
                  <a:gdLst>
                    <a:gd name="connsiteX0" fmla="*/ 145 w 11422"/>
                    <a:gd name="connsiteY0" fmla="*/ 0 h 51068"/>
                    <a:gd name="connsiteX1" fmla="*/ 2387 w 11422"/>
                    <a:gd name="connsiteY1" fmla="*/ 18684 h 51068"/>
                    <a:gd name="connsiteX2" fmla="*/ 9612 w 11422"/>
                    <a:gd name="connsiteY2" fmla="*/ 34627 h 51068"/>
                    <a:gd name="connsiteX3" fmla="*/ 11231 w 1142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422" h="51068">
                      <a:moveTo>
                        <a:pt x="145" y="0"/>
                      </a:moveTo>
                      <a:cubicBezTo>
                        <a:pt x="-477" y="8345"/>
                        <a:pt x="1017" y="14573"/>
                        <a:pt x="2387" y="18684"/>
                      </a:cubicBezTo>
                      <a:cubicBezTo>
                        <a:pt x="4754" y="25285"/>
                        <a:pt x="7494" y="27776"/>
                        <a:pt x="9612" y="34627"/>
                      </a:cubicBezTo>
                      <a:cubicBezTo>
                        <a:pt x="11605" y="41229"/>
                        <a:pt x="11605" y="47083"/>
                        <a:pt x="1123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0" name="Freeform 7277">
                  <a:extLst>
                    <a:ext uri="{FF2B5EF4-FFF2-40B4-BE49-F238E27FC236}">
                      <a16:creationId xmlns:a16="http://schemas.microsoft.com/office/drawing/2014/main" id="{0C2D7DD2-2943-7C72-22A6-44BBF820BCB2}"/>
                    </a:ext>
                  </a:extLst>
                </p:cNvPr>
                <p:cNvSpPr/>
                <p:nvPr/>
              </p:nvSpPr>
              <p:spPr>
                <a:xfrm>
                  <a:off x="8464068" y="1610605"/>
                  <a:ext cx="12331" cy="50570"/>
                </a:xfrm>
                <a:custGeom>
                  <a:avLst/>
                  <a:gdLst>
                    <a:gd name="connsiteX0" fmla="*/ 12331 w 12331"/>
                    <a:gd name="connsiteY0" fmla="*/ 50570 h 50570"/>
                    <a:gd name="connsiteX1" fmla="*/ 6228 w 12331"/>
                    <a:gd name="connsiteY1" fmla="*/ 32759 h 50570"/>
                    <a:gd name="connsiteX2" fmla="*/ 5729 w 12331"/>
                    <a:gd name="connsiteY2" fmla="*/ 15445 h 50570"/>
                    <a:gd name="connsiteX3" fmla="*/ 0 w 12331"/>
                    <a:gd name="connsiteY3" fmla="*/ 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50570"/>
                      </a:moveTo>
                      <a:cubicBezTo>
                        <a:pt x="8096" y="43222"/>
                        <a:pt x="6726" y="37118"/>
                        <a:pt x="6228" y="32759"/>
                      </a:cubicBezTo>
                      <a:cubicBezTo>
                        <a:pt x="5480" y="25783"/>
                        <a:pt x="6851" y="22420"/>
                        <a:pt x="5729" y="15445"/>
                      </a:cubicBezTo>
                      <a:cubicBezTo>
                        <a:pt x="4609" y="8594"/>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21" name="Freeform 7278">
                  <a:extLst>
                    <a:ext uri="{FF2B5EF4-FFF2-40B4-BE49-F238E27FC236}">
                      <a16:creationId xmlns:a16="http://schemas.microsoft.com/office/drawing/2014/main" id="{0EB2AA98-EE65-BC52-83A2-59B0E9159060}"/>
                    </a:ext>
                  </a:extLst>
                </p:cNvPr>
                <p:cNvSpPr/>
                <p:nvPr/>
              </p:nvSpPr>
              <p:spPr>
                <a:xfrm>
                  <a:off x="8447039" y="1596118"/>
                  <a:ext cx="26333" cy="26357"/>
                </a:xfrm>
                <a:custGeom>
                  <a:avLst/>
                  <a:gdLst>
                    <a:gd name="connsiteX0" fmla="*/ 25996 w 26333"/>
                    <a:gd name="connsiteY0" fmla="*/ 10376 h 26357"/>
                    <a:gd name="connsiteX1" fmla="*/ 16157 w 26333"/>
                    <a:gd name="connsiteY1" fmla="*/ 26071 h 26357"/>
                    <a:gd name="connsiteX2" fmla="*/ 337 w 26333"/>
                    <a:gd name="connsiteY2" fmla="*/ 15981 h 26357"/>
                    <a:gd name="connsiteX3" fmla="*/ 10177 w 26333"/>
                    <a:gd name="connsiteY3" fmla="*/ 287 h 26357"/>
                    <a:gd name="connsiteX4" fmla="*/ 25996 w 26333"/>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356">
                      <a:moveTo>
                        <a:pt x="25996" y="10376"/>
                      </a:moveTo>
                      <a:cubicBezTo>
                        <a:pt x="27616" y="17476"/>
                        <a:pt x="23256" y="24576"/>
                        <a:pt x="16157" y="26071"/>
                      </a:cubicBezTo>
                      <a:cubicBezTo>
                        <a:pt x="9057" y="27565"/>
                        <a:pt x="1957" y="23081"/>
                        <a:pt x="337" y="15981"/>
                      </a:cubicBezTo>
                      <a:cubicBezTo>
                        <a:pt x="-1282" y="8882"/>
                        <a:pt x="3077" y="1782"/>
                        <a:pt x="10177" y="287"/>
                      </a:cubicBezTo>
                      <a:cubicBezTo>
                        <a:pt x="17277" y="-1207"/>
                        <a:pt x="24377" y="3277"/>
                        <a:pt x="25996"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7" name="Graphic 2987">
                <a:extLst>
                  <a:ext uri="{FF2B5EF4-FFF2-40B4-BE49-F238E27FC236}">
                    <a16:creationId xmlns:a16="http://schemas.microsoft.com/office/drawing/2014/main" id="{035C64E7-3B97-5AE1-8733-9E62273BBBDD}"/>
                  </a:ext>
                </a:extLst>
              </p:cNvPr>
              <p:cNvGrpSpPr/>
              <p:nvPr/>
            </p:nvGrpSpPr>
            <p:grpSpPr>
              <a:xfrm>
                <a:off x="8418148" y="1602346"/>
                <a:ext cx="53723" cy="145845"/>
                <a:chOff x="8418148" y="1602346"/>
                <a:chExt cx="53723" cy="145845"/>
              </a:xfrm>
              <a:grpFill/>
            </p:grpSpPr>
            <p:sp>
              <p:nvSpPr>
                <p:cNvPr id="6810" name="Freeform 7280">
                  <a:extLst>
                    <a:ext uri="{FF2B5EF4-FFF2-40B4-BE49-F238E27FC236}">
                      <a16:creationId xmlns:a16="http://schemas.microsoft.com/office/drawing/2014/main" id="{541807EE-9094-7AF4-4002-88A7FACD2D4E}"/>
                    </a:ext>
                  </a:extLst>
                </p:cNvPr>
                <p:cNvSpPr/>
                <p:nvPr/>
              </p:nvSpPr>
              <p:spPr>
                <a:xfrm>
                  <a:off x="8449522" y="1676122"/>
                  <a:ext cx="11211" cy="51068"/>
                </a:xfrm>
                <a:custGeom>
                  <a:avLst/>
                  <a:gdLst>
                    <a:gd name="connsiteX0" fmla="*/ 11058 w 11211"/>
                    <a:gd name="connsiteY0" fmla="*/ 51069 h 51068"/>
                    <a:gd name="connsiteX1" fmla="*/ 8816 w 11211"/>
                    <a:gd name="connsiteY1" fmla="*/ 32385 h 51068"/>
                    <a:gd name="connsiteX2" fmla="*/ 1716 w 11211"/>
                    <a:gd name="connsiteY2" fmla="*/ 16442 h 51068"/>
                    <a:gd name="connsiteX3" fmla="*/ 222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9"/>
                      </a:moveTo>
                      <a:cubicBezTo>
                        <a:pt x="11681" y="42723"/>
                        <a:pt x="10311" y="36495"/>
                        <a:pt x="8816" y="32385"/>
                      </a:cubicBezTo>
                      <a:cubicBezTo>
                        <a:pt x="6449" y="25783"/>
                        <a:pt x="3709" y="23292"/>
                        <a:pt x="1716" y="16442"/>
                      </a:cubicBezTo>
                      <a:cubicBezTo>
                        <a:pt x="-276" y="9840"/>
                        <a:pt x="-152" y="3986"/>
                        <a:pt x="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1" name="Freeform 7281">
                  <a:extLst>
                    <a:ext uri="{FF2B5EF4-FFF2-40B4-BE49-F238E27FC236}">
                      <a16:creationId xmlns:a16="http://schemas.microsoft.com/office/drawing/2014/main" id="{3B3482B1-18F5-D169-B749-2996A3473008}"/>
                    </a:ext>
                  </a:extLst>
                </p:cNvPr>
                <p:cNvSpPr/>
                <p:nvPr/>
              </p:nvSpPr>
              <p:spPr>
                <a:xfrm>
                  <a:off x="8442519" y="1682973"/>
                  <a:ext cx="12207" cy="50694"/>
                </a:xfrm>
                <a:custGeom>
                  <a:avLst/>
                  <a:gdLst>
                    <a:gd name="connsiteX0" fmla="*/ 0 w 12207"/>
                    <a:gd name="connsiteY0" fmla="*/ 0 h 50694"/>
                    <a:gd name="connsiteX1" fmla="*/ 6103 w 12207"/>
                    <a:gd name="connsiteY1" fmla="*/ 17812 h 50694"/>
                    <a:gd name="connsiteX2" fmla="*/ 6477 w 12207"/>
                    <a:gd name="connsiteY2" fmla="*/ 35250 h 50694"/>
                    <a:gd name="connsiteX3" fmla="*/ 12207 w 1220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7" h="50694">
                      <a:moveTo>
                        <a:pt x="0" y="0"/>
                      </a:moveTo>
                      <a:cubicBezTo>
                        <a:pt x="4235" y="7349"/>
                        <a:pt x="5605" y="13452"/>
                        <a:pt x="6103" y="17812"/>
                      </a:cubicBezTo>
                      <a:cubicBezTo>
                        <a:pt x="6851" y="24787"/>
                        <a:pt x="5481" y="28150"/>
                        <a:pt x="6477" y="35250"/>
                      </a:cubicBezTo>
                      <a:cubicBezTo>
                        <a:pt x="7474" y="42101"/>
                        <a:pt x="10214" y="47332"/>
                        <a:pt x="1220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2" name="Freeform 7282">
                  <a:extLst>
                    <a:ext uri="{FF2B5EF4-FFF2-40B4-BE49-F238E27FC236}">
                      <a16:creationId xmlns:a16="http://schemas.microsoft.com/office/drawing/2014/main" id="{13F1D33A-77F3-FB42-A5EC-A9A850750446}"/>
                    </a:ext>
                  </a:extLst>
                </p:cNvPr>
                <p:cNvSpPr/>
                <p:nvPr/>
              </p:nvSpPr>
              <p:spPr>
                <a:xfrm>
                  <a:off x="8445177" y="1721635"/>
                  <a:ext cx="26693" cy="26556"/>
                </a:xfrm>
                <a:custGeom>
                  <a:avLst/>
                  <a:gdLst>
                    <a:gd name="connsiteX0" fmla="*/ 331 w 26693"/>
                    <a:gd name="connsiteY0" fmla="*/ 16143 h 26556"/>
                    <a:gd name="connsiteX1" fmla="*/ 10420 w 26693"/>
                    <a:gd name="connsiteY1" fmla="*/ 324 h 26556"/>
                    <a:gd name="connsiteX2" fmla="*/ 26363 w 26693"/>
                    <a:gd name="connsiteY2" fmla="*/ 10414 h 26556"/>
                    <a:gd name="connsiteX3" fmla="*/ 16274 w 26693"/>
                    <a:gd name="connsiteY3" fmla="*/ 26232 h 26556"/>
                    <a:gd name="connsiteX4" fmla="*/ 331 w 26693"/>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56">
                      <a:moveTo>
                        <a:pt x="331" y="16143"/>
                      </a:moveTo>
                      <a:cubicBezTo>
                        <a:pt x="-1289" y="9044"/>
                        <a:pt x="3196" y="1944"/>
                        <a:pt x="10420" y="324"/>
                      </a:cubicBezTo>
                      <a:cubicBezTo>
                        <a:pt x="17644" y="-1295"/>
                        <a:pt x="24744" y="3314"/>
                        <a:pt x="26363" y="10414"/>
                      </a:cubicBezTo>
                      <a:cubicBezTo>
                        <a:pt x="27983" y="17513"/>
                        <a:pt x="23499" y="24613"/>
                        <a:pt x="16274"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3" name="Freeform 7283">
                  <a:extLst>
                    <a:ext uri="{FF2B5EF4-FFF2-40B4-BE49-F238E27FC236}">
                      <a16:creationId xmlns:a16="http://schemas.microsoft.com/office/drawing/2014/main" id="{95C15FDD-2814-83D1-0399-767F51F34F01}"/>
                    </a:ext>
                  </a:extLst>
                </p:cNvPr>
                <p:cNvSpPr/>
                <p:nvPr/>
              </p:nvSpPr>
              <p:spPr>
                <a:xfrm>
                  <a:off x="8429286" y="1623185"/>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5"/>
                        <a:pt x="901" y="14573"/>
                        <a:pt x="2396" y="18684"/>
                      </a:cubicBezTo>
                      <a:cubicBezTo>
                        <a:pt x="4638" y="25285"/>
                        <a:pt x="7503" y="27776"/>
                        <a:pt x="9496" y="34627"/>
                      </a:cubicBezTo>
                      <a:cubicBezTo>
                        <a:pt x="11488"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4" name="Freeform 7284">
                  <a:extLst>
                    <a:ext uri="{FF2B5EF4-FFF2-40B4-BE49-F238E27FC236}">
                      <a16:creationId xmlns:a16="http://schemas.microsoft.com/office/drawing/2014/main" id="{5A3A4324-6D9B-DCA5-59CA-B7CF1E6357DB}"/>
                    </a:ext>
                  </a:extLst>
                </p:cNvPr>
                <p:cNvSpPr/>
                <p:nvPr/>
              </p:nvSpPr>
              <p:spPr>
                <a:xfrm>
                  <a:off x="8435170" y="1616833"/>
                  <a:ext cx="12331" cy="50694"/>
                </a:xfrm>
                <a:custGeom>
                  <a:avLst/>
                  <a:gdLst>
                    <a:gd name="connsiteX0" fmla="*/ 12331 w 12331"/>
                    <a:gd name="connsiteY0" fmla="*/ 50695 h 50694"/>
                    <a:gd name="connsiteX1" fmla="*/ 6228 w 12331"/>
                    <a:gd name="connsiteY1" fmla="*/ 32883 h 50694"/>
                    <a:gd name="connsiteX2" fmla="*/ 5729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1" y="25908"/>
                        <a:pt x="6851" y="22545"/>
                        <a:pt x="5729"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15" name="Freeform 7285">
                  <a:extLst>
                    <a:ext uri="{FF2B5EF4-FFF2-40B4-BE49-F238E27FC236}">
                      <a16:creationId xmlns:a16="http://schemas.microsoft.com/office/drawing/2014/main" id="{38A180BA-2E78-B556-2CC9-983EB940EE93}"/>
                    </a:ext>
                  </a:extLst>
                </p:cNvPr>
                <p:cNvSpPr/>
                <p:nvPr/>
              </p:nvSpPr>
              <p:spPr>
                <a:xfrm>
                  <a:off x="8418148" y="1602346"/>
                  <a:ext cx="26445" cy="26357"/>
                </a:xfrm>
                <a:custGeom>
                  <a:avLst/>
                  <a:gdLst>
                    <a:gd name="connsiteX0" fmla="*/ 26114 w 26445"/>
                    <a:gd name="connsiteY0" fmla="*/ 10376 h 26357"/>
                    <a:gd name="connsiteX1" fmla="*/ 16150 w 26445"/>
                    <a:gd name="connsiteY1" fmla="*/ 26071 h 26357"/>
                    <a:gd name="connsiteX2" fmla="*/ 331 w 26445"/>
                    <a:gd name="connsiteY2" fmla="*/ 15981 h 26357"/>
                    <a:gd name="connsiteX3" fmla="*/ 10295 w 26445"/>
                    <a:gd name="connsiteY3" fmla="*/ 287 h 26357"/>
                    <a:gd name="connsiteX4" fmla="*/ 26114 w 26445"/>
                    <a:gd name="connsiteY4" fmla="*/ 10376 h 2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356">
                      <a:moveTo>
                        <a:pt x="26114" y="10376"/>
                      </a:moveTo>
                      <a:cubicBezTo>
                        <a:pt x="27734" y="17476"/>
                        <a:pt x="23250" y="24576"/>
                        <a:pt x="16150" y="26071"/>
                      </a:cubicBezTo>
                      <a:cubicBezTo>
                        <a:pt x="9050" y="27565"/>
                        <a:pt x="1950" y="23081"/>
                        <a:pt x="331" y="15981"/>
                      </a:cubicBezTo>
                      <a:cubicBezTo>
                        <a:pt x="-1288" y="8882"/>
                        <a:pt x="3195" y="1782"/>
                        <a:pt x="10295" y="287"/>
                      </a:cubicBezTo>
                      <a:cubicBezTo>
                        <a:pt x="17395" y="-1207"/>
                        <a:pt x="24495" y="3277"/>
                        <a:pt x="26114" y="103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8" name="Graphic 2987">
                <a:extLst>
                  <a:ext uri="{FF2B5EF4-FFF2-40B4-BE49-F238E27FC236}">
                    <a16:creationId xmlns:a16="http://schemas.microsoft.com/office/drawing/2014/main" id="{C60E112F-2486-5F74-5A2E-C24A359AEF83}"/>
                  </a:ext>
                </a:extLst>
              </p:cNvPr>
              <p:cNvGrpSpPr/>
              <p:nvPr/>
            </p:nvGrpSpPr>
            <p:grpSpPr>
              <a:xfrm>
                <a:off x="8389375" y="1608655"/>
                <a:ext cx="53467" cy="145889"/>
                <a:chOff x="8389375" y="1608655"/>
                <a:chExt cx="53467" cy="145889"/>
              </a:xfrm>
              <a:grpFill/>
            </p:grpSpPr>
            <p:sp>
              <p:nvSpPr>
                <p:cNvPr id="6804" name="Freeform 7287">
                  <a:extLst>
                    <a:ext uri="{FF2B5EF4-FFF2-40B4-BE49-F238E27FC236}">
                      <a16:creationId xmlns:a16="http://schemas.microsoft.com/office/drawing/2014/main" id="{4EFC3815-3723-84D9-7557-145839CFC512}"/>
                    </a:ext>
                  </a:extLst>
                </p:cNvPr>
                <p:cNvSpPr/>
                <p:nvPr/>
              </p:nvSpPr>
              <p:spPr>
                <a:xfrm>
                  <a:off x="8420500" y="1682475"/>
                  <a:ext cx="11087" cy="51068"/>
                </a:xfrm>
                <a:custGeom>
                  <a:avLst/>
                  <a:gdLst>
                    <a:gd name="connsiteX0" fmla="*/ 10933 w 11087"/>
                    <a:gd name="connsiteY0" fmla="*/ 51069 h 51068"/>
                    <a:gd name="connsiteX1" fmla="*/ 8816 w 11087"/>
                    <a:gd name="connsiteY1" fmla="*/ 32385 h 51068"/>
                    <a:gd name="connsiteX2" fmla="*/ 1716 w 11087"/>
                    <a:gd name="connsiteY2" fmla="*/ 16442 h 51068"/>
                    <a:gd name="connsiteX3" fmla="*/ 221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51069"/>
                      </a:moveTo>
                      <a:cubicBezTo>
                        <a:pt x="11556" y="42723"/>
                        <a:pt x="10186" y="36495"/>
                        <a:pt x="8816" y="32385"/>
                      </a:cubicBezTo>
                      <a:cubicBezTo>
                        <a:pt x="6574" y="25783"/>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5" name="Freeform 7288">
                  <a:extLst>
                    <a:ext uri="{FF2B5EF4-FFF2-40B4-BE49-F238E27FC236}">
                      <a16:creationId xmlns:a16="http://schemas.microsoft.com/office/drawing/2014/main" id="{92BAB0C3-5882-15A1-1D36-5E807AB2283F}"/>
                    </a:ext>
                  </a:extLst>
                </p:cNvPr>
                <p:cNvSpPr/>
                <p:nvPr/>
              </p:nvSpPr>
              <p:spPr>
                <a:xfrm>
                  <a:off x="8413497" y="1689201"/>
                  <a:ext cx="12082" cy="50694"/>
                </a:xfrm>
                <a:custGeom>
                  <a:avLst/>
                  <a:gdLst>
                    <a:gd name="connsiteX0" fmla="*/ 0 w 12082"/>
                    <a:gd name="connsiteY0" fmla="*/ 0 h 50694"/>
                    <a:gd name="connsiteX1" fmla="*/ 5979 w 12082"/>
                    <a:gd name="connsiteY1" fmla="*/ 17812 h 50694"/>
                    <a:gd name="connsiteX2" fmla="*/ 6353 w 12082"/>
                    <a:gd name="connsiteY2" fmla="*/ 35250 h 50694"/>
                    <a:gd name="connsiteX3" fmla="*/ 12082 w 1208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082" h="50694">
                      <a:moveTo>
                        <a:pt x="0" y="0"/>
                      </a:moveTo>
                      <a:cubicBezTo>
                        <a:pt x="4235" y="7349"/>
                        <a:pt x="5605" y="13452"/>
                        <a:pt x="5979" y="17812"/>
                      </a:cubicBezTo>
                      <a:cubicBezTo>
                        <a:pt x="6727" y="24787"/>
                        <a:pt x="5357" y="28150"/>
                        <a:pt x="6353" y="35250"/>
                      </a:cubicBezTo>
                      <a:cubicBezTo>
                        <a:pt x="7349" y="42101"/>
                        <a:pt x="9965" y="47332"/>
                        <a:pt x="1208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6" name="Freeform 7289">
                  <a:extLst>
                    <a:ext uri="{FF2B5EF4-FFF2-40B4-BE49-F238E27FC236}">
                      <a16:creationId xmlns:a16="http://schemas.microsoft.com/office/drawing/2014/main" id="{72A1866E-B919-DDDE-CDC4-AFDE501A52B9}"/>
                    </a:ext>
                  </a:extLst>
                </p:cNvPr>
                <p:cNvSpPr/>
                <p:nvPr/>
              </p:nvSpPr>
              <p:spPr>
                <a:xfrm>
                  <a:off x="8416038" y="1727987"/>
                  <a:ext cx="26805" cy="26556"/>
                </a:xfrm>
                <a:custGeom>
                  <a:avLst/>
                  <a:gdLst>
                    <a:gd name="connsiteX0" fmla="*/ 324 w 26805"/>
                    <a:gd name="connsiteY0" fmla="*/ 16143 h 26556"/>
                    <a:gd name="connsiteX1" fmla="*/ 10538 w 26805"/>
                    <a:gd name="connsiteY1" fmla="*/ 324 h 26556"/>
                    <a:gd name="connsiteX2" fmla="*/ 26481 w 26805"/>
                    <a:gd name="connsiteY2" fmla="*/ 10414 h 26556"/>
                    <a:gd name="connsiteX3" fmla="*/ 16267 w 26805"/>
                    <a:gd name="connsiteY3" fmla="*/ 26233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4"/>
                        <a:pt x="3313" y="1944"/>
                        <a:pt x="10538" y="324"/>
                      </a:cubicBezTo>
                      <a:cubicBezTo>
                        <a:pt x="17762" y="-1295"/>
                        <a:pt x="24862" y="3314"/>
                        <a:pt x="26481" y="10414"/>
                      </a:cubicBezTo>
                      <a:cubicBezTo>
                        <a:pt x="28100" y="17513"/>
                        <a:pt x="23492" y="24613"/>
                        <a:pt x="16267" y="26233"/>
                      </a:cubicBezTo>
                      <a:cubicBezTo>
                        <a:pt x="9043" y="27852"/>
                        <a:pt x="1944"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7" name="Freeform 7290">
                  <a:extLst>
                    <a:ext uri="{FF2B5EF4-FFF2-40B4-BE49-F238E27FC236}">
                      <a16:creationId xmlns:a16="http://schemas.microsoft.com/office/drawing/2014/main" id="{C7D63612-4490-F062-FF3D-FBF525BD08FA}"/>
                    </a:ext>
                  </a:extLst>
                </p:cNvPr>
                <p:cNvSpPr/>
                <p:nvPr/>
              </p:nvSpPr>
              <p:spPr>
                <a:xfrm>
                  <a:off x="8400513" y="162953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6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5"/>
                        <a:pt x="902" y="14573"/>
                        <a:pt x="2272" y="18684"/>
                      </a:cubicBezTo>
                      <a:cubicBezTo>
                        <a:pt x="4514" y="25285"/>
                        <a:pt x="7254" y="27776"/>
                        <a:pt x="9372" y="34627"/>
                      </a:cubicBezTo>
                      <a:cubicBezTo>
                        <a:pt x="11365" y="41229"/>
                        <a:pt x="11240" y="47083"/>
                        <a:pt x="1086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8" name="Freeform 7291">
                  <a:extLst>
                    <a:ext uri="{FF2B5EF4-FFF2-40B4-BE49-F238E27FC236}">
                      <a16:creationId xmlns:a16="http://schemas.microsoft.com/office/drawing/2014/main" id="{55420C33-A805-32FE-7676-F4F0BF9ABC71}"/>
                    </a:ext>
                  </a:extLst>
                </p:cNvPr>
                <p:cNvSpPr/>
                <p:nvPr/>
              </p:nvSpPr>
              <p:spPr>
                <a:xfrm>
                  <a:off x="8406397" y="1623061"/>
                  <a:ext cx="12081" cy="50819"/>
                </a:xfrm>
                <a:custGeom>
                  <a:avLst/>
                  <a:gdLst>
                    <a:gd name="connsiteX0" fmla="*/ 12082 w 12081"/>
                    <a:gd name="connsiteY0" fmla="*/ 50820 h 50819"/>
                    <a:gd name="connsiteX1" fmla="*/ 6103 w 12081"/>
                    <a:gd name="connsiteY1" fmla="*/ 33008 h 50819"/>
                    <a:gd name="connsiteX2" fmla="*/ 5729 w 12081"/>
                    <a:gd name="connsiteY2" fmla="*/ 15570 h 50819"/>
                    <a:gd name="connsiteX3" fmla="*/ 0 w 12081"/>
                    <a:gd name="connsiteY3" fmla="*/ 0 h 50819"/>
                  </a:gdLst>
                  <a:ahLst/>
                  <a:cxnLst>
                    <a:cxn ang="0">
                      <a:pos x="connsiteX0" y="connsiteY0"/>
                    </a:cxn>
                    <a:cxn ang="0">
                      <a:pos x="connsiteX1" y="connsiteY1"/>
                    </a:cxn>
                    <a:cxn ang="0">
                      <a:pos x="connsiteX2" y="connsiteY2"/>
                    </a:cxn>
                    <a:cxn ang="0">
                      <a:pos x="connsiteX3" y="connsiteY3"/>
                    </a:cxn>
                  </a:cxnLst>
                  <a:rect l="l" t="t" r="r" b="b"/>
                  <a:pathLst>
                    <a:path w="12081" h="50818">
                      <a:moveTo>
                        <a:pt x="12082" y="50820"/>
                      </a:moveTo>
                      <a:cubicBezTo>
                        <a:pt x="7847" y="43471"/>
                        <a:pt x="6476" y="37367"/>
                        <a:pt x="6103" y="33008"/>
                      </a:cubicBezTo>
                      <a:cubicBezTo>
                        <a:pt x="5356" y="26033"/>
                        <a:pt x="6726" y="22669"/>
                        <a:pt x="5729" y="15570"/>
                      </a:cubicBezTo>
                      <a:cubicBezTo>
                        <a:pt x="4733" y="8719"/>
                        <a:pt x="2117"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9" name="Freeform 7292">
                  <a:extLst>
                    <a:ext uri="{FF2B5EF4-FFF2-40B4-BE49-F238E27FC236}">
                      <a16:creationId xmlns:a16="http://schemas.microsoft.com/office/drawing/2014/main" id="{0C55BE0F-8D75-E314-9126-B93E8883D1D2}"/>
                    </a:ext>
                  </a:extLst>
                </p:cNvPr>
                <p:cNvSpPr/>
                <p:nvPr/>
              </p:nvSpPr>
              <p:spPr>
                <a:xfrm>
                  <a:off x="8389375" y="1608655"/>
                  <a:ext cx="26445" cy="26401"/>
                </a:xfrm>
                <a:custGeom>
                  <a:avLst/>
                  <a:gdLst>
                    <a:gd name="connsiteX0" fmla="*/ 26114 w 26445"/>
                    <a:gd name="connsiteY0" fmla="*/ 10420 h 26401"/>
                    <a:gd name="connsiteX1" fmla="*/ 16150 w 26445"/>
                    <a:gd name="connsiteY1" fmla="*/ 26114 h 26401"/>
                    <a:gd name="connsiteX2" fmla="*/ 331 w 26445"/>
                    <a:gd name="connsiteY2" fmla="*/ 16025 h 26401"/>
                    <a:gd name="connsiteX3" fmla="*/ 10295 w 26445"/>
                    <a:gd name="connsiteY3" fmla="*/ 331 h 26401"/>
                    <a:gd name="connsiteX4" fmla="*/ 26114 w 26445"/>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01">
                      <a:moveTo>
                        <a:pt x="26114" y="10420"/>
                      </a:moveTo>
                      <a:cubicBezTo>
                        <a:pt x="27734" y="17519"/>
                        <a:pt x="23250" y="24619"/>
                        <a:pt x="16150" y="26114"/>
                      </a:cubicBezTo>
                      <a:cubicBezTo>
                        <a:pt x="9050" y="27609"/>
                        <a:pt x="1950" y="23125"/>
                        <a:pt x="331" y="16025"/>
                      </a:cubicBezTo>
                      <a:cubicBezTo>
                        <a:pt x="-1288" y="8925"/>
                        <a:pt x="3195" y="1825"/>
                        <a:pt x="10295" y="331"/>
                      </a:cubicBezTo>
                      <a:cubicBezTo>
                        <a:pt x="17520" y="-1289"/>
                        <a:pt x="24495" y="3195"/>
                        <a:pt x="26114"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299" name="Graphic 2987">
                <a:extLst>
                  <a:ext uri="{FF2B5EF4-FFF2-40B4-BE49-F238E27FC236}">
                    <a16:creationId xmlns:a16="http://schemas.microsoft.com/office/drawing/2014/main" id="{C840D2AE-70D2-2A77-2892-4A82B884651E}"/>
                  </a:ext>
                </a:extLst>
              </p:cNvPr>
              <p:cNvGrpSpPr/>
              <p:nvPr/>
            </p:nvGrpSpPr>
            <p:grpSpPr>
              <a:xfrm>
                <a:off x="8360765" y="1614883"/>
                <a:ext cx="52931" cy="146013"/>
                <a:chOff x="8360765" y="1614883"/>
                <a:chExt cx="52931" cy="146013"/>
              </a:xfrm>
              <a:grpFill/>
            </p:grpSpPr>
            <p:sp>
              <p:nvSpPr>
                <p:cNvPr id="6798" name="Freeform 7294">
                  <a:extLst>
                    <a:ext uri="{FF2B5EF4-FFF2-40B4-BE49-F238E27FC236}">
                      <a16:creationId xmlns:a16="http://schemas.microsoft.com/office/drawing/2014/main" id="{024D8BE2-D9FD-04C0-C3B8-E684230D7E69}"/>
                    </a:ext>
                  </a:extLst>
                </p:cNvPr>
                <p:cNvSpPr/>
                <p:nvPr/>
              </p:nvSpPr>
              <p:spPr>
                <a:xfrm>
                  <a:off x="8391388" y="1688827"/>
                  <a:ext cx="11109" cy="51068"/>
                </a:xfrm>
                <a:custGeom>
                  <a:avLst/>
                  <a:gdLst>
                    <a:gd name="connsiteX0" fmla="*/ 10899 w 11109"/>
                    <a:gd name="connsiteY0" fmla="*/ 51069 h 51068"/>
                    <a:gd name="connsiteX1" fmla="*/ 8782 w 11109"/>
                    <a:gd name="connsiteY1" fmla="*/ 32385 h 51068"/>
                    <a:gd name="connsiteX2" fmla="*/ 1682 w 11109"/>
                    <a:gd name="connsiteY2" fmla="*/ 16442 h 51068"/>
                    <a:gd name="connsiteX3" fmla="*/ 311 w 11109"/>
                    <a:gd name="connsiteY3" fmla="*/ 0 h 51068"/>
                  </a:gdLst>
                  <a:ahLst/>
                  <a:cxnLst>
                    <a:cxn ang="0">
                      <a:pos x="connsiteX0" y="connsiteY0"/>
                    </a:cxn>
                    <a:cxn ang="0">
                      <a:pos x="connsiteX1" y="connsiteY1"/>
                    </a:cxn>
                    <a:cxn ang="0">
                      <a:pos x="connsiteX2" y="connsiteY2"/>
                    </a:cxn>
                    <a:cxn ang="0">
                      <a:pos x="connsiteX3" y="connsiteY3"/>
                    </a:cxn>
                  </a:cxnLst>
                  <a:rect l="l" t="t" r="r" b="b"/>
                  <a:pathLst>
                    <a:path w="11109" h="51068">
                      <a:moveTo>
                        <a:pt x="10899" y="51069"/>
                      </a:moveTo>
                      <a:cubicBezTo>
                        <a:pt x="11646" y="42723"/>
                        <a:pt x="10276" y="36495"/>
                        <a:pt x="8782" y="32385"/>
                      </a:cubicBezTo>
                      <a:cubicBezTo>
                        <a:pt x="6539" y="25783"/>
                        <a:pt x="3799" y="23292"/>
                        <a:pt x="1682" y="16442"/>
                      </a:cubicBezTo>
                      <a:cubicBezTo>
                        <a:pt x="-311" y="9840"/>
                        <a:pt x="-187" y="3986"/>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9" name="Freeform 7295">
                  <a:extLst>
                    <a:ext uri="{FF2B5EF4-FFF2-40B4-BE49-F238E27FC236}">
                      <a16:creationId xmlns:a16="http://schemas.microsoft.com/office/drawing/2014/main" id="{B387EFE8-41C4-0009-6FF0-C768D9EE78DA}"/>
                    </a:ext>
                  </a:extLst>
                </p:cNvPr>
                <p:cNvSpPr/>
                <p:nvPr/>
              </p:nvSpPr>
              <p:spPr>
                <a:xfrm>
                  <a:off x="8384600" y="1695553"/>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577"/>
                        <a:pt x="5979" y="17812"/>
                      </a:cubicBezTo>
                      <a:cubicBezTo>
                        <a:pt x="6726" y="24787"/>
                        <a:pt x="5231" y="28150"/>
                        <a:pt x="6352" y="35250"/>
                      </a:cubicBezTo>
                      <a:cubicBezTo>
                        <a:pt x="7348"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0" name="Freeform 7296">
                  <a:extLst>
                    <a:ext uri="{FF2B5EF4-FFF2-40B4-BE49-F238E27FC236}">
                      <a16:creationId xmlns:a16="http://schemas.microsoft.com/office/drawing/2014/main" id="{5AB9A8A7-20EB-DA91-0512-5BE401530E56}"/>
                    </a:ext>
                  </a:extLst>
                </p:cNvPr>
                <p:cNvSpPr/>
                <p:nvPr/>
              </p:nvSpPr>
              <p:spPr>
                <a:xfrm>
                  <a:off x="8386891" y="1734340"/>
                  <a:ext cx="26805" cy="26556"/>
                </a:xfrm>
                <a:custGeom>
                  <a:avLst/>
                  <a:gdLst>
                    <a:gd name="connsiteX0" fmla="*/ 324 w 26805"/>
                    <a:gd name="connsiteY0" fmla="*/ 16143 h 26556"/>
                    <a:gd name="connsiteX1" fmla="*/ 10538 w 26805"/>
                    <a:gd name="connsiteY1" fmla="*/ 324 h 26556"/>
                    <a:gd name="connsiteX2" fmla="*/ 26482 w 26805"/>
                    <a:gd name="connsiteY2" fmla="*/ 10414 h 26556"/>
                    <a:gd name="connsiteX3" fmla="*/ 16268 w 26805"/>
                    <a:gd name="connsiteY3" fmla="*/ 26232 h 26556"/>
                    <a:gd name="connsiteX4" fmla="*/ 324 w 268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556">
                      <a:moveTo>
                        <a:pt x="324" y="16143"/>
                      </a:moveTo>
                      <a:cubicBezTo>
                        <a:pt x="-1295" y="9043"/>
                        <a:pt x="3313" y="1944"/>
                        <a:pt x="10538" y="324"/>
                      </a:cubicBezTo>
                      <a:cubicBezTo>
                        <a:pt x="17763" y="-1295"/>
                        <a:pt x="24862" y="3314"/>
                        <a:pt x="26482" y="10414"/>
                      </a:cubicBezTo>
                      <a:cubicBezTo>
                        <a:pt x="28101" y="17513"/>
                        <a:pt x="23492" y="24613"/>
                        <a:pt x="16268" y="26232"/>
                      </a:cubicBezTo>
                      <a:cubicBezTo>
                        <a:pt x="8919" y="27852"/>
                        <a:pt x="1819" y="23243"/>
                        <a:pt x="324"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1" name="Freeform 7297">
                  <a:extLst>
                    <a:ext uri="{FF2B5EF4-FFF2-40B4-BE49-F238E27FC236}">
                      <a16:creationId xmlns:a16="http://schemas.microsoft.com/office/drawing/2014/main" id="{5C12F6FC-20A3-0BC0-6CC5-6B6F096EEF36}"/>
                    </a:ext>
                  </a:extLst>
                </p:cNvPr>
                <p:cNvSpPr/>
                <p:nvPr/>
              </p:nvSpPr>
              <p:spPr>
                <a:xfrm>
                  <a:off x="8371740" y="1635765"/>
                  <a:ext cx="10928" cy="51068"/>
                </a:xfrm>
                <a:custGeom>
                  <a:avLst/>
                  <a:gdLst>
                    <a:gd name="connsiteX0" fmla="*/ 155 w 10928"/>
                    <a:gd name="connsiteY0" fmla="*/ 0 h 51068"/>
                    <a:gd name="connsiteX1" fmla="*/ 2272 w 10928"/>
                    <a:gd name="connsiteY1" fmla="*/ 18684 h 51068"/>
                    <a:gd name="connsiteX2" fmla="*/ 9247 w 10928"/>
                    <a:gd name="connsiteY2" fmla="*/ 34627 h 51068"/>
                    <a:gd name="connsiteX3" fmla="*/ 10617 w 1092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28" h="51068">
                      <a:moveTo>
                        <a:pt x="155" y="0"/>
                      </a:moveTo>
                      <a:cubicBezTo>
                        <a:pt x="-468" y="8345"/>
                        <a:pt x="902" y="14573"/>
                        <a:pt x="2272" y="18684"/>
                      </a:cubicBezTo>
                      <a:cubicBezTo>
                        <a:pt x="4514" y="25285"/>
                        <a:pt x="7254" y="27776"/>
                        <a:pt x="9247" y="34627"/>
                      </a:cubicBezTo>
                      <a:cubicBezTo>
                        <a:pt x="11240" y="41229"/>
                        <a:pt x="11116" y="47083"/>
                        <a:pt x="1061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2" name="Freeform 7298">
                  <a:extLst>
                    <a:ext uri="{FF2B5EF4-FFF2-40B4-BE49-F238E27FC236}">
                      <a16:creationId xmlns:a16="http://schemas.microsoft.com/office/drawing/2014/main" id="{4ACE925A-1D3D-819C-1BA3-A8118E25DC7C}"/>
                    </a:ext>
                  </a:extLst>
                </p:cNvPr>
                <p:cNvSpPr/>
                <p:nvPr/>
              </p:nvSpPr>
              <p:spPr>
                <a:xfrm>
                  <a:off x="8377625" y="1629288"/>
                  <a:ext cx="11957" cy="50819"/>
                </a:xfrm>
                <a:custGeom>
                  <a:avLst/>
                  <a:gdLst>
                    <a:gd name="connsiteX0" fmla="*/ 11957 w 11957"/>
                    <a:gd name="connsiteY0" fmla="*/ 50820 h 50819"/>
                    <a:gd name="connsiteX1" fmla="*/ 5979 w 11957"/>
                    <a:gd name="connsiteY1" fmla="*/ 33008 h 50819"/>
                    <a:gd name="connsiteX2" fmla="*/ 5604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20"/>
                      </a:moveTo>
                      <a:cubicBezTo>
                        <a:pt x="7846" y="43471"/>
                        <a:pt x="6476" y="37243"/>
                        <a:pt x="5979" y="33008"/>
                      </a:cubicBezTo>
                      <a:cubicBezTo>
                        <a:pt x="5231"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803" name="Freeform 7299">
                  <a:extLst>
                    <a:ext uri="{FF2B5EF4-FFF2-40B4-BE49-F238E27FC236}">
                      <a16:creationId xmlns:a16="http://schemas.microsoft.com/office/drawing/2014/main" id="{8C48F41A-21C1-6A3F-351C-75B81767ECAA}"/>
                    </a:ext>
                  </a:extLst>
                </p:cNvPr>
                <p:cNvSpPr/>
                <p:nvPr/>
              </p:nvSpPr>
              <p:spPr>
                <a:xfrm>
                  <a:off x="8360765" y="1614883"/>
                  <a:ext cx="26282" cy="26401"/>
                </a:xfrm>
                <a:custGeom>
                  <a:avLst/>
                  <a:gdLst>
                    <a:gd name="connsiteX0" fmla="*/ 25952 w 26282"/>
                    <a:gd name="connsiteY0" fmla="*/ 10420 h 26401"/>
                    <a:gd name="connsiteX1" fmla="*/ 15987 w 26282"/>
                    <a:gd name="connsiteY1" fmla="*/ 26114 h 26401"/>
                    <a:gd name="connsiteX2" fmla="*/ 293 w 26282"/>
                    <a:gd name="connsiteY2" fmla="*/ 16025 h 26401"/>
                    <a:gd name="connsiteX3" fmla="*/ 10258 w 26282"/>
                    <a:gd name="connsiteY3" fmla="*/ 331 h 26401"/>
                    <a:gd name="connsiteX4" fmla="*/ 25952 w 26282"/>
                    <a:gd name="connsiteY4" fmla="*/ 10420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401">
                      <a:moveTo>
                        <a:pt x="25952" y="10420"/>
                      </a:moveTo>
                      <a:cubicBezTo>
                        <a:pt x="27571" y="17519"/>
                        <a:pt x="23087" y="24619"/>
                        <a:pt x="15987" y="26114"/>
                      </a:cubicBezTo>
                      <a:cubicBezTo>
                        <a:pt x="8888" y="27609"/>
                        <a:pt x="1788" y="23125"/>
                        <a:pt x="293" y="16025"/>
                      </a:cubicBezTo>
                      <a:cubicBezTo>
                        <a:pt x="-1202" y="8925"/>
                        <a:pt x="3158" y="1825"/>
                        <a:pt x="10258" y="331"/>
                      </a:cubicBezTo>
                      <a:cubicBezTo>
                        <a:pt x="17357" y="-1289"/>
                        <a:pt x="24457" y="3195"/>
                        <a:pt x="25952"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0" name="Graphic 2987">
                <a:extLst>
                  <a:ext uri="{FF2B5EF4-FFF2-40B4-BE49-F238E27FC236}">
                    <a16:creationId xmlns:a16="http://schemas.microsoft.com/office/drawing/2014/main" id="{9EC51FE0-09D0-E38D-E417-D2214C05132E}"/>
                  </a:ext>
                </a:extLst>
              </p:cNvPr>
              <p:cNvGrpSpPr/>
              <p:nvPr/>
            </p:nvGrpSpPr>
            <p:grpSpPr>
              <a:xfrm>
                <a:off x="8331874" y="1621117"/>
                <a:ext cx="52389" cy="146132"/>
                <a:chOff x="8331874" y="1621117"/>
                <a:chExt cx="52389" cy="146132"/>
              </a:xfrm>
              <a:grpFill/>
            </p:grpSpPr>
            <p:sp>
              <p:nvSpPr>
                <p:cNvPr id="6792" name="Freeform 7301">
                  <a:extLst>
                    <a:ext uri="{FF2B5EF4-FFF2-40B4-BE49-F238E27FC236}">
                      <a16:creationId xmlns:a16="http://schemas.microsoft.com/office/drawing/2014/main" id="{21E44459-C88E-712A-00CA-F39652ACB98F}"/>
                    </a:ext>
                  </a:extLst>
                </p:cNvPr>
                <p:cNvSpPr/>
                <p:nvPr/>
              </p:nvSpPr>
              <p:spPr>
                <a:xfrm>
                  <a:off x="8362545" y="1695179"/>
                  <a:ext cx="10805" cy="51068"/>
                </a:xfrm>
                <a:custGeom>
                  <a:avLst/>
                  <a:gdLst>
                    <a:gd name="connsiteX0" fmla="*/ 10594 w 10805"/>
                    <a:gd name="connsiteY0" fmla="*/ 51069 h 51068"/>
                    <a:gd name="connsiteX1" fmla="*/ 8602 w 10805"/>
                    <a:gd name="connsiteY1" fmla="*/ 32385 h 51068"/>
                    <a:gd name="connsiteX2" fmla="*/ 1627 w 10805"/>
                    <a:gd name="connsiteY2" fmla="*/ 16442 h 51068"/>
                    <a:gd name="connsiteX3" fmla="*/ 257 w 10805"/>
                    <a:gd name="connsiteY3" fmla="*/ 0 h 51068"/>
                  </a:gdLst>
                  <a:ahLst/>
                  <a:cxnLst>
                    <a:cxn ang="0">
                      <a:pos x="connsiteX0" y="connsiteY0"/>
                    </a:cxn>
                    <a:cxn ang="0">
                      <a:pos x="connsiteX1" y="connsiteY1"/>
                    </a:cxn>
                    <a:cxn ang="0">
                      <a:pos x="connsiteX2" y="connsiteY2"/>
                    </a:cxn>
                    <a:cxn ang="0">
                      <a:pos x="connsiteX3" y="connsiteY3"/>
                    </a:cxn>
                  </a:cxnLst>
                  <a:rect l="l" t="t" r="r" b="b"/>
                  <a:pathLst>
                    <a:path w="10805" h="51068">
                      <a:moveTo>
                        <a:pt x="10594" y="51069"/>
                      </a:moveTo>
                      <a:cubicBezTo>
                        <a:pt x="11342" y="42723"/>
                        <a:pt x="9972" y="36495"/>
                        <a:pt x="8602" y="32385"/>
                      </a:cubicBezTo>
                      <a:cubicBezTo>
                        <a:pt x="6360" y="25783"/>
                        <a:pt x="3619" y="23292"/>
                        <a:pt x="1627" y="16442"/>
                      </a:cubicBezTo>
                      <a:cubicBezTo>
                        <a:pt x="-367" y="9840"/>
                        <a:pt x="-117" y="3861"/>
                        <a:pt x="2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3" name="Freeform 7302">
                  <a:extLst>
                    <a:ext uri="{FF2B5EF4-FFF2-40B4-BE49-F238E27FC236}">
                      <a16:creationId xmlns:a16="http://schemas.microsoft.com/office/drawing/2014/main" id="{AC6ECD44-E8DA-34AB-C8CE-11081C40181C}"/>
                    </a:ext>
                  </a:extLst>
                </p:cNvPr>
                <p:cNvSpPr/>
                <p:nvPr/>
              </p:nvSpPr>
              <p:spPr>
                <a:xfrm>
                  <a:off x="8355578" y="1701906"/>
                  <a:ext cx="11708" cy="50819"/>
                </a:xfrm>
                <a:custGeom>
                  <a:avLst/>
                  <a:gdLst>
                    <a:gd name="connsiteX0" fmla="*/ 0 w 11708"/>
                    <a:gd name="connsiteY0" fmla="*/ 0 h 50819"/>
                    <a:gd name="connsiteX1" fmla="*/ 5854 w 11708"/>
                    <a:gd name="connsiteY1" fmla="*/ 17812 h 50819"/>
                    <a:gd name="connsiteX2" fmla="*/ 6103 w 11708"/>
                    <a:gd name="connsiteY2" fmla="*/ 35250 h 50819"/>
                    <a:gd name="connsiteX3" fmla="*/ 11708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0" y="0"/>
                      </a:moveTo>
                      <a:cubicBezTo>
                        <a:pt x="4111" y="7349"/>
                        <a:pt x="5481" y="13577"/>
                        <a:pt x="5854" y="17812"/>
                      </a:cubicBezTo>
                      <a:cubicBezTo>
                        <a:pt x="6601" y="24787"/>
                        <a:pt x="5107" y="28150"/>
                        <a:pt x="6103" y="35250"/>
                      </a:cubicBezTo>
                      <a:cubicBezTo>
                        <a:pt x="7100" y="42101"/>
                        <a:pt x="9715" y="47332"/>
                        <a:pt x="11708"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4" name="Freeform 7303">
                  <a:extLst>
                    <a:ext uri="{FF2B5EF4-FFF2-40B4-BE49-F238E27FC236}">
                      <a16:creationId xmlns:a16="http://schemas.microsoft.com/office/drawing/2014/main" id="{D3361A56-5F0F-071F-05EA-ACB91E7DB8C3}"/>
                    </a:ext>
                  </a:extLst>
                </p:cNvPr>
                <p:cNvSpPr/>
                <p:nvPr/>
              </p:nvSpPr>
              <p:spPr>
                <a:xfrm>
                  <a:off x="8357657" y="1740692"/>
                  <a:ext cx="26605" cy="26556"/>
                </a:xfrm>
                <a:custGeom>
                  <a:avLst/>
                  <a:gdLst>
                    <a:gd name="connsiteX0" fmla="*/ 287 w 26605"/>
                    <a:gd name="connsiteY0" fmla="*/ 16143 h 26556"/>
                    <a:gd name="connsiteX1" fmla="*/ 10501 w 26605"/>
                    <a:gd name="connsiteY1" fmla="*/ 324 h 26556"/>
                    <a:gd name="connsiteX2" fmla="*/ 26319 w 26605"/>
                    <a:gd name="connsiteY2" fmla="*/ 10414 h 26556"/>
                    <a:gd name="connsiteX3" fmla="*/ 16106 w 26605"/>
                    <a:gd name="connsiteY3" fmla="*/ 26233 h 26556"/>
                    <a:gd name="connsiteX4" fmla="*/ 287 w 26605"/>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5" h="26556">
                      <a:moveTo>
                        <a:pt x="287" y="16143"/>
                      </a:moveTo>
                      <a:cubicBezTo>
                        <a:pt x="-1208" y="9044"/>
                        <a:pt x="3276" y="1944"/>
                        <a:pt x="10501" y="324"/>
                      </a:cubicBezTo>
                      <a:cubicBezTo>
                        <a:pt x="17725" y="-1295"/>
                        <a:pt x="24824" y="3314"/>
                        <a:pt x="26319" y="10414"/>
                      </a:cubicBezTo>
                      <a:cubicBezTo>
                        <a:pt x="27814" y="17513"/>
                        <a:pt x="23330" y="24613"/>
                        <a:pt x="16106" y="26233"/>
                      </a:cubicBezTo>
                      <a:cubicBezTo>
                        <a:pt x="9006" y="27852"/>
                        <a:pt x="1906" y="23243"/>
                        <a:pt x="28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5" name="Freeform 7304">
                  <a:extLst>
                    <a:ext uri="{FF2B5EF4-FFF2-40B4-BE49-F238E27FC236}">
                      <a16:creationId xmlns:a16="http://schemas.microsoft.com/office/drawing/2014/main" id="{E81532CA-AA19-16E5-619B-8CA9A649F422}"/>
                    </a:ext>
                  </a:extLst>
                </p:cNvPr>
                <p:cNvSpPr/>
                <p:nvPr/>
              </p:nvSpPr>
              <p:spPr>
                <a:xfrm>
                  <a:off x="8342911" y="1641993"/>
                  <a:ext cx="10806" cy="51068"/>
                </a:xfrm>
                <a:custGeom>
                  <a:avLst/>
                  <a:gdLst>
                    <a:gd name="connsiteX0" fmla="*/ 211 w 10806"/>
                    <a:gd name="connsiteY0" fmla="*/ 0 h 51068"/>
                    <a:gd name="connsiteX1" fmla="*/ 2204 w 10806"/>
                    <a:gd name="connsiteY1" fmla="*/ 18684 h 51068"/>
                    <a:gd name="connsiteX2" fmla="*/ 9179 w 10806"/>
                    <a:gd name="connsiteY2" fmla="*/ 34627 h 51068"/>
                    <a:gd name="connsiteX3" fmla="*/ 10550 w 108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0"/>
                      </a:moveTo>
                      <a:cubicBezTo>
                        <a:pt x="-536" y="8345"/>
                        <a:pt x="834" y="14573"/>
                        <a:pt x="2204" y="18684"/>
                      </a:cubicBezTo>
                      <a:cubicBezTo>
                        <a:pt x="4446" y="25285"/>
                        <a:pt x="7187" y="27901"/>
                        <a:pt x="9179" y="34627"/>
                      </a:cubicBezTo>
                      <a:cubicBezTo>
                        <a:pt x="11172"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6" name="Freeform 7305">
                  <a:extLst>
                    <a:ext uri="{FF2B5EF4-FFF2-40B4-BE49-F238E27FC236}">
                      <a16:creationId xmlns:a16="http://schemas.microsoft.com/office/drawing/2014/main" id="{33D1FED8-E235-B888-DDA8-BA525F9F792F}"/>
                    </a:ext>
                  </a:extLst>
                </p:cNvPr>
                <p:cNvSpPr/>
                <p:nvPr/>
              </p:nvSpPr>
              <p:spPr>
                <a:xfrm>
                  <a:off x="8348852" y="1635641"/>
                  <a:ext cx="11707" cy="50819"/>
                </a:xfrm>
                <a:custGeom>
                  <a:avLst/>
                  <a:gdLst>
                    <a:gd name="connsiteX0" fmla="*/ 11708 w 11707"/>
                    <a:gd name="connsiteY0" fmla="*/ 50820 h 50819"/>
                    <a:gd name="connsiteX1" fmla="*/ 5854 w 11707"/>
                    <a:gd name="connsiteY1" fmla="*/ 33008 h 50819"/>
                    <a:gd name="connsiteX2" fmla="*/ 5604 w 11707"/>
                    <a:gd name="connsiteY2" fmla="*/ 15570 h 50819"/>
                    <a:gd name="connsiteX3" fmla="*/ 0 w 11707"/>
                    <a:gd name="connsiteY3" fmla="*/ 0 h 50819"/>
                  </a:gdLst>
                  <a:ahLst/>
                  <a:cxnLst>
                    <a:cxn ang="0">
                      <a:pos x="connsiteX0" y="connsiteY0"/>
                    </a:cxn>
                    <a:cxn ang="0">
                      <a:pos x="connsiteX1" y="connsiteY1"/>
                    </a:cxn>
                    <a:cxn ang="0">
                      <a:pos x="connsiteX2" y="connsiteY2"/>
                    </a:cxn>
                    <a:cxn ang="0">
                      <a:pos x="connsiteX3" y="connsiteY3"/>
                    </a:cxn>
                  </a:cxnLst>
                  <a:rect l="l" t="t" r="r" b="b"/>
                  <a:pathLst>
                    <a:path w="11707" h="50818">
                      <a:moveTo>
                        <a:pt x="11708" y="50820"/>
                      </a:moveTo>
                      <a:cubicBezTo>
                        <a:pt x="7598" y="43471"/>
                        <a:pt x="6228" y="37243"/>
                        <a:pt x="5854" y="33008"/>
                      </a:cubicBezTo>
                      <a:cubicBezTo>
                        <a:pt x="5107" y="26033"/>
                        <a:pt x="6601" y="22669"/>
                        <a:pt x="5604"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7" name="Freeform 7306">
                  <a:extLst>
                    <a:ext uri="{FF2B5EF4-FFF2-40B4-BE49-F238E27FC236}">
                      <a16:creationId xmlns:a16="http://schemas.microsoft.com/office/drawing/2014/main" id="{CAEAF70F-B4B5-A9AD-C811-1B1F337E24AC}"/>
                    </a:ext>
                  </a:extLst>
                </p:cNvPr>
                <p:cNvSpPr/>
                <p:nvPr/>
              </p:nvSpPr>
              <p:spPr>
                <a:xfrm>
                  <a:off x="8331874" y="1621117"/>
                  <a:ext cx="26395" cy="26395"/>
                </a:xfrm>
                <a:custGeom>
                  <a:avLst/>
                  <a:gdLst>
                    <a:gd name="connsiteX0" fmla="*/ 26071 w 26395"/>
                    <a:gd name="connsiteY0" fmla="*/ 10414 h 26395"/>
                    <a:gd name="connsiteX1" fmla="*/ 15982 w 26395"/>
                    <a:gd name="connsiteY1" fmla="*/ 26108 h 26395"/>
                    <a:gd name="connsiteX2" fmla="*/ 287 w 26395"/>
                    <a:gd name="connsiteY2" fmla="*/ 16019 h 26395"/>
                    <a:gd name="connsiteX3" fmla="*/ 10376 w 26395"/>
                    <a:gd name="connsiteY3" fmla="*/ 324 h 26395"/>
                    <a:gd name="connsiteX4" fmla="*/ 26071 w 26395"/>
                    <a:gd name="connsiteY4" fmla="*/ 10414 h 26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395">
                      <a:moveTo>
                        <a:pt x="26071" y="10414"/>
                      </a:moveTo>
                      <a:cubicBezTo>
                        <a:pt x="27690" y="17513"/>
                        <a:pt x="23081" y="24613"/>
                        <a:pt x="15982" y="26108"/>
                      </a:cubicBezTo>
                      <a:cubicBezTo>
                        <a:pt x="8882" y="27603"/>
                        <a:pt x="1782" y="23119"/>
                        <a:pt x="287" y="16019"/>
                      </a:cubicBezTo>
                      <a:cubicBezTo>
                        <a:pt x="-1207" y="8919"/>
                        <a:pt x="3276" y="1819"/>
                        <a:pt x="10376" y="324"/>
                      </a:cubicBezTo>
                      <a:cubicBezTo>
                        <a:pt x="17476" y="-1295"/>
                        <a:pt x="24576" y="3314"/>
                        <a:pt x="2607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1" name="Graphic 2987">
                <a:extLst>
                  <a:ext uri="{FF2B5EF4-FFF2-40B4-BE49-F238E27FC236}">
                    <a16:creationId xmlns:a16="http://schemas.microsoft.com/office/drawing/2014/main" id="{8A68FDB4-772E-613B-2CD0-12FD423E23D7}"/>
                  </a:ext>
                </a:extLst>
              </p:cNvPr>
              <p:cNvGrpSpPr/>
              <p:nvPr/>
            </p:nvGrpSpPr>
            <p:grpSpPr>
              <a:xfrm>
                <a:off x="8303101" y="1627263"/>
                <a:ext cx="52135" cy="146338"/>
                <a:chOff x="8303101" y="1627263"/>
                <a:chExt cx="52135" cy="146338"/>
              </a:xfrm>
              <a:grpFill/>
            </p:grpSpPr>
            <p:sp>
              <p:nvSpPr>
                <p:cNvPr id="6786" name="Freeform 7308">
                  <a:extLst>
                    <a:ext uri="{FF2B5EF4-FFF2-40B4-BE49-F238E27FC236}">
                      <a16:creationId xmlns:a16="http://schemas.microsoft.com/office/drawing/2014/main" id="{6A4803D2-9B97-1B97-A896-A887AC8E5F05}"/>
                    </a:ext>
                  </a:extLst>
                </p:cNvPr>
                <p:cNvSpPr/>
                <p:nvPr/>
              </p:nvSpPr>
              <p:spPr>
                <a:xfrm>
                  <a:off x="8333429" y="1701532"/>
                  <a:ext cx="10775" cy="51068"/>
                </a:xfrm>
                <a:custGeom>
                  <a:avLst/>
                  <a:gdLst>
                    <a:gd name="connsiteX0" fmla="*/ 10564 w 10775"/>
                    <a:gd name="connsiteY0" fmla="*/ 51069 h 51068"/>
                    <a:gd name="connsiteX1" fmla="*/ 8571 w 10775"/>
                    <a:gd name="connsiteY1" fmla="*/ 32385 h 51068"/>
                    <a:gd name="connsiteX2" fmla="*/ 1596 w 10775"/>
                    <a:gd name="connsiteY2" fmla="*/ 16442 h 51068"/>
                    <a:gd name="connsiteX3" fmla="*/ 226 w 10775"/>
                    <a:gd name="connsiteY3" fmla="*/ 0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51069"/>
                      </a:moveTo>
                      <a:cubicBezTo>
                        <a:pt x="11312" y="42723"/>
                        <a:pt x="9942" y="36495"/>
                        <a:pt x="8571" y="32385"/>
                      </a:cubicBezTo>
                      <a:cubicBezTo>
                        <a:pt x="6329" y="25783"/>
                        <a:pt x="3589" y="23168"/>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7" name="Freeform 7309">
                  <a:extLst>
                    <a:ext uri="{FF2B5EF4-FFF2-40B4-BE49-F238E27FC236}">
                      <a16:creationId xmlns:a16="http://schemas.microsoft.com/office/drawing/2014/main" id="{A9EE5E08-5F38-6B02-9DB8-4D83DFF6B61B}"/>
                    </a:ext>
                  </a:extLst>
                </p:cNvPr>
                <p:cNvSpPr/>
                <p:nvPr/>
              </p:nvSpPr>
              <p:spPr>
                <a:xfrm>
                  <a:off x="8326556" y="1708133"/>
                  <a:ext cx="11583" cy="50819"/>
                </a:xfrm>
                <a:custGeom>
                  <a:avLst/>
                  <a:gdLst>
                    <a:gd name="connsiteX0" fmla="*/ 0 w 11583"/>
                    <a:gd name="connsiteY0" fmla="*/ 0 h 50819"/>
                    <a:gd name="connsiteX1" fmla="*/ 5855 w 11583"/>
                    <a:gd name="connsiteY1" fmla="*/ 17812 h 50819"/>
                    <a:gd name="connsiteX2" fmla="*/ 6103 w 11583"/>
                    <a:gd name="connsiteY2" fmla="*/ 35250 h 50819"/>
                    <a:gd name="connsiteX3" fmla="*/ 11584 w 11583"/>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583" h="50818">
                      <a:moveTo>
                        <a:pt x="0" y="0"/>
                      </a:moveTo>
                      <a:cubicBezTo>
                        <a:pt x="4111" y="7349"/>
                        <a:pt x="5356" y="13577"/>
                        <a:pt x="5855" y="17812"/>
                      </a:cubicBezTo>
                      <a:cubicBezTo>
                        <a:pt x="6602" y="24787"/>
                        <a:pt x="5107" y="28275"/>
                        <a:pt x="6103" y="35250"/>
                      </a:cubicBezTo>
                      <a:cubicBezTo>
                        <a:pt x="7100" y="42101"/>
                        <a:pt x="9591" y="47456"/>
                        <a:pt x="11584"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8" name="Freeform 7310">
                  <a:extLst>
                    <a:ext uri="{FF2B5EF4-FFF2-40B4-BE49-F238E27FC236}">
                      <a16:creationId xmlns:a16="http://schemas.microsoft.com/office/drawing/2014/main" id="{64965946-B45F-9BDA-B0F8-FB55467439B6}"/>
                    </a:ext>
                  </a:extLst>
                </p:cNvPr>
                <p:cNvSpPr/>
                <p:nvPr/>
              </p:nvSpPr>
              <p:spPr>
                <a:xfrm>
                  <a:off x="8328516" y="1747045"/>
                  <a:ext cx="26720" cy="26556"/>
                </a:xfrm>
                <a:custGeom>
                  <a:avLst/>
                  <a:gdLst>
                    <a:gd name="connsiteX0" fmla="*/ 281 w 26720"/>
                    <a:gd name="connsiteY0" fmla="*/ 16143 h 26556"/>
                    <a:gd name="connsiteX1" fmla="*/ 10620 w 26720"/>
                    <a:gd name="connsiteY1" fmla="*/ 324 h 26556"/>
                    <a:gd name="connsiteX2" fmla="*/ 26439 w 26720"/>
                    <a:gd name="connsiteY2" fmla="*/ 10414 h 26556"/>
                    <a:gd name="connsiteX3" fmla="*/ 16100 w 26720"/>
                    <a:gd name="connsiteY3" fmla="*/ 26232 h 26556"/>
                    <a:gd name="connsiteX4" fmla="*/ 281 w 2672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56">
                      <a:moveTo>
                        <a:pt x="281" y="16143"/>
                      </a:moveTo>
                      <a:cubicBezTo>
                        <a:pt x="-1213" y="9043"/>
                        <a:pt x="3395" y="1944"/>
                        <a:pt x="10620" y="324"/>
                      </a:cubicBezTo>
                      <a:cubicBezTo>
                        <a:pt x="17844" y="-1295"/>
                        <a:pt x="24944" y="3314"/>
                        <a:pt x="26439" y="10414"/>
                      </a:cubicBezTo>
                      <a:cubicBezTo>
                        <a:pt x="27933" y="17513"/>
                        <a:pt x="23325"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9" name="Freeform 7311">
                  <a:extLst>
                    <a:ext uri="{FF2B5EF4-FFF2-40B4-BE49-F238E27FC236}">
                      <a16:creationId xmlns:a16="http://schemas.microsoft.com/office/drawing/2014/main" id="{08F8C233-5DD3-0BC5-DA52-34C2ACA5B67A}"/>
                    </a:ext>
                  </a:extLst>
                </p:cNvPr>
                <p:cNvSpPr/>
                <p:nvPr/>
              </p:nvSpPr>
              <p:spPr>
                <a:xfrm>
                  <a:off x="8314013" y="1648346"/>
                  <a:ext cx="10617" cy="51068"/>
                </a:xfrm>
                <a:custGeom>
                  <a:avLst/>
                  <a:gdLst>
                    <a:gd name="connsiteX0" fmla="*/ 211 w 10617"/>
                    <a:gd name="connsiteY0" fmla="*/ 0 h 51068"/>
                    <a:gd name="connsiteX1" fmla="*/ 2204 w 10617"/>
                    <a:gd name="connsiteY1" fmla="*/ 18684 h 51068"/>
                    <a:gd name="connsiteX2" fmla="*/ 9055 w 10617"/>
                    <a:gd name="connsiteY2" fmla="*/ 34627 h 51068"/>
                    <a:gd name="connsiteX3" fmla="*/ 10300 w 1061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0"/>
                      </a:moveTo>
                      <a:cubicBezTo>
                        <a:pt x="-536" y="8345"/>
                        <a:pt x="834" y="14573"/>
                        <a:pt x="2204" y="18684"/>
                      </a:cubicBezTo>
                      <a:cubicBezTo>
                        <a:pt x="4447" y="25285"/>
                        <a:pt x="7187" y="27901"/>
                        <a:pt x="9055" y="34627"/>
                      </a:cubicBezTo>
                      <a:cubicBezTo>
                        <a:pt x="10923" y="41229"/>
                        <a:pt x="10798" y="47207"/>
                        <a:pt x="1030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0" name="Freeform 7312">
                  <a:extLst>
                    <a:ext uri="{FF2B5EF4-FFF2-40B4-BE49-F238E27FC236}">
                      <a16:creationId xmlns:a16="http://schemas.microsoft.com/office/drawing/2014/main" id="{0216C699-3A8B-345B-3EC3-70063DA5113E}"/>
                    </a:ext>
                  </a:extLst>
                </p:cNvPr>
                <p:cNvSpPr/>
                <p:nvPr/>
              </p:nvSpPr>
              <p:spPr>
                <a:xfrm>
                  <a:off x="8320078" y="1641869"/>
                  <a:ext cx="11584" cy="50819"/>
                </a:xfrm>
                <a:custGeom>
                  <a:avLst/>
                  <a:gdLst>
                    <a:gd name="connsiteX0" fmla="*/ 11585 w 11584"/>
                    <a:gd name="connsiteY0" fmla="*/ 50820 h 50819"/>
                    <a:gd name="connsiteX1" fmla="*/ 5730 w 11584"/>
                    <a:gd name="connsiteY1" fmla="*/ 33008 h 50819"/>
                    <a:gd name="connsiteX2" fmla="*/ 5481 w 11584"/>
                    <a:gd name="connsiteY2" fmla="*/ 15570 h 50819"/>
                    <a:gd name="connsiteX3" fmla="*/ 0 w 11584"/>
                    <a:gd name="connsiteY3" fmla="*/ 0 h 50819"/>
                  </a:gdLst>
                  <a:ahLst/>
                  <a:cxnLst>
                    <a:cxn ang="0">
                      <a:pos x="connsiteX0" y="connsiteY0"/>
                    </a:cxn>
                    <a:cxn ang="0">
                      <a:pos x="connsiteX1" y="connsiteY1"/>
                    </a:cxn>
                    <a:cxn ang="0">
                      <a:pos x="connsiteX2" y="connsiteY2"/>
                    </a:cxn>
                    <a:cxn ang="0">
                      <a:pos x="connsiteX3" y="connsiteY3"/>
                    </a:cxn>
                  </a:cxnLst>
                  <a:rect l="l" t="t" r="r" b="b"/>
                  <a:pathLst>
                    <a:path w="11584" h="50818">
                      <a:moveTo>
                        <a:pt x="11585" y="50820"/>
                      </a:moveTo>
                      <a:cubicBezTo>
                        <a:pt x="7474" y="43471"/>
                        <a:pt x="6228" y="37243"/>
                        <a:pt x="5730" y="33008"/>
                      </a:cubicBezTo>
                      <a:cubicBezTo>
                        <a:pt x="4983" y="26033"/>
                        <a:pt x="6477" y="22669"/>
                        <a:pt x="5481" y="15570"/>
                      </a:cubicBezTo>
                      <a:cubicBezTo>
                        <a:pt x="4485"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91" name="Freeform 7313">
                  <a:extLst>
                    <a:ext uri="{FF2B5EF4-FFF2-40B4-BE49-F238E27FC236}">
                      <a16:creationId xmlns:a16="http://schemas.microsoft.com/office/drawing/2014/main" id="{213A2330-B436-CEEE-1D74-30E0CA2723E3}"/>
                    </a:ext>
                  </a:extLst>
                </p:cNvPr>
                <p:cNvSpPr/>
                <p:nvPr/>
              </p:nvSpPr>
              <p:spPr>
                <a:xfrm>
                  <a:off x="8303101" y="1627263"/>
                  <a:ext cx="26357" cy="26601"/>
                </a:xfrm>
                <a:custGeom>
                  <a:avLst/>
                  <a:gdLst>
                    <a:gd name="connsiteX0" fmla="*/ 26071 w 26357"/>
                    <a:gd name="connsiteY0" fmla="*/ 10495 h 26601"/>
                    <a:gd name="connsiteX1" fmla="*/ 15982 w 26357"/>
                    <a:gd name="connsiteY1" fmla="*/ 26314 h 26601"/>
                    <a:gd name="connsiteX2" fmla="*/ 287 w 26357"/>
                    <a:gd name="connsiteY2" fmla="*/ 16100 h 26601"/>
                    <a:gd name="connsiteX3" fmla="*/ 10376 w 26357"/>
                    <a:gd name="connsiteY3" fmla="*/ 282 h 26601"/>
                    <a:gd name="connsiteX4" fmla="*/ 26071 w 26357"/>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601">
                      <a:moveTo>
                        <a:pt x="26071" y="10495"/>
                      </a:moveTo>
                      <a:cubicBezTo>
                        <a:pt x="27565" y="17595"/>
                        <a:pt x="23081" y="24695"/>
                        <a:pt x="15982" y="26314"/>
                      </a:cubicBezTo>
                      <a:cubicBezTo>
                        <a:pt x="8882" y="27809"/>
                        <a:pt x="1906" y="23325"/>
                        <a:pt x="287" y="16100"/>
                      </a:cubicBezTo>
                      <a:cubicBezTo>
                        <a:pt x="-1207" y="9001"/>
                        <a:pt x="3276" y="1901"/>
                        <a:pt x="10376" y="282"/>
                      </a:cubicBezTo>
                      <a:cubicBezTo>
                        <a:pt x="17601" y="-1213"/>
                        <a:pt x="24576" y="3395"/>
                        <a:pt x="2607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2" name="Graphic 2987">
                <a:extLst>
                  <a:ext uri="{FF2B5EF4-FFF2-40B4-BE49-F238E27FC236}">
                    <a16:creationId xmlns:a16="http://schemas.microsoft.com/office/drawing/2014/main" id="{2E66452B-DB8F-B39E-34B0-296E24743A4C}"/>
                  </a:ext>
                </a:extLst>
              </p:cNvPr>
              <p:cNvGrpSpPr/>
              <p:nvPr/>
            </p:nvGrpSpPr>
            <p:grpSpPr>
              <a:xfrm>
                <a:off x="8274334" y="1633610"/>
                <a:ext cx="51755" cy="146343"/>
                <a:chOff x="8274334" y="1633610"/>
                <a:chExt cx="51755" cy="146343"/>
              </a:xfrm>
              <a:grpFill/>
            </p:grpSpPr>
            <p:sp>
              <p:nvSpPr>
                <p:cNvPr id="6780" name="Freeform 7315">
                  <a:extLst>
                    <a:ext uri="{FF2B5EF4-FFF2-40B4-BE49-F238E27FC236}">
                      <a16:creationId xmlns:a16="http://schemas.microsoft.com/office/drawing/2014/main" id="{B47852E1-3263-C05E-3854-A89CF0B291E7}"/>
                    </a:ext>
                  </a:extLst>
                </p:cNvPr>
                <p:cNvSpPr/>
                <p:nvPr/>
              </p:nvSpPr>
              <p:spPr>
                <a:xfrm>
                  <a:off x="8304565" y="1707884"/>
                  <a:ext cx="10506" cy="51068"/>
                </a:xfrm>
                <a:custGeom>
                  <a:avLst/>
                  <a:gdLst>
                    <a:gd name="connsiteX0" fmla="*/ 10282 w 10506"/>
                    <a:gd name="connsiteY0" fmla="*/ 51069 h 51068"/>
                    <a:gd name="connsiteX1" fmla="*/ 8414 w 10506"/>
                    <a:gd name="connsiteY1" fmla="*/ 32385 h 51068"/>
                    <a:gd name="connsiteX2" fmla="*/ 1563 w 10506"/>
                    <a:gd name="connsiteY2" fmla="*/ 16442 h 51068"/>
                    <a:gd name="connsiteX3" fmla="*/ 317 w 10506"/>
                    <a:gd name="connsiteY3" fmla="*/ 0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51069"/>
                      </a:moveTo>
                      <a:cubicBezTo>
                        <a:pt x="11029" y="42723"/>
                        <a:pt x="9784" y="36495"/>
                        <a:pt x="8414" y="32385"/>
                      </a:cubicBezTo>
                      <a:cubicBezTo>
                        <a:pt x="6171" y="25783"/>
                        <a:pt x="3556" y="23168"/>
                        <a:pt x="1563" y="16442"/>
                      </a:cubicBezTo>
                      <a:cubicBezTo>
                        <a:pt x="-305" y="9840"/>
                        <a:pt x="-181" y="3861"/>
                        <a:pt x="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1" name="Freeform 7316">
                  <a:extLst>
                    <a:ext uri="{FF2B5EF4-FFF2-40B4-BE49-F238E27FC236}">
                      <a16:creationId xmlns:a16="http://schemas.microsoft.com/office/drawing/2014/main" id="{23A14CEF-6F50-A4AC-7ACA-E7A6C90278E7}"/>
                    </a:ext>
                  </a:extLst>
                </p:cNvPr>
                <p:cNvSpPr/>
                <p:nvPr/>
              </p:nvSpPr>
              <p:spPr>
                <a:xfrm>
                  <a:off x="8297533" y="1714486"/>
                  <a:ext cx="11335" cy="50944"/>
                </a:xfrm>
                <a:custGeom>
                  <a:avLst/>
                  <a:gdLst>
                    <a:gd name="connsiteX0" fmla="*/ 0 w 11335"/>
                    <a:gd name="connsiteY0" fmla="*/ 0 h 50944"/>
                    <a:gd name="connsiteX1" fmla="*/ 5730 w 11335"/>
                    <a:gd name="connsiteY1" fmla="*/ 17936 h 50944"/>
                    <a:gd name="connsiteX2" fmla="*/ 5855 w 11335"/>
                    <a:gd name="connsiteY2" fmla="*/ 35374 h 50944"/>
                    <a:gd name="connsiteX3" fmla="*/ 11335 w 1133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5" h="50944">
                      <a:moveTo>
                        <a:pt x="0" y="0"/>
                      </a:moveTo>
                      <a:cubicBezTo>
                        <a:pt x="4111" y="7349"/>
                        <a:pt x="5357" y="13577"/>
                        <a:pt x="5730" y="17936"/>
                      </a:cubicBezTo>
                      <a:cubicBezTo>
                        <a:pt x="6353" y="24912"/>
                        <a:pt x="4983" y="28399"/>
                        <a:pt x="5855" y="35374"/>
                      </a:cubicBezTo>
                      <a:cubicBezTo>
                        <a:pt x="6727"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2" name="Freeform 7317">
                  <a:extLst>
                    <a:ext uri="{FF2B5EF4-FFF2-40B4-BE49-F238E27FC236}">
                      <a16:creationId xmlns:a16="http://schemas.microsoft.com/office/drawing/2014/main" id="{0A4986DC-DDC3-0FC1-3A43-57380FF176F7}"/>
                    </a:ext>
                  </a:extLst>
                </p:cNvPr>
                <p:cNvSpPr/>
                <p:nvPr/>
              </p:nvSpPr>
              <p:spPr>
                <a:xfrm>
                  <a:off x="8299370" y="1753397"/>
                  <a:ext cx="26719" cy="26556"/>
                </a:xfrm>
                <a:custGeom>
                  <a:avLst/>
                  <a:gdLst>
                    <a:gd name="connsiteX0" fmla="*/ 281 w 26719"/>
                    <a:gd name="connsiteY0" fmla="*/ 16143 h 26556"/>
                    <a:gd name="connsiteX1" fmla="*/ 10619 w 26719"/>
                    <a:gd name="connsiteY1" fmla="*/ 324 h 26556"/>
                    <a:gd name="connsiteX2" fmla="*/ 26438 w 26719"/>
                    <a:gd name="connsiteY2" fmla="*/ 10414 h 26556"/>
                    <a:gd name="connsiteX3" fmla="*/ 16100 w 26719"/>
                    <a:gd name="connsiteY3" fmla="*/ 26232 h 26556"/>
                    <a:gd name="connsiteX4" fmla="*/ 281 w 26719"/>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56">
                      <a:moveTo>
                        <a:pt x="281" y="16143"/>
                      </a:moveTo>
                      <a:cubicBezTo>
                        <a:pt x="-1213" y="8919"/>
                        <a:pt x="3395" y="1944"/>
                        <a:pt x="10619" y="324"/>
                      </a:cubicBezTo>
                      <a:cubicBezTo>
                        <a:pt x="17844" y="-1295"/>
                        <a:pt x="24943" y="3314"/>
                        <a:pt x="26438" y="10414"/>
                      </a:cubicBezTo>
                      <a:cubicBezTo>
                        <a:pt x="27933" y="17513"/>
                        <a:pt x="23324" y="24613"/>
                        <a:pt x="16100" y="26232"/>
                      </a:cubicBezTo>
                      <a:cubicBezTo>
                        <a:pt x="8876" y="27852"/>
                        <a:pt x="1776" y="23243"/>
                        <a:pt x="28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3" name="Freeform 7318">
                  <a:extLst>
                    <a:ext uri="{FF2B5EF4-FFF2-40B4-BE49-F238E27FC236}">
                      <a16:creationId xmlns:a16="http://schemas.microsoft.com/office/drawing/2014/main" id="{5C1F0381-0F26-0B9F-A2B3-612C2B7AFE32}"/>
                    </a:ext>
                  </a:extLst>
                </p:cNvPr>
                <p:cNvSpPr/>
                <p:nvPr/>
              </p:nvSpPr>
              <p:spPr>
                <a:xfrm>
                  <a:off x="8285227" y="1654574"/>
                  <a:ext cx="10506" cy="51068"/>
                </a:xfrm>
                <a:custGeom>
                  <a:avLst/>
                  <a:gdLst>
                    <a:gd name="connsiteX0" fmla="*/ 225 w 10506"/>
                    <a:gd name="connsiteY0" fmla="*/ 0 h 51068"/>
                    <a:gd name="connsiteX1" fmla="*/ 2093 w 10506"/>
                    <a:gd name="connsiteY1" fmla="*/ 18684 h 51068"/>
                    <a:gd name="connsiteX2" fmla="*/ 8944 w 10506"/>
                    <a:gd name="connsiteY2" fmla="*/ 34627 h 51068"/>
                    <a:gd name="connsiteX3" fmla="*/ 10189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225" y="0"/>
                      </a:moveTo>
                      <a:cubicBezTo>
                        <a:pt x="-523" y="8345"/>
                        <a:pt x="722" y="14573"/>
                        <a:pt x="2093" y="18684"/>
                      </a:cubicBezTo>
                      <a:cubicBezTo>
                        <a:pt x="4335" y="25285"/>
                        <a:pt x="6950" y="27901"/>
                        <a:pt x="8944" y="34627"/>
                      </a:cubicBezTo>
                      <a:cubicBezTo>
                        <a:pt x="10812" y="41229"/>
                        <a:pt x="10688" y="47207"/>
                        <a:pt x="10189"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4" name="Freeform 7319">
                  <a:extLst>
                    <a:ext uri="{FF2B5EF4-FFF2-40B4-BE49-F238E27FC236}">
                      <a16:creationId xmlns:a16="http://schemas.microsoft.com/office/drawing/2014/main" id="{F7322BAA-786B-4654-9B17-A0B43339917C}"/>
                    </a:ext>
                  </a:extLst>
                </p:cNvPr>
                <p:cNvSpPr/>
                <p:nvPr/>
              </p:nvSpPr>
              <p:spPr>
                <a:xfrm>
                  <a:off x="8291182" y="1648097"/>
                  <a:ext cx="11459" cy="50944"/>
                </a:xfrm>
                <a:custGeom>
                  <a:avLst/>
                  <a:gdLst>
                    <a:gd name="connsiteX0" fmla="*/ 11459 w 11459"/>
                    <a:gd name="connsiteY0" fmla="*/ 50944 h 50944"/>
                    <a:gd name="connsiteX1" fmla="*/ 5729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8" y="43595"/>
                        <a:pt x="6103" y="37367"/>
                        <a:pt x="5729" y="33008"/>
                      </a:cubicBezTo>
                      <a:cubicBezTo>
                        <a:pt x="5107" y="26033"/>
                        <a:pt x="6476" y="22545"/>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85" name="Freeform 7320">
                  <a:extLst>
                    <a:ext uri="{FF2B5EF4-FFF2-40B4-BE49-F238E27FC236}">
                      <a16:creationId xmlns:a16="http://schemas.microsoft.com/office/drawing/2014/main" id="{276C2528-B365-BC2B-6663-9BB1A0059DBA}"/>
                    </a:ext>
                  </a:extLst>
                </p:cNvPr>
                <p:cNvSpPr/>
                <p:nvPr/>
              </p:nvSpPr>
              <p:spPr>
                <a:xfrm>
                  <a:off x="8274334" y="1633610"/>
                  <a:ext cx="26351" cy="26606"/>
                </a:xfrm>
                <a:custGeom>
                  <a:avLst/>
                  <a:gdLst>
                    <a:gd name="connsiteX0" fmla="*/ 26065 w 26351"/>
                    <a:gd name="connsiteY0" fmla="*/ 10501 h 26606"/>
                    <a:gd name="connsiteX1" fmla="*/ 15851 w 26351"/>
                    <a:gd name="connsiteY1" fmla="*/ 26319 h 26606"/>
                    <a:gd name="connsiteX2" fmla="*/ 282 w 26351"/>
                    <a:gd name="connsiteY2" fmla="*/ 16106 h 26606"/>
                    <a:gd name="connsiteX3" fmla="*/ 10495 w 26351"/>
                    <a:gd name="connsiteY3" fmla="*/ 287 h 26606"/>
                    <a:gd name="connsiteX4" fmla="*/ 26065 w 26351"/>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6">
                      <a:moveTo>
                        <a:pt x="26065" y="10501"/>
                      </a:moveTo>
                      <a:cubicBezTo>
                        <a:pt x="27560" y="17600"/>
                        <a:pt x="23076"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3" name="Graphic 2987">
                <a:extLst>
                  <a:ext uri="{FF2B5EF4-FFF2-40B4-BE49-F238E27FC236}">
                    <a16:creationId xmlns:a16="http://schemas.microsoft.com/office/drawing/2014/main" id="{4B6EE1EC-B4B6-A47E-58F1-42F62A8CDF65}"/>
                  </a:ext>
                </a:extLst>
              </p:cNvPr>
              <p:cNvGrpSpPr/>
              <p:nvPr/>
            </p:nvGrpSpPr>
            <p:grpSpPr>
              <a:xfrm>
                <a:off x="8245561" y="1639838"/>
                <a:ext cx="51257" cy="146468"/>
                <a:chOff x="8245561" y="1639838"/>
                <a:chExt cx="51257" cy="146468"/>
              </a:xfrm>
              <a:grpFill/>
            </p:grpSpPr>
            <p:sp>
              <p:nvSpPr>
                <p:cNvPr id="6774" name="Freeform 7322">
                  <a:extLst>
                    <a:ext uri="{FF2B5EF4-FFF2-40B4-BE49-F238E27FC236}">
                      <a16:creationId xmlns:a16="http://schemas.microsoft.com/office/drawing/2014/main" id="{B3E8283F-1055-4D57-26DF-1157F8A83AC7}"/>
                    </a:ext>
                  </a:extLst>
                </p:cNvPr>
                <p:cNvSpPr/>
                <p:nvPr/>
              </p:nvSpPr>
              <p:spPr>
                <a:xfrm>
                  <a:off x="8275473" y="1714237"/>
                  <a:ext cx="10452" cy="51068"/>
                </a:xfrm>
                <a:custGeom>
                  <a:avLst/>
                  <a:gdLst>
                    <a:gd name="connsiteX0" fmla="*/ 10228 w 10452"/>
                    <a:gd name="connsiteY0" fmla="*/ 51069 h 51068"/>
                    <a:gd name="connsiteX1" fmla="*/ 8359 w 10452"/>
                    <a:gd name="connsiteY1" fmla="*/ 32385 h 51068"/>
                    <a:gd name="connsiteX2" fmla="*/ 1509 w 10452"/>
                    <a:gd name="connsiteY2" fmla="*/ 16442 h 51068"/>
                    <a:gd name="connsiteX3" fmla="*/ 263 w 10452"/>
                    <a:gd name="connsiteY3" fmla="*/ 0 h 51068"/>
                  </a:gdLst>
                  <a:ahLst/>
                  <a:cxnLst>
                    <a:cxn ang="0">
                      <a:pos x="connsiteX0" y="connsiteY0"/>
                    </a:cxn>
                    <a:cxn ang="0">
                      <a:pos x="connsiteX1" y="connsiteY1"/>
                    </a:cxn>
                    <a:cxn ang="0">
                      <a:pos x="connsiteX2" y="connsiteY2"/>
                    </a:cxn>
                    <a:cxn ang="0">
                      <a:pos x="connsiteX3" y="connsiteY3"/>
                    </a:cxn>
                  </a:cxnLst>
                  <a:rect l="l" t="t" r="r" b="b"/>
                  <a:pathLst>
                    <a:path w="10452" h="51068">
                      <a:moveTo>
                        <a:pt x="10228" y="51069"/>
                      </a:moveTo>
                      <a:cubicBezTo>
                        <a:pt x="10975" y="42723"/>
                        <a:pt x="9729" y="36495"/>
                        <a:pt x="8359" y="32385"/>
                      </a:cubicBezTo>
                      <a:cubicBezTo>
                        <a:pt x="6242" y="25783"/>
                        <a:pt x="3501" y="23168"/>
                        <a:pt x="1509" y="16442"/>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5" name="Freeform 7323">
                  <a:extLst>
                    <a:ext uri="{FF2B5EF4-FFF2-40B4-BE49-F238E27FC236}">
                      <a16:creationId xmlns:a16="http://schemas.microsoft.com/office/drawing/2014/main" id="{37416A71-17B6-19F7-1F3B-B20629A58E7C}"/>
                    </a:ext>
                  </a:extLst>
                </p:cNvPr>
                <p:cNvSpPr/>
                <p:nvPr/>
              </p:nvSpPr>
              <p:spPr>
                <a:xfrm>
                  <a:off x="8268512" y="1720838"/>
                  <a:ext cx="11334" cy="50944"/>
                </a:xfrm>
                <a:custGeom>
                  <a:avLst/>
                  <a:gdLst>
                    <a:gd name="connsiteX0" fmla="*/ 0 w 11334"/>
                    <a:gd name="connsiteY0" fmla="*/ 0 h 50944"/>
                    <a:gd name="connsiteX1" fmla="*/ 5729 w 11334"/>
                    <a:gd name="connsiteY1" fmla="*/ 17936 h 50944"/>
                    <a:gd name="connsiteX2" fmla="*/ 5854 w 11334"/>
                    <a:gd name="connsiteY2" fmla="*/ 35374 h 50944"/>
                    <a:gd name="connsiteX3" fmla="*/ 11334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29" y="17936"/>
                      </a:cubicBezTo>
                      <a:cubicBezTo>
                        <a:pt x="6353" y="24912"/>
                        <a:pt x="4857" y="28399"/>
                        <a:pt x="5854" y="35374"/>
                      </a:cubicBezTo>
                      <a:cubicBezTo>
                        <a:pt x="6726" y="42225"/>
                        <a:pt x="9342" y="47581"/>
                        <a:pt x="1133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6" name="Freeform 7324">
                  <a:extLst>
                    <a:ext uri="{FF2B5EF4-FFF2-40B4-BE49-F238E27FC236}">
                      <a16:creationId xmlns:a16="http://schemas.microsoft.com/office/drawing/2014/main" id="{3A294BE0-04C2-3BF2-08AE-8F9DBC492A2F}"/>
                    </a:ext>
                  </a:extLst>
                </p:cNvPr>
                <p:cNvSpPr/>
                <p:nvPr/>
              </p:nvSpPr>
              <p:spPr>
                <a:xfrm>
                  <a:off x="8270228" y="1759749"/>
                  <a:ext cx="26590" cy="26556"/>
                </a:xfrm>
                <a:custGeom>
                  <a:avLst/>
                  <a:gdLst>
                    <a:gd name="connsiteX0" fmla="*/ 276 w 26590"/>
                    <a:gd name="connsiteY0" fmla="*/ 16143 h 26556"/>
                    <a:gd name="connsiteX1" fmla="*/ 10615 w 26590"/>
                    <a:gd name="connsiteY1" fmla="*/ 324 h 26556"/>
                    <a:gd name="connsiteX2" fmla="*/ 26309 w 26590"/>
                    <a:gd name="connsiteY2" fmla="*/ 10414 h 26556"/>
                    <a:gd name="connsiteX3" fmla="*/ 15970 w 26590"/>
                    <a:gd name="connsiteY3" fmla="*/ 26232 h 26556"/>
                    <a:gd name="connsiteX4" fmla="*/ 276 w 26590"/>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0" h="26556">
                      <a:moveTo>
                        <a:pt x="276" y="16143"/>
                      </a:moveTo>
                      <a:cubicBezTo>
                        <a:pt x="-1219" y="8919"/>
                        <a:pt x="3515" y="1944"/>
                        <a:pt x="10615" y="324"/>
                      </a:cubicBezTo>
                      <a:cubicBezTo>
                        <a:pt x="17839" y="-1295"/>
                        <a:pt x="24814" y="3314"/>
                        <a:pt x="26309" y="10414"/>
                      </a:cubicBezTo>
                      <a:cubicBezTo>
                        <a:pt x="27804" y="17638"/>
                        <a:pt x="23195" y="24613"/>
                        <a:pt x="15970" y="26232"/>
                      </a:cubicBezTo>
                      <a:cubicBezTo>
                        <a:pt x="8746" y="27852"/>
                        <a:pt x="1646" y="23243"/>
                        <a:pt x="276"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7" name="Freeform 7325">
                  <a:extLst>
                    <a:ext uri="{FF2B5EF4-FFF2-40B4-BE49-F238E27FC236}">
                      <a16:creationId xmlns:a16="http://schemas.microsoft.com/office/drawing/2014/main" id="{A2E9C742-4C7E-A973-D954-D7C89B07F615}"/>
                    </a:ext>
                  </a:extLst>
                </p:cNvPr>
                <p:cNvSpPr/>
                <p:nvPr/>
              </p:nvSpPr>
              <p:spPr>
                <a:xfrm>
                  <a:off x="8256454" y="1660802"/>
                  <a:ext cx="10327" cy="51068"/>
                </a:xfrm>
                <a:custGeom>
                  <a:avLst/>
                  <a:gdLst>
                    <a:gd name="connsiteX0" fmla="*/ 225 w 10327"/>
                    <a:gd name="connsiteY0" fmla="*/ 0 h 51068"/>
                    <a:gd name="connsiteX1" fmla="*/ 2093 w 10327"/>
                    <a:gd name="connsiteY1" fmla="*/ 18684 h 51068"/>
                    <a:gd name="connsiteX2" fmla="*/ 8819 w 10327"/>
                    <a:gd name="connsiteY2" fmla="*/ 34627 h 51068"/>
                    <a:gd name="connsiteX3" fmla="*/ 10064 w 1032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327" h="51068">
                      <a:moveTo>
                        <a:pt x="225" y="0"/>
                      </a:moveTo>
                      <a:cubicBezTo>
                        <a:pt x="-523" y="8345"/>
                        <a:pt x="722" y="14573"/>
                        <a:pt x="2093" y="18684"/>
                      </a:cubicBezTo>
                      <a:cubicBezTo>
                        <a:pt x="4210" y="25285"/>
                        <a:pt x="6950" y="27901"/>
                        <a:pt x="8819" y="34627"/>
                      </a:cubicBezTo>
                      <a:cubicBezTo>
                        <a:pt x="10687" y="41229"/>
                        <a:pt x="10438" y="47207"/>
                        <a:pt x="10064"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8" name="Freeform 7326">
                  <a:extLst>
                    <a:ext uri="{FF2B5EF4-FFF2-40B4-BE49-F238E27FC236}">
                      <a16:creationId xmlns:a16="http://schemas.microsoft.com/office/drawing/2014/main" id="{E2E6B151-1BC1-A151-B8CC-48469337D725}"/>
                    </a:ext>
                  </a:extLst>
                </p:cNvPr>
                <p:cNvSpPr/>
                <p:nvPr/>
              </p:nvSpPr>
              <p:spPr>
                <a:xfrm>
                  <a:off x="8262533" y="1654449"/>
                  <a:ext cx="11210" cy="50944"/>
                </a:xfrm>
                <a:custGeom>
                  <a:avLst/>
                  <a:gdLst>
                    <a:gd name="connsiteX0" fmla="*/ 11210 w 11210"/>
                    <a:gd name="connsiteY0" fmla="*/ 50944 h 50944"/>
                    <a:gd name="connsiteX1" fmla="*/ 5481 w 11210"/>
                    <a:gd name="connsiteY1" fmla="*/ 33008 h 50944"/>
                    <a:gd name="connsiteX2" fmla="*/ 5357 w 11210"/>
                    <a:gd name="connsiteY2" fmla="*/ 15570 h 50944"/>
                    <a:gd name="connsiteX3" fmla="*/ 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50944"/>
                      </a:moveTo>
                      <a:cubicBezTo>
                        <a:pt x="7100" y="43595"/>
                        <a:pt x="5855" y="37367"/>
                        <a:pt x="5481" y="33008"/>
                      </a:cubicBezTo>
                      <a:cubicBezTo>
                        <a:pt x="4858" y="26033"/>
                        <a:pt x="6353" y="22545"/>
                        <a:pt x="5357" y="15570"/>
                      </a:cubicBezTo>
                      <a:cubicBezTo>
                        <a:pt x="4485" y="8719"/>
                        <a:pt x="1869"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9" name="Freeform 7327">
                  <a:extLst>
                    <a:ext uri="{FF2B5EF4-FFF2-40B4-BE49-F238E27FC236}">
                      <a16:creationId xmlns:a16="http://schemas.microsoft.com/office/drawing/2014/main" id="{9323F6DF-877D-24D8-CA15-B87700F91D42}"/>
                    </a:ext>
                  </a:extLst>
                </p:cNvPr>
                <p:cNvSpPr/>
                <p:nvPr/>
              </p:nvSpPr>
              <p:spPr>
                <a:xfrm>
                  <a:off x="8245561" y="1639838"/>
                  <a:ext cx="26346" cy="26606"/>
                </a:xfrm>
                <a:custGeom>
                  <a:avLst/>
                  <a:gdLst>
                    <a:gd name="connsiteX0" fmla="*/ 26065 w 26346"/>
                    <a:gd name="connsiteY0" fmla="*/ 10501 h 26606"/>
                    <a:gd name="connsiteX1" fmla="*/ 15851 w 26346"/>
                    <a:gd name="connsiteY1" fmla="*/ 26319 h 26606"/>
                    <a:gd name="connsiteX2" fmla="*/ 282 w 26346"/>
                    <a:gd name="connsiteY2" fmla="*/ 16106 h 26606"/>
                    <a:gd name="connsiteX3" fmla="*/ 10495 w 26346"/>
                    <a:gd name="connsiteY3" fmla="*/ 287 h 26606"/>
                    <a:gd name="connsiteX4" fmla="*/ 26065 w 26346"/>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0501"/>
                      </a:moveTo>
                      <a:cubicBezTo>
                        <a:pt x="27560" y="17725"/>
                        <a:pt x="22951" y="24700"/>
                        <a:pt x="15851" y="26319"/>
                      </a:cubicBezTo>
                      <a:cubicBezTo>
                        <a:pt x="8751" y="27814"/>
                        <a:pt x="1776" y="23330"/>
                        <a:pt x="282" y="16106"/>
                      </a:cubicBezTo>
                      <a:cubicBezTo>
                        <a:pt x="-1213" y="8881"/>
                        <a:pt x="3395" y="1906"/>
                        <a:pt x="10495" y="287"/>
                      </a:cubicBezTo>
                      <a:cubicBezTo>
                        <a:pt x="17595" y="-1208"/>
                        <a:pt x="24570" y="3276"/>
                        <a:pt x="26065"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4" name="Graphic 2987">
                <a:extLst>
                  <a:ext uri="{FF2B5EF4-FFF2-40B4-BE49-F238E27FC236}">
                    <a16:creationId xmlns:a16="http://schemas.microsoft.com/office/drawing/2014/main" id="{4D1C97A9-BA26-C253-0121-609332DE8288}"/>
                  </a:ext>
                </a:extLst>
              </p:cNvPr>
              <p:cNvGrpSpPr/>
              <p:nvPr/>
            </p:nvGrpSpPr>
            <p:grpSpPr>
              <a:xfrm>
                <a:off x="8216794" y="1646071"/>
                <a:ext cx="50872" cy="146499"/>
                <a:chOff x="8216794" y="1646071"/>
                <a:chExt cx="50872" cy="146499"/>
              </a:xfrm>
              <a:grpFill/>
            </p:grpSpPr>
            <p:sp>
              <p:nvSpPr>
                <p:cNvPr id="6768" name="Freeform 7329">
                  <a:extLst>
                    <a:ext uri="{FF2B5EF4-FFF2-40B4-BE49-F238E27FC236}">
                      <a16:creationId xmlns:a16="http://schemas.microsoft.com/office/drawing/2014/main" id="{8CED8549-B98E-2AAF-6AB7-BB26527461D5}"/>
                    </a:ext>
                  </a:extLst>
                </p:cNvPr>
                <p:cNvSpPr/>
                <p:nvPr/>
              </p:nvSpPr>
              <p:spPr>
                <a:xfrm>
                  <a:off x="8246604" y="1720340"/>
                  <a:ext cx="10224" cy="51317"/>
                </a:xfrm>
                <a:custGeom>
                  <a:avLst/>
                  <a:gdLst>
                    <a:gd name="connsiteX0" fmla="*/ 9950 w 10224"/>
                    <a:gd name="connsiteY0" fmla="*/ 51318 h 51317"/>
                    <a:gd name="connsiteX1" fmla="*/ 8206 w 10224"/>
                    <a:gd name="connsiteY1" fmla="*/ 32510 h 51317"/>
                    <a:gd name="connsiteX2" fmla="*/ 1480 w 10224"/>
                    <a:gd name="connsiteY2" fmla="*/ 16442 h 51317"/>
                    <a:gd name="connsiteX3" fmla="*/ 359 w 10224"/>
                    <a:gd name="connsiteY3" fmla="*/ 0 h 51317"/>
                  </a:gdLst>
                  <a:ahLst/>
                  <a:cxnLst>
                    <a:cxn ang="0">
                      <a:pos x="connsiteX0" y="connsiteY0"/>
                    </a:cxn>
                    <a:cxn ang="0">
                      <a:pos x="connsiteX1" y="connsiteY1"/>
                    </a:cxn>
                    <a:cxn ang="0">
                      <a:pos x="connsiteX2" y="connsiteY2"/>
                    </a:cxn>
                    <a:cxn ang="0">
                      <a:pos x="connsiteX3" y="connsiteY3"/>
                    </a:cxn>
                  </a:cxnLst>
                  <a:rect l="l" t="t" r="r" b="b"/>
                  <a:pathLst>
                    <a:path w="10224" h="51317">
                      <a:moveTo>
                        <a:pt x="9950" y="51318"/>
                      </a:moveTo>
                      <a:cubicBezTo>
                        <a:pt x="10822" y="42848"/>
                        <a:pt x="9452" y="36745"/>
                        <a:pt x="8206" y="32510"/>
                      </a:cubicBezTo>
                      <a:cubicBezTo>
                        <a:pt x="6089" y="25908"/>
                        <a:pt x="3349"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9" name="Freeform 7330">
                  <a:extLst>
                    <a:ext uri="{FF2B5EF4-FFF2-40B4-BE49-F238E27FC236}">
                      <a16:creationId xmlns:a16="http://schemas.microsoft.com/office/drawing/2014/main" id="{E3C5F699-0080-F774-2B49-687B0CE871B0}"/>
                    </a:ext>
                  </a:extLst>
                </p:cNvPr>
                <p:cNvSpPr/>
                <p:nvPr/>
              </p:nvSpPr>
              <p:spPr>
                <a:xfrm>
                  <a:off x="8239490" y="1727066"/>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1" y="13577"/>
                        <a:pt x="5605" y="17936"/>
                      </a:cubicBezTo>
                      <a:cubicBezTo>
                        <a:pt x="6228" y="24912"/>
                        <a:pt x="4733" y="28275"/>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0" name="Freeform 7331">
                  <a:extLst>
                    <a:ext uri="{FF2B5EF4-FFF2-40B4-BE49-F238E27FC236}">
                      <a16:creationId xmlns:a16="http://schemas.microsoft.com/office/drawing/2014/main" id="{AC6F282B-D9A9-C0E8-56C4-96B92A35D57B}"/>
                    </a:ext>
                  </a:extLst>
                </p:cNvPr>
                <p:cNvSpPr/>
                <p:nvPr/>
              </p:nvSpPr>
              <p:spPr>
                <a:xfrm>
                  <a:off x="8240958" y="1766102"/>
                  <a:ext cx="26708" cy="26468"/>
                </a:xfrm>
                <a:custGeom>
                  <a:avLst/>
                  <a:gdLst>
                    <a:gd name="connsiteX0" fmla="*/ 276 w 26708"/>
                    <a:gd name="connsiteY0" fmla="*/ 15770 h 26468"/>
                    <a:gd name="connsiteX1" fmla="*/ 10738 w 26708"/>
                    <a:gd name="connsiteY1" fmla="*/ 324 h 26468"/>
                    <a:gd name="connsiteX2" fmla="*/ 26433 w 26708"/>
                    <a:gd name="connsiteY2" fmla="*/ 10414 h 26468"/>
                    <a:gd name="connsiteX3" fmla="*/ 15970 w 26708"/>
                    <a:gd name="connsiteY3" fmla="*/ 26232 h 26468"/>
                    <a:gd name="connsiteX4" fmla="*/ 276 w 26708"/>
                    <a:gd name="connsiteY4" fmla="*/ 15770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8">
                      <a:moveTo>
                        <a:pt x="276" y="15770"/>
                      </a:moveTo>
                      <a:cubicBezTo>
                        <a:pt x="-1219" y="8545"/>
                        <a:pt x="3514" y="1695"/>
                        <a:pt x="10738" y="324"/>
                      </a:cubicBezTo>
                      <a:cubicBezTo>
                        <a:pt x="17963" y="-1295"/>
                        <a:pt x="24938" y="3314"/>
                        <a:pt x="26433" y="10414"/>
                      </a:cubicBezTo>
                      <a:cubicBezTo>
                        <a:pt x="27927" y="17638"/>
                        <a:pt x="23194" y="24613"/>
                        <a:pt x="15970" y="26232"/>
                      </a:cubicBezTo>
                      <a:cubicBezTo>
                        <a:pt x="8746" y="27603"/>
                        <a:pt x="1646" y="22869"/>
                        <a:pt x="276" y="15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1" name="Freeform 7332">
                  <a:extLst>
                    <a:ext uri="{FF2B5EF4-FFF2-40B4-BE49-F238E27FC236}">
                      <a16:creationId xmlns:a16="http://schemas.microsoft.com/office/drawing/2014/main" id="{FE015B7A-00C2-E4C9-EA80-FD7A209C015E}"/>
                    </a:ext>
                  </a:extLst>
                </p:cNvPr>
                <p:cNvSpPr/>
                <p:nvPr/>
              </p:nvSpPr>
              <p:spPr>
                <a:xfrm>
                  <a:off x="8227506" y="1667029"/>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5"/>
                        <a:pt x="773" y="14573"/>
                        <a:pt x="2019" y="18684"/>
                      </a:cubicBezTo>
                      <a:cubicBezTo>
                        <a:pt x="4136" y="25410"/>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2" name="Freeform 7333">
                  <a:extLst>
                    <a:ext uri="{FF2B5EF4-FFF2-40B4-BE49-F238E27FC236}">
                      <a16:creationId xmlns:a16="http://schemas.microsoft.com/office/drawing/2014/main" id="{44D6ACB3-5F1D-3EE4-B0EC-82F9BBE07669}"/>
                    </a:ext>
                  </a:extLst>
                </p:cNvPr>
                <p:cNvSpPr/>
                <p:nvPr/>
              </p:nvSpPr>
              <p:spPr>
                <a:xfrm>
                  <a:off x="8233636" y="1660677"/>
                  <a:ext cx="11085" cy="50944"/>
                </a:xfrm>
                <a:custGeom>
                  <a:avLst/>
                  <a:gdLst>
                    <a:gd name="connsiteX0" fmla="*/ 11085 w 11085"/>
                    <a:gd name="connsiteY0" fmla="*/ 50944 h 50944"/>
                    <a:gd name="connsiteX1" fmla="*/ 5480 w 11085"/>
                    <a:gd name="connsiteY1" fmla="*/ 33008 h 50944"/>
                    <a:gd name="connsiteX2" fmla="*/ 5356 w 11085"/>
                    <a:gd name="connsiteY2" fmla="*/ 15570 h 50944"/>
                    <a:gd name="connsiteX3" fmla="*/ 0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11085" y="50944"/>
                      </a:moveTo>
                      <a:cubicBezTo>
                        <a:pt x="7099" y="43595"/>
                        <a:pt x="5854" y="37367"/>
                        <a:pt x="5480" y="33008"/>
                      </a:cubicBezTo>
                      <a:cubicBezTo>
                        <a:pt x="4857" y="26033"/>
                        <a:pt x="6352" y="22545"/>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73" name="Freeform 7334">
                  <a:extLst>
                    <a:ext uri="{FF2B5EF4-FFF2-40B4-BE49-F238E27FC236}">
                      <a16:creationId xmlns:a16="http://schemas.microsoft.com/office/drawing/2014/main" id="{53F4983C-27E6-0793-58F0-D4DC6B5ACEFD}"/>
                    </a:ext>
                  </a:extLst>
                </p:cNvPr>
                <p:cNvSpPr/>
                <p:nvPr/>
              </p:nvSpPr>
              <p:spPr>
                <a:xfrm>
                  <a:off x="8216794" y="1646071"/>
                  <a:ext cx="26341" cy="26550"/>
                </a:xfrm>
                <a:custGeom>
                  <a:avLst/>
                  <a:gdLst>
                    <a:gd name="connsiteX0" fmla="*/ 26060 w 26341"/>
                    <a:gd name="connsiteY0" fmla="*/ 10495 h 26550"/>
                    <a:gd name="connsiteX1" fmla="*/ 15846 w 26341"/>
                    <a:gd name="connsiteY1" fmla="*/ 26314 h 26550"/>
                    <a:gd name="connsiteX2" fmla="*/ 276 w 26341"/>
                    <a:gd name="connsiteY2" fmla="*/ 15727 h 26550"/>
                    <a:gd name="connsiteX3" fmla="*/ 10615 w 26341"/>
                    <a:gd name="connsiteY3" fmla="*/ 282 h 26550"/>
                    <a:gd name="connsiteX4" fmla="*/ 26060 w 26341"/>
                    <a:gd name="connsiteY4" fmla="*/ 10495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1" h="26549">
                      <a:moveTo>
                        <a:pt x="26060" y="10495"/>
                      </a:moveTo>
                      <a:cubicBezTo>
                        <a:pt x="27554" y="17720"/>
                        <a:pt x="22946" y="24695"/>
                        <a:pt x="15846" y="26314"/>
                      </a:cubicBezTo>
                      <a:cubicBezTo>
                        <a:pt x="8746" y="27684"/>
                        <a:pt x="1646" y="22951"/>
                        <a:pt x="276" y="15727"/>
                      </a:cubicBezTo>
                      <a:cubicBezTo>
                        <a:pt x="-1219" y="8502"/>
                        <a:pt x="3515" y="1652"/>
                        <a:pt x="10615" y="282"/>
                      </a:cubicBezTo>
                      <a:cubicBezTo>
                        <a:pt x="17590" y="-1213"/>
                        <a:pt x="24565" y="3396"/>
                        <a:pt x="26060"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5" name="Graphic 2987">
                <a:extLst>
                  <a:ext uri="{FF2B5EF4-FFF2-40B4-BE49-F238E27FC236}">
                    <a16:creationId xmlns:a16="http://schemas.microsoft.com/office/drawing/2014/main" id="{A1D4BC15-1E0D-3680-00F0-87DF77B3F595}"/>
                  </a:ext>
                </a:extLst>
              </p:cNvPr>
              <p:cNvGrpSpPr/>
              <p:nvPr/>
            </p:nvGrpSpPr>
            <p:grpSpPr>
              <a:xfrm>
                <a:off x="8187806" y="1651634"/>
                <a:ext cx="50429" cy="146456"/>
                <a:chOff x="8187806" y="1651634"/>
                <a:chExt cx="50429" cy="146456"/>
              </a:xfrm>
              <a:grpFill/>
            </p:grpSpPr>
            <p:sp>
              <p:nvSpPr>
                <p:cNvPr id="6762" name="Freeform 7336">
                  <a:extLst>
                    <a:ext uri="{FF2B5EF4-FFF2-40B4-BE49-F238E27FC236}">
                      <a16:creationId xmlns:a16="http://schemas.microsoft.com/office/drawing/2014/main" id="{3A719A64-41DD-3388-7D37-8DF7F277501E}"/>
                    </a:ext>
                  </a:extLst>
                </p:cNvPr>
                <p:cNvSpPr/>
                <p:nvPr/>
              </p:nvSpPr>
              <p:spPr>
                <a:xfrm>
                  <a:off x="8217209" y="1726070"/>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9" y="25783"/>
                        <a:pt x="3348" y="23292"/>
                        <a:pt x="1480" y="16442"/>
                      </a:cubicBezTo>
                      <a:cubicBezTo>
                        <a:pt x="-389" y="9840"/>
                        <a:pt x="-139"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3" name="Freeform 7337">
                  <a:extLst>
                    <a:ext uri="{FF2B5EF4-FFF2-40B4-BE49-F238E27FC236}">
                      <a16:creationId xmlns:a16="http://schemas.microsoft.com/office/drawing/2014/main" id="{C7FBCDBE-8123-4241-A799-38A17EA79794}"/>
                    </a:ext>
                  </a:extLst>
                </p:cNvPr>
                <p:cNvSpPr/>
                <p:nvPr/>
              </p:nvSpPr>
              <p:spPr>
                <a:xfrm>
                  <a:off x="8210343" y="1732547"/>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3"/>
                        <a:pt x="5232" y="13701"/>
                        <a:pt x="5605" y="17936"/>
                      </a:cubicBezTo>
                      <a:cubicBezTo>
                        <a:pt x="6228" y="24912"/>
                        <a:pt x="4733" y="28275"/>
                        <a:pt x="5605" y="35374"/>
                      </a:cubicBezTo>
                      <a:cubicBezTo>
                        <a:pt x="6477" y="42225"/>
                        <a:pt x="8969"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4" name="Freeform 7338">
                  <a:extLst>
                    <a:ext uri="{FF2B5EF4-FFF2-40B4-BE49-F238E27FC236}">
                      <a16:creationId xmlns:a16="http://schemas.microsoft.com/office/drawing/2014/main" id="{78FFE05C-5A26-ED3F-3F9F-6805A84465F1}"/>
                    </a:ext>
                  </a:extLst>
                </p:cNvPr>
                <p:cNvSpPr/>
                <p:nvPr/>
              </p:nvSpPr>
              <p:spPr>
                <a:xfrm>
                  <a:off x="8211597" y="1771671"/>
                  <a:ext cx="26638" cy="26420"/>
                </a:xfrm>
                <a:custGeom>
                  <a:avLst/>
                  <a:gdLst>
                    <a:gd name="connsiteX0" fmla="*/ 241 w 26638"/>
                    <a:gd name="connsiteY0" fmla="*/ 15681 h 26420"/>
                    <a:gd name="connsiteX1" fmla="*/ 10703 w 26638"/>
                    <a:gd name="connsiteY1" fmla="*/ 236 h 26420"/>
                    <a:gd name="connsiteX2" fmla="*/ 26398 w 26638"/>
                    <a:gd name="connsiteY2" fmla="*/ 10699 h 26420"/>
                    <a:gd name="connsiteX3" fmla="*/ 15935 w 26638"/>
                    <a:gd name="connsiteY3" fmla="*/ 26144 h 26420"/>
                    <a:gd name="connsiteX4" fmla="*/ 241 w 26638"/>
                    <a:gd name="connsiteY4" fmla="*/ 15681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8" h="26420">
                      <a:moveTo>
                        <a:pt x="241" y="15681"/>
                      </a:moveTo>
                      <a:cubicBezTo>
                        <a:pt x="-1130" y="8457"/>
                        <a:pt x="3479" y="1606"/>
                        <a:pt x="10703" y="236"/>
                      </a:cubicBezTo>
                      <a:cubicBezTo>
                        <a:pt x="17928" y="-1134"/>
                        <a:pt x="25028" y="3599"/>
                        <a:pt x="26398" y="10699"/>
                      </a:cubicBezTo>
                      <a:cubicBezTo>
                        <a:pt x="27768" y="17799"/>
                        <a:pt x="23159" y="24774"/>
                        <a:pt x="15935" y="26144"/>
                      </a:cubicBezTo>
                      <a:cubicBezTo>
                        <a:pt x="8711" y="27639"/>
                        <a:pt x="1736" y="22906"/>
                        <a:pt x="24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5" name="Freeform 7339">
                  <a:extLst>
                    <a:ext uri="{FF2B5EF4-FFF2-40B4-BE49-F238E27FC236}">
                      <a16:creationId xmlns:a16="http://schemas.microsoft.com/office/drawing/2014/main" id="{F6C61EAF-96AE-1324-B31F-E67E3E454538}"/>
                    </a:ext>
                  </a:extLst>
                </p:cNvPr>
                <p:cNvSpPr/>
                <p:nvPr/>
              </p:nvSpPr>
              <p:spPr>
                <a:xfrm>
                  <a:off x="8198594" y="1672510"/>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6" name="Freeform 7340">
                  <a:extLst>
                    <a:ext uri="{FF2B5EF4-FFF2-40B4-BE49-F238E27FC236}">
                      <a16:creationId xmlns:a16="http://schemas.microsoft.com/office/drawing/2014/main" id="{D06C2DF3-554A-C80E-E8B0-992B39E220DD}"/>
                    </a:ext>
                  </a:extLst>
                </p:cNvPr>
                <p:cNvSpPr/>
                <p:nvPr/>
              </p:nvSpPr>
              <p:spPr>
                <a:xfrm>
                  <a:off x="8204739" y="1666157"/>
                  <a:ext cx="10961" cy="51068"/>
                </a:xfrm>
                <a:custGeom>
                  <a:avLst/>
                  <a:gdLst>
                    <a:gd name="connsiteX0" fmla="*/ 10961 w 10961"/>
                    <a:gd name="connsiteY0" fmla="*/ 51069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9"/>
                      </a:moveTo>
                      <a:cubicBezTo>
                        <a:pt x="6975" y="43595"/>
                        <a:pt x="5729" y="37367"/>
                        <a:pt x="5356" y="33132"/>
                      </a:cubicBezTo>
                      <a:cubicBezTo>
                        <a:pt x="4733" y="26157"/>
                        <a:pt x="6228" y="22794"/>
                        <a:pt x="5356" y="15694"/>
                      </a:cubicBezTo>
                      <a:cubicBezTo>
                        <a:pt x="4484"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7" name="Freeform 7341">
                  <a:extLst>
                    <a:ext uri="{FF2B5EF4-FFF2-40B4-BE49-F238E27FC236}">
                      <a16:creationId xmlns:a16="http://schemas.microsoft.com/office/drawing/2014/main" id="{16C0C237-F883-9086-3E65-5F88A95BB4A5}"/>
                    </a:ext>
                  </a:extLst>
                </p:cNvPr>
                <p:cNvSpPr/>
                <p:nvPr/>
              </p:nvSpPr>
              <p:spPr>
                <a:xfrm>
                  <a:off x="8187806" y="1651634"/>
                  <a:ext cx="26425" cy="26467"/>
                </a:xfrm>
                <a:custGeom>
                  <a:avLst/>
                  <a:gdLst>
                    <a:gd name="connsiteX0" fmla="*/ 26149 w 26425"/>
                    <a:gd name="connsiteY0" fmla="*/ 10786 h 26467"/>
                    <a:gd name="connsiteX1" fmla="*/ 15811 w 26425"/>
                    <a:gd name="connsiteY1" fmla="*/ 26231 h 26467"/>
                    <a:gd name="connsiteX2" fmla="*/ 241 w 26425"/>
                    <a:gd name="connsiteY2" fmla="*/ 15644 h 26467"/>
                    <a:gd name="connsiteX3" fmla="*/ 10579 w 26425"/>
                    <a:gd name="connsiteY3" fmla="*/ 199 h 26467"/>
                    <a:gd name="connsiteX4" fmla="*/ 26149 w 26425"/>
                    <a:gd name="connsiteY4" fmla="*/ 1078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467">
                      <a:moveTo>
                        <a:pt x="26149" y="10786"/>
                      </a:moveTo>
                      <a:cubicBezTo>
                        <a:pt x="27644" y="18011"/>
                        <a:pt x="22911" y="24861"/>
                        <a:pt x="15811" y="26231"/>
                      </a:cubicBezTo>
                      <a:cubicBezTo>
                        <a:pt x="8586" y="27602"/>
                        <a:pt x="1736" y="22868"/>
                        <a:pt x="241" y="15644"/>
                      </a:cubicBezTo>
                      <a:cubicBezTo>
                        <a:pt x="-1129" y="8420"/>
                        <a:pt x="3480" y="1569"/>
                        <a:pt x="10579" y="199"/>
                      </a:cubicBezTo>
                      <a:cubicBezTo>
                        <a:pt x="17804" y="-1047"/>
                        <a:pt x="24779" y="3687"/>
                        <a:pt x="26149" y="107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6" name="Graphic 2987">
                <a:extLst>
                  <a:ext uri="{FF2B5EF4-FFF2-40B4-BE49-F238E27FC236}">
                    <a16:creationId xmlns:a16="http://schemas.microsoft.com/office/drawing/2014/main" id="{D3A09F4C-95A5-20ED-9630-48A52BD4FC96}"/>
                  </a:ext>
                </a:extLst>
              </p:cNvPr>
              <p:cNvGrpSpPr/>
              <p:nvPr/>
            </p:nvGrpSpPr>
            <p:grpSpPr>
              <a:xfrm>
                <a:off x="8158909" y="1657078"/>
                <a:ext cx="50175" cy="146702"/>
                <a:chOff x="8158909" y="1657078"/>
                <a:chExt cx="50175" cy="146702"/>
              </a:xfrm>
              <a:grpFill/>
            </p:grpSpPr>
            <p:sp>
              <p:nvSpPr>
                <p:cNvPr id="6756" name="Freeform 7343">
                  <a:extLst>
                    <a:ext uri="{FF2B5EF4-FFF2-40B4-BE49-F238E27FC236}">
                      <a16:creationId xmlns:a16="http://schemas.microsoft.com/office/drawing/2014/main" id="{CFADA226-84A1-C66A-2319-8C89980428B8}"/>
                    </a:ext>
                  </a:extLst>
                </p:cNvPr>
                <p:cNvSpPr/>
                <p:nvPr/>
              </p:nvSpPr>
              <p:spPr>
                <a:xfrm>
                  <a:off x="8188140" y="1731675"/>
                  <a:ext cx="10038" cy="51193"/>
                </a:xfrm>
                <a:custGeom>
                  <a:avLst/>
                  <a:gdLst>
                    <a:gd name="connsiteX0" fmla="*/ 9747 w 10038"/>
                    <a:gd name="connsiteY0" fmla="*/ 51193 h 51193"/>
                    <a:gd name="connsiteX1" fmla="*/ 8128 w 10038"/>
                    <a:gd name="connsiteY1" fmla="*/ 32510 h 51193"/>
                    <a:gd name="connsiteX2" fmla="*/ 1402 w 10038"/>
                    <a:gd name="connsiteY2" fmla="*/ 16442 h 51193"/>
                    <a:gd name="connsiteX3" fmla="*/ 405 w 10038"/>
                    <a:gd name="connsiteY3" fmla="*/ 0 h 51193"/>
                  </a:gdLst>
                  <a:ahLst/>
                  <a:cxnLst>
                    <a:cxn ang="0">
                      <a:pos x="connsiteX0" y="connsiteY0"/>
                    </a:cxn>
                    <a:cxn ang="0">
                      <a:pos x="connsiteX1" y="connsiteY1"/>
                    </a:cxn>
                    <a:cxn ang="0">
                      <a:pos x="connsiteX2" y="connsiteY2"/>
                    </a:cxn>
                    <a:cxn ang="0">
                      <a:pos x="connsiteX3" y="connsiteY3"/>
                    </a:cxn>
                  </a:cxnLst>
                  <a:rect l="l" t="t" r="r" b="b"/>
                  <a:pathLst>
                    <a:path w="10038" h="51193">
                      <a:moveTo>
                        <a:pt x="9747" y="51193"/>
                      </a:moveTo>
                      <a:cubicBezTo>
                        <a:pt x="10619" y="42848"/>
                        <a:pt x="9373" y="36620"/>
                        <a:pt x="8128" y="32510"/>
                      </a:cubicBezTo>
                      <a:cubicBezTo>
                        <a:pt x="6010" y="25783"/>
                        <a:pt x="3270" y="23292"/>
                        <a:pt x="1402" y="16442"/>
                      </a:cubicBezTo>
                      <a:cubicBezTo>
                        <a:pt x="-466" y="9715"/>
                        <a:pt x="-93" y="3861"/>
                        <a:pt x="4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7" name="Freeform 7344">
                  <a:extLst>
                    <a:ext uri="{FF2B5EF4-FFF2-40B4-BE49-F238E27FC236}">
                      <a16:creationId xmlns:a16="http://schemas.microsoft.com/office/drawing/2014/main" id="{09518558-351A-AC20-6134-C1B5F7A4E520}"/>
                    </a:ext>
                  </a:extLst>
                </p:cNvPr>
                <p:cNvSpPr/>
                <p:nvPr/>
              </p:nvSpPr>
              <p:spPr>
                <a:xfrm>
                  <a:off x="8181197" y="1738027"/>
                  <a:ext cx="10711" cy="51068"/>
                </a:xfrm>
                <a:custGeom>
                  <a:avLst/>
                  <a:gdLst>
                    <a:gd name="connsiteX0" fmla="*/ 0 w 10711"/>
                    <a:gd name="connsiteY0" fmla="*/ 0 h 51068"/>
                    <a:gd name="connsiteX1" fmla="*/ 5605 w 10711"/>
                    <a:gd name="connsiteY1" fmla="*/ 17936 h 51068"/>
                    <a:gd name="connsiteX2" fmla="*/ 5481 w 10711"/>
                    <a:gd name="connsiteY2" fmla="*/ 35374 h 51068"/>
                    <a:gd name="connsiteX3" fmla="*/ 10712 w 107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11" h="51068">
                      <a:moveTo>
                        <a:pt x="0" y="0"/>
                      </a:moveTo>
                      <a:cubicBezTo>
                        <a:pt x="3986" y="7473"/>
                        <a:pt x="5231" y="13701"/>
                        <a:pt x="5605" y="17936"/>
                      </a:cubicBezTo>
                      <a:cubicBezTo>
                        <a:pt x="6228" y="24912"/>
                        <a:pt x="4609" y="28275"/>
                        <a:pt x="5481" y="35374"/>
                      </a:cubicBezTo>
                      <a:cubicBezTo>
                        <a:pt x="6353" y="42225"/>
                        <a:pt x="8844" y="47581"/>
                        <a:pt x="107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8" name="Freeform 7345">
                  <a:extLst>
                    <a:ext uri="{FF2B5EF4-FFF2-40B4-BE49-F238E27FC236}">
                      <a16:creationId xmlns:a16="http://schemas.microsoft.com/office/drawing/2014/main" id="{C1F3A277-59FD-2C14-2015-677657419C66}"/>
                    </a:ext>
                  </a:extLst>
                </p:cNvPr>
                <p:cNvSpPr/>
                <p:nvPr/>
              </p:nvSpPr>
              <p:spPr>
                <a:xfrm>
                  <a:off x="8182331" y="1777276"/>
                  <a:ext cx="26753" cy="26504"/>
                </a:xfrm>
                <a:custGeom>
                  <a:avLst/>
                  <a:gdLst>
                    <a:gd name="connsiteX0" fmla="*/ 236 w 26753"/>
                    <a:gd name="connsiteY0" fmla="*/ 15681 h 26504"/>
                    <a:gd name="connsiteX1" fmla="*/ 10824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4" y="236"/>
                      </a:cubicBezTo>
                      <a:cubicBezTo>
                        <a:pt x="18048" y="-1134"/>
                        <a:pt x="25023" y="3599"/>
                        <a:pt x="26517" y="10823"/>
                      </a:cubicBezTo>
                      <a:cubicBezTo>
                        <a:pt x="27888" y="18048"/>
                        <a:pt x="23155" y="24898"/>
                        <a:pt x="15930" y="26269"/>
                      </a:cubicBezTo>
                      <a:cubicBezTo>
                        <a:pt x="8706" y="27639"/>
                        <a:pt x="1606"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9" name="Freeform 7346">
                  <a:extLst>
                    <a:ext uri="{FF2B5EF4-FFF2-40B4-BE49-F238E27FC236}">
                      <a16:creationId xmlns:a16="http://schemas.microsoft.com/office/drawing/2014/main" id="{F64C2395-7AD0-FF5A-F7B1-4BAAA14DCA89}"/>
                    </a:ext>
                  </a:extLst>
                </p:cNvPr>
                <p:cNvSpPr/>
                <p:nvPr/>
              </p:nvSpPr>
              <p:spPr>
                <a:xfrm>
                  <a:off x="8169571" y="1677990"/>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0" y="8345"/>
                        <a:pt x="665" y="14573"/>
                        <a:pt x="1910" y="18684"/>
                      </a:cubicBezTo>
                      <a:cubicBezTo>
                        <a:pt x="4028" y="25410"/>
                        <a:pt x="6644" y="27901"/>
                        <a:pt x="8512" y="34752"/>
                      </a:cubicBezTo>
                      <a:cubicBezTo>
                        <a:pt x="10380"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0" name="Freeform 7347">
                  <a:extLst>
                    <a:ext uri="{FF2B5EF4-FFF2-40B4-BE49-F238E27FC236}">
                      <a16:creationId xmlns:a16="http://schemas.microsoft.com/office/drawing/2014/main" id="{63D4C570-8BA5-8D1A-B3FF-C2619E08C341}"/>
                    </a:ext>
                  </a:extLst>
                </p:cNvPr>
                <p:cNvSpPr/>
                <p:nvPr/>
              </p:nvSpPr>
              <p:spPr>
                <a:xfrm>
                  <a:off x="8175716" y="1671638"/>
                  <a:ext cx="10836" cy="51068"/>
                </a:xfrm>
                <a:custGeom>
                  <a:avLst/>
                  <a:gdLst>
                    <a:gd name="connsiteX0" fmla="*/ 10836 w 10836"/>
                    <a:gd name="connsiteY0" fmla="*/ 51069 h 51068"/>
                    <a:gd name="connsiteX1" fmla="*/ 5231 w 10836"/>
                    <a:gd name="connsiteY1" fmla="*/ 33132 h 51068"/>
                    <a:gd name="connsiteX2" fmla="*/ 5231 w 10836"/>
                    <a:gd name="connsiteY2" fmla="*/ 15694 h 51068"/>
                    <a:gd name="connsiteX3" fmla="*/ 0 w 10836"/>
                    <a:gd name="connsiteY3" fmla="*/ 0 h 51068"/>
                  </a:gdLst>
                  <a:ahLst/>
                  <a:cxnLst>
                    <a:cxn ang="0">
                      <a:pos x="connsiteX0" y="connsiteY0"/>
                    </a:cxn>
                    <a:cxn ang="0">
                      <a:pos x="connsiteX1" y="connsiteY1"/>
                    </a:cxn>
                    <a:cxn ang="0">
                      <a:pos x="connsiteX2" y="connsiteY2"/>
                    </a:cxn>
                    <a:cxn ang="0">
                      <a:pos x="connsiteX3" y="connsiteY3"/>
                    </a:cxn>
                  </a:cxnLst>
                  <a:rect l="l" t="t" r="r" b="b"/>
                  <a:pathLst>
                    <a:path w="10836" h="51068">
                      <a:moveTo>
                        <a:pt x="10836" y="51069"/>
                      </a:moveTo>
                      <a:cubicBezTo>
                        <a:pt x="6851" y="43595"/>
                        <a:pt x="5605" y="37367"/>
                        <a:pt x="5231" y="33132"/>
                      </a:cubicBezTo>
                      <a:cubicBezTo>
                        <a:pt x="4609" y="26157"/>
                        <a:pt x="6103" y="22794"/>
                        <a:pt x="5231" y="15694"/>
                      </a:cubicBezTo>
                      <a:cubicBezTo>
                        <a:pt x="4359"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61" name="Freeform 7348">
                  <a:extLst>
                    <a:ext uri="{FF2B5EF4-FFF2-40B4-BE49-F238E27FC236}">
                      <a16:creationId xmlns:a16="http://schemas.microsoft.com/office/drawing/2014/main" id="{4005AE03-7558-43CB-DDE2-29D30295467D}"/>
                    </a:ext>
                  </a:extLst>
                </p:cNvPr>
                <p:cNvSpPr/>
                <p:nvPr/>
              </p:nvSpPr>
              <p:spPr>
                <a:xfrm>
                  <a:off x="8158909" y="1657078"/>
                  <a:ext cx="26390" cy="26504"/>
                </a:xfrm>
                <a:custGeom>
                  <a:avLst/>
                  <a:gdLst>
                    <a:gd name="connsiteX0" fmla="*/ 26149 w 26390"/>
                    <a:gd name="connsiteY0" fmla="*/ 10823 h 26504"/>
                    <a:gd name="connsiteX1" fmla="*/ 15811 w 26390"/>
                    <a:gd name="connsiteY1" fmla="*/ 26269 h 26504"/>
                    <a:gd name="connsiteX2" fmla="*/ 241 w 26390"/>
                    <a:gd name="connsiteY2" fmla="*/ 15681 h 26504"/>
                    <a:gd name="connsiteX3" fmla="*/ 10579 w 26390"/>
                    <a:gd name="connsiteY3" fmla="*/ 236 h 26504"/>
                    <a:gd name="connsiteX4" fmla="*/ 26149 w 2639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0" h="26504">
                      <a:moveTo>
                        <a:pt x="26149" y="10823"/>
                      </a:moveTo>
                      <a:cubicBezTo>
                        <a:pt x="27519" y="18048"/>
                        <a:pt x="22911" y="24899"/>
                        <a:pt x="15811" y="26269"/>
                      </a:cubicBezTo>
                      <a:cubicBezTo>
                        <a:pt x="8586" y="27639"/>
                        <a:pt x="1736" y="22906"/>
                        <a:pt x="241" y="15681"/>
                      </a:cubicBezTo>
                      <a:cubicBezTo>
                        <a:pt x="-1129" y="8457"/>
                        <a:pt x="3480" y="1606"/>
                        <a:pt x="10579" y="236"/>
                      </a:cubicBezTo>
                      <a:cubicBezTo>
                        <a:pt x="17679" y="-1134"/>
                        <a:pt x="24655"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7" name="Graphic 2987">
                <a:extLst>
                  <a:ext uri="{FF2B5EF4-FFF2-40B4-BE49-F238E27FC236}">
                    <a16:creationId xmlns:a16="http://schemas.microsoft.com/office/drawing/2014/main" id="{79B46B46-8F56-E7D7-4A6E-6531A919ED53}"/>
                  </a:ext>
                </a:extLst>
              </p:cNvPr>
              <p:cNvGrpSpPr/>
              <p:nvPr/>
            </p:nvGrpSpPr>
            <p:grpSpPr>
              <a:xfrm>
                <a:off x="8129887" y="1662558"/>
                <a:ext cx="49801" cy="146702"/>
                <a:chOff x="8129887" y="1662558"/>
                <a:chExt cx="49801" cy="146702"/>
              </a:xfrm>
              <a:grpFill/>
            </p:grpSpPr>
            <p:sp>
              <p:nvSpPr>
                <p:cNvPr id="6750" name="Freeform 7350">
                  <a:extLst>
                    <a:ext uri="{FF2B5EF4-FFF2-40B4-BE49-F238E27FC236}">
                      <a16:creationId xmlns:a16="http://schemas.microsoft.com/office/drawing/2014/main" id="{C4BFEAA9-0145-F803-9E47-B5DFC484EFD9}"/>
                    </a:ext>
                  </a:extLst>
                </p:cNvPr>
                <p:cNvSpPr/>
                <p:nvPr/>
              </p:nvSpPr>
              <p:spPr>
                <a:xfrm>
                  <a:off x="8159032" y="1737031"/>
                  <a:ext cx="9891" cy="51317"/>
                </a:xfrm>
                <a:custGeom>
                  <a:avLst/>
                  <a:gdLst>
                    <a:gd name="connsiteX0" fmla="*/ 9584 w 9891"/>
                    <a:gd name="connsiteY0" fmla="*/ 51318 h 51317"/>
                    <a:gd name="connsiteX1" fmla="*/ 7965 w 9891"/>
                    <a:gd name="connsiteY1" fmla="*/ 32634 h 51317"/>
                    <a:gd name="connsiteX2" fmla="*/ 1364 w 9891"/>
                    <a:gd name="connsiteY2" fmla="*/ 16442 h 51317"/>
                    <a:gd name="connsiteX3" fmla="*/ 367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51318"/>
                      </a:moveTo>
                      <a:cubicBezTo>
                        <a:pt x="10456" y="42972"/>
                        <a:pt x="9335" y="36745"/>
                        <a:pt x="7965" y="32634"/>
                      </a:cubicBezTo>
                      <a:cubicBezTo>
                        <a:pt x="5847" y="25908"/>
                        <a:pt x="3231" y="23417"/>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1" name="Freeform 7351">
                  <a:extLst>
                    <a:ext uri="{FF2B5EF4-FFF2-40B4-BE49-F238E27FC236}">
                      <a16:creationId xmlns:a16="http://schemas.microsoft.com/office/drawing/2014/main" id="{006050CC-1351-30E6-E52A-FA2FC8917DFE}"/>
                    </a:ext>
                  </a:extLst>
                </p:cNvPr>
                <p:cNvSpPr/>
                <p:nvPr/>
              </p:nvSpPr>
              <p:spPr>
                <a:xfrm>
                  <a:off x="8152050" y="1743508"/>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8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5" y="28275"/>
                        <a:pt x="5356" y="35374"/>
                      </a:cubicBezTo>
                      <a:cubicBezTo>
                        <a:pt x="6228" y="42225"/>
                        <a:pt x="8595" y="47581"/>
                        <a:pt x="1058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2" name="Freeform 7352">
                  <a:extLst>
                    <a:ext uri="{FF2B5EF4-FFF2-40B4-BE49-F238E27FC236}">
                      <a16:creationId xmlns:a16="http://schemas.microsoft.com/office/drawing/2014/main" id="{C0BA3C44-6D7A-2262-29E6-B1A4948B89D2}"/>
                    </a:ext>
                  </a:extLst>
                </p:cNvPr>
                <p:cNvSpPr/>
                <p:nvPr/>
              </p:nvSpPr>
              <p:spPr>
                <a:xfrm>
                  <a:off x="8152935" y="1782757"/>
                  <a:ext cx="26753" cy="26504"/>
                </a:xfrm>
                <a:custGeom>
                  <a:avLst/>
                  <a:gdLst>
                    <a:gd name="connsiteX0" fmla="*/ 236 w 26753"/>
                    <a:gd name="connsiteY0" fmla="*/ 15681 h 26504"/>
                    <a:gd name="connsiteX1" fmla="*/ 10823 w 26753"/>
                    <a:gd name="connsiteY1" fmla="*/ 236 h 26504"/>
                    <a:gd name="connsiteX2" fmla="*/ 26517 w 26753"/>
                    <a:gd name="connsiteY2" fmla="*/ 10823 h 26504"/>
                    <a:gd name="connsiteX3" fmla="*/ 15930 w 26753"/>
                    <a:gd name="connsiteY3" fmla="*/ 26269 h 26504"/>
                    <a:gd name="connsiteX4" fmla="*/ 236 w 26753"/>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5681"/>
                      </a:moveTo>
                      <a:cubicBezTo>
                        <a:pt x="-1134" y="8457"/>
                        <a:pt x="3599" y="1606"/>
                        <a:pt x="10823" y="236"/>
                      </a:cubicBezTo>
                      <a:cubicBezTo>
                        <a:pt x="18048" y="-1134"/>
                        <a:pt x="25023" y="3599"/>
                        <a:pt x="26517" y="10823"/>
                      </a:cubicBezTo>
                      <a:cubicBezTo>
                        <a:pt x="27887" y="18048"/>
                        <a:pt x="23154" y="24898"/>
                        <a:pt x="15930" y="26269"/>
                      </a:cubicBezTo>
                      <a:cubicBezTo>
                        <a:pt x="8706" y="27639"/>
                        <a:pt x="1731"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3" name="Freeform 7353">
                  <a:extLst>
                    <a:ext uri="{FF2B5EF4-FFF2-40B4-BE49-F238E27FC236}">
                      <a16:creationId xmlns:a16="http://schemas.microsoft.com/office/drawing/2014/main" id="{FA3E2453-14E3-59A5-2376-3BFAFAE208DE}"/>
                    </a:ext>
                  </a:extLst>
                </p:cNvPr>
                <p:cNvSpPr/>
                <p:nvPr/>
              </p:nvSpPr>
              <p:spPr>
                <a:xfrm>
                  <a:off x="8140549" y="1683471"/>
                  <a:ext cx="9875" cy="51317"/>
                </a:xfrm>
                <a:custGeom>
                  <a:avLst/>
                  <a:gdLst>
                    <a:gd name="connsiteX0" fmla="*/ 291 w 9875"/>
                    <a:gd name="connsiteY0" fmla="*/ 0 h 51317"/>
                    <a:gd name="connsiteX1" fmla="*/ 1911 w 9875"/>
                    <a:gd name="connsiteY1" fmla="*/ 18684 h 51317"/>
                    <a:gd name="connsiteX2" fmla="*/ 8512 w 9875"/>
                    <a:gd name="connsiteY2" fmla="*/ 34876 h 51317"/>
                    <a:gd name="connsiteX3" fmla="*/ 9509 w 9875"/>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75" h="51317">
                      <a:moveTo>
                        <a:pt x="291" y="0"/>
                      </a:moveTo>
                      <a:cubicBezTo>
                        <a:pt x="-581" y="8345"/>
                        <a:pt x="665" y="14573"/>
                        <a:pt x="1911" y="18684"/>
                      </a:cubicBezTo>
                      <a:cubicBezTo>
                        <a:pt x="4028" y="25410"/>
                        <a:pt x="6644" y="28025"/>
                        <a:pt x="8512" y="34876"/>
                      </a:cubicBezTo>
                      <a:cubicBezTo>
                        <a:pt x="10256" y="41602"/>
                        <a:pt x="10007" y="47456"/>
                        <a:pt x="9509"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4" name="Freeform 7354">
                  <a:extLst>
                    <a:ext uri="{FF2B5EF4-FFF2-40B4-BE49-F238E27FC236}">
                      <a16:creationId xmlns:a16="http://schemas.microsoft.com/office/drawing/2014/main" id="{A3990F9E-EA5D-7DB8-F01E-B4EE584657E4}"/>
                    </a:ext>
                  </a:extLst>
                </p:cNvPr>
                <p:cNvSpPr/>
                <p:nvPr/>
              </p:nvSpPr>
              <p:spPr>
                <a:xfrm>
                  <a:off x="8146819" y="1677243"/>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3" y="22794"/>
                        <a:pt x="5231" y="15694"/>
                      </a:cubicBezTo>
                      <a:cubicBezTo>
                        <a:pt x="4359"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55" name="Freeform 7355">
                  <a:extLst>
                    <a:ext uri="{FF2B5EF4-FFF2-40B4-BE49-F238E27FC236}">
                      <a16:creationId xmlns:a16="http://schemas.microsoft.com/office/drawing/2014/main" id="{2437FF14-EA5A-0E83-9B44-9A30A5A9AB18}"/>
                    </a:ext>
                  </a:extLst>
                </p:cNvPr>
                <p:cNvSpPr/>
                <p:nvPr/>
              </p:nvSpPr>
              <p:spPr>
                <a:xfrm>
                  <a:off x="8129887" y="1662558"/>
                  <a:ext cx="26389" cy="26504"/>
                </a:xfrm>
                <a:custGeom>
                  <a:avLst/>
                  <a:gdLst>
                    <a:gd name="connsiteX0" fmla="*/ 26149 w 26389"/>
                    <a:gd name="connsiteY0" fmla="*/ 10823 h 26504"/>
                    <a:gd name="connsiteX1" fmla="*/ 15687 w 26389"/>
                    <a:gd name="connsiteY1" fmla="*/ 26269 h 26504"/>
                    <a:gd name="connsiteX2" fmla="*/ 241 w 26389"/>
                    <a:gd name="connsiteY2" fmla="*/ 15681 h 26504"/>
                    <a:gd name="connsiteX3" fmla="*/ 10704 w 26389"/>
                    <a:gd name="connsiteY3" fmla="*/ 236 h 26504"/>
                    <a:gd name="connsiteX4" fmla="*/ 26149 w 2638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4">
                      <a:moveTo>
                        <a:pt x="26149" y="10823"/>
                      </a:moveTo>
                      <a:cubicBezTo>
                        <a:pt x="27519" y="18048"/>
                        <a:pt x="22910" y="24898"/>
                        <a:pt x="15687" y="26269"/>
                      </a:cubicBezTo>
                      <a:cubicBezTo>
                        <a:pt x="8462" y="27639"/>
                        <a:pt x="1611" y="22906"/>
                        <a:pt x="241" y="15681"/>
                      </a:cubicBezTo>
                      <a:cubicBezTo>
                        <a:pt x="-1129" y="8457"/>
                        <a:pt x="3479" y="1606"/>
                        <a:pt x="10704" y="236"/>
                      </a:cubicBezTo>
                      <a:cubicBezTo>
                        <a:pt x="17804" y="-1134"/>
                        <a:pt x="24779" y="3599"/>
                        <a:pt x="26149"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8" name="Graphic 2987">
                <a:extLst>
                  <a:ext uri="{FF2B5EF4-FFF2-40B4-BE49-F238E27FC236}">
                    <a16:creationId xmlns:a16="http://schemas.microsoft.com/office/drawing/2014/main" id="{D035B38F-BB36-3298-68B6-B51B330E0335}"/>
                  </a:ext>
                </a:extLst>
              </p:cNvPr>
              <p:cNvGrpSpPr/>
              <p:nvPr/>
            </p:nvGrpSpPr>
            <p:grpSpPr>
              <a:xfrm>
                <a:off x="8100995" y="1668039"/>
                <a:ext cx="49298" cy="146794"/>
                <a:chOff x="8100995" y="1668039"/>
                <a:chExt cx="49298" cy="146794"/>
              </a:xfrm>
              <a:grpFill/>
            </p:grpSpPr>
            <p:sp>
              <p:nvSpPr>
                <p:cNvPr id="6744" name="Freeform 7357">
                  <a:extLst>
                    <a:ext uri="{FF2B5EF4-FFF2-40B4-BE49-F238E27FC236}">
                      <a16:creationId xmlns:a16="http://schemas.microsoft.com/office/drawing/2014/main" id="{108FFB82-8C23-7559-C0C5-C01119F8D7A3}"/>
                    </a:ext>
                  </a:extLst>
                </p:cNvPr>
                <p:cNvSpPr/>
                <p:nvPr/>
              </p:nvSpPr>
              <p:spPr>
                <a:xfrm>
                  <a:off x="8129886" y="1742636"/>
                  <a:ext cx="9821" cy="51317"/>
                </a:xfrm>
                <a:custGeom>
                  <a:avLst/>
                  <a:gdLst>
                    <a:gd name="connsiteX0" fmla="*/ 9460 w 9821"/>
                    <a:gd name="connsiteY0" fmla="*/ 51318 h 51317"/>
                    <a:gd name="connsiteX1" fmla="*/ 7965 w 9821"/>
                    <a:gd name="connsiteY1" fmla="*/ 32634 h 51317"/>
                    <a:gd name="connsiteX2" fmla="*/ 1364 w 9821"/>
                    <a:gd name="connsiteY2" fmla="*/ 16442 h 51317"/>
                    <a:gd name="connsiteX3" fmla="*/ 367 w 9821"/>
                    <a:gd name="connsiteY3" fmla="*/ 0 h 51317"/>
                  </a:gdLst>
                  <a:ahLst/>
                  <a:cxnLst>
                    <a:cxn ang="0">
                      <a:pos x="connsiteX0" y="connsiteY0"/>
                    </a:cxn>
                    <a:cxn ang="0">
                      <a:pos x="connsiteX1" y="connsiteY1"/>
                    </a:cxn>
                    <a:cxn ang="0">
                      <a:pos x="connsiteX2" y="connsiteY2"/>
                    </a:cxn>
                    <a:cxn ang="0">
                      <a:pos x="connsiteX3" y="connsiteY3"/>
                    </a:cxn>
                  </a:cxnLst>
                  <a:rect l="l" t="t" r="r" b="b"/>
                  <a:pathLst>
                    <a:path w="9821" h="51317">
                      <a:moveTo>
                        <a:pt x="9460" y="51318"/>
                      </a:moveTo>
                      <a:cubicBezTo>
                        <a:pt x="10456" y="42972"/>
                        <a:pt x="9211" y="36745"/>
                        <a:pt x="7965" y="32634"/>
                      </a:cubicBezTo>
                      <a:cubicBezTo>
                        <a:pt x="5847" y="25908"/>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5" name="Freeform 7358">
                  <a:extLst>
                    <a:ext uri="{FF2B5EF4-FFF2-40B4-BE49-F238E27FC236}">
                      <a16:creationId xmlns:a16="http://schemas.microsoft.com/office/drawing/2014/main" id="{2B8A9491-5E2D-4DD6-BD81-AF13CEA675A3}"/>
                    </a:ext>
                  </a:extLst>
                </p:cNvPr>
                <p:cNvSpPr/>
                <p:nvPr/>
              </p:nvSpPr>
              <p:spPr>
                <a:xfrm>
                  <a:off x="8122904" y="1749113"/>
                  <a:ext cx="10462" cy="51193"/>
                </a:xfrm>
                <a:custGeom>
                  <a:avLst/>
                  <a:gdLst>
                    <a:gd name="connsiteX0" fmla="*/ 0 w 10462"/>
                    <a:gd name="connsiteY0" fmla="*/ 0 h 51193"/>
                    <a:gd name="connsiteX1" fmla="*/ 5481 w 10462"/>
                    <a:gd name="connsiteY1" fmla="*/ 18061 h 51193"/>
                    <a:gd name="connsiteX2" fmla="*/ 5231 w 10462"/>
                    <a:gd name="connsiteY2" fmla="*/ 35499 h 51193"/>
                    <a:gd name="connsiteX3" fmla="*/ 10462 w 10462"/>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62" h="51193">
                      <a:moveTo>
                        <a:pt x="0" y="0"/>
                      </a:moveTo>
                      <a:cubicBezTo>
                        <a:pt x="3986" y="7473"/>
                        <a:pt x="5107" y="13701"/>
                        <a:pt x="5481" y="18061"/>
                      </a:cubicBezTo>
                      <a:cubicBezTo>
                        <a:pt x="5979" y="25036"/>
                        <a:pt x="4484" y="28399"/>
                        <a:pt x="5231" y="35499"/>
                      </a:cubicBezTo>
                      <a:cubicBezTo>
                        <a:pt x="5979" y="42350"/>
                        <a:pt x="8470" y="47706"/>
                        <a:pt x="10462"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6" name="Freeform 7359">
                  <a:extLst>
                    <a:ext uri="{FF2B5EF4-FFF2-40B4-BE49-F238E27FC236}">
                      <a16:creationId xmlns:a16="http://schemas.microsoft.com/office/drawing/2014/main" id="{4F54D213-D0A3-8423-12B9-40222E407AB9}"/>
                    </a:ext>
                  </a:extLst>
                </p:cNvPr>
                <p:cNvSpPr/>
                <p:nvPr/>
              </p:nvSpPr>
              <p:spPr>
                <a:xfrm>
                  <a:off x="8123664" y="1788362"/>
                  <a:ext cx="26629" cy="26471"/>
                </a:xfrm>
                <a:custGeom>
                  <a:avLst/>
                  <a:gdLst>
                    <a:gd name="connsiteX0" fmla="*/ 236 w 26629"/>
                    <a:gd name="connsiteY0" fmla="*/ 15681 h 26471"/>
                    <a:gd name="connsiteX1" fmla="*/ 10824 w 26629"/>
                    <a:gd name="connsiteY1" fmla="*/ 236 h 26471"/>
                    <a:gd name="connsiteX2" fmla="*/ 26394 w 26629"/>
                    <a:gd name="connsiteY2" fmla="*/ 10824 h 26471"/>
                    <a:gd name="connsiteX3" fmla="*/ 15806 w 26629"/>
                    <a:gd name="connsiteY3" fmla="*/ 26269 h 26471"/>
                    <a:gd name="connsiteX4" fmla="*/ 236 w 26629"/>
                    <a:gd name="connsiteY4" fmla="*/ 15681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36" y="15681"/>
                      </a:moveTo>
                      <a:cubicBezTo>
                        <a:pt x="-1134" y="8457"/>
                        <a:pt x="3599" y="1606"/>
                        <a:pt x="10824" y="236"/>
                      </a:cubicBezTo>
                      <a:cubicBezTo>
                        <a:pt x="18048" y="-1134"/>
                        <a:pt x="25024" y="3599"/>
                        <a:pt x="26394" y="10824"/>
                      </a:cubicBezTo>
                      <a:cubicBezTo>
                        <a:pt x="27764" y="18048"/>
                        <a:pt x="23030" y="24898"/>
                        <a:pt x="15806" y="26269"/>
                      </a:cubicBezTo>
                      <a:cubicBezTo>
                        <a:pt x="8582" y="27514"/>
                        <a:pt x="1607" y="22906"/>
                        <a:pt x="236"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7" name="Freeform 7360">
                  <a:extLst>
                    <a:ext uri="{FF2B5EF4-FFF2-40B4-BE49-F238E27FC236}">
                      <a16:creationId xmlns:a16="http://schemas.microsoft.com/office/drawing/2014/main" id="{727B02E8-82E2-5439-F2EA-AABCE3396F19}"/>
                    </a:ext>
                  </a:extLst>
                </p:cNvPr>
                <p:cNvSpPr/>
                <p:nvPr/>
              </p:nvSpPr>
              <p:spPr>
                <a:xfrm>
                  <a:off x="8111633" y="1688952"/>
                  <a:ext cx="9620" cy="51317"/>
                </a:xfrm>
                <a:custGeom>
                  <a:avLst/>
                  <a:gdLst>
                    <a:gd name="connsiteX0" fmla="*/ 309 w 9620"/>
                    <a:gd name="connsiteY0" fmla="*/ 0 h 51317"/>
                    <a:gd name="connsiteX1" fmla="*/ 1804 w 9620"/>
                    <a:gd name="connsiteY1" fmla="*/ 18684 h 51317"/>
                    <a:gd name="connsiteX2" fmla="*/ 8281 w 9620"/>
                    <a:gd name="connsiteY2" fmla="*/ 34876 h 51317"/>
                    <a:gd name="connsiteX3" fmla="*/ 9153 w 9620"/>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0" h="51317">
                      <a:moveTo>
                        <a:pt x="309" y="0"/>
                      </a:moveTo>
                      <a:cubicBezTo>
                        <a:pt x="-563" y="8345"/>
                        <a:pt x="559" y="14573"/>
                        <a:pt x="1804" y="18684"/>
                      </a:cubicBezTo>
                      <a:cubicBezTo>
                        <a:pt x="3921" y="25410"/>
                        <a:pt x="6537" y="28025"/>
                        <a:pt x="8281" y="34876"/>
                      </a:cubicBezTo>
                      <a:cubicBezTo>
                        <a:pt x="10025" y="41602"/>
                        <a:pt x="9776" y="47456"/>
                        <a:pt x="9153"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8" name="Freeform 7361">
                  <a:extLst>
                    <a:ext uri="{FF2B5EF4-FFF2-40B4-BE49-F238E27FC236}">
                      <a16:creationId xmlns:a16="http://schemas.microsoft.com/office/drawing/2014/main" id="{ECDDB251-8623-A497-2546-01815B0A8380}"/>
                    </a:ext>
                  </a:extLst>
                </p:cNvPr>
                <p:cNvSpPr/>
                <p:nvPr/>
              </p:nvSpPr>
              <p:spPr>
                <a:xfrm>
                  <a:off x="8117672" y="1682599"/>
                  <a:ext cx="10587" cy="51193"/>
                </a:xfrm>
                <a:custGeom>
                  <a:avLst/>
                  <a:gdLst>
                    <a:gd name="connsiteX0" fmla="*/ 10588 w 10587"/>
                    <a:gd name="connsiteY0" fmla="*/ 51193 h 51193"/>
                    <a:gd name="connsiteX1" fmla="*/ 5107 w 10587"/>
                    <a:gd name="connsiteY1" fmla="*/ 33132 h 51193"/>
                    <a:gd name="connsiteX2" fmla="*/ 5232 w 10587"/>
                    <a:gd name="connsiteY2" fmla="*/ 15694 h 51193"/>
                    <a:gd name="connsiteX3" fmla="*/ 0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10588" y="51193"/>
                      </a:moveTo>
                      <a:cubicBezTo>
                        <a:pt x="6602" y="43720"/>
                        <a:pt x="5481" y="37492"/>
                        <a:pt x="5107" y="33132"/>
                      </a:cubicBezTo>
                      <a:cubicBezTo>
                        <a:pt x="4609" y="26157"/>
                        <a:pt x="6104" y="22794"/>
                        <a:pt x="5232" y="15694"/>
                      </a:cubicBezTo>
                      <a:cubicBezTo>
                        <a:pt x="4485" y="8844"/>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9" name="Freeform 7362">
                  <a:extLst>
                    <a:ext uri="{FF2B5EF4-FFF2-40B4-BE49-F238E27FC236}">
                      <a16:creationId xmlns:a16="http://schemas.microsoft.com/office/drawing/2014/main" id="{C7CDFCD7-8547-9DEB-D2F3-C935D9D966F1}"/>
                    </a:ext>
                  </a:extLst>
                </p:cNvPr>
                <p:cNvSpPr/>
                <p:nvPr/>
              </p:nvSpPr>
              <p:spPr>
                <a:xfrm>
                  <a:off x="8100995" y="1668039"/>
                  <a:ext cx="26380" cy="26504"/>
                </a:xfrm>
                <a:custGeom>
                  <a:avLst/>
                  <a:gdLst>
                    <a:gd name="connsiteX0" fmla="*/ 26144 w 26380"/>
                    <a:gd name="connsiteY0" fmla="*/ 10824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4"/>
                      </a:moveTo>
                      <a:cubicBezTo>
                        <a:pt x="27515" y="18048"/>
                        <a:pt x="22781" y="24898"/>
                        <a:pt x="15681" y="26269"/>
                      </a:cubicBezTo>
                      <a:cubicBezTo>
                        <a:pt x="8457" y="27639"/>
                        <a:pt x="1606" y="22906"/>
                        <a:pt x="236" y="15681"/>
                      </a:cubicBezTo>
                      <a:cubicBezTo>
                        <a:pt x="-1134" y="8457"/>
                        <a:pt x="3599" y="1606"/>
                        <a:pt x="10699" y="236"/>
                      </a:cubicBezTo>
                      <a:cubicBezTo>
                        <a:pt x="17799" y="-1134"/>
                        <a:pt x="24774" y="3599"/>
                        <a:pt x="26144"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09" name="Graphic 2987">
                <a:extLst>
                  <a:ext uri="{FF2B5EF4-FFF2-40B4-BE49-F238E27FC236}">
                    <a16:creationId xmlns:a16="http://schemas.microsoft.com/office/drawing/2014/main" id="{BF9FEAB3-65CC-6AD6-FCBC-14A49C4B1682}"/>
                  </a:ext>
                </a:extLst>
              </p:cNvPr>
              <p:cNvGrpSpPr/>
              <p:nvPr/>
            </p:nvGrpSpPr>
            <p:grpSpPr>
              <a:xfrm>
                <a:off x="8071973" y="1673519"/>
                <a:ext cx="49169" cy="146827"/>
                <a:chOff x="8071973" y="1673519"/>
                <a:chExt cx="49169" cy="146827"/>
              </a:xfrm>
              <a:grpFill/>
            </p:grpSpPr>
            <p:sp>
              <p:nvSpPr>
                <p:cNvPr id="6738" name="Freeform 7364">
                  <a:extLst>
                    <a:ext uri="{FF2B5EF4-FFF2-40B4-BE49-F238E27FC236}">
                      <a16:creationId xmlns:a16="http://schemas.microsoft.com/office/drawing/2014/main" id="{2D04E00B-8230-FA55-99AF-ACCCD668E15D}"/>
                    </a:ext>
                  </a:extLst>
                </p:cNvPr>
                <p:cNvSpPr/>
                <p:nvPr/>
              </p:nvSpPr>
              <p:spPr>
                <a:xfrm>
                  <a:off x="8100691" y="1747992"/>
                  <a:ext cx="9621" cy="51442"/>
                </a:xfrm>
                <a:custGeom>
                  <a:avLst/>
                  <a:gdLst>
                    <a:gd name="connsiteX0" fmla="*/ 9259 w 9621"/>
                    <a:gd name="connsiteY0" fmla="*/ 51442 h 51442"/>
                    <a:gd name="connsiteX1" fmla="*/ 7764 w 9621"/>
                    <a:gd name="connsiteY1" fmla="*/ 32634 h 51442"/>
                    <a:gd name="connsiteX2" fmla="*/ 1288 w 9621"/>
                    <a:gd name="connsiteY2" fmla="*/ 16442 h 51442"/>
                    <a:gd name="connsiteX3" fmla="*/ 416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51442"/>
                      </a:moveTo>
                      <a:cubicBezTo>
                        <a:pt x="10256" y="43097"/>
                        <a:pt x="9010" y="36869"/>
                        <a:pt x="7764" y="32634"/>
                      </a:cubicBezTo>
                      <a:cubicBezTo>
                        <a:pt x="5772"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9" name="Freeform 7365">
                  <a:extLst>
                    <a:ext uri="{FF2B5EF4-FFF2-40B4-BE49-F238E27FC236}">
                      <a16:creationId xmlns:a16="http://schemas.microsoft.com/office/drawing/2014/main" id="{52504028-D9C1-0E2E-A1CF-6A4E86D5561F}"/>
                    </a:ext>
                  </a:extLst>
                </p:cNvPr>
                <p:cNvSpPr/>
                <p:nvPr/>
              </p:nvSpPr>
              <p:spPr>
                <a:xfrm>
                  <a:off x="8093757" y="1754593"/>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5107" y="13701"/>
                        <a:pt x="5356" y="18061"/>
                      </a:cubicBezTo>
                      <a:cubicBezTo>
                        <a:pt x="5855" y="25036"/>
                        <a:pt x="4360" y="28399"/>
                        <a:pt x="5107" y="35499"/>
                      </a:cubicBezTo>
                      <a:cubicBezTo>
                        <a:pt x="5855"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0" name="Freeform 7366">
                  <a:extLst>
                    <a:ext uri="{FF2B5EF4-FFF2-40B4-BE49-F238E27FC236}">
                      <a16:creationId xmlns:a16="http://schemas.microsoft.com/office/drawing/2014/main" id="{0746558F-7A20-839E-3EC4-C269C84E0B0C}"/>
                    </a:ext>
                  </a:extLst>
                </p:cNvPr>
                <p:cNvSpPr/>
                <p:nvPr/>
              </p:nvSpPr>
              <p:spPr>
                <a:xfrm>
                  <a:off x="8094398" y="1793842"/>
                  <a:ext cx="26744" cy="26504"/>
                </a:xfrm>
                <a:custGeom>
                  <a:avLst/>
                  <a:gdLst>
                    <a:gd name="connsiteX0" fmla="*/ 231 w 26744"/>
                    <a:gd name="connsiteY0" fmla="*/ 15681 h 26504"/>
                    <a:gd name="connsiteX1" fmla="*/ 10943 w 26744"/>
                    <a:gd name="connsiteY1" fmla="*/ 236 h 26504"/>
                    <a:gd name="connsiteX2" fmla="*/ 26513 w 26744"/>
                    <a:gd name="connsiteY2" fmla="*/ 10823 h 26504"/>
                    <a:gd name="connsiteX3" fmla="*/ 15801 w 26744"/>
                    <a:gd name="connsiteY3" fmla="*/ 26269 h 26504"/>
                    <a:gd name="connsiteX4" fmla="*/ 231 w 26744"/>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04">
                      <a:moveTo>
                        <a:pt x="231" y="15681"/>
                      </a:moveTo>
                      <a:cubicBezTo>
                        <a:pt x="-1139" y="8457"/>
                        <a:pt x="3719" y="1482"/>
                        <a:pt x="10943" y="236"/>
                      </a:cubicBezTo>
                      <a:cubicBezTo>
                        <a:pt x="18168" y="-1134"/>
                        <a:pt x="25143" y="3599"/>
                        <a:pt x="26513" y="10823"/>
                      </a:cubicBezTo>
                      <a:cubicBezTo>
                        <a:pt x="27884" y="18048"/>
                        <a:pt x="23026" y="24898"/>
                        <a:pt x="15801" y="26269"/>
                      </a:cubicBezTo>
                      <a:cubicBezTo>
                        <a:pt x="8453" y="27639"/>
                        <a:pt x="1477" y="22906"/>
                        <a:pt x="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1" name="Freeform 7367">
                  <a:extLst>
                    <a:ext uri="{FF2B5EF4-FFF2-40B4-BE49-F238E27FC236}">
                      <a16:creationId xmlns:a16="http://schemas.microsoft.com/office/drawing/2014/main" id="{B5746061-836F-8957-C6A6-987B4D3E93A3}"/>
                    </a:ext>
                  </a:extLst>
                </p:cNvPr>
                <p:cNvSpPr/>
                <p:nvPr/>
              </p:nvSpPr>
              <p:spPr>
                <a:xfrm>
                  <a:off x="8082559" y="1694432"/>
                  <a:ext cx="9621" cy="51442"/>
                </a:xfrm>
                <a:custGeom>
                  <a:avLst/>
                  <a:gdLst>
                    <a:gd name="connsiteX0" fmla="*/ 362 w 9621"/>
                    <a:gd name="connsiteY0" fmla="*/ 0 h 51442"/>
                    <a:gd name="connsiteX1" fmla="*/ 1857 w 9621"/>
                    <a:gd name="connsiteY1" fmla="*/ 18808 h 51442"/>
                    <a:gd name="connsiteX2" fmla="*/ 8334 w 9621"/>
                    <a:gd name="connsiteY2" fmla="*/ 35001 h 51442"/>
                    <a:gd name="connsiteX3" fmla="*/ 9206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362" y="0"/>
                      </a:moveTo>
                      <a:cubicBezTo>
                        <a:pt x="-635" y="8345"/>
                        <a:pt x="612" y="14573"/>
                        <a:pt x="1857" y="18808"/>
                      </a:cubicBezTo>
                      <a:cubicBezTo>
                        <a:pt x="3850" y="25534"/>
                        <a:pt x="6590" y="28150"/>
                        <a:pt x="8334" y="35001"/>
                      </a:cubicBezTo>
                      <a:cubicBezTo>
                        <a:pt x="10078" y="41727"/>
                        <a:pt x="9704" y="47581"/>
                        <a:pt x="920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2" name="Freeform 7368">
                  <a:extLst>
                    <a:ext uri="{FF2B5EF4-FFF2-40B4-BE49-F238E27FC236}">
                      <a16:creationId xmlns:a16="http://schemas.microsoft.com/office/drawing/2014/main" id="{A0686964-D3F1-FC97-DBC7-CA0BF1EAB70A}"/>
                    </a:ext>
                  </a:extLst>
                </p:cNvPr>
                <p:cNvSpPr/>
                <p:nvPr/>
              </p:nvSpPr>
              <p:spPr>
                <a:xfrm>
                  <a:off x="8089024" y="1688080"/>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5" y="22794"/>
                        <a:pt x="5107" y="15694"/>
                      </a:cubicBezTo>
                      <a:cubicBezTo>
                        <a:pt x="4360"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43" name="Freeform 7369">
                  <a:extLst>
                    <a:ext uri="{FF2B5EF4-FFF2-40B4-BE49-F238E27FC236}">
                      <a16:creationId xmlns:a16="http://schemas.microsoft.com/office/drawing/2014/main" id="{1263BCDD-9F68-0A0C-F389-DA6E83A1AD23}"/>
                    </a:ext>
                  </a:extLst>
                </p:cNvPr>
                <p:cNvSpPr/>
                <p:nvPr/>
              </p:nvSpPr>
              <p:spPr>
                <a:xfrm>
                  <a:off x="8071973" y="1673519"/>
                  <a:ext cx="26380" cy="26504"/>
                </a:xfrm>
                <a:custGeom>
                  <a:avLst/>
                  <a:gdLst>
                    <a:gd name="connsiteX0" fmla="*/ 26144 w 26380"/>
                    <a:gd name="connsiteY0" fmla="*/ 10823 h 26504"/>
                    <a:gd name="connsiteX1" fmla="*/ 15681 w 26380"/>
                    <a:gd name="connsiteY1" fmla="*/ 26269 h 26504"/>
                    <a:gd name="connsiteX2" fmla="*/ 236 w 26380"/>
                    <a:gd name="connsiteY2" fmla="*/ 15681 h 26504"/>
                    <a:gd name="connsiteX3" fmla="*/ 10699 w 26380"/>
                    <a:gd name="connsiteY3" fmla="*/ 236 h 26504"/>
                    <a:gd name="connsiteX4" fmla="*/ 26144 w 26380"/>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144" y="10823"/>
                      </a:moveTo>
                      <a:cubicBezTo>
                        <a:pt x="27514" y="18048"/>
                        <a:pt x="22781" y="24899"/>
                        <a:pt x="15681" y="26269"/>
                      </a:cubicBezTo>
                      <a:cubicBezTo>
                        <a:pt x="8457" y="27639"/>
                        <a:pt x="1606" y="22906"/>
                        <a:pt x="236" y="15681"/>
                      </a:cubicBezTo>
                      <a:cubicBezTo>
                        <a:pt x="-1134" y="8457"/>
                        <a:pt x="3600" y="1606"/>
                        <a:pt x="10699" y="236"/>
                      </a:cubicBezTo>
                      <a:cubicBezTo>
                        <a:pt x="17923" y="-1134"/>
                        <a:pt x="24774" y="3599"/>
                        <a:pt x="26144"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0" name="Graphic 2987">
                <a:extLst>
                  <a:ext uri="{FF2B5EF4-FFF2-40B4-BE49-F238E27FC236}">
                    <a16:creationId xmlns:a16="http://schemas.microsoft.com/office/drawing/2014/main" id="{3C8E60A6-8547-96A2-B1D9-CF7B9AC85A83}"/>
                  </a:ext>
                </a:extLst>
              </p:cNvPr>
              <p:cNvGrpSpPr/>
              <p:nvPr/>
            </p:nvGrpSpPr>
            <p:grpSpPr>
              <a:xfrm>
                <a:off x="8043109" y="1679000"/>
                <a:ext cx="48637" cy="146951"/>
                <a:chOff x="8043109" y="1679000"/>
                <a:chExt cx="48637" cy="146951"/>
              </a:xfrm>
              <a:grpFill/>
            </p:grpSpPr>
            <p:sp>
              <p:nvSpPr>
                <p:cNvPr id="6732" name="Freeform 7371">
                  <a:extLst>
                    <a:ext uri="{FF2B5EF4-FFF2-40B4-BE49-F238E27FC236}">
                      <a16:creationId xmlns:a16="http://schemas.microsoft.com/office/drawing/2014/main" id="{02ABE921-FCBC-38DE-D8BB-E0D64087D49A}"/>
                    </a:ext>
                  </a:extLst>
                </p:cNvPr>
                <p:cNvSpPr/>
                <p:nvPr/>
              </p:nvSpPr>
              <p:spPr>
                <a:xfrm>
                  <a:off x="8071419" y="1753472"/>
                  <a:ext cx="9640" cy="51442"/>
                </a:xfrm>
                <a:custGeom>
                  <a:avLst/>
                  <a:gdLst>
                    <a:gd name="connsiteX0" fmla="*/ 9259 w 9640"/>
                    <a:gd name="connsiteY0" fmla="*/ 51442 h 51442"/>
                    <a:gd name="connsiteX1" fmla="*/ 7765 w 9640"/>
                    <a:gd name="connsiteY1" fmla="*/ 32634 h 51442"/>
                    <a:gd name="connsiteX2" fmla="*/ 1287 w 9640"/>
                    <a:gd name="connsiteY2" fmla="*/ 16442 h 51442"/>
                    <a:gd name="connsiteX3" fmla="*/ 415 w 9640"/>
                    <a:gd name="connsiteY3" fmla="*/ 0 h 51442"/>
                  </a:gdLst>
                  <a:ahLst/>
                  <a:cxnLst>
                    <a:cxn ang="0">
                      <a:pos x="connsiteX0" y="connsiteY0"/>
                    </a:cxn>
                    <a:cxn ang="0">
                      <a:pos x="connsiteX1" y="connsiteY1"/>
                    </a:cxn>
                    <a:cxn ang="0">
                      <a:pos x="connsiteX2" y="connsiteY2"/>
                    </a:cxn>
                    <a:cxn ang="0">
                      <a:pos x="connsiteX3" y="connsiteY3"/>
                    </a:cxn>
                  </a:cxnLst>
                  <a:rect l="l" t="t" r="r" b="b"/>
                  <a:pathLst>
                    <a:path w="9640" h="51442">
                      <a:moveTo>
                        <a:pt x="9259" y="51442"/>
                      </a:moveTo>
                      <a:cubicBezTo>
                        <a:pt x="10256" y="43097"/>
                        <a:pt x="9135" y="36869"/>
                        <a:pt x="7765" y="32634"/>
                      </a:cubicBezTo>
                      <a:cubicBezTo>
                        <a:pt x="5771" y="25908"/>
                        <a:pt x="3031" y="23292"/>
                        <a:pt x="1287" y="16442"/>
                      </a:cubicBezTo>
                      <a:cubicBezTo>
                        <a:pt x="-457" y="9715"/>
                        <a:pt x="-82" y="3861"/>
                        <a:pt x="4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3" name="Freeform 7372">
                  <a:extLst>
                    <a:ext uri="{FF2B5EF4-FFF2-40B4-BE49-F238E27FC236}">
                      <a16:creationId xmlns:a16="http://schemas.microsoft.com/office/drawing/2014/main" id="{F5A3AF6C-4D81-38A4-48CB-E07DD4169DDE}"/>
                    </a:ext>
                  </a:extLst>
                </p:cNvPr>
                <p:cNvSpPr/>
                <p:nvPr/>
              </p:nvSpPr>
              <p:spPr>
                <a:xfrm>
                  <a:off x="8064486" y="1760074"/>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3"/>
                        <a:pt x="4982" y="13701"/>
                        <a:pt x="5356" y="18061"/>
                      </a:cubicBezTo>
                      <a:cubicBezTo>
                        <a:pt x="5854" y="25036"/>
                        <a:pt x="4235" y="28399"/>
                        <a:pt x="5107" y="35499"/>
                      </a:cubicBezTo>
                      <a:cubicBezTo>
                        <a:pt x="5854" y="42350"/>
                        <a:pt x="8220"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4" name="Freeform 7373">
                  <a:extLst>
                    <a:ext uri="{FF2B5EF4-FFF2-40B4-BE49-F238E27FC236}">
                      <a16:creationId xmlns:a16="http://schemas.microsoft.com/office/drawing/2014/main" id="{31A5920E-3401-3BA3-39DB-E6E9105221FE}"/>
                    </a:ext>
                  </a:extLst>
                </p:cNvPr>
                <p:cNvSpPr/>
                <p:nvPr/>
              </p:nvSpPr>
              <p:spPr>
                <a:xfrm>
                  <a:off x="8065002" y="1799323"/>
                  <a:ext cx="26744" cy="26629"/>
                </a:xfrm>
                <a:custGeom>
                  <a:avLst/>
                  <a:gdLst>
                    <a:gd name="connsiteX0" fmla="*/ 231 w 26744"/>
                    <a:gd name="connsiteY0" fmla="*/ 15806 h 26629"/>
                    <a:gd name="connsiteX1" fmla="*/ 10943 w 26744"/>
                    <a:gd name="connsiteY1" fmla="*/ 236 h 26629"/>
                    <a:gd name="connsiteX2" fmla="*/ 26513 w 26744"/>
                    <a:gd name="connsiteY2" fmla="*/ 10823 h 26629"/>
                    <a:gd name="connsiteX3" fmla="*/ 15801 w 26744"/>
                    <a:gd name="connsiteY3" fmla="*/ 26393 h 26629"/>
                    <a:gd name="connsiteX4" fmla="*/ 231 w 2674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629">
                      <a:moveTo>
                        <a:pt x="231" y="15806"/>
                      </a:moveTo>
                      <a:cubicBezTo>
                        <a:pt x="-1138" y="8581"/>
                        <a:pt x="3719" y="1606"/>
                        <a:pt x="10943" y="236"/>
                      </a:cubicBezTo>
                      <a:cubicBezTo>
                        <a:pt x="18168" y="-1134"/>
                        <a:pt x="25143" y="3599"/>
                        <a:pt x="26513" y="10823"/>
                      </a:cubicBezTo>
                      <a:cubicBezTo>
                        <a:pt x="27883" y="18048"/>
                        <a:pt x="23026" y="25023"/>
                        <a:pt x="15801" y="26393"/>
                      </a:cubicBezTo>
                      <a:cubicBezTo>
                        <a:pt x="8452" y="27763"/>
                        <a:pt x="1601" y="23030"/>
                        <a:pt x="23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5" name="Freeform 7374">
                  <a:extLst>
                    <a:ext uri="{FF2B5EF4-FFF2-40B4-BE49-F238E27FC236}">
                      <a16:creationId xmlns:a16="http://schemas.microsoft.com/office/drawing/2014/main" id="{9AD29D04-DDE0-BD9A-F866-41009B38A2B5}"/>
                    </a:ext>
                  </a:extLst>
                </p:cNvPr>
                <p:cNvSpPr/>
                <p:nvPr/>
              </p:nvSpPr>
              <p:spPr>
                <a:xfrm>
                  <a:off x="8053643" y="1699913"/>
                  <a:ext cx="9639" cy="51442"/>
                </a:xfrm>
                <a:custGeom>
                  <a:avLst/>
                  <a:gdLst>
                    <a:gd name="connsiteX0" fmla="*/ 381 w 9639"/>
                    <a:gd name="connsiteY0" fmla="*/ 0 h 51442"/>
                    <a:gd name="connsiteX1" fmla="*/ 1875 w 9639"/>
                    <a:gd name="connsiteY1" fmla="*/ 18808 h 51442"/>
                    <a:gd name="connsiteX2" fmla="*/ 8352 w 9639"/>
                    <a:gd name="connsiteY2" fmla="*/ 35001 h 51442"/>
                    <a:gd name="connsiteX3" fmla="*/ 9224 w 963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39" h="51442">
                      <a:moveTo>
                        <a:pt x="381" y="0"/>
                      </a:moveTo>
                      <a:cubicBezTo>
                        <a:pt x="-615" y="8345"/>
                        <a:pt x="505" y="14573"/>
                        <a:pt x="1875" y="18808"/>
                      </a:cubicBezTo>
                      <a:cubicBezTo>
                        <a:pt x="3869" y="25534"/>
                        <a:pt x="6484" y="28150"/>
                        <a:pt x="8352" y="35001"/>
                      </a:cubicBezTo>
                      <a:cubicBezTo>
                        <a:pt x="10096" y="41727"/>
                        <a:pt x="9722" y="47581"/>
                        <a:pt x="922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6" name="Freeform 7375">
                  <a:extLst>
                    <a:ext uri="{FF2B5EF4-FFF2-40B4-BE49-F238E27FC236}">
                      <a16:creationId xmlns:a16="http://schemas.microsoft.com/office/drawing/2014/main" id="{B745BEE9-56F6-835B-CD44-611B37626248}"/>
                    </a:ext>
                  </a:extLst>
                </p:cNvPr>
                <p:cNvSpPr/>
                <p:nvPr/>
              </p:nvSpPr>
              <p:spPr>
                <a:xfrm>
                  <a:off x="8059878" y="1693560"/>
                  <a:ext cx="10213" cy="51193"/>
                </a:xfrm>
                <a:custGeom>
                  <a:avLst/>
                  <a:gdLst>
                    <a:gd name="connsiteX0" fmla="*/ 10214 w 10213"/>
                    <a:gd name="connsiteY0" fmla="*/ 51193 h 51193"/>
                    <a:gd name="connsiteX1" fmla="*/ 4857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1" y="37492"/>
                        <a:pt x="4857" y="33132"/>
                      </a:cubicBezTo>
                      <a:cubicBezTo>
                        <a:pt x="4359" y="26157"/>
                        <a:pt x="5854" y="22794"/>
                        <a:pt x="5107" y="15694"/>
                      </a:cubicBezTo>
                      <a:cubicBezTo>
                        <a:pt x="4359"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7" name="Freeform 7376">
                  <a:extLst>
                    <a:ext uri="{FF2B5EF4-FFF2-40B4-BE49-F238E27FC236}">
                      <a16:creationId xmlns:a16="http://schemas.microsoft.com/office/drawing/2014/main" id="{D56D6E87-198F-0115-9822-C93E43A606E8}"/>
                    </a:ext>
                  </a:extLst>
                </p:cNvPr>
                <p:cNvSpPr/>
                <p:nvPr/>
              </p:nvSpPr>
              <p:spPr>
                <a:xfrm>
                  <a:off x="8043109" y="1679000"/>
                  <a:ext cx="26346" cy="26504"/>
                </a:xfrm>
                <a:custGeom>
                  <a:avLst/>
                  <a:gdLst>
                    <a:gd name="connsiteX0" fmla="*/ 26111 w 26346"/>
                    <a:gd name="connsiteY0" fmla="*/ 10823 h 26504"/>
                    <a:gd name="connsiteX1" fmla="*/ 15523 w 26346"/>
                    <a:gd name="connsiteY1" fmla="*/ 26269 h 26504"/>
                    <a:gd name="connsiteX2" fmla="*/ 203 w 26346"/>
                    <a:gd name="connsiteY2" fmla="*/ 15681 h 26504"/>
                    <a:gd name="connsiteX3" fmla="*/ 10790 w 26346"/>
                    <a:gd name="connsiteY3" fmla="*/ 236 h 26504"/>
                    <a:gd name="connsiteX4" fmla="*/ 26111 w 2634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4">
                      <a:moveTo>
                        <a:pt x="26111" y="10823"/>
                      </a:moveTo>
                      <a:cubicBezTo>
                        <a:pt x="27481" y="18048"/>
                        <a:pt x="22748" y="24898"/>
                        <a:pt x="15523" y="26269"/>
                      </a:cubicBezTo>
                      <a:cubicBezTo>
                        <a:pt x="8299" y="27639"/>
                        <a:pt x="1448" y="22906"/>
                        <a:pt x="203" y="15681"/>
                      </a:cubicBezTo>
                      <a:cubicBezTo>
                        <a:pt x="-1043" y="8457"/>
                        <a:pt x="3566" y="1606"/>
                        <a:pt x="10790" y="236"/>
                      </a:cubicBezTo>
                      <a:cubicBezTo>
                        <a:pt x="17890" y="-1134"/>
                        <a:pt x="24740" y="3599"/>
                        <a:pt x="2611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1" name="Graphic 2987">
                <a:extLst>
                  <a:ext uri="{FF2B5EF4-FFF2-40B4-BE49-F238E27FC236}">
                    <a16:creationId xmlns:a16="http://schemas.microsoft.com/office/drawing/2014/main" id="{BC2DDAB0-008C-03CA-88D3-AB4A37A2357E}"/>
                  </a:ext>
                </a:extLst>
              </p:cNvPr>
              <p:cNvGrpSpPr/>
              <p:nvPr/>
            </p:nvGrpSpPr>
            <p:grpSpPr>
              <a:xfrm>
                <a:off x="8014091" y="1684514"/>
                <a:ext cx="48260" cy="146918"/>
                <a:chOff x="8014091" y="1684514"/>
                <a:chExt cx="48260" cy="146918"/>
              </a:xfrm>
              <a:grpFill/>
            </p:grpSpPr>
            <p:sp>
              <p:nvSpPr>
                <p:cNvPr id="6726" name="Freeform 7378">
                  <a:extLst>
                    <a:ext uri="{FF2B5EF4-FFF2-40B4-BE49-F238E27FC236}">
                      <a16:creationId xmlns:a16="http://schemas.microsoft.com/office/drawing/2014/main" id="{6896E366-314B-AEF9-2D26-E8BE7895713B}"/>
                    </a:ext>
                  </a:extLst>
                </p:cNvPr>
                <p:cNvSpPr/>
                <p:nvPr/>
              </p:nvSpPr>
              <p:spPr>
                <a:xfrm>
                  <a:off x="8042418" y="1759078"/>
                  <a:ext cx="9372" cy="51442"/>
                </a:xfrm>
                <a:custGeom>
                  <a:avLst/>
                  <a:gdLst>
                    <a:gd name="connsiteX0" fmla="*/ 8990 w 9372"/>
                    <a:gd name="connsiteY0" fmla="*/ 51442 h 51442"/>
                    <a:gd name="connsiteX1" fmla="*/ 7619 w 9372"/>
                    <a:gd name="connsiteY1" fmla="*/ 32634 h 51442"/>
                    <a:gd name="connsiteX2" fmla="*/ 1267 w 9372"/>
                    <a:gd name="connsiteY2" fmla="*/ 16442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0" y="23292"/>
                        <a:pt x="1267" y="16442"/>
                      </a:cubicBezTo>
                      <a:cubicBezTo>
                        <a:pt x="-477" y="9715"/>
                        <a:pt x="-104"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7" name="Freeform 7379">
                  <a:extLst>
                    <a:ext uri="{FF2B5EF4-FFF2-40B4-BE49-F238E27FC236}">
                      <a16:creationId xmlns:a16="http://schemas.microsoft.com/office/drawing/2014/main" id="{C1F4F378-CDBA-952E-7159-E0F1A3BF8131}"/>
                    </a:ext>
                  </a:extLst>
                </p:cNvPr>
                <p:cNvSpPr/>
                <p:nvPr/>
              </p:nvSpPr>
              <p:spPr>
                <a:xfrm>
                  <a:off x="8035340" y="1765555"/>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1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1" y="7473"/>
                        <a:pt x="4983" y="13701"/>
                        <a:pt x="5232" y="18061"/>
                      </a:cubicBezTo>
                      <a:cubicBezTo>
                        <a:pt x="5730" y="25036"/>
                        <a:pt x="4111" y="28399"/>
                        <a:pt x="4858" y="35499"/>
                      </a:cubicBezTo>
                      <a:cubicBezTo>
                        <a:pt x="5605" y="42350"/>
                        <a:pt x="7972" y="47706"/>
                        <a:pt x="984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8" name="Freeform 7380">
                  <a:extLst>
                    <a:ext uri="{FF2B5EF4-FFF2-40B4-BE49-F238E27FC236}">
                      <a16:creationId xmlns:a16="http://schemas.microsoft.com/office/drawing/2014/main" id="{0C5CA722-412F-9428-E988-9847682B924D}"/>
                    </a:ext>
                  </a:extLst>
                </p:cNvPr>
                <p:cNvSpPr/>
                <p:nvPr/>
              </p:nvSpPr>
              <p:spPr>
                <a:xfrm>
                  <a:off x="8035764" y="1804803"/>
                  <a:ext cx="26587" cy="26629"/>
                </a:xfrm>
                <a:custGeom>
                  <a:avLst/>
                  <a:gdLst>
                    <a:gd name="connsiteX0" fmla="*/ 199 w 26587"/>
                    <a:gd name="connsiteY0" fmla="*/ 15806 h 26629"/>
                    <a:gd name="connsiteX1" fmla="*/ 10911 w 26587"/>
                    <a:gd name="connsiteY1" fmla="*/ 236 h 26629"/>
                    <a:gd name="connsiteX2" fmla="*/ 26356 w 26587"/>
                    <a:gd name="connsiteY2" fmla="*/ 10824 h 26629"/>
                    <a:gd name="connsiteX3" fmla="*/ 15644 w 26587"/>
                    <a:gd name="connsiteY3" fmla="*/ 26393 h 26629"/>
                    <a:gd name="connsiteX4" fmla="*/ 199 w 26587"/>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629">
                      <a:moveTo>
                        <a:pt x="199" y="15806"/>
                      </a:moveTo>
                      <a:cubicBezTo>
                        <a:pt x="-1047" y="8581"/>
                        <a:pt x="3687" y="1606"/>
                        <a:pt x="10911" y="236"/>
                      </a:cubicBezTo>
                      <a:cubicBezTo>
                        <a:pt x="18135" y="-1134"/>
                        <a:pt x="25110" y="3599"/>
                        <a:pt x="26356" y="10824"/>
                      </a:cubicBezTo>
                      <a:cubicBezTo>
                        <a:pt x="27726" y="18048"/>
                        <a:pt x="22868" y="25023"/>
                        <a:pt x="15644" y="26393"/>
                      </a:cubicBezTo>
                      <a:cubicBezTo>
                        <a:pt x="8420" y="27763"/>
                        <a:pt x="1445" y="23030"/>
                        <a:pt x="199"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9" name="Freeform 7381">
                  <a:extLst>
                    <a:ext uri="{FF2B5EF4-FFF2-40B4-BE49-F238E27FC236}">
                      <a16:creationId xmlns:a16="http://schemas.microsoft.com/office/drawing/2014/main" id="{A4A283C2-548F-39CB-00E8-D5D11DE982CE}"/>
                    </a:ext>
                  </a:extLst>
                </p:cNvPr>
                <p:cNvSpPr/>
                <p:nvPr/>
              </p:nvSpPr>
              <p:spPr>
                <a:xfrm>
                  <a:off x="8024618" y="1705393"/>
                  <a:ext cx="9372" cy="51566"/>
                </a:xfrm>
                <a:custGeom>
                  <a:avLst/>
                  <a:gdLst>
                    <a:gd name="connsiteX0" fmla="*/ 383 w 9372"/>
                    <a:gd name="connsiteY0" fmla="*/ 0 h 51566"/>
                    <a:gd name="connsiteX1" fmla="*/ 1753 w 9372"/>
                    <a:gd name="connsiteY1" fmla="*/ 18808 h 51566"/>
                    <a:gd name="connsiteX2" fmla="*/ 8106 w 9372"/>
                    <a:gd name="connsiteY2" fmla="*/ 35001 h 51566"/>
                    <a:gd name="connsiteX3" fmla="*/ 8853 w 937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72" h="51566">
                      <a:moveTo>
                        <a:pt x="383" y="0"/>
                      </a:moveTo>
                      <a:cubicBezTo>
                        <a:pt x="-613" y="8345"/>
                        <a:pt x="507" y="14573"/>
                        <a:pt x="1753" y="18808"/>
                      </a:cubicBezTo>
                      <a:cubicBezTo>
                        <a:pt x="3746" y="25534"/>
                        <a:pt x="6362" y="28150"/>
                        <a:pt x="8106" y="35001"/>
                      </a:cubicBezTo>
                      <a:cubicBezTo>
                        <a:pt x="9849" y="41727"/>
                        <a:pt x="9476"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0" name="Freeform 7382">
                  <a:extLst>
                    <a:ext uri="{FF2B5EF4-FFF2-40B4-BE49-F238E27FC236}">
                      <a16:creationId xmlns:a16="http://schemas.microsoft.com/office/drawing/2014/main" id="{2A82B89F-B995-B876-309F-27CFAC067BE0}"/>
                    </a:ext>
                  </a:extLst>
                </p:cNvPr>
                <p:cNvSpPr/>
                <p:nvPr/>
              </p:nvSpPr>
              <p:spPr>
                <a:xfrm>
                  <a:off x="8030980" y="1699041"/>
                  <a:ext cx="9964" cy="51193"/>
                </a:xfrm>
                <a:custGeom>
                  <a:avLst/>
                  <a:gdLst>
                    <a:gd name="connsiteX0" fmla="*/ 9964 w 9964"/>
                    <a:gd name="connsiteY0" fmla="*/ 51193 h 51193"/>
                    <a:gd name="connsiteX1" fmla="*/ 4733 w 9964"/>
                    <a:gd name="connsiteY1" fmla="*/ 33132 h 51193"/>
                    <a:gd name="connsiteX2" fmla="*/ 4982 w 9964"/>
                    <a:gd name="connsiteY2" fmla="*/ 15694 h 51193"/>
                    <a:gd name="connsiteX3" fmla="*/ 0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9964" y="51193"/>
                      </a:moveTo>
                      <a:cubicBezTo>
                        <a:pt x="6103" y="43720"/>
                        <a:pt x="4982" y="37492"/>
                        <a:pt x="4733" y="33132"/>
                      </a:cubicBezTo>
                      <a:cubicBezTo>
                        <a:pt x="4235" y="26157"/>
                        <a:pt x="5854" y="22794"/>
                        <a:pt x="4982" y="15694"/>
                      </a:cubicBezTo>
                      <a:cubicBezTo>
                        <a:pt x="4235"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31" name="Freeform 7383">
                  <a:extLst>
                    <a:ext uri="{FF2B5EF4-FFF2-40B4-BE49-F238E27FC236}">
                      <a16:creationId xmlns:a16="http://schemas.microsoft.com/office/drawing/2014/main" id="{B7704D14-93CF-99B0-BAC5-32F1DE28C94E}"/>
                    </a:ext>
                  </a:extLst>
                </p:cNvPr>
                <p:cNvSpPr/>
                <p:nvPr/>
              </p:nvSpPr>
              <p:spPr>
                <a:xfrm>
                  <a:off x="8014091" y="1684514"/>
                  <a:ext cx="26338" cy="26471"/>
                </a:xfrm>
                <a:custGeom>
                  <a:avLst/>
                  <a:gdLst>
                    <a:gd name="connsiteX0" fmla="*/ 26107 w 26338"/>
                    <a:gd name="connsiteY0" fmla="*/ 10790 h 26471"/>
                    <a:gd name="connsiteX1" fmla="*/ 15520 w 26338"/>
                    <a:gd name="connsiteY1" fmla="*/ 26235 h 26471"/>
                    <a:gd name="connsiteX2" fmla="*/ 199 w 26338"/>
                    <a:gd name="connsiteY2" fmla="*/ 15648 h 26471"/>
                    <a:gd name="connsiteX3" fmla="*/ 10787 w 26338"/>
                    <a:gd name="connsiteY3" fmla="*/ 203 h 26471"/>
                    <a:gd name="connsiteX4" fmla="*/ 26107 w 26338"/>
                    <a:gd name="connsiteY4" fmla="*/ 10790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70">
                      <a:moveTo>
                        <a:pt x="26107" y="10790"/>
                      </a:moveTo>
                      <a:cubicBezTo>
                        <a:pt x="27477" y="18015"/>
                        <a:pt x="22619" y="24865"/>
                        <a:pt x="15520" y="26235"/>
                      </a:cubicBezTo>
                      <a:cubicBezTo>
                        <a:pt x="8295" y="27606"/>
                        <a:pt x="1445" y="22872"/>
                        <a:pt x="199" y="15648"/>
                      </a:cubicBezTo>
                      <a:cubicBezTo>
                        <a:pt x="-1046" y="8424"/>
                        <a:pt x="3687" y="1448"/>
                        <a:pt x="10787" y="203"/>
                      </a:cubicBezTo>
                      <a:cubicBezTo>
                        <a:pt x="17887" y="-1043"/>
                        <a:pt x="24862" y="3566"/>
                        <a:pt x="26107" y="1079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2" name="Graphic 2987">
                <a:extLst>
                  <a:ext uri="{FF2B5EF4-FFF2-40B4-BE49-F238E27FC236}">
                    <a16:creationId xmlns:a16="http://schemas.microsoft.com/office/drawing/2014/main" id="{0B8CD9E7-4237-0C16-1B1E-42A5DAFBA028}"/>
                  </a:ext>
                </a:extLst>
              </p:cNvPr>
              <p:cNvGrpSpPr/>
              <p:nvPr/>
            </p:nvGrpSpPr>
            <p:grpSpPr>
              <a:xfrm>
                <a:off x="7985160" y="1689841"/>
                <a:ext cx="47886" cy="147196"/>
                <a:chOff x="7985160" y="1689841"/>
                <a:chExt cx="47886" cy="147196"/>
              </a:xfrm>
              <a:grpFill/>
            </p:grpSpPr>
            <p:sp>
              <p:nvSpPr>
                <p:cNvPr id="6720" name="Freeform 7385">
                  <a:extLst>
                    <a:ext uri="{FF2B5EF4-FFF2-40B4-BE49-F238E27FC236}">
                      <a16:creationId xmlns:a16="http://schemas.microsoft.com/office/drawing/2014/main" id="{567C7440-E3EC-6F5D-FABF-C13271306D8A}"/>
                    </a:ext>
                  </a:extLst>
                </p:cNvPr>
                <p:cNvSpPr/>
                <p:nvPr/>
              </p:nvSpPr>
              <p:spPr>
                <a:xfrm>
                  <a:off x="8013023" y="1764433"/>
                  <a:ext cx="9372" cy="51566"/>
                </a:xfrm>
                <a:custGeom>
                  <a:avLst/>
                  <a:gdLst>
                    <a:gd name="connsiteX0" fmla="*/ 8989 w 9372"/>
                    <a:gd name="connsiteY0" fmla="*/ 51567 h 51566"/>
                    <a:gd name="connsiteX1" fmla="*/ 7619 w 9372"/>
                    <a:gd name="connsiteY1" fmla="*/ 32759 h 51566"/>
                    <a:gd name="connsiteX2" fmla="*/ 1267 w 9372"/>
                    <a:gd name="connsiteY2" fmla="*/ 16566 h 51566"/>
                    <a:gd name="connsiteX3" fmla="*/ 519 w 9372"/>
                    <a:gd name="connsiteY3" fmla="*/ 0 h 51566"/>
                  </a:gdLst>
                  <a:ahLst/>
                  <a:cxnLst>
                    <a:cxn ang="0">
                      <a:pos x="connsiteX0" y="connsiteY0"/>
                    </a:cxn>
                    <a:cxn ang="0">
                      <a:pos x="connsiteX1" y="connsiteY1"/>
                    </a:cxn>
                    <a:cxn ang="0">
                      <a:pos x="connsiteX2" y="connsiteY2"/>
                    </a:cxn>
                    <a:cxn ang="0">
                      <a:pos x="connsiteX3" y="connsiteY3"/>
                    </a:cxn>
                  </a:cxnLst>
                  <a:rect l="l" t="t" r="r" b="b"/>
                  <a:pathLst>
                    <a:path w="9372" h="51566">
                      <a:moveTo>
                        <a:pt x="8989" y="51567"/>
                      </a:moveTo>
                      <a:cubicBezTo>
                        <a:pt x="9986" y="43221"/>
                        <a:pt x="8865" y="36994"/>
                        <a:pt x="7619" y="32759"/>
                      </a:cubicBezTo>
                      <a:cubicBezTo>
                        <a:pt x="5626" y="26033"/>
                        <a:pt x="3011" y="23417"/>
                        <a:pt x="1267" y="16566"/>
                      </a:cubicBezTo>
                      <a:cubicBezTo>
                        <a:pt x="-477" y="9840"/>
                        <a:pt x="-103" y="3986"/>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1" name="Freeform 7386">
                  <a:extLst>
                    <a:ext uri="{FF2B5EF4-FFF2-40B4-BE49-F238E27FC236}">
                      <a16:creationId xmlns:a16="http://schemas.microsoft.com/office/drawing/2014/main" id="{B0D2E2C5-9484-2C77-1CCC-7A4B66240FC2}"/>
                    </a:ext>
                  </a:extLst>
                </p:cNvPr>
                <p:cNvSpPr/>
                <p:nvPr/>
              </p:nvSpPr>
              <p:spPr>
                <a:xfrm>
                  <a:off x="8006194" y="1771035"/>
                  <a:ext cx="9839" cy="51193"/>
                </a:xfrm>
                <a:custGeom>
                  <a:avLst/>
                  <a:gdLst>
                    <a:gd name="connsiteX0" fmla="*/ 0 w 9839"/>
                    <a:gd name="connsiteY0" fmla="*/ 0 h 51193"/>
                    <a:gd name="connsiteX1" fmla="*/ 5231 w 9839"/>
                    <a:gd name="connsiteY1" fmla="*/ 18061 h 51193"/>
                    <a:gd name="connsiteX2" fmla="*/ 4857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3"/>
                        <a:pt x="4982" y="13701"/>
                        <a:pt x="5231" y="18061"/>
                      </a:cubicBezTo>
                      <a:cubicBezTo>
                        <a:pt x="5729" y="25036"/>
                        <a:pt x="4110" y="28399"/>
                        <a:pt x="4857" y="35499"/>
                      </a:cubicBezTo>
                      <a:cubicBezTo>
                        <a:pt x="5604"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2" name="Freeform 7387">
                  <a:extLst>
                    <a:ext uri="{FF2B5EF4-FFF2-40B4-BE49-F238E27FC236}">
                      <a16:creationId xmlns:a16="http://schemas.microsoft.com/office/drawing/2014/main" id="{FEDC20EC-11F0-A20D-E933-43D6C3989A0F}"/>
                    </a:ext>
                  </a:extLst>
                </p:cNvPr>
                <p:cNvSpPr/>
                <p:nvPr/>
              </p:nvSpPr>
              <p:spPr>
                <a:xfrm>
                  <a:off x="8006372" y="1810408"/>
                  <a:ext cx="26674" cy="26629"/>
                </a:xfrm>
                <a:custGeom>
                  <a:avLst/>
                  <a:gdLst>
                    <a:gd name="connsiteX0" fmla="*/ 195 w 26674"/>
                    <a:gd name="connsiteY0" fmla="*/ 15806 h 26629"/>
                    <a:gd name="connsiteX1" fmla="*/ 11031 w 26674"/>
                    <a:gd name="connsiteY1" fmla="*/ 236 h 26629"/>
                    <a:gd name="connsiteX2" fmla="*/ 26476 w 26674"/>
                    <a:gd name="connsiteY2" fmla="*/ 10823 h 26629"/>
                    <a:gd name="connsiteX3" fmla="*/ 15640 w 26674"/>
                    <a:gd name="connsiteY3" fmla="*/ 26393 h 26629"/>
                    <a:gd name="connsiteX4" fmla="*/ 195 w 26674"/>
                    <a:gd name="connsiteY4" fmla="*/ 15806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629">
                      <a:moveTo>
                        <a:pt x="195" y="15806"/>
                      </a:moveTo>
                      <a:cubicBezTo>
                        <a:pt x="-1051" y="8581"/>
                        <a:pt x="3807" y="1606"/>
                        <a:pt x="11031" y="236"/>
                      </a:cubicBezTo>
                      <a:cubicBezTo>
                        <a:pt x="18256" y="-1134"/>
                        <a:pt x="25231" y="3599"/>
                        <a:pt x="26476" y="10823"/>
                      </a:cubicBezTo>
                      <a:cubicBezTo>
                        <a:pt x="27722" y="18048"/>
                        <a:pt x="22989" y="25023"/>
                        <a:pt x="15640" y="26393"/>
                      </a:cubicBezTo>
                      <a:cubicBezTo>
                        <a:pt x="8416" y="27763"/>
                        <a:pt x="1441" y="23030"/>
                        <a:pt x="195"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3" name="Freeform 7388">
                  <a:extLst>
                    <a:ext uri="{FF2B5EF4-FFF2-40B4-BE49-F238E27FC236}">
                      <a16:creationId xmlns:a16="http://schemas.microsoft.com/office/drawing/2014/main" id="{E0F03949-DBFE-6AAD-35B0-17B4192CC8E5}"/>
                    </a:ext>
                  </a:extLst>
                </p:cNvPr>
                <p:cNvSpPr/>
                <p:nvPr/>
              </p:nvSpPr>
              <p:spPr>
                <a:xfrm>
                  <a:off x="7995596" y="1710749"/>
                  <a:ext cx="9322" cy="51566"/>
                </a:xfrm>
                <a:custGeom>
                  <a:avLst/>
                  <a:gdLst>
                    <a:gd name="connsiteX0" fmla="*/ 383 w 9322"/>
                    <a:gd name="connsiteY0" fmla="*/ 0 h 51566"/>
                    <a:gd name="connsiteX1" fmla="*/ 1753 w 9322"/>
                    <a:gd name="connsiteY1" fmla="*/ 18808 h 51566"/>
                    <a:gd name="connsiteX2" fmla="*/ 8106 w 9322"/>
                    <a:gd name="connsiteY2" fmla="*/ 35001 h 51566"/>
                    <a:gd name="connsiteX3" fmla="*/ 8853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383" y="0"/>
                      </a:moveTo>
                      <a:cubicBezTo>
                        <a:pt x="-613" y="8345"/>
                        <a:pt x="508" y="14573"/>
                        <a:pt x="1753" y="18808"/>
                      </a:cubicBezTo>
                      <a:cubicBezTo>
                        <a:pt x="3746" y="25534"/>
                        <a:pt x="6362" y="28150"/>
                        <a:pt x="8106" y="35001"/>
                      </a:cubicBezTo>
                      <a:cubicBezTo>
                        <a:pt x="9850" y="41727"/>
                        <a:pt x="9351" y="47581"/>
                        <a:pt x="885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4" name="Freeform 7389">
                  <a:extLst>
                    <a:ext uri="{FF2B5EF4-FFF2-40B4-BE49-F238E27FC236}">
                      <a16:creationId xmlns:a16="http://schemas.microsoft.com/office/drawing/2014/main" id="{B0A3A5FA-BF39-CB6E-4629-B5B21B1E3224}"/>
                    </a:ext>
                  </a:extLst>
                </p:cNvPr>
                <p:cNvSpPr/>
                <p:nvPr/>
              </p:nvSpPr>
              <p:spPr>
                <a:xfrm>
                  <a:off x="8001958" y="1704521"/>
                  <a:ext cx="9839" cy="51193"/>
                </a:xfrm>
                <a:custGeom>
                  <a:avLst/>
                  <a:gdLst>
                    <a:gd name="connsiteX0" fmla="*/ 9840 w 9839"/>
                    <a:gd name="connsiteY0" fmla="*/ 51193 h 51193"/>
                    <a:gd name="connsiteX1" fmla="*/ 4609 w 9839"/>
                    <a:gd name="connsiteY1" fmla="*/ 33132 h 51193"/>
                    <a:gd name="connsiteX2" fmla="*/ 4983 w 9839"/>
                    <a:gd name="connsiteY2" fmla="*/ 15694 h 51193"/>
                    <a:gd name="connsiteX3" fmla="*/ 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25" name="Freeform 7390">
                  <a:extLst>
                    <a:ext uri="{FF2B5EF4-FFF2-40B4-BE49-F238E27FC236}">
                      <a16:creationId xmlns:a16="http://schemas.microsoft.com/office/drawing/2014/main" id="{18278100-CEB3-6CA1-A13A-84AA302A7CD6}"/>
                    </a:ext>
                  </a:extLst>
                </p:cNvPr>
                <p:cNvSpPr/>
                <p:nvPr/>
              </p:nvSpPr>
              <p:spPr>
                <a:xfrm>
                  <a:off x="7985160" y="1689841"/>
                  <a:ext cx="26338" cy="26500"/>
                </a:xfrm>
                <a:custGeom>
                  <a:avLst/>
                  <a:gdLst>
                    <a:gd name="connsiteX0" fmla="*/ 26140 w 26338"/>
                    <a:gd name="connsiteY0" fmla="*/ 10819 h 26500"/>
                    <a:gd name="connsiteX1" fmla="*/ 15553 w 26338"/>
                    <a:gd name="connsiteY1" fmla="*/ 26264 h 26500"/>
                    <a:gd name="connsiteX2" fmla="*/ 232 w 26338"/>
                    <a:gd name="connsiteY2" fmla="*/ 15677 h 26500"/>
                    <a:gd name="connsiteX3" fmla="*/ 10819 w 26338"/>
                    <a:gd name="connsiteY3" fmla="*/ 232 h 26500"/>
                    <a:gd name="connsiteX4" fmla="*/ 26140 w 26338"/>
                    <a:gd name="connsiteY4" fmla="*/ 108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99">
                      <a:moveTo>
                        <a:pt x="26140" y="10819"/>
                      </a:moveTo>
                      <a:cubicBezTo>
                        <a:pt x="27386" y="18043"/>
                        <a:pt x="22653" y="25019"/>
                        <a:pt x="15553" y="26264"/>
                      </a:cubicBezTo>
                      <a:cubicBezTo>
                        <a:pt x="8328" y="27634"/>
                        <a:pt x="1602" y="22901"/>
                        <a:pt x="232" y="15677"/>
                      </a:cubicBezTo>
                      <a:cubicBezTo>
                        <a:pt x="-1138" y="8452"/>
                        <a:pt x="3720" y="1477"/>
                        <a:pt x="10819" y="232"/>
                      </a:cubicBezTo>
                      <a:cubicBezTo>
                        <a:pt x="18044" y="-1138"/>
                        <a:pt x="24895" y="3719"/>
                        <a:pt x="26140" y="108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3" name="Graphic 2987">
                <a:extLst>
                  <a:ext uri="{FF2B5EF4-FFF2-40B4-BE49-F238E27FC236}">
                    <a16:creationId xmlns:a16="http://schemas.microsoft.com/office/drawing/2014/main" id="{EC8F9A5E-A911-F565-8468-BEDCE03AA5FC}"/>
                  </a:ext>
                </a:extLst>
              </p:cNvPr>
              <p:cNvGrpSpPr/>
              <p:nvPr/>
            </p:nvGrpSpPr>
            <p:grpSpPr>
              <a:xfrm>
                <a:off x="7956051" y="1695172"/>
                <a:ext cx="47721" cy="147146"/>
                <a:chOff x="7956051" y="1695172"/>
                <a:chExt cx="47721" cy="147146"/>
              </a:xfrm>
              <a:grpFill/>
            </p:grpSpPr>
            <p:sp>
              <p:nvSpPr>
                <p:cNvPr id="6714" name="Freeform 7392">
                  <a:extLst>
                    <a:ext uri="{FF2B5EF4-FFF2-40B4-BE49-F238E27FC236}">
                      <a16:creationId xmlns:a16="http://schemas.microsoft.com/office/drawing/2014/main" id="{5036C0E9-B774-4DB3-BEA2-99C834ED4767}"/>
                    </a:ext>
                  </a:extLst>
                </p:cNvPr>
                <p:cNvSpPr/>
                <p:nvPr/>
              </p:nvSpPr>
              <p:spPr>
                <a:xfrm>
                  <a:off x="7983988" y="1770039"/>
                  <a:ext cx="9214" cy="51442"/>
                </a:xfrm>
                <a:custGeom>
                  <a:avLst/>
                  <a:gdLst>
                    <a:gd name="connsiteX0" fmla="*/ 8753 w 9214"/>
                    <a:gd name="connsiteY0" fmla="*/ 51442 h 51442"/>
                    <a:gd name="connsiteX1" fmla="*/ 7508 w 9214"/>
                    <a:gd name="connsiteY1" fmla="*/ 32759 h 51442"/>
                    <a:gd name="connsiteX2" fmla="*/ 1155 w 9214"/>
                    <a:gd name="connsiteY2" fmla="*/ 16442 h 51442"/>
                    <a:gd name="connsiteX3" fmla="*/ 532 w 9214"/>
                    <a:gd name="connsiteY3" fmla="*/ 0 h 51442"/>
                  </a:gdLst>
                  <a:ahLst/>
                  <a:cxnLst>
                    <a:cxn ang="0">
                      <a:pos x="connsiteX0" y="connsiteY0"/>
                    </a:cxn>
                    <a:cxn ang="0">
                      <a:pos x="connsiteX1" y="connsiteY1"/>
                    </a:cxn>
                    <a:cxn ang="0">
                      <a:pos x="connsiteX2" y="connsiteY2"/>
                    </a:cxn>
                    <a:cxn ang="0">
                      <a:pos x="connsiteX3" y="connsiteY3"/>
                    </a:cxn>
                  </a:cxnLst>
                  <a:rect l="l" t="t" r="r" b="b"/>
                  <a:pathLst>
                    <a:path w="9214" h="51442">
                      <a:moveTo>
                        <a:pt x="8753" y="51442"/>
                      </a:moveTo>
                      <a:cubicBezTo>
                        <a:pt x="9874" y="43097"/>
                        <a:pt x="8753" y="36869"/>
                        <a:pt x="7508" y="32759"/>
                      </a:cubicBezTo>
                      <a:cubicBezTo>
                        <a:pt x="5514" y="26033"/>
                        <a:pt x="2898"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5" name="Freeform 7393">
                  <a:extLst>
                    <a:ext uri="{FF2B5EF4-FFF2-40B4-BE49-F238E27FC236}">
                      <a16:creationId xmlns:a16="http://schemas.microsoft.com/office/drawing/2014/main" id="{3CC86F7B-B434-7FB4-CD87-2828B40D7B7D}"/>
                    </a:ext>
                  </a:extLst>
                </p:cNvPr>
                <p:cNvSpPr/>
                <p:nvPr/>
              </p:nvSpPr>
              <p:spPr>
                <a:xfrm>
                  <a:off x="7976922" y="1776266"/>
                  <a:ext cx="9591" cy="51317"/>
                </a:xfrm>
                <a:custGeom>
                  <a:avLst/>
                  <a:gdLst>
                    <a:gd name="connsiteX0" fmla="*/ 0 w 9591"/>
                    <a:gd name="connsiteY0" fmla="*/ 0 h 51317"/>
                    <a:gd name="connsiteX1" fmla="*/ 5107 w 9591"/>
                    <a:gd name="connsiteY1" fmla="*/ 18061 h 51317"/>
                    <a:gd name="connsiteX2" fmla="*/ 4609 w 9591"/>
                    <a:gd name="connsiteY2" fmla="*/ 35499 h 51317"/>
                    <a:gd name="connsiteX3" fmla="*/ 9591 w 95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591" h="51317">
                      <a:moveTo>
                        <a:pt x="0" y="0"/>
                      </a:moveTo>
                      <a:cubicBezTo>
                        <a:pt x="3861" y="7473"/>
                        <a:pt x="4858" y="13826"/>
                        <a:pt x="5107" y="18061"/>
                      </a:cubicBezTo>
                      <a:cubicBezTo>
                        <a:pt x="5481" y="25036"/>
                        <a:pt x="3986" y="28399"/>
                        <a:pt x="4609" y="35499"/>
                      </a:cubicBezTo>
                      <a:cubicBezTo>
                        <a:pt x="5356" y="42350"/>
                        <a:pt x="7723" y="47830"/>
                        <a:pt x="9591"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6" name="Freeform 7394">
                  <a:extLst>
                    <a:ext uri="{FF2B5EF4-FFF2-40B4-BE49-F238E27FC236}">
                      <a16:creationId xmlns:a16="http://schemas.microsoft.com/office/drawing/2014/main" id="{67493223-76B2-3638-FA4B-77A13A38C314}"/>
                    </a:ext>
                  </a:extLst>
                </p:cNvPr>
                <p:cNvSpPr/>
                <p:nvPr/>
              </p:nvSpPr>
              <p:spPr>
                <a:xfrm>
                  <a:off x="7976977" y="1815836"/>
                  <a:ext cx="26795" cy="26481"/>
                </a:xfrm>
                <a:custGeom>
                  <a:avLst/>
                  <a:gdLst>
                    <a:gd name="connsiteX0" fmla="*/ 195 w 26795"/>
                    <a:gd name="connsiteY0" fmla="*/ 15360 h 26481"/>
                    <a:gd name="connsiteX1" fmla="*/ 11156 w 26795"/>
                    <a:gd name="connsiteY1" fmla="*/ 164 h 26481"/>
                    <a:gd name="connsiteX2" fmla="*/ 26601 w 26795"/>
                    <a:gd name="connsiteY2" fmla="*/ 11001 h 26481"/>
                    <a:gd name="connsiteX3" fmla="*/ 15764 w 26795"/>
                    <a:gd name="connsiteY3" fmla="*/ 26321 h 26481"/>
                    <a:gd name="connsiteX4" fmla="*/ 195 w 26795"/>
                    <a:gd name="connsiteY4" fmla="*/ 15360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5" h="26481">
                      <a:moveTo>
                        <a:pt x="195" y="15360"/>
                      </a:moveTo>
                      <a:cubicBezTo>
                        <a:pt x="-1051" y="8136"/>
                        <a:pt x="3807" y="1410"/>
                        <a:pt x="11156" y="164"/>
                      </a:cubicBezTo>
                      <a:cubicBezTo>
                        <a:pt x="18380" y="-957"/>
                        <a:pt x="25355" y="3776"/>
                        <a:pt x="26601" y="11001"/>
                      </a:cubicBezTo>
                      <a:cubicBezTo>
                        <a:pt x="27846" y="18225"/>
                        <a:pt x="22989" y="25200"/>
                        <a:pt x="15764" y="26321"/>
                      </a:cubicBezTo>
                      <a:cubicBezTo>
                        <a:pt x="8291" y="27442"/>
                        <a:pt x="1440" y="22584"/>
                        <a:pt x="195" y="153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7" name="Freeform 7395">
                  <a:extLst>
                    <a:ext uri="{FF2B5EF4-FFF2-40B4-BE49-F238E27FC236}">
                      <a16:creationId xmlns:a16="http://schemas.microsoft.com/office/drawing/2014/main" id="{72BB6CE7-77D2-ED73-A4BB-B9EB42D0DCBB}"/>
                    </a:ext>
                  </a:extLst>
                </p:cNvPr>
                <p:cNvSpPr/>
                <p:nvPr/>
              </p:nvSpPr>
              <p:spPr>
                <a:xfrm>
                  <a:off x="7966496" y="1715981"/>
                  <a:ext cx="9214" cy="51442"/>
                </a:xfrm>
                <a:custGeom>
                  <a:avLst/>
                  <a:gdLst>
                    <a:gd name="connsiteX0" fmla="*/ 461 w 9214"/>
                    <a:gd name="connsiteY0" fmla="*/ 0 h 51442"/>
                    <a:gd name="connsiteX1" fmla="*/ 1706 w 9214"/>
                    <a:gd name="connsiteY1" fmla="*/ 18684 h 51442"/>
                    <a:gd name="connsiteX2" fmla="*/ 8059 w 9214"/>
                    <a:gd name="connsiteY2" fmla="*/ 35001 h 51442"/>
                    <a:gd name="connsiteX3" fmla="*/ 8682 w 921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4" h="51442">
                      <a:moveTo>
                        <a:pt x="461" y="0"/>
                      </a:moveTo>
                      <a:cubicBezTo>
                        <a:pt x="-660" y="8345"/>
                        <a:pt x="461" y="14573"/>
                        <a:pt x="1706" y="18684"/>
                      </a:cubicBezTo>
                      <a:cubicBezTo>
                        <a:pt x="3700" y="25410"/>
                        <a:pt x="6316" y="28025"/>
                        <a:pt x="8059" y="35001"/>
                      </a:cubicBezTo>
                      <a:cubicBezTo>
                        <a:pt x="9678" y="41727"/>
                        <a:pt x="9305" y="47581"/>
                        <a:pt x="868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8" name="Freeform 7396">
                  <a:extLst>
                    <a:ext uri="{FF2B5EF4-FFF2-40B4-BE49-F238E27FC236}">
                      <a16:creationId xmlns:a16="http://schemas.microsoft.com/office/drawing/2014/main" id="{D487FD43-8734-D447-AA62-6B23563EE415}"/>
                    </a:ext>
                  </a:extLst>
                </p:cNvPr>
                <p:cNvSpPr/>
                <p:nvPr/>
              </p:nvSpPr>
              <p:spPr>
                <a:xfrm>
                  <a:off x="7972936" y="1710002"/>
                  <a:ext cx="9715" cy="51193"/>
                </a:xfrm>
                <a:custGeom>
                  <a:avLst/>
                  <a:gdLst>
                    <a:gd name="connsiteX0" fmla="*/ 9716 w 9715"/>
                    <a:gd name="connsiteY0" fmla="*/ 51193 h 51193"/>
                    <a:gd name="connsiteX1" fmla="*/ 4609 w 9715"/>
                    <a:gd name="connsiteY1" fmla="*/ 33132 h 51193"/>
                    <a:gd name="connsiteX2" fmla="*/ 4983 w 9715"/>
                    <a:gd name="connsiteY2" fmla="*/ 15819 h 51193"/>
                    <a:gd name="connsiteX3" fmla="*/ 0 w 9715"/>
                    <a:gd name="connsiteY3" fmla="*/ 0 h 51193"/>
                  </a:gdLst>
                  <a:ahLst/>
                  <a:cxnLst>
                    <a:cxn ang="0">
                      <a:pos x="connsiteX0" y="connsiteY0"/>
                    </a:cxn>
                    <a:cxn ang="0">
                      <a:pos x="connsiteX1" y="connsiteY1"/>
                    </a:cxn>
                    <a:cxn ang="0">
                      <a:pos x="connsiteX2" y="connsiteY2"/>
                    </a:cxn>
                    <a:cxn ang="0">
                      <a:pos x="connsiteX3" y="connsiteY3"/>
                    </a:cxn>
                  </a:cxnLst>
                  <a:rect l="l" t="t" r="r" b="b"/>
                  <a:pathLst>
                    <a:path w="9715" h="51193">
                      <a:moveTo>
                        <a:pt x="9716" y="51193"/>
                      </a:moveTo>
                      <a:cubicBezTo>
                        <a:pt x="5855" y="43720"/>
                        <a:pt x="4858" y="37367"/>
                        <a:pt x="4609" y="33132"/>
                      </a:cubicBezTo>
                      <a:cubicBezTo>
                        <a:pt x="4235" y="26157"/>
                        <a:pt x="5730" y="22794"/>
                        <a:pt x="4983"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9" name="Freeform 7397">
                  <a:extLst>
                    <a:ext uri="{FF2B5EF4-FFF2-40B4-BE49-F238E27FC236}">
                      <a16:creationId xmlns:a16="http://schemas.microsoft.com/office/drawing/2014/main" id="{F21AF4E9-48C8-A479-DDB8-17021E84A984}"/>
                    </a:ext>
                  </a:extLst>
                </p:cNvPr>
                <p:cNvSpPr/>
                <p:nvPr/>
              </p:nvSpPr>
              <p:spPr>
                <a:xfrm>
                  <a:off x="7956051" y="1695172"/>
                  <a:ext cx="26426" cy="26450"/>
                </a:xfrm>
                <a:custGeom>
                  <a:avLst/>
                  <a:gdLst>
                    <a:gd name="connsiteX0" fmla="*/ 26227 w 26426"/>
                    <a:gd name="connsiteY0" fmla="*/ 10969 h 26450"/>
                    <a:gd name="connsiteX1" fmla="*/ 15515 w 26426"/>
                    <a:gd name="connsiteY1" fmla="*/ 26289 h 26450"/>
                    <a:gd name="connsiteX2" fmla="*/ 195 w 26426"/>
                    <a:gd name="connsiteY2" fmla="*/ 15328 h 26450"/>
                    <a:gd name="connsiteX3" fmla="*/ 10907 w 26426"/>
                    <a:gd name="connsiteY3" fmla="*/ 132 h 26450"/>
                    <a:gd name="connsiteX4" fmla="*/ 26227 w 26426"/>
                    <a:gd name="connsiteY4" fmla="*/ 10969 h 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49">
                      <a:moveTo>
                        <a:pt x="26227" y="10969"/>
                      </a:moveTo>
                      <a:cubicBezTo>
                        <a:pt x="27473" y="18193"/>
                        <a:pt x="22740" y="25168"/>
                        <a:pt x="15515" y="26289"/>
                      </a:cubicBezTo>
                      <a:cubicBezTo>
                        <a:pt x="8291" y="27410"/>
                        <a:pt x="1440" y="22553"/>
                        <a:pt x="195" y="15328"/>
                      </a:cubicBezTo>
                      <a:cubicBezTo>
                        <a:pt x="-1051" y="8104"/>
                        <a:pt x="3807" y="1378"/>
                        <a:pt x="10907" y="132"/>
                      </a:cubicBezTo>
                      <a:cubicBezTo>
                        <a:pt x="18256" y="-864"/>
                        <a:pt x="24982" y="3869"/>
                        <a:pt x="26227" y="10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4" name="Graphic 2987">
                <a:extLst>
                  <a:ext uri="{FF2B5EF4-FFF2-40B4-BE49-F238E27FC236}">
                    <a16:creationId xmlns:a16="http://schemas.microsoft.com/office/drawing/2014/main" id="{F77B03A8-49E5-5A76-457D-41487D92113C}"/>
                  </a:ext>
                </a:extLst>
              </p:cNvPr>
              <p:cNvGrpSpPr/>
              <p:nvPr/>
            </p:nvGrpSpPr>
            <p:grpSpPr>
              <a:xfrm>
                <a:off x="7927029" y="1699876"/>
                <a:ext cx="47223" cy="147175"/>
                <a:chOff x="7927029" y="1699876"/>
                <a:chExt cx="47223" cy="147175"/>
              </a:xfrm>
              <a:grpFill/>
            </p:grpSpPr>
            <p:sp>
              <p:nvSpPr>
                <p:cNvPr id="6708" name="Freeform 7399">
                  <a:extLst>
                    <a:ext uri="{FF2B5EF4-FFF2-40B4-BE49-F238E27FC236}">
                      <a16:creationId xmlns:a16="http://schemas.microsoft.com/office/drawing/2014/main" id="{DA9E0C04-98A6-9EA1-D142-D69E05F0B06D}"/>
                    </a:ext>
                  </a:extLst>
                </p:cNvPr>
                <p:cNvSpPr/>
                <p:nvPr/>
              </p:nvSpPr>
              <p:spPr>
                <a:xfrm>
                  <a:off x="7954717" y="1774647"/>
                  <a:ext cx="9089" cy="51566"/>
                </a:xfrm>
                <a:custGeom>
                  <a:avLst/>
                  <a:gdLst>
                    <a:gd name="connsiteX0" fmla="*/ 8629 w 9089"/>
                    <a:gd name="connsiteY0" fmla="*/ 51567 h 51566"/>
                    <a:gd name="connsiteX1" fmla="*/ 7383 w 9089"/>
                    <a:gd name="connsiteY1" fmla="*/ 32759 h 51566"/>
                    <a:gd name="connsiteX2" fmla="*/ 1155 w 9089"/>
                    <a:gd name="connsiteY2" fmla="*/ 16442 h 51566"/>
                    <a:gd name="connsiteX3" fmla="*/ 532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8629" y="51567"/>
                      </a:moveTo>
                      <a:cubicBezTo>
                        <a:pt x="9749" y="43222"/>
                        <a:pt x="8629" y="36994"/>
                        <a:pt x="7383" y="32759"/>
                      </a:cubicBezTo>
                      <a:cubicBezTo>
                        <a:pt x="5390"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9" name="Freeform 7400">
                  <a:extLst>
                    <a:ext uri="{FF2B5EF4-FFF2-40B4-BE49-F238E27FC236}">
                      <a16:creationId xmlns:a16="http://schemas.microsoft.com/office/drawing/2014/main" id="{1EB42F02-69F8-C978-5C04-A7C06696897D}"/>
                    </a:ext>
                  </a:extLst>
                </p:cNvPr>
                <p:cNvSpPr/>
                <p:nvPr/>
              </p:nvSpPr>
              <p:spPr>
                <a:xfrm>
                  <a:off x="7947651" y="1781000"/>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861" y="28399"/>
                        <a:pt x="4609" y="35499"/>
                      </a:cubicBezTo>
                      <a:cubicBezTo>
                        <a:pt x="5231"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0" name="Freeform 7401">
                  <a:extLst>
                    <a:ext uri="{FF2B5EF4-FFF2-40B4-BE49-F238E27FC236}">
                      <a16:creationId xmlns:a16="http://schemas.microsoft.com/office/drawing/2014/main" id="{7901F4D6-00FA-8E3D-D086-B55A44F5EBDE}"/>
                    </a:ext>
                  </a:extLst>
                </p:cNvPr>
                <p:cNvSpPr/>
                <p:nvPr/>
              </p:nvSpPr>
              <p:spPr>
                <a:xfrm>
                  <a:off x="7947460" y="1820573"/>
                  <a:ext cx="26791" cy="26478"/>
                </a:xfrm>
                <a:custGeom>
                  <a:avLst/>
                  <a:gdLst>
                    <a:gd name="connsiteX0" fmla="*/ 191 w 26791"/>
                    <a:gd name="connsiteY0" fmla="*/ 15357 h 26478"/>
                    <a:gd name="connsiteX1" fmla="*/ 11152 w 26791"/>
                    <a:gd name="connsiteY1" fmla="*/ 161 h 26478"/>
                    <a:gd name="connsiteX2" fmla="*/ 26597 w 26791"/>
                    <a:gd name="connsiteY2" fmla="*/ 11122 h 26478"/>
                    <a:gd name="connsiteX3" fmla="*/ 15636 w 26791"/>
                    <a:gd name="connsiteY3" fmla="*/ 26318 h 26478"/>
                    <a:gd name="connsiteX4" fmla="*/ 191 w 2679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1" h="26477">
                      <a:moveTo>
                        <a:pt x="191" y="15357"/>
                      </a:moveTo>
                      <a:cubicBezTo>
                        <a:pt x="-1055" y="8132"/>
                        <a:pt x="3928" y="1282"/>
                        <a:pt x="11152" y="161"/>
                      </a:cubicBezTo>
                      <a:cubicBezTo>
                        <a:pt x="18377" y="-960"/>
                        <a:pt x="25352" y="3897"/>
                        <a:pt x="26597" y="11122"/>
                      </a:cubicBezTo>
                      <a:cubicBezTo>
                        <a:pt x="27843" y="18346"/>
                        <a:pt x="22985" y="25197"/>
                        <a:pt x="15636" y="26318"/>
                      </a:cubicBezTo>
                      <a:cubicBezTo>
                        <a:pt x="8412"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1" name="Freeform 7402">
                  <a:extLst>
                    <a:ext uri="{FF2B5EF4-FFF2-40B4-BE49-F238E27FC236}">
                      <a16:creationId xmlns:a16="http://schemas.microsoft.com/office/drawing/2014/main" id="{D3EAB029-EBEE-2C4A-BA0A-C74751CAB999}"/>
                    </a:ext>
                  </a:extLst>
                </p:cNvPr>
                <p:cNvSpPr/>
                <p:nvPr/>
              </p:nvSpPr>
              <p:spPr>
                <a:xfrm>
                  <a:off x="7937350" y="1720714"/>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7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699" y="25534"/>
                        <a:pt x="6315" y="28150"/>
                        <a:pt x="7935" y="35125"/>
                      </a:cubicBezTo>
                      <a:cubicBezTo>
                        <a:pt x="9554" y="41851"/>
                        <a:pt x="9180" y="47706"/>
                        <a:pt x="855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2" name="Freeform 7403">
                  <a:extLst>
                    <a:ext uri="{FF2B5EF4-FFF2-40B4-BE49-F238E27FC236}">
                      <a16:creationId xmlns:a16="http://schemas.microsoft.com/office/drawing/2014/main" id="{9AC1B325-97F9-3208-B031-D784F01FBC99}"/>
                    </a:ext>
                  </a:extLst>
                </p:cNvPr>
                <p:cNvSpPr/>
                <p:nvPr/>
              </p:nvSpPr>
              <p:spPr>
                <a:xfrm>
                  <a:off x="7943915" y="1714610"/>
                  <a:ext cx="9466" cy="51317"/>
                </a:xfrm>
                <a:custGeom>
                  <a:avLst/>
                  <a:gdLst>
                    <a:gd name="connsiteX0" fmla="*/ 9467 w 9466"/>
                    <a:gd name="connsiteY0" fmla="*/ 51318 h 51317"/>
                    <a:gd name="connsiteX1" fmla="*/ 4359 w 9466"/>
                    <a:gd name="connsiteY1" fmla="*/ 33257 h 51317"/>
                    <a:gd name="connsiteX2" fmla="*/ 4857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51318"/>
                      </a:moveTo>
                      <a:cubicBezTo>
                        <a:pt x="5604" y="43844"/>
                        <a:pt x="4609" y="37492"/>
                        <a:pt x="4359" y="33257"/>
                      </a:cubicBezTo>
                      <a:cubicBezTo>
                        <a:pt x="3986" y="26282"/>
                        <a:pt x="5481" y="22919"/>
                        <a:pt x="4857"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13" name="Freeform 7404">
                  <a:extLst>
                    <a:ext uri="{FF2B5EF4-FFF2-40B4-BE49-F238E27FC236}">
                      <a16:creationId xmlns:a16="http://schemas.microsoft.com/office/drawing/2014/main" id="{64BD1354-389C-08A4-0D3F-332A53B824FA}"/>
                    </a:ext>
                  </a:extLst>
                </p:cNvPr>
                <p:cNvSpPr/>
                <p:nvPr/>
              </p:nvSpPr>
              <p:spPr>
                <a:xfrm>
                  <a:off x="7927029" y="1699876"/>
                  <a:ext cx="26422" cy="26478"/>
                </a:xfrm>
                <a:custGeom>
                  <a:avLst/>
                  <a:gdLst>
                    <a:gd name="connsiteX0" fmla="*/ 26228 w 26422"/>
                    <a:gd name="connsiteY0" fmla="*/ 11122 h 26478"/>
                    <a:gd name="connsiteX1" fmla="*/ 15391 w 26422"/>
                    <a:gd name="connsiteY1" fmla="*/ 26318 h 26478"/>
                    <a:gd name="connsiteX2" fmla="*/ 195 w 26422"/>
                    <a:gd name="connsiteY2" fmla="*/ 15357 h 26478"/>
                    <a:gd name="connsiteX3" fmla="*/ 11031 w 26422"/>
                    <a:gd name="connsiteY3" fmla="*/ 161 h 26478"/>
                    <a:gd name="connsiteX4" fmla="*/ 26228 w 2642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8" y="11122"/>
                      </a:moveTo>
                      <a:cubicBezTo>
                        <a:pt x="27473" y="18346"/>
                        <a:pt x="22615" y="25072"/>
                        <a:pt x="15391" y="26318"/>
                      </a:cubicBezTo>
                      <a:cubicBezTo>
                        <a:pt x="8167" y="27439"/>
                        <a:pt x="1316" y="22581"/>
                        <a:pt x="195" y="15357"/>
                      </a:cubicBezTo>
                      <a:cubicBezTo>
                        <a:pt x="-1051" y="8132"/>
                        <a:pt x="3807" y="1406"/>
                        <a:pt x="11031" y="161"/>
                      </a:cubicBezTo>
                      <a:cubicBezTo>
                        <a:pt x="18131" y="-960"/>
                        <a:pt x="24982" y="3898"/>
                        <a:pt x="2622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5" name="Graphic 2987">
                <a:extLst>
                  <a:ext uri="{FF2B5EF4-FFF2-40B4-BE49-F238E27FC236}">
                    <a16:creationId xmlns:a16="http://schemas.microsoft.com/office/drawing/2014/main" id="{E3912559-AF3A-31F3-5358-F191FC0D019E}"/>
                  </a:ext>
                </a:extLst>
              </p:cNvPr>
              <p:cNvGrpSpPr/>
              <p:nvPr/>
            </p:nvGrpSpPr>
            <p:grpSpPr>
              <a:xfrm>
                <a:off x="7897883" y="1704610"/>
                <a:ext cx="46845" cy="147175"/>
                <a:chOff x="7897883" y="1704610"/>
                <a:chExt cx="46845" cy="147175"/>
              </a:xfrm>
              <a:grpFill/>
            </p:grpSpPr>
            <p:sp>
              <p:nvSpPr>
                <p:cNvPr id="6702" name="Freeform 7406">
                  <a:extLst>
                    <a:ext uri="{FF2B5EF4-FFF2-40B4-BE49-F238E27FC236}">
                      <a16:creationId xmlns:a16="http://schemas.microsoft.com/office/drawing/2014/main" id="{861DFF1E-2680-15D1-1815-B396903EFF7D}"/>
                    </a:ext>
                  </a:extLst>
                </p:cNvPr>
                <p:cNvSpPr/>
                <p:nvPr/>
              </p:nvSpPr>
              <p:spPr>
                <a:xfrm>
                  <a:off x="7925322" y="1779380"/>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1"/>
                        <a:pt x="8504" y="36994"/>
                        <a:pt x="7383" y="32759"/>
                      </a:cubicBezTo>
                      <a:cubicBezTo>
                        <a:pt x="5514" y="26033"/>
                        <a:pt x="2774" y="23417"/>
                        <a:pt x="1155" y="16442"/>
                      </a:cubicBezTo>
                      <a:cubicBezTo>
                        <a:pt x="-465"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3" name="Freeform 7407">
                  <a:extLst>
                    <a:ext uri="{FF2B5EF4-FFF2-40B4-BE49-F238E27FC236}">
                      <a16:creationId xmlns:a16="http://schemas.microsoft.com/office/drawing/2014/main" id="{E2B04481-FBD7-10E1-AD95-65442ACC119E}"/>
                    </a:ext>
                  </a:extLst>
                </p:cNvPr>
                <p:cNvSpPr/>
                <p:nvPr/>
              </p:nvSpPr>
              <p:spPr>
                <a:xfrm>
                  <a:off x="7918380" y="1785733"/>
                  <a:ext cx="9341" cy="51442"/>
                </a:xfrm>
                <a:custGeom>
                  <a:avLst/>
                  <a:gdLst>
                    <a:gd name="connsiteX0" fmla="*/ 0 w 9341"/>
                    <a:gd name="connsiteY0" fmla="*/ 0 h 51442"/>
                    <a:gd name="connsiteX1" fmla="*/ 5107 w 9341"/>
                    <a:gd name="connsiteY1" fmla="*/ 18185 h 51442"/>
                    <a:gd name="connsiteX2" fmla="*/ 4485 w 9341"/>
                    <a:gd name="connsiteY2" fmla="*/ 35624 h 51442"/>
                    <a:gd name="connsiteX3" fmla="*/ 9342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0" y="0"/>
                      </a:moveTo>
                      <a:cubicBezTo>
                        <a:pt x="3737" y="7473"/>
                        <a:pt x="4858" y="13826"/>
                        <a:pt x="5107" y="18185"/>
                      </a:cubicBezTo>
                      <a:cubicBezTo>
                        <a:pt x="5481" y="25161"/>
                        <a:pt x="3862" y="28524"/>
                        <a:pt x="4485" y="35624"/>
                      </a:cubicBezTo>
                      <a:cubicBezTo>
                        <a:pt x="5107" y="42474"/>
                        <a:pt x="7474" y="47955"/>
                        <a:pt x="934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4" name="Freeform 7408">
                  <a:extLst>
                    <a:ext uri="{FF2B5EF4-FFF2-40B4-BE49-F238E27FC236}">
                      <a16:creationId xmlns:a16="http://schemas.microsoft.com/office/drawing/2014/main" id="{BBB83005-2237-A16A-1B1A-DF02E4C58886}"/>
                    </a:ext>
                  </a:extLst>
                </p:cNvPr>
                <p:cNvSpPr/>
                <p:nvPr/>
              </p:nvSpPr>
              <p:spPr>
                <a:xfrm>
                  <a:off x="7918065" y="1825306"/>
                  <a:ext cx="26663" cy="26478"/>
                </a:xfrm>
                <a:custGeom>
                  <a:avLst/>
                  <a:gdLst>
                    <a:gd name="connsiteX0" fmla="*/ 191 w 26663"/>
                    <a:gd name="connsiteY0" fmla="*/ 15357 h 26478"/>
                    <a:gd name="connsiteX1" fmla="*/ 11152 w 26663"/>
                    <a:gd name="connsiteY1" fmla="*/ 161 h 26478"/>
                    <a:gd name="connsiteX2" fmla="*/ 26473 w 26663"/>
                    <a:gd name="connsiteY2" fmla="*/ 11122 h 26478"/>
                    <a:gd name="connsiteX3" fmla="*/ 15511 w 26663"/>
                    <a:gd name="connsiteY3" fmla="*/ 26318 h 26478"/>
                    <a:gd name="connsiteX4" fmla="*/ 191 w 2666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77">
                      <a:moveTo>
                        <a:pt x="191" y="15357"/>
                      </a:moveTo>
                      <a:cubicBezTo>
                        <a:pt x="-1055" y="8132"/>
                        <a:pt x="3928" y="1282"/>
                        <a:pt x="11152" y="161"/>
                      </a:cubicBezTo>
                      <a:cubicBezTo>
                        <a:pt x="18376" y="-960"/>
                        <a:pt x="25351" y="3898"/>
                        <a:pt x="26473" y="11122"/>
                      </a:cubicBezTo>
                      <a:cubicBezTo>
                        <a:pt x="27718" y="18346"/>
                        <a:pt x="22736" y="25197"/>
                        <a:pt x="15511" y="26318"/>
                      </a:cubicBezTo>
                      <a:cubicBezTo>
                        <a:pt x="8287" y="27439"/>
                        <a:pt x="1436" y="22581"/>
                        <a:pt x="19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5" name="Freeform 7409">
                  <a:extLst>
                    <a:ext uri="{FF2B5EF4-FFF2-40B4-BE49-F238E27FC236}">
                      <a16:creationId xmlns:a16="http://schemas.microsoft.com/office/drawing/2014/main" id="{955DCFA7-2BD2-96C9-91F3-18FF27096AD9}"/>
                    </a:ext>
                  </a:extLst>
                </p:cNvPr>
                <p:cNvSpPr/>
                <p:nvPr/>
              </p:nvSpPr>
              <p:spPr>
                <a:xfrm>
                  <a:off x="7908325" y="1725322"/>
                  <a:ext cx="8968" cy="51566"/>
                </a:xfrm>
                <a:custGeom>
                  <a:avLst/>
                  <a:gdLst>
                    <a:gd name="connsiteX0" fmla="*/ 464 w 8968"/>
                    <a:gd name="connsiteY0" fmla="*/ 0 h 51566"/>
                    <a:gd name="connsiteX1" fmla="*/ 1585 w 8968"/>
                    <a:gd name="connsiteY1" fmla="*/ 18808 h 51566"/>
                    <a:gd name="connsiteX2" fmla="*/ 7813 w 8968"/>
                    <a:gd name="connsiteY2" fmla="*/ 35125 h 51566"/>
                    <a:gd name="connsiteX3" fmla="*/ 8436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464" y="0"/>
                      </a:moveTo>
                      <a:cubicBezTo>
                        <a:pt x="-657" y="8345"/>
                        <a:pt x="464" y="14573"/>
                        <a:pt x="1585" y="18808"/>
                      </a:cubicBezTo>
                      <a:cubicBezTo>
                        <a:pt x="3454" y="25534"/>
                        <a:pt x="6070" y="28150"/>
                        <a:pt x="7813" y="35125"/>
                      </a:cubicBezTo>
                      <a:cubicBezTo>
                        <a:pt x="9432" y="41851"/>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6" name="Freeform 7410">
                  <a:extLst>
                    <a:ext uri="{FF2B5EF4-FFF2-40B4-BE49-F238E27FC236}">
                      <a16:creationId xmlns:a16="http://schemas.microsoft.com/office/drawing/2014/main" id="{F8B90B0C-AD72-4BDC-53B3-FB2D76B05D9A}"/>
                    </a:ext>
                  </a:extLst>
                </p:cNvPr>
                <p:cNvSpPr/>
                <p:nvPr/>
              </p:nvSpPr>
              <p:spPr>
                <a:xfrm>
                  <a:off x="7914643" y="1719219"/>
                  <a:ext cx="9466" cy="51442"/>
                </a:xfrm>
                <a:custGeom>
                  <a:avLst/>
                  <a:gdLst>
                    <a:gd name="connsiteX0" fmla="*/ 9467 w 9466"/>
                    <a:gd name="connsiteY0" fmla="*/ 51442 h 51442"/>
                    <a:gd name="connsiteX1" fmla="*/ 4360 w 9466"/>
                    <a:gd name="connsiteY1" fmla="*/ 33257 h 51442"/>
                    <a:gd name="connsiteX2" fmla="*/ 4858 w 9466"/>
                    <a:gd name="connsiteY2" fmla="*/ 15819 h 51442"/>
                    <a:gd name="connsiteX3" fmla="*/ 0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9467" y="51442"/>
                      </a:moveTo>
                      <a:cubicBezTo>
                        <a:pt x="5730" y="43969"/>
                        <a:pt x="4609" y="37616"/>
                        <a:pt x="4360" y="33257"/>
                      </a:cubicBezTo>
                      <a:cubicBezTo>
                        <a:pt x="3986" y="26282"/>
                        <a:pt x="5605" y="22919"/>
                        <a:pt x="4858" y="15819"/>
                      </a:cubicBezTo>
                      <a:cubicBezTo>
                        <a:pt x="4235"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7" name="Freeform 7411">
                  <a:extLst>
                    <a:ext uri="{FF2B5EF4-FFF2-40B4-BE49-F238E27FC236}">
                      <a16:creationId xmlns:a16="http://schemas.microsoft.com/office/drawing/2014/main" id="{A8BBC782-9B28-3688-A614-FD3DAED59AB4}"/>
                    </a:ext>
                  </a:extLst>
                </p:cNvPr>
                <p:cNvSpPr/>
                <p:nvPr/>
              </p:nvSpPr>
              <p:spPr>
                <a:xfrm>
                  <a:off x="7897883" y="1704610"/>
                  <a:ext cx="26422" cy="26508"/>
                </a:xfrm>
                <a:custGeom>
                  <a:avLst/>
                  <a:gdLst>
                    <a:gd name="connsiteX0" fmla="*/ 26227 w 26422"/>
                    <a:gd name="connsiteY0" fmla="*/ 11122 h 26508"/>
                    <a:gd name="connsiteX1" fmla="*/ 15391 w 26422"/>
                    <a:gd name="connsiteY1" fmla="*/ 26318 h 26508"/>
                    <a:gd name="connsiteX2" fmla="*/ 195 w 26422"/>
                    <a:gd name="connsiteY2" fmla="*/ 15357 h 26508"/>
                    <a:gd name="connsiteX3" fmla="*/ 11031 w 26422"/>
                    <a:gd name="connsiteY3" fmla="*/ 161 h 26508"/>
                    <a:gd name="connsiteX4" fmla="*/ 26227 w 26422"/>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1122"/>
                      </a:moveTo>
                      <a:cubicBezTo>
                        <a:pt x="27473" y="18346"/>
                        <a:pt x="22615" y="25072"/>
                        <a:pt x="15391" y="26318"/>
                      </a:cubicBezTo>
                      <a:cubicBezTo>
                        <a:pt x="8166" y="27563"/>
                        <a:pt x="1316" y="22581"/>
                        <a:pt x="195" y="15357"/>
                      </a:cubicBezTo>
                      <a:cubicBezTo>
                        <a:pt x="-1051" y="8132"/>
                        <a:pt x="3807" y="1282"/>
                        <a:pt x="11031" y="161"/>
                      </a:cubicBezTo>
                      <a:cubicBezTo>
                        <a:pt x="18255" y="-960"/>
                        <a:pt x="25106" y="3897"/>
                        <a:pt x="26227"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6" name="Graphic 2987">
                <a:extLst>
                  <a:ext uri="{FF2B5EF4-FFF2-40B4-BE49-F238E27FC236}">
                    <a16:creationId xmlns:a16="http://schemas.microsoft.com/office/drawing/2014/main" id="{C35307EE-CE1E-DD2A-59F2-DD095B88DA0C}"/>
                  </a:ext>
                </a:extLst>
              </p:cNvPr>
              <p:cNvGrpSpPr/>
              <p:nvPr/>
            </p:nvGrpSpPr>
            <p:grpSpPr>
              <a:xfrm>
                <a:off x="7868894" y="1709313"/>
                <a:ext cx="46313" cy="147235"/>
                <a:chOff x="7868894" y="1709313"/>
                <a:chExt cx="46313" cy="147235"/>
              </a:xfrm>
              <a:grpFill/>
            </p:grpSpPr>
            <p:sp>
              <p:nvSpPr>
                <p:cNvPr id="6696" name="Freeform 7413">
                  <a:extLst>
                    <a:ext uri="{FF2B5EF4-FFF2-40B4-BE49-F238E27FC236}">
                      <a16:creationId xmlns:a16="http://schemas.microsoft.com/office/drawing/2014/main" id="{8992279B-DDE6-BE1B-245A-FA0F63BD76F7}"/>
                    </a:ext>
                  </a:extLst>
                </p:cNvPr>
                <p:cNvSpPr/>
                <p:nvPr/>
              </p:nvSpPr>
              <p:spPr>
                <a:xfrm>
                  <a:off x="7895991" y="1784114"/>
                  <a:ext cx="8926" cy="51566"/>
                </a:xfrm>
                <a:custGeom>
                  <a:avLst/>
                  <a:gdLst>
                    <a:gd name="connsiteX0" fmla="*/ 8439 w 8926"/>
                    <a:gd name="connsiteY0" fmla="*/ 51567 h 51566"/>
                    <a:gd name="connsiteX1" fmla="*/ 7318 w 8926"/>
                    <a:gd name="connsiteY1" fmla="*/ 32759 h 51566"/>
                    <a:gd name="connsiteX2" fmla="*/ 1090 w 8926"/>
                    <a:gd name="connsiteY2" fmla="*/ 16442 h 51566"/>
                    <a:gd name="connsiteX3" fmla="*/ 591 w 8926"/>
                    <a:gd name="connsiteY3" fmla="*/ 0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51567"/>
                      </a:moveTo>
                      <a:cubicBezTo>
                        <a:pt x="9560" y="43222"/>
                        <a:pt x="8563" y="36994"/>
                        <a:pt x="7318" y="32759"/>
                      </a:cubicBezTo>
                      <a:cubicBezTo>
                        <a:pt x="5449" y="26033"/>
                        <a:pt x="2834" y="23417"/>
                        <a:pt x="1090" y="16442"/>
                      </a:cubicBezTo>
                      <a:cubicBezTo>
                        <a:pt x="-529" y="9716"/>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7" name="Freeform 7414">
                  <a:extLst>
                    <a:ext uri="{FF2B5EF4-FFF2-40B4-BE49-F238E27FC236}">
                      <a16:creationId xmlns:a16="http://schemas.microsoft.com/office/drawing/2014/main" id="{1719CEA7-5B36-57C9-4915-A97495688A59}"/>
                    </a:ext>
                  </a:extLst>
                </p:cNvPr>
                <p:cNvSpPr/>
                <p:nvPr/>
              </p:nvSpPr>
              <p:spPr>
                <a:xfrm>
                  <a:off x="7889109" y="1790466"/>
                  <a:ext cx="9217" cy="51442"/>
                </a:xfrm>
                <a:custGeom>
                  <a:avLst/>
                  <a:gdLst>
                    <a:gd name="connsiteX0" fmla="*/ 0 w 9217"/>
                    <a:gd name="connsiteY0" fmla="*/ 0 h 51442"/>
                    <a:gd name="connsiteX1" fmla="*/ 4983 w 9217"/>
                    <a:gd name="connsiteY1" fmla="*/ 18185 h 51442"/>
                    <a:gd name="connsiteX2" fmla="*/ 4359 w 9217"/>
                    <a:gd name="connsiteY2" fmla="*/ 35624 h 51442"/>
                    <a:gd name="connsiteX3" fmla="*/ 9217 w 92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17" h="51442">
                      <a:moveTo>
                        <a:pt x="0" y="0"/>
                      </a:moveTo>
                      <a:cubicBezTo>
                        <a:pt x="3737" y="7598"/>
                        <a:pt x="4733" y="13826"/>
                        <a:pt x="4983" y="18185"/>
                      </a:cubicBezTo>
                      <a:cubicBezTo>
                        <a:pt x="5356" y="25161"/>
                        <a:pt x="3737" y="28524"/>
                        <a:pt x="4359" y="35624"/>
                      </a:cubicBezTo>
                      <a:cubicBezTo>
                        <a:pt x="4983" y="42474"/>
                        <a:pt x="7349" y="47955"/>
                        <a:pt x="921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8" name="Freeform 7415">
                  <a:extLst>
                    <a:ext uri="{FF2B5EF4-FFF2-40B4-BE49-F238E27FC236}">
                      <a16:creationId xmlns:a16="http://schemas.microsoft.com/office/drawing/2014/main" id="{CA3CB609-0887-5D94-3B58-20B24DF8385E}"/>
                    </a:ext>
                  </a:extLst>
                </p:cNvPr>
                <p:cNvSpPr/>
                <p:nvPr/>
              </p:nvSpPr>
              <p:spPr>
                <a:xfrm>
                  <a:off x="7888575" y="1830039"/>
                  <a:ext cx="26633" cy="26508"/>
                </a:xfrm>
                <a:custGeom>
                  <a:avLst/>
                  <a:gdLst>
                    <a:gd name="connsiteX0" fmla="*/ 161 w 26633"/>
                    <a:gd name="connsiteY0" fmla="*/ 15357 h 26508"/>
                    <a:gd name="connsiteX1" fmla="*/ 11121 w 26633"/>
                    <a:gd name="connsiteY1" fmla="*/ 161 h 26508"/>
                    <a:gd name="connsiteX2" fmla="*/ 26442 w 26633"/>
                    <a:gd name="connsiteY2" fmla="*/ 11122 h 26508"/>
                    <a:gd name="connsiteX3" fmla="*/ 15481 w 26633"/>
                    <a:gd name="connsiteY3" fmla="*/ 26318 h 26508"/>
                    <a:gd name="connsiteX4" fmla="*/ 161 w 26633"/>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08">
                      <a:moveTo>
                        <a:pt x="161" y="15357"/>
                      </a:moveTo>
                      <a:cubicBezTo>
                        <a:pt x="-961" y="8132"/>
                        <a:pt x="3897" y="1282"/>
                        <a:pt x="11121" y="161"/>
                      </a:cubicBezTo>
                      <a:cubicBezTo>
                        <a:pt x="18346" y="-960"/>
                        <a:pt x="25196" y="3897"/>
                        <a:pt x="26442" y="11122"/>
                      </a:cubicBezTo>
                      <a:cubicBezTo>
                        <a:pt x="27688" y="18346"/>
                        <a:pt x="22706" y="25197"/>
                        <a:pt x="15481" y="26318"/>
                      </a:cubicBezTo>
                      <a:cubicBezTo>
                        <a:pt x="8257" y="27563"/>
                        <a:pt x="1406"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9" name="Freeform 7416">
                  <a:extLst>
                    <a:ext uri="{FF2B5EF4-FFF2-40B4-BE49-F238E27FC236}">
                      <a16:creationId xmlns:a16="http://schemas.microsoft.com/office/drawing/2014/main" id="{12BEFC0E-B2DD-6E93-FC76-14312BDAA121}"/>
                    </a:ext>
                  </a:extLst>
                </p:cNvPr>
                <p:cNvSpPr/>
                <p:nvPr/>
              </p:nvSpPr>
              <p:spPr>
                <a:xfrm>
                  <a:off x="7879155" y="1730056"/>
                  <a:ext cx="8802" cy="51566"/>
                </a:xfrm>
                <a:custGeom>
                  <a:avLst/>
                  <a:gdLst>
                    <a:gd name="connsiteX0" fmla="*/ 488 w 8802"/>
                    <a:gd name="connsiteY0" fmla="*/ 0 h 51566"/>
                    <a:gd name="connsiteX1" fmla="*/ 1609 w 8802"/>
                    <a:gd name="connsiteY1" fmla="*/ 18808 h 51566"/>
                    <a:gd name="connsiteX2" fmla="*/ 7712 w 8802"/>
                    <a:gd name="connsiteY2" fmla="*/ 35125 h 51566"/>
                    <a:gd name="connsiteX3" fmla="*/ 8210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488" y="0"/>
                      </a:moveTo>
                      <a:cubicBezTo>
                        <a:pt x="-633" y="8345"/>
                        <a:pt x="363" y="14573"/>
                        <a:pt x="1609" y="18808"/>
                      </a:cubicBezTo>
                      <a:cubicBezTo>
                        <a:pt x="3477" y="25534"/>
                        <a:pt x="6093" y="28275"/>
                        <a:pt x="7712" y="35125"/>
                      </a:cubicBezTo>
                      <a:cubicBezTo>
                        <a:pt x="9332" y="41851"/>
                        <a:pt x="8834" y="47706"/>
                        <a:pt x="821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0" name="Freeform 7417">
                  <a:extLst>
                    <a:ext uri="{FF2B5EF4-FFF2-40B4-BE49-F238E27FC236}">
                      <a16:creationId xmlns:a16="http://schemas.microsoft.com/office/drawing/2014/main" id="{8FD09DD1-C044-10E1-C5D7-683E37877DDA}"/>
                    </a:ext>
                  </a:extLst>
                </p:cNvPr>
                <p:cNvSpPr/>
                <p:nvPr/>
              </p:nvSpPr>
              <p:spPr>
                <a:xfrm>
                  <a:off x="7885870" y="1723828"/>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4"/>
                        <a:pt x="4360" y="37616"/>
                        <a:pt x="4111" y="33257"/>
                      </a:cubicBezTo>
                      <a:cubicBezTo>
                        <a:pt x="3737" y="26282"/>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701" name="Freeform 7418">
                  <a:extLst>
                    <a:ext uri="{FF2B5EF4-FFF2-40B4-BE49-F238E27FC236}">
                      <a16:creationId xmlns:a16="http://schemas.microsoft.com/office/drawing/2014/main" id="{412E1CF4-BD10-B9D7-7624-F3EA753C4CFC}"/>
                    </a:ext>
                  </a:extLst>
                </p:cNvPr>
                <p:cNvSpPr/>
                <p:nvPr/>
              </p:nvSpPr>
              <p:spPr>
                <a:xfrm>
                  <a:off x="7868894" y="1709313"/>
                  <a:ext cx="26388" cy="26508"/>
                </a:xfrm>
                <a:custGeom>
                  <a:avLst/>
                  <a:gdLst>
                    <a:gd name="connsiteX0" fmla="*/ 26193 w 26388"/>
                    <a:gd name="connsiteY0" fmla="*/ 11152 h 26508"/>
                    <a:gd name="connsiteX1" fmla="*/ 15357 w 26388"/>
                    <a:gd name="connsiteY1" fmla="*/ 26348 h 26508"/>
                    <a:gd name="connsiteX2" fmla="*/ 161 w 26388"/>
                    <a:gd name="connsiteY2" fmla="*/ 15387 h 26508"/>
                    <a:gd name="connsiteX3" fmla="*/ 10997 w 26388"/>
                    <a:gd name="connsiteY3" fmla="*/ 191 h 26508"/>
                    <a:gd name="connsiteX4" fmla="*/ 26193 w 26388"/>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08">
                      <a:moveTo>
                        <a:pt x="26193" y="11152"/>
                      </a:moveTo>
                      <a:cubicBezTo>
                        <a:pt x="27439" y="18376"/>
                        <a:pt x="22581" y="25227"/>
                        <a:pt x="15357" y="26348"/>
                      </a:cubicBezTo>
                      <a:cubicBezTo>
                        <a:pt x="8133" y="27469"/>
                        <a:pt x="1406" y="22611"/>
                        <a:pt x="161" y="15387"/>
                      </a:cubicBezTo>
                      <a:cubicBezTo>
                        <a:pt x="-960" y="8163"/>
                        <a:pt x="3898" y="1312"/>
                        <a:pt x="10997" y="191"/>
                      </a:cubicBezTo>
                      <a:cubicBezTo>
                        <a:pt x="18097" y="-1055"/>
                        <a:pt x="24948"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7" name="Graphic 2987">
                <a:extLst>
                  <a:ext uri="{FF2B5EF4-FFF2-40B4-BE49-F238E27FC236}">
                    <a16:creationId xmlns:a16="http://schemas.microsoft.com/office/drawing/2014/main" id="{0F0D295B-775F-8FB4-AE0B-627AEED927C2}"/>
                  </a:ext>
                </a:extLst>
              </p:cNvPr>
              <p:cNvGrpSpPr/>
              <p:nvPr/>
            </p:nvGrpSpPr>
            <p:grpSpPr>
              <a:xfrm>
                <a:off x="7839623" y="1713951"/>
                <a:ext cx="46313" cy="147329"/>
                <a:chOff x="7839623" y="1713951"/>
                <a:chExt cx="46313" cy="147329"/>
              </a:xfrm>
              <a:grpFill/>
            </p:grpSpPr>
            <p:sp>
              <p:nvSpPr>
                <p:cNvPr id="6690" name="Freeform 7420">
                  <a:extLst>
                    <a:ext uri="{FF2B5EF4-FFF2-40B4-BE49-F238E27FC236}">
                      <a16:creationId xmlns:a16="http://schemas.microsoft.com/office/drawing/2014/main" id="{38CCD12D-A472-1751-AC36-67B319805156}"/>
                    </a:ext>
                  </a:extLst>
                </p:cNvPr>
                <p:cNvSpPr/>
                <p:nvPr/>
              </p:nvSpPr>
              <p:spPr>
                <a:xfrm>
                  <a:off x="7866844" y="1788847"/>
                  <a:ext cx="8681" cy="51566"/>
                </a:xfrm>
                <a:custGeom>
                  <a:avLst/>
                  <a:gdLst>
                    <a:gd name="connsiteX0" fmla="*/ 8190 w 8681"/>
                    <a:gd name="connsiteY0" fmla="*/ 51567 h 51566"/>
                    <a:gd name="connsiteX1" fmla="*/ 7193 w 8681"/>
                    <a:gd name="connsiteY1" fmla="*/ 32759 h 51566"/>
                    <a:gd name="connsiteX2" fmla="*/ 1090 w 8681"/>
                    <a:gd name="connsiteY2" fmla="*/ 16442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1" y="43222"/>
                        <a:pt x="8314" y="36994"/>
                        <a:pt x="7193" y="32759"/>
                      </a:cubicBezTo>
                      <a:cubicBezTo>
                        <a:pt x="5325" y="26033"/>
                        <a:pt x="2709" y="23292"/>
                        <a:pt x="1090" y="16442"/>
                      </a:cubicBezTo>
                      <a:cubicBezTo>
                        <a:pt x="-530"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1" name="Freeform 7421">
                  <a:extLst>
                    <a:ext uri="{FF2B5EF4-FFF2-40B4-BE49-F238E27FC236}">
                      <a16:creationId xmlns:a16="http://schemas.microsoft.com/office/drawing/2014/main" id="{05BCEAF9-6A2E-D125-0A39-09333DF461FE}"/>
                    </a:ext>
                  </a:extLst>
                </p:cNvPr>
                <p:cNvSpPr/>
                <p:nvPr/>
              </p:nvSpPr>
              <p:spPr>
                <a:xfrm>
                  <a:off x="7859838" y="1795199"/>
                  <a:ext cx="9092" cy="51442"/>
                </a:xfrm>
                <a:custGeom>
                  <a:avLst/>
                  <a:gdLst>
                    <a:gd name="connsiteX0" fmla="*/ 0 w 9092"/>
                    <a:gd name="connsiteY0" fmla="*/ 0 h 51442"/>
                    <a:gd name="connsiteX1" fmla="*/ 4982 w 9092"/>
                    <a:gd name="connsiteY1" fmla="*/ 18185 h 51442"/>
                    <a:gd name="connsiteX2" fmla="*/ 4359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598"/>
                        <a:pt x="4733" y="13826"/>
                        <a:pt x="4982" y="18185"/>
                      </a:cubicBezTo>
                      <a:cubicBezTo>
                        <a:pt x="5356" y="25161"/>
                        <a:pt x="3737" y="28524"/>
                        <a:pt x="4359" y="35624"/>
                      </a:cubicBezTo>
                      <a:cubicBezTo>
                        <a:pt x="4982" y="42474"/>
                        <a:pt x="7224"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2" name="Freeform 7422">
                  <a:extLst>
                    <a:ext uri="{FF2B5EF4-FFF2-40B4-BE49-F238E27FC236}">
                      <a16:creationId xmlns:a16="http://schemas.microsoft.com/office/drawing/2014/main" id="{9C2C9504-CCF6-8DAA-1C81-72160A85D531}"/>
                    </a:ext>
                  </a:extLst>
                </p:cNvPr>
                <p:cNvSpPr/>
                <p:nvPr/>
              </p:nvSpPr>
              <p:spPr>
                <a:xfrm>
                  <a:off x="7859179" y="1834772"/>
                  <a:ext cx="26757" cy="26508"/>
                </a:xfrm>
                <a:custGeom>
                  <a:avLst/>
                  <a:gdLst>
                    <a:gd name="connsiteX0" fmla="*/ 161 w 26757"/>
                    <a:gd name="connsiteY0" fmla="*/ 15357 h 26508"/>
                    <a:gd name="connsiteX1" fmla="*/ 11246 w 26757"/>
                    <a:gd name="connsiteY1" fmla="*/ 161 h 26508"/>
                    <a:gd name="connsiteX2" fmla="*/ 26567 w 26757"/>
                    <a:gd name="connsiteY2" fmla="*/ 11122 h 26508"/>
                    <a:gd name="connsiteX3" fmla="*/ 15482 w 26757"/>
                    <a:gd name="connsiteY3" fmla="*/ 26318 h 26508"/>
                    <a:gd name="connsiteX4" fmla="*/ 161 w 26757"/>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508">
                      <a:moveTo>
                        <a:pt x="161" y="15357"/>
                      </a:moveTo>
                      <a:cubicBezTo>
                        <a:pt x="-960" y="8132"/>
                        <a:pt x="3898" y="1282"/>
                        <a:pt x="11246" y="161"/>
                      </a:cubicBezTo>
                      <a:cubicBezTo>
                        <a:pt x="18471" y="-960"/>
                        <a:pt x="25321" y="3897"/>
                        <a:pt x="26567" y="11122"/>
                      </a:cubicBezTo>
                      <a:cubicBezTo>
                        <a:pt x="27813" y="18346"/>
                        <a:pt x="22830" y="25197"/>
                        <a:pt x="15482" y="26318"/>
                      </a:cubicBezTo>
                      <a:cubicBezTo>
                        <a:pt x="8132" y="27563"/>
                        <a:pt x="1282" y="22581"/>
                        <a:pt x="161"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3" name="Freeform 7423">
                  <a:extLst>
                    <a:ext uri="{FF2B5EF4-FFF2-40B4-BE49-F238E27FC236}">
                      <a16:creationId xmlns:a16="http://schemas.microsoft.com/office/drawing/2014/main" id="{6E5B3C36-7BDB-FE1A-1ACF-74152ADF2008}"/>
                    </a:ext>
                  </a:extLst>
                </p:cNvPr>
                <p:cNvSpPr/>
                <p:nvPr/>
              </p:nvSpPr>
              <p:spPr>
                <a:xfrm>
                  <a:off x="7850005" y="1734789"/>
                  <a:ext cx="8680" cy="51566"/>
                </a:xfrm>
                <a:custGeom>
                  <a:avLst/>
                  <a:gdLst>
                    <a:gd name="connsiteX0" fmla="*/ 492 w 8680"/>
                    <a:gd name="connsiteY0" fmla="*/ 0 h 51566"/>
                    <a:gd name="connsiteX1" fmla="*/ 1488 w 8680"/>
                    <a:gd name="connsiteY1" fmla="*/ 18808 h 51566"/>
                    <a:gd name="connsiteX2" fmla="*/ 7592 w 8680"/>
                    <a:gd name="connsiteY2" fmla="*/ 35125 h 51566"/>
                    <a:gd name="connsiteX3" fmla="*/ 8089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492" y="0"/>
                      </a:moveTo>
                      <a:cubicBezTo>
                        <a:pt x="-630" y="8345"/>
                        <a:pt x="367" y="14573"/>
                        <a:pt x="1488" y="18808"/>
                      </a:cubicBezTo>
                      <a:cubicBezTo>
                        <a:pt x="3356" y="25534"/>
                        <a:pt x="5972" y="28275"/>
                        <a:pt x="7592" y="35125"/>
                      </a:cubicBezTo>
                      <a:cubicBezTo>
                        <a:pt x="9210" y="41851"/>
                        <a:pt x="8712" y="47706"/>
                        <a:pt x="808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4" name="Freeform 7424">
                  <a:extLst>
                    <a:ext uri="{FF2B5EF4-FFF2-40B4-BE49-F238E27FC236}">
                      <a16:creationId xmlns:a16="http://schemas.microsoft.com/office/drawing/2014/main" id="{A9F6C0EB-64B5-BEFB-AAE1-C1C400B7D563}"/>
                    </a:ext>
                  </a:extLst>
                </p:cNvPr>
                <p:cNvSpPr/>
                <p:nvPr/>
              </p:nvSpPr>
              <p:spPr>
                <a:xfrm>
                  <a:off x="7856600" y="1728561"/>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844"/>
                        <a:pt x="4359" y="37616"/>
                        <a:pt x="4111" y="33257"/>
                      </a:cubicBezTo>
                      <a:cubicBezTo>
                        <a:pt x="3737" y="26282"/>
                        <a:pt x="5356" y="22919"/>
                        <a:pt x="4733" y="15819"/>
                      </a:cubicBezTo>
                      <a:cubicBezTo>
                        <a:pt x="4111"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95" name="Freeform 7425">
                  <a:extLst>
                    <a:ext uri="{FF2B5EF4-FFF2-40B4-BE49-F238E27FC236}">
                      <a16:creationId xmlns:a16="http://schemas.microsoft.com/office/drawing/2014/main" id="{43D7F910-53B5-158C-B91E-85E54E42E555}"/>
                    </a:ext>
                  </a:extLst>
                </p:cNvPr>
                <p:cNvSpPr/>
                <p:nvPr/>
              </p:nvSpPr>
              <p:spPr>
                <a:xfrm>
                  <a:off x="7839623" y="1713951"/>
                  <a:ext cx="26478" cy="26478"/>
                </a:xfrm>
                <a:custGeom>
                  <a:avLst/>
                  <a:gdLst>
                    <a:gd name="connsiteX0" fmla="*/ 26318 w 26478"/>
                    <a:gd name="connsiteY0" fmla="*/ 11122 h 26478"/>
                    <a:gd name="connsiteX1" fmla="*/ 15357 w 26478"/>
                    <a:gd name="connsiteY1" fmla="*/ 26318 h 26478"/>
                    <a:gd name="connsiteX2" fmla="*/ 161 w 26478"/>
                    <a:gd name="connsiteY2" fmla="*/ 15357 h 26478"/>
                    <a:gd name="connsiteX3" fmla="*/ 11122 w 26478"/>
                    <a:gd name="connsiteY3" fmla="*/ 161 h 26478"/>
                    <a:gd name="connsiteX4" fmla="*/ 26318 w 2647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477">
                      <a:moveTo>
                        <a:pt x="26318" y="11122"/>
                      </a:moveTo>
                      <a:cubicBezTo>
                        <a:pt x="27439" y="18346"/>
                        <a:pt x="22582" y="25197"/>
                        <a:pt x="15357" y="26318"/>
                      </a:cubicBezTo>
                      <a:cubicBezTo>
                        <a:pt x="8133" y="27439"/>
                        <a:pt x="1407" y="22581"/>
                        <a:pt x="161" y="15357"/>
                      </a:cubicBezTo>
                      <a:cubicBezTo>
                        <a:pt x="-960" y="8132"/>
                        <a:pt x="3898" y="1282"/>
                        <a:pt x="11122" y="161"/>
                      </a:cubicBezTo>
                      <a:cubicBezTo>
                        <a:pt x="18346" y="-960"/>
                        <a:pt x="25197" y="3897"/>
                        <a:pt x="26318"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8" name="Graphic 2987">
                <a:extLst>
                  <a:ext uri="{FF2B5EF4-FFF2-40B4-BE49-F238E27FC236}">
                    <a16:creationId xmlns:a16="http://schemas.microsoft.com/office/drawing/2014/main" id="{4F39C6FD-EDB4-D99B-3786-3EAB6000AAE7}"/>
                  </a:ext>
                </a:extLst>
              </p:cNvPr>
              <p:cNvGrpSpPr/>
              <p:nvPr/>
            </p:nvGrpSpPr>
            <p:grpSpPr>
              <a:xfrm>
                <a:off x="7810602" y="1718654"/>
                <a:ext cx="45781" cy="147333"/>
                <a:chOff x="7810602" y="1718654"/>
                <a:chExt cx="45781" cy="147333"/>
              </a:xfrm>
              <a:grpFill/>
            </p:grpSpPr>
            <p:sp>
              <p:nvSpPr>
                <p:cNvPr id="6684" name="Freeform 7427">
                  <a:extLst>
                    <a:ext uri="{FF2B5EF4-FFF2-40B4-BE49-F238E27FC236}">
                      <a16:creationId xmlns:a16="http://schemas.microsoft.com/office/drawing/2014/main" id="{87C8F7A2-6092-C6B9-0306-9035C5BE77B0}"/>
                    </a:ext>
                  </a:extLst>
                </p:cNvPr>
                <p:cNvSpPr/>
                <p:nvPr/>
              </p:nvSpPr>
              <p:spPr>
                <a:xfrm>
                  <a:off x="7837324" y="1793705"/>
                  <a:ext cx="8736" cy="51566"/>
                </a:xfrm>
                <a:custGeom>
                  <a:avLst/>
                  <a:gdLst>
                    <a:gd name="connsiteX0" fmla="*/ 8190 w 8736"/>
                    <a:gd name="connsiteY0" fmla="*/ 51567 h 51566"/>
                    <a:gd name="connsiteX1" fmla="*/ 7193 w 8736"/>
                    <a:gd name="connsiteY1" fmla="*/ 32759 h 51566"/>
                    <a:gd name="connsiteX2" fmla="*/ 1090 w 8736"/>
                    <a:gd name="connsiteY2" fmla="*/ 16442 h 51566"/>
                    <a:gd name="connsiteX3" fmla="*/ 592 w 8736"/>
                    <a:gd name="connsiteY3" fmla="*/ 0 h 51566"/>
                  </a:gdLst>
                  <a:ahLst/>
                  <a:cxnLst>
                    <a:cxn ang="0">
                      <a:pos x="connsiteX0" y="connsiteY0"/>
                    </a:cxn>
                    <a:cxn ang="0">
                      <a:pos x="connsiteX1" y="connsiteY1"/>
                    </a:cxn>
                    <a:cxn ang="0">
                      <a:pos x="connsiteX2" y="connsiteY2"/>
                    </a:cxn>
                    <a:cxn ang="0">
                      <a:pos x="connsiteX3" y="connsiteY3"/>
                    </a:cxn>
                  </a:cxnLst>
                  <a:rect l="l" t="t" r="r" b="b"/>
                  <a:pathLst>
                    <a:path w="8736" h="51566">
                      <a:moveTo>
                        <a:pt x="8190" y="51567"/>
                      </a:moveTo>
                      <a:cubicBezTo>
                        <a:pt x="9435" y="43222"/>
                        <a:pt x="8314" y="36994"/>
                        <a:pt x="7193" y="32759"/>
                      </a:cubicBezTo>
                      <a:cubicBezTo>
                        <a:pt x="5325" y="26033"/>
                        <a:pt x="2709" y="23292"/>
                        <a:pt x="1090" y="16442"/>
                      </a:cubicBezTo>
                      <a:cubicBezTo>
                        <a:pt x="-530" y="9716"/>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5" name="Freeform 7428">
                  <a:extLst>
                    <a:ext uri="{FF2B5EF4-FFF2-40B4-BE49-F238E27FC236}">
                      <a16:creationId xmlns:a16="http://schemas.microsoft.com/office/drawing/2014/main" id="{557DA5F8-FC09-0EAC-7ADF-E51DEBF052D0}"/>
                    </a:ext>
                  </a:extLst>
                </p:cNvPr>
                <p:cNvSpPr/>
                <p:nvPr/>
              </p:nvSpPr>
              <p:spPr>
                <a:xfrm>
                  <a:off x="7830442" y="1799932"/>
                  <a:ext cx="8843" cy="51442"/>
                </a:xfrm>
                <a:custGeom>
                  <a:avLst/>
                  <a:gdLst>
                    <a:gd name="connsiteX0" fmla="*/ 0 w 8843"/>
                    <a:gd name="connsiteY0" fmla="*/ 0 h 51442"/>
                    <a:gd name="connsiteX1" fmla="*/ 4858 w 8843"/>
                    <a:gd name="connsiteY1" fmla="*/ 18185 h 51442"/>
                    <a:gd name="connsiteX2" fmla="*/ 4111 w 8843"/>
                    <a:gd name="connsiteY2" fmla="*/ 35624 h 51442"/>
                    <a:gd name="connsiteX3" fmla="*/ 8844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0" y="0"/>
                      </a:moveTo>
                      <a:cubicBezTo>
                        <a:pt x="3737" y="7598"/>
                        <a:pt x="4733" y="13826"/>
                        <a:pt x="4858" y="18185"/>
                      </a:cubicBezTo>
                      <a:cubicBezTo>
                        <a:pt x="5232" y="25161"/>
                        <a:pt x="3488" y="28524"/>
                        <a:pt x="4111" y="35624"/>
                      </a:cubicBezTo>
                      <a:cubicBezTo>
                        <a:pt x="4733" y="42474"/>
                        <a:pt x="6975" y="47955"/>
                        <a:pt x="8844"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6" name="Freeform 7429">
                  <a:extLst>
                    <a:ext uri="{FF2B5EF4-FFF2-40B4-BE49-F238E27FC236}">
                      <a16:creationId xmlns:a16="http://schemas.microsoft.com/office/drawing/2014/main" id="{7CBDDDB4-714B-D87A-6B77-0D3595684B08}"/>
                    </a:ext>
                  </a:extLst>
                </p:cNvPr>
                <p:cNvSpPr/>
                <p:nvPr/>
              </p:nvSpPr>
              <p:spPr>
                <a:xfrm>
                  <a:off x="7829662" y="1839506"/>
                  <a:ext cx="26721" cy="26481"/>
                </a:xfrm>
                <a:custGeom>
                  <a:avLst/>
                  <a:gdLst>
                    <a:gd name="connsiteX0" fmla="*/ 157 w 26721"/>
                    <a:gd name="connsiteY0" fmla="*/ 15357 h 26481"/>
                    <a:gd name="connsiteX1" fmla="*/ 11243 w 26721"/>
                    <a:gd name="connsiteY1" fmla="*/ 161 h 26481"/>
                    <a:gd name="connsiteX2" fmla="*/ 26564 w 26721"/>
                    <a:gd name="connsiteY2" fmla="*/ 11122 h 26481"/>
                    <a:gd name="connsiteX3" fmla="*/ 15479 w 26721"/>
                    <a:gd name="connsiteY3" fmla="*/ 26318 h 26481"/>
                    <a:gd name="connsiteX4" fmla="*/ 157 w 26721"/>
                    <a:gd name="connsiteY4" fmla="*/ 15357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81">
                      <a:moveTo>
                        <a:pt x="157" y="15357"/>
                      </a:moveTo>
                      <a:cubicBezTo>
                        <a:pt x="-963" y="8132"/>
                        <a:pt x="4019" y="1282"/>
                        <a:pt x="11243" y="161"/>
                      </a:cubicBezTo>
                      <a:cubicBezTo>
                        <a:pt x="18468" y="-960"/>
                        <a:pt x="25318" y="3897"/>
                        <a:pt x="26564" y="11122"/>
                      </a:cubicBezTo>
                      <a:cubicBezTo>
                        <a:pt x="27685" y="18346"/>
                        <a:pt x="22702" y="25197"/>
                        <a:pt x="15479" y="26318"/>
                      </a:cubicBezTo>
                      <a:cubicBezTo>
                        <a:pt x="8254" y="27439"/>
                        <a:pt x="1403" y="22706"/>
                        <a:pt x="15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7" name="Freeform 7430">
                  <a:extLst>
                    <a:ext uri="{FF2B5EF4-FFF2-40B4-BE49-F238E27FC236}">
                      <a16:creationId xmlns:a16="http://schemas.microsoft.com/office/drawing/2014/main" id="{5E9A1A06-D47E-0AA5-D247-1C6E71B33029}"/>
                    </a:ext>
                  </a:extLst>
                </p:cNvPr>
                <p:cNvSpPr/>
                <p:nvPr/>
              </p:nvSpPr>
              <p:spPr>
                <a:xfrm>
                  <a:off x="7820858" y="1739522"/>
                  <a:ext cx="8666" cy="51691"/>
                </a:xfrm>
                <a:custGeom>
                  <a:avLst/>
                  <a:gdLst>
                    <a:gd name="connsiteX0" fmla="*/ 491 w 8666"/>
                    <a:gd name="connsiteY0" fmla="*/ 0 h 51691"/>
                    <a:gd name="connsiteX1" fmla="*/ 1488 w 8666"/>
                    <a:gd name="connsiteY1" fmla="*/ 18808 h 51691"/>
                    <a:gd name="connsiteX2" fmla="*/ 7591 w 8666"/>
                    <a:gd name="connsiteY2" fmla="*/ 35125 h 51691"/>
                    <a:gd name="connsiteX3" fmla="*/ 7965 w 86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666" h="51690">
                      <a:moveTo>
                        <a:pt x="491" y="0"/>
                      </a:moveTo>
                      <a:cubicBezTo>
                        <a:pt x="-629" y="8345"/>
                        <a:pt x="367" y="14573"/>
                        <a:pt x="1488" y="18808"/>
                      </a:cubicBezTo>
                      <a:cubicBezTo>
                        <a:pt x="3356" y="25534"/>
                        <a:pt x="5972" y="28275"/>
                        <a:pt x="7591" y="35125"/>
                      </a:cubicBezTo>
                      <a:cubicBezTo>
                        <a:pt x="9210" y="41851"/>
                        <a:pt x="8713" y="47706"/>
                        <a:pt x="796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8" name="Freeform 7431">
                  <a:extLst>
                    <a:ext uri="{FF2B5EF4-FFF2-40B4-BE49-F238E27FC236}">
                      <a16:creationId xmlns:a16="http://schemas.microsoft.com/office/drawing/2014/main" id="{A822298F-9ADE-4FDB-8E88-22012A8825AC}"/>
                    </a:ext>
                  </a:extLst>
                </p:cNvPr>
                <p:cNvSpPr/>
                <p:nvPr/>
              </p:nvSpPr>
              <p:spPr>
                <a:xfrm>
                  <a:off x="7827453" y="1733294"/>
                  <a:ext cx="8968" cy="51442"/>
                </a:xfrm>
                <a:custGeom>
                  <a:avLst/>
                  <a:gdLst>
                    <a:gd name="connsiteX0" fmla="*/ 8969 w 8968"/>
                    <a:gd name="connsiteY0" fmla="*/ 51442 h 51442"/>
                    <a:gd name="connsiteX1" fmla="*/ 4111 w 8968"/>
                    <a:gd name="connsiteY1" fmla="*/ 33257 h 51442"/>
                    <a:gd name="connsiteX2" fmla="*/ 4733 w 8968"/>
                    <a:gd name="connsiteY2" fmla="*/ 15819 h 51442"/>
                    <a:gd name="connsiteX3" fmla="*/ 0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8969" y="51442"/>
                      </a:moveTo>
                      <a:cubicBezTo>
                        <a:pt x="5232" y="43844"/>
                        <a:pt x="4235" y="37616"/>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9" name="Freeform 7432">
                  <a:extLst>
                    <a:ext uri="{FF2B5EF4-FFF2-40B4-BE49-F238E27FC236}">
                      <a16:creationId xmlns:a16="http://schemas.microsoft.com/office/drawing/2014/main" id="{784C1194-190F-93F2-47DC-287280F29892}"/>
                    </a:ext>
                  </a:extLst>
                </p:cNvPr>
                <p:cNvSpPr/>
                <p:nvPr/>
              </p:nvSpPr>
              <p:spPr>
                <a:xfrm>
                  <a:off x="7810602" y="1718654"/>
                  <a:ext cx="26353" cy="26508"/>
                </a:xfrm>
                <a:custGeom>
                  <a:avLst/>
                  <a:gdLst>
                    <a:gd name="connsiteX0" fmla="*/ 26193 w 26353"/>
                    <a:gd name="connsiteY0" fmla="*/ 11152 h 26508"/>
                    <a:gd name="connsiteX1" fmla="*/ 15232 w 26353"/>
                    <a:gd name="connsiteY1" fmla="*/ 26348 h 26508"/>
                    <a:gd name="connsiteX2" fmla="*/ 161 w 26353"/>
                    <a:gd name="connsiteY2" fmla="*/ 15387 h 26508"/>
                    <a:gd name="connsiteX3" fmla="*/ 11122 w 26353"/>
                    <a:gd name="connsiteY3" fmla="*/ 191 h 26508"/>
                    <a:gd name="connsiteX4" fmla="*/ 26193 w 2635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08">
                      <a:moveTo>
                        <a:pt x="26193" y="11152"/>
                      </a:moveTo>
                      <a:cubicBezTo>
                        <a:pt x="27314" y="18376"/>
                        <a:pt x="22456" y="25227"/>
                        <a:pt x="15232" y="26348"/>
                      </a:cubicBezTo>
                      <a:cubicBezTo>
                        <a:pt x="8008" y="27469"/>
                        <a:pt x="1281" y="22611"/>
                        <a:pt x="161" y="15387"/>
                      </a:cubicBezTo>
                      <a:cubicBezTo>
                        <a:pt x="-961" y="8163"/>
                        <a:pt x="3897" y="1312"/>
                        <a:pt x="11122" y="191"/>
                      </a:cubicBezTo>
                      <a:cubicBezTo>
                        <a:pt x="18346" y="-1055"/>
                        <a:pt x="25072" y="3928"/>
                        <a:pt x="26193"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19" name="Graphic 2987">
                <a:extLst>
                  <a:ext uri="{FF2B5EF4-FFF2-40B4-BE49-F238E27FC236}">
                    <a16:creationId xmlns:a16="http://schemas.microsoft.com/office/drawing/2014/main" id="{B744E26F-9945-4B0F-665C-0AEE3798B354}"/>
                  </a:ext>
                </a:extLst>
              </p:cNvPr>
              <p:cNvGrpSpPr/>
              <p:nvPr/>
            </p:nvGrpSpPr>
            <p:grpSpPr>
              <a:xfrm>
                <a:off x="7781580" y="1723388"/>
                <a:ext cx="45283" cy="147454"/>
                <a:chOff x="7781580" y="1723388"/>
                <a:chExt cx="45283" cy="147454"/>
              </a:xfrm>
              <a:grpFill/>
            </p:grpSpPr>
            <p:sp>
              <p:nvSpPr>
                <p:cNvPr id="6678" name="Freeform 7434">
                  <a:extLst>
                    <a:ext uri="{FF2B5EF4-FFF2-40B4-BE49-F238E27FC236}">
                      <a16:creationId xmlns:a16="http://schemas.microsoft.com/office/drawing/2014/main" id="{F8ADE50D-E9CA-90DB-4152-58C1E3C1CC8A}"/>
                    </a:ext>
                  </a:extLst>
                </p:cNvPr>
                <p:cNvSpPr/>
                <p:nvPr/>
              </p:nvSpPr>
              <p:spPr>
                <a:xfrm>
                  <a:off x="7808286" y="1798313"/>
                  <a:ext cx="8408" cy="51691"/>
                </a:xfrm>
                <a:custGeom>
                  <a:avLst/>
                  <a:gdLst>
                    <a:gd name="connsiteX0" fmla="*/ 7832 w 8408"/>
                    <a:gd name="connsiteY0" fmla="*/ 51691 h 51691"/>
                    <a:gd name="connsiteX1" fmla="*/ 6960 w 8408"/>
                    <a:gd name="connsiteY1" fmla="*/ 32883 h 51691"/>
                    <a:gd name="connsiteX2" fmla="*/ 982 w 8408"/>
                    <a:gd name="connsiteY2" fmla="*/ 16566 h 51691"/>
                    <a:gd name="connsiteX3" fmla="*/ 608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7832" y="51691"/>
                      </a:moveTo>
                      <a:cubicBezTo>
                        <a:pt x="9077" y="43346"/>
                        <a:pt x="8082" y="37118"/>
                        <a:pt x="6960" y="32883"/>
                      </a:cubicBezTo>
                      <a:cubicBezTo>
                        <a:pt x="5092" y="26157"/>
                        <a:pt x="2476"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9" name="Freeform 7435">
                  <a:extLst>
                    <a:ext uri="{FF2B5EF4-FFF2-40B4-BE49-F238E27FC236}">
                      <a16:creationId xmlns:a16="http://schemas.microsoft.com/office/drawing/2014/main" id="{25FD6C1E-1E81-3117-1009-A58EB91CB534}"/>
                    </a:ext>
                  </a:extLst>
                </p:cNvPr>
                <p:cNvSpPr/>
                <p:nvPr/>
              </p:nvSpPr>
              <p:spPr>
                <a:xfrm>
                  <a:off x="7801171" y="1804666"/>
                  <a:ext cx="8719" cy="51442"/>
                </a:xfrm>
                <a:custGeom>
                  <a:avLst/>
                  <a:gdLst>
                    <a:gd name="connsiteX0" fmla="*/ 0 w 8719"/>
                    <a:gd name="connsiteY0" fmla="*/ 0 h 51442"/>
                    <a:gd name="connsiteX1" fmla="*/ 4858 w 8719"/>
                    <a:gd name="connsiteY1" fmla="*/ 18185 h 51442"/>
                    <a:gd name="connsiteX2" fmla="*/ 4111 w 8719"/>
                    <a:gd name="connsiteY2" fmla="*/ 35624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107" y="25161"/>
                        <a:pt x="3488" y="28524"/>
                        <a:pt x="4111" y="35624"/>
                      </a:cubicBezTo>
                      <a:cubicBezTo>
                        <a:pt x="4733" y="42474"/>
                        <a:pt x="6975" y="47955"/>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0" name="Freeform 7436">
                  <a:extLst>
                    <a:ext uri="{FF2B5EF4-FFF2-40B4-BE49-F238E27FC236}">
                      <a16:creationId xmlns:a16="http://schemas.microsoft.com/office/drawing/2014/main" id="{5434495B-2FDF-D64D-87BC-46A75592411F}"/>
                    </a:ext>
                  </a:extLst>
                </p:cNvPr>
                <p:cNvSpPr/>
                <p:nvPr/>
              </p:nvSpPr>
              <p:spPr>
                <a:xfrm>
                  <a:off x="7800266" y="1844363"/>
                  <a:ext cx="26596" cy="26478"/>
                </a:xfrm>
                <a:custGeom>
                  <a:avLst/>
                  <a:gdLst>
                    <a:gd name="connsiteX0" fmla="*/ 158 w 26596"/>
                    <a:gd name="connsiteY0" fmla="*/ 15357 h 26478"/>
                    <a:gd name="connsiteX1" fmla="*/ 11243 w 26596"/>
                    <a:gd name="connsiteY1" fmla="*/ 161 h 26478"/>
                    <a:gd name="connsiteX2" fmla="*/ 26439 w 26596"/>
                    <a:gd name="connsiteY2" fmla="*/ 11122 h 26478"/>
                    <a:gd name="connsiteX3" fmla="*/ 15353 w 26596"/>
                    <a:gd name="connsiteY3" fmla="*/ 26318 h 26478"/>
                    <a:gd name="connsiteX4" fmla="*/ 158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158" y="15357"/>
                      </a:moveTo>
                      <a:cubicBezTo>
                        <a:pt x="-964" y="8132"/>
                        <a:pt x="4019" y="1282"/>
                        <a:pt x="11243" y="161"/>
                      </a:cubicBezTo>
                      <a:cubicBezTo>
                        <a:pt x="18467" y="-960"/>
                        <a:pt x="25319" y="3897"/>
                        <a:pt x="26439" y="11122"/>
                      </a:cubicBezTo>
                      <a:cubicBezTo>
                        <a:pt x="27560" y="18346"/>
                        <a:pt x="22578" y="25197"/>
                        <a:pt x="15353" y="26318"/>
                      </a:cubicBezTo>
                      <a:cubicBezTo>
                        <a:pt x="8130" y="27439"/>
                        <a:pt x="1279"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1" name="Freeform 7437">
                  <a:extLst>
                    <a:ext uri="{FF2B5EF4-FFF2-40B4-BE49-F238E27FC236}">
                      <a16:creationId xmlns:a16="http://schemas.microsoft.com/office/drawing/2014/main" id="{67F7149B-1470-7D19-7DC7-395E47391506}"/>
                    </a:ext>
                  </a:extLst>
                </p:cNvPr>
                <p:cNvSpPr/>
                <p:nvPr/>
              </p:nvSpPr>
              <p:spPr>
                <a:xfrm>
                  <a:off x="7791627" y="1744131"/>
                  <a:ext cx="8408" cy="51691"/>
                </a:xfrm>
                <a:custGeom>
                  <a:avLst/>
                  <a:gdLst>
                    <a:gd name="connsiteX0" fmla="*/ 577 w 8408"/>
                    <a:gd name="connsiteY0" fmla="*/ 0 h 51691"/>
                    <a:gd name="connsiteX1" fmla="*/ 1448 w 8408"/>
                    <a:gd name="connsiteY1" fmla="*/ 18808 h 51691"/>
                    <a:gd name="connsiteX2" fmla="*/ 7428 w 8408"/>
                    <a:gd name="connsiteY2" fmla="*/ 35125 h 51691"/>
                    <a:gd name="connsiteX3" fmla="*/ 7801 w 840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8" h="51690">
                      <a:moveTo>
                        <a:pt x="577" y="0"/>
                      </a:moveTo>
                      <a:cubicBezTo>
                        <a:pt x="-669" y="8345"/>
                        <a:pt x="328" y="14573"/>
                        <a:pt x="1448" y="18808"/>
                      </a:cubicBezTo>
                      <a:cubicBezTo>
                        <a:pt x="3317" y="25534"/>
                        <a:pt x="5808" y="28275"/>
                        <a:pt x="7428" y="35125"/>
                      </a:cubicBezTo>
                      <a:cubicBezTo>
                        <a:pt x="8922" y="41851"/>
                        <a:pt x="8423" y="47706"/>
                        <a:pt x="78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2" name="Freeform 7438">
                  <a:extLst>
                    <a:ext uri="{FF2B5EF4-FFF2-40B4-BE49-F238E27FC236}">
                      <a16:creationId xmlns:a16="http://schemas.microsoft.com/office/drawing/2014/main" id="{86727BE5-9D19-9C63-D864-B656C3E09ED8}"/>
                    </a:ext>
                  </a:extLst>
                </p:cNvPr>
                <p:cNvSpPr/>
                <p:nvPr/>
              </p:nvSpPr>
              <p:spPr>
                <a:xfrm>
                  <a:off x="7798431" y="1738027"/>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2"/>
                        <a:pt x="5231" y="22919"/>
                        <a:pt x="4609" y="15819"/>
                      </a:cubicBezTo>
                      <a:cubicBezTo>
                        <a:pt x="3985"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83" name="Freeform 7439">
                  <a:extLst>
                    <a:ext uri="{FF2B5EF4-FFF2-40B4-BE49-F238E27FC236}">
                      <a16:creationId xmlns:a16="http://schemas.microsoft.com/office/drawing/2014/main" id="{25C9B2F6-6F3F-658C-449D-FA7E5989D36B}"/>
                    </a:ext>
                  </a:extLst>
                </p:cNvPr>
                <p:cNvSpPr/>
                <p:nvPr/>
              </p:nvSpPr>
              <p:spPr>
                <a:xfrm>
                  <a:off x="7781580" y="1723388"/>
                  <a:ext cx="26354" cy="26508"/>
                </a:xfrm>
                <a:custGeom>
                  <a:avLst/>
                  <a:gdLst>
                    <a:gd name="connsiteX0" fmla="*/ 26194 w 26354"/>
                    <a:gd name="connsiteY0" fmla="*/ 11152 h 26508"/>
                    <a:gd name="connsiteX1" fmla="*/ 15233 w 26354"/>
                    <a:gd name="connsiteY1" fmla="*/ 26348 h 26508"/>
                    <a:gd name="connsiteX2" fmla="*/ 161 w 26354"/>
                    <a:gd name="connsiteY2" fmla="*/ 15387 h 26508"/>
                    <a:gd name="connsiteX3" fmla="*/ 11122 w 26354"/>
                    <a:gd name="connsiteY3" fmla="*/ 191 h 26508"/>
                    <a:gd name="connsiteX4" fmla="*/ 26194 w 26354"/>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08">
                      <a:moveTo>
                        <a:pt x="26194" y="11152"/>
                      </a:moveTo>
                      <a:cubicBezTo>
                        <a:pt x="27314" y="18376"/>
                        <a:pt x="22456" y="25227"/>
                        <a:pt x="15233" y="26348"/>
                      </a:cubicBezTo>
                      <a:cubicBezTo>
                        <a:pt x="8008" y="27469"/>
                        <a:pt x="1282" y="22611"/>
                        <a:pt x="161" y="15387"/>
                      </a:cubicBezTo>
                      <a:cubicBezTo>
                        <a:pt x="-961" y="8163"/>
                        <a:pt x="3897" y="1312"/>
                        <a:pt x="11122" y="191"/>
                      </a:cubicBezTo>
                      <a:cubicBezTo>
                        <a:pt x="18222" y="-1055"/>
                        <a:pt x="25072" y="3928"/>
                        <a:pt x="26194"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0" name="Graphic 2987">
                <a:extLst>
                  <a:ext uri="{FF2B5EF4-FFF2-40B4-BE49-F238E27FC236}">
                    <a16:creationId xmlns:a16="http://schemas.microsoft.com/office/drawing/2014/main" id="{8DDBD73E-7AB7-34FA-21A1-F55016B79E2F}"/>
                  </a:ext>
                </a:extLst>
              </p:cNvPr>
              <p:cNvGrpSpPr/>
              <p:nvPr/>
            </p:nvGrpSpPr>
            <p:grpSpPr>
              <a:xfrm>
                <a:off x="7752436" y="1728026"/>
                <a:ext cx="45031" cy="147548"/>
                <a:chOff x="7752436" y="1728026"/>
                <a:chExt cx="45031" cy="147548"/>
              </a:xfrm>
              <a:grpFill/>
            </p:grpSpPr>
            <p:sp>
              <p:nvSpPr>
                <p:cNvPr id="6672" name="Freeform 7441">
                  <a:extLst>
                    <a:ext uri="{FF2B5EF4-FFF2-40B4-BE49-F238E27FC236}">
                      <a16:creationId xmlns:a16="http://schemas.microsoft.com/office/drawing/2014/main" id="{51E786A7-F68A-846B-21F2-BD2974A6FC26}"/>
                    </a:ext>
                  </a:extLst>
                </p:cNvPr>
                <p:cNvSpPr/>
                <p:nvPr/>
              </p:nvSpPr>
              <p:spPr>
                <a:xfrm>
                  <a:off x="7778890" y="1803046"/>
                  <a:ext cx="8409" cy="51691"/>
                </a:xfrm>
                <a:custGeom>
                  <a:avLst/>
                  <a:gdLst>
                    <a:gd name="connsiteX0" fmla="*/ 7833 w 8409"/>
                    <a:gd name="connsiteY0" fmla="*/ 51691 h 51691"/>
                    <a:gd name="connsiteX1" fmla="*/ 6961 w 8409"/>
                    <a:gd name="connsiteY1" fmla="*/ 32883 h 51691"/>
                    <a:gd name="connsiteX2" fmla="*/ 981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3" y="51691"/>
                      </a:moveTo>
                      <a:cubicBezTo>
                        <a:pt x="9078" y="43346"/>
                        <a:pt x="8081" y="37118"/>
                        <a:pt x="6961" y="32883"/>
                      </a:cubicBezTo>
                      <a:cubicBezTo>
                        <a:pt x="5092" y="26157"/>
                        <a:pt x="2601" y="23417"/>
                        <a:pt x="981"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3" name="Freeform 7442">
                  <a:extLst>
                    <a:ext uri="{FF2B5EF4-FFF2-40B4-BE49-F238E27FC236}">
                      <a16:creationId xmlns:a16="http://schemas.microsoft.com/office/drawing/2014/main" id="{057D33A6-124E-EB17-93C6-D999724AF217}"/>
                    </a:ext>
                  </a:extLst>
                </p:cNvPr>
                <p:cNvSpPr/>
                <p:nvPr/>
              </p:nvSpPr>
              <p:spPr>
                <a:xfrm>
                  <a:off x="7771901" y="1809399"/>
                  <a:ext cx="8469" cy="51442"/>
                </a:xfrm>
                <a:custGeom>
                  <a:avLst/>
                  <a:gdLst>
                    <a:gd name="connsiteX0" fmla="*/ 0 w 8469"/>
                    <a:gd name="connsiteY0" fmla="*/ 0 h 51442"/>
                    <a:gd name="connsiteX1" fmla="*/ 4733 w 8469"/>
                    <a:gd name="connsiteY1" fmla="*/ 18185 h 51442"/>
                    <a:gd name="connsiteX2" fmla="*/ 3861 w 8469"/>
                    <a:gd name="connsiteY2" fmla="*/ 35623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2" y="7598"/>
                        <a:pt x="4609" y="13826"/>
                        <a:pt x="4733" y="18185"/>
                      </a:cubicBezTo>
                      <a:cubicBezTo>
                        <a:pt x="4982" y="25161"/>
                        <a:pt x="3363" y="28524"/>
                        <a:pt x="3861" y="35623"/>
                      </a:cubicBezTo>
                      <a:cubicBezTo>
                        <a:pt x="4359" y="42474"/>
                        <a:pt x="6726"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4" name="Freeform 7443">
                  <a:extLst>
                    <a:ext uri="{FF2B5EF4-FFF2-40B4-BE49-F238E27FC236}">
                      <a16:creationId xmlns:a16="http://schemas.microsoft.com/office/drawing/2014/main" id="{6B2F9BDE-C381-DFB9-9173-0D7526AFA6FB}"/>
                    </a:ext>
                  </a:extLst>
                </p:cNvPr>
                <p:cNvSpPr/>
                <p:nvPr/>
              </p:nvSpPr>
              <p:spPr>
                <a:xfrm>
                  <a:off x="7770746" y="1849096"/>
                  <a:ext cx="26721" cy="26478"/>
                </a:xfrm>
                <a:custGeom>
                  <a:avLst/>
                  <a:gdLst>
                    <a:gd name="connsiteX0" fmla="*/ 158 w 26721"/>
                    <a:gd name="connsiteY0" fmla="*/ 15357 h 26478"/>
                    <a:gd name="connsiteX1" fmla="*/ 11368 w 26721"/>
                    <a:gd name="connsiteY1" fmla="*/ 161 h 26478"/>
                    <a:gd name="connsiteX2" fmla="*/ 26564 w 26721"/>
                    <a:gd name="connsiteY2" fmla="*/ 11122 h 26478"/>
                    <a:gd name="connsiteX3" fmla="*/ 15353 w 26721"/>
                    <a:gd name="connsiteY3" fmla="*/ 26318 h 26478"/>
                    <a:gd name="connsiteX4" fmla="*/ 158 w 26721"/>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477">
                      <a:moveTo>
                        <a:pt x="158" y="15357"/>
                      </a:moveTo>
                      <a:cubicBezTo>
                        <a:pt x="-964" y="8132"/>
                        <a:pt x="4019" y="1282"/>
                        <a:pt x="11368" y="161"/>
                      </a:cubicBezTo>
                      <a:cubicBezTo>
                        <a:pt x="18717" y="-960"/>
                        <a:pt x="25442" y="3898"/>
                        <a:pt x="26564" y="11122"/>
                      </a:cubicBezTo>
                      <a:cubicBezTo>
                        <a:pt x="27685" y="18346"/>
                        <a:pt x="22702" y="25197"/>
                        <a:pt x="15353" y="26318"/>
                      </a:cubicBezTo>
                      <a:cubicBezTo>
                        <a:pt x="8129" y="27439"/>
                        <a:pt x="1278" y="22581"/>
                        <a:pt x="158"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5" name="Freeform 7444">
                  <a:extLst>
                    <a:ext uri="{FF2B5EF4-FFF2-40B4-BE49-F238E27FC236}">
                      <a16:creationId xmlns:a16="http://schemas.microsoft.com/office/drawing/2014/main" id="{2F003A9B-8A0F-07C9-26FB-784D69958B5F}"/>
                    </a:ext>
                  </a:extLst>
                </p:cNvPr>
                <p:cNvSpPr/>
                <p:nvPr/>
              </p:nvSpPr>
              <p:spPr>
                <a:xfrm>
                  <a:off x="7762604" y="1748864"/>
                  <a:ext cx="8409" cy="51691"/>
                </a:xfrm>
                <a:custGeom>
                  <a:avLst/>
                  <a:gdLst>
                    <a:gd name="connsiteX0" fmla="*/ 577 w 8409"/>
                    <a:gd name="connsiteY0" fmla="*/ 0 h 51691"/>
                    <a:gd name="connsiteX1" fmla="*/ 1449 w 8409"/>
                    <a:gd name="connsiteY1" fmla="*/ 18808 h 51691"/>
                    <a:gd name="connsiteX2" fmla="*/ 7428 w 8409"/>
                    <a:gd name="connsiteY2" fmla="*/ 35125 h 51691"/>
                    <a:gd name="connsiteX3" fmla="*/ 7802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577" y="0"/>
                      </a:moveTo>
                      <a:cubicBezTo>
                        <a:pt x="-669" y="8345"/>
                        <a:pt x="328" y="14573"/>
                        <a:pt x="1449" y="18808"/>
                      </a:cubicBezTo>
                      <a:cubicBezTo>
                        <a:pt x="3317" y="25534"/>
                        <a:pt x="5808" y="28275"/>
                        <a:pt x="7428" y="35125"/>
                      </a:cubicBezTo>
                      <a:cubicBezTo>
                        <a:pt x="8922" y="41851"/>
                        <a:pt x="8424" y="47706"/>
                        <a:pt x="780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6" name="Freeform 7445">
                  <a:extLst>
                    <a:ext uri="{FF2B5EF4-FFF2-40B4-BE49-F238E27FC236}">
                      <a16:creationId xmlns:a16="http://schemas.microsoft.com/office/drawing/2014/main" id="{172C23B3-71EC-329C-B54D-F0E4F7C14171}"/>
                    </a:ext>
                  </a:extLst>
                </p:cNvPr>
                <p:cNvSpPr/>
                <p:nvPr/>
              </p:nvSpPr>
              <p:spPr>
                <a:xfrm>
                  <a:off x="7769285" y="1742760"/>
                  <a:ext cx="8594" cy="51442"/>
                </a:xfrm>
                <a:custGeom>
                  <a:avLst/>
                  <a:gdLst>
                    <a:gd name="connsiteX0" fmla="*/ 8595 w 8594"/>
                    <a:gd name="connsiteY0" fmla="*/ 51442 h 51442"/>
                    <a:gd name="connsiteX1" fmla="*/ 3861 w 8594"/>
                    <a:gd name="connsiteY1" fmla="*/ 33257 h 51442"/>
                    <a:gd name="connsiteX2" fmla="*/ 4609 w 8594"/>
                    <a:gd name="connsiteY2" fmla="*/ 15819 h 51442"/>
                    <a:gd name="connsiteX3" fmla="*/ 0 w 8594"/>
                    <a:gd name="connsiteY3" fmla="*/ 0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51442"/>
                      </a:moveTo>
                      <a:cubicBezTo>
                        <a:pt x="4983" y="43844"/>
                        <a:pt x="3986" y="37616"/>
                        <a:pt x="3861" y="33257"/>
                      </a:cubicBezTo>
                      <a:cubicBezTo>
                        <a:pt x="3612" y="26282"/>
                        <a:pt x="5231" y="22919"/>
                        <a:pt x="4609" y="15819"/>
                      </a:cubicBezTo>
                      <a:cubicBezTo>
                        <a:pt x="3986"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7" name="Freeform 7446">
                  <a:extLst>
                    <a:ext uri="{FF2B5EF4-FFF2-40B4-BE49-F238E27FC236}">
                      <a16:creationId xmlns:a16="http://schemas.microsoft.com/office/drawing/2014/main" id="{7AC08444-7D22-323A-8901-1680AC1F2974}"/>
                    </a:ext>
                  </a:extLst>
                </p:cNvPr>
                <p:cNvSpPr/>
                <p:nvPr/>
              </p:nvSpPr>
              <p:spPr>
                <a:xfrm>
                  <a:off x="7752436" y="1728026"/>
                  <a:ext cx="26348" cy="26478"/>
                </a:xfrm>
                <a:custGeom>
                  <a:avLst/>
                  <a:gdLst>
                    <a:gd name="connsiteX0" fmla="*/ 26190 w 26348"/>
                    <a:gd name="connsiteY0" fmla="*/ 11122 h 26478"/>
                    <a:gd name="connsiteX1" fmla="*/ 15229 w 26348"/>
                    <a:gd name="connsiteY1" fmla="*/ 26318 h 26478"/>
                    <a:gd name="connsiteX2" fmla="*/ 158 w 26348"/>
                    <a:gd name="connsiteY2" fmla="*/ 15357 h 26478"/>
                    <a:gd name="connsiteX3" fmla="*/ 11119 w 26348"/>
                    <a:gd name="connsiteY3" fmla="*/ 161 h 26478"/>
                    <a:gd name="connsiteX4" fmla="*/ 26190 w 26348"/>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8" h="26477">
                      <a:moveTo>
                        <a:pt x="26190" y="11122"/>
                      </a:moveTo>
                      <a:cubicBezTo>
                        <a:pt x="27312" y="18346"/>
                        <a:pt x="22329" y="25197"/>
                        <a:pt x="15229" y="26318"/>
                      </a:cubicBezTo>
                      <a:cubicBezTo>
                        <a:pt x="8129" y="27439"/>
                        <a:pt x="1279" y="22581"/>
                        <a:pt x="158" y="15357"/>
                      </a:cubicBezTo>
                      <a:cubicBezTo>
                        <a:pt x="-963" y="8132"/>
                        <a:pt x="4019" y="1282"/>
                        <a:pt x="11119" y="161"/>
                      </a:cubicBezTo>
                      <a:cubicBezTo>
                        <a:pt x="18343" y="-960"/>
                        <a:pt x="25069" y="3897"/>
                        <a:pt x="26190"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1" name="Graphic 2987">
                <a:extLst>
                  <a:ext uri="{FF2B5EF4-FFF2-40B4-BE49-F238E27FC236}">
                    <a16:creationId xmlns:a16="http://schemas.microsoft.com/office/drawing/2014/main" id="{B7F4803B-8CB7-5BB0-7EB3-34CD6DF458AF}"/>
                  </a:ext>
                </a:extLst>
              </p:cNvPr>
              <p:cNvGrpSpPr/>
              <p:nvPr/>
            </p:nvGrpSpPr>
            <p:grpSpPr>
              <a:xfrm>
                <a:off x="7723443" y="1732729"/>
                <a:ext cx="44629" cy="147609"/>
                <a:chOff x="7723443" y="1732729"/>
                <a:chExt cx="44629" cy="147609"/>
              </a:xfrm>
              <a:grpFill/>
            </p:grpSpPr>
            <p:sp>
              <p:nvSpPr>
                <p:cNvPr id="6666" name="Freeform 7448">
                  <a:extLst>
                    <a:ext uri="{FF2B5EF4-FFF2-40B4-BE49-F238E27FC236}">
                      <a16:creationId xmlns:a16="http://schemas.microsoft.com/office/drawing/2014/main" id="{524B4D26-5696-285F-B17F-C0ED0BE16AF1}"/>
                    </a:ext>
                  </a:extLst>
                </p:cNvPr>
                <p:cNvSpPr/>
                <p:nvPr/>
              </p:nvSpPr>
              <p:spPr>
                <a:xfrm>
                  <a:off x="7749384" y="1807780"/>
                  <a:ext cx="8395" cy="51691"/>
                </a:xfrm>
                <a:custGeom>
                  <a:avLst/>
                  <a:gdLst>
                    <a:gd name="connsiteX0" fmla="*/ 7819 w 8395"/>
                    <a:gd name="connsiteY0" fmla="*/ 51691 h 51691"/>
                    <a:gd name="connsiteX1" fmla="*/ 6947 w 8395"/>
                    <a:gd name="connsiteY1" fmla="*/ 32883 h 51691"/>
                    <a:gd name="connsiteX2" fmla="*/ 968 w 8395"/>
                    <a:gd name="connsiteY2" fmla="*/ 16566 h 51691"/>
                    <a:gd name="connsiteX3" fmla="*/ 719 w 8395"/>
                    <a:gd name="connsiteY3" fmla="*/ 0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51691"/>
                      </a:moveTo>
                      <a:cubicBezTo>
                        <a:pt x="9064" y="43346"/>
                        <a:pt x="8067" y="37118"/>
                        <a:pt x="6947" y="32883"/>
                      </a:cubicBezTo>
                      <a:cubicBezTo>
                        <a:pt x="5078" y="26157"/>
                        <a:pt x="2587"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7" name="Freeform 7449">
                  <a:extLst>
                    <a:ext uri="{FF2B5EF4-FFF2-40B4-BE49-F238E27FC236}">
                      <a16:creationId xmlns:a16="http://schemas.microsoft.com/office/drawing/2014/main" id="{BA73EDFF-58E3-8596-92B0-AC008B0AC93F}"/>
                    </a:ext>
                  </a:extLst>
                </p:cNvPr>
                <p:cNvSpPr/>
                <p:nvPr/>
              </p:nvSpPr>
              <p:spPr>
                <a:xfrm>
                  <a:off x="7742629" y="1814132"/>
                  <a:ext cx="8469" cy="51442"/>
                </a:xfrm>
                <a:custGeom>
                  <a:avLst/>
                  <a:gdLst>
                    <a:gd name="connsiteX0" fmla="*/ 0 w 8469"/>
                    <a:gd name="connsiteY0" fmla="*/ 0 h 51442"/>
                    <a:gd name="connsiteX1" fmla="*/ 4733 w 8469"/>
                    <a:gd name="connsiteY1" fmla="*/ 18185 h 51442"/>
                    <a:gd name="connsiteX2" fmla="*/ 3861 w 8469"/>
                    <a:gd name="connsiteY2" fmla="*/ 35624 h 51442"/>
                    <a:gd name="connsiteX3" fmla="*/ 847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0" y="0"/>
                      </a:moveTo>
                      <a:cubicBezTo>
                        <a:pt x="3613" y="7598"/>
                        <a:pt x="4609" y="13826"/>
                        <a:pt x="4733" y="18185"/>
                      </a:cubicBezTo>
                      <a:cubicBezTo>
                        <a:pt x="4983" y="25161"/>
                        <a:pt x="3363" y="28524"/>
                        <a:pt x="3861" y="35624"/>
                      </a:cubicBezTo>
                      <a:cubicBezTo>
                        <a:pt x="4360" y="42474"/>
                        <a:pt x="6602" y="47955"/>
                        <a:pt x="847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8" name="Freeform 7450">
                  <a:extLst>
                    <a:ext uri="{FF2B5EF4-FFF2-40B4-BE49-F238E27FC236}">
                      <a16:creationId xmlns:a16="http://schemas.microsoft.com/office/drawing/2014/main" id="{0040ACDD-64F7-28FE-335C-E9C4B738363C}"/>
                    </a:ext>
                  </a:extLst>
                </p:cNvPr>
                <p:cNvSpPr/>
                <p:nvPr/>
              </p:nvSpPr>
              <p:spPr>
                <a:xfrm>
                  <a:off x="7741354" y="1853830"/>
                  <a:ext cx="26718" cy="26508"/>
                </a:xfrm>
                <a:custGeom>
                  <a:avLst/>
                  <a:gdLst>
                    <a:gd name="connsiteX0" fmla="*/ 155 w 26718"/>
                    <a:gd name="connsiteY0" fmla="*/ 15357 h 26508"/>
                    <a:gd name="connsiteX1" fmla="*/ 11364 w 26718"/>
                    <a:gd name="connsiteY1" fmla="*/ 161 h 26508"/>
                    <a:gd name="connsiteX2" fmla="*/ 26561 w 26718"/>
                    <a:gd name="connsiteY2" fmla="*/ 11122 h 26508"/>
                    <a:gd name="connsiteX3" fmla="*/ 15350 w 26718"/>
                    <a:gd name="connsiteY3" fmla="*/ 26318 h 26508"/>
                    <a:gd name="connsiteX4" fmla="*/ 155 w 26718"/>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8">
                      <a:moveTo>
                        <a:pt x="155" y="15357"/>
                      </a:moveTo>
                      <a:cubicBezTo>
                        <a:pt x="-967" y="8132"/>
                        <a:pt x="4140" y="1282"/>
                        <a:pt x="11364" y="161"/>
                      </a:cubicBezTo>
                      <a:cubicBezTo>
                        <a:pt x="18589" y="-960"/>
                        <a:pt x="25439" y="3897"/>
                        <a:pt x="26561" y="11122"/>
                      </a:cubicBezTo>
                      <a:cubicBezTo>
                        <a:pt x="27681" y="18346"/>
                        <a:pt x="22699" y="25197"/>
                        <a:pt x="15350" y="26318"/>
                      </a:cubicBezTo>
                      <a:cubicBezTo>
                        <a:pt x="8002" y="27563"/>
                        <a:pt x="1275" y="22581"/>
                        <a:pt x="155"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9" name="Freeform 7451">
                  <a:extLst>
                    <a:ext uri="{FF2B5EF4-FFF2-40B4-BE49-F238E27FC236}">
                      <a16:creationId xmlns:a16="http://schemas.microsoft.com/office/drawing/2014/main" id="{837FC7CF-88A6-FE38-EDA9-977419D9353D}"/>
                    </a:ext>
                  </a:extLst>
                </p:cNvPr>
                <p:cNvSpPr/>
                <p:nvPr/>
              </p:nvSpPr>
              <p:spPr>
                <a:xfrm>
                  <a:off x="7733458" y="1753597"/>
                  <a:ext cx="8270" cy="51691"/>
                </a:xfrm>
                <a:custGeom>
                  <a:avLst/>
                  <a:gdLst>
                    <a:gd name="connsiteX0" fmla="*/ 576 w 8270"/>
                    <a:gd name="connsiteY0" fmla="*/ 0 h 51691"/>
                    <a:gd name="connsiteX1" fmla="*/ 1448 w 8270"/>
                    <a:gd name="connsiteY1" fmla="*/ 18808 h 51691"/>
                    <a:gd name="connsiteX2" fmla="*/ 7303 w 8270"/>
                    <a:gd name="connsiteY2" fmla="*/ 35125 h 51691"/>
                    <a:gd name="connsiteX3" fmla="*/ 7552 w 827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270" h="51690">
                      <a:moveTo>
                        <a:pt x="576" y="0"/>
                      </a:moveTo>
                      <a:cubicBezTo>
                        <a:pt x="-669" y="8345"/>
                        <a:pt x="328" y="14573"/>
                        <a:pt x="1448" y="18808"/>
                      </a:cubicBezTo>
                      <a:cubicBezTo>
                        <a:pt x="3192" y="25534"/>
                        <a:pt x="5808" y="28275"/>
                        <a:pt x="7303" y="35125"/>
                      </a:cubicBezTo>
                      <a:cubicBezTo>
                        <a:pt x="8798" y="41851"/>
                        <a:pt x="8299" y="47706"/>
                        <a:pt x="7552"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0" name="Freeform 7452">
                  <a:extLst>
                    <a:ext uri="{FF2B5EF4-FFF2-40B4-BE49-F238E27FC236}">
                      <a16:creationId xmlns:a16="http://schemas.microsoft.com/office/drawing/2014/main" id="{9ECECED3-0E28-4AF2-BEF4-56ED609FE638}"/>
                    </a:ext>
                  </a:extLst>
                </p:cNvPr>
                <p:cNvSpPr/>
                <p:nvPr/>
              </p:nvSpPr>
              <p:spPr>
                <a:xfrm>
                  <a:off x="7740138" y="1747494"/>
                  <a:ext cx="8470" cy="51442"/>
                </a:xfrm>
                <a:custGeom>
                  <a:avLst/>
                  <a:gdLst>
                    <a:gd name="connsiteX0" fmla="*/ 8471 w 8470"/>
                    <a:gd name="connsiteY0" fmla="*/ 51442 h 51442"/>
                    <a:gd name="connsiteX1" fmla="*/ 3737 w 8470"/>
                    <a:gd name="connsiteY1" fmla="*/ 33257 h 51442"/>
                    <a:gd name="connsiteX2" fmla="*/ 4609 w 8470"/>
                    <a:gd name="connsiteY2" fmla="*/ 15819 h 51442"/>
                    <a:gd name="connsiteX3" fmla="*/ 0 w 8470"/>
                    <a:gd name="connsiteY3" fmla="*/ 0 h 51442"/>
                  </a:gdLst>
                  <a:ahLst/>
                  <a:cxnLst>
                    <a:cxn ang="0">
                      <a:pos x="connsiteX0" y="connsiteY0"/>
                    </a:cxn>
                    <a:cxn ang="0">
                      <a:pos x="connsiteX1" y="connsiteY1"/>
                    </a:cxn>
                    <a:cxn ang="0">
                      <a:pos x="connsiteX2" y="connsiteY2"/>
                    </a:cxn>
                    <a:cxn ang="0">
                      <a:pos x="connsiteX3" y="connsiteY3"/>
                    </a:cxn>
                  </a:cxnLst>
                  <a:rect l="l" t="t" r="r" b="b"/>
                  <a:pathLst>
                    <a:path w="8470" h="51442">
                      <a:moveTo>
                        <a:pt x="8471" y="51442"/>
                      </a:moveTo>
                      <a:cubicBezTo>
                        <a:pt x="4858" y="43844"/>
                        <a:pt x="3861" y="37616"/>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71" name="Freeform 7453">
                  <a:extLst>
                    <a:ext uri="{FF2B5EF4-FFF2-40B4-BE49-F238E27FC236}">
                      <a16:creationId xmlns:a16="http://schemas.microsoft.com/office/drawing/2014/main" id="{7E833DC3-3799-63AC-FBFD-6BD30BA506AB}"/>
                    </a:ext>
                  </a:extLst>
                </p:cNvPr>
                <p:cNvSpPr/>
                <p:nvPr/>
              </p:nvSpPr>
              <p:spPr>
                <a:xfrm>
                  <a:off x="7723443" y="1732729"/>
                  <a:ext cx="26319" cy="26508"/>
                </a:xfrm>
                <a:custGeom>
                  <a:avLst/>
                  <a:gdLst>
                    <a:gd name="connsiteX0" fmla="*/ 26162 w 26319"/>
                    <a:gd name="connsiteY0" fmla="*/ 11152 h 26508"/>
                    <a:gd name="connsiteX1" fmla="*/ 15077 w 26319"/>
                    <a:gd name="connsiteY1" fmla="*/ 26348 h 26508"/>
                    <a:gd name="connsiteX2" fmla="*/ 129 w 26319"/>
                    <a:gd name="connsiteY2" fmla="*/ 15387 h 26508"/>
                    <a:gd name="connsiteX3" fmla="*/ 11215 w 26319"/>
                    <a:gd name="connsiteY3" fmla="*/ 191 h 26508"/>
                    <a:gd name="connsiteX4" fmla="*/ 26162 w 26319"/>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508">
                      <a:moveTo>
                        <a:pt x="26162" y="11152"/>
                      </a:moveTo>
                      <a:cubicBezTo>
                        <a:pt x="27283" y="18376"/>
                        <a:pt x="22300" y="25227"/>
                        <a:pt x="15077" y="26348"/>
                      </a:cubicBezTo>
                      <a:cubicBezTo>
                        <a:pt x="7852" y="27469"/>
                        <a:pt x="1125" y="22611"/>
                        <a:pt x="129" y="15387"/>
                      </a:cubicBezTo>
                      <a:cubicBezTo>
                        <a:pt x="-867" y="8163"/>
                        <a:pt x="3991" y="1312"/>
                        <a:pt x="11215" y="191"/>
                      </a:cubicBezTo>
                      <a:cubicBezTo>
                        <a:pt x="18314" y="-1055"/>
                        <a:pt x="25041" y="3928"/>
                        <a:pt x="2616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2" name="Graphic 2987">
                <a:extLst>
                  <a:ext uri="{FF2B5EF4-FFF2-40B4-BE49-F238E27FC236}">
                    <a16:creationId xmlns:a16="http://schemas.microsoft.com/office/drawing/2014/main" id="{A3EF50DC-404A-1A1A-A5CB-C5B2A1ABA204}"/>
                  </a:ext>
                </a:extLst>
              </p:cNvPr>
              <p:cNvGrpSpPr/>
              <p:nvPr/>
            </p:nvGrpSpPr>
            <p:grpSpPr>
              <a:xfrm>
                <a:off x="7694298" y="1737278"/>
                <a:ext cx="44375" cy="147383"/>
                <a:chOff x="7694298" y="1737278"/>
                <a:chExt cx="44375" cy="147383"/>
              </a:xfrm>
              <a:grpFill/>
            </p:grpSpPr>
            <p:sp>
              <p:nvSpPr>
                <p:cNvPr id="6660" name="Freeform 7455">
                  <a:extLst>
                    <a:ext uri="{FF2B5EF4-FFF2-40B4-BE49-F238E27FC236}">
                      <a16:creationId xmlns:a16="http://schemas.microsoft.com/office/drawing/2014/main" id="{9600C5B9-1343-1AB5-A469-0B7692F7C692}"/>
                    </a:ext>
                  </a:extLst>
                </p:cNvPr>
                <p:cNvSpPr/>
                <p:nvPr/>
              </p:nvSpPr>
              <p:spPr>
                <a:xfrm>
                  <a:off x="7720238" y="1812388"/>
                  <a:ext cx="8179" cy="51691"/>
                </a:xfrm>
                <a:custGeom>
                  <a:avLst/>
                  <a:gdLst>
                    <a:gd name="connsiteX0" fmla="*/ 7569 w 8179"/>
                    <a:gd name="connsiteY0" fmla="*/ 51691 h 51691"/>
                    <a:gd name="connsiteX1" fmla="*/ 6822 w 8179"/>
                    <a:gd name="connsiteY1" fmla="*/ 32883 h 51691"/>
                    <a:gd name="connsiteX2" fmla="*/ 968 w 8179"/>
                    <a:gd name="connsiteY2" fmla="*/ 16442 h 51691"/>
                    <a:gd name="connsiteX3" fmla="*/ 719 w 8179"/>
                    <a:gd name="connsiteY3" fmla="*/ 0 h 51691"/>
                  </a:gdLst>
                  <a:ahLst/>
                  <a:cxnLst>
                    <a:cxn ang="0">
                      <a:pos x="connsiteX0" y="connsiteY0"/>
                    </a:cxn>
                    <a:cxn ang="0">
                      <a:pos x="connsiteX1" y="connsiteY1"/>
                    </a:cxn>
                    <a:cxn ang="0">
                      <a:pos x="connsiteX2" y="connsiteY2"/>
                    </a:cxn>
                    <a:cxn ang="0">
                      <a:pos x="connsiteX3" y="connsiteY3"/>
                    </a:cxn>
                  </a:cxnLst>
                  <a:rect l="l" t="t" r="r" b="b"/>
                  <a:pathLst>
                    <a:path w="8179" h="51690">
                      <a:moveTo>
                        <a:pt x="7569" y="51691"/>
                      </a:moveTo>
                      <a:cubicBezTo>
                        <a:pt x="8815" y="43346"/>
                        <a:pt x="7943" y="37118"/>
                        <a:pt x="6822" y="32883"/>
                      </a:cubicBezTo>
                      <a:cubicBezTo>
                        <a:pt x="5078" y="26157"/>
                        <a:pt x="2463" y="23417"/>
                        <a:pt x="968" y="16442"/>
                      </a:cubicBezTo>
                      <a:cubicBezTo>
                        <a:pt x="-527" y="9716"/>
                        <a:pt x="-29" y="3861"/>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1" name="Freeform 7456">
                  <a:extLst>
                    <a:ext uri="{FF2B5EF4-FFF2-40B4-BE49-F238E27FC236}">
                      <a16:creationId xmlns:a16="http://schemas.microsoft.com/office/drawing/2014/main" id="{0114C4C8-30C9-A824-F379-BCC05A814A5F}"/>
                    </a:ext>
                  </a:extLst>
                </p:cNvPr>
                <p:cNvSpPr/>
                <p:nvPr/>
              </p:nvSpPr>
              <p:spPr>
                <a:xfrm>
                  <a:off x="7713234" y="1818492"/>
                  <a:ext cx="8345" cy="51442"/>
                </a:xfrm>
                <a:custGeom>
                  <a:avLst/>
                  <a:gdLst>
                    <a:gd name="connsiteX0" fmla="*/ 0 w 8345"/>
                    <a:gd name="connsiteY0" fmla="*/ 0 h 51442"/>
                    <a:gd name="connsiteX1" fmla="*/ 4733 w 8345"/>
                    <a:gd name="connsiteY1" fmla="*/ 18185 h 51442"/>
                    <a:gd name="connsiteX2" fmla="*/ 3861 w 8345"/>
                    <a:gd name="connsiteY2" fmla="*/ 35499 h 51442"/>
                    <a:gd name="connsiteX3" fmla="*/ 8345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2" y="7598"/>
                        <a:pt x="4484" y="13950"/>
                        <a:pt x="4733" y="18185"/>
                      </a:cubicBezTo>
                      <a:cubicBezTo>
                        <a:pt x="4983" y="25161"/>
                        <a:pt x="3239" y="28524"/>
                        <a:pt x="3861" y="35499"/>
                      </a:cubicBezTo>
                      <a:cubicBezTo>
                        <a:pt x="4359" y="42350"/>
                        <a:pt x="6602" y="47830"/>
                        <a:pt x="834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2" name="Freeform 7457">
                  <a:extLst>
                    <a:ext uri="{FF2B5EF4-FFF2-40B4-BE49-F238E27FC236}">
                      <a16:creationId xmlns:a16="http://schemas.microsoft.com/office/drawing/2014/main" id="{ACC883E6-6828-CE62-AAB3-5BAA9223F5E5}"/>
                    </a:ext>
                  </a:extLst>
                </p:cNvPr>
                <p:cNvSpPr/>
                <p:nvPr/>
              </p:nvSpPr>
              <p:spPr>
                <a:xfrm>
                  <a:off x="7711862" y="1858226"/>
                  <a:ext cx="26811" cy="26435"/>
                </a:xfrm>
                <a:custGeom>
                  <a:avLst/>
                  <a:gdLst>
                    <a:gd name="connsiteX0" fmla="*/ 127 w 26811"/>
                    <a:gd name="connsiteY0" fmla="*/ 15071 h 26435"/>
                    <a:gd name="connsiteX1" fmla="*/ 11461 w 26811"/>
                    <a:gd name="connsiteY1" fmla="*/ 124 h 26435"/>
                    <a:gd name="connsiteX2" fmla="*/ 26658 w 26811"/>
                    <a:gd name="connsiteY2" fmla="*/ 11335 h 26435"/>
                    <a:gd name="connsiteX3" fmla="*/ 15322 w 26811"/>
                    <a:gd name="connsiteY3" fmla="*/ 26281 h 26435"/>
                    <a:gd name="connsiteX4" fmla="*/ 127 w 26811"/>
                    <a:gd name="connsiteY4" fmla="*/ 1507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0" h="26435">
                      <a:moveTo>
                        <a:pt x="127" y="15071"/>
                      </a:moveTo>
                      <a:cubicBezTo>
                        <a:pt x="-870" y="7847"/>
                        <a:pt x="4112" y="1121"/>
                        <a:pt x="11461" y="124"/>
                      </a:cubicBezTo>
                      <a:cubicBezTo>
                        <a:pt x="18810" y="-872"/>
                        <a:pt x="25536" y="4235"/>
                        <a:pt x="26658" y="11335"/>
                      </a:cubicBezTo>
                      <a:cubicBezTo>
                        <a:pt x="27778" y="18559"/>
                        <a:pt x="22672" y="25285"/>
                        <a:pt x="15322" y="26281"/>
                      </a:cubicBezTo>
                      <a:cubicBezTo>
                        <a:pt x="7974"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3" name="Freeform 7458">
                  <a:extLst>
                    <a:ext uri="{FF2B5EF4-FFF2-40B4-BE49-F238E27FC236}">
                      <a16:creationId xmlns:a16="http://schemas.microsoft.com/office/drawing/2014/main" id="{C339DC94-AA7E-0486-25DA-26E0AAA83559}"/>
                    </a:ext>
                  </a:extLst>
                </p:cNvPr>
                <p:cNvSpPr/>
                <p:nvPr/>
              </p:nvSpPr>
              <p:spPr>
                <a:xfrm>
                  <a:off x="7704154" y="1757956"/>
                  <a:ext cx="8135" cy="51691"/>
                </a:xfrm>
                <a:custGeom>
                  <a:avLst/>
                  <a:gdLst>
                    <a:gd name="connsiteX0" fmla="*/ 610 w 8135"/>
                    <a:gd name="connsiteY0" fmla="*/ 0 h 51691"/>
                    <a:gd name="connsiteX1" fmla="*/ 1357 w 8135"/>
                    <a:gd name="connsiteY1" fmla="*/ 18808 h 51691"/>
                    <a:gd name="connsiteX2" fmla="*/ 7211 w 8135"/>
                    <a:gd name="connsiteY2" fmla="*/ 35250 h 51691"/>
                    <a:gd name="connsiteX3" fmla="*/ 7461 w 81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5" h="51690">
                      <a:moveTo>
                        <a:pt x="610" y="0"/>
                      </a:moveTo>
                      <a:cubicBezTo>
                        <a:pt x="-636" y="8345"/>
                        <a:pt x="236" y="14573"/>
                        <a:pt x="1357" y="18808"/>
                      </a:cubicBezTo>
                      <a:cubicBezTo>
                        <a:pt x="3101" y="25534"/>
                        <a:pt x="5717" y="28275"/>
                        <a:pt x="7211" y="35250"/>
                      </a:cubicBezTo>
                      <a:cubicBezTo>
                        <a:pt x="8706" y="41976"/>
                        <a:pt x="8083"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4" name="Freeform 7459">
                  <a:extLst>
                    <a:ext uri="{FF2B5EF4-FFF2-40B4-BE49-F238E27FC236}">
                      <a16:creationId xmlns:a16="http://schemas.microsoft.com/office/drawing/2014/main" id="{05854565-EDDB-3ACB-0389-34D11D183F82}"/>
                    </a:ext>
                  </a:extLst>
                </p:cNvPr>
                <p:cNvSpPr/>
                <p:nvPr/>
              </p:nvSpPr>
              <p:spPr>
                <a:xfrm>
                  <a:off x="7710992" y="1752102"/>
                  <a:ext cx="8345" cy="51442"/>
                </a:xfrm>
                <a:custGeom>
                  <a:avLst/>
                  <a:gdLst>
                    <a:gd name="connsiteX0" fmla="*/ 8345 w 8345"/>
                    <a:gd name="connsiteY0" fmla="*/ 51442 h 51442"/>
                    <a:gd name="connsiteX1" fmla="*/ 3612 w 8345"/>
                    <a:gd name="connsiteY1" fmla="*/ 33257 h 51442"/>
                    <a:gd name="connsiteX2" fmla="*/ 4484 w 8345"/>
                    <a:gd name="connsiteY2" fmla="*/ 15943 h 51442"/>
                    <a:gd name="connsiteX3" fmla="*/ 0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8345" y="51442"/>
                      </a:moveTo>
                      <a:cubicBezTo>
                        <a:pt x="4733" y="43844"/>
                        <a:pt x="3861" y="37492"/>
                        <a:pt x="3612" y="33257"/>
                      </a:cubicBezTo>
                      <a:cubicBezTo>
                        <a:pt x="3363" y="26282"/>
                        <a:pt x="4982" y="22919"/>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65" name="Freeform 7460">
                  <a:extLst>
                    <a:ext uri="{FF2B5EF4-FFF2-40B4-BE49-F238E27FC236}">
                      <a16:creationId xmlns:a16="http://schemas.microsoft.com/office/drawing/2014/main" id="{DE6C692D-4A78-5F2D-29F2-21CA6BDBC978}"/>
                    </a:ext>
                  </a:extLst>
                </p:cNvPr>
                <p:cNvSpPr/>
                <p:nvPr/>
              </p:nvSpPr>
              <p:spPr>
                <a:xfrm>
                  <a:off x="7694298" y="1737278"/>
                  <a:ext cx="26317" cy="26408"/>
                </a:xfrm>
                <a:custGeom>
                  <a:avLst/>
                  <a:gdLst>
                    <a:gd name="connsiteX0" fmla="*/ 26160 w 26317"/>
                    <a:gd name="connsiteY0" fmla="*/ 11337 h 26408"/>
                    <a:gd name="connsiteX1" fmla="*/ 15074 w 26317"/>
                    <a:gd name="connsiteY1" fmla="*/ 26284 h 26408"/>
                    <a:gd name="connsiteX2" fmla="*/ 127 w 26317"/>
                    <a:gd name="connsiteY2" fmla="*/ 14949 h 26408"/>
                    <a:gd name="connsiteX3" fmla="*/ 11213 w 26317"/>
                    <a:gd name="connsiteY3" fmla="*/ 127 h 26408"/>
                    <a:gd name="connsiteX4" fmla="*/ 26160 w 26317"/>
                    <a:gd name="connsiteY4" fmla="*/ 11337 h 2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08">
                      <a:moveTo>
                        <a:pt x="26160" y="11337"/>
                      </a:moveTo>
                      <a:cubicBezTo>
                        <a:pt x="27280" y="18561"/>
                        <a:pt x="22299" y="25287"/>
                        <a:pt x="15074" y="26284"/>
                      </a:cubicBezTo>
                      <a:cubicBezTo>
                        <a:pt x="7849" y="27280"/>
                        <a:pt x="1124" y="22174"/>
                        <a:pt x="127" y="14949"/>
                      </a:cubicBezTo>
                      <a:cubicBezTo>
                        <a:pt x="-870" y="7725"/>
                        <a:pt x="4113" y="999"/>
                        <a:pt x="11213" y="127"/>
                      </a:cubicBezTo>
                      <a:cubicBezTo>
                        <a:pt x="18313" y="-870"/>
                        <a:pt x="25038" y="4113"/>
                        <a:pt x="26160"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3" name="Graphic 2987">
                <a:extLst>
                  <a:ext uri="{FF2B5EF4-FFF2-40B4-BE49-F238E27FC236}">
                    <a16:creationId xmlns:a16="http://schemas.microsoft.com/office/drawing/2014/main" id="{B83F4D31-54BE-C005-60DF-ECDA95C91904}"/>
                  </a:ext>
                </a:extLst>
              </p:cNvPr>
              <p:cNvGrpSpPr/>
              <p:nvPr/>
            </p:nvGrpSpPr>
            <p:grpSpPr>
              <a:xfrm>
                <a:off x="7664903" y="1741141"/>
                <a:ext cx="44098" cy="147600"/>
                <a:chOff x="7664903" y="1741141"/>
                <a:chExt cx="44098" cy="147600"/>
              </a:xfrm>
              <a:grpFill/>
            </p:grpSpPr>
            <p:sp>
              <p:nvSpPr>
                <p:cNvPr id="6654" name="Freeform 7462">
                  <a:extLst>
                    <a:ext uri="{FF2B5EF4-FFF2-40B4-BE49-F238E27FC236}">
                      <a16:creationId xmlns:a16="http://schemas.microsoft.com/office/drawing/2014/main" id="{A2D4F55E-D872-B7FF-9B6D-6592A958CECA}"/>
                    </a:ext>
                  </a:extLst>
                </p:cNvPr>
                <p:cNvSpPr/>
                <p:nvPr/>
              </p:nvSpPr>
              <p:spPr>
                <a:xfrm>
                  <a:off x="7690761" y="1816374"/>
                  <a:ext cx="8190" cy="51691"/>
                </a:xfrm>
                <a:custGeom>
                  <a:avLst/>
                  <a:gdLst>
                    <a:gd name="connsiteX0" fmla="*/ 7526 w 8190"/>
                    <a:gd name="connsiteY0" fmla="*/ 51691 h 51691"/>
                    <a:gd name="connsiteX1" fmla="*/ 6779 w 8190"/>
                    <a:gd name="connsiteY1" fmla="*/ 32883 h 51691"/>
                    <a:gd name="connsiteX2" fmla="*/ 925 w 8190"/>
                    <a:gd name="connsiteY2" fmla="*/ 16442 h 51691"/>
                    <a:gd name="connsiteX3" fmla="*/ 675 w 8190"/>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7526" y="51691"/>
                      </a:moveTo>
                      <a:cubicBezTo>
                        <a:pt x="8896" y="43346"/>
                        <a:pt x="7900" y="37118"/>
                        <a:pt x="6779" y="32883"/>
                      </a:cubicBezTo>
                      <a:cubicBezTo>
                        <a:pt x="5035" y="26157"/>
                        <a:pt x="2419" y="23417"/>
                        <a:pt x="925" y="16442"/>
                      </a:cubicBezTo>
                      <a:cubicBezTo>
                        <a:pt x="-570" y="9716"/>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5" name="Freeform 7463">
                  <a:extLst>
                    <a:ext uri="{FF2B5EF4-FFF2-40B4-BE49-F238E27FC236}">
                      <a16:creationId xmlns:a16="http://schemas.microsoft.com/office/drawing/2014/main" id="{4C63C517-4A2F-4962-5303-41B357A83357}"/>
                    </a:ext>
                  </a:extLst>
                </p:cNvPr>
                <p:cNvSpPr/>
                <p:nvPr/>
              </p:nvSpPr>
              <p:spPr>
                <a:xfrm>
                  <a:off x="7683838" y="1822477"/>
                  <a:ext cx="8095" cy="51442"/>
                </a:xfrm>
                <a:custGeom>
                  <a:avLst/>
                  <a:gdLst>
                    <a:gd name="connsiteX0" fmla="*/ 0 w 8095"/>
                    <a:gd name="connsiteY0" fmla="*/ 0 h 51442"/>
                    <a:gd name="connsiteX1" fmla="*/ 4609 w 8095"/>
                    <a:gd name="connsiteY1" fmla="*/ 18185 h 51442"/>
                    <a:gd name="connsiteX2" fmla="*/ 3612 w 8095"/>
                    <a:gd name="connsiteY2" fmla="*/ 35499 h 51442"/>
                    <a:gd name="connsiteX3" fmla="*/ 8096 w 809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095" h="51442">
                      <a:moveTo>
                        <a:pt x="0" y="0"/>
                      </a:moveTo>
                      <a:cubicBezTo>
                        <a:pt x="3612" y="7598"/>
                        <a:pt x="4484" y="13950"/>
                        <a:pt x="4609" y="18185"/>
                      </a:cubicBezTo>
                      <a:cubicBezTo>
                        <a:pt x="4858" y="25161"/>
                        <a:pt x="3114" y="28524"/>
                        <a:pt x="3612" y="35499"/>
                      </a:cubicBezTo>
                      <a:cubicBezTo>
                        <a:pt x="4110" y="42350"/>
                        <a:pt x="6353" y="47830"/>
                        <a:pt x="809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6" name="Freeform 7464">
                  <a:extLst>
                    <a:ext uri="{FF2B5EF4-FFF2-40B4-BE49-F238E27FC236}">
                      <a16:creationId xmlns:a16="http://schemas.microsoft.com/office/drawing/2014/main" id="{70FDC2B6-D463-0AFD-FEA0-BF995EF9CCBF}"/>
                    </a:ext>
                  </a:extLst>
                </p:cNvPr>
                <p:cNvSpPr/>
                <p:nvPr/>
              </p:nvSpPr>
              <p:spPr>
                <a:xfrm>
                  <a:off x="7682341" y="1862212"/>
                  <a:ext cx="26659" cy="26530"/>
                </a:xfrm>
                <a:custGeom>
                  <a:avLst/>
                  <a:gdLst>
                    <a:gd name="connsiteX0" fmla="*/ 127 w 26659"/>
                    <a:gd name="connsiteY0" fmla="*/ 15071 h 26530"/>
                    <a:gd name="connsiteX1" fmla="*/ 11461 w 26659"/>
                    <a:gd name="connsiteY1" fmla="*/ 124 h 26530"/>
                    <a:gd name="connsiteX2" fmla="*/ 26533 w 26659"/>
                    <a:gd name="connsiteY2" fmla="*/ 11459 h 26530"/>
                    <a:gd name="connsiteX3" fmla="*/ 15198 w 26659"/>
                    <a:gd name="connsiteY3" fmla="*/ 26406 h 26530"/>
                    <a:gd name="connsiteX4" fmla="*/ 127 w 2665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0">
                      <a:moveTo>
                        <a:pt x="127" y="15071"/>
                      </a:moveTo>
                      <a:cubicBezTo>
                        <a:pt x="-870" y="7847"/>
                        <a:pt x="4112" y="1121"/>
                        <a:pt x="11461" y="124"/>
                      </a:cubicBezTo>
                      <a:cubicBezTo>
                        <a:pt x="18810" y="-872"/>
                        <a:pt x="25536" y="4235"/>
                        <a:pt x="26533" y="11459"/>
                      </a:cubicBezTo>
                      <a:cubicBezTo>
                        <a:pt x="27529" y="18683"/>
                        <a:pt x="22547" y="25409"/>
                        <a:pt x="15198" y="26406"/>
                      </a:cubicBezTo>
                      <a:cubicBezTo>
                        <a:pt x="7849" y="27402"/>
                        <a:pt x="1123" y="22296"/>
                        <a:pt x="12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7" name="Freeform 7465">
                  <a:extLst>
                    <a:ext uri="{FF2B5EF4-FFF2-40B4-BE49-F238E27FC236}">
                      <a16:creationId xmlns:a16="http://schemas.microsoft.com/office/drawing/2014/main" id="{0DF6565E-E42A-5AD1-D967-D79CA14587B6}"/>
                    </a:ext>
                  </a:extLst>
                </p:cNvPr>
                <p:cNvSpPr/>
                <p:nvPr/>
              </p:nvSpPr>
              <p:spPr>
                <a:xfrm>
                  <a:off x="7675007" y="1761818"/>
                  <a:ext cx="8136" cy="51691"/>
                </a:xfrm>
                <a:custGeom>
                  <a:avLst/>
                  <a:gdLst>
                    <a:gd name="connsiteX0" fmla="*/ 610 w 8136"/>
                    <a:gd name="connsiteY0" fmla="*/ 0 h 51691"/>
                    <a:gd name="connsiteX1" fmla="*/ 1357 w 8136"/>
                    <a:gd name="connsiteY1" fmla="*/ 18808 h 51691"/>
                    <a:gd name="connsiteX2" fmla="*/ 7212 w 8136"/>
                    <a:gd name="connsiteY2" fmla="*/ 35250 h 51691"/>
                    <a:gd name="connsiteX3" fmla="*/ 7461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610" y="0"/>
                      </a:moveTo>
                      <a:cubicBezTo>
                        <a:pt x="-636" y="8345"/>
                        <a:pt x="236" y="14573"/>
                        <a:pt x="1357" y="18808"/>
                      </a:cubicBezTo>
                      <a:cubicBezTo>
                        <a:pt x="3101" y="25534"/>
                        <a:pt x="5717" y="28275"/>
                        <a:pt x="7212" y="35250"/>
                      </a:cubicBezTo>
                      <a:cubicBezTo>
                        <a:pt x="8706" y="41976"/>
                        <a:pt x="8084"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8" name="Freeform 7466">
                  <a:extLst>
                    <a:ext uri="{FF2B5EF4-FFF2-40B4-BE49-F238E27FC236}">
                      <a16:creationId xmlns:a16="http://schemas.microsoft.com/office/drawing/2014/main" id="{808BEFDB-C73B-57CE-3A08-BFEA3DBDDBE8}"/>
                    </a:ext>
                  </a:extLst>
                </p:cNvPr>
                <p:cNvSpPr/>
                <p:nvPr/>
              </p:nvSpPr>
              <p:spPr>
                <a:xfrm>
                  <a:off x="7681720" y="1755964"/>
                  <a:ext cx="8221" cy="51442"/>
                </a:xfrm>
                <a:custGeom>
                  <a:avLst/>
                  <a:gdLst>
                    <a:gd name="connsiteX0" fmla="*/ 8221 w 8221"/>
                    <a:gd name="connsiteY0" fmla="*/ 51442 h 51442"/>
                    <a:gd name="connsiteX1" fmla="*/ 3613 w 8221"/>
                    <a:gd name="connsiteY1" fmla="*/ 33257 h 51442"/>
                    <a:gd name="connsiteX2" fmla="*/ 4485 w 8221"/>
                    <a:gd name="connsiteY2" fmla="*/ 15943 h 51442"/>
                    <a:gd name="connsiteX3" fmla="*/ 0 w 8221"/>
                    <a:gd name="connsiteY3" fmla="*/ 0 h 51442"/>
                  </a:gdLst>
                  <a:ahLst/>
                  <a:cxnLst>
                    <a:cxn ang="0">
                      <a:pos x="connsiteX0" y="connsiteY0"/>
                    </a:cxn>
                    <a:cxn ang="0">
                      <a:pos x="connsiteX1" y="connsiteY1"/>
                    </a:cxn>
                    <a:cxn ang="0">
                      <a:pos x="connsiteX2" y="connsiteY2"/>
                    </a:cxn>
                    <a:cxn ang="0">
                      <a:pos x="connsiteX3" y="connsiteY3"/>
                    </a:cxn>
                  </a:cxnLst>
                  <a:rect l="l" t="t" r="r" b="b"/>
                  <a:pathLst>
                    <a:path w="8221" h="51442">
                      <a:moveTo>
                        <a:pt x="8221" y="51442"/>
                      </a:moveTo>
                      <a:cubicBezTo>
                        <a:pt x="4609" y="43844"/>
                        <a:pt x="3737" y="37492"/>
                        <a:pt x="3613" y="33257"/>
                      </a:cubicBezTo>
                      <a:cubicBezTo>
                        <a:pt x="3363" y="26282"/>
                        <a:pt x="5107" y="22919"/>
                        <a:pt x="4485"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9" name="Freeform 7467">
                  <a:extLst>
                    <a:ext uri="{FF2B5EF4-FFF2-40B4-BE49-F238E27FC236}">
                      <a16:creationId xmlns:a16="http://schemas.microsoft.com/office/drawing/2014/main" id="{E59BF793-0555-BB79-7674-F3971F28EAAD}"/>
                    </a:ext>
                  </a:extLst>
                </p:cNvPr>
                <p:cNvSpPr/>
                <p:nvPr/>
              </p:nvSpPr>
              <p:spPr>
                <a:xfrm>
                  <a:off x="7664903" y="1741141"/>
                  <a:ext cx="26410" cy="26380"/>
                </a:xfrm>
                <a:custGeom>
                  <a:avLst/>
                  <a:gdLst>
                    <a:gd name="connsiteX0" fmla="*/ 26284 w 26410"/>
                    <a:gd name="connsiteY0" fmla="*/ 11459 h 26380"/>
                    <a:gd name="connsiteX1" fmla="*/ 15074 w 26410"/>
                    <a:gd name="connsiteY1" fmla="*/ 26281 h 26380"/>
                    <a:gd name="connsiteX2" fmla="*/ 127 w 26410"/>
                    <a:gd name="connsiteY2" fmla="*/ 14947 h 26380"/>
                    <a:gd name="connsiteX3" fmla="*/ 11337 w 26410"/>
                    <a:gd name="connsiteY3" fmla="*/ 124 h 26380"/>
                    <a:gd name="connsiteX4" fmla="*/ 26284 w 26410"/>
                    <a:gd name="connsiteY4" fmla="*/ 11459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380">
                      <a:moveTo>
                        <a:pt x="26284" y="11459"/>
                      </a:moveTo>
                      <a:cubicBezTo>
                        <a:pt x="27280" y="18683"/>
                        <a:pt x="22298" y="25409"/>
                        <a:pt x="15074" y="26281"/>
                      </a:cubicBezTo>
                      <a:cubicBezTo>
                        <a:pt x="7849" y="27153"/>
                        <a:pt x="1124" y="22171"/>
                        <a:pt x="127" y="14947"/>
                      </a:cubicBezTo>
                      <a:cubicBezTo>
                        <a:pt x="-870" y="7722"/>
                        <a:pt x="4113" y="996"/>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4" name="Graphic 2987">
                <a:extLst>
                  <a:ext uri="{FF2B5EF4-FFF2-40B4-BE49-F238E27FC236}">
                    <a16:creationId xmlns:a16="http://schemas.microsoft.com/office/drawing/2014/main" id="{7F0B80D6-335F-6CFC-F71F-86EAFCA9878C}"/>
                  </a:ext>
                </a:extLst>
              </p:cNvPr>
              <p:cNvGrpSpPr/>
              <p:nvPr/>
            </p:nvGrpSpPr>
            <p:grpSpPr>
              <a:xfrm>
                <a:off x="7635756" y="1745127"/>
                <a:ext cx="43597" cy="147602"/>
                <a:chOff x="7635756" y="1745127"/>
                <a:chExt cx="43597" cy="147602"/>
              </a:xfrm>
              <a:grpFill/>
            </p:grpSpPr>
            <p:sp>
              <p:nvSpPr>
                <p:cNvPr id="6648" name="Freeform 7469">
                  <a:extLst>
                    <a:ext uri="{FF2B5EF4-FFF2-40B4-BE49-F238E27FC236}">
                      <a16:creationId xmlns:a16="http://schemas.microsoft.com/office/drawing/2014/main" id="{0A87A8AD-FCEA-31E8-9B32-B7FC39AAC133}"/>
                    </a:ext>
                  </a:extLst>
                </p:cNvPr>
                <p:cNvSpPr/>
                <p:nvPr/>
              </p:nvSpPr>
              <p:spPr>
                <a:xfrm>
                  <a:off x="7661252" y="1820360"/>
                  <a:ext cx="8060" cy="51691"/>
                </a:xfrm>
                <a:custGeom>
                  <a:avLst/>
                  <a:gdLst>
                    <a:gd name="connsiteX0" fmla="*/ 7390 w 8060"/>
                    <a:gd name="connsiteY0" fmla="*/ 51691 h 51691"/>
                    <a:gd name="connsiteX1" fmla="*/ 6767 w 8060"/>
                    <a:gd name="connsiteY1" fmla="*/ 32883 h 51691"/>
                    <a:gd name="connsiteX2" fmla="*/ 913 w 8060"/>
                    <a:gd name="connsiteY2" fmla="*/ 16442 h 51691"/>
                    <a:gd name="connsiteX3" fmla="*/ 788 w 8060"/>
                    <a:gd name="connsiteY3" fmla="*/ 0 h 51691"/>
                  </a:gdLst>
                  <a:ahLst/>
                  <a:cxnLst>
                    <a:cxn ang="0">
                      <a:pos x="connsiteX0" y="connsiteY0"/>
                    </a:cxn>
                    <a:cxn ang="0">
                      <a:pos x="connsiteX1" y="connsiteY1"/>
                    </a:cxn>
                    <a:cxn ang="0">
                      <a:pos x="connsiteX2" y="connsiteY2"/>
                    </a:cxn>
                    <a:cxn ang="0">
                      <a:pos x="connsiteX3" y="connsiteY3"/>
                    </a:cxn>
                  </a:cxnLst>
                  <a:rect l="l" t="t" r="r" b="b"/>
                  <a:pathLst>
                    <a:path w="8060" h="51690">
                      <a:moveTo>
                        <a:pt x="7390" y="51691"/>
                      </a:moveTo>
                      <a:cubicBezTo>
                        <a:pt x="8760" y="43346"/>
                        <a:pt x="7764" y="37118"/>
                        <a:pt x="6767" y="32883"/>
                      </a:cubicBezTo>
                      <a:cubicBezTo>
                        <a:pt x="5023" y="26157"/>
                        <a:pt x="2408" y="23417"/>
                        <a:pt x="913" y="16442"/>
                      </a:cubicBezTo>
                      <a:cubicBezTo>
                        <a:pt x="-582" y="9716"/>
                        <a:pt x="41" y="3861"/>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9" name="Freeform 7470">
                  <a:extLst>
                    <a:ext uri="{FF2B5EF4-FFF2-40B4-BE49-F238E27FC236}">
                      <a16:creationId xmlns:a16="http://schemas.microsoft.com/office/drawing/2014/main" id="{40D39FBB-5782-4069-FBD8-791E1BDE4511}"/>
                    </a:ext>
                  </a:extLst>
                </p:cNvPr>
                <p:cNvSpPr/>
                <p:nvPr/>
              </p:nvSpPr>
              <p:spPr>
                <a:xfrm>
                  <a:off x="7654443" y="1826463"/>
                  <a:ext cx="8095" cy="51566"/>
                </a:xfrm>
                <a:custGeom>
                  <a:avLst/>
                  <a:gdLst>
                    <a:gd name="connsiteX0" fmla="*/ 0 w 8095"/>
                    <a:gd name="connsiteY0" fmla="*/ 0 h 51566"/>
                    <a:gd name="connsiteX1" fmla="*/ 4609 w 8095"/>
                    <a:gd name="connsiteY1" fmla="*/ 18310 h 51566"/>
                    <a:gd name="connsiteX2" fmla="*/ 3612 w 8095"/>
                    <a:gd name="connsiteY2" fmla="*/ 35624 h 51566"/>
                    <a:gd name="connsiteX3" fmla="*/ 8096 w 809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5" h="51566">
                      <a:moveTo>
                        <a:pt x="0" y="0"/>
                      </a:moveTo>
                      <a:cubicBezTo>
                        <a:pt x="3612" y="7598"/>
                        <a:pt x="4484" y="13950"/>
                        <a:pt x="4609" y="18310"/>
                      </a:cubicBezTo>
                      <a:cubicBezTo>
                        <a:pt x="4857" y="25285"/>
                        <a:pt x="3114" y="28648"/>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0" name="Freeform 7471">
                  <a:extLst>
                    <a:ext uri="{FF2B5EF4-FFF2-40B4-BE49-F238E27FC236}">
                      <a16:creationId xmlns:a16="http://schemas.microsoft.com/office/drawing/2014/main" id="{DCF12A81-9136-8203-124B-51ADAB417517}"/>
                    </a:ext>
                  </a:extLst>
                </p:cNvPr>
                <p:cNvSpPr/>
                <p:nvPr/>
              </p:nvSpPr>
              <p:spPr>
                <a:xfrm>
                  <a:off x="7652699" y="1866197"/>
                  <a:ext cx="26654" cy="26532"/>
                </a:xfrm>
                <a:custGeom>
                  <a:avLst/>
                  <a:gdLst>
                    <a:gd name="connsiteX0" fmla="*/ 124 w 26654"/>
                    <a:gd name="connsiteY0" fmla="*/ 15071 h 26532"/>
                    <a:gd name="connsiteX1" fmla="*/ 11459 w 26654"/>
                    <a:gd name="connsiteY1" fmla="*/ 124 h 26532"/>
                    <a:gd name="connsiteX2" fmla="*/ 26530 w 26654"/>
                    <a:gd name="connsiteY2" fmla="*/ 11459 h 26532"/>
                    <a:gd name="connsiteX3" fmla="*/ 15195 w 26654"/>
                    <a:gd name="connsiteY3" fmla="*/ 26406 h 26532"/>
                    <a:gd name="connsiteX4" fmla="*/ 124 w 26654"/>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1">
                      <a:moveTo>
                        <a:pt x="124" y="15071"/>
                      </a:moveTo>
                      <a:cubicBezTo>
                        <a:pt x="-872" y="7847"/>
                        <a:pt x="4234" y="1121"/>
                        <a:pt x="11459" y="124"/>
                      </a:cubicBezTo>
                      <a:cubicBezTo>
                        <a:pt x="18808" y="-872"/>
                        <a:pt x="25534" y="4235"/>
                        <a:pt x="26530" y="11459"/>
                      </a:cubicBezTo>
                      <a:cubicBezTo>
                        <a:pt x="27526" y="18683"/>
                        <a:pt x="22420" y="25409"/>
                        <a:pt x="15195" y="26406"/>
                      </a:cubicBezTo>
                      <a:cubicBezTo>
                        <a:pt x="7972"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1" name="Freeform 7472">
                  <a:extLst>
                    <a:ext uri="{FF2B5EF4-FFF2-40B4-BE49-F238E27FC236}">
                      <a16:creationId xmlns:a16="http://schemas.microsoft.com/office/drawing/2014/main" id="{C8815F51-93F1-3595-5723-84050A9A6BB0}"/>
                    </a:ext>
                  </a:extLst>
                </p:cNvPr>
                <p:cNvSpPr/>
                <p:nvPr/>
              </p:nvSpPr>
              <p:spPr>
                <a:xfrm>
                  <a:off x="7645676" y="1765804"/>
                  <a:ext cx="7936" cy="51691"/>
                </a:xfrm>
                <a:custGeom>
                  <a:avLst/>
                  <a:gdLst>
                    <a:gd name="connsiteX0" fmla="*/ 670 w 7936"/>
                    <a:gd name="connsiteY0" fmla="*/ 0 h 51691"/>
                    <a:gd name="connsiteX1" fmla="*/ 1293 w 7936"/>
                    <a:gd name="connsiteY1" fmla="*/ 18808 h 51691"/>
                    <a:gd name="connsiteX2" fmla="*/ 7023 w 7936"/>
                    <a:gd name="connsiteY2" fmla="*/ 35250 h 51691"/>
                    <a:gd name="connsiteX3" fmla="*/ 7148 w 79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6" h="51690">
                      <a:moveTo>
                        <a:pt x="670" y="0"/>
                      </a:moveTo>
                      <a:cubicBezTo>
                        <a:pt x="-700" y="8345"/>
                        <a:pt x="296" y="14573"/>
                        <a:pt x="1293" y="18808"/>
                      </a:cubicBezTo>
                      <a:cubicBezTo>
                        <a:pt x="3037" y="25534"/>
                        <a:pt x="5528" y="28275"/>
                        <a:pt x="7023" y="35250"/>
                      </a:cubicBezTo>
                      <a:cubicBezTo>
                        <a:pt x="8518" y="41976"/>
                        <a:pt x="7895" y="47830"/>
                        <a:pt x="71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2" name="Freeform 7473">
                  <a:extLst>
                    <a:ext uri="{FF2B5EF4-FFF2-40B4-BE49-F238E27FC236}">
                      <a16:creationId xmlns:a16="http://schemas.microsoft.com/office/drawing/2014/main" id="{41D58455-D6A1-74F4-145C-E91D6C06719A}"/>
                    </a:ext>
                  </a:extLst>
                </p:cNvPr>
                <p:cNvSpPr/>
                <p:nvPr/>
              </p:nvSpPr>
              <p:spPr>
                <a:xfrm>
                  <a:off x="7652449" y="1759825"/>
                  <a:ext cx="8096" cy="51566"/>
                </a:xfrm>
                <a:custGeom>
                  <a:avLst/>
                  <a:gdLst>
                    <a:gd name="connsiteX0" fmla="*/ 8097 w 8096"/>
                    <a:gd name="connsiteY0" fmla="*/ 51567 h 51566"/>
                    <a:gd name="connsiteX1" fmla="*/ 3488 w 8096"/>
                    <a:gd name="connsiteY1" fmla="*/ 33257 h 51566"/>
                    <a:gd name="connsiteX2" fmla="*/ 4484 w 8096"/>
                    <a:gd name="connsiteY2" fmla="*/ 15943 h 51566"/>
                    <a:gd name="connsiteX3" fmla="*/ 0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51567"/>
                      </a:moveTo>
                      <a:cubicBezTo>
                        <a:pt x="4484" y="43969"/>
                        <a:pt x="3612" y="37616"/>
                        <a:pt x="3488" y="33257"/>
                      </a:cubicBezTo>
                      <a:cubicBezTo>
                        <a:pt x="3239" y="26282"/>
                        <a:pt x="4983" y="22919"/>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53" name="Freeform 7474">
                  <a:extLst>
                    <a:ext uri="{FF2B5EF4-FFF2-40B4-BE49-F238E27FC236}">
                      <a16:creationId xmlns:a16="http://schemas.microsoft.com/office/drawing/2014/main" id="{4D6086D7-95F2-7A74-31D2-7DB4AD15DDB2}"/>
                    </a:ext>
                  </a:extLst>
                </p:cNvPr>
                <p:cNvSpPr/>
                <p:nvPr/>
              </p:nvSpPr>
              <p:spPr>
                <a:xfrm>
                  <a:off x="7635756" y="1745127"/>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3" y="22296"/>
                        <a:pt x="127" y="15071"/>
                      </a:cubicBezTo>
                      <a:cubicBezTo>
                        <a:pt x="-869" y="7847"/>
                        <a:pt x="4113" y="1121"/>
                        <a:pt x="11337" y="124"/>
                      </a:cubicBezTo>
                      <a:cubicBezTo>
                        <a:pt x="18562" y="-872"/>
                        <a:pt x="25163"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5" name="Graphic 2987">
                <a:extLst>
                  <a:ext uri="{FF2B5EF4-FFF2-40B4-BE49-F238E27FC236}">
                    <a16:creationId xmlns:a16="http://schemas.microsoft.com/office/drawing/2014/main" id="{40E07234-4F65-8D8E-AC35-7597949A2E8B}"/>
                  </a:ext>
                </a:extLst>
              </p:cNvPr>
              <p:cNvGrpSpPr/>
              <p:nvPr/>
            </p:nvGrpSpPr>
            <p:grpSpPr>
              <a:xfrm>
                <a:off x="7606485" y="1748989"/>
                <a:ext cx="43472" cy="147727"/>
                <a:chOff x="7606485" y="1748989"/>
                <a:chExt cx="43472" cy="147727"/>
              </a:xfrm>
              <a:grpFill/>
            </p:grpSpPr>
            <p:sp>
              <p:nvSpPr>
                <p:cNvPr id="6642" name="Freeform 7476">
                  <a:extLst>
                    <a:ext uri="{FF2B5EF4-FFF2-40B4-BE49-F238E27FC236}">
                      <a16:creationId xmlns:a16="http://schemas.microsoft.com/office/drawing/2014/main" id="{58099C95-6E6B-0064-E943-EFD1449294D6}"/>
                    </a:ext>
                  </a:extLst>
                </p:cNvPr>
                <p:cNvSpPr/>
                <p:nvPr/>
              </p:nvSpPr>
              <p:spPr>
                <a:xfrm>
                  <a:off x="7631856" y="1824346"/>
                  <a:ext cx="7966" cy="51691"/>
                </a:xfrm>
                <a:custGeom>
                  <a:avLst/>
                  <a:gdLst>
                    <a:gd name="connsiteX0" fmla="*/ 7266 w 7966"/>
                    <a:gd name="connsiteY0" fmla="*/ 51691 h 51691"/>
                    <a:gd name="connsiteX1" fmla="*/ 6643 w 7966"/>
                    <a:gd name="connsiteY1" fmla="*/ 32883 h 51691"/>
                    <a:gd name="connsiteX2" fmla="*/ 913 w 7966"/>
                    <a:gd name="connsiteY2" fmla="*/ 16442 h 51691"/>
                    <a:gd name="connsiteX3" fmla="*/ 789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51691"/>
                      </a:moveTo>
                      <a:cubicBezTo>
                        <a:pt x="8636" y="43346"/>
                        <a:pt x="7764" y="37118"/>
                        <a:pt x="6643" y="32883"/>
                      </a:cubicBezTo>
                      <a:cubicBezTo>
                        <a:pt x="4899" y="26157"/>
                        <a:pt x="2408" y="23417"/>
                        <a:pt x="913" y="16442"/>
                      </a:cubicBezTo>
                      <a:cubicBezTo>
                        <a:pt x="-582" y="9716"/>
                        <a:pt x="41" y="3861"/>
                        <a:pt x="7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3" name="Freeform 7477">
                  <a:extLst>
                    <a:ext uri="{FF2B5EF4-FFF2-40B4-BE49-F238E27FC236}">
                      <a16:creationId xmlns:a16="http://schemas.microsoft.com/office/drawing/2014/main" id="{6C7A971C-9547-D488-D35C-1084CD797A2E}"/>
                    </a:ext>
                  </a:extLst>
                </p:cNvPr>
                <p:cNvSpPr/>
                <p:nvPr/>
              </p:nvSpPr>
              <p:spPr>
                <a:xfrm>
                  <a:off x="7625047" y="1830449"/>
                  <a:ext cx="7722" cy="51691"/>
                </a:xfrm>
                <a:custGeom>
                  <a:avLst/>
                  <a:gdLst>
                    <a:gd name="connsiteX0" fmla="*/ 0 w 7722"/>
                    <a:gd name="connsiteY0" fmla="*/ 0 h 51691"/>
                    <a:gd name="connsiteX1" fmla="*/ 4485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613" y="7598"/>
                        <a:pt x="4360" y="13950"/>
                        <a:pt x="4485" y="18310"/>
                      </a:cubicBezTo>
                      <a:cubicBezTo>
                        <a:pt x="4609" y="25285"/>
                        <a:pt x="2989" y="28648"/>
                        <a:pt x="3363" y="35748"/>
                      </a:cubicBezTo>
                      <a:cubicBezTo>
                        <a:pt x="3861"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4" name="Freeform 7478">
                  <a:extLst>
                    <a:ext uri="{FF2B5EF4-FFF2-40B4-BE49-F238E27FC236}">
                      <a16:creationId xmlns:a16="http://schemas.microsoft.com/office/drawing/2014/main" id="{98BFBAD1-C95D-C960-2A24-12F602E39E5D}"/>
                    </a:ext>
                  </a:extLst>
                </p:cNvPr>
                <p:cNvSpPr/>
                <p:nvPr/>
              </p:nvSpPr>
              <p:spPr>
                <a:xfrm>
                  <a:off x="7623179" y="1870183"/>
                  <a:ext cx="26778" cy="26532"/>
                </a:xfrm>
                <a:custGeom>
                  <a:avLst/>
                  <a:gdLst>
                    <a:gd name="connsiteX0" fmla="*/ 124 w 26778"/>
                    <a:gd name="connsiteY0" fmla="*/ 15071 h 26532"/>
                    <a:gd name="connsiteX1" fmla="*/ 11583 w 26778"/>
                    <a:gd name="connsiteY1" fmla="*/ 124 h 26532"/>
                    <a:gd name="connsiteX2" fmla="*/ 26654 w 26778"/>
                    <a:gd name="connsiteY2" fmla="*/ 11459 h 26532"/>
                    <a:gd name="connsiteX3" fmla="*/ 15195 w 26778"/>
                    <a:gd name="connsiteY3" fmla="*/ 26406 h 26532"/>
                    <a:gd name="connsiteX4" fmla="*/ 124 w 26778"/>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8" h="26531">
                      <a:moveTo>
                        <a:pt x="124" y="15071"/>
                      </a:moveTo>
                      <a:cubicBezTo>
                        <a:pt x="-872" y="7847"/>
                        <a:pt x="4234" y="1121"/>
                        <a:pt x="11583" y="124"/>
                      </a:cubicBezTo>
                      <a:cubicBezTo>
                        <a:pt x="18932" y="-872"/>
                        <a:pt x="25658" y="4235"/>
                        <a:pt x="26654" y="11459"/>
                      </a:cubicBezTo>
                      <a:cubicBezTo>
                        <a:pt x="27651" y="18683"/>
                        <a:pt x="22544" y="25409"/>
                        <a:pt x="15195" y="26406"/>
                      </a:cubicBezTo>
                      <a:cubicBezTo>
                        <a:pt x="7847" y="27402"/>
                        <a:pt x="1120"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5" name="Freeform 7479">
                  <a:extLst>
                    <a:ext uri="{FF2B5EF4-FFF2-40B4-BE49-F238E27FC236}">
                      <a16:creationId xmlns:a16="http://schemas.microsoft.com/office/drawing/2014/main" id="{4C924EE0-68BB-9205-C206-975BD29912A4}"/>
                    </a:ext>
                  </a:extLst>
                </p:cNvPr>
                <p:cNvSpPr/>
                <p:nvPr/>
              </p:nvSpPr>
              <p:spPr>
                <a:xfrm>
                  <a:off x="7616374" y="1769789"/>
                  <a:ext cx="7915" cy="51691"/>
                </a:xfrm>
                <a:custGeom>
                  <a:avLst/>
                  <a:gdLst>
                    <a:gd name="connsiteX0" fmla="*/ 702 w 7915"/>
                    <a:gd name="connsiteY0" fmla="*/ 0 h 51691"/>
                    <a:gd name="connsiteX1" fmla="*/ 1324 w 7915"/>
                    <a:gd name="connsiteY1" fmla="*/ 18808 h 51691"/>
                    <a:gd name="connsiteX2" fmla="*/ 7053 w 7915"/>
                    <a:gd name="connsiteY2" fmla="*/ 35250 h 51691"/>
                    <a:gd name="connsiteX3" fmla="*/ 7178 w 791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15" h="51690">
                      <a:moveTo>
                        <a:pt x="702" y="0"/>
                      </a:moveTo>
                      <a:cubicBezTo>
                        <a:pt x="-669" y="8345"/>
                        <a:pt x="203" y="14573"/>
                        <a:pt x="1324" y="18808"/>
                      </a:cubicBezTo>
                      <a:cubicBezTo>
                        <a:pt x="3067" y="25659"/>
                        <a:pt x="5559" y="28275"/>
                        <a:pt x="7053" y="35250"/>
                      </a:cubicBezTo>
                      <a:cubicBezTo>
                        <a:pt x="8424" y="41976"/>
                        <a:pt x="7925" y="47830"/>
                        <a:pt x="717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6" name="Freeform 7480">
                  <a:extLst>
                    <a:ext uri="{FF2B5EF4-FFF2-40B4-BE49-F238E27FC236}">
                      <a16:creationId xmlns:a16="http://schemas.microsoft.com/office/drawing/2014/main" id="{03F6B86E-30C8-0043-836F-BF2592340710}"/>
                    </a:ext>
                  </a:extLst>
                </p:cNvPr>
                <p:cNvSpPr/>
                <p:nvPr/>
              </p:nvSpPr>
              <p:spPr>
                <a:xfrm>
                  <a:off x="7623427" y="1763686"/>
                  <a:ext cx="7847" cy="51691"/>
                </a:xfrm>
                <a:custGeom>
                  <a:avLst/>
                  <a:gdLst>
                    <a:gd name="connsiteX0" fmla="*/ 7847 w 7847"/>
                    <a:gd name="connsiteY0" fmla="*/ 51691 h 51691"/>
                    <a:gd name="connsiteX1" fmla="*/ 3363 w 7847"/>
                    <a:gd name="connsiteY1" fmla="*/ 33381 h 51691"/>
                    <a:gd name="connsiteX2" fmla="*/ 4360 w 7847"/>
                    <a:gd name="connsiteY2" fmla="*/ 15943 h 51691"/>
                    <a:gd name="connsiteX3" fmla="*/ 0 w 7847"/>
                    <a:gd name="connsiteY3" fmla="*/ 0 h 51691"/>
                  </a:gdLst>
                  <a:ahLst/>
                  <a:cxnLst>
                    <a:cxn ang="0">
                      <a:pos x="connsiteX0" y="connsiteY0"/>
                    </a:cxn>
                    <a:cxn ang="0">
                      <a:pos x="connsiteX1" y="connsiteY1"/>
                    </a:cxn>
                    <a:cxn ang="0">
                      <a:pos x="connsiteX2" y="connsiteY2"/>
                    </a:cxn>
                    <a:cxn ang="0">
                      <a:pos x="connsiteX3" y="connsiteY3"/>
                    </a:cxn>
                  </a:cxnLst>
                  <a:rect l="l" t="t" r="r" b="b"/>
                  <a:pathLst>
                    <a:path w="7847" h="51690">
                      <a:moveTo>
                        <a:pt x="7847" y="51691"/>
                      </a:moveTo>
                      <a:cubicBezTo>
                        <a:pt x="4235" y="44093"/>
                        <a:pt x="3488" y="37741"/>
                        <a:pt x="3363" y="33381"/>
                      </a:cubicBezTo>
                      <a:cubicBezTo>
                        <a:pt x="3239"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7" name="Freeform 7481">
                  <a:extLst>
                    <a:ext uri="{FF2B5EF4-FFF2-40B4-BE49-F238E27FC236}">
                      <a16:creationId xmlns:a16="http://schemas.microsoft.com/office/drawing/2014/main" id="{92EDBB40-2BC8-3079-2462-BF530CDC4874}"/>
                    </a:ext>
                  </a:extLst>
                </p:cNvPr>
                <p:cNvSpPr/>
                <p:nvPr/>
              </p:nvSpPr>
              <p:spPr>
                <a:xfrm>
                  <a:off x="7606485" y="1748989"/>
                  <a:ext cx="26410" cy="26530"/>
                </a:xfrm>
                <a:custGeom>
                  <a:avLst/>
                  <a:gdLst>
                    <a:gd name="connsiteX0" fmla="*/ 26284 w 26410"/>
                    <a:gd name="connsiteY0" fmla="*/ 11459 h 26530"/>
                    <a:gd name="connsiteX1" fmla="*/ 15074 w 26410"/>
                    <a:gd name="connsiteY1" fmla="*/ 26406 h 26530"/>
                    <a:gd name="connsiteX2" fmla="*/ 127 w 26410"/>
                    <a:gd name="connsiteY2" fmla="*/ 15071 h 26530"/>
                    <a:gd name="connsiteX3" fmla="*/ 11337 w 26410"/>
                    <a:gd name="connsiteY3" fmla="*/ 124 h 26530"/>
                    <a:gd name="connsiteX4" fmla="*/ 26284 w 2641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6284" y="11459"/>
                      </a:moveTo>
                      <a:cubicBezTo>
                        <a:pt x="27280" y="18683"/>
                        <a:pt x="22298" y="25409"/>
                        <a:pt x="15074" y="26406"/>
                      </a:cubicBezTo>
                      <a:cubicBezTo>
                        <a:pt x="7849" y="27402"/>
                        <a:pt x="1124" y="22296"/>
                        <a:pt x="127" y="15071"/>
                      </a:cubicBezTo>
                      <a:cubicBezTo>
                        <a:pt x="-870" y="7847"/>
                        <a:pt x="4113" y="1121"/>
                        <a:pt x="11337" y="124"/>
                      </a:cubicBezTo>
                      <a:cubicBezTo>
                        <a:pt x="18561" y="-872"/>
                        <a:pt x="25288" y="4235"/>
                        <a:pt x="2628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6" name="Graphic 2987">
                <a:extLst>
                  <a:ext uri="{FF2B5EF4-FFF2-40B4-BE49-F238E27FC236}">
                    <a16:creationId xmlns:a16="http://schemas.microsoft.com/office/drawing/2014/main" id="{0EE432BB-C083-C6EC-AF93-FF26006C38A6}"/>
                  </a:ext>
                </a:extLst>
              </p:cNvPr>
              <p:cNvGrpSpPr/>
              <p:nvPr/>
            </p:nvGrpSpPr>
            <p:grpSpPr>
              <a:xfrm>
                <a:off x="7577341" y="1752974"/>
                <a:ext cx="43096" cy="147727"/>
                <a:chOff x="7577341" y="1752974"/>
                <a:chExt cx="43096" cy="147727"/>
              </a:xfrm>
              <a:grpFill/>
            </p:grpSpPr>
            <p:sp>
              <p:nvSpPr>
                <p:cNvPr id="6636" name="Freeform 7483">
                  <a:extLst>
                    <a:ext uri="{FF2B5EF4-FFF2-40B4-BE49-F238E27FC236}">
                      <a16:creationId xmlns:a16="http://schemas.microsoft.com/office/drawing/2014/main" id="{0A3155AD-38DA-C5FA-C3DB-004D812B94F4}"/>
                    </a:ext>
                  </a:extLst>
                </p:cNvPr>
                <p:cNvSpPr/>
                <p:nvPr/>
              </p:nvSpPr>
              <p:spPr>
                <a:xfrm>
                  <a:off x="7602553" y="1828332"/>
                  <a:ext cx="7755" cy="51691"/>
                </a:xfrm>
                <a:custGeom>
                  <a:avLst/>
                  <a:gdLst>
                    <a:gd name="connsiteX0" fmla="*/ 7049 w 7755"/>
                    <a:gd name="connsiteY0" fmla="*/ 51691 h 51691"/>
                    <a:gd name="connsiteX1" fmla="*/ 6551 w 7755"/>
                    <a:gd name="connsiteY1" fmla="*/ 32883 h 51691"/>
                    <a:gd name="connsiteX2" fmla="*/ 821 w 7755"/>
                    <a:gd name="connsiteY2" fmla="*/ 16442 h 51691"/>
                    <a:gd name="connsiteX3" fmla="*/ 696 w 7755"/>
                    <a:gd name="connsiteY3" fmla="*/ 0 h 51691"/>
                  </a:gdLst>
                  <a:ahLst/>
                  <a:cxnLst>
                    <a:cxn ang="0">
                      <a:pos x="connsiteX0" y="connsiteY0"/>
                    </a:cxn>
                    <a:cxn ang="0">
                      <a:pos x="connsiteX1" y="connsiteY1"/>
                    </a:cxn>
                    <a:cxn ang="0">
                      <a:pos x="connsiteX2" y="connsiteY2"/>
                    </a:cxn>
                    <a:cxn ang="0">
                      <a:pos x="connsiteX3" y="connsiteY3"/>
                    </a:cxn>
                  </a:cxnLst>
                  <a:rect l="l" t="t" r="r" b="b"/>
                  <a:pathLst>
                    <a:path w="7755" h="51690">
                      <a:moveTo>
                        <a:pt x="7049" y="51691"/>
                      </a:moveTo>
                      <a:cubicBezTo>
                        <a:pt x="8419" y="43346"/>
                        <a:pt x="7547" y="37118"/>
                        <a:pt x="6551" y="32883"/>
                      </a:cubicBezTo>
                      <a:cubicBezTo>
                        <a:pt x="4807" y="26033"/>
                        <a:pt x="2315" y="23417"/>
                        <a:pt x="821" y="16442"/>
                      </a:cubicBezTo>
                      <a:cubicBezTo>
                        <a:pt x="-549" y="9715"/>
                        <a:pt x="73" y="3861"/>
                        <a:pt x="6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7" name="Freeform 7484">
                  <a:extLst>
                    <a:ext uri="{FF2B5EF4-FFF2-40B4-BE49-F238E27FC236}">
                      <a16:creationId xmlns:a16="http://schemas.microsoft.com/office/drawing/2014/main" id="{09EA1E5C-270C-4602-C3DD-8EBF1D6A0383}"/>
                    </a:ext>
                  </a:extLst>
                </p:cNvPr>
                <p:cNvSpPr/>
                <p:nvPr/>
              </p:nvSpPr>
              <p:spPr>
                <a:xfrm>
                  <a:off x="7595651" y="1834310"/>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8" y="7598"/>
                        <a:pt x="4359" y="13950"/>
                        <a:pt x="4484" y="18310"/>
                      </a:cubicBezTo>
                      <a:cubicBezTo>
                        <a:pt x="4609" y="25285"/>
                        <a:pt x="2989"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8" name="Freeform 7485">
                  <a:extLst>
                    <a:ext uri="{FF2B5EF4-FFF2-40B4-BE49-F238E27FC236}">
                      <a16:creationId xmlns:a16="http://schemas.microsoft.com/office/drawing/2014/main" id="{02E17BCF-2768-3CA4-C457-E899817D06DB}"/>
                    </a:ext>
                  </a:extLst>
                </p:cNvPr>
                <p:cNvSpPr/>
                <p:nvPr/>
              </p:nvSpPr>
              <p:spPr>
                <a:xfrm>
                  <a:off x="7593658" y="1874169"/>
                  <a:ext cx="26779" cy="26532"/>
                </a:xfrm>
                <a:custGeom>
                  <a:avLst/>
                  <a:gdLst>
                    <a:gd name="connsiteX0" fmla="*/ 124 w 26779"/>
                    <a:gd name="connsiteY0" fmla="*/ 15071 h 26532"/>
                    <a:gd name="connsiteX1" fmla="*/ 11584 w 26779"/>
                    <a:gd name="connsiteY1" fmla="*/ 124 h 26532"/>
                    <a:gd name="connsiteX2" fmla="*/ 26655 w 26779"/>
                    <a:gd name="connsiteY2" fmla="*/ 11459 h 26532"/>
                    <a:gd name="connsiteX3" fmla="*/ 15196 w 26779"/>
                    <a:gd name="connsiteY3" fmla="*/ 26406 h 26532"/>
                    <a:gd name="connsiteX4" fmla="*/ 124 w 26779"/>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1">
                      <a:moveTo>
                        <a:pt x="124" y="15071"/>
                      </a:moveTo>
                      <a:cubicBezTo>
                        <a:pt x="-872" y="7847"/>
                        <a:pt x="4235" y="1121"/>
                        <a:pt x="11584" y="124"/>
                      </a:cubicBezTo>
                      <a:cubicBezTo>
                        <a:pt x="18932" y="-872"/>
                        <a:pt x="25659" y="4235"/>
                        <a:pt x="26655" y="11459"/>
                      </a:cubicBezTo>
                      <a:cubicBezTo>
                        <a:pt x="27652" y="18683"/>
                        <a:pt x="22545" y="25409"/>
                        <a:pt x="15196" y="26406"/>
                      </a:cubicBezTo>
                      <a:cubicBezTo>
                        <a:pt x="7847" y="27402"/>
                        <a:pt x="996" y="22420"/>
                        <a:pt x="124"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9" name="Freeform 7486">
                  <a:extLst>
                    <a:ext uri="{FF2B5EF4-FFF2-40B4-BE49-F238E27FC236}">
                      <a16:creationId xmlns:a16="http://schemas.microsoft.com/office/drawing/2014/main" id="{E6F6DE87-C754-24EE-C436-504C03A054EF}"/>
                    </a:ext>
                  </a:extLst>
                </p:cNvPr>
                <p:cNvSpPr/>
                <p:nvPr/>
              </p:nvSpPr>
              <p:spPr>
                <a:xfrm>
                  <a:off x="7587097" y="1773651"/>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0" y="28275"/>
                        <a:pt x="6935" y="35250"/>
                      </a:cubicBezTo>
                      <a:cubicBezTo>
                        <a:pt x="8305" y="41976"/>
                        <a:pt x="7682"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0" name="Freeform 7487">
                  <a:extLst>
                    <a:ext uri="{FF2B5EF4-FFF2-40B4-BE49-F238E27FC236}">
                      <a16:creationId xmlns:a16="http://schemas.microsoft.com/office/drawing/2014/main" id="{7CB1EB7B-DE04-29E8-D60C-3D76B747FF33}"/>
                    </a:ext>
                  </a:extLst>
                </p:cNvPr>
                <p:cNvSpPr/>
                <p:nvPr/>
              </p:nvSpPr>
              <p:spPr>
                <a:xfrm>
                  <a:off x="7594157" y="1767672"/>
                  <a:ext cx="7722" cy="51691"/>
                </a:xfrm>
                <a:custGeom>
                  <a:avLst/>
                  <a:gdLst>
                    <a:gd name="connsiteX0" fmla="*/ 7723 w 7722"/>
                    <a:gd name="connsiteY0" fmla="*/ 51691 h 51691"/>
                    <a:gd name="connsiteX1" fmla="*/ 3239 w 7722"/>
                    <a:gd name="connsiteY1" fmla="*/ 33381 h 51691"/>
                    <a:gd name="connsiteX2" fmla="*/ 4359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3"/>
                        <a:pt x="3363" y="37741"/>
                        <a:pt x="3239" y="33381"/>
                      </a:cubicBezTo>
                      <a:cubicBezTo>
                        <a:pt x="3114" y="26406"/>
                        <a:pt x="4733" y="23043"/>
                        <a:pt x="4359"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41" name="Freeform 7488">
                  <a:extLst>
                    <a:ext uri="{FF2B5EF4-FFF2-40B4-BE49-F238E27FC236}">
                      <a16:creationId xmlns:a16="http://schemas.microsoft.com/office/drawing/2014/main" id="{343AFA9F-999C-FE5A-CB7F-AFEA7183E963}"/>
                    </a:ext>
                  </a:extLst>
                </p:cNvPr>
                <p:cNvSpPr/>
                <p:nvPr/>
              </p:nvSpPr>
              <p:spPr>
                <a:xfrm>
                  <a:off x="7577341" y="1752974"/>
                  <a:ext cx="26406" cy="26530"/>
                </a:xfrm>
                <a:custGeom>
                  <a:avLst/>
                  <a:gdLst>
                    <a:gd name="connsiteX0" fmla="*/ 26282 w 26406"/>
                    <a:gd name="connsiteY0" fmla="*/ 11459 h 26530"/>
                    <a:gd name="connsiteX1" fmla="*/ 14947 w 26406"/>
                    <a:gd name="connsiteY1" fmla="*/ 26406 h 26530"/>
                    <a:gd name="connsiteX2" fmla="*/ 124 w 26406"/>
                    <a:gd name="connsiteY2" fmla="*/ 15071 h 26530"/>
                    <a:gd name="connsiteX3" fmla="*/ 11459 w 26406"/>
                    <a:gd name="connsiteY3" fmla="*/ 124 h 26530"/>
                    <a:gd name="connsiteX4" fmla="*/ 26282 w 26406"/>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26282" y="11459"/>
                      </a:moveTo>
                      <a:cubicBezTo>
                        <a:pt x="27278" y="18683"/>
                        <a:pt x="22171" y="25409"/>
                        <a:pt x="14947" y="26406"/>
                      </a:cubicBezTo>
                      <a:cubicBezTo>
                        <a:pt x="7723" y="27402"/>
                        <a:pt x="1121" y="22296"/>
                        <a:pt x="124" y="15071"/>
                      </a:cubicBezTo>
                      <a:cubicBezTo>
                        <a:pt x="-872" y="7847"/>
                        <a:pt x="4235" y="1121"/>
                        <a:pt x="11459" y="124"/>
                      </a:cubicBezTo>
                      <a:cubicBezTo>
                        <a:pt x="18559" y="-872"/>
                        <a:pt x="25285" y="4235"/>
                        <a:pt x="2628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7" name="Graphic 2987">
                <a:extLst>
                  <a:ext uri="{FF2B5EF4-FFF2-40B4-BE49-F238E27FC236}">
                    <a16:creationId xmlns:a16="http://schemas.microsoft.com/office/drawing/2014/main" id="{FF03CD79-033D-8179-7186-70B2BE849C57}"/>
                  </a:ext>
                </a:extLst>
              </p:cNvPr>
              <p:cNvGrpSpPr/>
              <p:nvPr/>
            </p:nvGrpSpPr>
            <p:grpSpPr>
              <a:xfrm>
                <a:off x="7548070" y="1756960"/>
                <a:ext cx="42598" cy="147727"/>
                <a:chOff x="7548070" y="1756960"/>
                <a:chExt cx="42598" cy="147727"/>
              </a:xfrm>
              <a:grpFill/>
            </p:grpSpPr>
            <p:sp>
              <p:nvSpPr>
                <p:cNvPr id="6630" name="Freeform 7490">
                  <a:extLst>
                    <a:ext uri="{FF2B5EF4-FFF2-40B4-BE49-F238E27FC236}">
                      <a16:creationId xmlns:a16="http://schemas.microsoft.com/office/drawing/2014/main" id="{918AFB94-B594-29BB-010D-70FF09BD62FE}"/>
                    </a:ext>
                  </a:extLst>
                </p:cNvPr>
                <p:cNvSpPr/>
                <p:nvPr/>
              </p:nvSpPr>
              <p:spPr>
                <a:xfrm>
                  <a:off x="7573168" y="1832193"/>
                  <a:ext cx="7620" cy="51815"/>
                </a:xfrm>
                <a:custGeom>
                  <a:avLst/>
                  <a:gdLst>
                    <a:gd name="connsiteX0" fmla="*/ 6914 w 7620"/>
                    <a:gd name="connsiteY0" fmla="*/ 51816 h 51815"/>
                    <a:gd name="connsiteX1" fmla="*/ 6416 w 7620"/>
                    <a:gd name="connsiteY1" fmla="*/ 33008 h 51815"/>
                    <a:gd name="connsiteX2" fmla="*/ 810 w 7620"/>
                    <a:gd name="connsiteY2" fmla="*/ 16566 h 51815"/>
                    <a:gd name="connsiteX3" fmla="*/ 810 w 7620"/>
                    <a:gd name="connsiteY3" fmla="*/ 0 h 51815"/>
                  </a:gdLst>
                  <a:ahLst/>
                  <a:cxnLst>
                    <a:cxn ang="0">
                      <a:pos x="connsiteX0" y="connsiteY0"/>
                    </a:cxn>
                    <a:cxn ang="0">
                      <a:pos x="connsiteX1" y="connsiteY1"/>
                    </a:cxn>
                    <a:cxn ang="0">
                      <a:pos x="connsiteX2" y="connsiteY2"/>
                    </a:cxn>
                    <a:cxn ang="0">
                      <a:pos x="connsiteX3" y="connsiteY3"/>
                    </a:cxn>
                  </a:cxnLst>
                  <a:rect l="l" t="t" r="r" b="b"/>
                  <a:pathLst>
                    <a:path w="7620" h="51815">
                      <a:moveTo>
                        <a:pt x="6914" y="51816"/>
                      </a:moveTo>
                      <a:cubicBezTo>
                        <a:pt x="8284" y="43471"/>
                        <a:pt x="7412" y="37243"/>
                        <a:pt x="6416" y="33008"/>
                      </a:cubicBezTo>
                      <a:cubicBezTo>
                        <a:pt x="4672"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1" name="Freeform 7491">
                  <a:extLst>
                    <a:ext uri="{FF2B5EF4-FFF2-40B4-BE49-F238E27FC236}">
                      <a16:creationId xmlns:a16="http://schemas.microsoft.com/office/drawing/2014/main" id="{1EBFEFA3-ED19-0BE7-3F85-2E524DB6C783}"/>
                    </a:ext>
                  </a:extLst>
                </p:cNvPr>
                <p:cNvSpPr/>
                <p:nvPr/>
              </p:nvSpPr>
              <p:spPr>
                <a:xfrm>
                  <a:off x="7566131" y="1838296"/>
                  <a:ext cx="7722" cy="51691"/>
                </a:xfrm>
                <a:custGeom>
                  <a:avLst/>
                  <a:gdLst>
                    <a:gd name="connsiteX0" fmla="*/ 0 w 7722"/>
                    <a:gd name="connsiteY0" fmla="*/ 0 h 51691"/>
                    <a:gd name="connsiteX1" fmla="*/ 4484 w 7722"/>
                    <a:gd name="connsiteY1" fmla="*/ 18310 h 51691"/>
                    <a:gd name="connsiteX2" fmla="*/ 3363 w 7722"/>
                    <a:gd name="connsiteY2" fmla="*/ 35748 h 51691"/>
                    <a:gd name="connsiteX3" fmla="*/ 7723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0" y="0"/>
                      </a:moveTo>
                      <a:cubicBezTo>
                        <a:pt x="3487" y="7598"/>
                        <a:pt x="4359" y="13950"/>
                        <a:pt x="4484" y="18310"/>
                      </a:cubicBezTo>
                      <a:cubicBezTo>
                        <a:pt x="4609" y="25285"/>
                        <a:pt x="2865" y="28648"/>
                        <a:pt x="3363" y="35748"/>
                      </a:cubicBezTo>
                      <a:cubicBezTo>
                        <a:pt x="3737" y="42599"/>
                        <a:pt x="5979" y="48079"/>
                        <a:pt x="7723"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2" name="Freeform 7492">
                  <a:extLst>
                    <a:ext uri="{FF2B5EF4-FFF2-40B4-BE49-F238E27FC236}">
                      <a16:creationId xmlns:a16="http://schemas.microsoft.com/office/drawing/2014/main" id="{98B1A8C8-22DE-487B-C557-71CB086BCB2E}"/>
                    </a:ext>
                  </a:extLst>
                </p:cNvPr>
                <p:cNvSpPr/>
                <p:nvPr/>
              </p:nvSpPr>
              <p:spPr>
                <a:xfrm>
                  <a:off x="7564017" y="1878155"/>
                  <a:ext cx="26652" cy="26532"/>
                </a:xfrm>
                <a:custGeom>
                  <a:avLst/>
                  <a:gdLst>
                    <a:gd name="connsiteX0" fmla="*/ 122 w 26652"/>
                    <a:gd name="connsiteY0" fmla="*/ 15071 h 26532"/>
                    <a:gd name="connsiteX1" fmla="*/ 11581 w 26652"/>
                    <a:gd name="connsiteY1" fmla="*/ 124 h 26532"/>
                    <a:gd name="connsiteX2" fmla="*/ 26528 w 26652"/>
                    <a:gd name="connsiteY2" fmla="*/ 11459 h 26532"/>
                    <a:gd name="connsiteX3" fmla="*/ 15068 w 26652"/>
                    <a:gd name="connsiteY3" fmla="*/ 26406 h 26532"/>
                    <a:gd name="connsiteX4" fmla="*/ 122 w 26652"/>
                    <a:gd name="connsiteY4" fmla="*/ 1507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531">
                      <a:moveTo>
                        <a:pt x="122" y="15071"/>
                      </a:moveTo>
                      <a:cubicBezTo>
                        <a:pt x="-875" y="7847"/>
                        <a:pt x="4356" y="1121"/>
                        <a:pt x="11581" y="124"/>
                      </a:cubicBezTo>
                      <a:cubicBezTo>
                        <a:pt x="18929" y="-872"/>
                        <a:pt x="25531" y="4235"/>
                        <a:pt x="26528" y="11459"/>
                      </a:cubicBezTo>
                      <a:cubicBezTo>
                        <a:pt x="27524" y="18683"/>
                        <a:pt x="22417" y="25409"/>
                        <a:pt x="15068" y="26406"/>
                      </a:cubicBezTo>
                      <a:cubicBezTo>
                        <a:pt x="7720" y="27402"/>
                        <a:pt x="1118" y="22420"/>
                        <a:pt x="122"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3" name="Freeform 7493">
                  <a:extLst>
                    <a:ext uri="{FF2B5EF4-FFF2-40B4-BE49-F238E27FC236}">
                      <a16:creationId xmlns:a16="http://schemas.microsoft.com/office/drawing/2014/main" id="{51C506D3-9777-C012-6D5A-F9DA5C9F4BDC}"/>
                    </a:ext>
                  </a:extLst>
                </p:cNvPr>
                <p:cNvSpPr/>
                <p:nvPr/>
              </p:nvSpPr>
              <p:spPr>
                <a:xfrm>
                  <a:off x="7557950" y="1777637"/>
                  <a:ext cx="7621" cy="51815"/>
                </a:xfrm>
                <a:custGeom>
                  <a:avLst/>
                  <a:gdLst>
                    <a:gd name="connsiteX0" fmla="*/ 708 w 7621"/>
                    <a:gd name="connsiteY0" fmla="*/ 0 h 51815"/>
                    <a:gd name="connsiteX1" fmla="*/ 1206 w 7621"/>
                    <a:gd name="connsiteY1" fmla="*/ 18808 h 51815"/>
                    <a:gd name="connsiteX2" fmla="*/ 6811 w 7621"/>
                    <a:gd name="connsiteY2" fmla="*/ 35250 h 51815"/>
                    <a:gd name="connsiteX3" fmla="*/ 6811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708" y="0"/>
                      </a:moveTo>
                      <a:cubicBezTo>
                        <a:pt x="-663" y="8345"/>
                        <a:pt x="209" y="14573"/>
                        <a:pt x="1206" y="18808"/>
                      </a:cubicBezTo>
                      <a:cubicBezTo>
                        <a:pt x="2950" y="25659"/>
                        <a:pt x="5440" y="28275"/>
                        <a:pt x="6811" y="35250"/>
                      </a:cubicBezTo>
                      <a:cubicBezTo>
                        <a:pt x="8181" y="41976"/>
                        <a:pt x="7558" y="47830"/>
                        <a:pt x="681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4" name="Freeform 7494">
                  <a:extLst>
                    <a:ext uri="{FF2B5EF4-FFF2-40B4-BE49-F238E27FC236}">
                      <a16:creationId xmlns:a16="http://schemas.microsoft.com/office/drawing/2014/main" id="{DB3CB0AE-AEA9-CFB4-EAC6-BDC891984493}"/>
                    </a:ext>
                  </a:extLst>
                </p:cNvPr>
                <p:cNvSpPr/>
                <p:nvPr/>
              </p:nvSpPr>
              <p:spPr>
                <a:xfrm>
                  <a:off x="7564886" y="1771658"/>
                  <a:ext cx="7597" cy="51691"/>
                </a:xfrm>
                <a:custGeom>
                  <a:avLst/>
                  <a:gdLst>
                    <a:gd name="connsiteX0" fmla="*/ 7598 w 7597"/>
                    <a:gd name="connsiteY0" fmla="*/ 51691 h 51691"/>
                    <a:gd name="connsiteX1" fmla="*/ 3114 w 7597"/>
                    <a:gd name="connsiteY1" fmla="*/ 33381 h 51691"/>
                    <a:gd name="connsiteX2" fmla="*/ 4235 w 7597"/>
                    <a:gd name="connsiteY2" fmla="*/ 15943 h 51691"/>
                    <a:gd name="connsiteX3" fmla="*/ 0 w 7597"/>
                    <a:gd name="connsiteY3" fmla="*/ 0 h 51691"/>
                  </a:gdLst>
                  <a:ahLst/>
                  <a:cxnLst>
                    <a:cxn ang="0">
                      <a:pos x="connsiteX0" y="connsiteY0"/>
                    </a:cxn>
                    <a:cxn ang="0">
                      <a:pos x="connsiteX1" y="connsiteY1"/>
                    </a:cxn>
                    <a:cxn ang="0">
                      <a:pos x="connsiteX2" y="connsiteY2"/>
                    </a:cxn>
                    <a:cxn ang="0">
                      <a:pos x="connsiteX3" y="connsiteY3"/>
                    </a:cxn>
                  </a:cxnLst>
                  <a:rect l="l" t="t" r="r" b="b"/>
                  <a:pathLst>
                    <a:path w="7597" h="51690">
                      <a:moveTo>
                        <a:pt x="7598" y="51691"/>
                      </a:moveTo>
                      <a:cubicBezTo>
                        <a:pt x="4110" y="44093"/>
                        <a:pt x="3238" y="37741"/>
                        <a:pt x="3114" y="33381"/>
                      </a:cubicBezTo>
                      <a:cubicBezTo>
                        <a:pt x="2989" y="26406"/>
                        <a:pt x="4732" y="23043"/>
                        <a:pt x="4235" y="15943"/>
                      </a:cubicBezTo>
                      <a:cubicBezTo>
                        <a:pt x="3861" y="9093"/>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35" name="Freeform 7495">
                  <a:extLst>
                    <a:ext uri="{FF2B5EF4-FFF2-40B4-BE49-F238E27FC236}">
                      <a16:creationId xmlns:a16="http://schemas.microsoft.com/office/drawing/2014/main" id="{B1B559BA-4F70-B6E6-C778-20A64D5D4F10}"/>
                    </a:ext>
                  </a:extLst>
                </p:cNvPr>
                <p:cNvSpPr/>
                <p:nvPr/>
              </p:nvSpPr>
              <p:spPr>
                <a:xfrm>
                  <a:off x="7548070" y="1756960"/>
                  <a:ext cx="26405" cy="26530"/>
                </a:xfrm>
                <a:custGeom>
                  <a:avLst/>
                  <a:gdLst>
                    <a:gd name="connsiteX0" fmla="*/ 26281 w 26405"/>
                    <a:gd name="connsiteY0" fmla="*/ 11459 h 26530"/>
                    <a:gd name="connsiteX1" fmla="*/ 14947 w 26405"/>
                    <a:gd name="connsiteY1" fmla="*/ 26406 h 26530"/>
                    <a:gd name="connsiteX2" fmla="*/ 124 w 26405"/>
                    <a:gd name="connsiteY2" fmla="*/ 15071 h 26530"/>
                    <a:gd name="connsiteX3" fmla="*/ 11459 w 26405"/>
                    <a:gd name="connsiteY3" fmla="*/ 124 h 26530"/>
                    <a:gd name="connsiteX4" fmla="*/ 26281 w 26405"/>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30">
                      <a:moveTo>
                        <a:pt x="26281" y="11459"/>
                      </a:moveTo>
                      <a:cubicBezTo>
                        <a:pt x="27278" y="18683"/>
                        <a:pt x="22171" y="25409"/>
                        <a:pt x="14947" y="26406"/>
                      </a:cubicBezTo>
                      <a:cubicBezTo>
                        <a:pt x="7722" y="27402"/>
                        <a:pt x="1121" y="22296"/>
                        <a:pt x="124" y="15071"/>
                      </a:cubicBezTo>
                      <a:cubicBezTo>
                        <a:pt x="-872" y="7847"/>
                        <a:pt x="4235" y="1121"/>
                        <a:pt x="11459" y="124"/>
                      </a:cubicBezTo>
                      <a:cubicBezTo>
                        <a:pt x="18683" y="-872"/>
                        <a:pt x="25285" y="4235"/>
                        <a:pt x="26281"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8" name="Graphic 2987">
                <a:extLst>
                  <a:ext uri="{FF2B5EF4-FFF2-40B4-BE49-F238E27FC236}">
                    <a16:creationId xmlns:a16="http://schemas.microsoft.com/office/drawing/2014/main" id="{43EF715B-87CB-DC85-08CB-B5264698CCB1}"/>
                  </a:ext>
                </a:extLst>
              </p:cNvPr>
              <p:cNvGrpSpPr/>
              <p:nvPr/>
            </p:nvGrpSpPr>
            <p:grpSpPr>
              <a:xfrm>
                <a:off x="7518825" y="1760822"/>
                <a:ext cx="42321" cy="147973"/>
                <a:chOff x="7518825" y="1760822"/>
                <a:chExt cx="42321" cy="147973"/>
              </a:xfrm>
              <a:grpFill/>
            </p:grpSpPr>
            <p:sp>
              <p:nvSpPr>
                <p:cNvPr id="6624" name="Freeform 7497">
                  <a:extLst>
                    <a:ext uri="{FF2B5EF4-FFF2-40B4-BE49-F238E27FC236}">
                      <a16:creationId xmlns:a16="http://schemas.microsoft.com/office/drawing/2014/main" id="{9942FC0D-187F-EB9F-177F-5AEAE3C6009A}"/>
                    </a:ext>
                  </a:extLst>
                </p:cNvPr>
                <p:cNvSpPr/>
                <p:nvPr/>
              </p:nvSpPr>
              <p:spPr>
                <a:xfrm>
                  <a:off x="7543648" y="1836179"/>
                  <a:ext cx="7708" cy="51815"/>
                </a:xfrm>
                <a:custGeom>
                  <a:avLst/>
                  <a:gdLst>
                    <a:gd name="connsiteX0" fmla="*/ 6914 w 7708"/>
                    <a:gd name="connsiteY0" fmla="*/ 51816 h 51815"/>
                    <a:gd name="connsiteX1" fmla="*/ 6416 w 7708"/>
                    <a:gd name="connsiteY1" fmla="*/ 33008 h 51815"/>
                    <a:gd name="connsiteX2" fmla="*/ 810 w 7708"/>
                    <a:gd name="connsiteY2" fmla="*/ 16566 h 51815"/>
                    <a:gd name="connsiteX3" fmla="*/ 810 w 7708"/>
                    <a:gd name="connsiteY3" fmla="*/ 0 h 51815"/>
                  </a:gdLst>
                  <a:ahLst/>
                  <a:cxnLst>
                    <a:cxn ang="0">
                      <a:pos x="connsiteX0" y="connsiteY0"/>
                    </a:cxn>
                    <a:cxn ang="0">
                      <a:pos x="connsiteX1" y="connsiteY1"/>
                    </a:cxn>
                    <a:cxn ang="0">
                      <a:pos x="connsiteX2" y="connsiteY2"/>
                    </a:cxn>
                    <a:cxn ang="0">
                      <a:pos x="connsiteX3" y="connsiteY3"/>
                    </a:cxn>
                  </a:cxnLst>
                  <a:rect l="l" t="t" r="r" b="b"/>
                  <a:pathLst>
                    <a:path w="7708" h="51815">
                      <a:moveTo>
                        <a:pt x="6914" y="51816"/>
                      </a:moveTo>
                      <a:cubicBezTo>
                        <a:pt x="8408" y="43471"/>
                        <a:pt x="7536" y="37243"/>
                        <a:pt x="6416" y="33008"/>
                      </a:cubicBezTo>
                      <a:cubicBezTo>
                        <a:pt x="4796" y="26157"/>
                        <a:pt x="2180" y="23541"/>
                        <a:pt x="810" y="16566"/>
                      </a:cubicBezTo>
                      <a:cubicBezTo>
                        <a:pt x="-559" y="9840"/>
                        <a:pt x="63" y="3986"/>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5" name="Freeform 7498">
                  <a:extLst>
                    <a:ext uri="{FF2B5EF4-FFF2-40B4-BE49-F238E27FC236}">
                      <a16:creationId xmlns:a16="http://schemas.microsoft.com/office/drawing/2014/main" id="{EBB4377B-468C-AA2A-4D10-CFF3E03DB32E}"/>
                    </a:ext>
                  </a:extLst>
                </p:cNvPr>
                <p:cNvSpPr/>
                <p:nvPr/>
              </p:nvSpPr>
              <p:spPr>
                <a:xfrm>
                  <a:off x="7536736" y="184228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598"/>
                        <a:pt x="4235" y="13950"/>
                        <a:pt x="4359" y="18310"/>
                      </a:cubicBezTo>
                      <a:cubicBezTo>
                        <a:pt x="4484" y="25285"/>
                        <a:pt x="2740" y="28648"/>
                        <a:pt x="3114" y="35748"/>
                      </a:cubicBezTo>
                      <a:cubicBezTo>
                        <a:pt x="3487" y="42599"/>
                        <a:pt x="5605" y="48079"/>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6" name="Freeform 7499">
                  <a:extLst>
                    <a:ext uri="{FF2B5EF4-FFF2-40B4-BE49-F238E27FC236}">
                      <a16:creationId xmlns:a16="http://schemas.microsoft.com/office/drawing/2014/main" id="{C07F927F-FB3A-4760-9C35-55C3E80C7EB0}"/>
                    </a:ext>
                  </a:extLst>
                </p:cNvPr>
                <p:cNvSpPr/>
                <p:nvPr/>
              </p:nvSpPr>
              <p:spPr>
                <a:xfrm>
                  <a:off x="7534521" y="1882265"/>
                  <a:ext cx="26625" cy="26530"/>
                </a:xfrm>
                <a:custGeom>
                  <a:avLst/>
                  <a:gdLst>
                    <a:gd name="connsiteX0" fmla="*/ 97 w 26625"/>
                    <a:gd name="connsiteY0" fmla="*/ 15071 h 26530"/>
                    <a:gd name="connsiteX1" fmla="*/ 11557 w 26625"/>
                    <a:gd name="connsiteY1" fmla="*/ 124 h 26530"/>
                    <a:gd name="connsiteX2" fmla="*/ 26504 w 26625"/>
                    <a:gd name="connsiteY2" fmla="*/ 11459 h 26530"/>
                    <a:gd name="connsiteX3" fmla="*/ 15044 w 26625"/>
                    <a:gd name="connsiteY3" fmla="*/ 26406 h 26530"/>
                    <a:gd name="connsiteX4" fmla="*/ 97 w 26625"/>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30">
                      <a:moveTo>
                        <a:pt x="97" y="15071"/>
                      </a:moveTo>
                      <a:cubicBezTo>
                        <a:pt x="-774" y="7847"/>
                        <a:pt x="4332" y="1121"/>
                        <a:pt x="11557" y="124"/>
                      </a:cubicBezTo>
                      <a:cubicBezTo>
                        <a:pt x="18905" y="-872"/>
                        <a:pt x="25507" y="4235"/>
                        <a:pt x="26504" y="11459"/>
                      </a:cubicBezTo>
                      <a:cubicBezTo>
                        <a:pt x="27500" y="18683"/>
                        <a:pt x="22268" y="25410"/>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7" name="Freeform 7500">
                  <a:extLst>
                    <a:ext uri="{FF2B5EF4-FFF2-40B4-BE49-F238E27FC236}">
                      <a16:creationId xmlns:a16="http://schemas.microsoft.com/office/drawing/2014/main" id="{AF6E6A6A-2B7B-4F81-B74C-9E66BC9F8E47}"/>
                    </a:ext>
                  </a:extLst>
                </p:cNvPr>
                <p:cNvSpPr/>
                <p:nvPr/>
              </p:nvSpPr>
              <p:spPr>
                <a:xfrm>
                  <a:off x="7528646" y="1781622"/>
                  <a:ext cx="7654" cy="51815"/>
                </a:xfrm>
                <a:custGeom>
                  <a:avLst/>
                  <a:gdLst>
                    <a:gd name="connsiteX0" fmla="*/ 740 w 7654"/>
                    <a:gd name="connsiteY0" fmla="*/ 0 h 51815"/>
                    <a:gd name="connsiteX1" fmla="*/ 1239 w 7654"/>
                    <a:gd name="connsiteY1" fmla="*/ 18808 h 51815"/>
                    <a:gd name="connsiteX2" fmla="*/ 6843 w 7654"/>
                    <a:gd name="connsiteY2" fmla="*/ 35250 h 51815"/>
                    <a:gd name="connsiteX3" fmla="*/ 6843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740" y="0"/>
                      </a:moveTo>
                      <a:cubicBezTo>
                        <a:pt x="-630" y="8345"/>
                        <a:pt x="118" y="14573"/>
                        <a:pt x="1239" y="18808"/>
                      </a:cubicBezTo>
                      <a:cubicBezTo>
                        <a:pt x="2858" y="25659"/>
                        <a:pt x="5349" y="28275"/>
                        <a:pt x="6843" y="35250"/>
                      </a:cubicBezTo>
                      <a:cubicBezTo>
                        <a:pt x="8214" y="41976"/>
                        <a:pt x="7591" y="47830"/>
                        <a:pt x="684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8" name="Freeform 7501">
                  <a:extLst>
                    <a:ext uri="{FF2B5EF4-FFF2-40B4-BE49-F238E27FC236}">
                      <a16:creationId xmlns:a16="http://schemas.microsoft.com/office/drawing/2014/main" id="{B79CF0A3-75B6-F43D-55A5-A71E6063E251}"/>
                    </a:ext>
                  </a:extLst>
                </p:cNvPr>
                <p:cNvSpPr/>
                <p:nvPr/>
              </p:nvSpPr>
              <p:spPr>
                <a:xfrm>
                  <a:off x="7535614" y="1775644"/>
                  <a:ext cx="7473" cy="51691"/>
                </a:xfrm>
                <a:custGeom>
                  <a:avLst/>
                  <a:gdLst>
                    <a:gd name="connsiteX0" fmla="*/ 7474 w 7473"/>
                    <a:gd name="connsiteY0" fmla="*/ 51691 h 51691"/>
                    <a:gd name="connsiteX1" fmla="*/ 3114 w 7473"/>
                    <a:gd name="connsiteY1" fmla="*/ 33381 h 51691"/>
                    <a:gd name="connsiteX2" fmla="*/ 4235 w 7473"/>
                    <a:gd name="connsiteY2" fmla="*/ 15943 h 51691"/>
                    <a:gd name="connsiteX3" fmla="*/ 0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7474" y="51691"/>
                      </a:moveTo>
                      <a:cubicBezTo>
                        <a:pt x="3986" y="44093"/>
                        <a:pt x="3239" y="37741"/>
                        <a:pt x="3114" y="33381"/>
                      </a:cubicBezTo>
                      <a:cubicBezTo>
                        <a:pt x="2989" y="26406"/>
                        <a:pt x="4733" y="23043"/>
                        <a:pt x="4235"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9" name="Freeform 7502">
                  <a:extLst>
                    <a:ext uri="{FF2B5EF4-FFF2-40B4-BE49-F238E27FC236}">
                      <a16:creationId xmlns:a16="http://schemas.microsoft.com/office/drawing/2014/main" id="{064EDCAF-C506-D472-47EE-07AB7A54AE07}"/>
                    </a:ext>
                  </a:extLst>
                </p:cNvPr>
                <p:cNvSpPr/>
                <p:nvPr/>
              </p:nvSpPr>
              <p:spPr>
                <a:xfrm>
                  <a:off x="7518825" y="1760822"/>
                  <a:ext cx="26380" cy="26530"/>
                </a:xfrm>
                <a:custGeom>
                  <a:avLst/>
                  <a:gdLst>
                    <a:gd name="connsiteX0" fmla="*/ 26256 w 26380"/>
                    <a:gd name="connsiteY0" fmla="*/ 11459 h 26530"/>
                    <a:gd name="connsiteX1" fmla="*/ 14921 w 26380"/>
                    <a:gd name="connsiteY1" fmla="*/ 26406 h 26530"/>
                    <a:gd name="connsiteX2" fmla="*/ 99 w 26380"/>
                    <a:gd name="connsiteY2" fmla="*/ 15071 h 26530"/>
                    <a:gd name="connsiteX3" fmla="*/ 11433 w 26380"/>
                    <a:gd name="connsiteY3" fmla="*/ 124 h 26530"/>
                    <a:gd name="connsiteX4" fmla="*/ 26256 w 26380"/>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30">
                      <a:moveTo>
                        <a:pt x="26256" y="11459"/>
                      </a:moveTo>
                      <a:cubicBezTo>
                        <a:pt x="27252" y="18683"/>
                        <a:pt x="22145" y="25410"/>
                        <a:pt x="14921" y="26406"/>
                      </a:cubicBezTo>
                      <a:cubicBezTo>
                        <a:pt x="7697" y="27402"/>
                        <a:pt x="1095" y="22296"/>
                        <a:pt x="99" y="15071"/>
                      </a:cubicBezTo>
                      <a:cubicBezTo>
                        <a:pt x="-773" y="7847"/>
                        <a:pt x="4209" y="1121"/>
                        <a:pt x="11433" y="124"/>
                      </a:cubicBezTo>
                      <a:cubicBezTo>
                        <a:pt x="18783" y="-872"/>
                        <a:pt x="25384" y="4235"/>
                        <a:pt x="26256"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29" name="Graphic 2987">
                <a:extLst>
                  <a:ext uri="{FF2B5EF4-FFF2-40B4-BE49-F238E27FC236}">
                    <a16:creationId xmlns:a16="http://schemas.microsoft.com/office/drawing/2014/main" id="{69E8D961-AADB-CB3E-4CD2-1050FBD37FB6}"/>
                  </a:ext>
                </a:extLst>
              </p:cNvPr>
              <p:cNvGrpSpPr/>
              <p:nvPr/>
            </p:nvGrpSpPr>
            <p:grpSpPr>
              <a:xfrm>
                <a:off x="7489680" y="1764807"/>
                <a:ext cx="42069" cy="147973"/>
                <a:chOff x="7489680" y="1764807"/>
                <a:chExt cx="42069" cy="147973"/>
              </a:xfrm>
              <a:grpFill/>
            </p:grpSpPr>
            <p:sp>
              <p:nvSpPr>
                <p:cNvPr id="6618" name="Freeform 7504">
                  <a:extLst>
                    <a:ext uri="{FF2B5EF4-FFF2-40B4-BE49-F238E27FC236}">
                      <a16:creationId xmlns:a16="http://schemas.microsoft.com/office/drawing/2014/main" id="{F6EA0192-9C7D-AAFA-E72A-9A423F4D4111}"/>
                    </a:ext>
                  </a:extLst>
                </p:cNvPr>
                <p:cNvSpPr/>
                <p:nvPr/>
              </p:nvSpPr>
              <p:spPr>
                <a:xfrm>
                  <a:off x="7514262" y="1840165"/>
                  <a:ext cx="7581" cy="51815"/>
                </a:xfrm>
                <a:custGeom>
                  <a:avLst/>
                  <a:gdLst>
                    <a:gd name="connsiteX0" fmla="*/ 6780 w 7581"/>
                    <a:gd name="connsiteY0" fmla="*/ 51816 h 51815"/>
                    <a:gd name="connsiteX1" fmla="*/ 6406 w 7581"/>
                    <a:gd name="connsiteY1" fmla="*/ 33008 h 51815"/>
                    <a:gd name="connsiteX2" fmla="*/ 801 w 7581"/>
                    <a:gd name="connsiteY2" fmla="*/ 16566 h 51815"/>
                    <a:gd name="connsiteX3" fmla="*/ 925 w 7581"/>
                    <a:gd name="connsiteY3" fmla="*/ 0 h 51815"/>
                  </a:gdLst>
                  <a:ahLst/>
                  <a:cxnLst>
                    <a:cxn ang="0">
                      <a:pos x="connsiteX0" y="connsiteY0"/>
                    </a:cxn>
                    <a:cxn ang="0">
                      <a:pos x="connsiteX1" y="connsiteY1"/>
                    </a:cxn>
                    <a:cxn ang="0">
                      <a:pos x="connsiteX2" y="connsiteY2"/>
                    </a:cxn>
                    <a:cxn ang="0">
                      <a:pos x="connsiteX3" y="connsiteY3"/>
                    </a:cxn>
                  </a:cxnLst>
                  <a:rect l="l" t="t" r="r" b="b"/>
                  <a:pathLst>
                    <a:path w="7581" h="51815">
                      <a:moveTo>
                        <a:pt x="6780" y="51816"/>
                      </a:moveTo>
                      <a:cubicBezTo>
                        <a:pt x="8274" y="43471"/>
                        <a:pt x="7402" y="37243"/>
                        <a:pt x="6406" y="33008"/>
                      </a:cubicBezTo>
                      <a:cubicBezTo>
                        <a:pt x="4786" y="26157"/>
                        <a:pt x="2296" y="23417"/>
                        <a:pt x="801" y="16566"/>
                      </a:cubicBezTo>
                      <a:cubicBezTo>
                        <a:pt x="-570" y="9840"/>
                        <a:pt x="54" y="3986"/>
                        <a:pt x="9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9" name="Freeform 7505">
                  <a:extLst>
                    <a:ext uri="{FF2B5EF4-FFF2-40B4-BE49-F238E27FC236}">
                      <a16:creationId xmlns:a16="http://schemas.microsoft.com/office/drawing/2014/main" id="{639C3988-D85A-927E-EB99-5FFC1EA18493}"/>
                    </a:ext>
                  </a:extLst>
                </p:cNvPr>
                <p:cNvSpPr/>
                <p:nvPr/>
              </p:nvSpPr>
              <p:spPr>
                <a:xfrm>
                  <a:off x="7507339" y="1846268"/>
                  <a:ext cx="7349" cy="51691"/>
                </a:xfrm>
                <a:custGeom>
                  <a:avLst/>
                  <a:gdLst>
                    <a:gd name="connsiteX0" fmla="*/ 0 w 7349"/>
                    <a:gd name="connsiteY0" fmla="*/ 0 h 51691"/>
                    <a:gd name="connsiteX1" fmla="*/ 4360 w 7349"/>
                    <a:gd name="connsiteY1" fmla="*/ 18310 h 51691"/>
                    <a:gd name="connsiteX2" fmla="*/ 3114 w 7349"/>
                    <a:gd name="connsiteY2" fmla="*/ 35748 h 51691"/>
                    <a:gd name="connsiteX3" fmla="*/ 7349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0" y="0"/>
                      </a:moveTo>
                      <a:cubicBezTo>
                        <a:pt x="3488" y="7598"/>
                        <a:pt x="4235" y="13950"/>
                        <a:pt x="4360" y="18310"/>
                      </a:cubicBezTo>
                      <a:cubicBezTo>
                        <a:pt x="4485" y="25285"/>
                        <a:pt x="2741" y="28648"/>
                        <a:pt x="3114" y="35748"/>
                      </a:cubicBezTo>
                      <a:cubicBezTo>
                        <a:pt x="3488" y="42599"/>
                        <a:pt x="5605" y="48204"/>
                        <a:pt x="734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0" name="Freeform 7506">
                  <a:extLst>
                    <a:ext uri="{FF2B5EF4-FFF2-40B4-BE49-F238E27FC236}">
                      <a16:creationId xmlns:a16="http://schemas.microsoft.com/office/drawing/2014/main" id="{C36C0180-7279-D678-E5AA-B1BE2EDC9BE2}"/>
                    </a:ext>
                  </a:extLst>
                </p:cNvPr>
                <p:cNvSpPr/>
                <p:nvPr/>
              </p:nvSpPr>
              <p:spPr>
                <a:xfrm>
                  <a:off x="7505001" y="1886251"/>
                  <a:ext cx="26749" cy="26530"/>
                </a:xfrm>
                <a:custGeom>
                  <a:avLst/>
                  <a:gdLst>
                    <a:gd name="connsiteX0" fmla="*/ 97 w 26749"/>
                    <a:gd name="connsiteY0" fmla="*/ 15071 h 26530"/>
                    <a:gd name="connsiteX1" fmla="*/ 11681 w 26749"/>
                    <a:gd name="connsiteY1" fmla="*/ 124 h 26530"/>
                    <a:gd name="connsiteX2" fmla="*/ 26628 w 26749"/>
                    <a:gd name="connsiteY2" fmla="*/ 11459 h 26530"/>
                    <a:gd name="connsiteX3" fmla="*/ 15044 w 26749"/>
                    <a:gd name="connsiteY3" fmla="*/ 26406 h 26530"/>
                    <a:gd name="connsiteX4" fmla="*/ 97 w 26749"/>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0">
                      <a:moveTo>
                        <a:pt x="97" y="15071"/>
                      </a:moveTo>
                      <a:cubicBezTo>
                        <a:pt x="-775" y="7847"/>
                        <a:pt x="4332" y="1121"/>
                        <a:pt x="11681" y="124"/>
                      </a:cubicBezTo>
                      <a:cubicBezTo>
                        <a:pt x="19030" y="-872"/>
                        <a:pt x="25632" y="4235"/>
                        <a:pt x="26628" y="11459"/>
                      </a:cubicBezTo>
                      <a:cubicBezTo>
                        <a:pt x="27624" y="18683"/>
                        <a:pt x="22393" y="25409"/>
                        <a:pt x="15044" y="26406"/>
                      </a:cubicBezTo>
                      <a:cubicBezTo>
                        <a:pt x="7695"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1" name="Freeform 7507">
                  <a:extLst>
                    <a:ext uri="{FF2B5EF4-FFF2-40B4-BE49-F238E27FC236}">
                      <a16:creationId xmlns:a16="http://schemas.microsoft.com/office/drawing/2014/main" id="{967A79A3-52FD-2CE1-476B-00520DDB8540}"/>
                    </a:ext>
                  </a:extLst>
                </p:cNvPr>
                <p:cNvSpPr/>
                <p:nvPr/>
              </p:nvSpPr>
              <p:spPr>
                <a:xfrm>
                  <a:off x="7499314" y="1785608"/>
                  <a:ext cx="7456" cy="51815"/>
                </a:xfrm>
                <a:custGeom>
                  <a:avLst/>
                  <a:gdLst>
                    <a:gd name="connsiteX0" fmla="*/ 802 w 7456"/>
                    <a:gd name="connsiteY0" fmla="*/ 0 h 51815"/>
                    <a:gd name="connsiteX1" fmla="*/ 1175 w 7456"/>
                    <a:gd name="connsiteY1" fmla="*/ 18808 h 51815"/>
                    <a:gd name="connsiteX2" fmla="*/ 6656 w 7456"/>
                    <a:gd name="connsiteY2" fmla="*/ 35250 h 51815"/>
                    <a:gd name="connsiteX3" fmla="*/ 6531 w 745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6" h="51815">
                      <a:moveTo>
                        <a:pt x="802" y="0"/>
                      </a:moveTo>
                      <a:cubicBezTo>
                        <a:pt x="-693" y="8345"/>
                        <a:pt x="179" y="14573"/>
                        <a:pt x="1175" y="18808"/>
                      </a:cubicBezTo>
                      <a:cubicBezTo>
                        <a:pt x="2795" y="25659"/>
                        <a:pt x="5286" y="28399"/>
                        <a:pt x="6656" y="35250"/>
                      </a:cubicBezTo>
                      <a:cubicBezTo>
                        <a:pt x="8026" y="41976"/>
                        <a:pt x="7403" y="47830"/>
                        <a:pt x="65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2" name="Freeform 7508">
                  <a:extLst>
                    <a:ext uri="{FF2B5EF4-FFF2-40B4-BE49-F238E27FC236}">
                      <a16:creationId xmlns:a16="http://schemas.microsoft.com/office/drawing/2014/main" id="{C32C7972-E1B0-7F38-08F4-9AF632A105D6}"/>
                    </a:ext>
                  </a:extLst>
                </p:cNvPr>
                <p:cNvSpPr/>
                <p:nvPr/>
              </p:nvSpPr>
              <p:spPr>
                <a:xfrm>
                  <a:off x="7506344" y="1779630"/>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23" name="Freeform 7509">
                  <a:extLst>
                    <a:ext uri="{FF2B5EF4-FFF2-40B4-BE49-F238E27FC236}">
                      <a16:creationId xmlns:a16="http://schemas.microsoft.com/office/drawing/2014/main" id="{717F177D-73B9-484D-3797-707B229E3EDE}"/>
                    </a:ext>
                  </a:extLst>
                </p:cNvPr>
                <p:cNvSpPr/>
                <p:nvPr/>
              </p:nvSpPr>
              <p:spPr>
                <a:xfrm>
                  <a:off x="7489680" y="1764807"/>
                  <a:ext cx="26377" cy="26530"/>
                </a:xfrm>
                <a:custGeom>
                  <a:avLst/>
                  <a:gdLst>
                    <a:gd name="connsiteX0" fmla="*/ 26254 w 26377"/>
                    <a:gd name="connsiteY0" fmla="*/ 11459 h 26530"/>
                    <a:gd name="connsiteX1" fmla="*/ 14795 w 26377"/>
                    <a:gd name="connsiteY1" fmla="*/ 26406 h 26530"/>
                    <a:gd name="connsiteX2" fmla="*/ 97 w 26377"/>
                    <a:gd name="connsiteY2" fmla="*/ 15071 h 26530"/>
                    <a:gd name="connsiteX3" fmla="*/ 11556 w 26377"/>
                    <a:gd name="connsiteY3" fmla="*/ 124 h 26530"/>
                    <a:gd name="connsiteX4" fmla="*/ 26254 w 26377"/>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0">
                      <a:moveTo>
                        <a:pt x="26254" y="11459"/>
                      </a:moveTo>
                      <a:cubicBezTo>
                        <a:pt x="27250" y="18683"/>
                        <a:pt x="22144" y="25409"/>
                        <a:pt x="14795" y="26406"/>
                      </a:cubicBezTo>
                      <a:cubicBezTo>
                        <a:pt x="7570" y="27402"/>
                        <a:pt x="969" y="22296"/>
                        <a:pt x="97" y="15071"/>
                      </a:cubicBezTo>
                      <a:cubicBezTo>
                        <a:pt x="-775" y="7847"/>
                        <a:pt x="4332" y="1121"/>
                        <a:pt x="11556" y="124"/>
                      </a:cubicBezTo>
                      <a:cubicBezTo>
                        <a:pt x="18656" y="-872"/>
                        <a:pt x="25258" y="4235"/>
                        <a:pt x="262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0" name="Graphic 2987">
                <a:extLst>
                  <a:ext uri="{FF2B5EF4-FFF2-40B4-BE49-F238E27FC236}">
                    <a16:creationId xmlns:a16="http://schemas.microsoft.com/office/drawing/2014/main" id="{FC88B351-3D95-178E-D996-91A80ECAC99F}"/>
                  </a:ext>
                </a:extLst>
              </p:cNvPr>
              <p:cNvGrpSpPr/>
              <p:nvPr/>
            </p:nvGrpSpPr>
            <p:grpSpPr>
              <a:xfrm>
                <a:off x="7460409" y="1768791"/>
                <a:ext cx="41546" cy="147976"/>
                <a:chOff x="7460409" y="1768791"/>
                <a:chExt cx="41546" cy="147976"/>
              </a:xfrm>
              <a:grpFill/>
            </p:grpSpPr>
            <p:sp>
              <p:nvSpPr>
                <p:cNvPr id="6612" name="Freeform 7511">
                  <a:extLst>
                    <a:ext uri="{FF2B5EF4-FFF2-40B4-BE49-F238E27FC236}">
                      <a16:creationId xmlns:a16="http://schemas.microsoft.com/office/drawing/2014/main" id="{CDD41A46-CE77-0016-2E43-5085BF5C9D93}"/>
                    </a:ext>
                  </a:extLst>
                </p:cNvPr>
                <p:cNvSpPr/>
                <p:nvPr/>
              </p:nvSpPr>
              <p:spPr>
                <a:xfrm>
                  <a:off x="7484779" y="1844150"/>
                  <a:ext cx="7419" cy="51815"/>
                </a:xfrm>
                <a:custGeom>
                  <a:avLst/>
                  <a:gdLst>
                    <a:gd name="connsiteX0" fmla="*/ 6618 w 7419"/>
                    <a:gd name="connsiteY0" fmla="*/ 51816 h 51815"/>
                    <a:gd name="connsiteX1" fmla="*/ 6244 w 7419"/>
                    <a:gd name="connsiteY1" fmla="*/ 33008 h 51815"/>
                    <a:gd name="connsiteX2" fmla="*/ 763 w 7419"/>
                    <a:gd name="connsiteY2" fmla="*/ 16566 h 51815"/>
                    <a:gd name="connsiteX3" fmla="*/ 888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51816"/>
                      </a:moveTo>
                      <a:cubicBezTo>
                        <a:pt x="8113" y="43471"/>
                        <a:pt x="7241" y="37243"/>
                        <a:pt x="6244" y="33008"/>
                      </a:cubicBezTo>
                      <a:cubicBezTo>
                        <a:pt x="4625" y="26157"/>
                        <a:pt x="2134" y="23417"/>
                        <a:pt x="763" y="16566"/>
                      </a:cubicBezTo>
                      <a:cubicBezTo>
                        <a:pt x="-607" y="9840"/>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3" name="Freeform 7512">
                  <a:extLst>
                    <a:ext uri="{FF2B5EF4-FFF2-40B4-BE49-F238E27FC236}">
                      <a16:creationId xmlns:a16="http://schemas.microsoft.com/office/drawing/2014/main" id="{1735B8B9-C83C-4FE9-1456-624A6F852D69}"/>
                    </a:ext>
                  </a:extLst>
                </p:cNvPr>
                <p:cNvSpPr/>
                <p:nvPr/>
              </p:nvSpPr>
              <p:spPr>
                <a:xfrm>
                  <a:off x="7477944" y="1850254"/>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598"/>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4" name="Freeform 7513">
                  <a:extLst>
                    <a:ext uri="{FF2B5EF4-FFF2-40B4-BE49-F238E27FC236}">
                      <a16:creationId xmlns:a16="http://schemas.microsoft.com/office/drawing/2014/main" id="{34703C7E-9A78-63E5-6D6E-23B64B88E8DE}"/>
                    </a:ext>
                  </a:extLst>
                </p:cNvPr>
                <p:cNvSpPr/>
                <p:nvPr/>
              </p:nvSpPr>
              <p:spPr>
                <a:xfrm>
                  <a:off x="7475356" y="1890237"/>
                  <a:ext cx="26600" cy="26530"/>
                </a:xfrm>
                <a:custGeom>
                  <a:avLst/>
                  <a:gdLst>
                    <a:gd name="connsiteX0" fmla="*/ 97 w 26600"/>
                    <a:gd name="connsiteY0" fmla="*/ 15071 h 26530"/>
                    <a:gd name="connsiteX1" fmla="*/ 11681 w 26600"/>
                    <a:gd name="connsiteY1" fmla="*/ 124 h 26530"/>
                    <a:gd name="connsiteX2" fmla="*/ 26504 w 26600"/>
                    <a:gd name="connsiteY2" fmla="*/ 11459 h 26530"/>
                    <a:gd name="connsiteX3" fmla="*/ 14919 w 26600"/>
                    <a:gd name="connsiteY3" fmla="*/ 26406 h 26530"/>
                    <a:gd name="connsiteX4" fmla="*/ 97 w 26600"/>
                    <a:gd name="connsiteY4" fmla="*/ 15071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0">
                      <a:moveTo>
                        <a:pt x="97" y="15071"/>
                      </a:moveTo>
                      <a:cubicBezTo>
                        <a:pt x="-775" y="7847"/>
                        <a:pt x="4332" y="1121"/>
                        <a:pt x="11681" y="124"/>
                      </a:cubicBezTo>
                      <a:cubicBezTo>
                        <a:pt x="19030" y="-872"/>
                        <a:pt x="25632" y="4235"/>
                        <a:pt x="26504" y="11459"/>
                      </a:cubicBezTo>
                      <a:cubicBezTo>
                        <a:pt x="27375" y="18683"/>
                        <a:pt x="22268" y="25409"/>
                        <a:pt x="14919" y="26406"/>
                      </a:cubicBezTo>
                      <a:cubicBezTo>
                        <a:pt x="7571" y="27402"/>
                        <a:pt x="969" y="22296"/>
                        <a:pt x="97" y="15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5" name="Freeform 7514">
                  <a:extLst>
                    <a:ext uri="{FF2B5EF4-FFF2-40B4-BE49-F238E27FC236}">
                      <a16:creationId xmlns:a16="http://schemas.microsoft.com/office/drawing/2014/main" id="{C85381B4-D14B-047A-8625-6001CAE2C5F1}"/>
                    </a:ext>
                  </a:extLst>
                </p:cNvPr>
                <p:cNvSpPr/>
                <p:nvPr/>
              </p:nvSpPr>
              <p:spPr>
                <a:xfrm>
                  <a:off x="7470042" y="1789470"/>
                  <a:ext cx="7419" cy="51815"/>
                </a:xfrm>
                <a:custGeom>
                  <a:avLst/>
                  <a:gdLst>
                    <a:gd name="connsiteX0" fmla="*/ 802 w 7419"/>
                    <a:gd name="connsiteY0" fmla="*/ 0 h 51815"/>
                    <a:gd name="connsiteX1" fmla="*/ 1176 w 7419"/>
                    <a:gd name="connsiteY1" fmla="*/ 18808 h 51815"/>
                    <a:gd name="connsiteX2" fmla="*/ 6656 w 7419"/>
                    <a:gd name="connsiteY2" fmla="*/ 35250 h 51815"/>
                    <a:gd name="connsiteX3" fmla="*/ 6532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802" y="0"/>
                      </a:moveTo>
                      <a:cubicBezTo>
                        <a:pt x="-693" y="8345"/>
                        <a:pt x="179" y="14573"/>
                        <a:pt x="1176" y="18808"/>
                      </a:cubicBezTo>
                      <a:cubicBezTo>
                        <a:pt x="2795" y="25659"/>
                        <a:pt x="5287" y="28399"/>
                        <a:pt x="6656" y="35250"/>
                      </a:cubicBezTo>
                      <a:cubicBezTo>
                        <a:pt x="8026" y="41976"/>
                        <a:pt x="7279" y="47955"/>
                        <a:pt x="653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6" name="Freeform 7515">
                  <a:extLst>
                    <a:ext uri="{FF2B5EF4-FFF2-40B4-BE49-F238E27FC236}">
                      <a16:creationId xmlns:a16="http://schemas.microsoft.com/office/drawing/2014/main" id="{62874129-7A0C-66E8-A413-1C7E437009C2}"/>
                    </a:ext>
                  </a:extLst>
                </p:cNvPr>
                <p:cNvSpPr/>
                <p:nvPr/>
              </p:nvSpPr>
              <p:spPr>
                <a:xfrm>
                  <a:off x="7477197" y="1783491"/>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3" y="44093"/>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7" name="Freeform 7516">
                  <a:extLst>
                    <a:ext uri="{FF2B5EF4-FFF2-40B4-BE49-F238E27FC236}">
                      <a16:creationId xmlns:a16="http://schemas.microsoft.com/office/drawing/2014/main" id="{6B3F831F-5D4D-6F26-84DC-34CA6A208DED}"/>
                    </a:ext>
                  </a:extLst>
                </p:cNvPr>
                <p:cNvSpPr/>
                <p:nvPr/>
              </p:nvSpPr>
              <p:spPr>
                <a:xfrm>
                  <a:off x="7460409" y="1768791"/>
                  <a:ext cx="26350" cy="26532"/>
                </a:xfrm>
                <a:custGeom>
                  <a:avLst/>
                  <a:gdLst>
                    <a:gd name="connsiteX0" fmla="*/ 26254 w 26350"/>
                    <a:gd name="connsiteY0" fmla="*/ 11461 h 26532"/>
                    <a:gd name="connsiteX1" fmla="*/ 14795 w 26350"/>
                    <a:gd name="connsiteY1" fmla="*/ 26408 h 26532"/>
                    <a:gd name="connsiteX2" fmla="*/ 97 w 26350"/>
                    <a:gd name="connsiteY2" fmla="*/ 15074 h 26532"/>
                    <a:gd name="connsiteX3" fmla="*/ 11556 w 26350"/>
                    <a:gd name="connsiteY3" fmla="*/ 127 h 26532"/>
                    <a:gd name="connsiteX4" fmla="*/ 26254 w 26350"/>
                    <a:gd name="connsiteY4" fmla="*/ 11461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531">
                      <a:moveTo>
                        <a:pt x="26254" y="11461"/>
                      </a:moveTo>
                      <a:cubicBezTo>
                        <a:pt x="27126" y="18686"/>
                        <a:pt x="22018" y="25412"/>
                        <a:pt x="14795" y="26408"/>
                      </a:cubicBezTo>
                      <a:cubicBezTo>
                        <a:pt x="7570" y="27405"/>
                        <a:pt x="969" y="22298"/>
                        <a:pt x="97" y="15074"/>
                      </a:cubicBezTo>
                      <a:cubicBezTo>
                        <a:pt x="-775" y="7849"/>
                        <a:pt x="4331" y="1123"/>
                        <a:pt x="11556" y="127"/>
                      </a:cubicBezTo>
                      <a:cubicBezTo>
                        <a:pt x="18781" y="-870"/>
                        <a:pt x="25382" y="4113"/>
                        <a:pt x="26254" y="114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1" name="Graphic 2987">
                <a:extLst>
                  <a:ext uri="{FF2B5EF4-FFF2-40B4-BE49-F238E27FC236}">
                    <a16:creationId xmlns:a16="http://schemas.microsoft.com/office/drawing/2014/main" id="{0585EFBA-4226-517E-3A72-AE4C3A8B4867}"/>
                  </a:ext>
                </a:extLst>
              </p:cNvPr>
              <p:cNvGrpSpPr/>
              <p:nvPr/>
            </p:nvGrpSpPr>
            <p:grpSpPr>
              <a:xfrm>
                <a:off x="7431263" y="1772477"/>
                <a:ext cx="41171" cy="148201"/>
                <a:chOff x="7431263" y="1772477"/>
                <a:chExt cx="41171" cy="148201"/>
              </a:xfrm>
              <a:grpFill/>
            </p:grpSpPr>
            <p:sp>
              <p:nvSpPr>
                <p:cNvPr id="6606" name="Freeform 7518">
                  <a:extLst>
                    <a:ext uri="{FF2B5EF4-FFF2-40B4-BE49-F238E27FC236}">
                      <a16:creationId xmlns:a16="http://schemas.microsoft.com/office/drawing/2014/main" id="{8AD30897-3D34-B768-6806-624AC568FC65}"/>
                    </a:ext>
                  </a:extLst>
                </p:cNvPr>
                <p:cNvSpPr/>
                <p:nvPr/>
              </p:nvSpPr>
              <p:spPr>
                <a:xfrm>
                  <a:off x="7455383" y="1848012"/>
                  <a:ext cx="7338" cy="51815"/>
                </a:xfrm>
                <a:custGeom>
                  <a:avLst/>
                  <a:gdLst>
                    <a:gd name="connsiteX0" fmla="*/ 6493 w 7338"/>
                    <a:gd name="connsiteY0" fmla="*/ 51816 h 51815"/>
                    <a:gd name="connsiteX1" fmla="*/ 6244 w 7338"/>
                    <a:gd name="connsiteY1" fmla="*/ 33008 h 51815"/>
                    <a:gd name="connsiteX2" fmla="*/ 763 w 7338"/>
                    <a:gd name="connsiteY2" fmla="*/ 16442 h 51815"/>
                    <a:gd name="connsiteX3" fmla="*/ 888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6493" y="51816"/>
                      </a:moveTo>
                      <a:cubicBezTo>
                        <a:pt x="7988" y="43595"/>
                        <a:pt x="7241" y="37243"/>
                        <a:pt x="6244" y="33008"/>
                      </a:cubicBezTo>
                      <a:cubicBezTo>
                        <a:pt x="4625" y="26157"/>
                        <a:pt x="2133" y="23417"/>
                        <a:pt x="763" y="16442"/>
                      </a:cubicBezTo>
                      <a:cubicBezTo>
                        <a:pt x="-607" y="9715"/>
                        <a:pt x="141"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7" name="Freeform 7519">
                  <a:extLst>
                    <a:ext uri="{FF2B5EF4-FFF2-40B4-BE49-F238E27FC236}">
                      <a16:creationId xmlns:a16="http://schemas.microsoft.com/office/drawing/2014/main" id="{D9440FED-9B10-0EC7-DE64-FF0334346F37}"/>
                    </a:ext>
                  </a:extLst>
                </p:cNvPr>
                <p:cNvSpPr/>
                <p:nvPr/>
              </p:nvSpPr>
              <p:spPr>
                <a:xfrm>
                  <a:off x="7448549" y="1853990"/>
                  <a:ext cx="6975" cy="51691"/>
                </a:xfrm>
                <a:custGeom>
                  <a:avLst/>
                  <a:gdLst>
                    <a:gd name="connsiteX0" fmla="*/ 0 w 6975"/>
                    <a:gd name="connsiteY0" fmla="*/ 0 h 51691"/>
                    <a:gd name="connsiteX1" fmla="*/ 4235 w 6975"/>
                    <a:gd name="connsiteY1" fmla="*/ 18310 h 51691"/>
                    <a:gd name="connsiteX2" fmla="*/ 2865 w 6975"/>
                    <a:gd name="connsiteY2" fmla="*/ 35624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488" y="7723"/>
                        <a:pt x="4235" y="13950"/>
                        <a:pt x="4235" y="18310"/>
                      </a:cubicBezTo>
                      <a:cubicBezTo>
                        <a:pt x="4359" y="25285"/>
                        <a:pt x="2491" y="28524"/>
                        <a:pt x="2865" y="35624"/>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8" name="Freeform 7520">
                  <a:extLst>
                    <a:ext uri="{FF2B5EF4-FFF2-40B4-BE49-F238E27FC236}">
                      <a16:creationId xmlns:a16="http://schemas.microsoft.com/office/drawing/2014/main" id="{16C9F9D7-B159-8918-A778-5C73F0FC220E}"/>
                    </a:ext>
                  </a:extLst>
                </p:cNvPr>
                <p:cNvSpPr/>
                <p:nvPr/>
              </p:nvSpPr>
              <p:spPr>
                <a:xfrm>
                  <a:off x="7445714" y="1894149"/>
                  <a:ext cx="26720" cy="26530"/>
                </a:xfrm>
                <a:custGeom>
                  <a:avLst/>
                  <a:gdLst>
                    <a:gd name="connsiteX0" fmla="*/ 95 w 26720"/>
                    <a:gd name="connsiteY0" fmla="*/ 14647 h 26530"/>
                    <a:gd name="connsiteX1" fmla="*/ 11803 w 26720"/>
                    <a:gd name="connsiteY1" fmla="*/ 74 h 26530"/>
                    <a:gd name="connsiteX2" fmla="*/ 26625 w 26720"/>
                    <a:gd name="connsiteY2" fmla="*/ 11658 h 26530"/>
                    <a:gd name="connsiteX3" fmla="*/ 15041 w 26720"/>
                    <a:gd name="connsiteY3" fmla="*/ 26480 h 26530"/>
                    <a:gd name="connsiteX4" fmla="*/ 95 w 26720"/>
                    <a:gd name="connsiteY4" fmla="*/ 14647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30">
                      <a:moveTo>
                        <a:pt x="95" y="14647"/>
                      </a:moveTo>
                      <a:cubicBezTo>
                        <a:pt x="-777" y="7423"/>
                        <a:pt x="4454" y="821"/>
                        <a:pt x="11803" y="74"/>
                      </a:cubicBezTo>
                      <a:cubicBezTo>
                        <a:pt x="19152" y="-673"/>
                        <a:pt x="25754" y="4309"/>
                        <a:pt x="26625" y="11658"/>
                      </a:cubicBezTo>
                      <a:cubicBezTo>
                        <a:pt x="27497" y="18882"/>
                        <a:pt x="22266" y="25733"/>
                        <a:pt x="15041" y="26480"/>
                      </a:cubicBezTo>
                      <a:cubicBezTo>
                        <a:pt x="7693" y="27103"/>
                        <a:pt x="966" y="21872"/>
                        <a:pt x="95" y="146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9" name="Freeform 7521">
                  <a:extLst>
                    <a:ext uri="{FF2B5EF4-FFF2-40B4-BE49-F238E27FC236}">
                      <a16:creationId xmlns:a16="http://schemas.microsoft.com/office/drawing/2014/main" id="{F661F957-FEC3-E447-AF54-53F3A14D064F}"/>
                    </a:ext>
                  </a:extLst>
                </p:cNvPr>
                <p:cNvSpPr/>
                <p:nvPr/>
              </p:nvSpPr>
              <p:spPr>
                <a:xfrm>
                  <a:off x="7440728" y="1793206"/>
                  <a:ext cx="7338" cy="51815"/>
                </a:xfrm>
                <a:custGeom>
                  <a:avLst/>
                  <a:gdLst>
                    <a:gd name="connsiteX0" fmla="*/ 845 w 7338"/>
                    <a:gd name="connsiteY0" fmla="*/ 0 h 51815"/>
                    <a:gd name="connsiteX1" fmla="*/ 1095 w 7338"/>
                    <a:gd name="connsiteY1" fmla="*/ 18808 h 51815"/>
                    <a:gd name="connsiteX2" fmla="*/ 6575 w 7338"/>
                    <a:gd name="connsiteY2" fmla="*/ 35374 h 51815"/>
                    <a:gd name="connsiteX3" fmla="*/ 6450 w 73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38" h="51815">
                      <a:moveTo>
                        <a:pt x="845" y="0"/>
                      </a:moveTo>
                      <a:cubicBezTo>
                        <a:pt x="-649" y="8221"/>
                        <a:pt x="98" y="14573"/>
                        <a:pt x="1095" y="18808"/>
                      </a:cubicBezTo>
                      <a:cubicBezTo>
                        <a:pt x="2714" y="25659"/>
                        <a:pt x="5204" y="28399"/>
                        <a:pt x="6575" y="35374"/>
                      </a:cubicBezTo>
                      <a:cubicBezTo>
                        <a:pt x="7945" y="42101"/>
                        <a:pt x="7198" y="47955"/>
                        <a:pt x="645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0" name="Freeform 7522">
                  <a:extLst>
                    <a:ext uri="{FF2B5EF4-FFF2-40B4-BE49-F238E27FC236}">
                      <a16:creationId xmlns:a16="http://schemas.microsoft.com/office/drawing/2014/main" id="{2BABF40F-EE8A-52C1-EA1C-662E73C51961}"/>
                    </a:ext>
                  </a:extLst>
                </p:cNvPr>
                <p:cNvSpPr/>
                <p:nvPr/>
              </p:nvSpPr>
              <p:spPr>
                <a:xfrm>
                  <a:off x="7448051" y="1787477"/>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487" y="43969"/>
                        <a:pt x="2740" y="37741"/>
                        <a:pt x="2740" y="33381"/>
                      </a:cubicBezTo>
                      <a:cubicBezTo>
                        <a:pt x="2615" y="26406"/>
                        <a:pt x="4359" y="23168"/>
                        <a:pt x="4110"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11" name="Freeform 7523">
                  <a:extLst>
                    <a:ext uri="{FF2B5EF4-FFF2-40B4-BE49-F238E27FC236}">
                      <a16:creationId xmlns:a16="http://schemas.microsoft.com/office/drawing/2014/main" id="{ED78D1C9-7990-4196-DBEC-93A0B6FD2F93}"/>
                    </a:ext>
                  </a:extLst>
                </p:cNvPr>
                <p:cNvSpPr/>
                <p:nvPr/>
              </p:nvSpPr>
              <p:spPr>
                <a:xfrm>
                  <a:off x="7431263" y="1772477"/>
                  <a:ext cx="26350" cy="26405"/>
                </a:xfrm>
                <a:custGeom>
                  <a:avLst/>
                  <a:gdLst>
                    <a:gd name="connsiteX0" fmla="*/ 26254 w 26350"/>
                    <a:gd name="connsiteY0" fmla="*/ 11636 h 26405"/>
                    <a:gd name="connsiteX1" fmla="*/ 14795 w 26350"/>
                    <a:gd name="connsiteY1" fmla="*/ 26334 h 26405"/>
                    <a:gd name="connsiteX2" fmla="*/ 97 w 26350"/>
                    <a:gd name="connsiteY2" fmla="*/ 14626 h 26405"/>
                    <a:gd name="connsiteX3" fmla="*/ 11556 w 26350"/>
                    <a:gd name="connsiteY3" fmla="*/ 52 h 26405"/>
                    <a:gd name="connsiteX4" fmla="*/ 26254 w 26350"/>
                    <a:gd name="connsiteY4" fmla="*/ 1163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05">
                      <a:moveTo>
                        <a:pt x="26254" y="11636"/>
                      </a:moveTo>
                      <a:cubicBezTo>
                        <a:pt x="27126" y="18861"/>
                        <a:pt x="22019" y="25711"/>
                        <a:pt x="14795" y="26334"/>
                      </a:cubicBezTo>
                      <a:cubicBezTo>
                        <a:pt x="7570" y="27082"/>
                        <a:pt x="969" y="21850"/>
                        <a:pt x="97" y="14626"/>
                      </a:cubicBezTo>
                      <a:cubicBezTo>
                        <a:pt x="-775" y="7401"/>
                        <a:pt x="4332" y="800"/>
                        <a:pt x="11556" y="52"/>
                      </a:cubicBezTo>
                      <a:cubicBezTo>
                        <a:pt x="18781" y="-570"/>
                        <a:pt x="25258" y="4412"/>
                        <a:pt x="26254" y="116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2" name="Graphic 2987">
                <a:extLst>
                  <a:ext uri="{FF2B5EF4-FFF2-40B4-BE49-F238E27FC236}">
                    <a16:creationId xmlns:a16="http://schemas.microsoft.com/office/drawing/2014/main" id="{5F7D9A10-6787-A6F1-6784-DB9B647314BB}"/>
                  </a:ext>
                </a:extLst>
              </p:cNvPr>
              <p:cNvGrpSpPr/>
              <p:nvPr/>
            </p:nvGrpSpPr>
            <p:grpSpPr>
              <a:xfrm>
                <a:off x="7401744" y="1775820"/>
                <a:ext cx="41045" cy="147993"/>
                <a:chOff x="7401744" y="1775820"/>
                <a:chExt cx="41045" cy="147993"/>
              </a:xfrm>
              <a:grpFill/>
            </p:grpSpPr>
            <p:sp>
              <p:nvSpPr>
                <p:cNvPr id="6600" name="Freeform 7525">
                  <a:extLst>
                    <a:ext uri="{FF2B5EF4-FFF2-40B4-BE49-F238E27FC236}">
                      <a16:creationId xmlns:a16="http://schemas.microsoft.com/office/drawing/2014/main" id="{48DC2A30-3A88-BF25-8702-72DCCE94684E}"/>
                    </a:ext>
                  </a:extLst>
                </p:cNvPr>
                <p:cNvSpPr/>
                <p:nvPr/>
              </p:nvSpPr>
              <p:spPr>
                <a:xfrm>
                  <a:off x="7425800" y="1851250"/>
                  <a:ext cx="7276" cy="51816"/>
                </a:xfrm>
                <a:custGeom>
                  <a:avLst/>
                  <a:gdLst>
                    <a:gd name="connsiteX0" fmla="*/ 6431 w 7276"/>
                    <a:gd name="connsiteY0" fmla="*/ 51816 h 51816"/>
                    <a:gd name="connsiteX1" fmla="*/ 6182 w 7276"/>
                    <a:gd name="connsiteY1" fmla="*/ 33008 h 51816"/>
                    <a:gd name="connsiteX2" fmla="*/ 701 w 7276"/>
                    <a:gd name="connsiteY2" fmla="*/ 16442 h 51816"/>
                    <a:gd name="connsiteX3" fmla="*/ 951 w 7276"/>
                    <a:gd name="connsiteY3" fmla="*/ 0 h 51816"/>
                  </a:gdLst>
                  <a:ahLst/>
                  <a:cxnLst>
                    <a:cxn ang="0">
                      <a:pos x="connsiteX0" y="connsiteY0"/>
                    </a:cxn>
                    <a:cxn ang="0">
                      <a:pos x="connsiteX1" y="connsiteY1"/>
                    </a:cxn>
                    <a:cxn ang="0">
                      <a:pos x="connsiteX2" y="connsiteY2"/>
                    </a:cxn>
                    <a:cxn ang="0">
                      <a:pos x="connsiteX3" y="connsiteY3"/>
                    </a:cxn>
                  </a:cxnLst>
                  <a:rect l="l" t="t" r="r" b="b"/>
                  <a:pathLst>
                    <a:path w="7276" h="51816">
                      <a:moveTo>
                        <a:pt x="6431" y="51816"/>
                      </a:moveTo>
                      <a:cubicBezTo>
                        <a:pt x="7926" y="43595"/>
                        <a:pt x="7179" y="37243"/>
                        <a:pt x="6182" y="33008"/>
                      </a:cubicBezTo>
                      <a:cubicBezTo>
                        <a:pt x="4563" y="26157"/>
                        <a:pt x="2072" y="23417"/>
                        <a:pt x="701" y="16442"/>
                      </a:cubicBezTo>
                      <a:cubicBezTo>
                        <a:pt x="-544" y="9716"/>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1" name="Freeform 7526">
                  <a:extLst>
                    <a:ext uri="{FF2B5EF4-FFF2-40B4-BE49-F238E27FC236}">
                      <a16:creationId xmlns:a16="http://schemas.microsoft.com/office/drawing/2014/main" id="{69690B42-2DA1-C8C6-F20B-CE78D5D48C67}"/>
                    </a:ext>
                  </a:extLst>
                </p:cNvPr>
                <p:cNvSpPr/>
                <p:nvPr/>
              </p:nvSpPr>
              <p:spPr>
                <a:xfrm>
                  <a:off x="7419028" y="1857229"/>
                  <a:ext cx="6975" cy="51691"/>
                </a:xfrm>
                <a:custGeom>
                  <a:avLst/>
                  <a:gdLst>
                    <a:gd name="connsiteX0" fmla="*/ 0 w 6975"/>
                    <a:gd name="connsiteY0" fmla="*/ 0 h 51691"/>
                    <a:gd name="connsiteX1" fmla="*/ 4235 w 6975"/>
                    <a:gd name="connsiteY1" fmla="*/ 18310 h 51691"/>
                    <a:gd name="connsiteX2" fmla="*/ 2865 w 6975"/>
                    <a:gd name="connsiteY2" fmla="*/ 35623 h 51691"/>
                    <a:gd name="connsiteX3" fmla="*/ 6975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0" y="0"/>
                      </a:moveTo>
                      <a:cubicBezTo>
                        <a:pt x="3363" y="7723"/>
                        <a:pt x="4111" y="14075"/>
                        <a:pt x="4235" y="18310"/>
                      </a:cubicBezTo>
                      <a:cubicBezTo>
                        <a:pt x="4235" y="25285"/>
                        <a:pt x="2491" y="28524"/>
                        <a:pt x="2865" y="35623"/>
                      </a:cubicBezTo>
                      <a:cubicBezTo>
                        <a:pt x="3239" y="42474"/>
                        <a:pt x="5231" y="48079"/>
                        <a:pt x="697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2" name="Freeform 7527">
                  <a:extLst>
                    <a:ext uri="{FF2B5EF4-FFF2-40B4-BE49-F238E27FC236}">
                      <a16:creationId xmlns:a16="http://schemas.microsoft.com/office/drawing/2014/main" id="{E7DDBEF9-A6FE-1E48-22C8-8DE90FA4541E}"/>
                    </a:ext>
                  </a:extLst>
                </p:cNvPr>
                <p:cNvSpPr/>
                <p:nvPr/>
              </p:nvSpPr>
              <p:spPr>
                <a:xfrm>
                  <a:off x="7416069" y="1897390"/>
                  <a:ext cx="26720" cy="26423"/>
                </a:xfrm>
                <a:custGeom>
                  <a:avLst/>
                  <a:gdLst>
                    <a:gd name="connsiteX0" fmla="*/ 95 w 26720"/>
                    <a:gd name="connsiteY0" fmla="*/ 14644 h 26423"/>
                    <a:gd name="connsiteX1" fmla="*/ 11803 w 26720"/>
                    <a:gd name="connsiteY1" fmla="*/ 71 h 26423"/>
                    <a:gd name="connsiteX2" fmla="*/ 26626 w 26720"/>
                    <a:gd name="connsiteY2" fmla="*/ 11779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79"/>
                      </a:cubicBezTo>
                      <a:cubicBezTo>
                        <a:pt x="27497" y="19004"/>
                        <a:pt x="22266" y="25605"/>
                        <a:pt x="14917" y="26353"/>
                      </a:cubicBezTo>
                      <a:cubicBezTo>
                        <a:pt x="7568" y="27100"/>
                        <a:pt x="966"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3" name="Freeform 7528">
                  <a:extLst>
                    <a:ext uri="{FF2B5EF4-FFF2-40B4-BE49-F238E27FC236}">
                      <a16:creationId xmlns:a16="http://schemas.microsoft.com/office/drawing/2014/main" id="{76EF4AA5-C99B-BE24-0265-CEC2BB8B27F3}"/>
                    </a:ext>
                  </a:extLst>
                </p:cNvPr>
                <p:cNvSpPr/>
                <p:nvPr/>
              </p:nvSpPr>
              <p:spPr>
                <a:xfrm>
                  <a:off x="7411457" y="1796445"/>
                  <a:ext cx="7151" cy="51815"/>
                </a:xfrm>
                <a:custGeom>
                  <a:avLst/>
                  <a:gdLst>
                    <a:gd name="connsiteX0" fmla="*/ 846 w 7151"/>
                    <a:gd name="connsiteY0" fmla="*/ 0 h 51815"/>
                    <a:gd name="connsiteX1" fmla="*/ 1094 w 7151"/>
                    <a:gd name="connsiteY1" fmla="*/ 18808 h 51815"/>
                    <a:gd name="connsiteX2" fmla="*/ 6450 w 7151"/>
                    <a:gd name="connsiteY2" fmla="*/ 35374 h 51815"/>
                    <a:gd name="connsiteX3" fmla="*/ 620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846" y="0"/>
                      </a:moveTo>
                      <a:cubicBezTo>
                        <a:pt x="-650" y="8221"/>
                        <a:pt x="98" y="14573"/>
                        <a:pt x="1094" y="18808"/>
                      </a:cubicBezTo>
                      <a:cubicBezTo>
                        <a:pt x="2713" y="25659"/>
                        <a:pt x="5205"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4" name="Freeform 7529">
                  <a:extLst>
                    <a:ext uri="{FF2B5EF4-FFF2-40B4-BE49-F238E27FC236}">
                      <a16:creationId xmlns:a16="http://schemas.microsoft.com/office/drawing/2014/main" id="{61BCE5DF-2143-8751-88F0-E3FC316A080C}"/>
                    </a:ext>
                  </a:extLst>
                </p:cNvPr>
                <p:cNvSpPr/>
                <p:nvPr/>
              </p:nvSpPr>
              <p:spPr>
                <a:xfrm>
                  <a:off x="7418531" y="1790715"/>
                  <a:ext cx="6975" cy="51691"/>
                </a:xfrm>
                <a:custGeom>
                  <a:avLst/>
                  <a:gdLst>
                    <a:gd name="connsiteX0" fmla="*/ 6975 w 6975"/>
                    <a:gd name="connsiteY0" fmla="*/ 51691 h 51691"/>
                    <a:gd name="connsiteX1" fmla="*/ 2740 w 6975"/>
                    <a:gd name="connsiteY1" fmla="*/ 33381 h 51691"/>
                    <a:gd name="connsiteX2" fmla="*/ 4110 w 6975"/>
                    <a:gd name="connsiteY2" fmla="*/ 16068 h 51691"/>
                    <a:gd name="connsiteX3" fmla="*/ 0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51691"/>
                      </a:moveTo>
                      <a:cubicBezTo>
                        <a:pt x="3612" y="43969"/>
                        <a:pt x="2865" y="37616"/>
                        <a:pt x="2740" y="33381"/>
                      </a:cubicBezTo>
                      <a:cubicBezTo>
                        <a:pt x="2740" y="26406"/>
                        <a:pt x="4484" y="23168"/>
                        <a:pt x="4110"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605" name="Freeform 7530">
                  <a:extLst>
                    <a:ext uri="{FF2B5EF4-FFF2-40B4-BE49-F238E27FC236}">
                      <a16:creationId xmlns:a16="http://schemas.microsoft.com/office/drawing/2014/main" id="{1A88D695-18AE-84F9-5487-6E9354D4B16A}"/>
                    </a:ext>
                  </a:extLst>
                </p:cNvPr>
                <p:cNvSpPr/>
                <p:nvPr/>
              </p:nvSpPr>
              <p:spPr>
                <a:xfrm>
                  <a:off x="7401744" y="1775820"/>
                  <a:ext cx="26471" cy="26425"/>
                </a:xfrm>
                <a:custGeom>
                  <a:avLst/>
                  <a:gdLst>
                    <a:gd name="connsiteX0" fmla="*/ 26376 w 26471"/>
                    <a:gd name="connsiteY0" fmla="*/ 11781 h 26425"/>
                    <a:gd name="connsiteX1" fmla="*/ 14793 w 26471"/>
                    <a:gd name="connsiteY1" fmla="*/ 26354 h 26425"/>
                    <a:gd name="connsiteX2" fmla="*/ 95 w 26471"/>
                    <a:gd name="connsiteY2" fmla="*/ 14646 h 26425"/>
                    <a:gd name="connsiteX3" fmla="*/ 11679 w 26471"/>
                    <a:gd name="connsiteY3" fmla="*/ 73 h 26425"/>
                    <a:gd name="connsiteX4" fmla="*/ 26376 w 26471"/>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4">
                      <a:moveTo>
                        <a:pt x="26376" y="11781"/>
                      </a:moveTo>
                      <a:cubicBezTo>
                        <a:pt x="27248" y="19005"/>
                        <a:pt x="22017" y="25607"/>
                        <a:pt x="14793" y="26354"/>
                      </a:cubicBezTo>
                      <a:cubicBezTo>
                        <a:pt x="7568" y="27102"/>
                        <a:pt x="967" y="21870"/>
                        <a:pt x="95" y="14646"/>
                      </a:cubicBezTo>
                      <a:cubicBezTo>
                        <a:pt x="-777" y="7421"/>
                        <a:pt x="4454" y="820"/>
                        <a:pt x="11679" y="73"/>
                      </a:cubicBezTo>
                      <a:cubicBezTo>
                        <a:pt x="18903" y="-675"/>
                        <a:pt x="25504" y="4432"/>
                        <a:pt x="26376"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3" name="Graphic 2987">
                <a:extLst>
                  <a:ext uri="{FF2B5EF4-FFF2-40B4-BE49-F238E27FC236}">
                    <a16:creationId xmlns:a16="http://schemas.microsoft.com/office/drawing/2014/main" id="{12B65D5B-4A02-1D07-5572-1F706C081337}"/>
                  </a:ext>
                </a:extLst>
              </p:cNvPr>
              <p:cNvGrpSpPr/>
              <p:nvPr/>
            </p:nvGrpSpPr>
            <p:grpSpPr>
              <a:xfrm>
                <a:off x="7372474" y="1778936"/>
                <a:ext cx="40671" cy="148116"/>
                <a:chOff x="7372474" y="1778936"/>
                <a:chExt cx="40671" cy="148116"/>
              </a:xfrm>
              <a:grpFill/>
            </p:grpSpPr>
            <p:sp>
              <p:nvSpPr>
                <p:cNvPr id="6594" name="Freeform 7532">
                  <a:extLst>
                    <a:ext uri="{FF2B5EF4-FFF2-40B4-BE49-F238E27FC236}">
                      <a16:creationId xmlns:a16="http://schemas.microsoft.com/office/drawing/2014/main" id="{EC17DBF0-4BD8-82C9-87F7-86EB41739CF3}"/>
                    </a:ext>
                  </a:extLst>
                </p:cNvPr>
                <p:cNvSpPr/>
                <p:nvPr/>
              </p:nvSpPr>
              <p:spPr>
                <a:xfrm>
                  <a:off x="7396440" y="1854489"/>
                  <a:ext cx="7116" cy="51815"/>
                </a:xfrm>
                <a:custGeom>
                  <a:avLst/>
                  <a:gdLst>
                    <a:gd name="connsiteX0" fmla="*/ 6271 w 7116"/>
                    <a:gd name="connsiteY0" fmla="*/ 51816 h 51815"/>
                    <a:gd name="connsiteX1" fmla="*/ 6022 w 7116"/>
                    <a:gd name="connsiteY1" fmla="*/ 33008 h 51815"/>
                    <a:gd name="connsiteX2" fmla="*/ 666 w 7116"/>
                    <a:gd name="connsiteY2" fmla="*/ 16442 h 51815"/>
                    <a:gd name="connsiteX3" fmla="*/ 915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6271" y="51816"/>
                      </a:moveTo>
                      <a:cubicBezTo>
                        <a:pt x="7766" y="43595"/>
                        <a:pt x="7019" y="37243"/>
                        <a:pt x="6022" y="33008"/>
                      </a:cubicBezTo>
                      <a:cubicBezTo>
                        <a:pt x="4403" y="26157"/>
                        <a:pt x="1911" y="23417"/>
                        <a:pt x="666" y="16442"/>
                      </a:cubicBezTo>
                      <a:cubicBezTo>
                        <a:pt x="-579" y="9715"/>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5" name="Freeform 7533">
                  <a:extLst>
                    <a:ext uri="{FF2B5EF4-FFF2-40B4-BE49-F238E27FC236}">
                      <a16:creationId xmlns:a16="http://schemas.microsoft.com/office/drawing/2014/main" id="{6CE27ACF-7A30-E077-1D49-EA26D0137A4B}"/>
                    </a:ext>
                  </a:extLst>
                </p:cNvPr>
                <p:cNvSpPr/>
                <p:nvPr/>
              </p:nvSpPr>
              <p:spPr>
                <a:xfrm>
                  <a:off x="7389508" y="1860343"/>
                  <a:ext cx="6601" cy="51691"/>
                </a:xfrm>
                <a:custGeom>
                  <a:avLst/>
                  <a:gdLst>
                    <a:gd name="connsiteX0" fmla="*/ 0 w 6601"/>
                    <a:gd name="connsiteY0" fmla="*/ 0 h 51691"/>
                    <a:gd name="connsiteX1" fmla="*/ 4111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1" y="14075"/>
                        <a:pt x="4111" y="18310"/>
                      </a:cubicBezTo>
                      <a:cubicBezTo>
                        <a:pt x="4111" y="25285"/>
                        <a:pt x="2367" y="28524"/>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6" name="Freeform 7534">
                  <a:extLst>
                    <a:ext uri="{FF2B5EF4-FFF2-40B4-BE49-F238E27FC236}">
                      <a16:creationId xmlns:a16="http://schemas.microsoft.com/office/drawing/2014/main" id="{AAAB678C-8B24-1313-4FF2-BBCCB0A449DE}"/>
                    </a:ext>
                  </a:extLst>
                </p:cNvPr>
                <p:cNvSpPr/>
                <p:nvPr/>
              </p:nvSpPr>
              <p:spPr>
                <a:xfrm>
                  <a:off x="7386424" y="1900629"/>
                  <a:ext cx="26720" cy="26423"/>
                </a:xfrm>
                <a:custGeom>
                  <a:avLst/>
                  <a:gdLst>
                    <a:gd name="connsiteX0" fmla="*/ 95 w 26720"/>
                    <a:gd name="connsiteY0" fmla="*/ 14644 h 26423"/>
                    <a:gd name="connsiteX1" fmla="*/ 11803 w 26720"/>
                    <a:gd name="connsiteY1" fmla="*/ 71 h 26423"/>
                    <a:gd name="connsiteX2" fmla="*/ 26626 w 26720"/>
                    <a:gd name="connsiteY2" fmla="*/ 11780 h 26423"/>
                    <a:gd name="connsiteX3" fmla="*/ 14917 w 26720"/>
                    <a:gd name="connsiteY3" fmla="*/ 26353 h 26423"/>
                    <a:gd name="connsiteX4" fmla="*/ 95 w 26720"/>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23">
                      <a:moveTo>
                        <a:pt x="95" y="14644"/>
                      </a:moveTo>
                      <a:cubicBezTo>
                        <a:pt x="-777" y="7420"/>
                        <a:pt x="4454" y="818"/>
                        <a:pt x="11803" y="71"/>
                      </a:cubicBezTo>
                      <a:cubicBezTo>
                        <a:pt x="19152" y="-676"/>
                        <a:pt x="25754" y="4555"/>
                        <a:pt x="26626" y="11780"/>
                      </a:cubicBezTo>
                      <a:cubicBezTo>
                        <a:pt x="27497" y="19004"/>
                        <a:pt x="22266" y="25605"/>
                        <a:pt x="14917" y="26353"/>
                      </a:cubicBezTo>
                      <a:cubicBezTo>
                        <a:pt x="7568" y="27100"/>
                        <a:pt x="967" y="21869"/>
                        <a:pt x="95"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7" name="Freeform 7535">
                  <a:extLst>
                    <a:ext uri="{FF2B5EF4-FFF2-40B4-BE49-F238E27FC236}">
                      <a16:creationId xmlns:a16="http://schemas.microsoft.com/office/drawing/2014/main" id="{0B5FF0CB-D862-6EEC-96FB-F147759A1D87}"/>
                    </a:ext>
                  </a:extLst>
                </p:cNvPr>
                <p:cNvSpPr/>
                <p:nvPr/>
              </p:nvSpPr>
              <p:spPr>
                <a:xfrm>
                  <a:off x="7382061" y="1799559"/>
                  <a:ext cx="7116" cy="51815"/>
                </a:xfrm>
                <a:custGeom>
                  <a:avLst/>
                  <a:gdLst>
                    <a:gd name="connsiteX0" fmla="*/ 845 w 7116"/>
                    <a:gd name="connsiteY0" fmla="*/ 0 h 51815"/>
                    <a:gd name="connsiteX1" fmla="*/ 1095 w 7116"/>
                    <a:gd name="connsiteY1" fmla="*/ 18808 h 51815"/>
                    <a:gd name="connsiteX2" fmla="*/ 6450 w 7116"/>
                    <a:gd name="connsiteY2" fmla="*/ 35374 h 51815"/>
                    <a:gd name="connsiteX3" fmla="*/ 6201 w 711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16" h="51815">
                      <a:moveTo>
                        <a:pt x="845" y="0"/>
                      </a:moveTo>
                      <a:cubicBezTo>
                        <a:pt x="-649" y="8221"/>
                        <a:pt x="98" y="14573"/>
                        <a:pt x="1095" y="18808"/>
                      </a:cubicBezTo>
                      <a:cubicBezTo>
                        <a:pt x="2714" y="25659"/>
                        <a:pt x="5080" y="28399"/>
                        <a:pt x="6450" y="35374"/>
                      </a:cubicBezTo>
                      <a:cubicBezTo>
                        <a:pt x="7696" y="42225"/>
                        <a:pt x="6948"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8" name="Freeform 7536">
                  <a:extLst>
                    <a:ext uri="{FF2B5EF4-FFF2-40B4-BE49-F238E27FC236}">
                      <a16:creationId xmlns:a16="http://schemas.microsoft.com/office/drawing/2014/main" id="{F44E6423-45EE-4EB2-B752-FA0E16638077}"/>
                    </a:ext>
                  </a:extLst>
                </p:cNvPr>
                <p:cNvSpPr/>
                <p:nvPr/>
              </p:nvSpPr>
              <p:spPr>
                <a:xfrm>
                  <a:off x="7389384" y="1793829"/>
                  <a:ext cx="6725" cy="51691"/>
                </a:xfrm>
                <a:custGeom>
                  <a:avLst/>
                  <a:gdLst>
                    <a:gd name="connsiteX0" fmla="*/ 6726 w 6725"/>
                    <a:gd name="connsiteY0" fmla="*/ 51691 h 51691"/>
                    <a:gd name="connsiteX1" fmla="*/ 2616 w 6725"/>
                    <a:gd name="connsiteY1" fmla="*/ 33381 h 51691"/>
                    <a:gd name="connsiteX2" fmla="*/ 3986 w 6725"/>
                    <a:gd name="connsiteY2" fmla="*/ 16068 h 51691"/>
                    <a:gd name="connsiteX3" fmla="*/ 0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6726" y="51691"/>
                      </a:moveTo>
                      <a:cubicBezTo>
                        <a:pt x="3363" y="43969"/>
                        <a:pt x="2616" y="37616"/>
                        <a:pt x="2616" y="33381"/>
                      </a:cubicBezTo>
                      <a:cubicBezTo>
                        <a:pt x="2616" y="26406"/>
                        <a:pt x="4359"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9" name="Freeform 7537">
                  <a:extLst>
                    <a:ext uri="{FF2B5EF4-FFF2-40B4-BE49-F238E27FC236}">
                      <a16:creationId xmlns:a16="http://schemas.microsoft.com/office/drawing/2014/main" id="{12AC067A-50E6-1B87-43F4-054950ACADB9}"/>
                    </a:ext>
                  </a:extLst>
                </p:cNvPr>
                <p:cNvSpPr/>
                <p:nvPr/>
              </p:nvSpPr>
              <p:spPr>
                <a:xfrm>
                  <a:off x="7372474" y="1778936"/>
                  <a:ext cx="26471" cy="26423"/>
                </a:xfrm>
                <a:custGeom>
                  <a:avLst/>
                  <a:gdLst>
                    <a:gd name="connsiteX0" fmla="*/ 26376 w 26471"/>
                    <a:gd name="connsiteY0" fmla="*/ 11780 h 26423"/>
                    <a:gd name="connsiteX1" fmla="*/ 14793 w 26471"/>
                    <a:gd name="connsiteY1" fmla="*/ 26353 h 26423"/>
                    <a:gd name="connsiteX2" fmla="*/ 95 w 26471"/>
                    <a:gd name="connsiteY2" fmla="*/ 14644 h 26423"/>
                    <a:gd name="connsiteX3" fmla="*/ 11679 w 26471"/>
                    <a:gd name="connsiteY3" fmla="*/ 71 h 26423"/>
                    <a:gd name="connsiteX4" fmla="*/ 26376 w 26471"/>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23">
                      <a:moveTo>
                        <a:pt x="26376" y="11780"/>
                      </a:moveTo>
                      <a:cubicBezTo>
                        <a:pt x="27248" y="19004"/>
                        <a:pt x="22017" y="25605"/>
                        <a:pt x="14793" y="26353"/>
                      </a:cubicBezTo>
                      <a:cubicBezTo>
                        <a:pt x="7568" y="27100"/>
                        <a:pt x="966" y="21869"/>
                        <a:pt x="95" y="14644"/>
                      </a:cubicBezTo>
                      <a:cubicBezTo>
                        <a:pt x="-777" y="7420"/>
                        <a:pt x="4454" y="818"/>
                        <a:pt x="11679" y="71"/>
                      </a:cubicBezTo>
                      <a:cubicBezTo>
                        <a:pt x="18903" y="-676"/>
                        <a:pt x="25504" y="4555"/>
                        <a:pt x="26376"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4" name="Graphic 2987">
                <a:extLst>
                  <a:ext uri="{FF2B5EF4-FFF2-40B4-BE49-F238E27FC236}">
                    <a16:creationId xmlns:a16="http://schemas.microsoft.com/office/drawing/2014/main" id="{C196EBA0-9660-B745-E3A0-28AB331518B3}"/>
                  </a:ext>
                </a:extLst>
              </p:cNvPr>
              <p:cNvGrpSpPr/>
              <p:nvPr/>
            </p:nvGrpSpPr>
            <p:grpSpPr>
              <a:xfrm>
                <a:off x="7343327" y="1782174"/>
                <a:ext cx="40171" cy="148116"/>
                <a:chOff x="7343327" y="1782174"/>
                <a:chExt cx="40171" cy="148116"/>
              </a:xfrm>
              <a:grpFill/>
            </p:grpSpPr>
            <p:sp>
              <p:nvSpPr>
                <p:cNvPr id="6588" name="Freeform 7539">
                  <a:extLst>
                    <a:ext uri="{FF2B5EF4-FFF2-40B4-BE49-F238E27FC236}">
                      <a16:creationId xmlns:a16="http://schemas.microsoft.com/office/drawing/2014/main" id="{9E3C95BD-9EA7-0F02-892D-19DB49E09566}"/>
                    </a:ext>
                  </a:extLst>
                </p:cNvPr>
                <p:cNvSpPr/>
                <p:nvPr/>
              </p:nvSpPr>
              <p:spPr>
                <a:xfrm>
                  <a:off x="7366920" y="1857727"/>
                  <a:ext cx="7091" cy="51815"/>
                </a:xfrm>
                <a:custGeom>
                  <a:avLst/>
                  <a:gdLst>
                    <a:gd name="connsiteX0" fmla="*/ 6147 w 7091"/>
                    <a:gd name="connsiteY0" fmla="*/ 51816 h 51815"/>
                    <a:gd name="connsiteX1" fmla="*/ 6022 w 7091"/>
                    <a:gd name="connsiteY1" fmla="*/ 33008 h 51815"/>
                    <a:gd name="connsiteX2" fmla="*/ 666 w 7091"/>
                    <a:gd name="connsiteY2" fmla="*/ 16442 h 51815"/>
                    <a:gd name="connsiteX3" fmla="*/ 915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6147" y="51816"/>
                      </a:moveTo>
                      <a:cubicBezTo>
                        <a:pt x="7766" y="43595"/>
                        <a:pt x="7019" y="37243"/>
                        <a:pt x="6022" y="33008"/>
                      </a:cubicBezTo>
                      <a:cubicBezTo>
                        <a:pt x="4403" y="26157"/>
                        <a:pt x="2036" y="23417"/>
                        <a:pt x="666" y="16442"/>
                      </a:cubicBezTo>
                      <a:cubicBezTo>
                        <a:pt x="-579" y="9591"/>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9" name="Freeform 7540">
                  <a:extLst>
                    <a:ext uri="{FF2B5EF4-FFF2-40B4-BE49-F238E27FC236}">
                      <a16:creationId xmlns:a16="http://schemas.microsoft.com/office/drawing/2014/main" id="{DAF96AF8-6BCA-17DC-3F06-F451FB7F2269}"/>
                    </a:ext>
                  </a:extLst>
                </p:cNvPr>
                <p:cNvSpPr/>
                <p:nvPr/>
              </p:nvSpPr>
              <p:spPr>
                <a:xfrm>
                  <a:off x="7359988" y="1863581"/>
                  <a:ext cx="6601" cy="51691"/>
                </a:xfrm>
                <a:custGeom>
                  <a:avLst/>
                  <a:gdLst>
                    <a:gd name="connsiteX0" fmla="*/ 0 w 6601"/>
                    <a:gd name="connsiteY0" fmla="*/ 0 h 51691"/>
                    <a:gd name="connsiteX1" fmla="*/ 4110 w 6601"/>
                    <a:gd name="connsiteY1" fmla="*/ 18310 h 51691"/>
                    <a:gd name="connsiteX2" fmla="*/ 2615 w 6601"/>
                    <a:gd name="connsiteY2" fmla="*/ 35624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4075"/>
                        <a:pt x="4110" y="18310"/>
                      </a:cubicBezTo>
                      <a:cubicBezTo>
                        <a:pt x="4110" y="25285"/>
                        <a:pt x="2367" y="28524"/>
                        <a:pt x="2615" y="35624"/>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0" name="Freeform 7541">
                  <a:extLst>
                    <a:ext uri="{FF2B5EF4-FFF2-40B4-BE49-F238E27FC236}">
                      <a16:creationId xmlns:a16="http://schemas.microsoft.com/office/drawing/2014/main" id="{639198E8-9757-867D-B616-25C9BA9E400B}"/>
                    </a:ext>
                  </a:extLst>
                </p:cNvPr>
                <p:cNvSpPr/>
                <p:nvPr/>
              </p:nvSpPr>
              <p:spPr>
                <a:xfrm>
                  <a:off x="7356781" y="1903867"/>
                  <a:ext cx="26716" cy="26423"/>
                </a:xfrm>
                <a:custGeom>
                  <a:avLst/>
                  <a:gdLst>
                    <a:gd name="connsiteX0" fmla="*/ 93 w 26716"/>
                    <a:gd name="connsiteY0" fmla="*/ 14644 h 26423"/>
                    <a:gd name="connsiteX1" fmla="*/ 11926 w 26716"/>
                    <a:gd name="connsiteY1" fmla="*/ 71 h 26423"/>
                    <a:gd name="connsiteX2" fmla="*/ 26624 w 26716"/>
                    <a:gd name="connsiteY2" fmla="*/ 11779 h 26423"/>
                    <a:gd name="connsiteX3" fmla="*/ 14791 w 26716"/>
                    <a:gd name="connsiteY3" fmla="*/ 26353 h 26423"/>
                    <a:gd name="connsiteX4" fmla="*/ 93 w 26716"/>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423">
                      <a:moveTo>
                        <a:pt x="93" y="14644"/>
                      </a:moveTo>
                      <a:cubicBezTo>
                        <a:pt x="-779" y="7420"/>
                        <a:pt x="4577" y="818"/>
                        <a:pt x="11926" y="71"/>
                      </a:cubicBezTo>
                      <a:cubicBezTo>
                        <a:pt x="19275" y="-676"/>
                        <a:pt x="25877" y="4555"/>
                        <a:pt x="26624" y="11779"/>
                      </a:cubicBezTo>
                      <a:cubicBezTo>
                        <a:pt x="27496" y="19004"/>
                        <a:pt x="22139" y="25605"/>
                        <a:pt x="14791" y="26353"/>
                      </a:cubicBezTo>
                      <a:cubicBezTo>
                        <a:pt x="7566" y="27100"/>
                        <a:pt x="965" y="21869"/>
                        <a:pt x="93"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1" name="Freeform 7542">
                  <a:extLst>
                    <a:ext uri="{FF2B5EF4-FFF2-40B4-BE49-F238E27FC236}">
                      <a16:creationId xmlns:a16="http://schemas.microsoft.com/office/drawing/2014/main" id="{8681C274-9D6D-D5E7-9EE8-C631C5179853}"/>
                    </a:ext>
                  </a:extLst>
                </p:cNvPr>
                <p:cNvSpPr/>
                <p:nvPr/>
              </p:nvSpPr>
              <p:spPr>
                <a:xfrm>
                  <a:off x="7352743" y="1802797"/>
                  <a:ext cx="7038" cy="51815"/>
                </a:xfrm>
                <a:custGeom>
                  <a:avLst/>
                  <a:gdLst>
                    <a:gd name="connsiteX0" fmla="*/ 892 w 7038"/>
                    <a:gd name="connsiteY0" fmla="*/ 0 h 51815"/>
                    <a:gd name="connsiteX1" fmla="*/ 1017 w 7038"/>
                    <a:gd name="connsiteY1" fmla="*/ 18808 h 51815"/>
                    <a:gd name="connsiteX2" fmla="*/ 6373 w 7038"/>
                    <a:gd name="connsiteY2" fmla="*/ 35374 h 51815"/>
                    <a:gd name="connsiteX3" fmla="*/ 6123 w 7038"/>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38" h="51815">
                      <a:moveTo>
                        <a:pt x="892" y="0"/>
                      </a:moveTo>
                      <a:cubicBezTo>
                        <a:pt x="-602" y="8221"/>
                        <a:pt x="20" y="14573"/>
                        <a:pt x="1017" y="18808"/>
                      </a:cubicBezTo>
                      <a:cubicBezTo>
                        <a:pt x="2512" y="25659"/>
                        <a:pt x="5003" y="28399"/>
                        <a:pt x="6373" y="35374"/>
                      </a:cubicBezTo>
                      <a:cubicBezTo>
                        <a:pt x="7618" y="42225"/>
                        <a:pt x="6871" y="47955"/>
                        <a:pt x="612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2" name="Freeform 7543">
                  <a:extLst>
                    <a:ext uri="{FF2B5EF4-FFF2-40B4-BE49-F238E27FC236}">
                      <a16:creationId xmlns:a16="http://schemas.microsoft.com/office/drawing/2014/main" id="{76307FDF-6090-1E6E-F3FD-5D62519C302E}"/>
                    </a:ext>
                  </a:extLst>
                </p:cNvPr>
                <p:cNvSpPr/>
                <p:nvPr/>
              </p:nvSpPr>
              <p:spPr>
                <a:xfrm>
                  <a:off x="7359988" y="1797068"/>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616"/>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93" name="Freeform 7544">
                  <a:extLst>
                    <a:ext uri="{FF2B5EF4-FFF2-40B4-BE49-F238E27FC236}">
                      <a16:creationId xmlns:a16="http://schemas.microsoft.com/office/drawing/2014/main" id="{096D5A1A-E086-FBE0-28FB-AD67389274BB}"/>
                    </a:ext>
                  </a:extLst>
                </p:cNvPr>
                <p:cNvSpPr/>
                <p:nvPr/>
              </p:nvSpPr>
              <p:spPr>
                <a:xfrm>
                  <a:off x="7343327" y="1782174"/>
                  <a:ext cx="26346" cy="26423"/>
                </a:xfrm>
                <a:custGeom>
                  <a:avLst/>
                  <a:gdLst>
                    <a:gd name="connsiteX0" fmla="*/ 26252 w 26346"/>
                    <a:gd name="connsiteY0" fmla="*/ 11779 h 26423"/>
                    <a:gd name="connsiteX1" fmla="*/ 14668 w 26346"/>
                    <a:gd name="connsiteY1" fmla="*/ 26353 h 26423"/>
                    <a:gd name="connsiteX2" fmla="*/ 95 w 26346"/>
                    <a:gd name="connsiteY2" fmla="*/ 14644 h 26423"/>
                    <a:gd name="connsiteX3" fmla="*/ 11679 w 26346"/>
                    <a:gd name="connsiteY3" fmla="*/ 71 h 26423"/>
                    <a:gd name="connsiteX4" fmla="*/ 26252 w 26346"/>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23">
                      <a:moveTo>
                        <a:pt x="26252" y="11779"/>
                      </a:moveTo>
                      <a:cubicBezTo>
                        <a:pt x="27124" y="19004"/>
                        <a:pt x="21893" y="25605"/>
                        <a:pt x="14668" y="26353"/>
                      </a:cubicBezTo>
                      <a:cubicBezTo>
                        <a:pt x="7444" y="27100"/>
                        <a:pt x="842" y="21869"/>
                        <a:pt x="95" y="14644"/>
                      </a:cubicBezTo>
                      <a:cubicBezTo>
                        <a:pt x="-777" y="7420"/>
                        <a:pt x="4454" y="818"/>
                        <a:pt x="11679" y="71"/>
                      </a:cubicBezTo>
                      <a:cubicBezTo>
                        <a:pt x="18779" y="-676"/>
                        <a:pt x="25381" y="4555"/>
                        <a:pt x="26252"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5" name="Graphic 2987">
                <a:extLst>
                  <a:ext uri="{FF2B5EF4-FFF2-40B4-BE49-F238E27FC236}">
                    <a16:creationId xmlns:a16="http://schemas.microsoft.com/office/drawing/2014/main" id="{E678CEB1-F9F4-8C43-6F95-2E62B540A2BF}"/>
                  </a:ext>
                </a:extLst>
              </p:cNvPr>
              <p:cNvGrpSpPr/>
              <p:nvPr/>
            </p:nvGrpSpPr>
            <p:grpSpPr>
              <a:xfrm>
                <a:off x="7313831" y="1785411"/>
                <a:ext cx="40000" cy="148118"/>
                <a:chOff x="7313831" y="1785411"/>
                <a:chExt cx="40000" cy="148118"/>
              </a:xfrm>
              <a:grpFill/>
            </p:grpSpPr>
            <p:sp>
              <p:nvSpPr>
                <p:cNvPr id="6582" name="Freeform 7546">
                  <a:extLst>
                    <a:ext uri="{FF2B5EF4-FFF2-40B4-BE49-F238E27FC236}">
                      <a16:creationId xmlns:a16="http://schemas.microsoft.com/office/drawing/2014/main" id="{23368C78-EB64-56B4-B26B-9F07AC64FB3B}"/>
                    </a:ext>
                  </a:extLst>
                </p:cNvPr>
                <p:cNvSpPr/>
                <p:nvPr/>
              </p:nvSpPr>
              <p:spPr>
                <a:xfrm>
                  <a:off x="7337407" y="1860966"/>
                  <a:ext cx="6959" cy="51815"/>
                </a:xfrm>
                <a:custGeom>
                  <a:avLst/>
                  <a:gdLst>
                    <a:gd name="connsiteX0" fmla="*/ 6015 w 6959"/>
                    <a:gd name="connsiteY0" fmla="*/ 51816 h 51815"/>
                    <a:gd name="connsiteX1" fmla="*/ 5890 w 6959"/>
                    <a:gd name="connsiteY1" fmla="*/ 33008 h 51815"/>
                    <a:gd name="connsiteX2" fmla="*/ 659 w 6959"/>
                    <a:gd name="connsiteY2" fmla="*/ 16442 h 51815"/>
                    <a:gd name="connsiteX3" fmla="*/ 1032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51816"/>
                      </a:moveTo>
                      <a:cubicBezTo>
                        <a:pt x="7634" y="43595"/>
                        <a:pt x="6887" y="37243"/>
                        <a:pt x="5890" y="33008"/>
                      </a:cubicBezTo>
                      <a:cubicBezTo>
                        <a:pt x="4396" y="26157"/>
                        <a:pt x="1904" y="23417"/>
                        <a:pt x="659" y="16442"/>
                      </a:cubicBezTo>
                      <a:cubicBezTo>
                        <a:pt x="-586" y="9591"/>
                        <a:pt x="161" y="3861"/>
                        <a:pt x="10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3" name="Freeform 7547">
                  <a:extLst>
                    <a:ext uri="{FF2B5EF4-FFF2-40B4-BE49-F238E27FC236}">
                      <a16:creationId xmlns:a16="http://schemas.microsoft.com/office/drawing/2014/main" id="{1F94332D-6294-8E6D-3C35-02E8044115CE}"/>
                    </a:ext>
                  </a:extLst>
                </p:cNvPr>
                <p:cNvSpPr/>
                <p:nvPr/>
              </p:nvSpPr>
              <p:spPr>
                <a:xfrm>
                  <a:off x="7330468" y="1866820"/>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4075"/>
                        <a:pt x="3986" y="18310"/>
                      </a:cubicBezTo>
                      <a:cubicBezTo>
                        <a:pt x="3986" y="25285"/>
                        <a:pt x="2117"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4" name="Freeform 7548">
                  <a:extLst>
                    <a:ext uri="{FF2B5EF4-FFF2-40B4-BE49-F238E27FC236}">
                      <a16:creationId xmlns:a16="http://schemas.microsoft.com/office/drawing/2014/main" id="{CB137FBE-11BE-A264-31A7-9388A6EF145C}"/>
                    </a:ext>
                  </a:extLst>
                </p:cNvPr>
                <p:cNvSpPr/>
                <p:nvPr/>
              </p:nvSpPr>
              <p:spPr>
                <a:xfrm>
                  <a:off x="7327159" y="1907106"/>
                  <a:ext cx="26672" cy="26423"/>
                </a:xfrm>
                <a:custGeom>
                  <a:avLst/>
                  <a:gdLst>
                    <a:gd name="connsiteX0" fmla="*/ 71 w 26672"/>
                    <a:gd name="connsiteY0" fmla="*/ 14644 h 26423"/>
                    <a:gd name="connsiteX1" fmla="*/ 11904 w 26672"/>
                    <a:gd name="connsiteY1" fmla="*/ 71 h 26423"/>
                    <a:gd name="connsiteX2" fmla="*/ 26602 w 26672"/>
                    <a:gd name="connsiteY2" fmla="*/ 11779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79"/>
                      </a:cubicBezTo>
                      <a:cubicBezTo>
                        <a:pt x="27349" y="19004"/>
                        <a:pt x="22118" y="25605"/>
                        <a:pt x="14769" y="26353"/>
                      </a:cubicBezTo>
                      <a:cubicBezTo>
                        <a:pt x="7544"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5" name="Freeform 7549">
                  <a:extLst>
                    <a:ext uri="{FF2B5EF4-FFF2-40B4-BE49-F238E27FC236}">
                      <a16:creationId xmlns:a16="http://schemas.microsoft.com/office/drawing/2014/main" id="{43A9D78D-DB43-2F1C-6E79-EEAE03502009}"/>
                    </a:ext>
                  </a:extLst>
                </p:cNvPr>
                <p:cNvSpPr/>
                <p:nvPr/>
              </p:nvSpPr>
              <p:spPr>
                <a:xfrm>
                  <a:off x="7323295" y="1806036"/>
                  <a:ext cx="6959" cy="51815"/>
                </a:xfrm>
                <a:custGeom>
                  <a:avLst/>
                  <a:gdLst>
                    <a:gd name="connsiteX0" fmla="*/ 945 w 6959"/>
                    <a:gd name="connsiteY0" fmla="*/ 0 h 51815"/>
                    <a:gd name="connsiteX1" fmla="*/ 1069 w 6959"/>
                    <a:gd name="connsiteY1" fmla="*/ 18808 h 51815"/>
                    <a:gd name="connsiteX2" fmla="*/ 6301 w 6959"/>
                    <a:gd name="connsiteY2" fmla="*/ 35374 h 51815"/>
                    <a:gd name="connsiteX3" fmla="*/ 5927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945" y="0"/>
                      </a:moveTo>
                      <a:cubicBezTo>
                        <a:pt x="-675" y="8221"/>
                        <a:pt x="73" y="14573"/>
                        <a:pt x="1069" y="18808"/>
                      </a:cubicBezTo>
                      <a:cubicBezTo>
                        <a:pt x="2564" y="25659"/>
                        <a:pt x="5055" y="28399"/>
                        <a:pt x="6301" y="35374"/>
                      </a:cubicBezTo>
                      <a:cubicBezTo>
                        <a:pt x="7546" y="42225"/>
                        <a:pt x="6799" y="47955"/>
                        <a:pt x="592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6" name="Freeform 7550">
                  <a:extLst>
                    <a:ext uri="{FF2B5EF4-FFF2-40B4-BE49-F238E27FC236}">
                      <a16:creationId xmlns:a16="http://schemas.microsoft.com/office/drawing/2014/main" id="{EAE8B200-B391-D568-39D0-7CAFAEB16369}"/>
                    </a:ext>
                  </a:extLst>
                </p:cNvPr>
                <p:cNvSpPr/>
                <p:nvPr/>
              </p:nvSpPr>
              <p:spPr>
                <a:xfrm>
                  <a:off x="7330593" y="1800306"/>
                  <a:ext cx="6476" cy="51691"/>
                </a:xfrm>
                <a:custGeom>
                  <a:avLst/>
                  <a:gdLst>
                    <a:gd name="connsiteX0" fmla="*/ 6476 w 6476"/>
                    <a:gd name="connsiteY0" fmla="*/ 51691 h 51691"/>
                    <a:gd name="connsiteX1" fmla="*/ 2491 w 6476"/>
                    <a:gd name="connsiteY1" fmla="*/ 33381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1"/>
                      </a:moveTo>
                      <a:cubicBezTo>
                        <a:pt x="3114" y="43969"/>
                        <a:pt x="2491" y="37616"/>
                        <a:pt x="2491" y="33381"/>
                      </a:cubicBezTo>
                      <a:cubicBezTo>
                        <a:pt x="2491" y="26406"/>
                        <a:pt x="4235" y="23168"/>
                        <a:pt x="3985" y="16068"/>
                      </a:cubicBezTo>
                      <a:cubicBezTo>
                        <a:pt x="3737" y="9217"/>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7" name="Freeform 7551">
                  <a:extLst>
                    <a:ext uri="{FF2B5EF4-FFF2-40B4-BE49-F238E27FC236}">
                      <a16:creationId xmlns:a16="http://schemas.microsoft.com/office/drawing/2014/main" id="{4BE5CEB1-F99C-498B-190F-00FAFBDC8F59}"/>
                    </a:ext>
                  </a:extLst>
                </p:cNvPr>
                <p:cNvSpPr/>
                <p:nvPr/>
              </p:nvSpPr>
              <p:spPr>
                <a:xfrm>
                  <a:off x="7313831" y="1785411"/>
                  <a:ext cx="26447" cy="26425"/>
                </a:xfrm>
                <a:custGeom>
                  <a:avLst/>
                  <a:gdLst>
                    <a:gd name="connsiteX0" fmla="*/ 26353 w 26447"/>
                    <a:gd name="connsiteY0" fmla="*/ 11781 h 26425"/>
                    <a:gd name="connsiteX1" fmla="*/ 14644 w 26447"/>
                    <a:gd name="connsiteY1" fmla="*/ 26354 h 26425"/>
                    <a:gd name="connsiteX2" fmla="*/ 71 w 26447"/>
                    <a:gd name="connsiteY2" fmla="*/ 14646 h 26425"/>
                    <a:gd name="connsiteX3" fmla="*/ 11780 w 26447"/>
                    <a:gd name="connsiteY3" fmla="*/ 73 h 26425"/>
                    <a:gd name="connsiteX4" fmla="*/ 26353 w 26447"/>
                    <a:gd name="connsiteY4" fmla="*/ 11781 h 2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24">
                      <a:moveTo>
                        <a:pt x="26353" y="11781"/>
                      </a:moveTo>
                      <a:cubicBezTo>
                        <a:pt x="27225" y="19005"/>
                        <a:pt x="21993" y="25607"/>
                        <a:pt x="14644" y="26354"/>
                      </a:cubicBezTo>
                      <a:cubicBezTo>
                        <a:pt x="7296" y="27102"/>
                        <a:pt x="818" y="21870"/>
                        <a:pt x="71" y="14646"/>
                      </a:cubicBezTo>
                      <a:cubicBezTo>
                        <a:pt x="-676" y="7421"/>
                        <a:pt x="4555" y="820"/>
                        <a:pt x="11780" y="73"/>
                      </a:cubicBezTo>
                      <a:cubicBezTo>
                        <a:pt x="19004" y="-675"/>
                        <a:pt x="25605" y="4432"/>
                        <a:pt x="26353" y="117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6" name="Graphic 2987">
                <a:extLst>
                  <a:ext uri="{FF2B5EF4-FFF2-40B4-BE49-F238E27FC236}">
                    <a16:creationId xmlns:a16="http://schemas.microsoft.com/office/drawing/2014/main" id="{CB5B1A5E-0C32-CDE3-F3B2-C11D4AA88D0D}"/>
                  </a:ext>
                </a:extLst>
              </p:cNvPr>
              <p:cNvGrpSpPr/>
              <p:nvPr/>
            </p:nvGrpSpPr>
            <p:grpSpPr>
              <a:xfrm>
                <a:off x="7284560" y="1788627"/>
                <a:ext cx="39626" cy="148140"/>
                <a:chOff x="7284560" y="1788627"/>
                <a:chExt cx="39626" cy="148140"/>
              </a:xfrm>
              <a:grpFill/>
            </p:grpSpPr>
            <p:sp>
              <p:nvSpPr>
                <p:cNvPr id="6576" name="Freeform 7553">
                  <a:extLst>
                    <a:ext uri="{FF2B5EF4-FFF2-40B4-BE49-F238E27FC236}">
                      <a16:creationId xmlns:a16="http://schemas.microsoft.com/office/drawing/2014/main" id="{8B70C821-E5F1-E880-C2DB-EFFFAFFA179D}"/>
                    </a:ext>
                  </a:extLst>
                </p:cNvPr>
                <p:cNvSpPr/>
                <p:nvPr/>
              </p:nvSpPr>
              <p:spPr>
                <a:xfrm>
                  <a:off x="7307886" y="1864204"/>
                  <a:ext cx="6845" cy="51815"/>
                </a:xfrm>
                <a:custGeom>
                  <a:avLst/>
                  <a:gdLst>
                    <a:gd name="connsiteX0" fmla="*/ 5891 w 6845"/>
                    <a:gd name="connsiteY0" fmla="*/ 51816 h 51815"/>
                    <a:gd name="connsiteX1" fmla="*/ 5891 w 6845"/>
                    <a:gd name="connsiteY1" fmla="*/ 33008 h 51815"/>
                    <a:gd name="connsiteX2" fmla="*/ 659 w 6845"/>
                    <a:gd name="connsiteY2" fmla="*/ 16442 h 51815"/>
                    <a:gd name="connsiteX3" fmla="*/ 1033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5891" y="51816"/>
                      </a:moveTo>
                      <a:cubicBezTo>
                        <a:pt x="7510" y="43595"/>
                        <a:pt x="6763" y="37243"/>
                        <a:pt x="5891" y="33008"/>
                      </a:cubicBezTo>
                      <a:cubicBezTo>
                        <a:pt x="4396" y="26157"/>
                        <a:pt x="1905" y="23417"/>
                        <a:pt x="659" y="16442"/>
                      </a:cubicBezTo>
                      <a:cubicBezTo>
                        <a:pt x="-587" y="9591"/>
                        <a:pt x="161" y="3737"/>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7" name="Freeform 7554">
                  <a:extLst>
                    <a:ext uri="{FF2B5EF4-FFF2-40B4-BE49-F238E27FC236}">
                      <a16:creationId xmlns:a16="http://schemas.microsoft.com/office/drawing/2014/main" id="{F41FFDE0-EAB6-52A7-D6C0-413B653B69B2}"/>
                    </a:ext>
                  </a:extLst>
                </p:cNvPr>
                <p:cNvSpPr/>
                <p:nvPr/>
              </p:nvSpPr>
              <p:spPr>
                <a:xfrm>
                  <a:off x="7300948" y="1870058"/>
                  <a:ext cx="6227" cy="51815"/>
                </a:xfrm>
                <a:custGeom>
                  <a:avLst/>
                  <a:gdLst>
                    <a:gd name="connsiteX0" fmla="*/ 0 w 6227"/>
                    <a:gd name="connsiteY0" fmla="*/ 0 h 51815"/>
                    <a:gd name="connsiteX1" fmla="*/ 3985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5" y="14075"/>
                        <a:pt x="3985" y="18435"/>
                      </a:cubicBezTo>
                      <a:cubicBezTo>
                        <a:pt x="3985" y="25410"/>
                        <a:pt x="2117" y="28648"/>
                        <a:pt x="2367" y="35748"/>
                      </a:cubicBezTo>
                      <a:cubicBezTo>
                        <a:pt x="2615"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8" name="Freeform 7555">
                  <a:extLst>
                    <a:ext uri="{FF2B5EF4-FFF2-40B4-BE49-F238E27FC236}">
                      <a16:creationId xmlns:a16="http://schemas.microsoft.com/office/drawing/2014/main" id="{B18D42FC-7A2D-FEA2-0E46-E952B8DE9C57}"/>
                    </a:ext>
                  </a:extLst>
                </p:cNvPr>
                <p:cNvSpPr/>
                <p:nvPr/>
              </p:nvSpPr>
              <p:spPr>
                <a:xfrm>
                  <a:off x="7297514" y="1910344"/>
                  <a:ext cx="26672" cy="26423"/>
                </a:xfrm>
                <a:custGeom>
                  <a:avLst/>
                  <a:gdLst>
                    <a:gd name="connsiteX0" fmla="*/ 71 w 26672"/>
                    <a:gd name="connsiteY0" fmla="*/ 14644 h 26423"/>
                    <a:gd name="connsiteX1" fmla="*/ 11904 w 26672"/>
                    <a:gd name="connsiteY1" fmla="*/ 71 h 26423"/>
                    <a:gd name="connsiteX2" fmla="*/ 26602 w 26672"/>
                    <a:gd name="connsiteY2" fmla="*/ 11780 h 26423"/>
                    <a:gd name="connsiteX3" fmla="*/ 14769 w 26672"/>
                    <a:gd name="connsiteY3" fmla="*/ 26353 h 26423"/>
                    <a:gd name="connsiteX4" fmla="*/ 71 w 26672"/>
                    <a:gd name="connsiteY4" fmla="*/ 14644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23">
                      <a:moveTo>
                        <a:pt x="71" y="14644"/>
                      </a:moveTo>
                      <a:cubicBezTo>
                        <a:pt x="-676" y="7420"/>
                        <a:pt x="4555" y="818"/>
                        <a:pt x="11904" y="71"/>
                      </a:cubicBezTo>
                      <a:cubicBezTo>
                        <a:pt x="19253" y="-676"/>
                        <a:pt x="25855" y="4555"/>
                        <a:pt x="26602" y="11780"/>
                      </a:cubicBezTo>
                      <a:cubicBezTo>
                        <a:pt x="27349" y="19004"/>
                        <a:pt x="22118" y="25605"/>
                        <a:pt x="14769" y="26353"/>
                      </a:cubicBezTo>
                      <a:cubicBezTo>
                        <a:pt x="7420" y="27100"/>
                        <a:pt x="943" y="21869"/>
                        <a:pt x="71"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9" name="Freeform 7556">
                  <a:extLst>
                    <a:ext uri="{FF2B5EF4-FFF2-40B4-BE49-F238E27FC236}">
                      <a16:creationId xmlns:a16="http://schemas.microsoft.com/office/drawing/2014/main" id="{F69E58E0-AF3C-42A4-B6FF-20CF2F39B883}"/>
                    </a:ext>
                  </a:extLst>
                </p:cNvPr>
                <p:cNvSpPr/>
                <p:nvPr/>
              </p:nvSpPr>
              <p:spPr>
                <a:xfrm>
                  <a:off x="7294014" y="1809274"/>
                  <a:ext cx="6845" cy="51815"/>
                </a:xfrm>
                <a:custGeom>
                  <a:avLst/>
                  <a:gdLst>
                    <a:gd name="connsiteX0" fmla="*/ 954 w 6845"/>
                    <a:gd name="connsiteY0" fmla="*/ 0 h 51815"/>
                    <a:gd name="connsiteX1" fmla="*/ 954 w 6845"/>
                    <a:gd name="connsiteY1" fmla="*/ 18808 h 51815"/>
                    <a:gd name="connsiteX2" fmla="*/ 6186 w 6845"/>
                    <a:gd name="connsiteY2" fmla="*/ 35374 h 51815"/>
                    <a:gd name="connsiteX3" fmla="*/ 5812 w 684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845" h="51815">
                      <a:moveTo>
                        <a:pt x="954" y="0"/>
                      </a:moveTo>
                      <a:cubicBezTo>
                        <a:pt x="-665" y="8221"/>
                        <a:pt x="82" y="14573"/>
                        <a:pt x="954" y="18808"/>
                      </a:cubicBezTo>
                      <a:cubicBezTo>
                        <a:pt x="2449" y="25659"/>
                        <a:pt x="4940" y="28399"/>
                        <a:pt x="6186" y="35374"/>
                      </a:cubicBezTo>
                      <a:cubicBezTo>
                        <a:pt x="7432" y="42225"/>
                        <a:pt x="6684" y="48079"/>
                        <a:pt x="5812"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0" name="Freeform 7557">
                  <a:extLst>
                    <a:ext uri="{FF2B5EF4-FFF2-40B4-BE49-F238E27FC236}">
                      <a16:creationId xmlns:a16="http://schemas.microsoft.com/office/drawing/2014/main" id="{E5F6A996-2ACA-D613-F949-A56B091E3301}"/>
                    </a:ext>
                  </a:extLst>
                </p:cNvPr>
                <p:cNvSpPr/>
                <p:nvPr/>
              </p:nvSpPr>
              <p:spPr>
                <a:xfrm>
                  <a:off x="7301321" y="1803420"/>
                  <a:ext cx="6352" cy="51815"/>
                </a:xfrm>
                <a:custGeom>
                  <a:avLst/>
                  <a:gdLst>
                    <a:gd name="connsiteX0" fmla="*/ 6353 w 6352"/>
                    <a:gd name="connsiteY0" fmla="*/ 51816 h 51815"/>
                    <a:gd name="connsiteX1" fmla="*/ 2367 w 6352"/>
                    <a:gd name="connsiteY1" fmla="*/ 33381 h 51815"/>
                    <a:gd name="connsiteX2" fmla="*/ 3861 w 6352"/>
                    <a:gd name="connsiteY2" fmla="*/ 16068 h 51815"/>
                    <a:gd name="connsiteX3" fmla="*/ 0 w 6352"/>
                    <a:gd name="connsiteY3" fmla="*/ 0 h 51815"/>
                  </a:gdLst>
                  <a:ahLst/>
                  <a:cxnLst>
                    <a:cxn ang="0">
                      <a:pos x="connsiteX0" y="connsiteY0"/>
                    </a:cxn>
                    <a:cxn ang="0">
                      <a:pos x="connsiteX1" y="connsiteY1"/>
                    </a:cxn>
                    <a:cxn ang="0">
                      <a:pos x="connsiteX2" y="connsiteY2"/>
                    </a:cxn>
                    <a:cxn ang="0">
                      <a:pos x="connsiteX3" y="connsiteY3"/>
                    </a:cxn>
                  </a:cxnLst>
                  <a:rect l="l" t="t" r="r" b="b"/>
                  <a:pathLst>
                    <a:path w="6352" h="51815">
                      <a:moveTo>
                        <a:pt x="6353" y="51816"/>
                      </a:moveTo>
                      <a:cubicBezTo>
                        <a:pt x="2989" y="44093"/>
                        <a:pt x="2367" y="37741"/>
                        <a:pt x="2367" y="33381"/>
                      </a:cubicBezTo>
                      <a:cubicBezTo>
                        <a:pt x="2367" y="26406"/>
                        <a:pt x="4235"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81" name="Freeform 7558">
                  <a:extLst>
                    <a:ext uri="{FF2B5EF4-FFF2-40B4-BE49-F238E27FC236}">
                      <a16:creationId xmlns:a16="http://schemas.microsoft.com/office/drawing/2014/main" id="{E6C4CC13-3588-7117-AF87-BF97956712C3}"/>
                    </a:ext>
                  </a:extLst>
                </p:cNvPr>
                <p:cNvSpPr/>
                <p:nvPr/>
              </p:nvSpPr>
              <p:spPr>
                <a:xfrm>
                  <a:off x="7284560" y="1788627"/>
                  <a:ext cx="26423" cy="26447"/>
                </a:xfrm>
                <a:custGeom>
                  <a:avLst/>
                  <a:gdLst>
                    <a:gd name="connsiteX0" fmla="*/ 26353 w 26423"/>
                    <a:gd name="connsiteY0" fmla="*/ 11803 h 26447"/>
                    <a:gd name="connsiteX1" fmla="*/ 14644 w 26423"/>
                    <a:gd name="connsiteY1" fmla="*/ 26377 h 26447"/>
                    <a:gd name="connsiteX2" fmla="*/ 71 w 26423"/>
                    <a:gd name="connsiteY2" fmla="*/ 14668 h 26447"/>
                    <a:gd name="connsiteX3" fmla="*/ 11780 w 26423"/>
                    <a:gd name="connsiteY3" fmla="*/ 95 h 26447"/>
                    <a:gd name="connsiteX4" fmla="*/ 26353 w 26423"/>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47">
                      <a:moveTo>
                        <a:pt x="26353" y="11803"/>
                      </a:moveTo>
                      <a:cubicBezTo>
                        <a:pt x="27100" y="19028"/>
                        <a:pt x="21869" y="25629"/>
                        <a:pt x="14644" y="26377"/>
                      </a:cubicBezTo>
                      <a:cubicBezTo>
                        <a:pt x="7420" y="27124"/>
                        <a:pt x="818" y="21893"/>
                        <a:pt x="71" y="14668"/>
                      </a:cubicBezTo>
                      <a:cubicBezTo>
                        <a:pt x="-676" y="7444"/>
                        <a:pt x="4555" y="842"/>
                        <a:pt x="11780" y="95"/>
                      </a:cubicBezTo>
                      <a:cubicBezTo>
                        <a:pt x="19003" y="-777"/>
                        <a:pt x="25481" y="4454"/>
                        <a:pt x="26353"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7" name="Graphic 2987">
                <a:extLst>
                  <a:ext uri="{FF2B5EF4-FFF2-40B4-BE49-F238E27FC236}">
                    <a16:creationId xmlns:a16="http://schemas.microsoft.com/office/drawing/2014/main" id="{03A7BBF3-5795-9431-58B1-A866AAEB175D}"/>
                  </a:ext>
                </a:extLst>
              </p:cNvPr>
              <p:cNvGrpSpPr/>
              <p:nvPr/>
            </p:nvGrpSpPr>
            <p:grpSpPr>
              <a:xfrm>
                <a:off x="7255288" y="1791765"/>
                <a:ext cx="39253" cy="148263"/>
                <a:chOff x="7255288" y="1791765"/>
                <a:chExt cx="39253" cy="148263"/>
              </a:xfrm>
              <a:grpFill/>
            </p:grpSpPr>
            <p:sp>
              <p:nvSpPr>
                <p:cNvPr id="6570" name="Freeform 7560">
                  <a:extLst>
                    <a:ext uri="{FF2B5EF4-FFF2-40B4-BE49-F238E27FC236}">
                      <a16:creationId xmlns:a16="http://schemas.microsoft.com/office/drawing/2014/main" id="{CE7608EC-EEED-2D48-B9A9-C9A87696904C}"/>
                    </a:ext>
                  </a:extLst>
                </p:cNvPr>
                <p:cNvSpPr/>
                <p:nvPr/>
              </p:nvSpPr>
              <p:spPr>
                <a:xfrm>
                  <a:off x="7278274" y="1867443"/>
                  <a:ext cx="6852" cy="51940"/>
                </a:xfrm>
                <a:custGeom>
                  <a:avLst/>
                  <a:gdLst>
                    <a:gd name="connsiteX0" fmla="*/ 5858 w 6852"/>
                    <a:gd name="connsiteY0" fmla="*/ 51941 h 51940"/>
                    <a:gd name="connsiteX1" fmla="*/ 5858 w 6852"/>
                    <a:gd name="connsiteY1" fmla="*/ 33132 h 51940"/>
                    <a:gd name="connsiteX2" fmla="*/ 627 w 6852"/>
                    <a:gd name="connsiteY2" fmla="*/ 16566 h 51940"/>
                    <a:gd name="connsiteX3" fmla="*/ 1000 w 6852"/>
                    <a:gd name="connsiteY3" fmla="*/ 0 h 51940"/>
                  </a:gdLst>
                  <a:ahLst/>
                  <a:cxnLst>
                    <a:cxn ang="0">
                      <a:pos x="connsiteX0" y="connsiteY0"/>
                    </a:cxn>
                    <a:cxn ang="0">
                      <a:pos x="connsiteX1" y="connsiteY1"/>
                    </a:cxn>
                    <a:cxn ang="0">
                      <a:pos x="connsiteX2" y="connsiteY2"/>
                    </a:cxn>
                    <a:cxn ang="0">
                      <a:pos x="connsiteX3" y="connsiteY3"/>
                    </a:cxn>
                  </a:cxnLst>
                  <a:rect l="l" t="t" r="r" b="b"/>
                  <a:pathLst>
                    <a:path w="6851" h="51940">
                      <a:moveTo>
                        <a:pt x="5858" y="51941"/>
                      </a:moveTo>
                      <a:cubicBezTo>
                        <a:pt x="7477" y="43720"/>
                        <a:pt x="6854" y="37367"/>
                        <a:pt x="5858" y="33132"/>
                      </a:cubicBezTo>
                      <a:cubicBezTo>
                        <a:pt x="4363" y="26282"/>
                        <a:pt x="1872" y="23541"/>
                        <a:pt x="627" y="16566"/>
                      </a:cubicBezTo>
                      <a:cubicBezTo>
                        <a:pt x="-619" y="9715"/>
                        <a:pt x="253" y="3861"/>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1" name="Freeform 7561">
                  <a:extLst>
                    <a:ext uri="{FF2B5EF4-FFF2-40B4-BE49-F238E27FC236}">
                      <a16:creationId xmlns:a16="http://schemas.microsoft.com/office/drawing/2014/main" id="{3E73CE99-4CDB-610D-8FAC-604327A5B9C1}"/>
                    </a:ext>
                  </a:extLst>
                </p:cNvPr>
                <p:cNvSpPr/>
                <p:nvPr/>
              </p:nvSpPr>
              <p:spPr>
                <a:xfrm>
                  <a:off x="7271552" y="1873297"/>
                  <a:ext cx="6227" cy="51815"/>
                </a:xfrm>
                <a:custGeom>
                  <a:avLst/>
                  <a:gdLst>
                    <a:gd name="connsiteX0" fmla="*/ 0 w 6227"/>
                    <a:gd name="connsiteY0" fmla="*/ 0 h 51815"/>
                    <a:gd name="connsiteX1" fmla="*/ 3986 w 6227"/>
                    <a:gd name="connsiteY1" fmla="*/ 18435 h 51815"/>
                    <a:gd name="connsiteX2" fmla="*/ 2367 w 6227"/>
                    <a:gd name="connsiteY2" fmla="*/ 35748 h 51815"/>
                    <a:gd name="connsiteX3" fmla="*/ 6228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2" name="Freeform 7562">
                  <a:extLst>
                    <a:ext uri="{FF2B5EF4-FFF2-40B4-BE49-F238E27FC236}">
                      <a16:creationId xmlns:a16="http://schemas.microsoft.com/office/drawing/2014/main" id="{A0642E54-C373-DB01-83A8-FD096A45BBEA}"/>
                    </a:ext>
                  </a:extLst>
                </p:cNvPr>
                <p:cNvSpPr/>
                <p:nvPr/>
              </p:nvSpPr>
              <p:spPr>
                <a:xfrm>
                  <a:off x="7267870" y="1913583"/>
                  <a:ext cx="26671" cy="26445"/>
                </a:xfrm>
                <a:custGeom>
                  <a:avLst/>
                  <a:gdLst>
                    <a:gd name="connsiteX0" fmla="*/ 70 w 26671"/>
                    <a:gd name="connsiteY0" fmla="*/ 14644 h 26445"/>
                    <a:gd name="connsiteX1" fmla="*/ 11903 w 26671"/>
                    <a:gd name="connsiteY1" fmla="*/ 71 h 26445"/>
                    <a:gd name="connsiteX2" fmla="*/ 26600 w 26671"/>
                    <a:gd name="connsiteY2" fmla="*/ 11779 h 26445"/>
                    <a:gd name="connsiteX3" fmla="*/ 14767 w 26671"/>
                    <a:gd name="connsiteY3" fmla="*/ 26353 h 26445"/>
                    <a:gd name="connsiteX4" fmla="*/ 70 w 26671"/>
                    <a:gd name="connsiteY4" fmla="*/ 14644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45">
                      <a:moveTo>
                        <a:pt x="70" y="14644"/>
                      </a:moveTo>
                      <a:cubicBezTo>
                        <a:pt x="-678" y="7420"/>
                        <a:pt x="4678" y="818"/>
                        <a:pt x="11903" y="71"/>
                      </a:cubicBezTo>
                      <a:cubicBezTo>
                        <a:pt x="19251" y="-676"/>
                        <a:pt x="25728" y="4555"/>
                        <a:pt x="26600" y="11779"/>
                      </a:cubicBezTo>
                      <a:cubicBezTo>
                        <a:pt x="27348" y="19004"/>
                        <a:pt x="22117" y="25605"/>
                        <a:pt x="14767" y="26353"/>
                      </a:cubicBezTo>
                      <a:cubicBezTo>
                        <a:pt x="7419" y="27225"/>
                        <a:pt x="942" y="21869"/>
                        <a:pt x="70" y="14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3" name="Freeform 7563">
                  <a:extLst>
                    <a:ext uri="{FF2B5EF4-FFF2-40B4-BE49-F238E27FC236}">
                      <a16:creationId xmlns:a16="http://schemas.microsoft.com/office/drawing/2014/main" id="{0A89B3B4-A0F4-D1B4-15E7-11BE80C7DD88}"/>
                    </a:ext>
                  </a:extLst>
                </p:cNvPr>
                <p:cNvSpPr/>
                <p:nvPr/>
              </p:nvSpPr>
              <p:spPr>
                <a:xfrm>
                  <a:off x="7264579" y="1812513"/>
                  <a:ext cx="6846" cy="51940"/>
                </a:xfrm>
                <a:custGeom>
                  <a:avLst/>
                  <a:gdLst>
                    <a:gd name="connsiteX0" fmla="*/ 995 w 6846"/>
                    <a:gd name="connsiteY0" fmla="*/ 0 h 51940"/>
                    <a:gd name="connsiteX1" fmla="*/ 995 w 6846"/>
                    <a:gd name="connsiteY1" fmla="*/ 18808 h 51940"/>
                    <a:gd name="connsiteX2" fmla="*/ 6226 w 6846"/>
                    <a:gd name="connsiteY2" fmla="*/ 35374 h 51940"/>
                    <a:gd name="connsiteX3" fmla="*/ 5728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995" y="0"/>
                      </a:moveTo>
                      <a:cubicBezTo>
                        <a:pt x="-625" y="8221"/>
                        <a:pt x="-2" y="14573"/>
                        <a:pt x="995" y="18808"/>
                      </a:cubicBezTo>
                      <a:cubicBezTo>
                        <a:pt x="2489" y="25659"/>
                        <a:pt x="4980" y="28399"/>
                        <a:pt x="6226" y="35374"/>
                      </a:cubicBezTo>
                      <a:cubicBezTo>
                        <a:pt x="7472" y="42225"/>
                        <a:pt x="6600" y="48079"/>
                        <a:pt x="572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4" name="Freeform 7564">
                  <a:extLst>
                    <a:ext uri="{FF2B5EF4-FFF2-40B4-BE49-F238E27FC236}">
                      <a16:creationId xmlns:a16="http://schemas.microsoft.com/office/drawing/2014/main" id="{007006B5-4DA8-6872-1F88-0C1D1EAE203F}"/>
                    </a:ext>
                  </a:extLst>
                </p:cNvPr>
                <p:cNvSpPr/>
                <p:nvPr/>
              </p:nvSpPr>
              <p:spPr>
                <a:xfrm>
                  <a:off x="7271926" y="1806659"/>
                  <a:ext cx="6227" cy="51815"/>
                </a:xfrm>
                <a:custGeom>
                  <a:avLst/>
                  <a:gdLst>
                    <a:gd name="connsiteX0" fmla="*/ 6228 w 6227"/>
                    <a:gd name="connsiteY0" fmla="*/ 51816 h 51815"/>
                    <a:gd name="connsiteX1" fmla="*/ 2242 w 6227"/>
                    <a:gd name="connsiteY1" fmla="*/ 33381 h 51815"/>
                    <a:gd name="connsiteX2" fmla="*/ 3861 w 6227"/>
                    <a:gd name="connsiteY2" fmla="*/ 16068 h 51815"/>
                    <a:gd name="connsiteX3" fmla="*/ 0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51816"/>
                      </a:moveTo>
                      <a:cubicBezTo>
                        <a:pt x="2865" y="44093"/>
                        <a:pt x="2242" y="37741"/>
                        <a:pt x="2242" y="33381"/>
                      </a:cubicBezTo>
                      <a:cubicBezTo>
                        <a:pt x="2242" y="26406"/>
                        <a:pt x="4111"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75" name="Freeform 7565">
                  <a:extLst>
                    <a:ext uri="{FF2B5EF4-FFF2-40B4-BE49-F238E27FC236}">
                      <a16:creationId xmlns:a16="http://schemas.microsoft.com/office/drawing/2014/main" id="{20DE62ED-5B69-5510-FB81-8946735CDE7B}"/>
                    </a:ext>
                  </a:extLst>
                </p:cNvPr>
                <p:cNvSpPr/>
                <p:nvPr/>
              </p:nvSpPr>
              <p:spPr>
                <a:xfrm>
                  <a:off x="7255288" y="1791765"/>
                  <a:ext cx="26299" cy="26423"/>
                </a:xfrm>
                <a:custGeom>
                  <a:avLst/>
                  <a:gdLst>
                    <a:gd name="connsiteX0" fmla="*/ 26229 w 26299"/>
                    <a:gd name="connsiteY0" fmla="*/ 11779 h 26423"/>
                    <a:gd name="connsiteX1" fmla="*/ 14520 w 26299"/>
                    <a:gd name="connsiteY1" fmla="*/ 26353 h 26423"/>
                    <a:gd name="connsiteX2" fmla="*/ 71 w 26299"/>
                    <a:gd name="connsiteY2" fmla="*/ 14644 h 26423"/>
                    <a:gd name="connsiteX3" fmla="*/ 11780 w 26299"/>
                    <a:gd name="connsiteY3" fmla="*/ 71 h 26423"/>
                    <a:gd name="connsiteX4" fmla="*/ 26229 w 26299"/>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23">
                      <a:moveTo>
                        <a:pt x="26229" y="11779"/>
                      </a:moveTo>
                      <a:cubicBezTo>
                        <a:pt x="26976" y="19004"/>
                        <a:pt x="21744" y="25605"/>
                        <a:pt x="14520" y="26353"/>
                      </a:cubicBezTo>
                      <a:cubicBezTo>
                        <a:pt x="7296" y="27100"/>
                        <a:pt x="818" y="21869"/>
                        <a:pt x="71" y="14644"/>
                      </a:cubicBezTo>
                      <a:cubicBezTo>
                        <a:pt x="-676" y="7420"/>
                        <a:pt x="4555" y="818"/>
                        <a:pt x="11780" y="71"/>
                      </a:cubicBezTo>
                      <a:cubicBezTo>
                        <a:pt x="19004" y="-676"/>
                        <a:pt x="25481" y="4555"/>
                        <a:pt x="26229"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8" name="Graphic 2987">
                <a:extLst>
                  <a:ext uri="{FF2B5EF4-FFF2-40B4-BE49-F238E27FC236}">
                    <a16:creationId xmlns:a16="http://schemas.microsoft.com/office/drawing/2014/main" id="{A2066346-1E2F-8EF3-C585-27A2D61F2693}"/>
                  </a:ext>
                </a:extLst>
              </p:cNvPr>
              <p:cNvGrpSpPr/>
              <p:nvPr/>
            </p:nvGrpSpPr>
            <p:grpSpPr>
              <a:xfrm>
                <a:off x="7226018" y="1795004"/>
                <a:ext cx="38877" cy="148263"/>
                <a:chOff x="7226018" y="1795004"/>
                <a:chExt cx="38877" cy="148263"/>
              </a:xfrm>
              <a:grpFill/>
            </p:grpSpPr>
            <p:sp>
              <p:nvSpPr>
                <p:cNvPr id="6564" name="Freeform 7567">
                  <a:extLst>
                    <a:ext uri="{FF2B5EF4-FFF2-40B4-BE49-F238E27FC236}">
                      <a16:creationId xmlns:a16="http://schemas.microsoft.com/office/drawing/2014/main" id="{92914C57-C9E6-ACCF-C33C-1440363ABB95}"/>
                    </a:ext>
                  </a:extLst>
                </p:cNvPr>
                <p:cNvSpPr/>
                <p:nvPr/>
              </p:nvSpPr>
              <p:spPr>
                <a:xfrm>
                  <a:off x="7248760" y="1870681"/>
                  <a:ext cx="6722" cy="51940"/>
                </a:xfrm>
                <a:custGeom>
                  <a:avLst/>
                  <a:gdLst>
                    <a:gd name="connsiteX0" fmla="*/ 5728 w 6722"/>
                    <a:gd name="connsiteY0" fmla="*/ 51941 h 51940"/>
                    <a:gd name="connsiteX1" fmla="*/ 5728 w 6722"/>
                    <a:gd name="connsiteY1" fmla="*/ 33132 h 51940"/>
                    <a:gd name="connsiteX2" fmla="*/ 621 w 6722"/>
                    <a:gd name="connsiteY2" fmla="*/ 16566 h 51940"/>
                    <a:gd name="connsiteX3" fmla="*/ 1119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51941"/>
                      </a:moveTo>
                      <a:cubicBezTo>
                        <a:pt x="7347" y="43720"/>
                        <a:pt x="6724" y="37367"/>
                        <a:pt x="5728" y="33132"/>
                      </a:cubicBezTo>
                      <a:cubicBezTo>
                        <a:pt x="4233" y="26282"/>
                        <a:pt x="1742" y="23541"/>
                        <a:pt x="621" y="16566"/>
                      </a:cubicBezTo>
                      <a:cubicBezTo>
                        <a:pt x="-625" y="9715"/>
                        <a:pt x="247" y="3861"/>
                        <a:pt x="11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5" name="Freeform 7568">
                  <a:extLst>
                    <a:ext uri="{FF2B5EF4-FFF2-40B4-BE49-F238E27FC236}">
                      <a16:creationId xmlns:a16="http://schemas.microsoft.com/office/drawing/2014/main" id="{605D638C-C567-4ACC-80A6-75E6EE7719B7}"/>
                    </a:ext>
                  </a:extLst>
                </p:cNvPr>
                <p:cNvSpPr/>
                <p:nvPr/>
              </p:nvSpPr>
              <p:spPr>
                <a:xfrm>
                  <a:off x="7242032" y="1876535"/>
                  <a:ext cx="6103" cy="51815"/>
                </a:xfrm>
                <a:custGeom>
                  <a:avLst/>
                  <a:gdLst>
                    <a:gd name="connsiteX0" fmla="*/ 0 w 6103"/>
                    <a:gd name="connsiteY0" fmla="*/ 0 h 51815"/>
                    <a:gd name="connsiteX1" fmla="*/ 3861 w 6103"/>
                    <a:gd name="connsiteY1" fmla="*/ 18435 h 51815"/>
                    <a:gd name="connsiteX2" fmla="*/ 2242 w 6103"/>
                    <a:gd name="connsiteY2" fmla="*/ 35748 h 51815"/>
                    <a:gd name="connsiteX3" fmla="*/ 6103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0" y="0"/>
                      </a:moveTo>
                      <a:cubicBezTo>
                        <a:pt x="3239" y="7723"/>
                        <a:pt x="3861" y="14075"/>
                        <a:pt x="3861" y="18435"/>
                      </a:cubicBezTo>
                      <a:cubicBezTo>
                        <a:pt x="3737" y="25410"/>
                        <a:pt x="1993" y="28648"/>
                        <a:pt x="2242" y="35748"/>
                      </a:cubicBezTo>
                      <a:cubicBezTo>
                        <a:pt x="2491" y="42599"/>
                        <a:pt x="4485" y="48204"/>
                        <a:pt x="610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6" name="Freeform 7569">
                  <a:extLst>
                    <a:ext uri="{FF2B5EF4-FFF2-40B4-BE49-F238E27FC236}">
                      <a16:creationId xmlns:a16="http://schemas.microsoft.com/office/drawing/2014/main" id="{C83E91DF-63C9-DB94-96D6-EAA2EB477F4C}"/>
                    </a:ext>
                  </a:extLst>
                </p:cNvPr>
                <p:cNvSpPr/>
                <p:nvPr/>
              </p:nvSpPr>
              <p:spPr>
                <a:xfrm>
                  <a:off x="7238226" y="1916696"/>
                  <a:ext cx="26670" cy="26570"/>
                </a:xfrm>
                <a:custGeom>
                  <a:avLst/>
                  <a:gdLst>
                    <a:gd name="connsiteX0" fmla="*/ 70 w 26670"/>
                    <a:gd name="connsiteY0" fmla="*/ 14769 h 26570"/>
                    <a:gd name="connsiteX1" fmla="*/ 12027 w 26670"/>
                    <a:gd name="connsiteY1" fmla="*/ 71 h 26570"/>
                    <a:gd name="connsiteX2" fmla="*/ 26600 w 26670"/>
                    <a:gd name="connsiteY2" fmla="*/ 11779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79"/>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7" name="Freeform 7570">
                  <a:extLst>
                    <a:ext uri="{FF2B5EF4-FFF2-40B4-BE49-F238E27FC236}">
                      <a16:creationId xmlns:a16="http://schemas.microsoft.com/office/drawing/2014/main" id="{D682A4ED-A7DD-DD82-5185-50C35A882F3E}"/>
                    </a:ext>
                  </a:extLst>
                </p:cNvPr>
                <p:cNvSpPr/>
                <p:nvPr/>
              </p:nvSpPr>
              <p:spPr>
                <a:xfrm>
                  <a:off x="7235308" y="1815627"/>
                  <a:ext cx="6721" cy="51940"/>
                </a:xfrm>
                <a:custGeom>
                  <a:avLst/>
                  <a:gdLst>
                    <a:gd name="connsiteX0" fmla="*/ 995 w 6721"/>
                    <a:gd name="connsiteY0" fmla="*/ 0 h 51940"/>
                    <a:gd name="connsiteX1" fmla="*/ 995 w 6721"/>
                    <a:gd name="connsiteY1" fmla="*/ 18808 h 51940"/>
                    <a:gd name="connsiteX2" fmla="*/ 6101 w 6721"/>
                    <a:gd name="connsiteY2" fmla="*/ 35374 h 51940"/>
                    <a:gd name="connsiteX3" fmla="*/ 5603 w 672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1" h="51940">
                      <a:moveTo>
                        <a:pt x="995" y="0"/>
                      </a:moveTo>
                      <a:cubicBezTo>
                        <a:pt x="-625" y="8221"/>
                        <a:pt x="-2" y="14573"/>
                        <a:pt x="995" y="18808"/>
                      </a:cubicBezTo>
                      <a:cubicBezTo>
                        <a:pt x="2489" y="25659"/>
                        <a:pt x="4856" y="28399"/>
                        <a:pt x="6101" y="35374"/>
                      </a:cubicBezTo>
                      <a:cubicBezTo>
                        <a:pt x="7346" y="42225"/>
                        <a:pt x="6475" y="48079"/>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8" name="Freeform 7571">
                  <a:extLst>
                    <a:ext uri="{FF2B5EF4-FFF2-40B4-BE49-F238E27FC236}">
                      <a16:creationId xmlns:a16="http://schemas.microsoft.com/office/drawing/2014/main" id="{FBBBDACE-FBFA-DAB4-E5CC-43F4540F2A6A}"/>
                    </a:ext>
                  </a:extLst>
                </p:cNvPr>
                <p:cNvSpPr/>
                <p:nvPr/>
              </p:nvSpPr>
              <p:spPr>
                <a:xfrm>
                  <a:off x="7242654" y="1809897"/>
                  <a:ext cx="6103" cy="51815"/>
                </a:xfrm>
                <a:custGeom>
                  <a:avLst/>
                  <a:gdLst>
                    <a:gd name="connsiteX0" fmla="*/ 6104 w 6103"/>
                    <a:gd name="connsiteY0" fmla="*/ 51816 h 51815"/>
                    <a:gd name="connsiteX1" fmla="*/ 2243 w 6103"/>
                    <a:gd name="connsiteY1" fmla="*/ 33381 h 51815"/>
                    <a:gd name="connsiteX2" fmla="*/ 3862 w 6103"/>
                    <a:gd name="connsiteY2" fmla="*/ 16068 h 51815"/>
                    <a:gd name="connsiteX3" fmla="*/ 0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51816"/>
                      </a:moveTo>
                      <a:cubicBezTo>
                        <a:pt x="2865" y="44093"/>
                        <a:pt x="2243" y="37741"/>
                        <a:pt x="2243" y="33381"/>
                      </a:cubicBezTo>
                      <a:cubicBezTo>
                        <a:pt x="2243" y="26406"/>
                        <a:pt x="4111" y="23168"/>
                        <a:pt x="3862" y="16068"/>
                      </a:cubicBezTo>
                      <a:cubicBezTo>
                        <a:pt x="3613"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9" name="Freeform 7572">
                  <a:extLst>
                    <a:ext uri="{FF2B5EF4-FFF2-40B4-BE49-F238E27FC236}">
                      <a16:creationId xmlns:a16="http://schemas.microsoft.com/office/drawing/2014/main" id="{DD406A57-1129-F1B3-E27D-883AD4307AE1}"/>
                    </a:ext>
                  </a:extLst>
                </p:cNvPr>
                <p:cNvSpPr/>
                <p:nvPr/>
              </p:nvSpPr>
              <p:spPr>
                <a:xfrm>
                  <a:off x="7226018" y="1795004"/>
                  <a:ext cx="26298" cy="26423"/>
                </a:xfrm>
                <a:custGeom>
                  <a:avLst/>
                  <a:gdLst>
                    <a:gd name="connsiteX0" fmla="*/ 26228 w 26298"/>
                    <a:gd name="connsiteY0" fmla="*/ 11779 h 26423"/>
                    <a:gd name="connsiteX1" fmla="*/ 14519 w 26298"/>
                    <a:gd name="connsiteY1" fmla="*/ 26353 h 26423"/>
                    <a:gd name="connsiteX2" fmla="*/ 71 w 26298"/>
                    <a:gd name="connsiteY2" fmla="*/ 14644 h 26423"/>
                    <a:gd name="connsiteX3" fmla="*/ 11780 w 26298"/>
                    <a:gd name="connsiteY3" fmla="*/ 71 h 26423"/>
                    <a:gd name="connsiteX4" fmla="*/ 26228 w 26298"/>
                    <a:gd name="connsiteY4" fmla="*/ 11779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423">
                      <a:moveTo>
                        <a:pt x="26228" y="11779"/>
                      </a:moveTo>
                      <a:cubicBezTo>
                        <a:pt x="26975" y="19004"/>
                        <a:pt x="21744" y="25605"/>
                        <a:pt x="14519" y="26353"/>
                      </a:cubicBezTo>
                      <a:cubicBezTo>
                        <a:pt x="7295" y="27100"/>
                        <a:pt x="818" y="21869"/>
                        <a:pt x="71" y="14644"/>
                      </a:cubicBezTo>
                      <a:cubicBezTo>
                        <a:pt x="-676" y="7420"/>
                        <a:pt x="4555" y="818"/>
                        <a:pt x="11780" y="71"/>
                      </a:cubicBezTo>
                      <a:cubicBezTo>
                        <a:pt x="19003" y="-676"/>
                        <a:pt x="25481" y="4555"/>
                        <a:pt x="26228" y="117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39" name="Graphic 2987">
                <a:extLst>
                  <a:ext uri="{FF2B5EF4-FFF2-40B4-BE49-F238E27FC236}">
                    <a16:creationId xmlns:a16="http://schemas.microsoft.com/office/drawing/2014/main" id="{35B6FDFF-B66B-3A8E-7E6C-F14332B07062}"/>
                  </a:ext>
                </a:extLst>
              </p:cNvPr>
              <p:cNvGrpSpPr/>
              <p:nvPr/>
            </p:nvGrpSpPr>
            <p:grpSpPr>
              <a:xfrm>
                <a:off x="7196624" y="1798218"/>
                <a:ext cx="38627" cy="148287"/>
                <a:chOff x="7196624" y="1798218"/>
                <a:chExt cx="38627" cy="148287"/>
              </a:xfrm>
              <a:grpFill/>
            </p:grpSpPr>
            <p:sp>
              <p:nvSpPr>
                <p:cNvPr id="6558" name="Freeform 7574">
                  <a:extLst>
                    <a:ext uri="{FF2B5EF4-FFF2-40B4-BE49-F238E27FC236}">
                      <a16:creationId xmlns:a16="http://schemas.microsoft.com/office/drawing/2014/main" id="{671B0026-A0AE-A5BF-6680-83F769BA6CC1}"/>
                    </a:ext>
                  </a:extLst>
                </p:cNvPr>
                <p:cNvSpPr/>
                <p:nvPr/>
              </p:nvSpPr>
              <p:spPr>
                <a:xfrm>
                  <a:off x="7219295" y="1873920"/>
                  <a:ext cx="6553" cy="51940"/>
                </a:xfrm>
                <a:custGeom>
                  <a:avLst/>
                  <a:gdLst>
                    <a:gd name="connsiteX0" fmla="*/ 5548 w 6553"/>
                    <a:gd name="connsiteY0" fmla="*/ 51941 h 51940"/>
                    <a:gd name="connsiteX1" fmla="*/ 5672 w 6553"/>
                    <a:gd name="connsiteY1" fmla="*/ 33132 h 51940"/>
                    <a:gd name="connsiteX2" fmla="*/ 566 w 6553"/>
                    <a:gd name="connsiteY2" fmla="*/ 16566 h 51940"/>
                    <a:gd name="connsiteX3" fmla="*/ 1064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2" y="33132"/>
                      </a:cubicBezTo>
                      <a:cubicBezTo>
                        <a:pt x="4178" y="26282"/>
                        <a:pt x="1811" y="23541"/>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9" name="Freeform 7575">
                  <a:extLst>
                    <a:ext uri="{FF2B5EF4-FFF2-40B4-BE49-F238E27FC236}">
                      <a16:creationId xmlns:a16="http://schemas.microsoft.com/office/drawing/2014/main" id="{D386A282-7E51-F569-B2E7-22AE150E71A4}"/>
                    </a:ext>
                  </a:extLst>
                </p:cNvPr>
                <p:cNvSpPr/>
                <p:nvPr/>
              </p:nvSpPr>
              <p:spPr>
                <a:xfrm>
                  <a:off x="7212512" y="1879774"/>
                  <a:ext cx="5854" cy="51815"/>
                </a:xfrm>
                <a:custGeom>
                  <a:avLst/>
                  <a:gdLst>
                    <a:gd name="connsiteX0" fmla="*/ 0 w 5854"/>
                    <a:gd name="connsiteY0" fmla="*/ 0 h 51815"/>
                    <a:gd name="connsiteX1" fmla="*/ 3861 w 5854"/>
                    <a:gd name="connsiteY1" fmla="*/ 18435 h 51815"/>
                    <a:gd name="connsiteX2" fmla="*/ 2117 w 5854"/>
                    <a:gd name="connsiteY2" fmla="*/ 35748 h 51815"/>
                    <a:gd name="connsiteX3" fmla="*/ 5855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0" y="0"/>
                      </a:moveTo>
                      <a:cubicBezTo>
                        <a:pt x="3239" y="7723"/>
                        <a:pt x="3861" y="14075"/>
                        <a:pt x="3861" y="18435"/>
                      </a:cubicBezTo>
                      <a:cubicBezTo>
                        <a:pt x="3737" y="25410"/>
                        <a:pt x="1993" y="28648"/>
                        <a:pt x="2117" y="35748"/>
                      </a:cubicBezTo>
                      <a:cubicBezTo>
                        <a:pt x="2367" y="42599"/>
                        <a:pt x="4235" y="48204"/>
                        <a:pt x="585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0" name="Freeform 7576">
                  <a:extLst>
                    <a:ext uri="{FF2B5EF4-FFF2-40B4-BE49-F238E27FC236}">
                      <a16:creationId xmlns:a16="http://schemas.microsoft.com/office/drawing/2014/main" id="{1F4D7012-451F-BF24-8FBC-19C904D4277D}"/>
                    </a:ext>
                  </a:extLst>
                </p:cNvPr>
                <p:cNvSpPr/>
                <p:nvPr/>
              </p:nvSpPr>
              <p:spPr>
                <a:xfrm>
                  <a:off x="7208581" y="1919935"/>
                  <a:ext cx="26670" cy="26570"/>
                </a:xfrm>
                <a:custGeom>
                  <a:avLst/>
                  <a:gdLst>
                    <a:gd name="connsiteX0" fmla="*/ 70 w 26670"/>
                    <a:gd name="connsiteY0" fmla="*/ 14769 h 26570"/>
                    <a:gd name="connsiteX1" fmla="*/ 12027 w 26670"/>
                    <a:gd name="connsiteY1" fmla="*/ 71 h 26570"/>
                    <a:gd name="connsiteX2" fmla="*/ 26600 w 26670"/>
                    <a:gd name="connsiteY2" fmla="*/ 11780 h 26570"/>
                    <a:gd name="connsiteX3" fmla="*/ 14643 w 26670"/>
                    <a:gd name="connsiteY3" fmla="*/ 26477 h 26570"/>
                    <a:gd name="connsiteX4" fmla="*/ 70 w 26670"/>
                    <a:gd name="connsiteY4" fmla="*/ 14769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70">
                      <a:moveTo>
                        <a:pt x="70" y="14769"/>
                      </a:moveTo>
                      <a:cubicBezTo>
                        <a:pt x="-678" y="7545"/>
                        <a:pt x="4678" y="943"/>
                        <a:pt x="12027" y="71"/>
                      </a:cubicBezTo>
                      <a:cubicBezTo>
                        <a:pt x="19376" y="-676"/>
                        <a:pt x="25853" y="4555"/>
                        <a:pt x="26600" y="11780"/>
                      </a:cubicBezTo>
                      <a:cubicBezTo>
                        <a:pt x="27348" y="19004"/>
                        <a:pt x="21992" y="25605"/>
                        <a:pt x="14643" y="26477"/>
                      </a:cubicBezTo>
                      <a:cubicBezTo>
                        <a:pt x="7419" y="27349"/>
                        <a:pt x="817" y="21993"/>
                        <a:pt x="70"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1" name="Freeform 7577">
                  <a:extLst>
                    <a:ext uri="{FF2B5EF4-FFF2-40B4-BE49-F238E27FC236}">
                      <a16:creationId xmlns:a16="http://schemas.microsoft.com/office/drawing/2014/main" id="{4E27AC4B-B4B8-0AD1-52E6-800937164DC7}"/>
                    </a:ext>
                  </a:extLst>
                </p:cNvPr>
                <p:cNvSpPr/>
                <p:nvPr/>
              </p:nvSpPr>
              <p:spPr>
                <a:xfrm>
                  <a:off x="7205901" y="1818865"/>
                  <a:ext cx="6553" cy="51940"/>
                </a:xfrm>
                <a:custGeom>
                  <a:avLst/>
                  <a:gdLst>
                    <a:gd name="connsiteX0" fmla="*/ 1005 w 6553"/>
                    <a:gd name="connsiteY0" fmla="*/ 0 h 51940"/>
                    <a:gd name="connsiteX1" fmla="*/ 881 w 6553"/>
                    <a:gd name="connsiteY1" fmla="*/ 18808 h 51940"/>
                    <a:gd name="connsiteX2" fmla="*/ 5988 w 6553"/>
                    <a:gd name="connsiteY2" fmla="*/ 35374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5" y="0"/>
                      </a:moveTo>
                      <a:cubicBezTo>
                        <a:pt x="-614" y="8221"/>
                        <a:pt x="9" y="14573"/>
                        <a:pt x="881" y="18808"/>
                      </a:cubicBezTo>
                      <a:cubicBezTo>
                        <a:pt x="2376" y="25659"/>
                        <a:pt x="4743" y="28399"/>
                        <a:pt x="5988" y="35374"/>
                      </a:cubicBezTo>
                      <a:cubicBezTo>
                        <a:pt x="7109" y="42225"/>
                        <a:pt x="6362" y="48079"/>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2" name="Freeform 7578">
                  <a:extLst>
                    <a:ext uri="{FF2B5EF4-FFF2-40B4-BE49-F238E27FC236}">
                      <a16:creationId xmlns:a16="http://schemas.microsoft.com/office/drawing/2014/main" id="{72254204-F3F5-94F7-F6DE-4C101259CEE5}"/>
                    </a:ext>
                  </a:extLst>
                </p:cNvPr>
                <p:cNvSpPr/>
                <p:nvPr/>
              </p:nvSpPr>
              <p:spPr>
                <a:xfrm>
                  <a:off x="7213384" y="1813136"/>
                  <a:ext cx="5854" cy="51815"/>
                </a:xfrm>
                <a:custGeom>
                  <a:avLst/>
                  <a:gdLst>
                    <a:gd name="connsiteX0" fmla="*/ 5855 w 5854"/>
                    <a:gd name="connsiteY0" fmla="*/ 51816 h 51815"/>
                    <a:gd name="connsiteX1" fmla="*/ 1993 w 5854"/>
                    <a:gd name="connsiteY1" fmla="*/ 33381 h 51815"/>
                    <a:gd name="connsiteX2" fmla="*/ 3737 w 5854"/>
                    <a:gd name="connsiteY2" fmla="*/ 16068 h 51815"/>
                    <a:gd name="connsiteX3" fmla="*/ 0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5855" y="51816"/>
                      </a:moveTo>
                      <a:cubicBezTo>
                        <a:pt x="2616" y="44093"/>
                        <a:pt x="1993" y="37741"/>
                        <a:pt x="1993" y="33381"/>
                      </a:cubicBezTo>
                      <a:cubicBezTo>
                        <a:pt x="2117" y="26406"/>
                        <a:pt x="3861" y="23168"/>
                        <a:pt x="3737"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63" name="Freeform 7579">
                  <a:extLst>
                    <a:ext uri="{FF2B5EF4-FFF2-40B4-BE49-F238E27FC236}">
                      <a16:creationId xmlns:a16="http://schemas.microsoft.com/office/drawing/2014/main" id="{A4C677A9-0FD6-3D07-FFC3-AF775AAB3D83}"/>
                    </a:ext>
                  </a:extLst>
                </p:cNvPr>
                <p:cNvSpPr/>
                <p:nvPr/>
              </p:nvSpPr>
              <p:spPr>
                <a:xfrm>
                  <a:off x="7196624" y="1798218"/>
                  <a:ext cx="26422" cy="26447"/>
                </a:xfrm>
                <a:custGeom>
                  <a:avLst/>
                  <a:gdLst>
                    <a:gd name="connsiteX0" fmla="*/ 26351 w 26422"/>
                    <a:gd name="connsiteY0" fmla="*/ 11803 h 26447"/>
                    <a:gd name="connsiteX1" fmla="*/ 14518 w 26422"/>
                    <a:gd name="connsiteY1" fmla="*/ 26377 h 26447"/>
                    <a:gd name="connsiteX2" fmla="*/ 70 w 26422"/>
                    <a:gd name="connsiteY2" fmla="*/ 14668 h 26447"/>
                    <a:gd name="connsiteX3" fmla="*/ 11902 w 26422"/>
                    <a:gd name="connsiteY3" fmla="*/ 95 h 26447"/>
                    <a:gd name="connsiteX4" fmla="*/ 26351 w 26422"/>
                    <a:gd name="connsiteY4" fmla="*/ 11803 h 26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47">
                      <a:moveTo>
                        <a:pt x="26351" y="11803"/>
                      </a:moveTo>
                      <a:cubicBezTo>
                        <a:pt x="27099" y="19028"/>
                        <a:pt x="21867" y="25629"/>
                        <a:pt x="14518" y="26377"/>
                      </a:cubicBezTo>
                      <a:cubicBezTo>
                        <a:pt x="7294" y="27124"/>
                        <a:pt x="817" y="21893"/>
                        <a:pt x="70" y="14668"/>
                      </a:cubicBezTo>
                      <a:cubicBezTo>
                        <a:pt x="-678" y="7444"/>
                        <a:pt x="4678" y="842"/>
                        <a:pt x="11902" y="95"/>
                      </a:cubicBezTo>
                      <a:cubicBezTo>
                        <a:pt x="19127" y="-777"/>
                        <a:pt x="25604" y="4454"/>
                        <a:pt x="26351"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0" name="Graphic 2987">
                <a:extLst>
                  <a:ext uri="{FF2B5EF4-FFF2-40B4-BE49-F238E27FC236}">
                    <a16:creationId xmlns:a16="http://schemas.microsoft.com/office/drawing/2014/main" id="{60D83DC5-B671-B914-64BE-79AAA4B9C15F}"/>
                  </a:ext>
                </a:extLst>
              </p:cNvPr>
              <p:cNvGrpSpPr/>
              <p:nvPr/>
            </p:nvGrpSpPr>
            <p:grpSpPr>
              <a:xfrm>
                <a:off x="7167228" y="1801457"/>
                <a:ext cx="38378" cy="148262"/>
                <a:chOff x="7167228" y="1801457"/>
                <a:chExt cx="38378" cy="148262"/>
              </a:xfrm>
              <a:grpFill/>
            </p:grpSpPr>
            <p:sp>
              <p:nvSpPr>
                <p:cNvPr id="6552" name="Freeform 7581">
                  <a:extLst>
                    <a:ext uri="{FF2B5EF4-FFF2-40B4-BE49-F238E27FC236}">
                      <a16:creationId xmlns:a16="http://schemas.microsoft.com/office/drawing/2014/main" id="{F82D3AD7-329F-5F1A-C6E0-2D21485E5B56}"/>
                    </a:ext>
                  </a:extLst>
                </p:cNvPr>
                <p:cNvSpPr/>
                <p:nvPr/>
              </p:nvSpPr>
              <p:spPr>
                <a:xfrm>
                  <a:off x="7189781" y="1877034"/>
                  <a:ext cx="6640" cy="52065"/>
                </a:xfrm>
                <a:custGeom>
                  <a:avLst/>
                  <a:gdLst>
                    <a:gd name="connsiteX0" fmla="*/ 5542 w 6640"/>
                    <a:gd name="connsiteY0" fmla="*/ 52065 h 52065"/>
                    <a:gd name="connsiteX1" fmla="*/ 5667 w 6640"/>
                    <a:gd name="connsiteY1" fmla="*/ 33257 h 52065"/>
                    <a:gd name="connsiteX2" fmla="*/ 560 w 6640"/>
                    <a:gd name="connsiteY2" fmla="*/ 16566 h 52065"/>
                    <a:gd name="connsiteX3" fmla="*/ 1183 w 6640"/>
                    <a:gd name="connsiteY3" fmla="*/ 0 h 52065"/>
                  </a:gdLst>
                  <a:ahLst/>
                  <a:cxnLst>
                    <a:cxn ang="0">
                      <a:pos x="connsiteX0" y="connsiteY0"/>
                    </a:cxn>
                    <a:cxn ang="0">
                      <a:pos x="connsiteX1" y="connsiteY1"/>
                    </a:cxn>
                    <a:cxn ang="0">
                      <a:pos x="connsiteX2" y="connsiteY2"/>
                    </a:cxn>
                    <a:cxn ang="0">
                      <a:pos x="connsiteX3" y="connsiteY3"/>
                    </a:cxn>
                  </a:cxnLst>
                  <a:rect l="l" t="t" r="r" b="b"/>
                  <a:pathLst>
                    <a:path w="6640" h="52065">
                      <a:moveTo>
                        <a:pt x="5542" y="52065"/>
                      </a:moveTo>
                      <a:cubicBezTo>
                        <a:pt x="7286" y="43844"/>
                        <a:pt x="6663" y="37492"/>
                        <a:pt x="5667" y="33257"/>
                      </a:cubicBezTo>
                      <a:cubicBezTo>
                        <a:pt x="4172" y="26406"/>
                        <a:pt x="1805" y="23666"/>
                        <a:pt x="560" y="16566"/>
                      </a:cubicBezTo>
                      <a:cubicBezTo>
                        <a:pt x="-561" y="9715"/>
                        <a:pt x="186" y="3861"/>
                        <a:pt x="11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3" name="Freeform 7582">
                  <a:extLst>
                    <a:ext uri="{FF2B5EF4-FFF2-40B4-BE49-F238E27FC236}">
                      <a16:creationId xmlns:a16="http://schemas.microsoft.com/office/drawing/2014/main" id="{E3F425D2-3A95-88E6-3F75-503578377118}"/>
                    </a:ext>
                  </a:extLst>
                </p:cNvPr>
                <p:cNvSpPr/>
                <p:nvPr/>
              </p:nvSpPr>
              <p:spPr>
                <a:xfrm>
                  <a:off x="7182992" y="1883012"/>
                  <a:ext cx="5729" cy="51815"/>
                </a:xfrm>
                <a:custGeom>
                  <a:avLst/>
                  <a:gdLst>
                    <a:gd name="connsiteX0" fmla="*/ 0 w 5729"/>
                    <a:gd name="connsiteY0" fmla="*/ 0 h 51815"/>
                    <a:gd name="connsiteX1" fmla="*/ 3737 w 5729"/>
                    <a:gd name="connsiteY1" fmla="*/ 18435 h 51815"/>
                    <a:gd name="connsiteX2" fmla="*/ 1993 w 5729"/>
                    <a:gd name="connsiteY2" fmla="*/ 35748 h 51815"/>
                    <a:gd name="connsiteX3" fmla="*/ 573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0" y="0"/>
                      </a:moveTo>
                      <a:cubicBezTo>
                        <a:pt x="3239" y="7847"/>
                        <a:pt x="3861" y="14075"/>
                        <a:pt x="3737" y="18435"/>
                      </a:cubicBezTo>
                      <a:cubicBezTo>
                        <a:pt x="3612" y="25410"/>
                        <a:pt x="1744"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4" name="Freeform 7583">
                  <a:extLst>
                    <a:ext uri="{FF2B5EF4-FFF2-40B4-BE49-F238E27FC236}">
                      <a16:creationId xmlns:a16="http://schemas.microsoft.com/office/drawing/2014/main" id="{858AB4CE-1CA8-24CB-052F-7571D4A57606}"/>
                    </a:ext>
                  </a:extLst>
                </p:cNvPr>
                <p:cNvSpPr/>
                <p:nvPr/>
              </p:nvSpPr>
              <p:spPr>
                <a:xfrm>
                  <a:off x="7178937" y="1923173"/>
                  <a:ext cx="26668" cy="26545"/>
                </a:xfrm>
                <a:custGeom>
                  <a:avLst/>
                  <a:gdLst>
                    <a:gd name="connsiteX0" fmla="*/ 68 w 26668"/>
                    <a:gd name="connsiteY0" fmla="*/ 14520 h 26545"/>
                    <a:gd name="connsiteX1" fmla="*/ 12026 w 26668"/>
                    <a:gd name="connsiteY1" fmla="*/ 71 h 26545"/>
                    <a:gd name="connsiteX2" fmla="*/ 26599 w 26668"/>
                    <a:gd name="connsiteY2" fmla="*/ 11779 h 26545"/>
                    <a:gd name="connsiteX3" fmla="*/ 14642 w 26668"/>
                    <a:gd name="connsiteY3" fmla="*/ 26477 h 26545"/>
                    <a:gd name="connsiteX4" fmla="*/ 68 w 26668"/>
                    <a:gd name="connsiteY4" fmla="*/ 14520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45">
                      <a:moveTo>
                        <a:pt x="68" y="14520"/>
                      </a:moveTo>
                      <a:cubicBezTo>
                        <a:pt x="-679" y="7171"/>
                        <a:pt x="4802" y="943"/>
                        <a:pt x="12026" y="71"/>
                      </a:cubicBezTo>
                      <a:cubicBezTo>
                        <a:pt x="19375" y="-676"/>
                        <a:pt x="25852" y="4555"/>
                        <a:pt x="26599" y="11779"/>
                      </a:cubicBezTo>
                      <a:cubicBezTo>
                        <a:pt x="27346" y="19004"/>
                        <a:pt x="21991" y="25605"/>
                        <a:pt x="14642" y="26477"/>
                      </a:cubicBezTo>
                      <a:cubicBezTo>
                        <a:pt x="7293" y="27225"/>
                        <a:pt x="816" y="21744"/>
                        <a:pt x="68" y="145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5" name="Freeform 7584">
                  <a:extLst>
                    <a:ext uri="{FF2B5EF4-FFF2-40B4-BE49-F238E27FC236}">
                      <a16:creationId xmlns:a16="http://schemas.microsoft.com/office/drawing/2014/main" id="{AFCBD787-676E-0FAC-EFE2-7F22F6FC3ED6}"/>
                    </a:ext>
                  </a:extLst>
                </p:cNvPr>
                <p:cNvSpPr/>
                <p:nvPr/>
              </p:nvSpPr>
              <p:spPr>
                <a:xfrm>
                  <a:off x="7176413" y="1822104"/>
                  <a:ext cx="6640" cy="51940"/>
                </a:xfrm>
                <a:custGeom>
                  <a:avLst/>
                  <a:gdLst>
                    <a:gd name="connsiteX0" fmla="*/ 1098 w 6640"/>
                    <a:gd name="connsiteY0" fmla="*/ 0 h 51940"/>
                    <a:gd name="connsiteX1" fmla="*/ 973 w 6640"/>
                    <a:gd name="connsiteY1" fmla="*/ 18808 h 51940"/>
                    <a:gd name="connsiteX2" fmla="*/ 6081 w 6640"/>
                    <a:gd name="connsiteY2" fmla="*/ 35499 h 51940"/>
                    <a:gd name="connsiteX3" fmla="*/ 5458 w 664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40" h="51940">
                      <a:moveTo>
                        <a:pt x="1098" y="0"/>
                      </a:moveTo>
                      <a:cubicBezTo>
                        <a:pt x="-646" y="8221"/>
                        <a:pt x="-22" y="14573"/>
                        <a:pt x="973" y="18808"/>
                      </a:cubicBezTo>
                      <a:cubicBezTo>
                        <a:pt x="2468" y="25659"/>
                        <a:pt x="4835" y="28524"/>
                        <a:pt x="6081" y="35499"/>
                      </a:cubicBezTo>
                      <a:cubicBezTo>
                        <a:pt x="7201" y="42350"/>
                        <a:pt x="6454" y="48204"/>
                        <a:pt x="545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6" name="Freeform 7585">
                  <a:extLst>
                    <a:ext uri="{FF2B5EF4-FFF2-40B4-BE49-F238E27FC236}">
                      <a16:creationId xmlns:a16="http://schemas.microsoft.com/office/drawing/2014/main" id="{72812CDA-5A07-7E7C-9EF9-ECE2DD946F54}"/>
                    </a:ext>
                  </a:extLst>
                </p:cNvPr>
                <p:cNvSpPr/>
                <p:nvPr/>
              </p:nvSpPr>
              <p:spPr>
                <a:xfrm>
                  <a:off x="7184113" y="1816374"/>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4093"/>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7" name="Freeform 7586">
                  <a:extLst>
                    <a:ext uri="{FF2B5EF4-FFF2-40B4-BE49-F238E27FC236}">
                      <a16:creationId xmlns:a16="http://schemas.microsoft.com/office/drawing/2014/main" id="{22AD5532-E3B7-B9EC-84AA-DEFE1200FD4B}"/>
                    </a:ext>
                  </a:extLst>
                </p:cNvPr>
                <p:cNvSpPr/>
                <p:nvPr/>
              </p:nvSpPr>
              <p:spPr>
                <a:xfrm>
                  <a:off x="7167228" y="1801457"/>
                  <a:ext cx="26421" cy="26444"/>
                </a:xfrm>
                <a:custGeom>
                  <a:avLst/>
                  <a:gdLst>
                    <a:gd name="connsiteX0" fmla="*/ 26352 w 26421"/>
                    <a:gd name="connsiteY0" fmla="*/ 11803 h 26444"/>
                    <a:gd name="connsiteX1" fmla="*/ 14519 w 26421"/>
                    <a:gd name="connsiteY1" fmla="*/ 26377 h 26444"/>
                    <a:gd name="connsiteX2" fmla="*/ 70 w 26421"/>
                    <a:gd name="connsiteY2" fmla="*/ 14419 h 26444"/>
                    <a:gd name="connsiteX3" fmla="*/ 11903 w 26421"/>
                    <a:gd name="connsiteY3" fmla="*/ 95 h 26444"/>
                    <a:gd name="connsiteX4" fmla="*/ 26352 w 26421"/>
                    <a:gd name="connsiteY4" fmla="*/ 11803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44">
                      <a:moveTo>
                        <a:pt x="26352" y="11803"/>
                      </a:moveTo>
                      <a:cubicBezTo>
                        <a:pt x="27099" y="19028"/>
                        <a:pt x="21743" y="25629"/>
                        <a:pt x="14519" y="26377"/>
                      </a:cubicBezTo>
                      <a:cubicBezTo>
                        <a:pt x="7294" y="27124"/>
                        <a:pt x="817" y="21643"/>
                        <a:pt x="70" y="14419"/>
                      </a:cubicBezTo>
                      <a:cubicBezTo>
                        <a:pt x="-678" y="7070"/>
                        <a:pt x="4678" y="842"/>
                        <a:pt x="11903" y="95"/>
                      </a:cubicBezTo>
                      <a:cubicBezTo>
                        <a:pt x="19252" y="-777"/>
                        <a:pt x="25604" y="4454"/>
                        <a:pt x="26352"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1" name="Graphic 2987">
                <a:extLst>
                  <a:ext uri="{FF2B5EF4-FFF2-40B4-BE49-F238E27FC236}">
                    <a16:creationId xmlns:a16="http://schemas.microsoft.com/office/drawing/2014/main" id="{51D700B2-D727-89E7-85FA-B3C61ADFB6E0}"/>
                  </a:ext>
                </a:extLst>
              </p:cNvPr>
              <p:cNvGrpSpPr/>
              <p:nvPr/>
            </p:nvGrpSpPr>
            <p:grpSpPr>
              <a:xfrm>
                <a:off x="7137832" y="1803994"/>
                <a:ext cx="38252" cy="148322"/>
                <a:chOff x="7137832" y="1803994"/>
                <a:chExt cx="38252" cy="148322"/>
              </a:xfrm>
              <a:grpFill/>
            </p:grpSpPr>
            <p:sp>
              <p:nvSpPr>
                <p:cNvPr id="6546" name="Freeform 7588">
                  <a:extLst>
                    <a:ext uri="{FF2B5EF4-FFF2-40B4-BE49-F238E27FC236}">
                      <a16:creationId xmlns:a16="http://schemas.microsoft.com/office/drawing/2014/main" id="{3A584EAC-A05A-61EA-2275-4F64DF023425}"/>
                    </a:ext>
                  </a:extLst>
                </p:cNvPr>
                <p:cNvSpPr/>
                <p:nvPr/>
              </p:nvSpPr>
              <p:spPr>
                <a:xfrm>
                  <a:off x="7160290" y="1879774"/>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018"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7" name="Freeform 7589">
                  <a:extLst>
                    <a:ext uri="{FF2B5EF4-FFF2-40B4-BE49-F238E27FC236}">
                      <a16:creationId xmlns:a16="http://schemas.microsoft.com/office/drawing/2014/main" id="{BC481B8F-2BA8-C053-9F3C-609FE79DE60B}"/>
                    </a:ext>
                  </a:extLst>
                </p:cNvPr>
                <p:cNvSpPr/>
                <p:nvPr/>
              </p:nvSpPr>
              <p:spPr>
                <a:xfrm>
                  <a:off x="7153471" y="1885504"/>
                  <a:ext cx="5605" cy="51816"/>
                </a:xfrm>
                <a:custGeom>
                  <a:avLst/>
                  <a:gdLst>
                    <a:gd name="connsiteX0" fmla="*/ 0 w 5605"/>
                    <a:gd name="connsiteY0" fmla="*/ 0 h 51816"/>
                    <a:gd name="connsiteX1" fmla="*/ 3737 w 5605"/>
                    <a:gd name="connsiteY1" fmla="*/ 18435 h 51816"/>
                    <a:gd name="connsiteX2" fmla="*/ 1869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861" y="14075"/>
                        <a:pt x="3737" y="18435"/>
                      </a:cubicBezTo>
                      <a:cubicBezTo>
                        <a:pt x="3612" y="25410"/>
                        <a:pt x="1744" y="28648"/>
                        <a:pt x="1869" y="35748"/>
                      </a:cubicBezTo>
                      <a:cubicBezTo>
                        <a:pt x="1993" y="42599"/>
                        <a:pt x="3986"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8" name="Freeform 7590">
                  <a:extLst>
                    <a:ext uri="{FF2B5EF4-FFF2-40B4-BE49-F238E27FC236}">
                      <a16:creationId xmlns:a16="http://schemas.microsoft.com/office/drawing/2014/main" id="{1B888F99-528F-1026-D5FB-848E0686D7BB}"/>
                    </a:ext>
                  </a:extLst>
                </p:cNvPr>
                <p:cNvSpPr/>
                <p:nvPr/>
              </p:nvSpPr>
              <p:spPr>
                <a:xfrm>
                  <a:off x="7149312" y="1925811"/>
                  <a:ext cx="26772" cy="26504"/>
                </a:xfrm>
                <a:custGeom>
                  <a:avLst/>
                  <a:gdLst>
                    <a:gd name="connsiteX0" fmla="*/ 49 w 26772"/>
                    <a:gd name="connsiteY0" fmla="*/ 14373 h 26504"/>
                    <a:gd name="connsiteX1" fmla="*/ 12132 w 26772"/>
                    <a:gd name="connsiteY1" fmla="*/ 49 h 26504"/>
                    <a:gd name="connsiteX2" fmla="*/ 26705 w 26772"/>
                    <a:gd name="connsiteY2" fmla="*/ 12131 h 26504"/>
                    <a:gd name="connsiteX3" fmla="*/ 14623 w 26772"/>
                    <a:gd name="connsiteY3" fmla="*/ 26455 h 26504"/>
                    <a:gd name="connsiteX4" fmla="*/ 49 w 2677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2" h="26504">
                      <a:moveTo>
                        <a:pt x="49" y="14373"/>
                      </a:moveTo>
                      <a:cubicBezTo>
                        <a:pt x="-573" y="7024"/>
                        <a:pt x="4782" y="672"/>
                        <a:pt x="12132" y="49"/>
                      </a:cubicBezTo>
                      <a:cubicBezTo>
                        <a:pt x="19480" y="-574"/>
                        <a:pt x="25957" y="4782"/>
                        <a:pt x="26705" y="12131"/>
                      </a:cubicBezTo>
                      <a:cubicBezTo>
                        <a:pt x="27452" y="19480"/>
                        <a:pt x="21971" y="25833"/>
                        <a:pt x="14623" y="26455"/>
                      </a:cubicBezTo>
                      <a:cubicBezTo>
                        <a:pt x="7274"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9" name="Freeform 7591">
                  <a:extLst>
                    <a:ext uri="{FF2B5EF4-FFF2-40B4-BE49-F238E27FC236}">
                      <a16:creationId xmlns:a16="http://schemas.microsoft.com/office/drawing/2014/main" id="{B2CE0148-E119-E194-6FAF-A36615F181F1}"/>
                    </a:ext>
                  </a:extLst>
                </p:cNvPr>
                <p:cNvSpPr/>
                <p:nvPr/>
              </p:nvSpPr>
              <p:spPr>
                <a:xfrm>
                  <a:off x="7147005" y="1824595"/>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3" y="48079"/>
                        <a:pt x="522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0" name="Freeform 7592">
                  <a:extLst>
                    <a:ext uri="{FF2B5EF4-FFF2-40B4-BE49-F238E27FC236}">
                      <a16:creationId xmlns:a16="http://schemas.microsoft.com/office/drawing/2014/main" id="{1C25DDD5-6E5E-0CFE-0217-1D35AA3E2F0C}"/>
                    </a:ext>
                  </a:extLst>
                </p:cNvPr>
                <p:cNvSpPr/>
                <p:nvPr/>
              </p:nvSpPr>
              <p:spPr>
                <a:xfrm>
                  <a:off x="7154593" y="1818990"/>
                  <a:ext cx="5729" cy="51815"/>
                </a:xfrm>
                <a:custGeom>
                  <a:avLst/>
                  <a:gdLst>
                    <a:gd name="connsiteX0" fmla="*/ 5729 w 5729"/>
                    <a:gd name="connsiteY0" fmla="*/ 51816 h 51815"/>
                    <a:gd name="connsiteX1" fmla="*/ 1993 w 5729"/>
                    <a:gd name="connsiteY1" fmla="*/ 33381 h 51815"/>
                    <a:gd name="connsiteX2" fmla="*/ 3737 w 5729"/>
                    <a:gd name="connsiteY2" fmla="*/ 16068 h 51815"/>
                    <a:gd name="connsiteX3" fmla="*/ 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5729" y="51816"/>
                      </a:moveTo>
                      <a:cubicBezTo>
                        <a:pt x="2491" y="43969"/>
                        <a:pt x="1868" y="37741"/>
                        <a:pt x="1993" y="33381"/>
                      </a:cubicBezTo>
                      <a:cubicBezTo>
                        <a:pt x="2117" y="26406"/>
                        <a:pt x="3985"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51" name="Freeform 7593">
                  <a:extLst>
                    <a:ext uri="{FF2B5EF4-FFF2-40B4-BE49-F238E27FC236}">
                      <a16:creationId xmlns:a16="http://schemas.microsoft.com/office/drawing/2014/main" id="{3951AE5F-9C54-0312-0921-5451A695FEB6}"/>
                    </a:ext>
                  </a:extLst>
                </p:cNvPr>
                <p:cNvSpPr/>
                <p:nvPr/>
              </p:nvSpPr>
              <p:spPr>
                <a:xfrm>
                  <a:off x="7137832" y="1803994"/>
                  <a:ext cx="26545" cy="26503"/>
                </a:xfrm>
                <a:custGeom>
                  <a:avLst/>
                  <a:gdLst>
                    <a:gd name="connsiteX0" fmla="*/ 26476 w 26545"/>
                    <a:gd name="connsiteY0" fmla="*/ 12131 h 26503"/>
                    <a:gd name="connsiteX1" fmla="*/ 14518 w 26545"/>
                    <a:gd name="connsiteY1" fmla="*/ 26455 h 26503"/>
                    <a:gd name="connsiteX2" fmla="*/ 70 w 26545"/>
                    <a:gd name="connsiteY2" fmla="*/ 14373 h 26503"/>
                    <a:gd name="connsiteX3" fmla="*/ 12027 w 26545"/>
                    <a:gd name="connsiteY3" fmla="*/ 49 h 26503"/>
                    <a:gd name="connsiteX4" fmla="*/ 26476 w 26545"/>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03">
                      <a:moveTo>
                        <a:pt x="26476" y="12131"/>
                      </a:moveTo>
                      <a:cubicBezTo>
                        <a:pt x="27223" y="19480"/>
                        <a:pt x="21867" y="25833"/>
                        <a:pt x="14518" y="26455"/>
                      </a:cubicBezTo>
                      <a:cubicBezTo>
                        <a:pt x="7294" y="27078"/>
                        <a:pt x="817" y="21598"/>
                        <a:pt x="70" y="14373"/>
                      </a:cubicBezTo>
                      <a:cubicBezTo>
                        <a:pt x="-678" y="7149"/>
                        <a:pt x="4678" y="672"/>
                        <a:pt x="12027" y="49"/>
                      </a:cubicBezTo>
                      <a:cubicBezTo>
                        <a:pt x="19251" y="-574"/>
                        <a:pt x="25728" y="4782"/>
                        <a:pt x="26476"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2" name="Graphic 2987">
                <a:extLst>
                  <a:ext uri="{FF2B5EF4-FFF2-40B4-BE49-F238E27FC236}">
                    <a16:creationId xmlns:a16="http://schemas.microsoft.com/office/drawing/2014/main" id="{1521B7F0-B4AA-35F4-5B49-8A8F41C5BC38}"/>
                  </a:ext>
                </a:extLst>
              </p:cNvPr>
              <p:cNvGrpSpPr/>
              <p:nvPr/>
            </p:nvGrpSpPr>
            <p:grpSpPr>
              <a:xfrm>
                <a:off x="7108582" y="1806485"/>
                <a:ext cx="37589" cy="148322"/>
                <a:chOff x="7108582" y="1806485"/>
                <a:chExt cx="37589" cy="148322"/>
              </a:xfrm>
              <a:grpFill/>
            </p:grpSpPr>
            <p:sp>
              <p:nvSpPr>
                <p:cNvPr id="6540" name="Freeform 7595">
                  <a:extLst>
                    <a:ext uri="{FF2B5EF4-FFF2-40B4-BE49-F238E27FC236}">
                      <a16:creationId xmlns:a16="http://schemas.microsoft.com/office/drawing/2014/main" id="{3BD666EB-6B67-C41B-A3D2-43386A6C1ED4}"/>
                    </a:ext>
                  </a:extLst>
                </p:cNvPr>
                <p:cNvSpPr/>
                <p:nvPr/>
              </p:nvSpPr>
              <p:spPr>
                <a:xfrm>
                  <a:off x="7130645" y="1882265"/>
                  <a:ext cx="6374" cy="51940"/>
                </a:xfrm>
                <a:custGeom>
                  <a:avLst/>
                  <a:gdLst>
                    <a:gd name="connsiteX0" fmla="*/ 5264 w 6374"/>
                    <a:gd name="connsiteY0" fmla="*/ 51941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1"/>
                      </a:moveTo>
                      <a:cubicBezTo>
                        <a:pt x="7007" y="43720"/>
                        <a:pt x="6385" y="37367"/>
                        <a:pt x="5513" y="33132"/>
                      </a:cubicBezTo>
                      <a:cubicBezTo>
                        <a:pt x="4143" y="26282"/>
                        <a:pt x="1651" y="23417"/>
                        <a:pt x="531" y="16442"/>
                      </a:cubicBezTo>
                      <a:cubicBezTo>
                        <a:pt x="-591" y="9591"/>
                        <a:pt x="281" y="3861"/>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1" name="Freeform 7596">
                  <a:extLst>
                    <a:ext uri="{FF2B5EF4-FFF2-40B4-BE49-F238E27FC236}">
                      <a16:creationId xmlns:a16="http://schemas.microsoft.com/office/drawing/2014/main" id="{B1FD9E3E-BE32-EF5B-14DF-708896D6BCA6}"/>
                    </a:ext>
                  </a:extLst>
                </p:cNvPr>
                <p:cNvSpPr/>
                <p:nvPr/>
              </p:nvSpPr>
              <p:spPr>
                <a:xfrm>
                  <a:off x="7123827" y="1887995"/>
                  <a:ext cx="5480" cy="51815"/>
                </a:xfrm>
                <a:custGeom>
                  <a:avLst/>
                  <a:gdLst>
                    <a:gd name="connsiteX0" fmla="*/ 0 w 5480"/>
                    <a:gd name="connsiteY0" fmla="*/ 0 h 51815"/>
                    <a:gd name="connsiteX1" fmla="*/ 3737 w 5480"/>
                    <a:gd name="connsiteY1" fmla="*/ 18435 h 51815"/>
                    <a:gd name="connsiteX2" fmla="*/ 1869 w 5480"/>
                    <a:gd name="connsiteY2" fmla="*/ 35748 h 51815"/>
                    <a:gd name="connsiteX3" fmla="*/ 5481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0" y="0"/>
                      </a:moveTo>
                      <a:cubicBezTo>
                        <a:pt x="3239" y="7847"/>
                        <a:pt x="3737" y="14075"/>
                        <a:pt x="3737" y="18435"/>
                      </a:cubicBezTo>
                      <a:cubicBezTo>
                        <a:pt x="3612" y="25410"/>
                        <a:pt x="1744" y="28648"/>
                        <a:pt x="1869" y="35748"/>
                      </a:cubicBezTo>
                      <a:cubicBezTo>
                        <a:pt x="1993" y="42599"/>
                        <a:pt x="3986" y="48204"/>
                        <a:pt x="548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2" name="Freeform 7597">
                  <a:extLst>
                    <a:ext uri="{FF2B5EF4-FFF2-40B4-BE49-F238E27FC236}">
                      <a16:creationId xmlns:a16="http://schemas.microsoft.com/office/drawing/2014/main" id="{8C6E80FE-C570-E4AF-A29F-5CC80669CC1B}"/>
                    </a:ext>
                  </a:extLst>
                </p:cNvPr>
                <p:cNvSpPr/>
                <p:nvPr/>
              </p:nvSpPr>
              <p:spPr>
                <a:xfrm>
                  <a:off x="7119543" y="1928302"/>
                  <a:ext cx="26628" cy="26504"/>
                </a:xfrm>
                <a:custGeom>
                  <a:avLst/>
                  <a:gdLst>
                    <a:gd name="connsiteX0" fmla="*/ 49 w 26628"/>
                    <a:gd name="connsiteY0" fmla="*/ 14373 h 26504"/>
                    <a:gd name="connsiteX1" fmla="*/ 12131 w 26628"/>
                    <a:gd name="connsiteY1" fmla="*/ 49 h 26504"/>
                    <a:gd name="connsiteX2" fmla="*/ 26579 w 26628"/>
                    <a:gd name="connsiteY2" fmla="*/ 12131 h 26504"/>
                    <a:gd name="connsiteX3" fmla="*/ 14498 w 26628"/>
                    <a:gd name="connsiteY3" fmla="*/ 26455 h 26504"/>
                    <a:gd name="connsiteX4" fmla="*/ 49 w 2662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504">
                      <a:moveTo>
                        <a:pt x="49" y="14373"/>
                      </a:moveTo>
                      <a:cubicBezTo>
                        <a:pt x="-574" y="7024"/>
                        <a:pt x="4782" y="672"/>
                        <a:pt x="12131" y="49"/>
                      </a:cubicBezTo>
                      <a:cubicBezTo>
                        <a:pt x="19480" y="-574"/>
                        <a:pt x="25957" y="4782"/>
                        <a:pt x="26579" y="12131"/>
                      </a:cubicBezTo>
                      <a:cubicBezTo>
                        <a:pt x="27203" y="19480"/>
                        <a:pt x="21847" y="25833"/>
                        <a:pt x="14498" y="26455"/>
                      </a:cubicBezTo>
                      <a:cubicBezTo>
                        <a:pt x="7148" y="27078"/>
                        <a:pt x="797"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3" name="Freeform 7598">
                  <a:extLst>
                    <a:ext uri="{FF2B5EF4-FFF2-40B4-BE49-F238E27FC236}">
                      <a16:creationId xmlns:a16="http://schemas.microsoft.com/office/drawing/2014/main" id="{3C069B2C-76F4-7EE4-DACD-E4DBC7BFC06D}"/>
                    </a:ext>
                  </a:extLst>
                </p:cNvPr>
                <p:cNvSpPr/>
                <p:nvPr/>
              </p:nvSpPr>
              <p:spPr>
                <a:xfrm>
                  <a:off x="7117610" y="182708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0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1" y="25659"/>
                        <a:pt x="4722" y="28524"/>
                        <a:pt x="5844" y="35499"/>
                      </a:cubicBezTo>
                      <a:cubicBezTo>
                        <a:pt x="6964" y="42350"/>
                        <a:pt x="6092" y="48204"/>
                        <a:pt x="522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4" name="Freeform 7599">
                  <a:extLst>
                    <a:ext uri="{FF2B5EF4-FFF2-40B4-BE49-F238E27FC236}">
                      <a16:creationId xmlns:a16="http://schemas.microsoft.com/office/drawing/2014/main" id="{142238B3-99A4-C22B-A159-9A1DB856E055}"/>
                    </a:ext>
                  </a:extLst>
                </p:cNvPr>
                <p:cNvSpPr/>
                <p:nvPr/>
              </p:nvSpPr>
              <p:spPr>
                <a:xfrm>
                  <a:off x="7125321" y="1821481"/>
                  <a:ext cx="5480" cy="51815"/>
                </a:xfrm>
                <a:custGeom>
                  <a:avLst/>
                  <a:gdLst>
                    <a:gd name="connsiteX0" fmla="*/ 5481 w 5480"/>
                    <a:gd name="connsiteY0" fmla="*/ 51816 h 51815"/>
                    <a:gd name="connsiteX1" fmla="*/ 1744 w 5480"/>
                    <a:gd name="connsiteY1" fmla="*/ 33381 h 51815"/>
                    <a:gd name="connsiteX2" fmla="*/ 3613 w 5480"/>
                    <a:gd name="connsiteY2" fmla="*/ 16068 h 51815"/>
                    <a:gd name="connsiteX3" fmla="*/ 0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5481" y="51816"/>
                      </a:moveTo>
                      <a:cubicBezTo>
                        <a:pt x="2242" y="43969"/>
                        <a:pt x="1744" y="37741"/>
                        <a:pt x="1744" y="33381"/>
                      </a:cubicBezTo>
                      <a:cubicBezTo>
                        <a:pt x="1869" y="26406"/>
                        <a:pt x="3737" y="23168"/>
                        <a:pt x="3613" y="16068"/>
                      </a:cubicBezTo>
                      <a:cubicBezTo>
                        <a:pt x="3488"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45" name="Freeform 7600">
                  <a:extLst>
                    <a:ext uri="{FF2B5EF4-FFF2-40B4-BE49-F238E27FC236}">
                      <a16:creationId xmlns:a16="http://schemas.microsoft.com/office/drawing/2014/main" id="{5B9EC408-44CD-184A-B69D-BF96EEC89482}"/>
                    </a:ext>
                  </a:extLst>
                </p:cNvPr>
                <p:cNvSpPr/>
                <p:nvPr/>
              </p:nvSpPr>
              <p:spPr>
                <a:xfrm>
                  <a:off x="7108582" y="1806485"/>
                  <a:ext cx="26381" cy="26503"/>
                </a:xfrm>
                <a:custGeom>
                  <a:avLst/>
                  <a:gdLst>
                    <a:gd name="connsiteX0" fmla="*/ 26331 w 26381"/>
                    <a:gd name="connsiteY0" fmla="*/ 12131 h 26503"/>
                    <a:gd name="connsiteX1" fmla="*/ 14373 w 26381"/>
                    <a:gd name="connsiteY1" fmla="*/ 26455 h 26503"/>
                    <a:gd name="connsiteX2" fmla="*/ 49 w 26381"/>
                    <a:gd name="connsiteY2" fmla="*/ 14373 h 26503"/>
                    <a:gd name="connsiteX3" fmla="*/ 12006 w 26381"/>
                    <a:gd name="connsiteY3" fmla="*/ 49 h 26503"/>
                    <a:gd name="connsiteX4" fmla="*/ 26331 w 26381"/>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3">
                      <a:moveTo>
                        <a:pt x="26331" y="12131"/>
                      </a:moveTo>
                      <a:cubicBezTo>
                        <a:pt x="26953" y="19480"/>
                        <a:pt x="21722" y="25833"/>
                        <a:pt x="14373" y="26455"/>
                      </a:cubicBezTo>
                      <a:cubicBezTo>
                        <a:pt x="7149" y="27078"/>
                        <a:pt x="672" y="21598"/>
                        <a:pt x="49" y="14373"/>
                      </a:cubicBezTo>
                      <a:cubicBezTo>
                        <a:pt x="-574" y="7024"/>
                        <a:pt x="4783" y="672"/>
                        <a:pt x="12006" y="49"/>
                      </a:cubicBezTo>
                      <a:cubicBezTo>
                        <a:pt x="19106"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3" name="Graphic 2987">
                <a:extLst>
                  <a:ext uri="{FF2B5EF4-FFF2-40B4-BE49-F238E27FC236}">
                    <a16:creationId xmlns:a16="http://schemas.microsoft.com/office/drawing/2014/main" id="{E20F4544-83EC-9363-044B-FB866CDDD5E6}"/>
                  </a:ext>
                </a:extLst>
              </p:cNvPr>
              <p:cNvGrpSpPr/>
              <p:nvPr/>
            </p:nvGrpSpPr>
            <p:grpSpPr>
              <a:xfrm>
                <a:off x="7079186" y="1808976"/>
                <a:ext cx="37341" cy="148322"/>
                <a:chOff x="7079186" y="1808976"/>
                <a:chExt cx="37341" cy="148322"/>
              </a:xfrm>
              <a:grpFill/>
            </p:grpSpPr>
            <p:sp>
              <p:nvSpPr>
                <p:cNvPr id="6534" name="Freeform 7602">
                  <a:extLst>
                    <a:ext uri="{FF2B5EF4-FFF2-40B4-BE49-F238E27FC236}">
                      <a16:creationId xmlns:a16="http://schemas.microsoft.com/office/drawing/2014/main" id="{69FB1444-E8F5-4AEB-B33B-AF54FB90F05F}"/>
                    </a:ext>
                  </a:extLst>
                </p:cNvPr>
                <p:cNvSpPr/>
                <p:nvPr/>
              </p:nvSpPr>
              <p:spPr>
                <a:xfrm>
                  <a:off x="7101005" y="1884756"/>
                  <a:ext cx="6369" cy="51940"/>
                </a:xfrm>
                <a:custGeom>
                  <a:avLst/>
                  <a:gdLst>
                    <a:gd name="connsiteX0" fmla="*/ 5259 w 6369"/>
                    <a:gd name="connsiteY0" fmla="*/ 51941 h 51940"/>
                    <a:gd name="connsiteX1" fmla="*/ 5508 w 6369"/>
                    <a:gd name="connsiteY1" fmla="*/ 33132 h 51940"/>
                    <a:gd name="connsiteX2" fmla="*/ 526 w 6369"/>
                    <a:gd name="connsiteY2" fmla="*/ 16442 h 51940"/>
                    <a:gd name="connsiteX3" fmla="*/ 1273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5259" y="51941"/>
                      </a:moveTo>
                      <a:cubicBezTo>
                        <a:pt x="7003" y="43720"/>
                        <a:pt x="6380" y="37367"/>
                        <a:pt x="5508" y="33132"/>
                      </a:cubicBezTo>
                      <a:cubicBezTo>
                        <a:pt x="4138" y="26282"/>
                        <a:pt x="1647" y="23417"/>
                        <a:pt x="526" y="16442"/>
                      </a:cubicBezTo>
                      <a:cubicBezTo>
                        <a:pt x="-595" y="9591"/>
                        <a:pt x="277"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5" name="Freeform 7603">
                  <a:extLst>
                    <a:ext uri="{FF2B5EF4-FFF2-40B4-BE49-F238E27FC236}">
                      <a16:creationId xmlns:a16="http://schemas.microsoft.com/office/drawing/2014/main" id="{FD6A4A36-6185-CC61-6607-8633032BC17F}"/>
                    </a:ext>
                  </a:extLst>
                </p:cNvPr>
                <p:cNvSpPr/>
                <p:nvPr/>
              </p:nvSpPr>
              <p:spPr>
                <a:xfrm>
                  <a:off x="7094307" y="1890486"/>
                  <a:ext cx="5355" cy="51815"/>
                </a:xfrm>
                <a:custGeom>
                  <a:avLst/>
                  <a:gdLst>
                    <a:gd name="connsiteX0" fmla="*/ 0 w 5355"/>
                    <a:gd name="connsiteY0" fmla="*/ 0 h 51815"/>
                    <a:gd name="connsiteX1" fmla="*/ 3612 w 5355"/>
                    <a:gd name="connsiteY1" fmla="*/ 18435 h 51815"/>
                    <a:gd name="connsiteX2" fmla="*/ 1744 w 5355"/>
                    <a:gd name="connsiteY2" fmla="*/ 35748 h 51815"/>
                    <a:gd name="connsiteX3" fmla="*/ 5356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0" y="0"/>
                      </a:moveTo>
                      <a:cubicBezTo>
                        <a:pt x="3239" y="7847"/>
                        <a:pt x="3737" y="14075"/>
                        <a:pt x="3612" y="18435"/>
                      </a:cubicBezTo>
                      <a:cubicBezTo>
                        <a:pt x="3488" y="25410"/>
                        <a:pt x="1619" y="28648"/>
                        <a:pt x="1744" y="35748"/>
                      </a:cubicBezTo>
                      <a:cubicBezTo>
                        <a:pt x="1869"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6" name="Freeform 7604">
                  <a:extLst>
                    <a:ext uri="{FF2B5EF4-FFF2-40B4-BE49-F238E27FC236}">
                      <a16:creationId xmlns:a16="http://schemas.microsoft.com/office/drawing/2014/main" id="{502E3289-84D3-2892-A052-88B9A113DB9F}"/>
                    </a:ext>
                  </a:extLst>
                </p:cNvPr>
                <p:cNvSpPr/>
                <p:nvPr/>
              </p:nvSpPr>
              <p:spPr>
                <a:xfrm>
                  <a:off x="7089898" y="1930793"/>
                  <a:ext cx="26629" cy="26504"/>
                </a:xfrm>
                <a:custGeom>
                  <a:avLst/>
                  <a:gdLst>
                    <a:gd name="connsiteX0" fmla="*/ 49 w 26629"/>
                    <a:gd name="connsiteY0" fmla="*/ 14373 h 26504"/>
                    <a:gd name="connsiteX1" fmla="*/ 12131 w 26629"/>
                    <a:gd name="connsiteY1" fmla="*/ 49 h 26504"/>
                    <a:gd name="connsiteX2" fmla="*/ 26580 w 26629"/>
                    <a:gd name="connsiteY2" fmla="*/ 12131 h 26504"/>
                    <a:gd name="connsiteX3" fmla="*/ 14498 w 26629"/>
                    <a:gd name="connsiteY3" fmla="*/ 26455 h 26504"/>
                    <a:gd name="connsiteX4" fmla="*/ 49 w 2662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4373"/>
                      </a:moveTo>
                      <a:cubicBezTo>
                        <a:pt x="-574" y="7024"/>
                        <a:pt x="4783" y="672"/>
                        <a:pt x="12131" y="49"/>
                      </a:cubicBezTo>
                      <a:cubicBezTo>
                        <a:pt x="19480" y="-574"/>
                        <a:pt x="25957" y="4782"/>
                        <a:pt x="26580" y="12131"/>
                      </a:cubicBezTo>
                      <a:cubicBezTo>
                        <a:pt x="27203" y="19480"/>
                        <a:pt x="21847" y="25833"/>
                        <a:pt x="14498"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7" name="Freeform 7605">
                  <a:extLst>
                    <a:ext uri="{FF2B5EF4-FFF2-40B4-BE49-F238E27FC236}">
                      <a16:creationId xmlns:a16="http://schemas.microsoft.com/office/drawing/2014/main" id="{E0FCAE80-3FAC-732A-4FBB-8A1FE1A09E71}"/>
                    </a:ext>
                  </a:extLst>
                </p:cNvPr>
                <p:cNvSpPr/>
                <p:nvPr/>
              </p:nvSpPr>
              <p:spPr>
                <a:xfrm>
                  <a:off x="7088214" y="1829577"/>
                  <a:ext cx="6244" cy="51940"/>
                </a:xfrm>
                <a:custGeom>
                  <a:avLst/>
                  <a:gdLst>
                    <a:gd name="connsiteX0" fmla="*/ 1110 w 6244"/>
                    <a:gd name="connsiteY0" fmla="*/ 0 h 51940"/>
                    <a:gd name="connsiteX1" fmla="*/ 861 w 6244"/>
                    <a:gd name="connsiteY1" fmla="*/ 18808 h 51940"/>
                    <a:gd name="connsiteX2" fmla="*/ 5719 w 6244"/>
                    <a:gd name="connsiteY2" fmla="*/ 35499 h 51940"/>
                    <a:gd name="connsiteX3" fmla="*/ 4971 w 624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4" h="51940">
                      <a:moveTo>
                        <a:pt x="1110" y="0"/>
                      </a:moveTo>
                      <a:cubicBezTo>
                        <a:pt x="-633" y="8221"/>
                        <a:pt x="-11" y="14573"/>
                        <a:pt x="861" y="18808"/>
                      </a:cubicBezTo>
                      <a:cubicBezTo>
                        <a:pt x="2231" y="25659"/>
                        <a:pt x="4598" y="28524"/>
                        <a:pt x="5719" y="35499"/>
                      </a:cubicBezTo>
                      <a:cubicBezTo>
                        <a:pt x="6840" y="42350"/>
                        <a:pt x="5968" y="48204"/>
                        <a:pt x="4971"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8" name="Freeform 7606">
                  <a:extLst>
                    <a:ext uri="{FF2B5EF4-FFF2-40B4-BE49-F238E27FC236}">
                      <a16:creationId xmlns:a16="http://schemas.microsoft.com/office/drawing/2014/main" id="{7944CD3C-078A-3D34-A852-CE0D46669657}"/>
                    </a:ext>
                  </a:extLst>
                </p:cNvPr>
                <p:cNvSpPr/>
                <p:nvPr/>
              </p:nvSpPr>
              <p:spPr>
                <a:xfrm>
                  <a:off x="7095926" y="1823972"/>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117" y="43969"/>
                        <a:pt x="1619" y="37741"/>
                        <a:pt x="1744" y="33381"/>
                      </a:cubicBezTo>
                      <a:cubicBezTo>
                        <a:pt x="1869"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9" name="Freeform 7607">
                  <a:extLst>
                    <a:ext uri="{FF2B5EF4-FFF2-40B4-BE49-F238E27FC236}">
                      <a16:creationId xmlns:a16="http://schemas.microsoft.com/office/drawing/2014/main" id="{AD5FA607-F067-67FA-3046-7E9B928D7901}"/>
                    </a:ext>
                  </a:extLst>
                </p:cNvPr>
                <p:cNvSpPr/>
                <p:nvPr/>
              </p:nvSpPr>
              <p:spPr>
                <a:xfrm>
                  <a:off x="7079186" y="1808976"/>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8" y="25833"/>
                        <a:pt x="14374" y="26455"/>
                      </a:cubicBezTo>
                      <a:cubicBezTo>
                        <a:pt x="7149" y="27078"/>
                        <a:pt x="673" y="21598"/>
                        <a:pt x="49" y="14373"/>
                      </a:cubicBezTo>
                      <a:cubicBezTo>
                        <a:pt x="-573" y="7149"/>
                        <a:pt x="4782" y="672"/>
                        <a:pt x="12007" y="49"/>
                      </a:cubicBezTo>
                      <a:cubicBezTo>
                        <a:pt x="19232" y="-574"/>
                        <a:pt x="25584"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4" name="Graphic 2987">
                <a:extLst>
                  <a:ext uri="{FF2B5EF4-FFF2-40B4-BE49-F238E27FC236}">
                    <a16:creationId xmlns:a16="http://schemas.microsoft.com/office/drawing/2014/main" id="{310570B0-917B-8E7F-78DA-C753EC10B086}"/>
                  </a:ext>
                </a:extLst>
              </p:cNvPr>
              <p:cNvGrpSpPr/>
              <p:nvPr/>
            </p:nvGrpSpPr>
            <p:grpSpPr>
              <a:xfrm>
                <a:off x="7049790" y="1811467"/>
                <a:ext cx="37091" cy="148445"/>
                <a:chOff x="7049790" y="1811467"/>
                <a:chExt cx="37091" cy="148445"/>
              </a:xfrm>
              <a:grpFill/>
            </p:grpSpPr>
            <p:sp>
              <p:nvSpPr>
                <p:cNvPr id="6528" name="Freeform 7609">
                  <a:extLst>
                    <a:ext uri="{FF2B5EF4-FFF2-40B4-BE49-F238E27FC236}">
                      <a16:creationId xmlns:a16="http://schemas.microsoft.com/office/drawing/2014/main" id="{F8D8768F-4540-D2E7-807C-2FC1F24C4EAC}"/>
                    </a:ext>
                  </a:extLst>
                </p:cNvPr>
                <p:cNvSpPr/>
                <p:nvPr/>
              </p:nvSpPr>
              <p:spPr>
                <a:xfrm>
                  <a:off x="7071512" y="1887247"/>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9" name="Freeform 7610">
                  <a:extLst>
                    <a:ext uri="{FF2B5EF4-FFF2-40B4-BE49-F238E27FC236}">
                      <a16:creationId xmlns:a16="http://schemas.microsoft.com/office/drawing/2014/main" id="{B415536C-3B62-730E-FFA2-B0ED4902903E}"/>
                    </a:ext>
                  </a:extLst>
                </p:cNvPr>
                <p:cNvSpPr/>
                <p:nvPr/>
              </p:nvSpPr>
              <p:spPr>
                <a:xfrm>
                  <a:off x="7064662" y="1892977"/>
                  <a:ext cx="5231" cy="51815"/>
                </a:xfrm>
                <a:custGeom>
                  <a:avLst/>
                  <a:gdLst>
                    <a:gd name="connsiteX0" fmla="*/ 0 w 5231"/>
                    <a:gd name="connsiteY0" fmla="*/ 0 h 51815"/>
                    <a:gd name="connsiteX1" fmla="*/ 3612 w 5231"/>
                    <a:gd name="connsiteY1" fmla="*/ 18435 h 51815"/>
                    <a:gd name="connsiteX2" fmla="*/ 1619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5"/>
                      </a:cubicBezTo>
                      <a:cubicBezTo>
                        <a:pt x="3488" y="25410"/>
                        <a:pt x="1619" y="28648"/>
                        <a:pt x="1619" y="35748"/>
                      </a:cubicBezTo>
                      <a:cubicBezTo>
                        <a:pt x="1744" y="42599"/>
                        <a:pt x="3612"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0" name="Freeform 7611">
                  <a:extLst>
                    <a:ext uri="{FF2B5EF4-FFF2-40B4-BE49-F238E27FC236}">
                      <a16:creationId xmlns:a16="http://schemas.microsoft.com/office/drawing/2014/main" id="{60F9EB0F-EB04-385C-3EF2-D72738B898C6}"/>
                    </a:ext>
                  </a:extLst>
                </p:cNvPr>
                <p:cNvSpPr/>
                <p:nvPr/>
              </p:nvSpPr>
              <p:spPr>
                <a:xfrm>
                  <a:off x="7060130" y="1933409"/>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0" y="4782"/>
                        <a:pt x="26704" y="12131"/>
                      </a:cubicBezTo>
                      <a:cubicBezTo>
                        <a:pt x="27326" y="19480"/>
                        <a:pt x="21846" y="25833"/>
                        <a:pt x="14497" y="26455"/>
                      </a:cubicBezTo>
                      <a:cubicBezTo>
                        <a:pt x="7148"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1" name="Freeform 7612">
                  <a:extLst>
                    <a:ext uri="{FF2B5EF4-FFF2-40B4-BE49-F238E27FC236}">
                      <a16:creationId xmlns:a16="http://schemas.microsoft.com/office/drawing/2014/main" id="{2F49B06B-EB0A-8666-3551-93185F34E4D7}"/>
                    </a:ext>
                  </a:extLst>
                </p:cNvPr>
                <p:cNvSpPr/>
                <p:nvPr/>
              </p:nvSpPr>
              <p:spPr>
                <a:xfrm>
                  <a:off x="7058760" y="1832068"/>
                  <a:ext cx="6151" cy="51940"/>
                </a:xfrm>
                <a:custGeom>
                  <a:avLst/>
                  <a:gdLst>
                    <a:gd name="connsiteX0" fmla="*/ 1168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5" y="18808"/>
                      </a:cubicBezTo>
                      <a:cubicBezTo>
                        <a:pt x="2165" y="25659"/>
                        <a:pt x="4531" y="28524"/>
                        <a:pt x="5652" y="35499"/>
                      </a:cubicBezTo>
                      <a:cubicBezTo>
                        <a:pt x="6773"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2" name="Freeform 7613">
                  <a:extLst>
                    <a:ext uri="{FF2B5EF4-FFF2-40B4-BE49-F238E27FC236}">
                      <a16:creationId xmlns:a16="http://schemas.microsoft.com/office/drawing/2014/main" id="{8F5C1905-8B92-C1FF-ABA4-0377E77E2ED7}"/>
                    </a:ext>
                  </a:extLst>
                </p:cNvPr>
                <p:cNvSpPr/>
                <p:nvPr/>
              </p:nvSpPr>
              <p:spPr>
                <a:xfrm>
                  <a:off x="7066281" y="1826463"/>
                  <a:ext cx="5355" cy="51815"/>
                </a:xfrm>
                <a:custGeom>
                  <a:avLst/>
                  <a:gdLst>
                    <a:gd name="connsiteX0" fmla="*/ 5356 w 5355"/>
                    <a:gd name="connsiteY0" fmla="*/ 51816 h 51815"/>
                    <a:gd name="connsiteX1" fmla="*/ 1744 w 5355"/>
                    <a:gd name="connsiteY1" fmla="*/ 33381 h 51815"/>
                    <a:gd name="connsiteX2" fmla="*/ 3612 w 5355"/>
                    <a:gd name="connsiteY2" fmla="*/ 16068 h 51815"/>
                    <a:gd name="connsiteX3" fmla="*/ 0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51816"/>
                      </a:moveTo>
                      <a:cubicBezTo>
                        <a:pt x="2242" y="43969"/>
                        <a:pt x="1619" y="37741"/>
                        <a:pt x="1744" y="33381"/>
                      </a:cubicBezTo>
                      <a:cubicBezTo>
                        <a:pt x="1869" y="26406"/>
                        <a:pt x="3737" y="23168"/>
                        <a:pt x="3612"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33" name="Freeform 7614">
                  <a:extLst>
                    <a:ext uri="{FF2B5EF4-FFF2-40B4-BE49-F238E27FC236}">
                      <a16:creationId xmlns:a16="http://schemas.microsoft.com/office/drawing/2014/main" id="{C825AD8B-FB91-C111-64BF-9440D91621C9}"/>
                    </a:ext>
                  </a:extLst>
                </p:cNvPr>
                <p:cNvSpPr/>
                <p:nvPr/>
              </p:nvSpPr>
              <p:spPr>
                <a:xfrm>
                  <a:off x="7049790" y="1811467"/>
                  <a:ext cx="26380" cy="26503"/>
                </a:xfrm>
                <a:custGeom>
                  <a:avLst/>
                  <a:gdLst>
                    <a:gd name="connsiteX0" fmla="*/ 26331 w 26380"/>
                    <a:gd name="connsiteY0" fmla="*/ 12131 h 26503"/>
                    <a:gd name="connsiteX1" fmla="*/ 14374 w 26380"/>
                    <a:gd name="connsiteY1" fmla="*/ 26455 h 26503"/>
                    <a:gd name="connsiteX2" fmla="*/ 49 w 26380"/>
                    <a:gd name="connsiteY2" fmla="*/ 14373 h 26503"/>
                    <a:gd name="connsiteX3" fmla="*/ 12007 w 26380"/>
                    <a:gd name="connsiteY3" fmla="*/ 49 h 26503"/>
                    <a:gd name="connsiteX4" fmla="*/ 26331 w 26380"/>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3">
                      <a:moveTo>
                        <a:pt x="26331" y="12131"/>
                      </a:moveTo>
                      <a:cubicBezTo>
                        <a:pt x="26954" y="19480"/>
                        <a:pt x="21597" y="25833"/>
                        <a:pt x="14374" y="26455"/>
                      </a:cubicBezTo>
                      <a:cubicBezTo>
                        <a:pt x="7149" y="27078"/>
                        <a:pt x="672" y="21598"/>
                        <a:pt x="49" y="14373"/>
                      </a:cubicBezTo>
                      <a:cubicBezTo>
                        <a:pt x="-573" y="7024"/>
                        <a:pt x="4782" y="672"/>
                        <a:pt x="12007" y="49"/>
                      </a:cubicBezTo>
                      <a:cubicBezTo>
                        <a:pt x="19232" y="-574"/>
                        <a:pt x="25583" y="4782"/>
                        <a:pt x="263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5" name="Graphic 2987">
                <a:extLst>
                  <a:ext uri="{FF2B5EF4-FFF2-40B4-BE49-F238E27FC236}">
                    <a16:creationId xmlns:a16="http://schemas.microsoft.com/office/drawing/2014/main" id="{294235B9-5675-8F75-74F0-F1FBDEC9C1D8}"/>
                  </a:ext>
                </a:extLst>
              </p:cNvPr>
              <p:cNvGrpSpPr/>
              <p:nvPr/>
            </p:nvGrpSpPr>
            <p:grpSpPr>
              <a:xfrm>
                <a:off x="7020270" y="1813958"/>
                <a:ext cx="36966" cy="148445"/>
                <a:chOff x="7020270" y="1813958"/>
                <a:chExt cx="36966" cy="148445"/>
              </a:xfrm>
              <a:grpFill/>
            </p:grpSpPr>
            <p:sp>
              <p:nvSpPr>
                <p:cNvPr id="6522" name="Freeform 7616">
                  <a:extLst>
                    <a:ext uri="{FF2B5EF4-FFF2-40B4-BE49-F238E27FC236}">
                      <a16:creationId xmlns:a16="http://schemas.microsoft.com/office/drawing/2014/main" id="{E3D4425C-0A60-3C51-41E3-573DEA3ED1E6}"/>
                    </a:ext>
                  </a:extLst>
                </p:cNvPr>
                <p:cNvSpPr/>
                <p:nvPr/>
              </p:nvSpPr>
              <p:spPr>
                <a:xfrm>
                  <a:off x="7041867" y="1889863"/>
                  <a:ext cx="6199" cy="51940"/>
                </a:xfrm>
                <a:custGeom>
                  <a:avLst/>
                  <a:gdLst>
                    <a:gd name="connsiteX0" fmla="*/ 4983 w 6199"/>
                    <a:gd name="connsiteY0" fmla="*/ 51941 h 51940"/>
                    <a:gd name="connsiteX1" fmla="*/ 5357 w 6199"/>
                    <a:gd name="connsiteY1" fmla="*/ 33132 h 51940"/>
                    <a:gd name="connsiteX2" fmla="*/ 499 w 6199"/>
                    <a:gd name="connsiteY2" fmla="*/ 16442 h 51940"/>
                    <a:gd name="connsiteX3" fmla="*/ 1247 w 6199"/>
                    <a:gd name="connsiteY3" fmla="*/ 0 h 51940"/>
                  </a:gdLst>
                  <a:ahLst/>
                  <a:cxnLst>
                    <a:cxn ang="0">
                      <a:pos x="connsiteX0" y="connsiteY0"/>
                    </a:cxn>
                    <a:cxn ang="0">
                      <a:pos x="connsiteX1" y="connsiteY1"/>
                    </a:cxn>
                    <a:cxn ang="0">
                      <a:pos x="connsiteX2" y="connsiteY2"/>
                    </a:cxn>
                    <a:cxn ang="0">
                      <a:pos x="connsiteX3" y="connsiteY3"/>
                    </a:cxn>
                  </a:cxnLst>
                  <a:rect l="l" t="t" r="r" b="b"/>
                  <a:pathLst>
                    <a:path w="6199" h="51940">
                      <a:moveTo>
                        <a:pt x="4983" y="51941"/>
                      </a:moveTo>
                      <a:cubicBezTo>
                        <a:pt x="6852" y="43720"/>
                        <a:pt x="6229" y="37367"/>
                        <a:pt x="5357" y="33132"/>
                      </a:cubicBezTo>
                      <a:cubicBezTo>
                        <a:pt x="3987" y="26282"/>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3" name="Freeform 7617">
                  <a:extLst>
                    <a:ext uri="{FF2B5EF4-FFF2-40B4-BE49-F238E27FC236}">
                      <a16:creationId xmlns:a16="http://schemas.microsoft.com/office/drawing/2014/main" id="{2BFCD46C-F760-C53D-A0C1-543B70199641}"/>
                    </a:ext>
                  </a:extLst>
                </p:cNvPr>
                <p:cNvSpPr/>
                <p:nvPr/>
              </p:nvSpPr>
              <p:spPr>
                <a:xfrm>
                  <a:off x="7035142" y="1895468"/>
                  <a:ext cx="4982" cy="51815"/>
                </a:xfrm>
                <a:custGeom>
                  <a:avLst/>
                  <a:gdLst>
                    <a:gd name="connsiteX0" fmla="*/ 0 w 4982"/>
                    <a:gd name="connsiteY0" fmla="*/ 0 h 51815"/>
                    <a:gd name="connsiteX1" fmla="*/ 3488 w 4982"/>
                    <a:gd name="connsiteY1" fmla="*/ 18435 h 51815"/>
                    <a:gd name="connsiteX2" fmla="*/ 1495 w 4982"/>
                    <a:gd name="connsiteY2" fmla="*/ 35748 h 51815"/>
                    <a:gd name="connsiteX3" fmla="*/ 4983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0" y="0"/>
                      </a:moveTo>
                      <a:cubicBezTo>
                        <a:pt x="3114" y="7847"/>
                        <a:pt x="3612" y="14075"/>
                        <a:pt x="3488" y="18435"/>
                      </a:cubicBezTo>
                      <a:cubicBezTo>
                        <a:pt x="3239" y="25410"/>
                        <a:pt x="1370" y="28648"/>
                        <a:pt x="1495" y="35748"/>
                      </a:cubicBezTo>
                      <a:cubicBezTo>
                        <a:pt x="1619" y="42599"/>
                        <a:pt x="3488"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4" name="Freeform 7618">
                  <a:extLst>
                    <a:ext uri="{FF2B5EF4-FFF2-40B4-BE49-F238E27FC236}">
                      <a16:creationId xmlns:a16="http://schemas.microsoft.com/office/drawing/2014/main" id="{15FE61C2-D541-E0D2-AE8E-DE2D0D68BAF7}"/>
                    </a:ext>
                  </a:extLst>
                </p:cNvPr>
                <p:cNvSpPr/>
                <p:nvPr/>
              </p:nvSpPr>
              <p:spPr>
                <a:xfrm>
                  <a:off x="7030485" y="1935900"/>
                  <a:ext cx="26751" cy="26503"/>
                </a:xfrm>
                <a:custGeom>
                  <a:avLst/>
                  <a:gdLst>
                    <a:gd name="connsiteX0" fmla="*/ 48 w 26751"/>
                    <a:gd name="connsiteY0" fmla="*/ 14373 h 26503"/>
                    <a:gd name="connsiteX1" fmla="*/ 12255 w 26751"/>
                    <a:gd name="connsiteY1" fmla="*/ 49 h 26503"/>
                    <a:gd name="connsiteX2" fmla="*/ 26704 w 26751"/>
                    <a:gd name="connsiteY2" fmla="*/ 12131 h 26503"/>
                    <a:gd name="connsiteX3" fmla="*/ 14497 w 26751"/>
                    <a:gd name="connsiteY3" fmla="*/ 26455 h 26503"/>
                    <a:gd name="connsiteX4" fmla="*/ 48 w 26751"/>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3">
                      <a:moveTo>
                        <a:pt x="48" y="14373"/>
                      </a:moveTo>
                      <a:cubicBezTo>
                        <a:pt x="-574" y="7024"/>
                        <a:pt x="4906" y="672"/>
                        <a:pt x="12255" y="49"/>
                      </a:cubicBezTo>
                      <a:cubicBezTo>
                        <a:pt x="19604" y="-574"/>
                        <a:pt x="26081" y="4782"/>
                        <a:pt x="26704" y="12131"/>
                      </a:cubicBezTo>
                      <a:cubicBezTo>
                        <a:pt x="27326" y="19480"/>
                        <a:pt x="21846" y="25833"/>
                        <a:pt x="14497" y="26455"/>
                      </a:cubicBezTo>
                      <a:cubicBezTo>
                        <a:pt x="7023" y="27078"/>
                        <a:pt x="671" y="21598"/>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5" name="Freeform 7619">
                  <a:extLst>
                    <a:ext uri="{FF2B5EF4-FFF2-40B4-BE49-F238E27FC236}">
                      <a16:creationId xmlns:a16="http://schemas.microsoft.com/office/drawing/2014/main" id="{5666F26C-73A2-4949-F156-20D386C00DC1}"/>
                    </a:ext>
                  </a:extLst>
                </p:cNvPr>
                <p:cNvSpPr/>
                <p:nvPr/>
              </p:nvSpPr>
              <p:spPr>
                <a:xfrm>
                  <a:off x="7029365" y="1834559"/>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6" name="Freeform 7620">
                  <a:extLst>
                    <a:ext uri="{FF2B5EF4-FFF2-40B4-BE49-F238E27FC236}">
                      <a16:creationId xmlns:a16="http://schemas.microsoft.com/office/drawing/2014/main" id="{7E210FCF-F2E7-E453-4B9A-77B9802A9EB7}"/>
                    </a:ext>
                  </a:extLst>
                </p:cNvPr>
                <p:cNvSpPr/>
                <p:nvPr/>
              </p:nvSpPr>
              <p:spPr>
                <a:xfrm>
                  <a:off x="7037134" y="1828954"/>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488"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7" name="Freeform 7621">
                  <a:extLst>
                    <a:ext uri="{FF2B5EF4-FFF2-40B4-BE49-F238E27FC236}">
                      <a16:creationId xmlns:a16="http://schemas.microsoft.com/office/drawing/2014/main" id="{A74F1B07-0B64-1102-F426-DD71487679C6}"/>
                    </a:ext>
                  </a:extLst>
                </p:cNvPr>
                <p:cNvSpPr/>
                <p:nvPr/>
              </p:nvSpPr>
              <p:spPr>
                <a:xfrm>
                  <a:off x="7020270" y="1813958"/>
                  <a:ext cx="26504" cy="26503"/>
                </a:xfrm>
                <a:custGeom>
                  <a:avLst/>
                  <a:gdLst>
                    <a:gd name="connsiteX0" fmla="*/ 26455 w 26504"/>
                    <a:gd name="connsiteY0" fmla="*/ 12131 h 26503"/>
                    <a:gd name="connsiteX1" fmla="*/ 14374 w 26504"/>
                    <a:gd name="connsiteY1" fmla="*/ 26455 h 26503"/>
                    <a:gd name="connsiteX2" fmla="*/ 49 w 26504"/>
                    <a:gd name="connsiteY2" fmla="*/ 14373 h 26503"/>
                    <a:gd name="connsiteX3" fmla="*/ 12132 w 26504"/>
                    <a:gd name="connsiteY3" fmla="*/ 49 h 26503"/>
                    <a:gd name="connsiteX4" fmla="*/ 26455 w 26504"/>
                    <a:gd name="connsiteY4" fmla="*/ 12131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4" h="26503">
                      <a:moveTo>
                        <a:pt x="26455" y="12131"/>
                      </a:moveTo>
                      <a:cubicBezTo>
                        <a:pt x="27078" y="19480"/>
                        <a:pt x="21722" y="25833"/>
                        <a:pt x="14374" y="26455"/>
                      </a:cubicBezTo>
                      <a:cubicBezTo>
                        <a:pt x="7149" y="27078"/>
                        <a:pt x="672" y="21598"/>
                        <a:pt x="49" y="14373"/>
                      </a:cubicBezTo>
                      <a:cubicBezTo>
                        <a:pt x="-573" y="7024"/>
                        <a:pt x="4782" y="672"/>
                        <a:pt x="12132" y="49"/>
                      </a:cubicBezTo>
                      <a:cubicBezTo>
                        <a:pt x="19356" y="-574"/>
                        <a:pt x="25833" y="4782"/>
                        <a:pt x="26455"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6" name="Graphic 2987">
                <a:extLst>
                  <a:ext uri="{FF2B5EF4-FFF2-40B4-BE49-F238E27FC236}">
                    <a16:creationId xmlns:a16="http://schemas.microsoft.com/office/drawing/2014/main" id="{CB6BAE12-B30E-67C4-50CF-F798B8EB3751}"/>
                  </a:ext>
                </a:extLst>
              </p:cNvPr>
              <p:cNvGrpSpPr/>
              <p:nvPr/>
            </p:nvGrpSpPr>
            <p:grpSpPr>
              <a:xfrm>
                <a:off x="6991000" y="1816326"/>
                <a:ext cx="36326" cy="148570"/>
                <a:chOff x="6991000" y="1816326"/>
                <a:chExt cx="36326" cy="148570"/>
              </a:xfrm>
              <a:grpFill/>
            </p:grpSpPr>
            <p:sp>
              <p:nvSpPr>
                <p:cNvPr id="6516" name="Freeform 7623">
                  <a:extLst>
                    <a:ext uri="{FF2B5EF4-FFF2-40B4-BE49-F238E27FC236}">
                      <a16:creationId xmlns:a16="http://schemas.microsoft.com/office/drawing/2014/main" id="{F10F50E3-844B-840F-2161-3594A14A8DF7}"/>
                    </a:ext>
                  </a:extLst>
                </p:cNvPr>
                <p:cNvSpPr/>
                <p:nvPr/>
              </p:nvSpPr>
              <p:spPr>
                <a:xfrm>
                  <a:off x="7012281" y="1892354"/>
                  <a:ext cx="6030" cy="51940"/>
                </a:xfrm>
                <a:custGeom>
                  <a:avLst/>
                  <a:gdLst>
                    <a:gd name="connsiteX0" fmla="*/ 4799 w 6030"/>
                    <a:gd name="connsiteY0" fmla="*/ 51941 h 51940"/>
                    <a:gd name="connsiteX1" fmla="*/ 5298 w 6030"/>
                    <a:gd name="connsiteY1" fmla="*/ 33132 h 51940"/>
                    <a:gd name="connsiteX2" fmla="*/ 440 w 6030"/>
                    <a:gd name="connsiteY2" fmla="*/ 16442 h 51940"/>
                    <a:gd name="connsiteX3" fmla="*/ 1312 w 6030"/>
                    <a:gd name="connsiteY3" fmla="*/ 0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51941"/>
                      </a:moveTo>
                      <a:cubicBezTo>
                        <a:pt x="6668" y="43720"/>
                        <a:pt x="6045" y="37367"/>
                        <a:pt x="5298" y="33132"/>
                      </a:cubicBezTo>
                      <a:cubicBezTo>
                        <a:pt x="3927" y="26282"/>
                        <a:pt x="1561"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7" name="Freeform 7624">
                  <a:extLst>
                    <a:ext uri="{FF2B5EF4-FFF2-40B4-BE49-F238E27FC236}">
                      <a16:creationId xmlns:a16="http://schemas.microsoft.com/office/drawing/2014/main" id="{7B42DF6C-E870-F3BA-D49C-36FCB328C3BA}"/>
                    </a:ext>
                  </a:extLst>
                </p:cNvPr>
                <p:cNvSpPr/>
                <p:nvPr/>
              </p:nvSpPr>
              <p:spPr>
                <a:xfrm>
                  <a:off x="7005622" y="1897959"/>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370"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8" name="Freeform 7625">
                  <a:extLst>
                    <a:ext uri="{FF2B5EF4-FFF2-40B4-BE49-F238E27FC236}">
                      <a16:creationId xmlns:a16="http://schemas.microsoft.com/office/drawing/2014/main" id="{83DCD2BA-AF1C-089B-4C3F-8E840DFF177D}"/>
                    </a:ext>
                  </a:extLst>
                </p:cNvPr>
                <p:cNvSpPr/>
                <p:nvPr/>
              </p:nvSpPr>
              <p:spPr>
                <a:xfrm>
                  <a:off x="7000715" y="1938391"/>
                  <a:ext cx="26611" cy="26504"/>
                </a:xfrm>
                <a:custGeom>
                  <a:avLst/>
                  <a:gdLst>
                    <a:gd name="connsiteX0" fmla="*/ 48 w 26611"/>
                    <a:gd name="connsiteY0" fmla="*/ 14373 h 26504"/>
                    <a:gd name="connsiteX1" fmla="*/ 12255 w 26611"/>
                    <a:gd name="connsiteY1" fmla="*/ 49 h 26504"/>
                    <a:gd name="connsiteX2" fmla="*/ 26579 w 26611"/>
                    <a:gd name="connsiteY2" fmla="*/ 12131 h 26504"/>
                    <a:gd name="connsiteX3" fmla="*/ 14373 w 26611"/>
                    <a:gd name="connsiteY3" fmla="*/ 26455 h 26504"/>
                    <a:gd name="connsiteX4" fmla="*/ 48 w 2661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1" h="26504">
                      <a:moveTo>
                        <a:pt x="48" y="14373"/>
                      </a:moveTo>
                      <a:cubicBezTo>
                        <a:pt x="-574" y="7024"/>
                        <a:pt x="4906" y="672"/>
                        <a:pt x="12255" y="49"/>
                      </a:cubicBezTo>
                      <a:cubicBezTo>
                        <a:pt x="19604" y="-574"/>
                        <a:pt x="26081" y="4782"/>
                        <a:pt x="26579" y="12131"/>
                      </a:cubicBezTo>
                      <a:cubicBezTo>
                        <a:pt x="27077" y="19480"/>
                        <a:pt x="21721" y="25833"/>
                        <a:pt x="14373" y="26455"/>
                      </a:cubicBezTo>
                      <a:cubicBezTo>
                        <a:pt x="7148" y="27078"/>
                        <a:pt x="671"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9" name="Freeform 7626">
                  <a:extLst>
                    <a:ext uri="{FF2B5EF4-FFF2-40B4-BE49-F238E27FC236}">
                      <a16:creationId xmlns:a16="http://schemas.microsoft.com/office/drawing/2014/main" id="{88E67C93-5FBC-1D39-905B-81F8E6422B41}"/>
                    </a:ext>
                  </a:extLst>
                </p:cNvPr>
                <p:cNvSpPr/>
                <p:nvPr/>
              </p:nvSpPr>
              <p:spPr>
                <a:xfrm>
                  <a:off x="6999907" y="1837051"/>
                  <a:ext cx="5905" cy="51940"/>
                </a:xfrm>
                <a:custGeom>
                  <a:avLst/>
                  <a:gdLst>
                    <a:gd name="connsiteX0" fmla="*/ 1231 w 5905"/>
                    <a:gd name="connsiteY0" fmla="*/ 0 h 51940"/>
                    <a:gd name="connsiteX1" fmla="*/ 732 w 5905"/>
                    <a:gd name="connsiteY1" fmla="*/ 18808 h 51940"/>
                    <a:gd name="connsiteX2" fmla="*/ 5465 w 5905"/>
                    <a:gd name="connsiteY2" fmla="*/ 35499 h 51940"/>
                    <a:gd name="connsiteX3" fmla="*/ 4593 w 590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0"/>
                      </a:moveTo>
                      <a:cubicBezTo>
                        <a:pt x="-638" y="8221"/>
                        <a:pt x="-15" y="14573"/>
                        <a:pt x="732" y="18808"/>
                      </a:cubicBezTo>
                      <a:cubicBezTo>
                        <a:pt x="2103" y="25659"/>
                        <a:pt x="4470" y="28524"/>
                        <a:pt x="5465" y="35499"/>
                      </a:cubicBezTo>
                      <a:cubicBezTo>
                        <a:pt x="6462" y="42350"/>
                        <a:pt x="5590" y="48204"/>
                        <a:pt x="459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0" name="Freeform 7627">
                  <a:extLst>
                    <a:ext uri="{FF2B5EF4-FFF2-40B4-BE49-F238E27FC236}">
                      <a16:creationId xmlns:a16="http://schemas.microsoft.com/office/drawing/2014/main" id="{20A9345F-C8E4-D1F3-F229-F28A48B66A65}"/>
                    </a:ext>
                  </a:extLst>
                </p:cNvPr>
                <p:cNvSpPr/>
                <p:nvPr/>
              </p:nvSpPr>
              <p:spPr>
                <a:xfrm>
                  <a:off x="7007614" y="1831446"/>
                  <a:ext cx="4982" cy="51815"/>
                </a:xfrm>
                <a:custGeom>
                  <a:avLst/>
                  <a:gdLst>
                    <a:gd name="connsiteX0" fmla="*/ 4983 w 4982"/>
                    <a:gd name="connsiteY0" fmla="*/ 51816 h 51815"/>
                    <a:gd name="connsiteX1" fmla="*/ 1495 w 4982"/>
                    <a:gd name="connsiteY1" fmla="*/ 33381 h 51815"/>
                    <a:gd name="connsiteX2" fmla="*/ 3488 w 4982"/>
                    <a:gd name="connsiteY2" fmla="*/ 16068 h 51815"/>
                    <a:gd name="connsiteX3" fmla="*/ 0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21" name="Freeform 7628">
                  <a:extLst>
                    <a:ext uri="{FF2B5EF4-FFF2-40B4-BE49-F238E27FC236}">
                      <a16:creationId xmlns:a16="http://schemas.microsoft.com/office/drawing/2014/main" id="{62D58B20-3153-38FE-83CE-9E35BF6841C6}"/>
                    </a:ext>
                  </a:extLst>
                </p:cNvPr>
                <p:cNvSpPr/>
                <p:nvPr/>
              </p:nvSpPr>
              <p:spPr>
                <a:xfrm>
                  <a:off x="6991000" y="1816326"/>
                  <a:ext cx="26378" cy="26502"/>
                </a:xfrm>
                <a:custGeom>
                  <a:avLst/>
                  <a:gdLst>
                    <a:gd name="connsiteX0" fmla="*/ 26330 w 26378"/>
                    <a:gd name="connsiteY0" fmla="*/ 12130 h 26502"/>
                    <a:gd name="connsiteX1" fmla="*/ 14247 w 26378"/>
                    <a:gd name="connsiteY1" fmla="*/ 26455 h 26502"/>
                    <a:gd name="connsiteX2" fmla="*/ 48 w 26378"/>
                    <a:gd name="connsiteY2" fmla="*/ 14372 h 26502"/>
                    <a:gd name="connsiteX3" fmla="*/ 12130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2" y="19479"/>
                        <a:pt x="21472" y="25832"/>
                        <a:pt x="14247" y="26455"/>
                      </a:cubicBezTo>
                      <a:cubicBezTo>
                        <a:pt x="7024" y="27077"/>
                        <a:pt x="546" y="21597"/>
                        <a:pt x="48" y="14372"/>
                      </a:cubicBezTo>
                      <a:cubicBezTo>
                        <a:pt x="-575" y="7024"/>
                        <a:pt x="4906" y="671"/>
                        <a:pt x="12130"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7" name="Graphic 2987">
                <a:extLst>
                  <a:ext uri="{FF2B5EF4-FFF2-40B4-BE49-F238E27FC236}">
                    <a16:creationId xmlns:a16="http://schemas.microsoft.com/office/drawing/2014/main" id="{6D4FC4AF-5BDA-F12D-AB9D-895B74E18120}"/>
                  </a:ext>
                </a:extLst>
              </p:cNvPr>
              <p:cNvGrpSpPr/>
              <p:nvPr/>
            </p:nvGrpSpPr>
            <p:grpSpPr>
              <a:xfrm>
                <a:off x="6961604" y="1818817"/>
                <a:ext cx="36093" cy="148570"/>
                <a:chOff x="6961604" y="1818817"/>
                <a:chExt cx="36093" cy="148570"/>
              </a:xfrm>
              <a:grpFill/>
            </p:grpSpPr>
            <p:sp>
              <p:nvSpPr>
                <p:cNvPr id="6510" name="Freeform 7630">
                  <a:extLst>
                    <a:ext uri="{FF2B5EF4-FFF2-40B4-BE49-F238E27FC236}">
                      <a16:creationId xmlns:a16="http://schemas.microsoft.com/office/drawing/2014/main" id="{A122FE30-A170-5423-685E-6282B7E8B123}"/>
                    </a:ext>
                  </a:extLst>
                </p:cNvPr>
                <p:cNvSpPr/>
                <p:nvPr/>
              </p:nvSpPr>
              <p:spPr>
                <a:xfrm>
                  <a:off x="6982761" y="1894845"/>
                  <a:ext cx="5951" cy="51940"/>
                </a:xfrm>
                <a:custGeom>
                  <a:avLst/>
                  <a:gdLst>
                    <a:gd name="connsiteX0" fmla="*/ 4675 w 5951"/>
                    <a:gd name="connsiteY0" fmla="*/ 51941 h 51940"/>
                    <a:gd name="connsiteX1" fmla="*/ 5173 w 5951"/>
                    <a:gd name="connsiteY1" fmla="*/ 33132 h 51940"/>
                    <a:gd name="connsiteX2" fmla="*/ 440 w 5951"/>
                    <a:gd name="connsiteY2" fmla="*/ 16442 h 51940"/>
                    <a:gd name="connsiteX3" fmla="*/ 1312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51941"/>
                      </a:moveTo>
                      <a:cubicBezTo>
                        <a:pt x="6543" y="43720"/>
                        <a:pt x="6045" y="37367"/>
                        <a:pt x="5173" y="33132"/>
                      </a:cubicBezTo>
                      <a:cubicBezTo>
                        <a:pt x="3803" y="26282"/>
                        <a:pt x="1436" y="23417"/>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1" name="Freeform 7631">
                  <a:extLst>
                    <a:ext uri="{FF2B5EF4-FFF2-40B4-BE49-F238E27FC236}">
                      <a16:creationId xmlns:a16="http://schemas.microsoft.com/office/drawing/2014/main" id="{D353557C-D359-D925-1FA2-1059313B2B1F}"/>
                    </a:ext>
                  </a:extLst>
                </p:cNvPr>
                <p:cNvSpPr/>
                <p:nvPr/>
              </p:nvSpPr>
              <p:spPr>
                <a:xfrm>
                  <a:off x="6975977" y="1900450"/>
                  <a:ext cx="4857" cy="51815"/>
                </a:xfrm>
                <a:custGeom>
                  <a:avLst/>
                  <a:gdLst>
                    <a:gd name="connsiteX0" fmla="*/ 0 w 4857"/>
                    <a:gd name="connsiteY0" fmla="*/ 0 h 51815"/>
                    <a:gd name="connsiteX1" fmla="*/ 3488 w 4857"/>
                    <a:gd name="connsiteY1" fmla="*/ 18435 h 51815"/>
                    <a:gd name="connsiteX2" fmla="*/ 1370 w 4857"/>
                    <a:gd name="connsiteY2" fmla="*/ 35748 h 51815"/>
                    <a:gd name="connsiteX3" fmla="*/ 4858 w 485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857" h="51815">
                      <a:moveTo>
                        <a:pt x="0" y="0"/>
                      </a:moveTo>
                      <a:cubicBezTo>
                        <a:pt x="3114" y="7847"/>
                        <a:pt x="3612" y="14075"/>
                        <a:pt x="3488" y="18435"/>
                      </a:cubicBezTo>
                      <a:cubicBezTo>
                        <a:pt x="3239" y="25410"/>
                        <a:pt x="1370" y="28648"/>
                        <a:pt x="1370" y="35748"/>
                      </a:cubicBezTo>
                      <a:cubicBezTo>
                        <a:pt x="1370" y="42599"/>
                        <a:pt x="3239" y="48204"/>
                        <a:pt x="485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2" name="Freeform 7632">
                  <a:extLst>
                    <a:ext uri="{FF2B5EF4-FFF2-40B4-BE49-F238E27FC236}">
                      <a16:creationId xmlns:a16="http://schemas.microsoft.com/office/drawing/2014/main" id="{4FC22C9A-3D0C-2617-1FC2-3E7149025B89}"/>
                    </a:ext>
                  </a:extLst>
                </p:cNvPr>
                <p:cNvSpPr/>
                <p:nvPr/>
              </p:nvSpPr>
              <p:spPr>
                <a:xfrm>
                  <a:off x="6971071" y="1940882"/>
                  <a:ext cx="26627" cy="26504"/>
                </a:xfrm>
                <a:custGeom>
                  <a:avLst/>
                  <a:gdLst>
                    <a:gd name="connsiteX0" fmla="*/ 48 w 26627"/>
                    <a:gd name="connsiteY0" fmla="*/ 14373 h 26504"/>
                    <a:gd name="connsiteX1" fmla="*/ 12255 w 26627"/>
                    <a:gd name="connsiteY1" fmla="*/ 49 h 26504"/>
                    <a:gd name="connsiteX2" fmla="*/ 26579 w 26627"/>
                    <a:gd name="connsiteY2" fmla="*/ 12131 h 26504"/>
                    <a:gd name="connsiteX3" fmla="*/ 14373 w 26627"/>
                    <a:gd name="connsiteY3" fmla="*/ 26455 h 26504"/>
                    <a:gd name="connsiteX4" fmla="*/ 48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4373"/>
                      </a:moveTo>
                      <a:cubicBezTo>
                        <a:pt x="-574" y="7024"/>
                        <a:pt x="4906" y="672"/>
                        <a:pt x="12255" y="49"/>
                      </a:cubicBezTo>
                      <a:cubicBezTo>
                        <a:pt x="19604" y="-574"/>
                        <a:pt x="25956" y="4782"/>
                        <a:pt x="26579" y="12131"/>
                      </a:cubicBezTo>
                      <a:cubicBezTo>
                        <a:pt x="27202" y="19480"/>
                        <a:pt x="21721" y="25833"/>
                        <a:pt x="14373" y="26455"/>
                      </a:cubicBezTo>
                      <a:cubicBezTo>
                        <a:pt x="7023" y="27078"/>
                        <a:pt x="547" y="21722"/>
                        <a:pt x="4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3" name="Freeform 7633">
                  <a:extLst>
                    <a:ext uri="{FF2B5EF4-FFF2-40B4-BE49-F238E27FC236}">
                      <a16:creationId xmlns:a16="http://schemas.microsoft.com/office/drawing/2014/main" id="{3088B71D-A1D1-AB00-B548-3C98736F7820}"/>
                    </a:ext>
                  </a:extLst>
                </p:cNvPr>
                <p:cNvSpPr/>
                <p:nvPr/>
              </p:nvSpPr>
              <p:spPr>
                <a:xfrm>
                  <a:off x="6970340" y="1839417"/>
                  <a:ext cx="5951" cy="51940"/>
                </a:xfrm>
                <a:custGeom>
                  <a:avLst/>
                  <a:gdLst>
                    <a:gd name="connsiteX0" fmla="*/ 1277 w 5951"/>
                    <a:gd name="connsiteY0" fmla="*/ 0 h 51940"/>
                    <a:gd name="connsiteX1" fmla="*/ 778 w 5951"/>
                    <a:gd name="connsiteY1" fmla="*/ 18808 h 51940"/>
                    <a:gd name="connsiteX2" fmla="*/ 5512 w 5951"/>
                    <a:gd name="connsiteY2" fmla="*/ 35499 h 51940"/>
                    <a:gd name="connsiteX3" fmla="*/ 4640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0"/>
                      </a:moveTo>
                      <a:cubicBezTo>
                        <a:pt x="-592" y="8221"/>
                        <a:pt x="-94" y="14573"/>
                        <a:pt x="778" y="18808"/>
                      </a:cubicBezTo>
                      <a:cubicBezTo>
                        <a:pt x="2149" y="25659"/>
                        <a:pt x="4515" y="28524"/>
                        <a:pt x="5512" y="35499"/>
                      </a:cubicBezTo>
                      <a:cubicBezTo>
                        <a:pt x="6508" y="42350"/>
                        <a:pt x="5636"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4" name="Freeform 7634">
                  <a:extLst>
                    <a:ext uri="{FF2B5EF4-FFF2-40B4-BE49-F238E27FC236}">
                      <a16:creationId xmlns:a16="http://schemas.microsoft.com/office/drawing/2014/main" id="{A77D5C86-055F-9569-572E-4D61BB215E8F}"/>
                    </a:ext>
                  </a:extLst>
                </p:cNvPr>
                <p:cNvSpPr/>
                <p:nvPr/>
              </p:nvSpPr>
              <p:spPr>
                <a:xfrm>
                  <a:off x="6978094" y="1833812"/>
                  <a:ext cx="4982" cy="51940"/>
                </a:xfrm>
                <a:custGeom>
                  <a:avLst/>
                  <a:gdLst>
                    <a:gd name="connsiteX0" fmla="*/ 4983 w 4982"/>
                    <a:gd name="connsiteY0" fmla="*/ 51941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1"/>
                      </a:moveTo>
                      <a:cubicBezTo>
                        <a:pt x="1869" y="44093"/>
                        <a:pt x="1371" y="37866"/>
                        <a:pt x="1495" y="33506"/>
                      </a:cubicBezTo>
                      <a:cubicBezTo>
                        <a:pt x="1744" y="26531"/>
                        <a:pt x="3613" y="23292"/>
                        <a:pt x="3488" y="16192"/>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15" name="Freeform 7635">
                  <a:extLst>
                    <a:ext uri="{FF2B5EF4-FFF2-40B4-BE49-F238E27FC236}">
                      <a16:creationId xmlns:a16="http://schemas.microsoft.com/office/drawing/2014/main" id="{72C55C56-EC7A-D276-FD23-98A88E039159}"/>
                    </a:ext>
                  </a:extLst>
                </p:cNvPr>
                <p:cNvSpPr/>
                <p:nvPr/>
              </p:nvSpPr>
              <p:spPr>
                <a:xfrm>
                  <a:off x="6961604" y="1818817"/>
                  <a:ext cx="26378" cy="26502"/>
                </a:xfrm>
                <a:custGeom>
                  <a:avLst/>
                  <a:gdLst>
                    <a:gd name="connsiteX0" fmla="*/ 26330 w 26378"/>
                    <a:gd name="connsiteY0" fmla="*/ 12130 h 26502"/>
                    <a:gd name="connsiteX1" fmla="*/ 14248 w 26378"/>
                    <a:gd name="connsiteY1" fmla="*/ 26454 h 26502"/>
                    <a:gd name="connsiteX2" fmla="*/ 48 w 26378"/>
                    <a:gd name="connsiteY2" fmla="*/ 14372 h 26502"/>
                    <a:gd name="connsiteX3" fmla="*/ 12131 w 26378"/>
                    <a:gd name="connsiteY3" fmla="*/ 48 h 26502"/>
                    <a:gd name="connsiteX4" fmla="*/ 26330 w 26378"/>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2">
                      <a:moveTo>
                        <a:pt x="26330" y="12130"/>
                      </a:moveTo>
                      <a:cubicBezTo>
                        <a:pt x="26953" y="19479"/>
                        <a:pt x="21473" y="25832"/>
                        <a:pt x="14248" y="26454"/>
                      </a:cubicBezTo>
                      <a:cubicBezTo>
                        <a:pt x="7023" y="27077"/>
                        <a:pt x="672" y="21597"/>
                        <a:pt x="48" y="14372"/>
                      </a:cubicBezTo>
                      <a:cubicBezTo>
                        <a:pt x="-574" y="7024"/>
                        <a:pt x="4906" y="671"/>
                        <a:pt x="12131" y="48"/>
                      </a:cubicBezTo>
                      <a:cubicBezTo>
                        <a:pt x="19355" y="-575"/>
                        <a:pt x="25707" y="4906"/>
                        <a:pt x="26330"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8" name="Graphic 2987">
                <a:extLst>
                  <a:ext uri="{FF2B5EF4-FFF2-40B4-BE49-F238E27FC236}">
                    <a16:creationId xmlns:a16="http://schemas.microsoft.com/office/drawing/2014/main" id="{F3C51CE7-D5AC-931E-986E-F96EADD7098C}"/>
                  </a:ext>
                </a:extLst>
              </p:cNvPr>
              <p:cNvGrpSpPr/>
              <p:nvPr/>
            </p:nvGrpSpPr>
            <p:grpSpPr>
              <a:xfrm>
                <a:off x="6932225" y="1821308"/>
                <a:ext cx="35827" cy="148570"/>
                <a:chOff x="6932225" y="1821308"/>
                <a:chExt cx="35827" cy="148570"/>
              </a:xfrm>
              <a:grpFill/>
            </p:grpSpPr>
            <p:sp>
              <p:nvSpPr>
                <p:cNvPr id="6504" name="Freeform 7637">
                  <a:extLst>
                    <a:ext uri="{FF2B5EF4-FFF2-40B4-BE49-F238E27FC236}">
                      <a16:creationId xmlns:a16="http://schemas.microsoft.com/office/drawing/2014/main" id="{B0FEF3EF-B84F-E2CB-E961-30B8397AF14C}"/>
                    </a:ext>
                  </a:extLst>
                </p:cNvPr>
                <p:cNvSpPr/>
                <p:nvPr/>
              </p:nvSpPr>
              <p:spPr>
                <a:xfrm>
                  <a:off x="6953140" y="1897337"/>
                  <a:ext cx="5927" cy="51940"/>
                </a:xfrm>
                <a:custGeom>
                  <a:avLst/>
                  <a:gdLst>
                    <a:gd name="connsiteX0" fmla="*/ 4651 w 5927"/>
                    <a:gd name="connsiteY0" fmla="*/ 51941 h 51940"/>
                    <a:gd name="connsiteX1" fmla="*/ 5149 w 5927"/>
                    <a:gd name="connsiteY1" fmla="*/ 33132 h 51940"/>
                    <a:gd name="connsiteX2" fmla="*/ 416 w 5927"/>
                    <a:gd name="connsiteY2" fmla="*/ 16442 h 51940"/>
                    <a:gd name="connsiteX3" fmla="*/ 1288 w 5927"/>
                    <a:gd name="connsiteY3" fmla="*/ 0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51941"/>
                      </a:moveTo>
                      <a:cubicBezTo>
                        <a:pt x="6519" y="43720"/>
                        <a:pt x="6021" y="37367"/>
                        <a:pt x="5149" y="33132"/>
                      </a:cubicBezTo>
                      <a:cubicBezTo>
                        <a:pt x="3779" y="26282"/>
                        <a:pt x="1413" y="23417"/>
                        <a:pt x="416" y="16442"/>
                      </a:cubicBezTo>
                      <a:cubicBezTo>
                        <a:pt x="-581"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5" name="Freeform 7638">
                  <a:extLst>
                    <a:ext uri="{FF2B5EF4-FFF2-40B4-BE49-F238E27FC236}">
                      <a16:creationId xmlns:a16="http://schemas.microsoft.com/office/drawing/2014/main" id="{4482BEB9-0581-F616-C204-4B93E6FE0832}"/>
                    </a:ext>
                  </a:extLst>
                </p:cNvPr>
                <p:cNvSpPr/>
                <p:nvPr/>
              </p:nvSpPr>
              <p:spPr>
                <a:xfrm>
                  <a:off x="6946457" y="1902942"/>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612"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6" name="Freeform 7639">
                  <a:extLst>
                    <a:ext uri="{FF2B5EF4-FFF2-40B4-BE49-F238E27FC236}">
                      <a16:creationId xmlns:a16="http://schemas.microsoft.com/office/drawing/2014/main" id="{8B069A54-0E2F-8D7F-4880-52E404687F18}"/>
                    </a:ext>
                  </a:extLst>
                </p:cNvPr>
                <p:cNvSpPr/>
                <p:nvPr/>
              </p:nvSpPr>
              <p:spPr>
                <a:xfrm>
                  <a:off x="6941319" y="1943374"/>
                  <a:ext cx="26733" cy="26504"/>
                </a:xfrm>
                <a:custGeom>
                  <a:avLst/>
                  <a:gdLst>
                    <a:gd name="connsiteX0" fmla="*/ 32 w 26733"/>
                    <a:gd name="connsiteY0" fmla="*/ 14373 h 26504"/>
                    <a:gd name="connsiteX1" fmla="*/ 12363 w 26733"/>
                    <a:gd name="connsiteY1" fmla="*/ 49 h 26504"/>
                    <a:gd name="connsiteX2" fmla="*/ 26686 w 26733"/>
                    <a:gd name="connsiteY2" fmla="*/ 12131 h 26504"/>
                    <a:gd name="connsiteX3" fmla="*/ 14355 w 26733"/>
                    <a:gd name="connsiteY3" fmla="*/ 26455 h 26504"/>
                    <a:gd name="connsiteX4" fmla="*/ 32 w 26733"/>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32" y="14373"/>
                      </a:moveTo>
                      <a:cubicBezTo>
                        <a:pt x="-467" y="7024"/>
                        <a:pt x="5013" y="672"/>
                        <a:pt x="12363" y="49"/>
                      </a:cubicBezTo>
                      <a:cubicBezTo>
                        <a:pt x="19711" y="-574"/>
                        <a:pt x="26064" y="4782"/>
                        <a:pt x="26686" y="12131"/>
                      </a:cubicBezTo>
                      <a:cubicBezTo>
                        <a:pt x="27309" y="19480"/>
                        <a:pt x="21704" y="25833"/>
                        <a:pt x="14355" y="26455"/>
                      </a:cubicBezTo>
                      <a:cubicBezTo>
                        <a:pt x="7007" y="27078"/>
                        <a:pt x="654" y="21722"/>
                        <a:pt x="32"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7" name="Freeform 7640">
                  <a:extLst>
                    <a:ext uri="{FF2B5EF4-FFF2-40B4-BE49-F238E27FC236}">
                      <a16:creationId xmlns:a16="http://schemas.microsoft.com/office/drawing/2014/main" id="{9EB068D9-3269-9FA3-01B6-C9F90897046F}"/>
                    </a:ext>
                  </a:extLst>
                </p:cNvPr>
                <p:cNvSpPr/>
                <p:nvPr/>
              </p:nvSpPr>
              <p:spPr>
                <a:xfrm>
                  <a:off x="6940945" y="1841908"/>
                  <a:ext cx="5927" cy="51940"/>
                </a:xfrm>
                <a:custGeom>
                  <a:avLst/>
                  <a:gdLst>
                    <a:gd name="connsiteX0" fmla="*/ 1276 w 5927"/>
                    <a:gd name="connsiteY0" fmla="*/ 0 h 51940"/>
                    <a:gd name="connsiteX1" fmla="*/ 778 w 5927"/>
                    <a:gd name="connsiteY1" fmla="*/ 18808 h 51940"/>
                    <a:gd name="connsiteX2" fmla="*/ 5512 w 5927"/>
                    <a:gd name="connsiteY2" fmla="*/ 35499 h 51940"/>
                    <a:gd name="connsiteX3" fmla="*/ 4640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1276" y="0"/>
                      </a:moveTo>
                      <a:cubicBezTo>
                        <a:pt x="-591" y="8221"/>
                        <a:pt x="-94" y="14573"/>
                        <a:pt x="778" y="18808"/>
                      </a:cubicBezTo>
                      <a:cubicBezTo>
                        <a:pt x="2024" y="25659"/>
                        <a:pt x="4390" y="28524"/>
                        <a:pt x="5512" y="35499"/>
                      </a:cubicBezTo>
                      <a:cubicBezTo>
                        <a:pt x="6508" y="42350"/>
                        <a:pt x="5512" y="48204"/>
                        <a:pt x="464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8" name="Freeform 7641">
                  <a:extLst>
                    <a:ext uri="{FF2B5EF4-FFF2-40B4-BE49-F238E27FC236}">
                      <a16:creationId xmlns:a16="http://schemas.microsoft.com/office/drawing/2014/main" id="{7BAF1209-415A-453B-390E-1E26358CA66F}"/>
                    </a:ext>
                  </a:extLst>
                </p:cNvPr>
                <p:cNvSpPr/>
                <p:nvPr/>
              </p:nvSpPr>
              <p:spPr>
                <a:xfrm>
                  <a:off x="6948948" y="1836303"/>
                  <a:ext cx="4608" cy="51940"/>
                </a:xfrm>
                <a:custGeom>
                  <a:avLst/>
                  <a:gdLst>
                    <a:gd name="connsiteX0" fmla="*/ 4609 w 4608"/>
                    <a:gd name="connsiteY0" fmla="*/ 51941 h 51940"/>
                    <a:gd name="connsiteX1" fmla="*/ 1245 w 4608"/>
                    <a:gd name="connsiteY1" fmla="*/ 33506 h 51940"/>
                    <a:gd name="connsiteX2" fmla="*/ 3363 w 4608"/>
                    <a:gd name="connsiteY2" fmla="*/ 16192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996" y="37865"/>
                        <a:pt x="1245" y="33506"/>
                      </a:cubicBezTo>
                      <a:cubicBezTo>
                        <a:pt x="1495" y="26531"/>
                        <a:pt x="3363" y="23292"/>
                        <a:pt x="3363" y="16192"/>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9" name="Freeform 7642">
                  <a:extLst>
                    <a:ext uri="{FF2B5EF4-FFF2-40B4-BE49-F238E27FC236}">
                      <a16:creationId xmlns:a16="http://schemas.microsoft.com/office/drawing/2014/main" id="{ED6DA833-A5DF-30C8-A6F8-5FEFBDF76906}"/>
                    </a:ext>
                  </a:extLst>
                </p:cNvPr>
                <p:cNvSpPr/>
                <p:nvPr/>
              </p:nvSpPr>
              <p:spPr>
                <a:xfrm>
                  <a:off x="6932225" y="1821308"/>
                  <a:ext cx="26361" cy="26502"/>
                </a:xfrm>
                <a:custGeom>
                  <a:avLst/>
                  <a:gdLst>
                    <a:gd name="connsiteX0" fmla="*/ 26314 w 26361"/>
                    <a:gd name="connsiteY0" fmla="*/ 12130 h 26502"/>
                    <a:gd name="connsiteX1" fmla="*/ 14232 w 26361"/>
                    <a:gd name="connsiteY1" fmla="*/ 26454 h 26502"/>
                    <a:gd name="connsiteX2" fmla="*/ 32 w 26361"/>
                    <a:gd name="connsiteY2" fmla="*/ 14372 h 26502"/>
                    <a:gd name="connsiteX3" fmla="*/ 12115 w 26361"/>
                    <a:gd name="connsiteY3" fmla="*/ 48 h 26502"/>
                    <a:gd name="connsiteX4" fmla="*/ 26314 w 26361"/>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2">
                      <a:moveTo>
                        <a:pt x="26314" y="12130"/>
                      </a:moveTo>
                      <a:cubicBezTo>
                        <a:pt x="26937" y="19479"/>
                        <a:pt x="21456" y="25832"/>
                        <a:pt x="14232" y="26454"/>
                      </a:cubicBezTo>
                      <a:cubicBezTo>
                        <a:pt x="7007" y="27077"/>
                        <a:pt x="655" y="21597"/>
                        <a:pt x="32" y="14372"/>
                      </a:cubicBezTo>
                      <a:cubicBezTo>
                        <a:pt x="-466" y="7024"/>
                        <a:pt x="4890" y="671"/>
                        <a:pt x="12115" y="48"/>
                      </a:cubicBezTo>
                      <a:cubicBezTo>
                        <a:pt x="19338" y="-575"/>
                        <a:pt x="25691" y="4906"/>
                        <a:pt x="26314"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49" name="Graphic 2987">
                <a:extLst>
                  <a:ext uri="{FF2B5EF4-FFF2-40B4-BE49-F238E27FC236}">
                    <a16:creationId xmlns:a16="http://schemas.microsoft.com/office/drawing/2014/main" id="{4B026315-F8BB-C54C-01D6-3BC776C58635}"/>
                  </a:ext>
                </a:extLst>
              </p:cNvPr>
              <p:cNvGrpSpPr/>
              <p:nvPr/>
            </p:nvGrpSpPr>
            <p:grpSpPr>
              <a:xfrm>
                <a:off x="6902830" y="1823799"/>
                <a:ext cx="35561" cy="148570"/>
                <a:chOff x="6902830" y="1823799"/>
                <a:chExt cx="35561" cy="148570"/>
              </a:xfrm>
              <a:grpFill/>
            </p:grpSpPr>
            <p:sp>
              <p:nvSpPr>
                <p:cNvPr id="6498" name="Freeform 7644">
                  <a:extLst>
                    <a:ext uri="{FF2B5EF4-FFF2-40B4-BE49-F238E27FC236}">
                      <a16:creationId xmlns:a16="http://schemas.microsoft.com/office/drawing/2014/main" id="{BB9A9216-8203-6654-5C90-2DBB8A148C54}"/>
                    </a:ext>
                  </a:extLst>
                </p:cNvPr>
                <p:cNvSpPr/>
                <p:nvPr/>
              </p:nvSpPr>
              <p:spPr>
                <a:xfrm>
                  <a:off x="6923499" y="1899828"/>
                  <a:ext cx="5816" cy="51940"/>
                </a:xfrm>
                <a:custGeom>
                  <a:avLst/>
                  <a:gdLst>
                    <a:gd name="connsiteX0" fmla="*/ 4523 w 5816"/>
                    <a:gd name="connsiteY0" fmla="*/ 51941 h 51940"/>
                    <a:gd name="connsiteX1" fmla="*/ 5146 w 5816"/>
                    <a:gd name="connsiteY1" fmla="*/ 33132 h 51940"/>
                    <a:gd name="connsiteX2" fmla="*/ 413 w 5816"/>
                    <a:gd name="connsiteY2" fmla="*/ 16442 h 51940"/>
                    <a:gd name="connsiteX3" fmla="*/ 1410 w 5816"/>
                    <a:gd name="connsiteY3" fmla="*/ 0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51941"/>
                      </a:moveTo>
                      <a:cubicBezTo>
                        <a:pt x="6391" y="43720"/>
                        <a:pt x="5893" y="37367"/>
                        <a:pt x="5146" y="33132"/>
                      </a:cubicBezTo>
                      <a:cubicBezTo>
                        <a:pt x="3900" y="26282"/>
                        <a:pt x="1533"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9" name="Freeform 7645">
                  <a:extLst>
                    <a:ext uri="{FF2B5EF4-FFF2-40B4-BE49-F238E27FC236}">
                      <a16:creationId xmlns:a16="http://schemas.microsoft.com/office/drawing/2014/main" id="{79BDAA97-105B-2D6A-9947-81D59D9A0B66}"/>
                    </a:ext>
                  </a:extLst>
                </p:cNvPr>
                <p:cNvSpPr/>
                <p:nvPr/>
              </p:nvSpPr>
              <p:spPr>
                <a:xfrm>
                  <a:off x="6916812" y="1905433"/>
                  <a:ext cx="4608" cy="51940"/>
                </a:xfrm>
                <a:custGeom>
                  <a:avLst/>
                  <a:gdLst>
                    <a:gd name="connsiteX0" fmla="*/ 0 w 4608"/>
                    <a:gd name="connsiteY0" fmla="*/ 0 h 51940"/>
                    <a:gd name="connsiteX1" fmla="*/ 3363 w 4608"/>
                    <a:gd name="connsiteY1" fmla="*/ 18435 h 51940"/>
                    <a:gd name="connsiteX2" fmla="*/ 1245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075"/>
                        <a:pt x="3363" y="18435"/>
                      </a:cubicBezTo>
                      <a:cubicBezTo>
                        <a:pt x="3114" y="25410"/>
                        <a:pt x="1245" y="28648"/>
                        <a:pt x="1245" y="35748"/>
                      </a:cubicBezTo>
                      <a:cubicBezTo>
                        <a:pt x="1245"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0" name="Freeform 7646">
                  <a:extLst>
                    <a:ext uri="{FF2B5EF4-FFF2-40B4-BE49-F238E27FC236}">
                      <a16:creationId xmlns:a16="http://schemas.microsoft.com/office/drawing/2014/main" id="{956DBCBD-9D01-A986-E937-12CC10389938}"/>
                    </a:ext>
                  </a:extLst>
                </p:cNvPr>
                <p:cNvSpPr/>
                <p:nvPr/>
              </p:nvSpPr>
              <p:spPr>
                <a:xfrm>
                  <a:off x="6911674" y="1945866"/>
                  <a:ext cx="26717" cy="26503"/>
                </a:xfrm>
                <a:custGeom>
                  <a:avLst/>
                  <a:gdLst>
                    <a:gd name="connsiteX0" fmla="*/ 32 w 26717"/>
                    <a:gd name="connsiteY0" fmla="*/ 14372 h 26503"/>
                    <a:gd name="connsiteX1" fmla="*/ 12363 w 26717"/>
                    <a:gd name="connsiteY1" fmla="*/ 48 h 26503"/>
                    <a:gd name="connsiteX2" fmla="*/ 26686 w 26717"/>
                    <a:gd name="connsiteY2" fmla="*/ 12130 h 26503"/>
                    <a:gd name="connsiteX3" fmla="*/ 14355 w 26717"/>
                    <a:gd name="connsiteY3" fmla="*/ 26454 h 26503"/>
                    <a:gd name="connsiteX4" fmla="*/ 32 w 26717"/>
                    <a:gd name="connsiteY4" fmla="*/ 14372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3">
                      <a:moveTo>
                        <a:pt x="32" y="14372"/>
                      </a:moveTo>
                      <a:cubicBezTo>
                        <a:pt x="-467" y="7024"/>
                        <a:pt x="5013" y="671"/>
                        <a:pt x="12363" y="48"/>
                      </a:cubicBezTo>
                      <a:cubicBezTo>
                        <a:pt x="19711" y="-575"/>
                        <a:pt x="26064" y="4906"/>
                        <a:pt x="26686" y="12130"/>
                      </a:cubicBezTo>
                      <a:cubicBezTo>
                        <a:pt x="27185" y="19479"/>
                        <a:pt x="21704" y="25832"/>
                        <a:pt x="14355" y="26454"/>
                      </a:cubicBezTo>
                      <a:cubicBezTo>
                        <a:pt x="6882" y="27077"/>
                        <a:pt x="529" y="21721"/>
                        <a:pt x="32" y="143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1" name="Freeform 7647">
                  <a:extLst>
                    <a:ext uri="{FF2B5EF4-FFF2-40B4-BE49-F238E27FC236}">
                      <a16:creationId xmlns:a16="http://schemas.microsoft.com/office/drawing/2014/main" id="{7EF36CFF-891D-F43E-D152-38BA642EDB42}"/>
                    </a:ext>
                  </a:extLst>
                </p:cNvPr>
                <p:cNvSpPr/>
                <p:nvPr/>
              </p:nvSpPr>
              <p:spPr>
                <a:xfrm>
                  <a:off x="6911533" y="1844400"/>
                  <a:ext cx="5691" cy="51940"/>
                </a:xfrm>
                <a:custGeom>
                  <a:avLst/>
                  <a:gdLst>
                    <a:gd name="connsiteX0" fmla="*/ 1293 w 5691"/>
                    <a:gd name="connsiteY0" fmla="*/ 0 h 51940"/>
                    <a:gd name="connsiteX1" fmla="*/ 670 w 5691"/>
                    <a:gd name="connsiteY1" fmla="*/ 18808 h 51940"/>
                    <a:gd name="connsiteX2" fmla="*/ 5279 w 5691"/>
                    <a:gd name="connsiteY2" fmla="*/ 35499 h 51940"/>
                    <a:gd name="connsiteX3" fmla="*/ 4282 w 569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691" h="51940">
                      <a:moveTo>
                        <a:pt x="1293" y="0"/>
                      </a:moveTo>
                      <a:cubicBezTo>
                        <a:pt x="-575" y="8221"/>
                        <a:pt x="-77" y="14573"/>
                        <a:pt x="670" y="18808"/>
                      </a:cubicBezTo>
                      <a:cubicBezTo>
                        <a:pt x="1915" y="25659"/>
                        <a:pt x="4282" y="28524"/>
                        <a:pt x="5279" y="35499"/>
                      </a:cubicBezTo>
                      <a:cubicBezTo>
                        <a:pt x="6275" y="42350"/>
                        <a:pt x="5279" y="48204"/>
                        <a:pt x="428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2" name="Freeform 7648">
                  <a:extLst>
                    <a:ext uri="{FF2B5EF4-FFF2-40B4-BE49-F238E27FC236}">
                      <a16:creationId xmlns:a16="http://schemas.microsoft.com/office/drawing/2014/main" id="{B62D43E7-0D25-4A27-4173-799EBB18F520}"/>
                    </a:ext>
                  </a:extLst>
                </p:cNvPr>
                <p:cNvSpPr/>
                <p:nvPr/>
              </p:nvSpPr>
              <p:spPr>
                <a:xfrm>
                  <a:off x="6919428" y="1838794"/>
                  <a:ext cx="4608" cy="51940"/>
                </a:xfrm>
                <a:custGeom>
                  <a:avLst/>
                  <a:gdLst>
                    <a:gd name="connsiteX0" fmla="*/ 4609 w 4608"/>
                    <a:gd name="connsiteY0" fmla="*/ 51941 h 51940"/>
                    <a:gd name="connsiteX1" fmla="*/ 1245 w 4608"/>
                    <a:gd name="connsiteY1" fmla="*/ 33506 h 51940"/>
                    <a:gd name="connsiteX2" fmla="*/ 3363 w 4608"/>
                    <a:gd name="connsiteY2" fmla="*/ 16193 h 51940"/>
                    <a:gd name="connsiteX3" fmla="*/ 0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51941"/>
                      </a:moveTo>
                      <a:cubicBezTo>
                        <a:pt x="1495" y="44093"/>
                        <a:pt x="1121" y="37866"/>
                        <a:pt x="1245"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503" name="Freeform 7649">
                  <a:extLst>
                    <a:ext uri="{FF2B5EF4-FFF2-40B4-BE49-F238E27FC236}">
                      <a16:creationId xmlns:a16="http://schemas.microsoft.com/office/drawing/2014/main" id="{8C0F0608-1C88-3D71-CA29-FAAF51328837}"/>
                    </a:ext>
                  </a:extLst>
                </p:cNvPr>
                <p:cNvSpPr/>
                <p:nvPr/>
              </p:nvSpPr>
              <p:spPr>
                <a:xfrm>
                  <a:off x="6902830" y="1823799"/>
                  <a:ext cx="26345" cy="26502"/>
                </a:xfrm>
                <a:custGeom>
                  <a:avLst/>
                  <a:gdLst>
                    <a:gd name="connsiteX0" fmla="*/ 26313 w 26345"/>
                    <a:gd name="connsiteY0" fmla="*/ 12130 h 26502"/>
                    <a:gd name="connsiteX1" fmla="*/ 14106 w 26345"/>
                    <a:gd name="connsiteY1" fmla="*/ 26454 h 26502"/>
                    <a:gd name="connsiteX2" fmla="*/ 31 w 26345"/>
                    <a:gd name="connsiteY2" fmla="*/ 14372 h 26502"/>
                    <a:gd name="connsiteX3" fmla="*/ 12238 w 26345"/>
                    <a:gd name="connsiteY3" fmla="*/ 48 h 26502"/>
                    <a:gd name="connsiteX4" fmla="*/ 26313 w 26345"/>
                    <a:gd name="connsiteY4" fmla="*/ 12130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02">
                      <a:moveTo>
                        <a:pt x="26313" y="12130"/>
                      </a:moveTo>
                      <a:cubicBezTo>
                        <a:pt x="26812" y="19479"/>
                        <a:pt x="21455" y="25832"/>
                        <a:pt x="14106" y="26454"/>
                      </a:cubicBezTo>
                      <a:cubicBezTo>
                        <a:pt x="6757" y="27077"/>
                        <a:pt x="529" y="21597"/>
                        <a:pt x="31" y="14372"/>
                      </a:cubicBezTo>
                      <a:cubicBezTo>
                        <a:pt x="-467" y="7023"/>
                        <a:pt x="5014" y="671"/>
                        <a:pt x="12238" y="48"/>
                      </a:cubicBezTo>
                      <a:cubicBezTo>
                        <a:pt x="19338" y="-575"/>
                        <a:pt x="25690" y="4906"/>
                        <a:pt x="26313" y="121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0" name="Graphic 2987">
                <a:extLst>
                  <a:ext uri="{FF2B5EF4-FFF2-40B4-BE49-F238E27FC236}">
                    <a16:creationId xmlns:a16="http://schemas.microsoft.com/office/drawing/2014/main" id="{665C2B20-DF44-C377-A25A-29AA0CEC9373}"/>
                  </a:ext>
                </a:extLst>
              </p:cNvPr>
              <p:cNvGrpSpPr/>
              <p:nvPr/>
            </p:nvGrpSpPr>
            <p:grpSpPr>
              <a:xfrm>
                <a:off x="6873434" y="1826059"/>
                <a:ext cx="35063" cy="148534"/>
                <a:chOff x="6873434" y="1826059"/>
                <a:chExt cx="35063" cy="148534"/>
              </a:xfrm>
              <a:grpFill/>
            </p:grpSpPr>
            <p:sp>
              <p:nvSpPr>
                <p:cNvPr id="6492" name="Freeform 7651">
                  <a:extLst>
                    <a:ext uri="{FF2B5EF4-FFF2-40B4-BE49-F238E27FC236}">
                      <a16:creationId xmlns:a16="http://schemas.microsoft.com/office/drawing/2014/main" id="{927C9A7C-F064-8FFA-76E4-2E630E458D28}"/>
                    </a:ext>
                  </a:extLst>
                </p:cNvPr>
                <p:cNvSpPr/>
                <p:nvPr/>
              </p:nvSpPr>
              <p:spPr>
                <a:xfrm>
                  <a:off x="6893979" y="1902070"/>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1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6" y="26406"/>
                        <a:pt x="1410" y="23417"/>
                        <a:pt x="413" y="16442"/>
                      </a:cubicBezTo>
                      <a:cubicBezTo>
                        <a:pt x="-584" y="9591"/>
                        <a:pt x="413" y="3861"/>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3" name="Freeform 7652">
                  <a:extLst>
                    <a:ext uri="{FF2B5EF4-FFF2-40B4-BE49-F238E27FC236}">
                      <a16:creationId xmlns:a16="http://schemas.microsoft.com/office/drawing/2014/main" id="{358EACBA-6CD6-4749-664C-4FA807FC29B7}"/>
                    </a:ext>
                  </a:extLst>
                </p:cNvPr>
                <p:cNvSpPr/>
                <p:nvPr/>
              </p:nvSpPr>
              <p:spPr>
                <a:xfrm>
                  <a:off x="6887292" y="1907550"/>
                  <a:ext cx="4483" cy="51940"/>
                </a:xfrm>
                <a:custGeom>
                  <a:avLst/>
                  <a:gdLst>
                    <a:gd name="connsiteX0" fmla="*/ 0 w 4483"/>
                    <a:gd name="connsiteY0" fmla="*/ 0 h 51940"/>
                    <a:gd name="connsiteX1" fmla="*/ 3363 w 4483"/>
                    <a:gd name="connsiteY1" fmla="*/ 18559 h 51940"/>
                    <a:gd name="connsiteX2" fmla="*/ 1121 w 4483"/>
                    <a:gd name="connsiteY2" fmla="*/ 35748 h 51940"/>
                    <a:gd name="connsiteX3" fmla="*/ 4484 w 448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483" h="51940">
                      <a:moveTo>
                        <a:pt x="0" y="0"/>
                      </a:moveTo>
                      <a:cubicBezTo>
                        <a:pt x="2989" y="7847"/>
                        <a:pt x="3487" y="14200"/>
                        <a:pt x="3363" y="18559"/>
                      </a:cubicBezTo>
                      <a:cubicBezTo>
                        <a:pt x="3114" y="25534"/>
                        <a:pt x="1121" y="28648"/>
                        <a:pt x="1121" y="35748"/>
                      </a:cubicBezTo>
                      <a:cubicBezTo>
                        <a:pt x="1121" y="42599"/>
                        <a:pt x="2865" y="48328"/>
                        <a:pt x="448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4" name="Freeform 7653">
                  <a:extLst>
                    <a:ext uri="{FF2B5EF4-FFF2-40B4-BE49-F238E27FC236}">
                      <a16:creationId xmlns:a16="http://schemas.microsoft.com/office/drawing/2014/main" id="{000491C6-8CFB-C112-F501-03C4105BCAFE}"/>
                    </a:ext>
                  </a:extLst>
                </p:cNvPr>
                <p:cNvSpPr/>
                <p:nvPr/>
              </p:nvSpPr>
              <p:spPr>
                <a:xfrm>
                  <a:off x="6881904" y="1948125"/>
                  <a:ext cx="26593" cy="26467"/>
                </a:xfrm>
                <a:custGeom>
                  <a:avLst/>
                  <a:gdLst>
                    <a:gd name="connsiteX0" fmla="*/ 32 w 26593"/>
                    <a:gd name="connsiteY0" fmla="*/ 14106 h 26467"/>
                    <a:gd name="connsiteX1" fmla="*/ 12363 w 26593"/>
                    <a:gd name="connsiteY1" fmla="*/ 31 h 26467"/>
                    <a:gd name="connsiteX2" fmla="*/ 26562 w 26593"/>
                    <a:gd name="connsiteY2" fmla="*/ 12362 h 26467"/>
                    <a:gd name="connsiteX3" fmla="*/ 14231 w 26593"/>
                    <a:gd name="connsiteY3" fmla="*/ 26437 h 26467"/>
                    <a:gd name="connsiteX4" fmla="*/ 32 w 26593"/>
                    <a:gd name="connsiteY4" fmla="*/ 1410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7">
                      <a:moveTo>
                        <a:pt x="32" y="14106"/>
                      </a:moveTo>
                      <a:cubicBezTo>
                        <a:pt x="-467" y="6757"/>
                        <a:pt x="5013" y="529"/>
                        <a:pt x="12363" y="31"/>
                      </a:cubicBezTo>
                      <a:cubicBezTo>
                        <a:pt x="19712" y="-467"/>
                        <a:pt x="26064" y="5138"/>
                        <a:pt x="26562" y="12362"/>
                      </a:cubicBezTo>
                      <a:cubicBezTo>
                        <a:pt x="27060" y="19711"/>
                        <a:pt x="21580" y="25939"/>
                        <a:pt x="14231" y="26437"/>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5" name="Freeform 7654">
                  <a:extLst>
                    <a:ext uri="{FF2B5EF4-FFF2-40B4-BE49-F238E27FC236}">
                      <a16:creationId xmlns:a16="http://schemas.microsoft.com/office/drawing/2014/main" id="{6EBF080D-A301-77A2-F38B-8E5A11F90749}"/>
                    </a:ext>
                  </a:extLst>
                </p:cNvPr>
                <p:cNvSpPr/>
                <p:nvPr/>
              </p:nvSpPr>
              <p:spPr>
                <a:xfrm>
                  <a:off x="6882089" y="1846517"/>
                  <a:ext cx="5739" cy="52065"/>
                </a:xfrm>
                <a:custGeom>
                  <a:avLst/>
                  <a:gdLst>
                    <a:gd name="connsiteX0" fmla="*/ 1341 w 5739"/>
                    <a:gd name="connsiteY0" fmla="*/ 0 h 52065"/>
                    <a:gd name="connsiteX1" fmla="*/ 719 w 5739"/>
                    <a:gd name="connsiteY1" fmla="*/ 18808 h 52065"/>
                    <a:gd name="connsiteX2" fmla="*/ 5327 w 5739"/>
                    <a:gd name="connsiteY2" fmla="*/ 35624 h 52065"/>
                    <a:gd name="connsiteX3" fmla="*/ 4330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0"/>
                      </a:moveTo>
                      <a:cubicBezTo>
                        <a:pt x="-527" y="8221"/>
                        <a:pt x="-153" y="14449"/>
                        <a:pt x="719" y="18808"/>
                      </a:cubicBezTo>
                      <a:cubicBezTo>
                        <a:pt x="1964" y="25659"/>
                        <a:pt x="4330" y="28648"/>
                        <a:pt x="5327" y="35624"/>
                      </a:cubicBezTo>
                      <a:cubicBezTo>
                        <a:pt x="6324" y="42474"/>
                        <a:pt x="5327" y="48204"/>
                        <a:pt x="43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6" name="Freeform 7655">
                  <a:extLst>
                    <a:ext uri="{FF2B5EF4-FFF2-40B4-BE49-F238E27FC236}">
                      <a16:creationId xmlns:a16="http://schemas.microsoft.com/office/drawing/2014/main" id="{6AE2CF33-532D-EE8F-A0F7-9530E51254F6}"/>
                    </a:ext>
                  </a:extLst>
                </p:cNvPr>
                <p:cNvSpPr/>
                <p:nvPr/>
              </p:nvSpPr>
              <p:spPr>
                <a:xfrm>
                  <a:off x="6890032" y="1841161"/>
                  <a:ext cx="4484" cy="51940"/>
                </a:xfrm>
                <a:custGeom>
                  <a:avLst/>
                  <a:gdLst>
                    <a:gd name="connsiteX0" fmla="*/ 4485 w 4484"/>
                    <a:gd name="connsiteY0" fmla="*/ 51941 h 51940"/>
                    <a:gd name="connsiteX1" fmla="*/ 1121 w 4484"/>
                    <a:gd name="connsiteY1" fmla="*/ 33381 h 51940"/>
                    <a:gd name="connsiteX2" fmla="*/ 3363 w 4484"/>
                    <a:gd name="connsiteY2" fmla="*/ 16192 h 51940"/>
                    <a:gd name="connsiteX3" fmla="*/ 0 w 4484"/>
                    <a:gd name="connsiteY3" fmla="*/ 0 h 51940"/>
                  </a:gdLst>
                  <a:ahLst/>
                  <a:cxnLst>
                    <a:cxn ang="0">
                      <a:pos x="connsiteX0" y="connsiteY0"/>
                    </a:cxn>
                    <a:cxn ang="0">
                      <a:pos x="connsiteX1" y="connsiteY1"/>
                    </a:cxn>
                    <a:cxn ang="0">
                      <a:pos x="connsiteX2" y="connsiteY2"/>
                    </a:cxn>
                    <a:cxn ang="0">
                      <a:pos x="connsiteX3" y="connsiteY3"/>
                    </a:cxn>
                  </a:cxnLst>
                  <a:rect l="l" t="t" r="r" b="b"/>
                  <a:pathLst>
                    <a:path w="4484" h="51940">
                      <a:moveTo>
                        <a:pt x="4485" y="51941"/>
                      </a:moveTo>
                      <a:cubicBezTo>
                        <a:pt x="1495" y="44093"/>
                        <a:pt x="997" y="37741"/>
                        <a:pt x="1121" y="33381"/>
                      </a:cubicBezTo>
                      <a:cubicBezTo>
                        <a:pt x="1371" y="26406"/>
                        <a:pt x="3363" y="23292"/>
                        <a:pt x="3363" y="16192"/>
                      </a:cubicBezTo>
                      <a:cubicBezTo>
                        <a:pt x="3363"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7" name="Freeform 7656">
                  <a:extLst>
                    <a:ext uri="{FF2B5EF4-FFF2-40B4-BE49-F238E27FC236}">
                      <a16:creationId xmlns:a16="http://schemas.microsoft.com/office/drawing/2014/main" id="{F5F9AB3F-FF82-4C16-9CD4-3CB378BE41A1}"/>
                    </a:ext>
                  </a:extLst>
                </p:cNvPr>
                <p:cNvSpPr/>
                <p:nvPr/>
              </p:nvSpPr>
              <p:spPr>
                <a:xfrm>
                  <a:off x="6873434" y="1826059"/>
                  <a:ext cx="26344" cy="26467"/>
                </a:xfrm>
                <a:custGeom>
                  <a:avLst/>
                  <a:gdLst>
                    <a:gd name="connsiteX0" fmla="*/ 26313 w 26344"/>
                    <a:gd name="connsiteY0" fmla="*/ 12362 h 26467"/>
                    <a:gd name="connsiteX1" fmla="*/ 14107 w 26344"/>
                    <a:gd name="connsiteY1" fmla="*/ 26437 h 26467"/>
                    <a:gd name="connsiteX2" fmla="*/ 32 w 26344"/>
                    <a:gd name="connsiteY2" fmla="*/ 13981 h 26467"/>
                    <a:gd name="connsiteX3" fmla="*/ 12238 w 26344"/>
                    <a:gd name="connsiteY3" fmla="*/ 31 h 26467"/>
                    <a:gd name="connsiteX4" fmla="*/ 26313 w 26344"/>
                    <a:gd name="connsiteY4" fmla="*/ 1236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7">
                      <a:moveTo>
                        <a:pt x="26313" y="12362"/>
                      </a:moveTo>
                      <a:cubicBezTo>
                        <a:pt x="26811" y="19711"/>
                        <a:pt x="21330" y="25939"/>
                        <a:pt x="14107" y="26437"/>
                      </a:cubicBezTo>
                      <a:cubicBezTo>
                        <a:pt x="6757" y="26935"/>
                        <a:pt x="529" y="21330"/>
                        <a:pt x="32" y="13981"/>
                      </a:cubicBezTo>
                      <a:cubicBezTo>
                        <a:pt x="-467" y="6632"/>
                        <a:pt x="5013" y="404"/>
                        <a:pt x="12238" y="31"/>
                      </a:cubicBezTo>
                      <a:cubicBezTo>
                        <a:pt x="19462" y="-467"/>
                        <a:pt x="25690" y="5138"/>
                        <a:pt x="26313" y="123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1" name="Graphic 2987">
                <a:extLst>
                  <a:ext uri="{FF2B5EF4-FFF2-40B4-BE49-F238E27FC236}">
                    <a16:creationId xmlns:a16="http://schemas.microsoft.com/office/drawing/2014/main" id="{EE2153A2-D896-247A-9E38-8BA2506DC084}"/>
                  </a:ext>
                </a:extLst>
              </p:cNvPr>
              <p:cNvGrpSpPr/>
              <p:nvPr/>
            </p:nvGrpSpPr>
            <p:grpSpPr>
              <a:xfrm>
                <a:off x="6843914" y="1827803"/>
                <a:ext cx="34938" cy="148646"/>
                <a:chOff x="6843914" y="1827803"/>
                <a:chExt cx="34938" cy="148646"/>
              </a:xfrm>
              <a:grpFill/>
            </p:grpSpPr>
            <p:sp>
              <p:nvSpPr>
                <p:cNvPr id="6486" name="Freeform 7658">
                  <a:extLst>
                    <a:ext uri="{FF2B5EF4-FFF2-40B4-BE49-F238E27FC236}">
                      <a16:creationId xmlns:a16="http://schemas.microsoft.com/office/drawing/2014/main" id="{461EE0F0-6ADF-8DB9-8D8D-C951513B0184}"/>
                    </a:ext>
                  </a:extLst>
                </p:cNvPr>
                <p:cNvSpPr/>
                <p:nvPr/>
              </p:nvSpPr>
              <p:spPr>
                <a:xfrm>
                  <a:off x="6864334" y="1903814"/>
                  <a:ext cx="5677" cy="52065"/>
                </a:xfrm>
                <a:custGeom>
                  <a:avLst/>
                  <a:gdLst>
                    <a:gd name="connsiteX0" fmla="*/ 4274 w 5677"/>
                    <a:gd name="connsiteY0" fmla="*/ 52065 h 52065"/>
                    <a:gd name="connsiteX1" fmla="*/ 5021 w 5677"/>
                    <a:gd name="connsiteY1" fmla="*/ 33257 h 52065"/>
                    <a:gd name="connsiteX2" fmla="*/ 413 w 5677"/>
                    <a:gd name="connsiteY2" fmla="*/ 16442 h 52065"/>
                    <a:gd name="connsiteX3" fmla="*/ 1410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4274" y="52065"/>
                      </a:moveTo>
                      <a:cubicBezTo>
                        <a:pt x="6267" y="43844"/>
                        <a:pt x="5769" y="37616"/>
                        <a:pt x="5021" y="33257"/>
                      </a:cubicBezTo>
                      <a:cubicBezTo>
                        <a:pt x="3776" y="26406"/>
                        <a:pt x="1410" y="23417"/>
                        <a:pt x="413" y="16442"/>
                      </a:cubicBezTo>
                      <a:cubicBezTo>
                        <a:pt x="-584" y="9591"/>
                        <a:pt x="413" y="3737"/>
                        <a:pt x="14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7" name="Freeform 7659">
                  <a:extLst>
                    <a:ext uri="{FF2B5EF4-FFF2-40B4-BE49-F238E27FC236}">
                      <a16:creationId xmlns:a16="http://schemas.microsoft.com/office/drawing/2014/main" id="{B2DC1E49-0C4F-7D30-6CE5-2F5491321E37}"/>
                    </a:ext>
                  </a:extLst>
                </p:cNvPr>
                <p:cNvSpPr/>
                <p:nvPr/>
              </p:nvSpPr>
              <p:spPr>
                <a:xfrm>
                  <a:off x="6857647" y="1909419"/>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488" y="14200"/>
                        <a:pt x="3239" y="18559"/>
                      </a:cubicBezTo>
                      <a:cubicBezTo>
                        <a:pt x="2989"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8" name="Freeform 7660">
                  <a:extLst>
                    <a:ext uri="{FF2B5EF4-FFF2-40B4-BE49-F238E27FC236}">
                      <a16:creationId xmlns:a16="http://schemas.microsoft.com/office/drawing/2014/main" id="{511A27BA-7307-4CD1-36CE-8E3D9210875E}"/>
                    </a:ext>
                  </a:extLst>
                </p:cNvPr>
                <p:cNvSpPr/>
                <p:nvPr/>
              </p:nvSpPr>
              <p:spPr>
                <a:xfrm>
                  <a:off x="6852136" y="1949869"/>
                  <a:ext cx="26717" cy="26579"/>
                </a:xfrm>
                <a:custGeom>
                  <a:avLst/>
                  <a:gdLst>
                    <a:gd name="connsiteX0" fmla="*/ 31 w 26717"/>
                    <a:gd name="connsiteY0" fmla="*/ 14106 h 26579"/>
                    <a:gd name="connsiteX1" fmla="*/ 12487 w 26717"/>
                    <a:gd name="connsiteY1" fmla="*/ 31 h 26579"/>
                    <a:gd name="connsiteX2" fmla="*/ 26686 w 26717"/>
                    <a:gd name="connsiteY2" fmla="*/ 12487 h 26579"/>
                    <a:gd name="connsiteX3" fmla="*/ 14231 w 26717"/>
                    <a:gd name="connsiteY3" fmla="*/ 26562 h 26579"/>
                    <a:gd name="connsiteX4" fmla="*/ 31 w 26717"/>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79">
                      <a:moveTo>
                        <a:pt x="31" y="14106"/>
                      </a:moveTo>
                      <a:cubicBezTo>
                        <a:pt x="-467" y="6757"/>
                        <a:pt x="5138" y="529"/>
                        <a:pt x="12487" y="31"/>
                      </a:cubicBezTo>
                      <a:cubicBezTo>
                        <a:pt x="19836" y="-467"/>
                        <a:pt x="26188" y="5138"/>
                        <a:pt x="26686" y="12487"/>
                      </a:cubicBezTo>
                      <a:cubicBezTo>
                        <a:pt x="27184" y="19835"/>
                        <a:pt x="21704" y="26063"/>
                        <a:pt x="14231" y="26562"/>
                      </a:cubicBezTo>
                      <a:cubicBezTo>
                        <a:pt x="6881"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9" name="Freeform 7661">
                  <a:extLst>
                    <a:ext uri="{FF2B5EF4-FFF2-40B4-BE49-F238E27FC236}">
                      <a16:creationId xmlns:a16="http://schemas.microsoft.com/office/drawing/2014/main" id="{6705F4C7-CBBC-21A8-AC3B-567040259EC8}"/>
                    </a:ext>
                  </a:extLst>
                </p:cNvPr>
                <p:cNvSpPr/>
                <p:nvPr/>
              </p:nvSpPr>
              <p:spPr>
                <a:xfrm>
                  <a:off x="6852551" y="1848385"/>
                  <a:ext cx="5633" cy="52065"/>
                </a:xfrm>
                <a:custGeom>
                  <a:avLst/>
                  <a:gdLst>
                    <a:gd name="connsiteX0" fmla="*/ 1360 w 5633"/>
                    <a:gd name="connsiteY0" fmla="*/ 0 h 52065"/>
                    <a:gd name="connsiteX1" fmla="*/ 612 w 5633"/>
                    <a:gd name="connsiteY1" fmla="*/ 18808 h 52065"/>
                    <a:gd name="connsiteX2" fmla="*/ 5221 w 5633"/>
                    <a:gd name="connsiteY2" fmla="*/ 35624 h 52065"/>
                    <a:gd name="connsiteX3" fmla="*/ 4224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1360" y="0"/>
                      </a:moveTo>
                      <a:cubicBezTo>
                        <a:pt x="-509" y="8221"/>
                        <a:pt x="-135" y="14449"/>
                        <a:pt x="612" y="18808"/>
                      </a:cubicBezTo>
                      <a:cubicBezTo>
                        <a:pt x="1858" y="25659"/>
                        <a:pt x="4224" y="28648"/>
                        <a:pt x="5221" y="35624"/>
                      </a:cubicBezTo>
                      <a:cubicBezTo>
                        <a:pt x="6218" y="42474"/>
                        <a:pt x="5221" y="48328"/>
                        <a:pt x="42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0" name="Freeform 7662">
                  <a:extLst>
                    <a:ext uri="{FF2B5EF4-FFF2-40B4-BE49-F238E27FC236}">
                      <a16:creationId xmlns:a16="http://schemas.microsoft.com/office/drawing/2014/main" id="{190080A7-29C4-9289-9880-1F33CFD47A12}"/>
                    </a:ext>
                  </a:extLst>
                </p:cNvPr>
                <p:cNvSpPr/>
                <p:nvPr/>
              </p:nvSpPr>
              <p:spPr>
                <a:xfrm>
                  <a:off x="6860636" y="1842905"/>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747" y="37741"/>
                        <a:pt x="997" y="33381"/>
                      </a:cubicBezTo>
                      <a:cubicBezTo>
                        <a:pt x="1246" y="26406"/>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91" name="Freeform 7663">
                  <a:extLst>
                    <a:ext uri="{FF2B5EF4-FFF2-40B4-BE49-F238E27FC236}">
                      <a16:creationId xmlns:a16="http://schemas.microsoft.com/office/drawing/2014/main" id="{49BC71FD-BF1D-62A1-8C23-5EAE3E6AC335}"/>
                    </a:ext>
                  </a:extLst>
                </p:cNvPr>
                <p:cNvSpPr/>
                <p:nvPr/>
              </p:nvSpPr>
              <p:spPr>
                <a:xfrm>
                  <a:off x="6843914" y="1827803"/>
                  <a:ext cx="26344" cy="26592"/>
                </a:xfrm>
                <a:custGeom>
                  <a:avLst/>
                  <a:gdLst>
                    <a:gd name="connsiteX0" fmla="*/ 26313 w 26344"/>
                    <a:gd name="connsiteY0" fmla="*/ 12487 h 26592"/>
                    <a:gd name="connsiteX1" fmla="*/ 14107 w 26344"/>
                    <a:gd name="connsiteY1" fmla="*/ 26562 h 26592"/>
                    <a:gd name="connsiteX2" fmla="*/ 32 w 26344"/>
                    <a:gd name="connsiteY2" fmla="*/ 14106 h 26592"/>
                    <a:gd name="connsiteX3" fmla="*/ 12238 w 26344"/>
                    <a:gd name="connsiteY3" fmla="*/ 31 h 26592"/>
                    <a:gd name="connsiteX4" fmla="*/ 26313 w 26344"/>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92">
                      <a:moveTo>
                        <a:pt x="26313" y="12487"/>
                      </a:moveTo>
                      <a:cubicBezTo>
                        <a:pt x="26811" y="19835"/>
                        <a:pt x="21330" y="26063"/>
                        <a:pt x="14107" y="26562"/>
                      </a:cubicBezTo>
                      <a:cubicBezTo>
                        <a:pt x="6757" y="27060"/>
                        <a:pt x="529" y="21455"/>
                        <a:pt x="32" y="14106"/>
                      </a:cubicBezTo>
                      <a:cubicBezTo>
                        <a:pt x="-467" y="6757"/>
                        <a:pt x="5013" y="529"/>
                        <a:pt x="12238" y="31"/>
                      </a:cubicBezTo>
                      <a:cubicBezTo>
                        <a:pt x="19462" y="-467"/>
                        <a:pt x="25815" y="5138"/>
                        <a:pt x="2631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2" name="Graphic 2987">
                <a:extLst>
                  <a:ext uri="{FF2B5EF4-FFF2-40B4-BE49-F238E27FC236}">
                    <a16:creationId xmlns:a16="http://schemas.microsoft.com/office/drawing/2014/main" id="{1C5193E4-1C56-7B57-048B-9DC1060D9D2D}"/>
                  </a:ext>
                </a:extLst>
              </p:cNvPr>
              <p:cNvGrpSpPr/>
              <p:nvPr/>
            </p:nvGrpSpPr>
            <p:grpSpPr>
              <a:xfrm>
                <a:off x="6814394" y="1829546"/>
                <a:ext cx="34688" cy="148658"/>
                <a:chOff x="6814394" y="1829546"/>
                <a:chExt cx="34688" cy="148658"/>
              </a:xfrm>
              <a:grpFill/>
            </p:grpSpPr>
            <p:sp>
              <p:nvSpPr>
                <p:cNvPr id="6480" name="Freeform 7665">
                  <a:extLst>
                    <a:ext uri="{FF2B5EF4-FFF2-40B4-BE49-F238E27FC236}">
                      <a16:creationId xmlns:a16="http://schemas.microsoft.com/office/drawing/2014/main" id="{2396B51F-5BAA-C1BB-A656-078E4B98CB9C}"/>
                    </a:ext>
                  </a:extLst>
                </p:cNvPr>
                <p:cNvSpPr/>
                <p:nvPr/>
              </p:nvSpPr>
              <p:spPr>
                <a:xfrm>
                  <a:off x="6834589" y="1905557"/>
                  <a:ext cx="5653" cy="52065"/>
                </a:xfrm>
                <a:custGeom>
                  <a:avLst/>
                  <a:gdLst>
                    <a:gd name="connsiteX0" fmla="*/ 4250 w 5653"/>
                    <a:gd name="connsiteY0" fmla="*/ 52065 h 52065"/>
                    <a:gd name="connsiteX1" fmla="*/ 4997 w 5653"/>
                    <a:gd name="connsiteY1" fmla="*/ 33257 h 52065"/>
                    <a:gd name="connsiteX2" fmla="*/ 388 w 5653"/>
                    <a:gd name="connsiteY2" fmla="*/ 16442 h 52065"/>
                    <a:gd name="connsiteX3" fmla="*/ 1510 w 5653"/>
                    <a:gd name="connsiteY3" fmla="*/ 0 h 52065"/>
                  </a:gdLst>
                  <a:ahLst/>
                  <a:cxnLst>
                    <a:cxn ang="0">
                      <a:pos x="connsiteX0" y="connsiteY0"/>
                    </a:cxn>
                    <a:cxn ang="0">
                      <a:pos x="connsiteX1" y="connsiteY1"/>
                    </a:cxn>
                    <a:cxn ang="0">
                      <a:pos x="connsiteX2" y="connsiteY2"/>
                    </a:cxn>
                    <a:cxn ang="0">
                      <a:pos x="connsiteX3" y="connsiteY3"/>
                    </a:cxn>
                  </a:cxnLst>
                  <a:rect l="l" t="t" r="r" b="b"/>
                  <a:pathLst>
                    <a:path w="5653" h="52065">
                      <a:moveTo>
                        <a:pt x="4250" y="52065"/>
                      </a:moveTo>
                      <a:cubicBezTo>
                        <a:pt x="6243" y="43844"/>
                        <a:pt x="5744" y="37616"/>
                        <a:pt x="4997" y="33257"/>
                      </a:cubicBezTo>
                      <a:cubicBezTo>
                        <a:pt x="3752" y="26406"/>
                        <a:pt x="1385" y="23417"/>
                        <a:pt x="388" y="16442"/>
                      </a:cubicBezTo>
                      <a:cubicBezTo>
                        <a:pt x="-608" y="9591"/>
                        <a:pt x="513" y="3737"/>
                        <a:pt x="1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1" name="Freeform 7666">
                  <a:extLst>
                    <a:ext uri="{FF2B5EF4-FFF2-40B4-BE49-F238E27FC236}">
                      <a16:creationId xmlns:a16="http://schemas.microsoft.com/office/drawing/2014/main" id="{5DE0514C-AA73-FFCD-A62C-DB1E707CA287}"/>
                    </a:ext>
                  </a:extLst>
                </p:cNvPr>
                <p:cNvSpPr/>
                <p:nvPr/>
              </p:nvSpPr>
              <p:spPr>
                <a:xfrm>
                  <a:off x="6828002" y="1911162"/>
                  <a:ext cx="4235" cy="51940"/>
                </a:xfrm>
                <a:custGeom>
                  <a:avLst/>
                  <a:gdLst>
                    <a:gd name="connsiteX0" fmla="*/ 0 w 4235"/>
                    <a:gd name="connsiteY0" fmla="*/ 0 h 51940"/>
                    <a:gd name="connsiteX1" fmla="*/ 3239 w 4235"/>
                    <a:gd name="connsiteY1" fmla="*/ 18559 h 51940"/>
                    <a:gd name="connsiteX2" fmla="*/ 997 w 4235"/>
                    <a:gd name="connsiteY2" fmla="*/ 35748 h 51940"/>
                    <a:gd name="connsiteX3" fmla="*/ 4235 w 423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5" h="51940">
                      <a:moveTo>
                        <a:pt x="0" y="0"/>
                      </a:moveTo>
                      <a:cubicBezTo>
                        <a:pt x="2989" y="7847"/>
                        <a:pt x="3363" y="14200"/>
                        <a:pt x="3239" y="18559"/>
                      </a:cubicBezTo>
                      <a:cubicBezTo>
                        <a:pt x="2865" y="25534"/>
                        <a:pt x="997" y="28773"/>
                        <a:pt x="997" y="35748"/>
                      </a:cubicBezTo>
                      <a:cubicBezTo>
                        <a:pt x="997" y="42599"/>
                        <a:pt x="2741" y="48328"/>
                        <a:pt x="423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2" name="Freeform 7667">
                  <a:extLst>
                    <a:ext uri="{FF2B5EF4-FFF2-40B4-BE49-F238E27FC236}">
                      <a16:creationId xmlns:a16="http://schemas.microsoft.com/office/drawing/2014/main" id="{B28C847F-914B-407D-82BA-8157995C4D74}"/>
                    </a:ext>
                  </a:extLst>
                </p:cNvPr>
                <p:cNvSpPr/>
                <p:nvPr/>
              </p:nvSpPr>
              <p:spPr>
                <a:xfrm>
                  <a:off x="6822366" y="1951613"/>
                  <a:ext cx="26717" cy="26592"/>
                </a:xfrm>
                <a:custGeom>
                  <a:avLst/>
                  <a:gdLst>
                    <a:gd name="connsiteX0" fmla="*/ 31 w 26717"/>
                    <a:gd name="connsiteY0" fmla="*/ 14106 h 26592"/>
                    <a:gd name="connsiteX1" fmla="*/ 12487 w 26717"/>
                    <a:gd name="connsiteY1" fmla="*/ 31 h 26592"/>
                    <a:gd name="connsiteX2" fmla="*/ 26686 w 26717"/>
                    <a:gd name="connsiteY2" fmla="*/ 12487 h 26592"/>
                    <a:gd name="connsiteX3" fmla="*/ 14231 w 26717"/>
                    <a:gd name="connsiteY3" fmla="*/ 26562 h 26592"/>
                    <a:gd name="connsiteX4" fmla="*/ 31 w 26717"/>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92">
                      <a:moveTo>
                        <a:pt x="31" y="14106"/>
                      </a:moveTo>
                      <a:cubicBezTo>
                        <a:pt x="-467" y="6757"/>
                        <a:pt x="5138" y="529"/>
                        <a:pt x="12487" y="31"/>
                      </a:cubicBezTo>
                      <a:cubicBezTo>
                        <a:pt x="19836" y="-467"/>
                        <a:pt x="26188" y="5138"/>
                        <a:pt x="26686" y="12487"/>
                      </a:cubicBezTo>
                      <a:cubicBezTo>
                        <a:pt x="27184" y="19835"/>
                        <a:pt x="21580" y="26063"/>
                        <a:pt x="14231" y="26562"/>
                      </a:cubicBezTo>
                      <a:cubicBezTo>
                        <a:pt x="6882"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3" name="Freeform 7668">
                  <a:extLst>
                    <a:ext uri="{FF2B5EF4-FFF2-40B4-BE49-F238E27FC236}">
                      <a16:creationId xmlns:a16="http://schemas.microsoft.com/office/drawing/2014/main" id="{FF18DDC2-D581-D6A0-9BD8-610D340E71D1}"/>
                    </a:ext>
                  </a:extLst>
                </p:cNvPr>
                <p:cNvSpPr/>
                <p:nvPr/>
              </p:nvSpPr>
              <p:spPr>
                <a:xfrm>
                  <a:off x="6823111" y="1850129"/>
                  <a:ext cx="5528" cy="52065"/>
                </a:xfrm>
                <a:custGeom>
                  <a:avLst/>
                  <a:gdLst>
                    <a:gd name="connsiteX0" fmla="*/ 1404 w 5528"/>
                    <a:gd name="connsiteY0" fmla="*/ 0 h 52065"/>
                    <a:gd name="connsiteX1" fmla="*/ 656 w 5528"/>
                    <a:gd name="connsiteY1" fmla="*/ 18808 h 52065"/>
                    <a:gd name="connsiteX2" fmla="*/ 5140 w 5528"/>
                    <a:gd name="connsiteY2" fmla="*/ 35623 h 52065"/>
                    <a:gd name="connsiteX3" fmla="*/ 4019 w 55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28" h="52065">
                      <a:moveTo>
                        <a:pt x="1404" y="0"/>
                      </a:moveTo>
                      <a:cubicBezTo>
                        <a:pt x="-590" y="8221"/>
                        <a:pt x="-91" y="14449"/>
                        <a:pt x="656" y="18808"/>
                      </a:cubicBezTo>
                      <a:cubicBezTo>
                        <a:pt x="1902" y="25659"/>
                        <a:pt x="4268" y="28648"/>
                        <a:pt x="5140" y="35623"/>
                      </a:cubicBezTo>
                      <a:cubicBezTo>
                        <a:pt x="6137" y="42474"/>
                        <a:pt x="5015"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4" name="Freeform 7669">
                  <a:extLst>
                    <a:ext uri="{FF2B5EF4-FFF2-40B4-BE49-F238E27FC236}">
                      <a16:creationId xmlns:a16="http://schemas.microsoft.com/office/drawing/2014/main" id="{365D00E0-7F65-788D-0B25-778CE0E91162}"/>
                    </a:ext>
                  </a:extLst>
                </p:cNvPr>
                <p:cNvSpPr/>
                <p:nvPr/>
              </p:nvSpPr>
              <p:spPr>
                <a:xfrm>
                  <a:off x="6831116" y="1844649"/>
                  <a:ext cx="4235" cy="51940"/>
                </a:xfrm>
                <a:custGeom>
                  <a:avLst/>
                  <a:gdLst>
                    <a:gd name="connsiteX0" fmla="*/ 4235 w 4235"/>
                    <a:gd name="connsiteY0" fmla="*/ 51941 h 51940"/>
                    <a:gd name="connsiteX1" fmla="*/ 997 w 4235"/>
                    <a:gd name="connsiteY1" fmla="*/ 33381 h 51940"/>
                    <a:gd name="connsiteX2" fmla="*/ 3239 w 4235"/>
                    <a:gd name="connsiteY2" fmla="*/ 16192 h 51940"/>
                    <a:gd name="connsiteX3" fmla="*/ 0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4235" y="51941"/>
                      </a:moveTo>
                      <a:cubicBezTo>
                        <a:pt x="1246" y="44093"/>
                        <a:pt x="872" y="37741"/>
                        <a:pt x="997" y="33381"/>
                      </a:cubicBezTo>
                      <a:cubicBezTo>
                        <a:pt x="1370" y="26406"/>
                        <a:pt x="3239" y="23168"/>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85" name="Freeform 7670">
                  <a:extLst>
                    <a:ext uri="{FF2B5EF4-FFF2-40B4-BE49-F238E27FC236}">
                      <a16:creationId xmlns:a16="http://schemas.microsoft.com/office/drawing/2014/main" id="{7AC148E8-B7C7-E40B-2AF2-93AC5997DCBB}"/>
                    </a:ext>
                  </a:extLst>
                </p:cNvPr>
                <p:cNvSpPr/>
                <p:nvPr/>
              </p:nvSpPr>
              <p:spPr>
                <a:xfrm>
                  <a:off x="6814394" y="1829546"/>
                  <a:ext cx="26469" cy="26592"/>
                </a:xfrm>
                <a:custGeom>
                  <a:avLst/>
                  <a:gdLst>
                    <a:gd name="connsiteX0" fmla="*/ 26438 w 26469"/>
                    <a:gd name="connsiteY0" fmla="*/ 12487 h 26592"/>
                    <a:gd name="connsiteX1" fmla="*/ 14106 w 26469"/>
                    <a:gd name="connsiteY1" fmla="*/ 26562 h 26592"/>
                    <a:gd name="connsiteX2" fmla="*/ 32 w 26469"/>
                    <a:gd name="connsiteY2" fmla="*/ 14106 h 26592"/>
                    <a:gd name="connsiteX3" fmla="*/ 12363 w 26469"/>
                    <a:gd name="connsiteY3" fmla="*/ 31 h 26592"/>
                    <a:gd name="connsiteX4" fmla="*/ 26438 w 26469"/>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92">
                      <a:moveTo>
                        <a:pt x="26438" y="12487"/>
                      </a:moveTo>
                      <a:cubicBezTo>
                        <a:pt x="26936" y="19835"/>
                        <a:pt x="21455" y="26063"/>
                        <a:pt x="14106" y="26562"/>
                      </a:cubicBezTo>
                      <a:cubicBezTo>
                        <a:pt x="6757" y="27060"/>
                        <a:pt x="529" y="21455"/>
                        <a:pt x="32" y="14106"/>
                      </a:cubicBezTo>
                      <a:cubicBezTo>
                        <a:pt x="-467" y="6757"/>
                        <a:pt x="5013" y="529"/>
                        <a:pt x="12363" y="31"/>
                      </a:cubicBezTo>
                      <a:cubicBezTo>
                        <a:pt x="19711" y="-467"/>
                        <a:pt x="25939" y="5138"/>
                        <a:pt x="26438"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3" name="Graphic 2987">
                <a:extLst>
                  <a:ext uri="{FF2B5EF4-FFF2-40B4-BE49-F238E27FC236}">
                    <a16:creationId xmlns:a16="http://schemas.microsoft.com/office/drawing/2014/main" id="{E112D854-0BE9-7B21-5ED0-14DCBA778723}"/>
                  </a:ext>
                </a:extLst>
              </p:cNvPr>
              <p:cNvGrpSpPr/>
              <p:nvPr/>
            </p:nvGrpSpPr>
            <p:grpSpPr>
              <a:xfrm>
                <a:off x="6784874" y="1831303"/>
                <a:ext cx="34439" cy="148757"/>
                <a:chOff x="6784874" y="1831303"/>
                <a:chExt cx="34439" cy="148757"/>
              </a:xfrm>
              <a:grpFill/>
            </p:grpSpPr>
            <p:sp>
              <p:nvSpPr>
                <p:cNvPr id="6474" name="Freeform 7672">
                  <a:extLst>
                    <a:ext uri="{FF2B5EF4-FFF2-40B4-BE49-F238E27FC236}">
                      <a16:creationId xmlns:a16="http://schemas.microsoft.com/office/drawing/2014/main" id="{933467F6-F376-118E-44A4-BF9EAE53D415}"/>
                    </a:ext>
                  </a:extLst>
                </p:cNvPr>
                <p:cNvSpPr/>
                <p:nvPr/>
              </p:nvSpPr>
              <p:spPr>
                <a:xfrm>
                  <a:off x="6805123" y="1907426"/>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6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206"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5" name="Freeform 7673">
                  <a:extLst>
                    <a:ext uri="{FF2B5EF4-FFF2-40B4-BE49-F238E27FC236}">
                      <a16:creationId xmlns:a16="http://schemas.microsoft.com/office/drawing/2014/main" id="{64C2818B-4072-D4A0-B6D6-F0C876D15339}"/>
                    </a:ext>
                  </a:extLst>
                </p:cNvPr>
                <p:cNvSpPr/>
                <p:nvPr/>
              </p:nvSpPr>
              <p:spPr>
                <a:xfrm>
                  <a:off x="6798357" y="1912906"/>
                  <a:ext cx="3985" cy="52065"/>
                </a:xfrm>
                <a:custGeom>
                  <a:avLst/>
                  <a:gdLst>
                    <a:gd name="connsiteX0" fmla="*/ 0 w 3985"/>
                    <a:gd name="connsiteY0" fmla="*/ 0 h 52065"/>
                    <a:gd name="connsiteX1" fmla="*/ 3114 w 3985"/>
                    <a:gd name="connsiteY1" fmla="*/ 18559 h 52065"/>
                    <a:gd name="connsiteX2" fmla="*/ 747 w 3985"/>
                    <a:gd name="connsiteY2" fmla="*/ 35873 h 52065"/>
                    <a:gd name="connsiteX3" fmla="*/ 3986 w 398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5" h="52065">
                      <a:moveTo>
                        <a:pt x="0" y="0"/>
                      </a:moveTo>
                      <a:cubicBezTo>
                        <a:pt x="2989" y="7847"/>
                        <a:pt x="3363" y="14200"/>
                        <a:pt x="3114" y="18559"/>
                      </a:cubicBezTo>
                      <a:cubicBezTo>
                        <a:pt x="2741" y="25534"/>
                        <a:pt x="872" y="28773"/>
                        <a:pt x="747" y="35873"/>
                      </a:cubicBezTo>
                      <a:cubicBezTo>
                        <a:pt x="747" y="42723"/>
                        <a:pt x="2491" y="48453"/>
                        <a:pt x="398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6" name="Freeform 7674">
                  <a:extLst>
                    <a:ext uri="{FF2B5EF4-FFF2-40B4-BE49-F238E27FC236}">
                      <a16:creationId xmlns:a16="http://schemas.microsoft.com/office/drawing/2014/main" id="{9EF939A9-59F1-1277-BA97-810E228DC492}"/>
                    </a:ext>
                  </a:extLst>
                </p:cNvPr>
                <p:cNvSpPr/>
                <p:nvPr/>
              </p:nvSpPr>
              <p:spPr>
                <a:xfrm>
                  <a:off x="6792597" y="1953481"/>
                  <a:ext cx="26716" cy="26579"/>
                </a:xfrm>
                <a:custGeom>
                  <a:avLst/>
                  <a:gdLst>
                    <a:gd name="connsiteX0" fmla="*/ 31 w 26716"/>
                    <a:gd name="connsiteY0" fmla="*/ 14106 h 26579"/>
                    <a:gd name="connsiteX1" fmla="*/ 12487 w 26716"/>
                    <a:gd name="connsiteY1" fmla="*/ 31 h 26579"/>
                    <a:gd name="connsiteX2" fmla="*/ 26686 w 26716"/>
                    <a:gd name="connsiteY2" fmla="*/ 12487 h 26579"/>
                    <a:gd name="connsiteX3" fmla="*/ 14230 w 26716"/>
                    <a:gd name="connsiteY3" fmla="*/ 26562 h 26579"/>
                    <a:gd name="connsiteX4" fmla="*/ 31 w 26716"/>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79">
                      <a:moveTo>
                        <a:pt x="31" y="14106"/>
                      </a:moveTo>
                      <a:cubicBezTo>
                        <a:pt x="-468" y="6757"/>
                        <a:pt x="5137" y="529"/>
                        <a:pt x="12487" y="31"/>
                      </a:cubicBezTo>
                      <a:cubicBezTo>
                        <a:pt x="19835" y="-467"/>
                        <a:pt x="26188" y="5138"/>
                        <a:pt x="26686" y="12487"/>
                      </a:cubicBezTo>
                      <a:cubicBezTo>
                        <a:pt x="27184" y="19835"/>
                        <a:pt x="21579" y="26063"/>
                        <a:pt x="14230" y="26562"/>
                      </a:cubicBezTo>
                      <a:cubicBezTo>
                        <a:pt x="6881"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7" name="Freeform 7675">
                  <a:extLst>
                    <a:ext uri="{FF2B5EF4-FFF2-40B4-BE49-F238E27FC236}">
                      <a16:creationId xmlns:a16="http://schemas.microsoft.com/office/drawing/2014/main" id="{23C15CB5-2933-5D52-775B-4D58B71666F4}"/>
                    </a:ext>
                  </a:extLst>
                </p:cNvPr>
                <p:cNvSpPr/>
                <p:nvPr/>
              </p:nvSpPr>
              <p:spPr>
                <a:xfrm>
                  <a:off x="6793591" y="1851873"/>
                  <a:ext cx="5474" cy="52065"/>
                </a:xfrm>
                <a:custGeom>
                  <a:avLst/>
                  <a:gdLst>
                    <a:gd name="connsiteX0" fmla="*/ 1404 w 5474"/>
                    <a:gd name="connsiteY0" fmla="*/ 0 h 52065"/>
                    <a:gd name="connsiteX1" fmla="*/ 656 w 5474"/>
                    <a:gd name="connsiteY1" fmla="*/ 18808 h 52065"/>
                    <a:gd name="connsiteX2" fmla="*/ 5141 w 5474"/>
                    <a:gd name="connsiteY2" fmla="*/ 35624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0"/>
                      </a:moveTo>
                      <a:cubicBezTo>
                        <a:pt x="-589" y="8221"/>
                        <a:pt x="-91" y="14449"/>
                        <a:pt x="656" y="18808"/>
                      </a:cubicBezTo>
                      <a:cubicBezTo>
                        <a:pt x="1902" y="25659"/>
                        <a:pt x="4144" y="28648"/>
                        <a:pt x="5141" y="35624"/>
                      </a:cubicBezTo>
                      <a:cubicBezTo>
                        <a:pt x="6013"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8" name="Freeform 7676">
                  <a:extLst>
                    <a:ext uri="{FF2B5EF4-FFF2-40B4-BE49-F238E27FC236}">
                      <a16:creationId xmlns:a16="http://schemas.microsoft.com/office/drawing/2014/main" id="{A7612E01-3C4E-8AC8-94E8-8860544B2498}"/>
                    </a:ext>
                  </a:extLst>
                </p:cNvPr>
                <p:cNvSpPr/>
                <p:nvPr/>
              </p:nvSpPr>
              <p:spPr>
                <a:xfrm>
                  <a:off x="6801721" y="1846392"/>
                  <a:ext cx="3985" cy="52065"/>
                </a:xfrm>
                <a:custGeom>
                  <a:avLst/>
                  <a:gdLst>
                    <a:gd name="connsiteX0" fmla="*/ 3986 w 3985"/>
                    <a:gd name="connsiteY0" fmla="*/ 52065 h 52065"/>
                    <a:gd name="connsiteX1" fmla="*/ 872 w 3985"/>
                    <a:gd name="connsiteY1" fmla="*/ 33506 h 52065"/>
                    <a:gd name="connsiteX2" fmla="*/ 3239 w 3985"/>
                    <a:gd name="connsiteY2" fmla="*/ 16193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6" y="52065"/>
                      </a:moveTo>
                      <a:cubicBezTo>
                        <a:pt x="997" y="44218"/>
                        <a:pt x="623" y="37866"/>
                        <a:pt x="872" y="33506"/>
                      </a:cubicBezTo>
                      <a:cubicBezTo>
                        <a:pt x="1245" y="26531"/>
                        <a:pt x="3114"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9" name="Freeform 7677">
                  <a:extLst>
                    <a:ext uri="{FF2B5EF4-FFF2-40B4-BE49-F238E27FC236}">
                      <a16:creationId xmlns:a16="http://schemas.microsoft.com/office/drawing/2014/main" id="{F50665CE-85E6-2024-9C4B-F814A5488B06}"/>
                    </a:ext>
                  </a:extLst>
                </p:cNvPr>
                <p:cNvSpPr/>
                <p:nvPr/>
              </p:nvSpPr>
              <p:spPr>
                <a:xfrm>
                  <a:off x="6784874" y="1831303"/>
                  <a:ext cx="26468" cy="26579"/>
                </a:xfrm>
                <a:custGeom>
                  <a:avLst/>
                  <a:gdLst>
                    <a:gd name="connsiteX0" fmla="*/ 26438 w 26468"/>
                    <a:gd name="connsiteY0" fmla="*/ 12473 h 26579"/>
                    <a:gd name="connsiteX1" fmla="*/ 14106 w 26468"/>
                    <a:gd name="connsiteY1" fmla="*/ 26548 h 26579"/>
                    <a:gd name="connsiteX2" fmla="*/ 31 w 26468"/>
                    <a:gd name="connsiteY2" fmla="*/ 14093 h 26579"/>
                    <a:gd name="connsiteX3" fmla="*/ 12363 w 26468"/>
                    <a:gd name="connsiteY3" fmla="*/ 18 h 26579"/>
                    <a:gd name="connsiteX4" fmla="*/ 26438 w 26468"/>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579">
                      <a:moveTo>
                        <a:pt x="26438" y="12473"/>
                      </a:moveTo>
                      <a:cubicBezTo>
                        <a:pt x="26936" y="19822"/>
                        <a:pt x="21330" y="26050"/>
                        <a:pt x="14106" y="26548"/>
                      </a:cubicBezTo>
                      <a:cubicBezTo>
                        <a:pt x="6882" y="27047"/>
                        <a:pt x="529" y="21442"/>
                        <a:pt x="31" y="14093"/>
                      </a:cubicBezTo>
                      <a:cubicBezTo>
                        <a:pt x="-467" y="6744"/>
                        <a:pt x="5138" y="516"/>
                        <a:pt x="12363" y="18"/>
                      </a:cubicBezTo>
                      <a:cubicBezTo>
                        <a:pt x="19711" y="-356"/>
                        <a:pt x="25939" y="5249"/>
                        <a:pt x="26438"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4" name="Graphic 2987">
                <a:extLst>
                  <a:ext uri="{FF2B5EF4-FFF2-40B4-BE49-F238E27FC236}">
                    <a16:creationId xmlns:a16="http://schemas.microsoft.com/office/drawing/2014/main" id="{C79051FB-CD2D-6819-2E33-313B8021D1A1}"/>
                  </a:ext>
                </a:extLst>
              </p:cNvPr>
              <p:cNvGrpSpPr/>
              <p:nvPr/>
            </p:nvGrpSpPr>
            <p:grpSpPr>
              <a:xfrm>
                <a:off x="6755603" y="1833047"/>
                <a:ext cx="33816" cy="148757"/>
                <a:chOff x="6755603" y="1833047"/>
                <a:chExt cx="33816" cy="148757"/>
              </a:xfrm>
              <a:grpFill/>
            </p:grpSpPr>
            <p:sp>
              <p:nvSpPr>
                <p:cNvPr id="6468" name="Freeform 7679">
                  <a:extLst>
                    <a:ext uri="{FF2B5EF4-FFF2-40B4-BE49-F238E27FC236}">
                      <a16:creationId xmlns:a16="http://schemas.microsoft.com/office/drawing/2014/main" id="{1ED0863E-26DB-CA01-15BE-446BC7760786}"/>
                    </a:ext>
                  </a:extLst>
                </p:cNvPr>
                <p:cNvSpPr/>
                <p:nvPr/>
              </p:nvSpPr>
              <p:spPr>
                <a:xfrm>
                  <a:off x="6775478" y="1909170"/>
                  <a:ext cx="5418" cy="52065"/>
                </a:xfrm>
                <a:custGeom>
                  <a:avLst/>
                  <a:gdLst>
                    <a:gd name="connsiteX0" fmla="*/ 3947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7"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9" name="Freeform 7680">
                  <a:extLst>
                    <a:ext uri="{FF2B5EF4-FFF2-40B4-BE49-F238E27FC236}">
                      <a16:creationId xmlns:a16="http://schemas.microsoft.com/office/drawing/2014/main" id="{ADF11708-B94C-BC1F-268B-A248C86E9F67}"/>
                    </a:ext>
                  </a:extLst>
                </p:cNvPr>
                <p:cNvSpPr/>
                <p:nvPr/>
              </p:nvSpPr>
              <p:spPr>
                <a:xfrm>
                  <a:off x="6768837" y="1914650"/>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0" name="Freeform 7681">
                  <a:extLst>
                    <a:ext uri="{FF2B5EF4-FFF2-40B4-BE49-F238E27FC236}">
                      <a16:creationId xmlns:a16="http://schemas.microsoft.com/office/drawing/2014/main" id="{4141651F-4E00-F75B-E558-B7AD8D986F6C}"/>
                    </a:ext>
                  </a:extLst>
                </p:cNvPr>
                <p:cNvSpPr/>
                <p:nvPr/>
              </p:nvSpPr>
              <p:spPr>
                <a:xfrm>
                  <a:off x="6762828" y="1955225"/>
                  <a:ext cx="26592" cy="26579"/>
                </a:xfrm>
                <a:custGeom>
                  <a:avLst/>
                  <a:gdLst>
                    <a:gd name="connsiteX0" fmla="*/ 31 w 26592"/>
                    <a:gd name="connsiteY0" fmla="*/ 14106 h 26579"/>
                    <a:gd name="connsiteX1" fmla="*/ 12487 w 26592"/>
                    <a:gd name="connsiteY1" fmla="*/ 31 h 26579"/>
                    <a:gd name="connsiteX2" fmla="*/ 26562 w 26592"/>
                    <a:gd name="connsiteY2" fmla="*/ 12487 h 26579"/>
                    <a:gd name="connsiteX3" fmla="*/ 14106 w 26592"/>
                    <a:gd name="connsiteY3" fmla="*/ 26562 h 26579"/>
                    <a:gd name="connsiteX4" fmla="*/ 31 w 2659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31" y="14106"/>
                      </a:moveTo>
                      <a:cubicBezTo>
                        <a:pt x="-468" y="6757"/>
                        <a:pt x="5137" y="529"/>
                        <a:pt x="12487" y="31"/>
                      </a:cubicBezTo>
                      <a:cubicBezTo>
                        <a:pt x="19835" y="-467"/>
                        <a:pt x="26188" y="5138"/>
                        <a:pt x="26562" y="12487"/>
                      </a:cubicBezTo>
                      <a:cubicBezTo>
                        <a:pt x="27060" y="19835"/>
                        <a:pt x="21454" y="26063"/>
                        <a:pt x="14106" y="26562"/>
                      </a:cubicBezTo>
                      <a:cubicBezTo>
                        <a:pt x="6757" y="26935"/>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1" name="Freeform 7682">
                  <a:extLst>
                    <a:ext uri="{FF2B5EF4-FFF2-40B4-BE49-F238E27FC236}">
                      <a16:creationId xmlns:a16="http://schemas.microsoft.com/office/drawing/2014/main" id="{CEEC9479-1856-9928-F301-A6A0A1E2E157}"/>
                    </a:ext>
                  </a:extLst>
                </p:cNvPr>
                <p:cNvSpPr/>
                <p:nvPr/>
              </p:nvSpPr>
              <p:spPr>
                <a:xfrm>
                  <a:off x="6764002" y="1853617"/>
                  <a:ext cx="5418" cy="52065"/>
                </a:xfrm>
                <a:custGeom>
                  <a:avLst/>
                  <a:gdLst>
                    <a:gd name="connsiteX0" fmla="*/ 1472 w 5418"/>
                    <a:gd name="connsiteY0" fmla="*/ 0 h 52065"/>
                    <a:gd name="connsiteX1" fmla="*/ 601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1" y="8221"/>
                        <a:pt x="-147" y="14449"/>
                        <a:pt x="601"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2" name="Freeform 7683">
                  <a:extLst>
                    <a:ext uri="{FF2B5EF4-FFF2-40B4-BE49-F238E27FC236}">
                      <a16:creationId xmlns:a16="http://schemas.microsoft.com/office/drawing/2014/main" id="{FD7AE2E2-BE9C-FF6F-3630-E56C46243974}"/>
                    </a:ext>
                  </a:extLst>
                </p:cNvPr>
                <p:cNvSpPr/>
                <p:nvPr/>
              </p:nvSpPr>
              <p:spPr>
                <a:xfrm>
                  <a:off x="6772201" y="1848136"/>
                  <a:ext cx="3861" cy="52065"/>
                </a:xfrm>
                <a:custGeom>
                  <a:avLst/>
                  <a:gdLst>
                    <a:gd name="connsiteX0" fmla="*/ 3861 w 3861"/>
                    <a:gd name="connsiteY0" fmla="*/ 52065 h 52065"/>
                    <a:gd name="connsiteX1" fmla="*/ 747 w 3861"/>
                    <a:gd name="connsiteY1" fmla="*/ 33506 h 52065"/>
                    <a:gd name="connsiteX2" fmla="*/ 3114 w 3861"/>
                    <a:gd name="connsiteY2" fmla="*/ 16193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6"/>
                        <a:pt x="747" y="33506"/>
                      </a:cubicBezTo>
                      <a:cubicBezTo>
                        <a:pt x="1121" y="26531"/>
                        <a:pt x="2989" y="23292"/>
                        <a:pt x="3114" y="16193"/>
                      </a:cubicBezTo>
                      <a:cubicBezTo>
                        <a:pt x="323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73" name="Freeform 7684">
                  <a:extLst>
                    <a:ext uri="{FF2B5EF4-FFF2-40B4-BE49-F238E27FC236}">
                      <a16:creationId xmlns:a16="http://schemas.microsoft.com/office/drawing/2014/main" id="{B4045E8E-EAAB-F335-7CDF-7FD05B2500DD}"/>
                    </a:ext>
                  </a:extLst>
                </p:cNvPr>
                <p:cNvSpPr/>
                <p:nvPr/>
              </p:nvSpPr>
              <p:spPr>
                <a:xfrm>
                  <a:off x="6755603" y="1833047"/>
                  <a:ext cx="26343" cy="26579"/>
                </a:xfrm>
                <a:custGeom>
                  <a:avLst/>
                  <a:gdLst>
                    <a:gd name="connsiteX0" fmla="*/ 26312 w 26343"/>
                    <a:gd name="connsiteY0" fmla="*/ 12473 h 26579"/>
                    <a:gd name="connsiteX1" fmla="*/ 13981 w 26343"/>
                    <a:gd name="connsiteY1" fmla="*/ 26548 h 26579"/>
                    <a:gd name="connsiteX2" fmla="*/ 31 w 26343"/>
                    <a:gd name="connsiteY2" fmla="*/ 14093 h 26579"/>
                    <a:gd name="connsiteX3" fmla="*/ 12362 w 26343"/>
                    <a:gd name="connsiteY3" fmla="*/ 18 h 26579"/>
                    <a:gd name="connsiteX4" fmla="*/ 26312 w 26343"/>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79">
                      <a:moveTo>
                        <a:pt x="26312" y="12473"/>
                      </a:moveTo>
                      <a:cubicBezTo>
                        <a:pt x="26811" y="19822"/>
                        <a:pt x="21206" y="26050"/>
                        <a:pt x="13981" y="26548"/>
                      </a:cubicBezTo>
                      <a:cubicBezTo>
                        <a:pt x="6633" y="27047"/>
                        <a:pt x="405" y="21442"/>
                        <a:pt x="31" y="14093"/>
                      </a:cubicBezTo>
                      <a:cubicBezTo>
                        <a:pt x="-467" y="6744"/>
                        <a:pt x="5138" y="516"/>
                        <a:pt x="12362" y="18"/>
                      </a:cubicBezTo>
                      <a:cubicBezTo>
                        <a:pt x="19586" y="-356"/>
                        <a:pt x="25814" y="5249"/>
                        <a:pt x="2631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5" name="Graphic 2987">
                <a:extLst>
                  <a:ext uri="{FF2B5EF4-FFF2-40B4-BE49-F238E27FC236}">
                    <a16:creationId xmlns:a16="http://schemas.microsoft.com/office/drawing/2014/main" id="{EAB0778F-1E15-F6D6-F9E4-1F7B266450DA}"/>
                  </a:ext>
                </a:extLst>
              </p:cNvPr>
              <p:cNvGrpSpPr/>
              <p:nvPr/>
            </p:nvGrpSpPr>
            <p:grpSpPr>
              <a:xfrm>
                <a:off x="6725971" y="1834902"/>
                <a:ext cx="33803" cy="148658"/>
                <a:chOff x="6725971" y="1834902"/>
                <a:chExt cx="33803" cy="148658"/>
              </a:xfrm>
              <a:grpFill/>
            </p:grpSpPr>
            <p:sp>
              <p:nvSpPr>
                <p:cNvPr id="6462" name="Freeform 7686">
                  <a:extLst>
                    <a:ext uri="{FF2B5EF4-FFF2-40B4-BE49-F238E27FC236}">
                      <a16:creationId xmlns:a16="http://schemas.microsoft.com/office/drawing/2014/main" id="{8CA59B66-ABA0-7482-D2E5-0ACE8DFDDCF3}"/>
                    </a:ext>
                  </a:extLst>
                </p:cNvPr>
                <p:cNvSpPr/>
                <p:nvPr/>
              </p:nvSpPr>
              <p:spPr>
                <a:xfrm>
                  <a:off x="6745711" y="1910913"/>
                  <a:ext cx="5416" cy="52065"/>
                </a:xfrm>
                <a:custGeom>
                  <a:avLst/>
                  <a:gdLst>
                    <a:gd name="connsiteX0" fmla="*/ 3944 w 5416"/>
                    <a:gd name="connsiteY0" fmla="*/ 52065 h 52065"/>
                    <a:gd name="connsiteX1" fmla="*/ 4816 w 5416"/>
                    <a:gd name="connsiteY1" fmla="*/ 33257 h 52065"/>
                    <a:gd name="connsiteX2" fmla="*/ 332 w 5416"/>
                    <a:gd name="connsiteY2" fmla="*/ 16442 h 52065"/>
                    <a:gd name="connsiteX3" fmla="*/ 1578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3944" y="52065"/>
                      </a:moveTo>
                      <a:cubicBezTo>
                        <a:pt x="5937" y="43844"/>
                        <a:pt x="5564" y="37616"/>
                        <a:pt x="4816" y="33257"/>
                      </a:cubicBezTo>
                      <a:cubicBezTo>
                        <a:pt x="3570" y="26406"/>
                        <a:pt x="1328" y="23417"/>
                        <a:pt x="332" y="16442"/>
                      </a:cubicBezTo>
                      <a:cubicBezTo>
                        <a:pt x="-540" y="9591"/>
                        <a:pt x="456" y="3737"/>
                        <a:pt x="15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3" name="Freeform 7687">
                  <a:extLst>
                    <a:ext uri="{FF2B5EF4-FFF2-40B4-BE49-F238E27FC236}">
                      <a16:creationId xmlns:a16="http://schemas.microsoft.com/office/drawing/2014/main" id="{649474BC-7791-98BA-07EA-894030DD18BD}"/>
                    </a:ext>
                  </a:extLst>
                </p:cNvPr>
                <p:cNvSpPr/>
                <p:nvPr/>
              </p:nvSpPr>
              <p:spPr>
                <a:xfrm>
                  <a:off x="6739192" y="1916518"/>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4"/>
                        <a:pt x="747" y="28773"/>
                        <a:pt x="747" y="35873"/>
                      </a:cubicBezTo>
                      <a:cubicBezTo>
                        <a:pt x="623" y="42723"/>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4" name="Freeform 7688">
                  <a:extLst>
                    <a:ext uri="{FF2B5EF4-FFF2-40B4-BE49-F238E27FC236}">
                      <a16:creationId xmlns:a16="http://schemas.microsoft.com/office/drawing/2014/main" id="{BFD23501-CBA2-25C8-1532-0B5357510BCA}"/>
                    </a:ext>
                  </a:extLst>
                </p:cNvPr>
                <p:cNvSpPr/>
                <p:nvPr/>
              </p:nvSpPr>
              <p:spPr>
                <a:xfrm>
                  <a:off x="6733072" y="1956969"/>
                  <a:ext cx="26703" cy="26592"/>
                </a:xfrm>
                <a:custGeom>
                  <a:avLst/>
                  <a:gdLst>
                    <a:gd name="connsiteX0" fmla="*/ 18 w 26703"/>
                    <a:gd name="connsiteY0" fmla="*/ 14106 h 26592"/>
                    <a:gd name="connsiteX1" fmla="*/ 12598 w 26703"/>
                    <a:gd name="connsiteY1" fmla="*/ 31 h 26592"/>
                    <a:gd name="connsiteX2" fmla="*/ 26673 w 26703"/>
                    <a:gd name="connsiteY2" fmla="*/ 12487 h 26592"/>
                    <a:gd name="connsiteX3" fmla="*/ 14093 w 26703"/>
                    <a:gd name="connsiteY3" fmla="*/ 26562 h 26592"/>
                    <a:gd name="connsiteX4" fmla="*/ 18 w 2670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92">
                      <a:moveTo>
                        <a:pt x="18" y="14106"/>
                      </a:moveTo>
                      <a:cubicBezTo>
                        <a:pt x="-356" y="6757"/>
                        <a:pt x="5249" y="529"/>
                        <a:pt x="12598" y="31"/>
                      </a:cubicBezTo>
                      <a:cubicBezTo>
                        <a:pt x="19947" y="-467"/>
                        <a:pt x="26299" y="5138"/>
                        <a:pt x="26673" y="12487"/>
                      </a:cubicBezTo>
                      <a:cubicBezTo>
                        <a:pt x="27171" y="19835"/>
                        <a:pt x="21442" y="26063"/>
                        <a:pt x="14093" y="26562"/>
                      </a:cubicBezTo>
                      <a:cubicBezTo>
                        <a:pt x="6743" y="27060"/>
                        <a:pt x="51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5" name="Freeform 7689">
                  <a:extLst>
                    <a:ext uri="{FF2B5EF4-FFF2-40B4-BE49-F238E27FC236}">
                      <a16:creationId xmlns:a16="http://schemas.microsoft.com/office/drawing/2014/main" id="{8D75F946-1A7B-BDB1-AC24-03E6363E967B}"/>
                    </a:ext>
                  </a:extLst>
                </p:cNvPr>
                <p:cNvSpPr/>
                <p:nvPr/>
              </p:nvSpPr>
              <p:spPr>
                <a:xfrm>
                  <a:off x="6734606" y="1855361"/>
                  <a:ext cx="5292" cy="52065"/>
                </a:xfrm>
                <a:custGeom>
                  <a:avLst/>
                  <a:gdLst>
                    <a:gd name="connsiteX0" fmla="*/ 1472 w 5292"/>
                    <a:gd name="connsiteY0" fmla="*/ 0 h 52065"/>
                    <a:gd name="connsiteX1" fmla="*/ 600 w 5292"/>
                    <a:gd name="connsiteY1" fmla="*/ 18808 h 52065"/>
                    <a:gd name="connsiteX2" fmla="*/ 4960 w 5292"/>
                    <a:gd name="connsiteY2" fmla="*/ 35624 h 52065"/>
                    <a:gd name="connsiteX3" fmla="*/ 3714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1472" y="0"/>
                      </a:moveTo>
                      <a:cubicBezTo>
                        <a:pt x="-520" y="8221"/>
                        <a:pt x="-147" y="14449"/>
                        <a:pt x="600" y="18808"/>
                      </a:cubicBezTo>
                      <a:cubicBezTo>
                        <a:pt x="1722" y="25659"/>
                        <a:pt x="4088" y="28648"/>
                        <a:pt x="4960" y="35624"/>
                      </a:cubicBezTo>
                      <a:cubicBezTo>
                        <a:pt x="5832" y="42474"/>
                        <a:pt x="4835"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6" name="Freeform 7690">
                  <a:extLst>
                    <a:ext uri="{FF2B5EF4-FFF2-40B4-BE49-F238E27FC236}">
                      <a16:creationId xmlns:a16="http://schemas.microsoft.com/office/drawing/2014/main" id="{07477E41-3EEC-D6F8-55C1-7DB6A9001A01}"/>
                    </a:ext>
                  </a:extLst>
                </p:cNvPr>
                <p:cNvSpPr/>
                <p:nvPr/>
              </p:nvSpPr>
              <p:spPr>
                <a:xfrm>
                  <a:off x="6742680" y="1849880"/>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2" y="44218"/>
                        <a:pt x="498" y="37865"/>
                        <a:pt x="747" y="33506"/>
                      </a:cubicBezTo>
                      <a:cubicBezTo>
                        <a:pt x="1121" y="26531"/>
                        <a:pt x="3114"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7" name="Freeform 7691">
                  <a:extLst>
                    <a:ext uri="{FF2B5EF4-FFF2-40B4-BE49-F238E27FC236}">
                      <a16:creationId xmlns:a16="http://schemas.microsoft.com/office/drawing/2014/main" id="{3E03EAA6-9717-1FA0-7164-414AF0540FED}"/>
                    </a:ext>
                  </a:extLst>
                </p:cNvPr>
                <p:cNvSpPr/>
                <p:nvPr/>
              </p:nvSpPr>
              <p:spPr>
                <a:xfrm>
                  <a:off x="6725971" y="1834902"/>
                  <a:ext cx="26455" cy="26592"/>
                </a:xfrm>
                <a:custGeom>
                  <a:avLst/>
                  <a:gdLst>
                    <a:gd name="connsiteX0" fmla="*/ 26424 w 26455"/>
                    <a:gd name="connsiteY0" fmla="*/ 12487 h 26592"/>
                    <a:gd name="connsiteX1" fmla="*/ 13968 w 26455"/>
                    <a:gd name="connsiteY1" fmla="*/ 26562 h 26592"/>
                    <a:gd name="connsiteX2" fmla="*/ 18 w 26455"/>
                    <a:gd name="connsiteY2" fmla="*/ 14106 h 26592"/>
                    <a:gd name="connsiteX3" fmla="*/ 12474 w 26455"/>
                    <a:gd name="connsiteY3" fmla="*/ 31 h 26592"/>
                    <a:gd name="connsiteX4" fmla="*/ 26424 w 26455"/>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92">
                      <a:moveTo>
                        <a:pt x="26424" y="12487"/>
                      </a:moveTo>
                      <a:cubicBezTo>
                        <a:pt x="26923" y="19835"/>
                        <a:pt x="21318" y="26063"/>
                        <a:pt x="13968" y="26562"/>
                      </a:cubicBezTo>
                      <a:cubicBezTo>
                        <a:pt x="6620" y="27060"/>
                        <a:pt x="392" y="21455"/>
                        <a:pt x="18" y="14106"/>
                      </a:cubicBezTo>
                      <a:cubicBezTo>
                        <a:pt x="-355" y="6757"/>
                        <a:pt x="5125" y="529"/>
                        <a:pt x="12474" y="31"/>
                      </a:cubicBezTo>
                      <a:cubicBezTo>
                        <a:pt x="19823" y="-467"/>
                        <a:pt x="26051"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6" name="Graphic 2987">
                <a:extLst>
                  <a:ext uri="{FF2B5EF4-FFF2-40B4-BE49-F238E27FC236}">
                    <a16:creationId xmlns:a16="http://schemas.microsoft.com/office/drawing/2014/main" id="{35F0B922-9D15-7EA0-D7A0-251DBD13223C}"/>
                  </a:ext>
                </a:extLst>
              </p:cNvPr>
              <p:cNvGrpSpPr/>
              <p:nvPr/>
            </p:nvGrpSpPr>
            <p:grpSpPr>
              <a:xfrm>
                <a:off x="6696576" y="1836646"/>
                <a:ext cx="33429" cy="148770"/>
                <a:chOff x="6696576" y="1836646"/>
                <a:chExt cx="33429" cy="148770"/>
              </a:xfrm>
              <a:grpFill/>
            </p:grpSpPr>
            <p:sp>
              <p:nvSpPr>
                <p:cNvPr id="6456" name="Freeform 7693">
                  <a:extLst>
                    <a:ext uri="{FF2B5EF4-FFF2-40B4-BE49-F238E27FC236}">
                      <a16:creationId xmlns:a16="http://schemas.microsoft.com/office/drawing/2014/main" id="{61ED0708-594B-578B-CEDB-CF50BCD7F39B}"/>
                    </a:ext>
                  </a:extLst>
                </p:cNvPr>
                <p:cNvSpPr/>
                <p:nvPr/>
              </p:nvSpPr>
              <p:spPr>
                <a:xfrm>
                  <a:off x="6716085" y="1912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7" name="Freeform 7694">
                  <a:extLst>
                    <a:ext uri="{FF2B5EF4-FFF2-40B4-BE49-F238E27FC236}">
                      <a16:creationId xmlns:a16="http://schemas.microsoft.com/office/drawing/2014/main" id="{15CCE9B4-3211-807B-5242-4E6C25F87626}"/>
                    </a:ext>
                  </a:extLst>
                </p:cNvPr>
                <p:cNvSpPr/>
                <p:nvPr/>
              </p:nvSpPr>
              <p:spPr>
                <a:xfrm>
                  <a:off x="6709548" y="1918262"/>
                  <a:ext cx="3612" cy="52065"/>
                </a:xfrm>
                <a:custGeom>
                  <a:avLst/>
                  <a:gdLst>
                    <a:gd name="connsiteX0" fmla="*/ 0 w 3612"/>
                    <a:gd name="connsiteY0" fmla="*/ 0 h 52065"/>
                    <a:gd name="connsiteX1" fmla="*/ 2989 w 3612"/>
                    <a:gd name="connsiteY1" fmla="*/ 18559 h 52065"/>
                    <a:gd name="connsiteX2" fmla="*/ 499 w 3612"/>
                    <a:gd name="connsiteY2" fmla="*/ 35873 h 52065"/>
                    <a:gd name="connsiteX3" fmla="*/ 3613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0" y="0"/>
                      </a:moveTo>
                      <a:cubicBezTo>
                        <a:pt x="2989" y="7847"/>
                        <a:pt x="3239" y="14200"/>
                        <a:pt x="2989" y="18559"/>
                      </a:cubicBezTo>
                      <a:cubicBezTo>
                        <a:pt x="2616" y="25534"/>
                        <a:pt x="623" y="28773"/>
                        <a:pt x="499" y="35873"/>
                      </a:cubicBezTo>
                      <a:cubicBezTo>
                        <a:pt x="374" y="42723"/>
                        <a:pt x="2118" y="48453"/>
                        <a:pt x="361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8" name="Freeform 7695">
                  <a:extLst>
                    <a:ext uri="{FF2B5EF4-FFF2-40B4-BE49-F238E27FC236}">
                      <a16:creationId xmlns:a16="http://schemas.microsoft.com/office/drawing/2014/main" id="{33404897-2D20-743E-B1D9-63465902C030}"/>
                    </a:ext>
                  </a:extLst>
                </p:cNvPr>
                <p:cNvSpPr/>
                <p:nvPr/>
              </p:nvSpPr>
              <p:spPr>
                <a:xfrm>
                  <a:off x="6703302" y="1958837"/>
                  <a:ext cx="26703" cy="26579"/>
                </a:xfrm>
                <a:custGeom>
                  <a:avLst/>
                  <a:gdLst>
                    <a:gd name="connsiteX0" fmla="*/ 18 w 26703"/>
                    <a:gd name="connsiteY0" fmla="*/ 14106 h 26579"/>
                    <a:gd name="connsiteX1" fmla="*/ 12598 w 26703"/>
                    <a:gd name="connsiteY1" fmla="*/ 31 h 26579"/>
                    <a:gd name="connsiteX2" fmla="*/ 26673 w 26703"/>
                    <a:gd name="connsiteY2" fmla="*/ 12487 h 26579"/>
                    <a:gd name="connsiteX3" fmla="*/ 14093 w 26703"/>
                    <a:gd name="connsiteY3" fmla="*/ 26562 h 26579"/>
                    <a:gd name="connsiteX4" fmla="*/ 18 w 26703"/>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79">
                      <a:moveTo>
                        <a:pt x="18" y="14106"/>
                      </a:moveTo>
                      <a:cubicBezTo>
                        <a:pt x="-356" y="6757"/>
                        <a:pt x="5250" y="529"/>
                        <a:pt x="12598" y="31"/>
                      </a:cubicBezTo>
                      <a:cubicBezTo>
                        <a:pt x="19947" y="-467"/>
                        <a:pt x="26175" y="5138"/>
                        <a:pt x="26673" y="12487"/>
                      </a:cubicBezTo>
                      <a:cubicBezTo>
                        <a:pt x="27171" y="19835"/>
                        <a:pt x="21442" y="26063"/>
                        <a:pt x="14093" y="26562"/>
                      </a:cubicBezTo>
                      <a:cubicBezTo>
                        <a:pt x="6744" y="26935"/>
                        <a:pt x="516" y="21330"/>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9" name="Freeform 7696">
                  <a:extLst>
                    <a:ext uri="{FF2B5EF4-FFF2-40B4-BE49-F238E27FC236}">
                      <a16:creationId xmlns:a16="http://schemas.microsoft.com/office/drawing/2014/main" id="{7B159630-AB6E-2168-D319-39E8674AA76A}"/>
                    </a:ext>
                  </a:extLst>
                </p:cNvPr>
                <p:cNvSpPr/>
                <p:nvPr/>
              </p:nvSpPr>
              <p:spPr>
                <a:xfrm>
                  <a:off x="6705086" y="1857229"/>
                  <a:ext cx="5273" cy="52065"/>
                </a:xfrm>
                <a:custGeom>
                  <a:avLst/>
                  <a:gdLst>
                    <a:gd name="connsiteX0" fmla="*/ 1472 w 5273"/>
                    <a:gd name="connsiteY0" fmla="*/ 0 h 52065"/>
                    <a:gd name="connsiteX1" fmla="*/ 600 w 5273"/>
                    <a:gd name="connsiteY1" fmla="*/ 18808 h 52065"/>
                    <a:gd name="connsiteX2" fmla="*/ 4960 w 5273"/>
                    <a:gd name="connsiteY2" fmla="*/ 35623 h 52065"/>
                    <a:gd name="connsiteX3" fmla="*/ 3714 w 52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3" h="52065">
                      <a:moveTo>
                        <a:pt x="1472" y="0"/>
                      </a:moveTo>
                      <a:cubicBezTo>
                        <a:pt x="-520" y="8221"/>
                        <a:pt x="-147" y="14449"/>
                        <a:pt x="600" y="18808"/>
                      </a:cubicBezTo>
                      <a:cubicBezTo>
                        <a:pt x="1722" y="25659"/>
                        <a:pt x="4088" y="28648"/>
                        <a:pt x="4960" y="35623"/>
                      </a:cubicBezTo>
                      <a:cubicBezTo>
                        <a:pt x="5832"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0" name="Freeform 7697">
                  <a:extLst>
                    <a:ext uri="{FF2B5EF4-FFF2-40B4-BE49-F238E27FC236}">
                      <a16:creationId xmlns:a16="http://schemas.microsoft.com/office/drawing/2014/main" id="{76D24ED0-3A8A-0D2E-F2E8-0615F4E6642E}"/>
                    </a:ext>
                  </a:extLst>
                </p:cNvPr>
                <p:cNvSpPr/>
                <p:nvPr/>
              </p:nvSpPr>
              <p:spPr>
                <a:xfrm>
                  <a:off x="6713284" y="1851748"/>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623" y="44218"/>
                        <a:pt x="374" y="37866"/>
                        <a:pt x="623" y="33506"/>
                      </a:cubicBezTo>
                      <a:cubicBezTo>
                        <a:pt x="997"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61" name="Freeform 7698">
                  <a:extLst>
                    <a:ext uri="{FF2B5EF4-FFF2-40B4-BE49-F238E27FC236}">
                      <a16:creationId xmlns:a16="http://schemas.microsoft.com/office/drawing/2014/main" id="{5F471AAF-75E5-5E81-666D-53F1E713C232}"/>
                    </a:ext>
                  </a:extLst>
                </p:cNvPr>
                <p:cNvSpPr/>
                <p:nvPr/>
              </p:nvSpPr>
              <p:spPr>
                <a:xfrm>
                  <a:off x="6696576" y="1836646"/>
                  <a:ext cx="26442" cy="26592"/>
                </a:xfrm>
                <a:custGeom>
                  <a:avLst/>
                  <a:gdLst>
                    <a:gd name="connsiteX0" fmla="*/ 26424 w 26442"/>
                    <a:gd name="connsiteY0" fmla="*/ 12487 h 26592"/>
                    <a:gd name="connsiteX1" fmla="*/ 13968 w 26442"/>
                    <a:gd name="connsiteY1" fmla="*/ 26562 h 26592"/>
                    <a:gd name="connsiteX2" fmla="*/ 18 w 26442"/>
                    <a:gd name="connsiteY2" fmla="*/ 14106 h 26592"/>
                    <a:gd name="connsiteX3" fmla="*/ 12474 w 26442"/>
                    <a:gd name="connsiteY3" fmla="*/ 31 h 26592"/>
                    <a:gd name="connsiteX4" fmla="*/ 26424 w 26442"/>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92">
                      <a:moveTo>
                        <a:pt x="26424" y="12487"/>
                      </a:moveTo>
                      <a:cubicBezTo>
                        <a:pt x="26798" y="19835"/>
                        <a:pt x="21318" y="26063"/>
                        <a:pt x="13968" y="26562"/>
                      </a:cubicBezTo>
                      <a:cubicBezTo>
                        <a:pt x="6619" y="27060"/>
                        <a:pt x="391" y="21455"/>
                        <a:pt x="18" y="14106"/>
                      </a:cubicBezTo>
                      <a:cubicBezTo>
                        <a:pt x="-356" y="6757"/>
                        <a:pt x="5125" y="529"/>
                        <a:pt x="12474" y="31"/>
                      </a:cubicBezTo>
                      <a:cubicBezTo>
                        <a:pt x="19698" y="-467"/>
                        <a:pt x="25926" y="5138"/>
                        <a:pt x="26424"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7" name="Graphic 2987">
                <a:extLst>
                  <a:ext uri="{FF2B5EF4-FFF2-40B4-BE49-F238E27FC236}">
                    <a16:creationId xmlns:a16="http://schemas.microsoft.com/office/drawing/2014/main" id="{724B1B5D-8C0D-963D-C04B-AEC8AE457196}"/>
                  </a:ext>
                </a:extLst>
              </p:cNvPr>
              <p:cNvGrpSpPr/>
              <p:nvPr/>
            </p:nvGrpSpPr>
            <p:grpSpPr>
              <a:xfrm>
                <a:off x="6667056" y="1838403"/>
                <a:ext cx="33167" cy="148757"/>
                <a:chOff x="6667056" y="1838403"/>
                <a:chExt cx="33167" cy="148757"/>
              </a:xfrm>
              <a:grpFill/>
            </p:grpSpPr>
            <p:sp>
              <p:nvSpPr>
                <p:cNvPr id="6450" name="Freeform 7700">
                  <a:extLst>
                    <a:ext uri="{FF2B5EF4-FFF2-40B4-BE49-F238E27FC236}">
                      <a16:creationId xmlns:a16="http://schemas.microsoft.com/office/drawing/2014/main" id="{B8C88258-A8E6-5F6A-4EA7-F20729D9CD38}"/>
                    </a:ext>
                  </a:extLst>
                </p:cNvPr>
                <p:cNvSpPr/>
                <p:nvPr/>
              </p:nvSpPr>
              <p:spPr>
                <a:xfrm>
                  <a:off x="6686565" y="1914525"/>
                  <a:ext cx="5222" cy="52065"/>
                </a:xfrm>
                <a:custGeom>
                  <a:avLst/>
                  <a:gdLst>
                    <a:gd name="connsiteX0" fmla="*/ 3676 w 5222"/>
                    <a:gd name="connsiteY0" fmla="*/ 52065 h 52065"/>
                    <a:gd name="connsiteX1" fmla="*/ 4673 w 5222"/>
                    <a:gd name="connsiteY1" fmla="*/ 33257 h 52065"/>
                    <a:gd name="connsiteX2" fmla="*/ 313 w 5222"/>
                    <a:gd name="connsiteY2" fmla="*/ 16442 h 52065"/>
                    <a:gd name="connsiteX3" fmla="*/ 1559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52065"/>
                      </a:moveTo>
                      <a:cubicBezTo>
                        <a:pt x="5670" y="43844"/>
                        <a:pt x="5420" y="37616"/>
                        <a:pt x="4673" y="33257"/>
                      </a:cubicBezTo>
                      <a:cubicBezTo>
                        <a:pt x="3552" y="26406"/>
                        <a:pt x="1185" y="23417"/>
                        <a:pt x="313" y="16442"/>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1" name="Freeform 7701">
                  <a:extLst>
                    <a:ext uri="{FF2B5EF4-FFF2-40B4-BE49-F238E27FC236}">
                      <a16:creationId xmlns:a16="http://schemas.microsoft.com/office/drawing/2014/main" id="{4B484342-2262-DEE1-35FD-B401219B39D6}"/>
                    </a:ext>
                  </a:extLst>
                </p:cNvPr>
                <p:cNvSpPr/>
                <p:nvPr/>
              </p:nvSpPr>
              <p:spPr>
                <a:xfrm>
                  <a:off x="6679903" y="1920006"/>
                  <a:ext cx="3487" cy="52065"/>
                </a:xfrm>
                <a:custGeom>
                  <a:avLst/>
                  <a:gdLst>
                    <a:gd name="connsiteX0" fmla="*/ 0 w 3487"/>
                    <a:gd name="connsiteY0" fmla="*/ 0 h 52065"/>
                    <a:gd name="connsiteX1" fmla="*/ 2990 w 3487"/>
                    <a:gd name="connsiteY1" fmla="*/ 18559 h 52065"/>
                    <a:gd name="connsiteX2" fmla="*/ 499 w 3487"/>
                    <a:gd name="connsiteY2" fmla="*/ 35873 h 52065"/>
                    <a:gd name="connsiteX3" fmla="*/ 3488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0" y="0"/>
                      </a:moveTo>
                      <a:cubicBezTo>
                        <a:pt x="2865" y="7847"/>
                        <a:pt x="3239" y="14200"/>
                        <a:pt x="2990" y="18559"/>
                      </a:cubicBezTo>
                      <a:cubicBezTo>
                        <a:pt x="2616" y="25534"/>
                        <a:pt x="623" y="28773"/>
                        <a:pt x="499" y="35873"/>
                      </a:cubicBezTo>
                      <a:cubicBezTo>
                        <a:pt x="374" y="42723"/>
                        <a:pt x="2118" y="48453"/>
                        <a:pt x="34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2" name="Freeform 7702">
                  <a:extLst>
                    <a:ext uri="{FF2B5EF4-FFF2-40B4-BE49-F238E27FC236}">
                      <a16:creationId xmlns:a16="http://schemas.microsoft.com/office/drawing/2014/main" id="{B75CCFB4-9093-EFE3-1D58-B505FD209CCD}"/>
                    </a:ext>
                  </a:extLst>
                </p:cNvPr>
                <p:cNvSpPr/>
                <p:nvPr/>
              </p:nvSpPr>
              <p:spPr>
                <a:xfrm>
                  <a:off x="6673533" y="1960581"/>
                  <a:ext cx="26690" cy="26579"/>
                </a:xfrm>
                <a:custGeom>
                  <a:avLst/>
                  <a:gdLst>
                    <a:gd name="connsiteX0" fmla="*/ 18 w 26690"/>
                    <a:gd name="connsiteY0" fmla="*/ 14106 h 26579"/>
                    <a:gd name="connsiteX1" fmla="*/ 12597 w 26690"/>
                    <a:gd name="connsiteY1" fmla="*/ 31 h 26579"/>
                    <a:gd name="connsiteX2" fmla="*/ 26672 w 26690"/>
                    <a:gd name="connsiteY2" fmla="*/ 12487 h 26579"/>
                    <a:gd name="connsiteX3" fmla="*/ 14092 w 26690"/>
                    <a:gd name="connsiteY3" fmla="*/ 26562 h 26579"/>
                    <a:gd name="connsiteX4" fmla="*/ 18 w 2669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79">
                      <a:moveTo>
                        <a:pt x="18" y="14106"/>
                      </a:moveTo>
                      <a:cubicBezTo>
                        <a:pt x="-356" y="6757"/>
                        <a:pt x="5249" y="529"/>
                        <a:pt x="12597" y="31"/>
                      </a:cubicBezTo>
                      <a:cubicBezTo>
                        <a:pt x="19947" y="-467"/>
                        <a:pt x="26174" y="5138"/>
                        <a:pt x="26672" y="12487"/>
                      </a:cubicBezTo>
                      <a:cubicBezTo>
                        <a:pt x="27046" y="19835"/>
                        <a:pt x="21441" y="26063"/>
                        <a:pt x="14092" y="26562"/>
                      </a:cubicBezTo>
                      <a:cubicBezTo>
                        <a:pt x="6744"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3" name="Freeform 7703">
                  <a:extLst>
                    <a:ext uri="{FF2B5EF4-FFF2-40B4-BE49-F238E27FC236}">
                      <a16:creationId xmlns:a16="http://schemas.microsoft.com/office/drawing/2014/main" id="{A26779C1-BAC8-4B3A-A68D-29657D3DE222}"/>
                    </a:ext>
                  </a:extLst>
                </p:cNvPr>
                <p:cNvSpPr/>
                <p:nvPr/>
              </p:nvSpPr>
              <p:spPr>
                <a:xfrm>
                  <a:off x="6675617" y="1858973"/>
                  <a:ext cx="5222" cy="52065"/>
                </a:xfrm>
                <a:custGeom>
                  <a:avLst/>
                  <a:gdLst>
                    <a:gd name="connsiteX0" fmla="*/ 1546 w 5222"/>
                    <a:gd name="connsiteY0" fmla="*/ 0 h 52065"/>
                    <a:gd name="connsiteX1" fmla="*/ 549 w 5222"/>
                    <a:gd name="connsiteY1" fmla="*/ 18808 h 52065"/>
                    <a:gd name="connsiteX2" fmla="*/ 4909 w 5222"/>
                    <a:gd name="connsiteY2" fmla="*/ 35624 h 52065"/>
                    <a:gd name="connsiteX3" fmla="*/ 3663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0"/>
                      </a:moveTo>
                      <a:cubicBezTo>
                        <a:pt x="-448" y="8221"/>
                        <a:pt x="-198" y="14449"/>
                        <a:pt x="549" y="18808"/>
                      </a:cubicBezTo>
                      <a:cubicBezTo>
                        <a:pt x="1670" y="25659"/>
                        <a:pt x="4037" y="28648"/>
                        <a:pt x="4909" y="35624"/>
                      </a:cubicBezTo>
                      <a:cubicBezTo>
                        <a:pt x="5780" y="42474"/>
                        <a:pt x="4660" y="48328"/>
                        <a:pt x="36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4" name="Freeform 7704">
                  <a:extLst>
                    <a:ext uri="{FF2B5EF4-FFF2-40B4-BE49-F238E27FC236}">
                      <a16:creationId xmlns:a16="http://schemas.microsoft.com/office/drawing/2014/main" id="{F43AD81A-B906-FA7E-C174-A0A022F7E581}"/>
                    </a:ext>
                  </a:extLst>
                </p:cNvPr>
                <p:cNvSpPr/>
                <p:nvPr/>
              </p:nvSpPr>
              <p:spPr>
                <a:xfrm>
                  <a:off x="6683889" y="1853492"/>
                  <a:ext cx="3487" cy="52065"/>
                </a:xfrm>
                <a:custGeom>
                  <a:avLst/>
                  <a:gdLst>
                    <a:gd name="connsiteX0" fmla="*/ 3488 w 3487"/>
                    <a:gd name="connsiteY0" fmla="*/ 52065 h 52065"/>
                    <a:gd name="connsiteX1" fmla="*/ 499 w 3487"/>
                    <a:gd name="connsiteY1" fmla="*/ 33506 h 52065"/>
                    <a:gd name="connsiteX2" fmla="*/ 2989 w 3487"/>
                    <a:gd name="connsiteY2" fmla="*/ 16193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6"/>
                        <a:pt x="499" y="33506"/>
                      </a:cubicBezTo>
                      <a:cubicBezTo>
                        <a:pt x="872" y="26531"/>
                        <a:pt x="2865" y="23292"/>
                        <a:pt x="2989" y="16193"/>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55" name="Freeform 7705">
                  <a:extLst>
                    <a:ext uri="{FF2B5EF4-FFF2-40B4-BE49-F238E27FC236}">
                      <a16:creationId xmlns:a16="http://schemas.microsoft.com/office/drawing/2014/main" id="{A5588BB5-3FA6-802E-51DB-CC2E7D21707B}"/>
                    </a:ext>
                  </a:extLst>
                </p:cNvPr>
                <p:cNvSpPr/>
                <p:nvPr/>
              </p:nvSpPr>
              <p:spPr>
                <a:xfrm>
                  <a:off x="6667056" y="1838403"/>
                  <a:ext cx="26441" cy="26579"/>
                </a:xfrm>
                <a:custGeom>
                  <a:avLst/>
                  <a:gdLst>
                    <a:gd name="connsiteX0" fmla="*/ 26424 w 26441"/>
                    <a:gd name="connsiteY0" fmla="*/ 12474 h 26579"/>
                    <a:gd name="connsiteX1" fmla="*/ 13968 w 26441"/>
                    <a:gd name="connsiteY1" fmla="*/ 26549 h 26579"/>
                    <a:gd name="connsiteX2" fmla="*/ 18 w 26441"/>
                    <a:gd name="connsiteY2" fmla="*/ 14093 h 26579"/>
                    <a:gd name="connsiteX3" fmla="*/ 12473 w 26441"/>
                    <a:gd name="connsiteY3" fmla="*/ 18 h 26579"/>
                    <a:gd name="connsiteX4" fmla="*/ 26424 w 26441"/>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2474"/>
                      </a:moveTo>
                      <a:cubicBezTo>
                        <a:pt x="26797" y="19823"/>
                        <a:pt x="21193" y="26051"/>
                        <a:pt x="13968" y="26549"/>
                      </a:cubicBezTo>
                      <a:cubicBezTo>
                        <a:pt x="6619" y="27047"/>
                        <a:pt x="516" y="21442"/>
                        <a:pt x="18" y="14093"/>
                      </a:cubicBezTo>
                      <a:cubicBezTo>
                        <a:pt x="-356" y="6744"/>
                        <a:pt x="5249" y="516"/>
                        <a:pt x="12473" y="18"/>
                      </a:cubicBezTo>
                      <a:cubicBezTo>
                        <a:pt x="19822" y="-356"/>
                        <a:pt x="26050" y="5125"/>
                        <a:pt x="26424"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8" name="Graphic 2987">
                <a:extLst>
                  <a:ext uri="{FF2B5EF4-FFF2-40B4-BE49-F238E27FC236}">
                    <a16:creationId xmlns:a16="http://schemas.microsoft.com/office/drawing/2014/main" id="{F6FB3D64-488C-3FC6-FB73-8A77ED11FC97}"/>
                  </a:ext>
                </a:extLst>
              </p:cNvPr>
              <p:cNvGrpSpPr/>
              <p:nvPr/>
            </p:nvGrpSpPr>
            <p:grpSpPr>
              <a:xfrm>
                <a:off x="6637785" y="1840134"/>
                <a:ext cx="32670" cy="148783"/>
                <a:chOff x="6637785" y="1840134"/>
                <a:chExt cx="32670" cy="148783"/>
              </a:xfrm>
              <a:grpFill/>
            </p:grpSpPr>
            <p:sp>
              <p:nvSpPr>
                <p:cNvPr id="6444" name="Freeform 7707">
                  <a:extLst>
                    <a:ext uri="{FF2B5EF4-FFF2-40B4-BE49-F238E27FC236}">
                      <a16:creationId xmlns:a16="http://schemas.microsoft.com/office/drawing/2014/main" id="{7C16F665-195A-869D-289A-79C895E30941}"/>
                    </a:ext>
                  </a:extLst>
                </p:cNvPr>
                <p:cNvSpPr/>
                <p:nvPr/>
              </p:nvSpPr>
              <p:spPr>
                <a:xfrm>
                  <a:off x="6656798" y="1916269"/>
                  <a:ext cx="5259" cy="52065"/>
                </a:xfrm>
                <a:custGeom>
                  <a:avLst/>
                  <a:gdLst>
                    <a:gd name="connsiteX0" fmla="*/ 3674 w 5259"/>
                    <a:gd name="connsiteY0" fmla="*/ 52065 h 52065"/>
                    <a:gd name="connsiteX1" fmla="*/ 4671 w 5259"/>
                    <a:gd name="connsiteY1" fmla="*/ 33257 h 52065"/>
                    <a:gd name="connsiteX2" fmla="*/ 312 w 5259"/>
                    <a:gd name="connsiteY2" fmla="*/ 16442 h 52065"/>
                    <a:gd name="connsiteX3" fmla="*/ 1681 w 5259"/>
                    <a:gd name="connsiteY3" fmla="*/ 0 h 52065"/>
                  </a:gdLst>
                  <a:ahLst/>
                  <a:cxnLst>
                    <a:cxn ang="0">
                      <a:pos x="connsiteX0" y="connsiteY0"/>
                    </a:cxn>
                    <a:cxn ang="0">
                      <a:pos x="connsiteX1" y="connsiteY1"/>
                    </a:cxn>
                    <a:cxn ang="0">
                      <a:pos x="connsiteX2" y="connsiteY2"/>
                    </a:cxn>
                    <a:cxn ang="0">
                      <a:pos x="connsiteX3" y="connsiteY3"/>
                    </a:cxn>
                  </a:cxnLst>
                  <a:rect l="l" t="t" r="r" b="b"/>
                  <a:pathLst>
                    <a:path w="5259" h="52065">
                      <a:moveTo>
                        <a:pt x="3674" y="52065"/>
                      </a:moveTo>
                      <a:cubicBezTo>
                        <a:pt x="5792" y="43844"/>
                        <a:pt x="5418" y="37616"/>
                        <a:pt x="4671" y="33257"/>
                      </a:cubicBezTo>
                      <a:cubicBezTo>
                        <a:pt x="3549" y="26406"/>
                        <a:pt x="1184"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5" name="Freeform 7708">
                  <a:extLst>
                    <a:ext uri="{FF2B5EF4-FFF2-40B4-BE49-F238E27FC236}">
                      <a16:creationId xmlns:a16="http://schemas.microsoft.com/office/drawing/2014/main" id="{EC98D161-A559-05F9-7C6D-D6C38898AAB4}"/>
                    </a:ext>
                  </a:extLst>
                </p:cNvPr>
                <p:cNvSpPr/>
                <p:nvPr/>
              </p:nvSpPr>
              <p:spPr>
                <a:xfrm>
                  <a:off x="6650258" y="1921750"/>
                  <a:ext cx="3363" cy="52065"/>
                </a:xfrm>
                <a:custGeom>
                  <a:avLst/>
                  <a:gdLst>
                    <a:gd name="connsiteX0" fmla="*/ 0 w 3363"/>
                    <a:gd name="connsiteY0" fmla="*/ 0 h 52065"/>
                    <a:gd name="connsiteX1" fmla="*/ 2990 w 3363"/>
                    <a:gd name="connsiteY1" fmla="*/ 18559 h 52065"/>
                    <a:gd name="connsiteX2" fmla="*/ 374 w 3363"/>
                    <a:gd name="connsiteY2" fmla="*/ 35873 h 52065"/>
                    <a:gd name="connsiteX3" fmla="*/ 3363 w 33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0" y="0"/>
                      </a:moveTo>
                      <a:cubicBezTo>
                        <a:pt x="2865" y="7847"/>
                        <a:pt x="3239" y="14200"/>
                        <a:pt x="2990" y="18559"/>
                      </a:cubicBezTo>
                      <a:cubicBezTo>
                        <a:pt x="2616" y="25534"/>
                        <a:pt x="623" y="28773"/>
                        <a:pt x="374" y="35873"/>
                      </a:cubicBezTo>
                      <a:cubicBezTo>
                        <a:pt x="249" y="42723"/>
                        <a:pt x="1869" y="48453"/>
                        <a:pt x="33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6" name="Freeform 7709">
                  <a:extLst>
                    <a:ext uri="{FF2B5EF4-FFF2-40B4-BE49-F238E27FC236}">
                      <a16:creationId xmlns:a16="http://schemas.microsoft.com/office/drawing/2014/main" id="{694EAC7C-CE01-E0FB-B2E6-C7E628B7172F}"/>
                    </a:ext>
                  </a:extLst>
                </p:cNvPr>
                <p:cNvSpPr/>
                <p:nvPr/>
              </p:nvSpPr>
              <p:spPr>
                <a:xfrm>
                  <a:off x="6643889" y="1962325"/>
                  <a:ext cx="26566" cy="26592"/>
                </a:xfrm>
                <a:custGeom>
                  <a:avLst/>
                  <a:gdLst>
                    <a:gd name="connsiteX0" fmla="*/ 18 w 26566"/>
                    <a:gd name="connsiteY0" fmla="*/ 14106 h 26592"/>
                    <a:gd name="connsiteX1" fmla="*/ 12597 w 26566"/>
                    <a:gd name="connsiteY1" fmla="*/ 31 h 26592"/>
                    <a:gd name="connsiteX2" fmla="*/ 26549 w 26566"/>
                    <a:gd name="connsiteY2" fmla="*/ 12487 h 26592"/>
                    <a:gd name="connsiteX3" fmla="*/ 13968 w 26566"/>
                    <a:gd name="connsiteY3" fmla="*/ 26562 h 26592"/>
                    <a:gd name="connsiteX4" fmla="*/ 18 w 26566"/>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92">
                      <a:moveTo>
                        <a:pt x="18" y="14106"/>
                      </a:moveTo>
                      <a:cubicBezTo>
                        <a:pt x="-356" y="6757"/>
                        <a:pt x="5249" y="529"/>
                        <a:pt x="12597" y="31"/>
                      </a:cubicBezTo>
                      <a:cubicBezTo>
                        <a:pt x="19947" y="-467"/>
                        <a:pt x="26174" y="5138"/>
                        <a:pt x="26549" y="12487"/>
                      </a:cubicBezTo>
                      <a:cubicBezTo>
                        <a:pt x="26922" y="19835"/>
                        <a:pt x="21317" y="26063"/>
                        <a:pt x="13968" y="26562"/>
                      </a:cubicBezTo>
                      <a:cubicBezTo>
                        <a:pt x="6619" y="27060"/>
                        <a:pt x="266"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7" name="Freeform 7710">
                  <a:extLst>
                    <a:ext uri="{FF2B5EF4-FFF2-40B4-BE49-F238E27FC236}">
                      <a16:creationId xmlns:a16="http://schemas.microsoft.com/office/drawing/2014/main" id="{CCAB521E-DD8C-EAAF-F409-70DD2BFDCF75}"/>
                    </a:ext>
                  </a:extLst>
                </p:cNvPr>
                <p:cNvSpPr/>
                <p:nvPr/>
              </p:nvSpPr>
              <p:spPr>
                <a:xfrm>
                  <a:off x="6646057" y="1860717"/>
                  <a:ext cx="5135" cy="52065"/>
                </a:xfrm>
                <a:custGeom>
                  <a:avLst/>
                  <a:gdLst>
                    <a:gd name="connsiteX0" fmla="*/ 1586 w 5135"/>
                    <a:gd name="connsiteY0" fmla="*/ 0 h 52065"/>
                    <a:gd name="connsiteX1" fmla="*/ 589 w 5135"/>
                    <a:gd name="connsiteY1" fmla="*/ 18808 h 52065"/>
                    <a:gd name="connsiteX2" fmla="*/ 4824 w 5135"/>
                    <a:gd name="connsiteY2" fmla="*/ 35624 h 52065"/>
                    <a:gd name="connsiteX3" fmla="*/ 3454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1586" y="0"/>
                      </a:moveTo>
                      <a:cubicBezTo>
                        <a:pt x="-532" y="8221"/>
                        <a:pt x="-158" y="14449"/>
                        <a:pt x="589" y="18808"/>
                      </a:cubicBezTo>
                      <a:cubicBezTo>
                        <a:pt x="1710" y="25659"/>
                        <a:pt x="3952" y="28648"/>
                        <a:pt x="4824" y="35624"/>
                      </a:cubicBezTo>
                      <a:cubicBezTo>
                        <a:pt x="5696" y="42474"/>
                        <a:pt x="4575" y="48328"/>
                        <a:pt x="34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8" name="Freeform 7711">
                  <a:extLst>
                    <a:ext uri="{FF2B5EF4-FFF2-40B4-BE49-F238E27FC236}">
                      <a16:creationId xmlns:a16="http://schemas.microsoft.com/office/drawing/2014/main" id="{474C9C60-4D9E-69BA-3B0E-3DBC96276D2B}"/>
                    </a:ext>
                  </a:extLst>
                </p:cNvPr>
                <p:cNvSpPr/>
                <p:nvPr/>
              </p:nvSpPr>
              <p:spPr>
                <a:xfrm>
                  <a:off x="6654244" y="1855236"/>
                  <a:ext cx="3487" cy="52065"/>
                </a:xfrm>
                <a:custGeom>
                  <a:avLst/>
                  <a:gdLst>
                    <a:gd name="connsiteX0" fmla="*/ 3488 w 3487"/>
                    <a:gd name="connsiteY0" fmla="*/ 52065 h 52065"/>
                    <a:gd name="connsiteX1" fmla="*/ 499 w 3487"/>
                    <a:gd name="connsiteY1" fmla="*/ 33506 h 52065"/>
                    <a:gd name="connsiteX2" fmla="*/ 2989 w 3487"/>
                    <a:gd name="connsiteY2" fmla="*/ 16192 h 52065"/>
                    <a:gd name="connsiteX3" fmla="*/ 0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52065"/>
                      </a:moveTo>
                      <a:cubicBezTo>
                        <a:pt x="623" y="44218"/>
                        <a:pt x="249" y="37865"/>
                        <a:pt x="499" y="33506"/>
                      </a:cubicBezTo>
                      <a:cubicBezTo>
                        <a:pt x="872" y="26531"/>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9" name="Freeform 7712">
                  <a:extLst>
                    <a:ext uri="{FF2B5EF4-FFF2-40B4-BE49-F238E27FC236}">
                      <a16:creationId xmlns:a16="http://schemas.microsoft.com/office/drawing/2014/main" id="{724E5225-3917-D8E8-A5D7-D1CD0650AF1E}"/>
                    </a:ext>
                  </a:extLst>
                </p:cNvPr>
                <p:cNvSpPr/>
                <p:nvPr/>
              </p:nvSpPr>
              <p:spPr>
                <a:xfrm>
                  <a:off x="6637785" y="1840134"/>
                  <a:ext cx="26317" cy="26592"/>
                </a:xfrm>
                <a:custGeom>
                  <a:avLst/>
                  <a:gdLst>
                    <a:gd name="connsiteX0" fmla="*/ 26300 w 26317"/>
                    <a:gd name="connsiteY0" fmla="*/ 12487 h 26592"/>
                    <a:gd name="connsiteX1" fmla="*/ 13844 w 26317"/>
                    <a:gd name="connsiteY1" fmla="*/ 26562 h 26592"/>
                    <a:gd name="connsiteX2" fmla="*/ 18 w 26317"/>
                    <a:gd name="connsiteY2" fmla="*/ 14106 h 26592"/>
                    <a:gd name="connsiteX3" fmla="*/ 12473 w 26317"/>
                    <a:gd name="connsiteY3" fmla="*/ 31 h 26592"/>
                    <a:gd name="connsiteX4" fmla="*/ 26300 w 26317"/>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92">
                      <a:moveTo>
                        <a:pt x="26300" y="12487"/>
                      </a:moveTo>
                      <a:cubicBezTo>
                        <a:pt x="26673" y="19835"/>
                        <a:pt x="21068" y="26063"/>
                        <a:pt x="13844" y="26562"/>
                      </a:cubicBezTo>
                      <a:cubicBezTo>
                        <a:pt x="6620" y="27060"/>
                        <a:pt x="392" y="21455"/>
                        <a:pt x="18" y="14106"/>
                      </a:cubicBezTo>
                      <a:cubicBezTo>
                        <a:pt x="-356" y="6757"/>
                        <a:pt x="5250" y="529"/>
                        <a:pt x="12473" y="31"/>
                      </a:cubicBezTo>
                      <a:cubicBezTo>
                        <a:pt x="19698" y="-467"/>
                        <a:pt x="25926" y="5138"/>
                        <a:pt x="26300"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59" name="Graphic 2987">
                <a:extLst>
                  <a:ext uri="{FF2B5EF4-FFF2-40B4-BE49-F238E27FC236}">
                    <a16:creationId xmlns:a16="http://schemas.microsoft.com/office/drawing/2014/main" id="{D9024C7C-D239-064C-B380-F8D031C51F7F}"/>
                  </a:ext>
                </a:extLst>
              </p:cNvPr>
              <p:cNvGrpSpPr/>
              <p:nvPr/>
            </p:nvGrpSpPr>
            <p:grpSpPr>
              <a:xfrm>
                <a:off x="6608265" y="1841891"/>
                <a:ext cx="32544" cy="148894"/>
                <a:chOff x="6608265" y="1841891"/>
                <a:chExt cx="32544" cy="148894"/>
              </a:xfrm>
              <a:grpFill/>
            </p:grpSpPr>
            <p:sp>
              <p:nvSpPr>
                <p:cNvPr id="6438" name="Freeform 7714">
                  <a:extLst>
                    <a:ext uri="{FF2B5EF4-FFF2-40B4-BE49-F238E27FC236}">
                      <a16:creationId xmlns:a16="http://schemas.microsoft.com/office/drawing/2014/main" id="{A1B11AE8-1A05-FDFF-1B60-E147671E8083}"/>
                    </a:ext>
                  </a:extLst>
                </p:cNvPr>
                <p:cNvSpPr/>
                <p:nvPr/>
              </p:nvSpPr>
              <p:spPr>
                <a:xfrm>
                  <a:off x="6627278" y="1918138"/>
                  <a:ext cx="5033" cy="52065"/>
                </a:xfrm>
                <a:custGeom>
                  <a:avLst/>
                  <a:gdLst>
                    <a:gd name="connsiteX0" fmla="*/ 3425 w 5033"/>
                    <a:gd name="connsiteY0" fmla="*/ 52065 h 52065"/>
                    <a:gd name="connsiteX1" fmla="*/ 4546 w 5033"/>
                    <a:gd name="connsiteY1" fmla="*/ 33257 h 52065"/>
                    <a:gd name="connsiteX2" fmla="*/ 312 w 5033"/>
                    <a:gd name="connsiteY2" fmla="*/ 16442 h 52065"/>
                    <a:gd name="connsiteX3" fmla="*/ 1681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52065"/>
                      </a:moveTo>
                      <a:cubicBezTo>
                        <a:pt x="5543" y="43844"/>
                        <a:pt x="5169" y="37492"/>
                        <a:pt x="4546" y="33257"/>
                      </a:cubicBezTo>
                      <a:cubicBezTo>
                        <a:pt x="3425" y="26406"/>
                        <a:pt x="1183" y="23417"/>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9" name="Freeform 7715">
                  <a:extLst>
                    <a:ext uri="{FF2B5EF4-FFF2-40B4-BE49-F238E27FC236}">
                      <a16:creationId xmlns:a16="http://schemas.microsoft.com/office/drawing/2014/main" id="{937FB27E-F3F3-F798-41F7-40029B4BFB55}"/>
                    </a:ext>
                  </a:extLst>
                </p:cNvPr>
                <p:cNvSpPr/>
                <p:nvPr/>
              </p:nvSpPr>
              <p:spPr>
                <a:xfrm>
                  <a:off x="6620614" y="1923618"/>
                  <a:ext cx="3237" cy="52065"/>
                </a:xfrm>
                <a:custGeom>
                  <a:avLst/>
                  <a:gdLst>
                    <a:gd name="connsiteX0" fmla="*/ 0 w 3237"/>
                    <a:gd name="connsiteY0" fmla="*/ 0 h 52065"/>
                    <a:gd name="connsiteX1" fmla="*/ 2865 w 3237"/>
                    <a:gd name="connsiteY1" fmla="*/ 18559 h 52065"/>
                    <a:gd name="connsiteX2" fmla="*/ 249 w 3237"/>
                    <a:gd name="connsiteY2" fmla="*/ 35873 h 52065"/>
                    <a:gd name="connsiteX3" fmla="*/ 3238 w 323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7" h="52065">
                      <a:moveTo>
                        <a:pt x="0" y="0"/>
                      </a:moveTo>
                      <a:cubicBezTo>
                        <a:pt x="2865" y="7847"/>
                        <a:pt x="3114" y="14200"/>
                        <a:pt x="2865" y="18559"/>
                      </a:cubicBezTo>
                      <a:cubicBezTo>
                        <a:pt x="2366" y="25534"/>
                        <a:pt x="373" y="28773"/>
                        <a:pt x="249" y="35873"/>
                      </a:cubicBezTo>
                      <a:cubicBezTo>
                        <a:pt x="124" y="42723"/>
                        <a:pt x="1743" y="48453"/>
                        <a:pt x="323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0" name="Freeform 7716">
                  <a:extLst>
                    <a:ext uri="{FF2B5EF4-FFF2-40B4-BE49-F238E27FC236}">
                      <a16:creationId xmlns:a16="http://schemas.microsoft.com/office/drawing/2014/main" id="{F983377F-2E8B-D153-2A8F-92FBA0721E01}"/>
                    </a:ext>
                  </a:extLst>
                </p:cNvPr>
                <p:cNvSpPr/>
                <p:nvPr/>
              </p:nvSpPr>
              <p:spPr>
                <a:xfrm>
                  <a:off x="6614120" y="1964193"/>
                  <a:ext cx="26690" cy="26591"/>
                </a:xfrm>
                <a:custGeom>
                  <a:avLst/>
                  <a:gdLst>
                    <a:gd name="connsiteX0" fmla="*/ 17 w 26690"/>
                    <a:gd name="connsiteY0" fmla="*/ 13981 h 26591"/>
                    <a:gd name="connsiteX1" fmla="*/ 12722 w 26690"/>
                    <a:gd name="connsiteY1" fmla="*/ 31 h 26591"/>
                    <a:gd name="connsiteX2" fmla="*/ 26673 w 26690"/>
                    <a:gd name="connsiteY2" fmla="*/ 12487 h 26591"/>
                    <a:gd name="connsiteX3" fmla="*/ 13968 w 26690"/>
                    <a:gd name="connsiteY3" fmla="*/ 26562 h 26591"/>
                    <a:gd name="connsiteX4" fmla="*/ 17 w 26690"/>
                    <a:gd name="connsiteY4" fmla="*/ 13981 h 2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1">
                      <a:moveTo>
                        <a:pt x="17" y="13981"/>
                      </a:moveTo>
                      <a:cubicBezTo>
                        <a:pt x="-357" y="6632"/>
                        <a:pt x="5373" y="529"/>
                        <a:pt x="12722" y="31"/>
                      </a:cubicBezTo>
                      <a:cubicBezTo>
                        <a:pt x="20071" y="-467"/>
                        <a:pt x="26299" y="5138"/>
                        <a:pt x="26673" y="12487"/>
                      </a:cubicBezTo>
                      <a:cubicBezTo>
                        <a:pt x="27046" y="19835"/>
                        <a:pt x="21316" y="26063"/>
                        <a:pt x="13968" y="26562"/>
                      </a:cubicBezTo>
                      <a:cubicBezTo>
                        <a:pt x="6618" y="27060"/>
                        <a:pt x="267" y="21330"/>
                        <a:pt x="17" y="13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1" name="Freeform 7717">
                  <a:extLst>
                    <a:ext uri="{FF2B5EF4-FFF2-40B4-BE49-F238E27FC236}">
                      <a16:creationId xmlns:a16="http://schemas.microsoft.com/office/drawing/2014/main" id="{1E2A9E8A-30BC-82C7-16CF-2C79ED63E6D6}"/>
                    </a:ext>
                  </a:extLst>
                </p:cNvPr>
                <p:cNvSpPr/>
                <p:nvPr/>
              </p:nvSpPr>
              <p:spPr>
                <a:xfrm>
                  <a:off x="6616514" y="1862460"/>
                  <a:ext cx="5033" cy="52065"/>
                </a:xfrm>
                <a:custGeom>
                  <a:avLst/>
                  <a:gdLst>
                    <a:gd name="connsiteX0" fmla="*/ 1608 w 5033"/>
                    <a:gd name="connsiteY0" fmla="*/ 0 h 52065"/>
                    <a:gd name="connsiteX1" fmla="*/ 487 w 5033"/>
                    <a:gd name="connsiteY1" fmla="*/ 18808 h 52065"/>
                    <a:gd name="connsiteX2" fmla="*/ 4722 w 5033"/>
                    <a:gd name="connsiteY2" fmla="*/ 35624 h 52065"/>
                    <a:gd name="connsiteX3" fmla="*/ 335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0"/>
                      </a:moveTo>
                      <a:cubicBezTo>
                        <a:pt x="-510" y="8221"/>
                        <a:pt x="-136" y="14573"/>
                        <a:pt x="487" y="18808"/>
                      </a:cubicBezTo>
                      <a:cubicBezTo>
                        <a:pt x="1608" y="25659"/>
                        <a:pt x="3850" y="28648"/>
                        <a:pt x="4722" y="35624"/>
                      </a:cubicBezTo>
                      <a:cubicBezTo>
                        <a:pt x="5594" y="42474"/>
                        <a:pt x="4473" y="48328"/>
                        <a:pt x="335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2" name="Freeform 7718">
                  <a:extLst>
                    <a:ext uri="{FF2B5EF4-FFF2-40B4-BE49-F238E27FC236}">
                      <a16:creationId xmlns:a16="http://schemas.microsoft.com/office/drawing/2014/main" id="{1E160791-068B-A6ED-5C97-8F26DEE35D2D}"/>
                    </a:ext>
                  </a:extLst>
                </p:cNvPr>
                <p:cNvSpPr/>
                <p:nvPr/>
              </p:nvSpPr>
              <p:spPr>
                <a:xfrm>
                  <a:off x="6624973" y="1856980"/>
                  <a:ext cx="3238" cy="52065"/>
                </a:xfrm>
                <a:custGeom>
                  <a:avLst/>
                  <a:gdLst>
                    <a:gd name="connsiteX0" fmla="*/ 3239 w 3238"/>
                    <a:gd name="connsiteY0" fmla="*/ 52065 h 52065"/>
                    <a:gd name="connsiteX1" fmla="*/ 373 w 3238"/>
                    <a:gd name="connsiteY1" fmla="*/ 33506 h 52065"/>
                    <a:gd name="connsiteX2" fmla="*/ 2989 w 3238"/>
                    <a:gd name="connsiteY2" fmla="*/ 16192 h 52065"/>
                    <a:gd name="connsiteX3" fmla="*/ 0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3239" y="52065"/>
                      </a:moveTo>
                      <a:cubicBezTo>
                        <a:pt x="373" y="44218"/>
                        <a:pt x="125" y="37865"/>
                        <a:pt x="373" y="33506"/>
                      </a:cubicBezTo>
                      <a:cubicBezTo>
                        <a:pt x="872" y="26531"/>
                        <a:pt x="2740"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43" name="Freeform 7719">
                  <a:extLst>
                    <a:ext uri="{FF2B5EF4-FFF2-40B4-BE49-F238E27FC236}">
                      <a16:creationId xmlns:a16="http://schemas.microsoft.com/office/drawing/2014/main" id="{D26CD08F-6222-71F3-3697-E186EF7C19AF}"/>
                    </a:ext>
                  </a:extLst>
                </p:cNvPr>
                <p:cNvSpPr/>
                <p:nvPr/>
              </p:nvSpPr>
              <p:spPr>
                <a:xfrm>
                  <a:off x="6608265" y="1841891"/>
                  <a:ext cx="26441" cy="26578"/>
                </a:xfrm>
                <a:custGeom>
                  <a:avLst/>
                  <a:gdLst>
                    <a:gd name="connsiteX0" fmla="*/ 26424 w 26441"/>
                    <a:gd name="connsiteY0" fmla="*/ 12473 h 26578"/>
                    <a:gd name="connsiteX1" fmla="*/ 13844 w 26441"/>
                    <a:gd name="connsiteY1" fmla="*/ 26548 h 26578"/>
                    <a:gd name="connsiteX2" fmla="*/ 18 w 26441"/>
                    <a:gd name="connsiteY2" fmla="*/ 13968 h 26578"/>
                    <a:gd name="connsiteX3" fmla="*/ 12598 w 26441"/>
                    <a:gd name="connsiteY3" fmla="*/ 18 h 26578"/>
                    <a:gd name="connsiteX4" fmla="*/ 26424 w 26441"/>
                    <a:gd name="connsiteY4" fmla="*/ 12473 h 26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8">
                      <a:moveTo>
                        <a:pt x="26424" y="12473"/>
                      </a:moveTo>
                      <a:cubicBezTo>
                        <a:pt x="26798" y="19822"/>
                        <a:pt x="21193" y="26050"/>
                        <a:pt x="13844" y="26548"/>
                      </a:cubicBezTo>
                      <a:cubicBezTo>
                        <a:pt x="6620" y="27047"/>
                        <a:pt x="392" y="21317"/>
                        <a:pt x="18" y="13968"/>
                      </a:cubicBezTo>
                      <a:cubicBezTo>
                        <a:pt x="-356" y="6619"/>
                        <a:pt x="5250" y="516"/>
                        <a:pt x="12598" y="18"/>
                      </a:cubicBezTo>
                      <a:cubicBezTo>
                        <a:pt x="19823" y="-356"/>
                        <a:pt x="26051" y="5249"/>
                        <a:pt x="26424"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0" name="Graphic 2987">
                <a:extLst>
                  <a:ext uri="{FF2B5EF4-FFF2-40B4-BE49-F238E27FC236}">
                    <a16:creationId xmlns:a16="http://schemas.microsoft.com/office/drawing/2014/main" id="{276C25DD-0551-2245-7A4E-7AC8D40EFB85}"/>
                  </a:ext>
                </a:extLst>
              </p:cNvPr>
              <p:cNvGrpSpPr/>
              <p:nvPr/>
            </p:nvGrpSpPr>
            <p:grpSpPr>
              <a:xfrm>
                <a:off x="6578745" y="1843146"/>
                <a:ext cx="32170" cy="148746"/>
                <a:chOff x="6578745" y="1843146"/>
                <a:chExt cx="32170" cy="148746"/>
              </a:xfrm>
              <a:grpFill/>
            </p:grpSpPr>
            <p:sp>
              <p:nvSpPr>
                <p:cNvPr id="6432" name="Freeform 7721">
                  <a:extLst>
                    <a:ext uri="{FF2B5EF4-FFF2-40B4-BE49-F238E27FC236}">
                      <a16:creationId xmlns:a16="http://schemas.microsoft.com/office/drawing/2014/main" id="{F8A7082A-AC57-3E2E-7D55-92FC186D1899}"/>
                    </a:ext>
                  </a:extLst>
                </p:cNvPr>
                <p:cNvSpPr/>
                <p:nvPr/>
              </p:nvSpPr>
              <p:spPr>
                <a:xfrm>
                  <a:off x="6597525" y="1919383"/>
                  <a:ext cx="5016" cy="52189"/>
                </a:xfrm>
                <a:custGeom>
                  <a:avLst/>
                  <a:gdLst>
                    <a:gd name="connsiteX0" fmla="*/ 3409 w 5016"/>
                    <a:gd name="connsiteY0" fmla="*/ 52190 h 52189"/>
                    <a:gd name="connsiteX1" fmla="*/ 4529 w 5016"/>
                    <a:gd name="connsiteY1" fmla="*/ 33381 h 52189"/>
                    <a:gd name="connsiteX2" fmla="*/ 295 w 5016"/>
                    <a:gd name="connsiteY2" fmla="*/ 16442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90"/>
                      </a:moveTo>
                      <a:cubicBezTo>
                        <a:pt x="5526" y="44093"/>
                        <a:pt x="5153" y="37741"/>
                        <a:pt x="4529" y="33381"/>
                      </a:cubicBezTo>
                      <a:cubicBezTo>
                        <a:pt x="3409" y="26406"/>
                        <a:pt x="1167" y="23541"/>
                        <a:pt x="295" y="16442"/>
                      </a:cubicBezTo>
                      <a:cubicBezTo>
                        <a:pt x="-577" y="9591"/>
                        <a:pt x="668" y="3861"/>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3" name="Freeform 7722">
                  <a:extLst>
                    <a:ext uri="{FF2B5EF4-FFF2-40B4-BE49-F238E27FC236}">
                      <a16:creationId xmlns:a16="http://schemas.microsoft.com/office/drawing/2014/main" id="{FD4F505D-EFB7-1CDA-8ECF-444693182C9D}"/>
                    </a:ext>
                  </a:extLst>
                </p:cNvPr>
                <p:cNvSpPr/>
                <p:nvPr/>
              </p:nvSpPr>
              <p:spPr>
                <a:xfrm>
                  <a:off x="6590969" y="1924739"/>
                  <a:ext cx="3113" cy="52065"/>
                </a:xfrm>
                <a:custGeom>
                  <a:avLst/>
                  <a:gdLst>
                    <a:gd name="connsiteX0" fmla="*/ 0 w 3113"/>
                    <a:gd name="connsiteY0" fmla="*/ 0 h 52065"/>
                    <a:gd name="connsiteX1" fmla="*/ 2865 w 3113"/>
                    <a:gd name="connsiteY1" fmla="*/ 18559 h 52065"/>
                    <a:gd name="connsiteX2" fmla="*/ 249 w 3113"/>
                    <a:gd name="connsiteY2" fmla="*/ 35748 h 52065"/>
                    <a:gd name="connsiteX3" fmla="*/ 3114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0" y="0"/>
                      </a:moveTo>
                      <a:cubicBezTo>
                        <a:pt x="2865" y="7972"/>
                        <a:pt x="3114" y="14324"/>
                        <a:pt x="2865" y="18559"/>
                      </a:cubicBezTo>
                      <a:cubicBezTo>
                        <a:pt x="2367" y="25534"/>
                        <a:pt x="373" y="28648"/>
                        <a:pt x="249" y="35748"/>
                      </a:cubicBezTo>
                      <a:cubicBezTo>
                        <a:pt x="124" y="42599"/>
                        <a:pt x="1743" y="48328"/>
                        <a:pt x="31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4" name="Freeform 7723">
                  <a:extLst>
                    <a:ext uri="{FF2B5EF4-FFF2-40B4-BE49-F238E27FC236}">
                      <a16:creationId xmlns:a16="http://schemas.microsoft.com/office/drawing/2014/main" id="{7305B503-BC51-E796-BC23-8CE1BBC4006F}"/>
                    </a:ext>
                  </a:extLst>
                </p:cNvPr>
                <p:cNvSpPr/>
                <p:nvPr/>
              </p:nvSpPr>
              <p:spPr>
                <a:xfrm>
                  <a:off x="6584225" y="1965462"/>
                  <a:ext cx="26690" cy="26431"/>
                </a:xfrm>
                <a:custGeom>
                  <a:avLst/>
                  <a:gdLst>
                    <a:gd name="connsiteX0" fmla="*/ 17 w 26690"/>
                    <a:gd name="connsiteY0" fmla="*/ 13709 h 26431"/>
                    <a:gd name="connsiteX1" fmla="*/ 12722 w 26690"/>
                    <a:gd name="connsiteY1" fmla="*/ 8 h 26431"/>
                    <a:gd name="connsiteX2" fmla="*/ 26673 w 26690"/>
                    <a:gd name="connsiteY2" fmla="*/ 12713 h 26431"/>
                    <a:gd name="connsiteX3" fmla="*/ 13968 w 26690"/>
                    <a:gd name="connsiteY3" fmla="*/ 26414 h 26431"/>
                    <a:gd name="connsiteX4" fmla="*/ 17 w 26690"/>
                    <a:gd name="connsiteY4" fmla="*/ 13709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31">
                      <a:moveTo>
                        <a:pt x="17" y="13709"/>
                      </a:moveTo>
                      <a:cubicBezTo>
                        <a:pt x="-356" y="6360"/>
                        <a:pt x="5373" y="257"/>
                        <a:pt x="12722" y="8"/>
                      </a:cubicBezTo>
                      <a:cubicBezTo>
                        <a:pt x="20071" y="-241"/>
                        <a:pt x="26299" y="5488"/>
                        <a:pt x="26673" y="12713"/>
                      </a:cubicBezTo>
                      <a:cubicBezTo>
                        <a:pt x="27047" y="20062"/>
                        <a:pt x="21317" y="26165"/>
                        <a:pt x="13968" y="26414"/>
                      </a:cubicBezTo>
                      <a:cubicBezTo>
                        <a:pt x="6619" y="26788"/>
                        <a:pt x="391" y="21058"/>
                        <a:pt x="1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5" name="Freeform 7724">
                  <a:extLst>
                    <a:ext uri="{FF2B5EF4-FFF2-40B4-BE49-F238E27FC236}">
                      <a16:creationId xmlns:a16="http://schemas.microsoft.com/office/drawing/2014/main" id="{909A0C90-14D7-3E02-8168-FE769B177166}"/>
                    </a:ext>
                  </a:extLst>
                </p:cNvPr>
                <p:cNvSpPr/>
                <p:nvPr/>
              </p:nvSpPr>
              <p:spPr>
                <a:xfrm>
                  <a:off x="6587119" y="1863706"/>
                  <a:ext cx="4965" cy="52189"/>
                </a:xfrm>
                <a:custGeom>
                  <a:avLst/>
                  <a:gdLst>
                    <a:gd name="connsiteX0" fmla="*/ 1608 w 4965"/>
                    <a:gd name="connsiteY0" fmla="*/ 0 h 52189"/>
                    <a:gd name="connsiteX1" fmla="*/ 487 w 4965"/>
                    <a:gd name="connsiteY1" fmla="*/ 18808 h 52189"/>
                    <a:gd name="connsiteX2" fmla="*/ 4722 w 4965"/>
                    <a:gd name="connsiteY2" fmla="*/ 35748 h 52189"/>
                    <a:gd name="connsiteX3" fmla="*/ 3352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1608" y="0"/>
                      </a:moveTo>
                      <a:cubicBezTo>
                        <a:pt x="-510" y="8096"/>
                        <a:pt x="-136" y="14449"/>
                        <a:pt x="487" y="18808"/>
                      </a:cubicBezTo>
                      <a:cubicBezTo>
                        <a:pt x="1608" y="25783"/>
                        <a:pt x="3850" y="28648"/>
                        <a:pt x="4722" y="35748"/>
                      </a:cubicBezTo>
                      <a:cubicBezTo>
                        <a:pt x="5470" y="42599"/>
                        <a:pt x="4348" y="48328"/>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6" name="Freeform 7725">
                  <a:extLst>
                    <a:ext uri="{FF2B5EF4-FFF2-40B4-BE49-F238E27FC236}">
                      <a16:creationId xmlns:a16="http://schemas.microsoft.com/office/drawing/2014/main" id="{87D63DB8-22B2-0627-BC2A-89884E76FF24}"/>
                    </a:ext>
                  </a:extLst>
                </p:cNvPr>
                <p:cNvSpPr/>
                <p:nvPr/>
              </p:nvSpPr>
              <p:spPr>
                <a:xfrm>
                  <a:off x="6595453" y="1858350"/>
                  <a:ext cx="3113" cy="52065"/>
                </a:xfrm>
                <a:custGeom>
                  <a:avLst/>
                  <a:gdLst>
                    <a:gd name="connsiteX0" fmla="*/ 3114 w 3113"/>
                    <a:gd name="connsiteY0" fmla="*/ 52065 h 52065"/>
                    <a:gd name="connsiteX1" fmla="*/ 249 w 3113"/>
                    <a:gd name="connsiteY1" fmla="*/ 33506 h 52065"/>
                    <a:gd name="connsiteX2" fmla="*/ 2865 w 3113"/>
                    <a:gd name="connsiteY2" fmla="*/ 16317 h 52065"/>
                    <a:gd name="connsiteX3" fmla="*/ 0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52065"/>
                      </a:moveTo>
                      <a:cubicBezTo>
                        <a:pt x="249" y="44093"/>
                        <a:pt x="0"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7" name="Freeform 7726">
                  <a:extLst>
                    <a:ext uri="{FF2B5EF4-FFF2-40B4-BE49-F238E27FC236}">
                      <a16:creationId xmlns:a16="http://schemas.microsoft.com/office/drawing/2014/main" id="{B317593A-C908-7837-82E1-F7A033563D29}"/>
                    </a:ext>
                  </a:extLst>
                </p:cNvPr>
                <p:cNvSpPr/>
                <p:nvPr/>
              </p:nvSpPr>
              <p:spPr>
                <a:xfrm>
                  <a:off x="6578745" y="1843146"/>
                  <a:ext cx="26441" cy="26546"/>
                </a:xfrm>
                <a:custGeom>
                  <a:avLst/>
                  <a:gdLst>
                    <a:gd name="connsiteX0" fmla="*/ 26423 w 26441"/>
                    <a:gd name="connsiteY0" fmla="*/ 12837 h 26546"/>
                    <a:gd name="connsiteX1" fmla="*/ 13844 w 26441"/>
                    <a:gd name="connsiteY1" fmla="*/ 26539 h 26546"/>
                    <a:gd name="connsiteX2" fmla="*/ 17 w 26441"/>
                    <a:gd name="connsiteY2" fmla="*/ 13709 h 26546"/>
                    <a:gd name="connsiteX3" fmla="*/ 12598 w 26441"/>
                    <a:gd name="connsiteY3" fmla="*/ 8 h 26546"/>
                    <a:gd name="connsiteX4" fmla="*/ 26423 w 2644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3" y="12837"/>
                      </a:moveTo>
                      <a:cubicBezTo>
                        <a:pt x="26797" y="20186"/>
                        <a:pt x="21192" y="26290"/>
                        <a:pt x="13844" y="26539"/>
                      </a:cubicBezTo>
                      <a:cubicBezTo>
                        <a:pt x="6495" y="26788"/>
                        <a:pt x="391" y="21058"/>
                        <a:pt x="17" y="13709"/>
                      </a:cubicBezTo>
                      <a:cubicBezTo>
                        <a:pt x="-356" y="6360"/>
                        <a:pt x="5373" y="257"/>
                        <a:pt x="12598" y="8"/>
                      </a:cubicBezTo>
                      <a:cubicBezTo>
                        <a:pt x="19947" y="-241"/>
                        <a:pt x="26050"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1" name="Graphic 2987">
                <a:extLst>
                  <a:ext uri="{FF2B5EF4-FFF2-40B4-BE49-F238E27FC236}">
                    <a16:creationId xmlns:a16="http://schemas.microsoft.com/office/drawing/2014/main" id="{F6384B43-414E-D854-3702-4517C7218D0F}"/>
                  </a:ext>
                </a:extLst>
              </p:cNvPr>
              <p:cNvGrpSpPr/>
              <p:nvPr/>
            </p:nvGrpSpPr>
            <p:grpSpPr>
              <a:xfrm>
                <a:off x="6549225" y="1844267"/>
                <a:ext cx="31921" cy="148737"/>
                <a:chOff x="6549225" y="1844267"/>
                <a:chExt cx="31921" cy="148737"/>
              </a:xfrm>
              <a:grpFill/>
            </p:grpSpPr>
            <p:sp>
              <p:nvSpPr>
                <p:cNvPr id="6426" name="Freeform 7728">
                  <a:extLst>
                    <a:ext uri="{FF2B5EF4-FFF2-40B4-BE49-F238E27FC236}">
                      <a16:creationId xmlns:a16="http://schemas.microsoft.com/office/drawing/2014/main" id="{813B4039-C0FB-4D74-FBEC-0B1AA82F4073}"/>
                    </a:ext>
                  </a:extLst>
                </p:cNvPr>
                <p:cNvSpPr/>
                <p:nvPr/>
              </p:nvSpPr>
              <p:spPr>
                <a:xfrm>
                  <a:off x="6567808" y="1920380"/>
                  <a:ext cx="5016" cy="52189"/>
                </a:xfrm>
                <a:custGeom>
                  <a:avLst/>
                  <a:gdLst>
                    <a:gd name="connsiteX0" fmla="*/ 3356 w 5016"/>
                    <a:gd name="connsiteY0" fmla="*/ 52190 h 52189"/>
                    <a:gd name="connsiteX1" fmla="*/ 4477 w 5016"/>
                    <a:gd name="connsiteY1" fmla="*/ 33381 h 52189"/>
                    <a:gd name="connsiteX2" fmla="*/ 242 w 5016"/>
                    <a:gd name="connsiteY2" fmla="*/ 16442 h 52189"/>
                    <a:gd name="connsiteX3" fmla="*/ 1737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356" y="52190"/>
                      </a:moveTo>
                      <a:cubicBezTo>
                        <a:pt x="5473" y="44093"/>
                        <a:pt x="5225" y="37741"/>
                        <a:pt x="4477" y="33381"/>
                      </a:cubicBezTo>
                      <a:cubicBezTo>
                        <a:pt x="3356" y="26406"/>
                        <a:pt x="1114"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7" name="Freeform 7729">
                  <a:extLst>
                    <a:ext uri="{FF2B5EF4-FFF2-40B4-BE49-F238E27FC236}">
                      <a16:creationId xmlns:a16="http://schemas.microsoft.com/office/drawing/2014/main" id="{FEA99283-9006-FEAF-E64C-C56450B40529}"/>
                    </a:ext>
                  </a:extLst>
                </p:cNvPr>
                <p:cNvSpPr/>
                <p:nvPr/>
              </p:nvSpPr>
              <p:spPr>
                <a:xfrm>
                  <a:off x="6561300" y="1925860"/>
                  <a:ext cx="2899" cy="52065"/>
                </a:xfrm>
                <a:custGeom>
                  <a:avLst/>
                  <a:gdLst>
                    <a:gd name="connsiteX0" fmla="*/ 24 w 2899"/>
                    <a:gd name="connsiteY0" fmla="*/ 0 h 52065"/>
                    <a:gd name="connsiteX1" fmla="*/ 2764 w 2899"/>
                    <a:gd name="connsiteY1" fmla="*/ 18559 h 52065"/>
                    <a:gd name="connsiteX2" fmla="*/ 24 w 2899"/>
                    <a:gd name="connsiteY2" fmla="*/ 35748 h 52065"/>
                    <a:gd name="connsiteX3" fmla="*/ 2889 w 289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9" h="52065">
                      <a:moveTo>
                        <a:pt x="24" y="0"/>
                      </a:moveTo>
                      <a:cubicBezTo>
                        <a:pt x="2889" y="7972"/>
                        <a:pt x="3138" y="14324"/>
                        <a:pt x="2764" y="18559"/>
                      </a:cubicBezTo>
                      <a:cubicBezTo>
                        <a:pt x="2266" y="25534"/>
                        <a:pt x="273" y="28648"/>
                        <a:pt x="24" y="35748"/>
                      </a:cubicBezTo>
                      <a:cubicBezTo>
                        <a:pt x="-225" y="42599"/>
                        <a:pt x="1519" y="48328"/>
                        <a:pt x="288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8" name="Freeform 7730">
                  <a:extLst>
                    <a:ext uri="{FF2B5EF4-FFF2-40B4-BE49-F238E27FC236}">
                      <a16:creationId xmlns:a16="http://schemas.microsoft.com/office/drawing/2014/main" id="{A25E57DA-97AC-F390-76CA-F5DFD6082FCC}"/>
                    </a:ext>
                  </a:extLst>
                </p:cNvPr>
                <p:cNvSpPr/>
                <p:nvPr/>
              </p:nvSpPr>
              <p:spPr>
                <a:xfrm>
                  <a:off x="6554465" y="1966583"/>
                  <a:ext cx="26680" cy="26422"/>
                </a:xfrm>
                <a:custGeom>
                  <a:avLst/>
                  <a:gdLst>
                    <a:gd name="connsiteX0" fmla="*/ 8 w 26680"/>
                    <a:gd name="connsiteY0" fmla="*/ 13709 h 26422"/>
                    <a:gd name="connsiteX1" fmla="*/ 12713 w 26680"/>
                    <a:gd name="connsiteY1" fmla="*/ 8 h 26422"/>
                    <a:gd name="connsiteX2" fmla="*/ 26663 w 26680"/>
                    <a:gd name="connsiteY2" fmla="*/ 12713 h 26422"/>
                    <a:gd name="connsiteX3" fmla="*/ 13959 w 26680"/>
                    <a:gd name="connsiteY3" fmla="*/ 26414 h 26422"/>
                    <a:gd name="connsiteX4" fmla="*/ 8 w 26680"/>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422">
                      <a:moveTo>
                        <a:pt x="8" y="13709"/>
                      </a:moveTo>
                      <a:cubicBezTo>
                        <a:pt x="-241" y="6360"/>
                        <a:pt x="5365" y="257"/>
                        <a:pt x="12713" y="8"/>
                      </a:cubicBezTo>
                      <a:cubicBezTo>
                        <a:pt x="20062" y="-241"/>
                        <a:pt x="26290" y="5488"/>
                        <a:pt x="26663" y="12713"/>
                      </a:cubicBezTo>
                      <a:cubicBezTo>
                        <a:pt x="27038" y="20062"/>
                        <a:pt x="21308" y="26165"/>
                        <a:pt x="13959" y="26414"/>
                      </a:cubicBezTo>
                      <a:cubicBezTo>
                        <a:pt x="6610" y="26663"/>
                        <a:pt x="38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9" name="Freeform 7731">
                  <a:extLst>
                    <a:ext uri="{FF2B5EF4-FFF2-40B4-BE49-F238E27FC236}">
                      <a16:creationId xmlns:a16="http://schemas.microsoft.com/office/drawing/2014/main" id="{821C60BF-07F9-F9FF-C567-368DF89C32E9}"/>
                    </a:ext>
                  </a:extLst>
                </p:cNvPr>
                <p:cNvSpPr/>
                <p:nvPr/>
              </p:nvSpPr>
              <p:spPr>
                <a:xfrm>
                  <a:off x="6557546" y="1864702"/>
                  <a:ext cx="4892" cy="52189"/>
                </a:xfrm>
                <a:custGeom>
                  <a:avLst/>
                  <a:gdLst>
                    <a:gd name="connsiteX0" fmla="*/ 1660 w 4892"/>
                    <a:gd name="connsiteY0" fmla="*/ 0 h 52189"/>
                    <a:gd name="connsiteX1" fmla="*/ 540 w 4892"/>
                    <a:gd name="connsiteY1" fmla="*/ 18808 h 52189"/>
                    <a:gd name="connsiteX2" fmla="*/ 4650 w 4892"/>
                    <a:gd name="connsiteY2" fmla="*/ 35748 h 52189"/>
                    <a:gd name="connsiteX3" fmla="*/ 3155 w 48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0"/>
                      </a:moveTo>
                      <a:cubicBezTo>
                        <a:pt x="-457" y="8096"/>
                        <a:pt x="-208" y="14449"/>
                        <a:pt x="540" y="18808"/>
                      </a:cubicBezTo>
                      <a:cubicBezTo>
                        <a:pt x="1660" y="25783"/>
                        <a:pt x="3903" y="28648"/>
                        <a:pt x="4650" y="35748"/>
                      </a:cubicBezTo>
                      <a:cubicBezTo>
                        <a:pt x="5398" y="42599"/>
                        <a:pt x="4276" y="48328"/>
                        <a:pt x="31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0" name="Freeform 7732">
                  <a:extLst>
                    <a:ext uri="{FF2B5EF4-FFF2-40B4-BE49-F238E27FC236}">
                      <a16:creationId xmlns:a16="http://schemas.microsoft.com/office/drawing/2014/main" id="{4D6F7ED9-9AE3-142E-441F-ECC1296DB397}"/>
                    </a:ext>
                  </a:extLst>
                </p:cNvPr>
                <p:cNvSpPr/>
                <p:nvPr/>
              </p:nvSpPr>
              <p:spPr>
                <a:xfrm>
                  <a:off x="6565933" y="1859471"/>
                  <a:ext cx="2989" cy="52065"/>
                </a:xfrm>
                <a:custGeom>
                  <a:avLst/>
                  <a:gdLst>
                    <a:gd name="connsiteX0" fmla="*/ 2989 w 2989"/>
                    <a:gd name="connsiteY0" fmla="*/ 52065 h 52065"/>
                    <a:gd name="connsiteX1" fmla="*/ 249 w 2989"/>
                    <a:gd name="connsiteY1" fmla="*/ 33506 h 52065"/>
                    <a:gd name="connsiteX2" fmla="*/ 2865 w 2989"/>
                    <a:gd name="connsiteY2" fmla="*/ 16317 h 52065"/>
                    <a:gd name="connsiteX3" fmla="*/ 0 w 2989"/>
                    <a:gd name="connsiteY3" fmla="*/ 0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52065"/>
                      </a:moveTo>
                      <a:cubicBezTo>
                        <a:pt x="125" y="44093"/>
                        <a:pt x="-125" y="37741"/>
                        <a:pt x="249" y="33506"/>
                      </a:cubicBezTo>
                      <a:cubicBezTo>
                        <a:pt x="747" y="26531"/>
                        <a:pt x="2740" y="23417"/>
                        <a:pt x="2865" y="16317"/>
                      </a:cubicBezTo>
                      <a:cubicBezTo>
                        <a:pt x="2989" y="9466"/>
                        <a:pt x="1370"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31" name="Freeform 7733">
                  <a:extLst>
                    <a:ext uri="{FF2B5EF4-FFF2-40B4-BE49-F238E27FC236}">
                      <a16:creationId xmlns:a16="http://schemas.microsoft.com/office/drawing/2014/main" id="{97272391-6D82-8564-AF85-3233DD836C2F}"/>
                    </a:ext>
                  </a:extLst>
                </p:cNvPr>
                <p:cNvSpPr/>
                <p:nvPr/>
              </p:nvSpPr>
              <p:spPr>
                <a:xfrm>
                  <a:off x="6549225" y="1844267"/>
                  <a:ext cx="26440" cy="26546"/>
                </a:xfrm>
                <a:custGeom>
                  <a:avLst/>
                  <a:gdLst>
                    <a:gd name="connsiteX0" fmla="*/ 26423 w 26440"/>
                    <a:gd name="connsiteY0" fmla="*/ 12837 h 26546"/>
                    <a:gd name="connsiteX1" fmla="*/ 13843 w 26440"/>
                    <a:gd name="connsiteY1" fmla="*/ 26539 h 26546"/>
                    <a:gd name="connsiteX2" fmla="*/ 17 w 26440"/>
                    <a:gd name="connsiteY2" fmla="*/ 13709 h 26546"/>
                    <a:gd name="connsiteX3" fmla="*/ 12598 w 26440"/>
                    <a:gd name="connsiteY3" fmla="*/ 8 h 26546"/>
                    <a:gd name="connsiteX4" fmla="*/ 26423 w 2644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0" h="26545">
                      <a:moveTo>
                        <a:pt x="26423" y="12837"/>
                      </a:moveTo>
                      <a:cubicBezTo>
                        <a:pt x="26797" y="20186"/>
                        <a:pt x="21068" y="26290"/>
                        <a:pt x="13843" y="26539"/>
                      </a:cubicBezTo>
                      <a:cubicBezTo>
                        <a:pt x="6619" y="26788"/>
                        <a:pt x="391" y="21058"/>
                        <a:pt x="17" y="13709"/>
                      </a:cubicBezTo>
                      <a:cubicBezTo>
                        <a:pt x="-356" y="6360"/>
                        <a:pt x="5373" y="257"/>
                        <a:pt x="12598" y="8"/>
                      </a:cubicBezTo>
                      <a:cubicBezTo>
                        <a:pt x="19947" y="-241"/>
                        <a:pt x="26175" y="5488"/>
                        <a:pt x="2642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2" name="Graphic 2987">
                <a:extLst>
                  <a:ext uri="{FF2B5EF4-FFF2-40B4-BE49-F238E27FC236}">
                    <a16:creationId xmlns:a16="http://schemas.microsoft.com/office/drawing/2014/main" id="{24F53091-B913-536B-2253-F31F93662B93}"/>
                  </a:ext>
                </a:extLst>
              </p:cNvPr>
              <p:cNvGrpSpPr/>
              <p:nvPr/>
            </p:nvGrpSpPr>
            <p:grpSpPr>
              <a:xfrm>
                <a:off x="6519714" y="1845264"/>
                <a:ext cx="31662" cy="148862"/>
                <a:chOff x="6519714" y="1845264"/>
                <a:chExt cx="31662" cy="148862"/>
              </a:xfrm>
              <a:grpFill/>
            </p:grpSpPr>
            <p:sp>
              <p:nvSpPr>
                <p:cNvPr id="6420" name="Freeform 7735">
                  <a:extLst>
                    <a:ext uri="{FF2B5EF4-FFF2-40B4-BE49-F238E27FC236}">
                      <a16:creationId xmlns:a16="http://schemas.microsoft.com/office/drawing/2014/main" id="{6864ECAC-92EB-CE34-20DE-26A81134806B}"/>
                    </a:ext>
                  </a:extLst>
                </p:cNvPr>
                <p:cNvSpPr/>
                <p:nvPr/>
              </p:nvSpPr>
              <p:spPr>
                <a:xfrm>
                  <a:off x="6538288" y="1921501"/>
                  <a:ext cx="4793" cy="52189"/>
                </a:xfrm>
                <a:custGeom>
                  <a:avLst/>
                  <a:gdLst>
                    <a:gd name="connsiteX0" fmla="*/ 3107 w 4793"/>
                    <a:gd name="connsiteY0" fmla="*/ 52190 h 52189"/>
                    <a:gd name="connsiteX1" fmla="*/ 4353 w 4793"/>
                    <a:gd name="connsiteY1" fmla="*/ 33381 h 52189"/>
                    <a:gd name="connsiteX2" fmla="*/ 242 w 4793"/>
                    <a:gd name="connsiteY2" fmla="*/ 16442 h 52189"/>
                    <a:gd name="connsiteX3" fmla="*/ 1737 w 4793"/>
                    <a:gd name="connsiteY3" fmla="*/ 0 h 52189"/>
                  </a:gdLst>
                  <a:ahLst/>
                  <a:cxnLst>
                    <a:cxn ang="0">
                      <a:pos x="connsiteX0" y="connsiteY0"/>
                    </a:cxn>
                    <a:cxn ang="0">
                      <a:pos x="connsiteX1" y="connsiteY1"/>
                    </a:cxn>
                    <a:cxn ang="0">
                      <a:pos x="connsiteX2" y="connsiteY2"/>
                    </a:cxn>
                    <a:cxn ang="0">
                      <a:pos x="connsiteX3" y="connsiteY3"/>
                    </a:cxn>
                  </a:cxnLst>
                  <a:rect l="l" t="t" r="r" b="b"/>
                  <a:pathLst>
                    <a:path w="4793" h="52189">
                      <a:moveTo>
                        <a:pt x="3107" y="52190"/>
                      </a:moveTo>
                      <a:cubicBezTo>
                        <a:pt x="5225" y="44093"/>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1" name="Freeform 7736">
                  <a:extLst>
                    <a:ext uri="{FF2B5EF4-FFF2-40B4-BE49-F238E27FC236}">
                      <a16:creationId xmlns:a16="http://schemas.microsoft.com/office/drawing/2014/main" id="{6B8BC0EC-9DCF-2476-B88C-00587D2112C6}"/>
                    </a:ext>
                  </a:extLst>
                </p:cNvPr>
                <p:cNvSpPr/>
                <p:nvPr/>
              </p:nvSpPr>
              <p:spPr>
                <a:xfrm>
                  <a:off x="6531654" y="1926857"/>
                  <a:ext cx="2900" cy="52065"/>
                </a:xfrm>
                <a:custGeom>
                  <a:avLst/>
                  <a:gdLst>
                    <a:gd name="connsiteX0" fmla="*/ 26 w 2900"/>
                    <a:gd name="connsiteY0" fmla="*/ 0 h 52065"/>
                    <a:gd name="connsiteX1" fmla="*/ 2765 w 2900"/>
                    <a:gd name="connsiteY1" fmla="*/ 18559 h 52065"/>
                    <a:gd name="connsiteX2" fmla="*/ 26 w 2900"/>
                    <a:gd name="connsiteY2" fmla="*/ 35748 h 52065"/>
                    <a:gd name="connsiteX3" fmla="*/ 2890 w 290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0" h="52065">
                      <a:moveTo>
                        <a:pt x="26" y="0"/>
                      </a:moveTo>
                      <a:cubicBezTo>
                        <a:pt x="2890" y="7972"/>
                        <a:pt x="3140" y="14324"/>
                        <a:pt x="2765" y="18559"/>
                      </a:cubicBezTo>
                      <a:cubicBezTo>
                        <a:pt x="2268" y="25534"/>
                        <a:pt x="274" y="28648"/>
                        <a:pt x="26" y="35748"/>
                      </a:cubicBezTo>
                      <a:cubicBezTo>
                        <a:pt x="-224" y="42599"/>
                        <a:pt x="1396" y="48328"/>
                        <a:pt x="289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2" name="Freeform 7737">
                  <a:extLst>
                    <a:ext uri="{FF2B5EF4-FFF2-40B4-BE49-F238E27FC236}">
                      <a16:creationId xmlns:a16="http://schemas.microsoft.com/office/drawing/2014/main" id="{D9C27DDB-BBFD-EDE7-25DC-AFCFC37CB3F4}"/>
                    </a:ext>
                  </a:extLst>
                </p:cNvPr>
                <p:cNvSpPr/>
                <p:nvPr/>
              </p:nvSpPr>
              <p:spPr>
                <a:xfrm>
                  <a:off x="6524697" y="1967704"/>
                  <a:ext cx="26679" cy="26421"/>
                </a:xfrm>
                <a:custGeom>
                  <a:avLst/>
                  <a:gdLst>
                    <a:gd name="connsiteX0" fmla="*/ 8 w 26679"/>
                    <a:gd name="connsiteY0" fmla="*/ 13709 h 26421"/>
                    <a:gd name="connsiteX1" fmla="*/ 12837 w 26679"/>
                    <a:gd name="connsiteY1" fmla="*/ 8 h 26421"/>
                    <a:gd name="connsiteX2" fmla="*/ 26663 w 26679"/>
                    <a:gd name="connsiteY2" fmla="*/ 12713 h 26421"/>
                    <a:gd name="connsiteX3" fmla="*/ 13834 w 26679"/>
                    <a:gd name="connsiteY3" fmla="*/ 26414 h 26421"/>
                    <a:gd name="connsiteX4" fmla="*/ 8 w 26679"/>
                    <a:gd name="connsiteY4" fmla="*/ 13709 h 2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 h="26420">
                      <a:moveTo>
                        <a:pt x="8" y="13709"/>
                      </a:moveTo>
                      <a:cubicBezTo>
                        <a:pt x="-242" y="6360"/>
                        <a:pt x="5488" y="257"/>
                        <a:pt x="12837" y="8"/>
                      </a:cubicBezTo>
                      <a:cubicBezTo>
                        <a:pt x="20186" y="-241"/>
                        <a:pt x="26414" y="5488"/>
                        <a:pt x="26663" y="12713"/>
                      </a:cubicBezTo>
                      <a:cubicBezTo>
                        <a:pt x="27037" y="20062"/>
                        <a:pt x="21307" y="26165"/>
                        <a:pt x="13834" y="26414"/>
                      </a:cubicBezTo>
                      <a:cubicBezTo>
                        <a:pt x="6484" y="26663"/>
                        <a:pt x="256"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3" name="Freeform 7738">
                  <a:extLst>
                    <a:ext uri="{FF2B5EF4-FFF2-40B4-BE49-F238E27FC236}">
                      <a16:creationId xmlns:a16="http://schemas.microsoft.com/office/drawing/2014/main" id="{CC444620-5E20-FE9D-7EBF-62DEA6EC8518}"/>
                    </a:ext>
                  </a:extLst>
                </p:cNvPr>
                <p:cNvSpPr/>
                <p:nvPr/>
              </p:nvSpPr>
              <p:spPr>
                <a:xfrm>
                  <a:off x="6528001" y="1865823"/>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3"/>
                        <a:pt x="3804"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4" name="Freeform 7739">
                  <a:extLst>
                    <a:ext uri="{FF2B5EF4-FFF2-40B4-BE49-F238E27FC236}">
                      <a16:creationId xmlns:a16="http://schemas.microsoft.com/office/drawing/2014/main" id="{0A9A05F4-7FFB-7E8F-9BBC-010AB8BD52CA}"/>
                    </a:ext>
                  </a:extLst>
                </p:cNvPr>
                <p:cNvSpPr/>
                <p:nvPr/>
              </p:nvSpPr>
              <p:spPr>
                <a:xfrm>
                  <a:off x="6536402" y="1860467"/>
                  <a:ext cx="2899" cy="52065"/>
                </a:xfrm>
                <a:custGeom>
                  <a:avLst/>
                  <a:gdLst>
                    <a:gd name="connsiteX0" fmla="*/ 2875 w 2899"/>
                    <a:gd name="connsiteY0" fmla="*/ 52065 h 52065"/>
                    <a:gd name="connsiteX1" fmla="*/ 135 w 2899"/>
                    <a:gd name="connsiteY1" fmla="*/ 33506 h 52065"/>
                    <a:gd name="connsiteX2" fmla="*/ 2875 w 2899"/>
                    <a:gd name="connsiteY2" fmla="*/ 16317 h 52065"/>
                    <a:gd name="connsiteX3" fmla="*/ 10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875" y="52065"/>
                      </a:moveTo>
                      <a:cubicBezTo>
                        <a:pt x="10" y="44093"/>
                        <a:pt x="-239" y="37741"/>
                        <a:pt x="135" y="33506"/>
                      </a:cubicBezTo>
                      <a:cubicBezTo>
                        <a:pt x="633" y="26531"/>
                        <a:pt x="2626" y="23417"/>
                        <a:pt x="2875" y="16317"/>
                      </a:cubicBezTo>
                      <a:cubicBezTo>
                        <a:pt x="3124" y="9466"/>
                        <a:pt x="1380"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25" name="Freeform 7740">
                  <a:extLst>
                    <a:ext uri="{FF2B5EF4-FFF2-40B4-BE49-F238E27FC236}">
                      <a16:creationId xmlns:a16="http://schemas.microsoft.com/office/drawing/2014/main" id="{C9EB6BEB-DF4B-78A4-575F-8E589CFE100C}"/>
                    </a:ext>
                  </a:extLst>
                </p:cNvPr>
                <p:cNvSpPr/>
                <p:nvPr/>
              </p:nvSpPr>
              <p:spPr>
                <a:xfrm>
                  <a:off x="6519714" y="1845264"/>
                  <a:ext cx="26431" cy="26546"/>
                </a:xfrm>
                <a:custGeom>
                  <a:avLst/>
                  <a:gdLst>
                    <a:gd name="connsiteX0" fmla="*/ 26414 w 26431"/>
                    <a:gd name="connsiteY0" fmla="*/ 12837 h 26546"/>
                    <a:gd name="connsiteX1" fmla="*/ 13710 w 26431"/>
                    <a:gd name="connsiteY1" fmla="*/ 26539 h 26546"/>
                    <a:gd name="connsiteX2" fmla="*/ 8 w 26431"/>
                    <a:gd name="connsiteY2" fmla="*/ 13709 h 26546"/>
                    <a:gd name="connsiteX3" fmla="*/ 12713 w 26431"/>
                    <a:gd name="connsiteY3" fmla="*/ 8 h 26546"/>
                    <a:gd name="connsiteX4" fmla="*/ 26414 w 2643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4" y="12837"/>
                      </a:moveTo>
                      <a:cubicBezTo>
                        <a:pt x="26788" y="20186"/>
                        <a:pt x="21058" y="26290"/>
                        <a:pt x="13710" y="26539"/>
                      </a:cubicBezTo>
                      <a:cubicBezTo>
                        <a:pt x="6361" y="26788"/>
                        <a:pt x="257" y="21058"/>
                        <a:pt x="8" y="13709"/>
                      </a:cubicBezTo>
                      <a:cubicBezTo>
                        <a:pt x="-241" y="6360"/>
                        <a:pt x="5364" y="257"/>
                        <a:pt x="12713" y="8"/>
                      </a:cubicBezTo>
                      <a:cubicBezTo>
                        <a:pt x="20062" y="-241"/>
                        <a:pt x="26166"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3" name="Graphic 2987">
                <a:extLst>
                  <a:ext uri="{FF2B5EF4-FFF2-40B4-BE49-F238E27FC236}">
                    <a16:creationId xmlns:a16="http://schemas.microsoft.com/office/drawing/2014/main" id="{32DFB856-6F59-09C1-FFE9-80A71AB9D20D}"/>
                  </a:ext>
                </a:extLst>
              </p:cNvPr>
              <p:cNvGrpSpPr/>
              <p:nvPr/>
            </p:nvGrpSpPr>
            <p:grpSpPr>
              <a:xfrm>
                <a:off x="6490318" y="1846385"/>
                <a:ext cx="31279" cy="148737"/>
                <a:chOff x="6490318" y="1846385"/>
                <a:chExt cx="31279" cy="148737"/>
              </a:xfrm>
              <a:grpFill/>
            </p:grpSpPr>
            <p:sp>
              <p:nvSpPr>
                <p:cNvPr id="6414" name="Freeform 7742">
                  <a:extLst>
                    <a:ext uri="{FF2B5EF4-FFF2-40B4-BE49-F238E27FC236}">
                      <a16:creationId xmlns:a16="http://schemas.microsoft.com/office/drawing/2014/main" id="{F09E4651-F744-570C-53E3-055F0244801C}"/>
                    </a:ext>
                  </a:extLst>
                </p:cNvPr>
                <p:cNvSpPr/>
                <p:nvPr/>
              </p:nvSpPr>
              <p:spPr>
                <a:xfrm>
                  <a:off x="6508519" y="1922497"/>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5" y="44093"/>
                        <a:pt x="4975" y="37741"/>
                        <a:pt x="4353" y="33381"/>
                      </a:cubicBezTo>
                      <a:cubicBezTo>
                        <a:pt x="3356" y="26406"/>
                        <a:pt x="989" y="23541"/>
                        <a:pt x="242" y="16442"/>
                      </a:cubicBezTo>
                      <a:cubicBezTo>
                        <a:pt x="-505" y="9591"/>
                        <a:pt x="616"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5" name="Freeform 7743">
                  <a:extLst>
                    <a:ext uri="{FF2B5EF4-FFF2-40B4-BE49-F238E27FC236}">
                      <a16:creationId xmlns:a16="http://schemas.microsoft.com/office/drawing/2014/main" id="{356ABE32-532B-F0DA-357C-99D037E2E9AF}"/>
                    </a:ext>
                  </a:extLst>
                </p:cNvPr>
                <p:cNvSpPr/>
                <p:nvPr/>
              </p:nvSpPr>
              <p:spPr>
                <a:xfrm>
                  <a:off x="6502009" y="192797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2"/>
                        <a:pt x="3015" y="14324"/>
                        <a:pt x="2766" y="18559"/>
                      </a:cubicBezTo>
                      <a:cubicBezTo>
                        <a:pt x="2268" y="25534"/>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6" name="Freeform 7744">
                  <a:extLst>
                    <a:ext uri="{FF2B5EF4-FFF2-40B4-BE49-F238E27FC236}">
                      <a16:creationId xmlns:a16="http://schemas.microsoft.com/office/drawing/2014/main" id="{5674F90E-0C4C-EBAE-95B9-9557D909A3AC}"/>
                    </a:ext>
                  </a:extLst>
                </p:cNvPr>
                <p:cNvSpPr/>
                <p:nvPr/>
              </p:nvSpPr>
              <p:spPr>
                <a:xfrm>
                  <a:off x="6494927" y="1968700"/>
                  <a:ext cx="26671" cy="26422"/>
                </a:xfrm>
                <a:custGeom>
                  <a:avLst/>
                  <a:gdLst>
                    <a:gd name="connsiteX0" fmla="*/ 8 w 26671"/>
                    <a:gd name="connsiteY0" fmla="*/ 13709 h 26422"/>
                    <a:gd name="connsiteX1" fmla="*/ 12837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2" y="6360"/>
                        <a:pt x="5488" y="257"/>
                        <a:pt x="12837" y="8"/>
                      </a:cubicBezTo>
                      <a:cubicBezTo>
                        <a:pt x="20186" y="-241"/>
                        <a:pt x="26414" y="5488"/>
                        <a:pt x="26663" y="12713"/>
                      </a:cubicBezTo>
                      <a:cubicBezTo>
                        <a:pt x="26912"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7" name="Freeform 7745">
                  <a:extLst>
                    <a:ext uri="{FF2B5EF4-FFF2-40B4-BE49-F238E27FC236}">
                      <a16:creationId xmlns:a16="http://schemas.microsoft.com/office/drawing/2014/main" id="{B8F985CA-C7A4-3F4C-C713-964FF78A54B2}"/>
                    </a:ext>
                  </a:extLst>
                </p:cNvPr>
                <p:cNvSpPr/>
                <p:nvPr/>
              </p:nvSpPr>
              <p:spPr>
                <a:xfrm>
                  <a:off x="6498481" y="1866820"/>
                  <a:ext cx="4792" cy="52189"/>
                </a:xfrm>
                <a:custGeom>
                  <a:avLst/>
                  <a:gdLst>
                    <a:gd name="connsiteX0" fmla="*/ 1686 w 4792"/>
                    <a:gd name="connsiteY0" fmla="*/ 0 h 52189"/>
                    <a:gd name="connsiteX1" fmla="*/ 440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437" y="25783"/>
                        <a:pt x="3679"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8" name="Freeform 7746">
                  <a:extLst>
                    <a:ext uri="{FF2B5EF4-FFF2-40B4-BE49-F238E27FC236}">
                      <a16:creationId xmlns:a16="http://schemas.microsoft.com/office/drawing/2014/main" id="{734923E9-1E3A-D7A9-A217-F34EDE303A30}"/>
                    </a:ext>
                  </a:extLst>
                </p:cNvPr>
                <p:cNvSpPr/>
                <p:nvPr/>
              </p:nvSpPr>
              <p:spPr>
                <a:xfrm>
                  <a:off x="6506942" y="1861588"/>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3"/>
                        <a:pt x="-174" y="37741"/>
                        <a:pt x="74" y="33506"/>
                      </a:cubicBezTo>
                      <a:cubicBezTo>
                        <a:pt x="573" y="26531"/>
                        <a:pt x="2566" y="23417"/>
                        <a:pt x="2815" y="16317"/>
                      </a:cubicBezTo>
                      <a:cubicBezTo>
                        <a:pt x="3064" y="9466"/>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9" name="Freeform 7747">
                  <a:extLst>
                    <a:ext uri="{FF2B5EF4-FFF2-40B4-BE49-F238E27FC236}">
                      <a16:creationId xmlns:a16="http://schemas.microsoft.com/office/drawing/2014/main" id="{F3D263B2-7211-9EFE-0844-6B3D4F862FEF}"/>
                    </a:ext>
                  </a:extLst>
                </p:cNvPr>
                <p:cNvSpPr/>
                <p:nvPr/>
              </p:nvSpPr>
              <p:spPr>
                <a:xfrm>
                  <a:off x="6490318" y="1846385"/>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3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4" y="20186"/>
                        <a:pt x="21058" y="26290"/>
                        <a:pt x="13709" y="26539"/>
                      </a:cubicBezTo>
                      <a:cubicBezTo>
                        <a:pt x="6361" y="26788"/>
                        <a:pt x="257" y="21058"/>
                        <a:pt x="8" y="13709"/>
                      </a:cubicBezTo>
                      <a:cubicBezTo>
                        <a:pt x="-241" y="6360"/>
                        <a:pt x="5364" y="257"/>
                        <a:pt x="12713" y="8"/>
                      </a:cubicBezTo>
                      <a:cubicBezTo>
                        <a:pt x="20062" y="-241"/>
                        <a:pt x="26040"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4" name="Graphic 2987">
                <a:extLst>
                  <a:ext uri="{FF2B5EF4-FFF2-40B4-BE49-F238E27FC236}">
                    <a16:creationId xmlns:a16="http://schemas.microsoft.com/office/drawing/2014/main" id="{BEC52DC9-E64D-9863-F84D-6210F9E34C4F}"/>
                  </a:ext>
                </a:extLst>
              </p:cNvPr>
              <p:cNvGrpSpPr/>
              <p:nvPr/>
            </p:nvGrpSpPr>
            <p:grpSpPr>
              <a:xfrm>
                <a:off x="6460799" y="1847381"/>
                <a:ext cx="31030" cy="148862"/>
                <a:chOff x="6460799" y="1847381"/>
                <a:chExt cx="31030" cy="148862"/>
              </a:xfrm>
              <a:grpFill/>
            </p:grpSpPr>
            <p:sp>
              <p:nvSpPr>
                <p:cNvPr id="6408" name="Freeform 7749">
                  <a:extLst>
                    <a:ext uri="{FF2B5EF4-FFF2-40B4-BE49-F238E27FC236}">
                      <a16:creationId xmlns:a16="http://schemas.microsoft.com/office/drawing/2014/main" id="{FCACB21B-904E-5810-5BC5-DAED081FEFD3}"/>
                    </a:ext>
                  </a:extLst>
                </p:cNvPr>
                <p:cNvSpPr/>
                <p:nvPr/>
              </p:nvSpPr>
              <p:spPr>
                <a:xfrm>
                  <a:off x="6478765" y="1923618"/>
                  <a:ext cx="4868" cy="52189"/>
                </a:xfrm>
                <a:custGeom>
                  <a:avLst/>
                  <a:gdLst>
                    <a:gd name="connsiteX0" fmla="*/ 3092 w 4868"/>
                    <a:gd name="connsiteY0" fmla="*/ 52190 h 52189"/>
                    <a:gd name="connsiteX1" fmla="*/ 4337 w 4868"/>
                    <a:gd name="connsiteY1" fmla="*/ 33381 h 52189"/>
                    <a:gd name="connsiteX2" fmla="*/ 227 w 4868"/>
                    <a:gd name="connsiteY2" fmla="*/ 16442 h 52189"/>
                    <a:gd name="connsiteX3" fmla="*/ 1846 w 4868"/>
                    <a:gd name="connsiteY3" fmla="*/ 0 h 52189"/>
                  </a:gdLst>
                  <a:ahLst/>
                  <a:cxnLst>
                    <a:cxn ang="0">
                      <a:pos x="connsiteX0" y="connsiteY0"/>
                    </a:cxn>
                    <a:cxn ang="0">
                      <a:pos x="connsiteX1" y="connsiteY1"/>
                    </a:cxn>
                    <a:cxn ang="0">
                      <a:pos x="connsiteX2" y="connsiteY2"/>
                    </a:cxn>
                    <a:cxn ang="0">
                      <a:pos x="connsiteX3" y="connsiteY3"/>
                    </a:cxn>
                  </a:cxnLst>
                  <a:rect l="l" t="t" r="r" b="b"/>
                  <a:pathLst>
                    <a:path w="4868" h="52189">
                      <a:moveTo>
                        <a:pt x="3092" y="52190"/>
                      </a:moveTo>
                      <a:cubicBezTo>
                        <a:pt x="5334" y="44093"/>
                        <a:pt x="5085" y="37741"/>
                        <a:pt x="4337" y="33381"/>
                      </a:cubicBezTo>
                      <a:cubicBezTo>
                        <a:pt x="3341" y="26406"/>
                        <a:pt x="1099"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9" name="Freeform 7750">
                  <a:extLst>
                    <a:ext uri="{FF2B5EF4-FFF2-40B4-BE49-F238E27FC236}">
                      <a16:creationId xmlns:a16="http://schemas.microsoft.com/office/drawing/2014/main" id="{9CD1DEF5-7FD5-1A10-0F38-54ADC86069CE}"/>
                    </a:ext>
                  </a:extLst>
                </p:cNvPr>
                <p:cNvSpPr/>
                <p:nvPr/>
              </p:nvSpPr>
              <p:spPr>
                <a:xfrm>
                  <a:off x="6472115" y="1928974"/>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5"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0" name="Freeform 7751">
                  <a:extLst>
                    <a:ext uri="{FF2B5EF4-FFF2-40B4-BE49-F238E27FC236}">
                      <a16:creationId xmlns:a16="http://schemas.microsoft.com/office/drawing/2014/main" id="{BC4D7A17-E2E5-FC85-628A-8F0DE2477347}"/>
                    </a:ext>
                  </a:extLst>
                </p:cNvPr>
                <p:cNvSpPr/>
                <p:nvPr/>
              </p:nvSpPr>
              <p:spPr>
                <a:xfrm>
                  <a:off x="6465158" y="1969821"/>
                  <a:ext cx="26671" cy="26422"/>
                </a:xfrm>
                <a:custGeom>
                  <a:avLst/>
                  <a:gdLst>
                    <a:gd name="connsiteX0" fmla="*/ 8 w 26671"/>
                    <a:gd name="connsiteY0" fmla="*/ 13709 h 26422"/>
                    <a:gd name="connsiteX1" fmla="*/ 12838 w 26671"/>
                    <a:gd name="connsiteY1" fmla="*/ 8 h 26422"/>
                    <a:gd name="connsiteX2" fmla="*/ 26663 w 26671"/>
                    <a:gd name="connsiteY2" fmla="*/ 12713 h 26422"/>
                    <a:gd name="connsiteX3" fmla="*/ 13834 w 26671"/>
                    <a:gd name="connsiteY3" fmla="*/ 26414 h 26422"/>
                    <a:gd name="connsiteX4" fmla="*/ 8 w 26671"/>
                    <a:gd name="connsiteY4" fmla="*/ 13709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22">
                      <a:moveTo>
                        <a:pt x="8" y="13709"/>
                      </a:moveTo>
                      <a:cubicBezTo>
                        <a:pt x="-241" y="6360"/>
                        <a:pt x="5488" y="257"/>
                        <a:pt x="12838" y="8"/>
                      </a:cubicBezTo>
                      <a:cubicBezTo>
                        <a:pt x="20186" y="-241"/>
                        <a:pt x="26414" y="5488"/>
                        <a:pt x="26663" y="12713"/>
                      </a:cubicBezTo>
                      <a:cubicBezTo>
                        <a:pt x="26913" y="20062"/>
                        <a:pt x="21183" y="26165"/>
                        <a:pt x="13834" y="26414"/>
                      </a:cubicBezTo>
                      <a:cubicBezTo>
                        <a:pt x="6485" y="26663"/>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1" name="Freeform 7752">
                  <a:extLst>
                    <a:ext uri="{FF2B5EF4-FFF2-40B4-BE49-F238E27FC236}">
                      <a16:creationId xmlns:a16="http://schemas.microsoft.com/office/drawing/2014/main" id="{5D66D07D-6C04-5223-BDBE-8B87A901B441}"/>
                    </a:ext>
                  </a:extLst>
                </p:cNvPr>
                <p:cNvSpPr/>
                <p:nvPr/>
              </p:nvSpPr>
              <p:spPr>
                <a:xfrm>
                  <a:off x="6468907" y="1867941"/>
                  <a:ext cx="4706" cy="52189"/>
                </a:xfrm>
                <a:custGeom>
                  <a:avLst/>
                  <a:gdLst>
                    <a:gd name="connsiteX0" fmla="*/ 1740 w 4706"/>
                    <a:gd name="connsiteY0" fmla="*/ 0 h 52189"/>
                    <a:gd name="connsiteX1" fmla="*/ 494 w 4706"/>
                    <a:gd name="connsiteY1" fmla="*/ 18808 h 52189"/>
                    <a:gd name="connsiteX2" fmla="*/ 4480 w 4706"/>
                    <a:gd name="connsiteY2" fmla="*/ 35748 h 52189"/>
                    <a:gd name="connsiteX3" fmla="*/ 2861 w 470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06" h="52189">
                      <a:moveTo>
                        <a:pt x="1740" y="0"/>
                      </a:moveTo>
                      <a:cubicBezTo>
                        <a:pt x="-378" y="8096"/>
                        <a:pt x="-253" y="14449"/>
                        <a:pt x="494" y="18808"/>
                      </a:cubicBezTo>
                      <a:cubicBezTo>
                        <a:pt x="1490" y="25783"/>
                        <a:pt x="3733" y="28648"/>
                        <a:pt x="4480" y="35748"/>
                      </a:cubicBezTo>
                      <a:cubicBezTo>
                        <a:pt x="5228" y="42599"/>
                        <a:pt x="3982" y="48453"/>
                        <a:pt x="28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2" name="Freeform 7753">
                  <a:extLst>
                    <a:ext uri="{FF2B5EF4-FFF2-40B4-BE49-F238E27FC236}">
                      <a16:creationId xmlns:a16="http://schemas.microsoft.com/office/drawing/2014/main" id="{C061B18E-F838-0077-D919-38DB5C4E5F05}"/>
                    </a:ext>
                  </a:extLst>
                </p:cNvPr>
                <p:cNvSpPr/>
                <p:nvPr/>
              </p:nvSpPr>
              <p:spPr>
                <a:xfrm>
                  <a:off x="6477361" y="1862585"/>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3"/>
                        <a:pt x="-237" y="37741"/>
                        <a:pt x="136" y="33506"/>
                      </a:cubicBezTo>
                      <a:cubicBezTo>
                        <a:pt x="635" y="26531"/>
                        <a:pt x="2627" y="23417"/>
                        <a:pt x="2877" y="16317"/>
                      </a:cubicBezTo>
                      <a:cubicBezTo>
                        <a:pt x="3126" y="9466"/>
                        <a:pt x="1507"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13" name="Freeform 7754">
                  <a:extLst>
                    <a:ext uri="{FF2B5EF4-FFF2-40B4-BE49-F238E27FC236}">
                      <a16:creationId xmlns:a16="http://schemas.microsoft.com/office/drawing/2014/main" id="{8F7EDA74-FC07-7AC6-8EE4-D076B364A771}"/>
                    </a:ext>
                  </a:extLst>
                </p:cNvPr>
                <p:cNvSpPr/>
                <p:nvPr/>
              </p:nvSpPr>
              <p:spPr>
                <a:xfrm>
                  <a:off x="6460799" y="1847381"/>
                  <a:ext cx="26422" cy="26546"/>
                </a:xfrm>
                <a:custGeom>
                  <a:avLst/>
                  <a:gdLst>
                    <a:gd name="connsiteX0" fmla="*/ 26414 w 26422"/>
                    <a:gd name="connsiteY0" fmla="*/ 12837 h 26546"/>
                    <a:gd name="connsiteX1" fmla="*/ 13709 w 26422"/>
                    <a:gd name="connsiteY1" fmla="*/ 26539 h 26546"/>
                    <a:gd name="connsiteX2" fmla="*/ 8 w 26422"/>
                    <a:gd name="connsiteY2" fmla="*/ 13709 h 26546"/>
                    <a:gd name="connsiteX3" fmla="*/ 12712 w 26422"/>
                    <a:gd name="connsiteY3" fmla="*/ 8 h 26546"/>
                    <a:gd name="connsiteX4" fmla="*/ 26414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2837"/>
                      </a:moveTo>
                      <a:cubicBezTo>
                        <a:pt x="26663" y="20186"/>
                        <a:pt x="21058"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5" name="Graphic 2987">
                <a:extLst>
                  <a:ext uri="{FF2B5EF4-FFF2-40B4-BE49-F238E27FC236}">
                    <a16:creationId xmlns:a16="http://schemas.microsoft.com/office/drawing/2014/main" id="{32769078-EF85-CCB7-0FAA-9214892CAC98}"/>
                  </a:ext>
                </a:extLst>
              </p:cNvPr>
              <p:cNvGrpSpPr/>
              <p:nvPr/>
            </p:nvGrpSpPr>
            <p:grpSpPr>
              <a:xfrm>
                <a:off x="6431278" y="1848502"/>
                <a:ext cx="30781" cy="148862"/>
                <a:chOff x="6431278" y="1848502"/>
                <a:chExt cx="30781" cy="148862"/>
              </a:xfrm>
              <a:grpFill/>
            </p:grpSpPr>
            <p:sp>
              <p:nvSpPr>
                <p:cNvPr id="6402" name="Freeform 7756">
                  <a:extLst>
                    <a:ext uri="{FF2B5EF4-FFF2-40B4-BE49-F238E27FC236}">
                      <a16:creationId xmlns:a16="http://schemas.microsoft.com/office/drawing/2014/main" id="{A811F9BA-B194-56DF-8521-085338A89D74}"/>
                    </a:ext>
                  </a:extLst>
                </p:cNvPr>
                <p:cNvSpPr/>
                <p:nvPr/>
              </p:nvSpPr>
              <p:spPr>
                <a:xfrm>
                  <a:off x="6449244" y="1924739"/>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3"/>
                        <a:pt x="4835" y="37741"/>
                        <a:pt x="4213" y="33381"/>
                      </a:cubicBezTo>
                      <a:cubicBezTo>
                        <a:pt x="3217"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3" name="Freeform 7757">
                  <a:extLst>
                    <a:ext uri="{FF2B5EF4-FFF2-40B4-BE49-F238E27FC236}">
                      <a16:creationId xmlns:a16="http://schemas.microsoft.com/office/drawing/2014/main" id="{BD1A4DF3-4A81-19E6-795D-89690A2179EF}"/>
                    </a:ext>
                  </a:extLst>
                </p:cNvPr>
                <p:cNvSpPr/>
                <p:nvPr/>
              </p:nvSpPr>
              <p:spPr>
                <a:xfrm>
                  <a:off x="6442471" y="1930095"/>
                  <a:ext cx="3026" cy="52065"/>
                </a:xfrm>
                <a:custGeom>
                  <a:avLst/>
                  <a:gdLst>
                    <a:gd name="connsiteX0" fmla="*/ 275 w 3026"/>
                    <a:gd name="connsiteY0" fmla="*/ 0 h 52065"/>
                    <a:gd name="connsiteX1" fmla="*/ 2891 w 3026"/>
                    <a:gd name="connsiteY1" fmla="*/ 18559 h 52065"/>
                    <a:gd name="connsiteX2" fmla="*/ 25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1" y="18559"/>
                      </a:cubicBezTo>
                      <a:cubicBezTo>
                        <a:pt x="2392" y="25534"/>
                        <a:pt x="275" y="28648"/>
                        <a:pt x="25" y="35748"/>
                      </a:cubicBezTo>
                      <a:cubicBezTo>
                        <a:pt x="-223"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4" name="Freeform 7758">
                  <a:extLst>
                    <a:ext uri="{FF2B5EF4-FFF2-40B4-BE49-F238E27FC236}">
                      <a16:creationId xmlns:a16="http://schemas.microsoft.com/office/drawing/2014/main" id="{2A208B99-445D-F011-CCA7-4710FCAC385F}"/>
                    </a:ext>
                  </a:extLst>
                </p:cNvPr>
                <p:cNvSpPr/>
                <p:nvPr/>
              </p:nvSpPr>
              <p:spPr>
                <a:xfrm>
                  <a:off x="6435388" y="1970818"/>
                  <a:ext cx="26671" cy="26546"/>
                </a:xfrm>
                <a:custGeom>
                  <a:avLst/>
                  <a:gdLst>
                    <a:gd name="connsiteX0" fmla="*/ 8 w 26671"/>
                    <a:gd name="connsiteY0" fmla="*/ 13709 h 26546"/>
                    <a:gd name="connsiteX1" fmla="*/ 12838 w 26671"/>
                    <a:gd name="connsiteY1" fmla="*/ 8 h 26546"/>
                    <a:gd name="connsiteX2" fmla="*/ 26663 w 26671"/>
                    <a:gd name="connsiteY2" fmla="*/ 12837 h 26546"/>
                    <a:gd name="connsiteX3" fmla="*/ 13834 w 26671"/>
                    <a:gd name="connsiteY3" fmla="*/ 26539 h 26546"/>
                    <a:gd name="connsiteX4" fmla="*/ 8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3709"/>
                      </a:moveTo>
                      <a:cubicBezTo>
                        <a:pt x="-241" y="6360"/>
                        <a:pt x="5488" y="257"/>
                        <a:pt x="12838" y="8"/>
                      </a:cubicBezTo>
                      <a:cubicBezTo>
                        <a:pt x="20187" y="-241"/>
                        <a:pt x="26415" y="5488"/>
                        <a:pt x="26663" y="12837"/>
                      </a:cubicBezTo>
                      <a:cubicBezTo>
                        <a:pt x="26913" y="20186"/>
                        <a:pt x="21183" y="26290"/>
                        <a:pt x="13834"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5" name="Freeform 7759">
                  <a:extLst>
                    <a:ext uri="{FF2B5EF4-FFF2-40B4-BE49-F238E27FC236}">
                      <a16:creationId xmlns:a16="http://schemas.microsoft.com/office/drawing/2014/main" id="{E7E15D13-D771-6654-D39C-13D9033CF595}"/>
                    </a:ext>
                  </a:extLst>
                </p:cNvPr>
                <p:cNvSpPr/>
                <p:nvPr/>
              </p:nvSpPr>
              <p:spPr>
                <a:xfrm>
                  <a:off x="6439324" y="1868937"/>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6" name="Freeform 7760">
                  <a:extLst>
                    <a:ext uri="{FF2B5EF4-FFF2-40B4-BE49-F238E27FC236}">
                      <a16:creationId xmlns:a16="http://schemas.microsoft.com/office/drawing/2014/main" id="{7A22E7C5-7AB4-8A56-BEA4-65D06697AA45}"/>
                    </a:ext>
                  </a:extLst>
                </p:cNvPr>
                <p:cNvSpPr/>
                <p:nvPr/>
              </p:nvSpPr>
              <p:spPr>
                <a:xfrm>
                  <a:off x="6447716" y="186370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3"/>
                        <a:pt x="-237" y="37741"/>
                        <a:pt x="136" y="33506"/>
                      </a:cubicBezTo>
                      <a:cubicBezTo>
                        <a:pt x="635" y="26531"/>
                        <a:pt x="2752" y="23417"/>
                        <a:pt x="3001" y="16317"/>
                      </a:cubicBezTo>
                      <a:cubicBezTo>
                        <a:pt x="3250" y="9466"/>
                        <a:pt x="1632"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7" name="Freeform 7761">
                  <a:extLst>
                    <a:ext uri="{FF2B5EF4-FFF2-40B4-BE49-F238E27FC236}">
                      <a16:creationId xmlns:a16="http://schemas.microsoft.com/office/drawing/2014/main" id="{AE1F46C7-8A3D-09B8-44EA-C61A5C1ACF2F}"/>
                    </a:ext>
                  </a:extLst>
                </p:cNvPr>
                <p:cNvSpPr/>
                <p:nvPr/>
              </p:nvSpPr>
              <p:spPr>
                <a:xfrm>
                  <a:off x="6431278" y="1848502"/>
                  <a:ext cx="26421" cy="26546"/>
                </a:xfrm>
                <a:custGeom>
                  <a:avLst/>
                  <a:gdLst>
                    <a:gd name="connsiteX0" fmla="*/ 26414 w 26421"/>
                    <a:gd name="connsiteY0" fmla="*/ 12837 h 26546"/>
                    <a:gd name="connsiteX1" fmla="*/ 13709 w 26421"/>
                    <a:gd name="connsiteY1" fmla="*/ 26539 h 26546"/>
                    <a:gd name="connsiteX2" fmla="*/ 8 w 26421"/>
                    <a:gd name="connsiteY2" fmla="*/ 13709 h 26546"/>
                    <a:gd name="connsiteX3" fmla="*/ 12712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709" y="26539"/>
                      </a:cubicBezTo>
                      <a:cubicBezTo>
                        <a:pt x="6360" y="26788"/>
                        <a:pt x="256" y="21058"/>
                        <a:pt x="8" y="13709"/>
                      </a:cubicBezTo>
                      <a:cubicBezTo>
                        <a:pt x="-242" y="6360"/>
                        <a:pt x="5488" y="257"/>
                        <a:pt x="12712" y="8"/>
                      </a:cubicBezTo>
                      <a:cubicBezTo>
                        <a:pt x="20061"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6" name="Graphic 2987">
                <a:extLst>
                  <a:ext uri="{FF2B5EF4-FFF2-40B4-BE49-F238E27FC236}">
                    <a16:creationId xmlns:a16="http://schemas.microsoft.com/office/drawing/2014/main" id="{18E8C0C9-7736-9E8A-95DB-83F760853162}"/>
                  </a:ext>
                </a:extLst>
              </p:cNvPr>
              <p:cNvGrpSpPr/>
              <p:nvPr/>
            </p:nvGrpSpPr>
            <p:grpSpPr>
              <a:xfrm>
                <a:off x="6401758" y="1849499"/>
                <a:ext cx="30531" cy="148986"/>
                <a:chOff x="6401758" y="1849499"/>
                <a:chExt cx="30531" cy="148986"/>
              </a:xfrm>
              <a:grpFill/>
            </p:grpSpPr>
            <p:sp>
              <p:nvSpPr>
                <p:cNvPr id="6396" name="Freeform 7763">
                  <a:extLst>
                    <a:ext uri="{FF2B5EF4-FFF2-40B4-BE49-F238E27FC236}">
                      <a16:creationId xmlns:a16="http://schemas.microsoft.com/office/drawing/2014/main" id="{6A62B444-DA51-2AB5-B766-9E53836241C1}"/>
                    </a:ext>
                  </a:extLst>
                </p:cNvPr>
                <p:cNvSpPr/>
                <p:nvPr/>
              </p:nvSpPr>
              <p:spPr>
                <a:xfrm>
                  <a:off x="6419476" y="1925736"/>
                  <a:ext cx="4644" cy="52189"/>
                </a:xfrm>
                <a:custGeom>
                  <a:avLst/>
                  <a:gdLst>
                    <a:gd name="connsiteX0" fmla="*/ 2842 w 4644"/>
                    <a:gd name="connsiteY0" fmla="*/ 52190 h 52189"/>
                    <a:gd name="connsiteX1" fmla="*/ 4212 w 4644"/>
                    <a:gd name="connsiteY1" fmla="*/ 33381 h 52189"/>
                    <a:gd name="connsiteX2" fmla="*/ 227 w 4644"/>
                    <a:gd name="connsiteY2" fmla="*/ 16442 h 52189"/>
                    <a:gd name="connsiteX3" fmla="*/ 1846 w 4644"/>
                    <a:gd name="connsiteY3" fmla="*/ 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52190"/>
                      </a:moveTo>
                      <a:cubicBezTo>
                        <a:pt x="5084" y="44093"/>
                        <a:pt x="4835" y="37741"/>
                        <a:pt x="4212"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7" name="Freeform 7764">
                  <a:extLst>
                    <a:ext uri="{FF2B5EF4-FFF2-40B4-BE49-F238E27FC236}">
                      <a16:creationId xmlns:a16="http://schemas.microsoft.com/office/drawing/2014/main" id="{505AC8AC-B34D-BA5C-E4CF-5FDE78266E5F}"/>
                    </a:ext>
                  </a:extLst>
                </p:cNvPr>
                <p:cNvSpPr/>
                <p:nvPr/>
              </p:nvSpPr>
              <p:spPr>
                <a:xfrm>
                  <a:off x="6412824" y="1931092"/>
                  <a:ext cx="2979" cy="52065"/>
                </a:xfrm>
                <a:custGeom>
                  <a:avLst/>
                  <a:gdLst>
                    <a:gd name="connsiteX0" fmla="*/ 277 w 2979"/>
                    <a:gd name="connsiteY0" fmla="*/ 0 h 52065"/>
                    <a:gd name="connsiteX1" fmla="*/ 2893 w 2979"/>
                    <a:gd name="connsiteY1" fmla="*/ 18559 h 52065"/>
                    <a:gd name="connsiteX2" fmla="*/ 27 w 2979"/>
                    <a:gd name="connsiteY2" fmla="*/ 35748 h 52065"/>
                    <a:gd name="connsiteX3" fmla="*/ 2768 w 297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9" h="52065">
                      <a:moveTo>
                        <a:pt x="277" y="0"/>
                      </a:moveTo>
                      <a:cubicBezTo>
                        <a:pt x="3017" y="7972"/>
                        <a:pt x="3141" y="14324"/>
                        <a:pt x="2893" y="18559"/>
                      </a:cubicBezTo>
                      <a:cubicBezTo>
                        <a:pt x="2270" y="25534"/>
                        <a:pt x="277" y="28648"/>
                        <a:pt x="27" y="35748"/>
                      </a:cubicBezTo>
                      <a:cubicBezTo>
                        <a:pt x="-221" y="42599"/>
                        <a:pt x="1273" y="48328"/>
                        <a:pt x="276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8" name="Freeform 7765">
                  <a:extLst>
                    <a:ext uri="{FF2B5EF4-FFF2-40B4-BE49-F238E27FC236}">
                      <a16:creationId xmlns:a16="http://schemas.microsoft.com/office/drawing/2014/main" id="{C89534FE-E0ED-02F6-568E-7C8E7C48B18C}"/>
                    </a:ext>
                  </a:extLst>
                </p:cNvPr>
                <p:cNvSpPr/>
                <p:nvPr/>
              </p:nvSpPr>
              <p:spPr>
                <a:xfrm>
                  <a:off x="6405620" y="1971939"/>
                  <a:ext cx="26670" cy="26546"/>
                </a:xfrm>
                <a:custGeom>
                  <a:avLst/>
                  <a:gdLst>
                    <a:gd name="connsiteX0" fmla="*/ 8 w 26670"/>
                    <a:gd name="connsiteY0" fmla="*/ 13709 h 26546"/>
                    <a:gd name="connsiteX1" fmla="*/ 12961 w 26670"/>
                    <a:gd name="connsiteY1" fmla="*/ 8 h 26546"/>
                    <a:gd name="connsiteX2" fmla="*/ 26662 w 26670"/>
                    <a:gd name="connsiteY2" fmla="*/ 12837 h 26546"/>
                    <a:gd name="connsiteX3" fmla="*/ 13709 w 26670"/>
                    <a:gd name="connsiteY3" fmla="*/ 26539 h 26546"/>
                    <a:gd name="connsiteX4" fmla="*/ 8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3709"/>
                      </a:moveTo>
                      <a:cubicBezTo>
                        <a:pt x="-242" y="6360"/>
                        <a:pt x="5612" y="257"/>
                        <a:pt x="12961" y="8"/>
                      </a:cubicBezTo>
                      <a:cubicBezTo>
                        <a:pt x="20311" y="-241"/>
                        <a:pt x="26414" y="5488"/>
                        <a:pt x="26662" y="12837"/>
                      </a:cubicBezTo>
                      <a:cubicBezTo>
                        <a:pt x="26912" y="20186"/>
                        <a:pt x="21182" y="26290"/>
                        <a:pt x="13709" y="26539"/>
                      </a:cubicBezTo>
                      <a:cubicBezTo>
                        <a:pt x="6236" y="26788"/>
                        <a:pt x="132"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9" name="Freeform 7766">
                  <a:extLst>
                    <a:ext uri="{FF2B5EF4-FFF2-40B4-BE49-F238E27FC236}">
                      <a16:creationId xmlns:a16="http://schemas.microsoft.com/office/drawing/2014/main" id="{C0967E4D-71AB-DB41-86B0-75729E5E3A18}"/>
                    </a:ext>
                  </a:extLst>
                </p:cNvPr>
                <p:cNvSpPr/>
                <p:nvPr/>
              </p:nvSpPr>
              <p:spPr>
                <a:xfrm>
                  <a:off x="6409803" y="1870058"/>
                  <a:ext cx="4645" cy="52189"/>
                </a:xfrm>
                <a:custGeom>
                  <a:avLst/>
                  <a:gdLst>
                    <a:gd name="connsiteX0" fmla="*/ 1803 w 4645"/>
                    <a:gd name="connsiteY0" fmla="*/ 0 h 52189"/>
                    <a:gd name="connsiteX1" fmla="*/ 433 w 4645"/>
                    <a:gd name="connsiteY1" fmla="*/ 18808 h 52189"/>
                    <a:gd name="connsiteX2" fmla="*/ 4419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8" y="25783"/>
                        <a:pt x="3671" y="28648"/>
                        <a:pt x="4419" y="35748"/>
                      </a:cubicBezTo>
                      <a:cubicBezTo>
                        <a:pt x="5166"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0" name="Freeform 7767">
                  <a:extLst>
                    <a:ext uri="{FF2B5EF4-FFF2-40B4-BE49-F238E27FC236}">
                      <a16:creationId xmlns:a16="http://schemas.microsoft.com/office/drawing/2014/main" id="{EF1684F6-B5C5-B23A-AFB8-EB60EE487336}"/>
                    </a:ext>
                  </a:extLst>
                </p:cNvPr>
                <p:cNvSpPr/>
                <p:nvPr/>
              </p:nvSpPr>
              <p:spPr>
                <a:xfrm>
                  <a:off x="6418121" y="1864827"/>
                  <a:ext cx="2977" cy="52065"/>
                </a:xfrm>
                <a:custGeom>
                  <a:avLst/>
                  <a:gdLst>
                    <a:gd name="connsiteX0" fmla="*/ 2702 w 2977"/>
                    <a:gd name="connsiteY0" fmla="*/ 52065 h 52065"/>
                    <a:gd name="connsiteX1" fmla="*/ 87 w 2977"/>
                    <a:gd name="connsiteY1" fmla="*/ 33506 h 52065"/>
                    <a:gd name="connsiteX2" fmla="*/ 2951 w 2977"/>
                    <a:gd name="connsiteY2" fmla="*/ 16317 h 52065"/>
                    <a:gd name="connsiteX3" fmla="*/ 335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02" y="52065"/>
                      </a:moveTo>
                      <a:cubicBezTo>
                        <a:pt x="-38" y="44093"/>
                        <a:pt x="-162" y="37741"/>
                        <a:pt x="87" y="33506"/>
                      </a:cubicBezTo>
                      <a:cubicBezTo>
                        <a:pt x="585" y="26531"/>
                        <a:pt x="2702" y="23417"/>
                        <a:pt x="2951" y="16317"/>
                      </a:cubicBezTo>
                      <a:cubicBezTo>
                        <a:pt x="3201" y="9466"/>
                        <a:pt x="1582" y="3737"/>
                        <a:pt x="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401" name="Freeform 7768">
                  <a:extLst>
                    <a:ext uri="{FF2B5EF4-FFF2-40B4-BE49-F238E27FC236}">
                      <a16:creationId xmlns:a16="http://schemas.microsoft.com/office/drawing/2014/main" id="{432B1136-477F-3C28-BCA1-3522D4FB5328}"/>
                    </a:ext>
                  </a:extLst>
                </p:cNvPr>
                <p:cNvSpPr/>
                <p:nvPr/>
              </p:nvSpPr>
              <p:spPr>
                <a:xfrm>
                  <a:off x="6401758" y="1849499"/>
                  <a:ext cx="26421" cy="26546"/>
                </a:xfrm>
                <a:custGeom>
                  <a:avLst/>
                  <a:gdLst>
                    <a:gd name="connsiteX0" fmla="*/ 26414 w 26421"/>
                    <a:gd name="connsiteY0" fmla="*/ 12837 h 26546"/>
                    <a:gd name="connsiteX1" fmla="*/ 13584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3" y="26290"/>
                        <a:pt x="13584" y="26539"/>
                      </a:cubicBezTo>
                      <a:cubicBezTo>
                        <a:pt x="6236" y="26788"/>
                        <a:pt x="132" y="21058"/>
                        <a:pt x="8" y="13709"/>
                      </a:cubicBezTo>
                      <a:cubicBezTo>
                        <a:pt x="-242" y="6360"/>
                        <a:pt x="5488" y="257"/>
                        <a:pt x="12837" y="8"/>
                      </a:cubicBezTo>
                      <a:cubicBezTo>
                        <a:pt x="20186" y="-241"/>
                        <a:pt x="26289"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7" name="Graphic 2987">
                <a:extLst>
                  <a:ext uri="{FF2B5EF4-FFF2-40B4-BE49-F238E27FC236}">
                    <a16:creationId xmlns:a16="http://schemas.microsoft.com/office/drawing/2014/main" id="{D980D1A5-8C8E-2794-9E1F-F342DB279D68}"/>
                  </a:ext>
                </a:extLst>
              </p:cNvPr>
              <p:cNvGrpSpPr/>
              <p:nvPr/>
            </p:nvGrpSpPr>
            <p:grpSpPr>
              <a:xfrm>
                <a:off x="6372362" y="1850620"/>
                <a:ext cx="30033" cy="148980"/>
                <a:chOff x="6372362" y="1850620"/>
                <a:chExt cx="30033" cy="148980"/>
              </a:xfrm>
              <a:grpFill/>
            </p:grpSpPr>
            <p:sp>
              <p:nvSpPr>
                <p:cNvPr id="6390" name="Freeform 7770">
                  <a:extLst>
                    <a:ext uri="{FF2B5EF4-FFF2-40B4-BE49-F238E27FC236}">
                      <a16:creationId xmlns:a16="http://schemas.microsoft.com/office/drawing/2014/main" id="{1F94E160-0148-8672-6E5A-83092AB773B2}"/>
                    </a:ext>
                  </a:extLst>
                </p:cNvPr>
                <p:cNvSpPr/>
                <p:nvPr/>
              </p:nvSpPr>
              <p:spPr>
                <a:xfrm>
                  <a:off x="6389831" y="1926857"/>
                  <a:ext cx="4549" cy="52189"/>
                </a:xfrm>
                <a:custGeom>
                  <a:avLst/>
                  <a:gdLst>
                    <a:gd name="connsiteX0" fmla="*/ 2717 w 4549"/>
                    <a:gd name="connsiteY0" fmla="*/ 52190 h 52189"/>
                    <a:gd name="connsiteX1" fmla="*/ 4213 w 4549"/>
                    <a:gd name="connsiteY1" fmla="*/ 33381 h 52189"/>
                    <a:gd name="connsiteX2" fmla="*/ 227 w 4549"/>
                    <a:gd name="connsiteY2" fmla="*/ 16442 h 52189"/>
                    <a:gd name="connsiteX3" fmla="*/ 1846 w 4549"/>
                    <a:gd name="connsiteY3" fmla="*/ 0 h 52189"/>
                  </a:gdLst>
                  <a:ahLst/>
                  <a:cxnLst>
                    <a:cxn ang="0">
                      <a:pos x="connsiteX0" y="connsiteY0"/>
                    </a:cxn>
                    <a:cxn ang="0">
                      <a:pos x="connsiteX1" y="connsiteY1"/>
                    </a:cxn>
                    <a:cxn ang="0">
                      <a:pos x="connsiteX2" y="connsiteY2"/>
                    </a:cxn>
                    <a:cxn ang="0">
                      <a:pos x="connsiteX3" y="connsiteY3"/>
                    </a:cxn>
                  </a:cxnLst>
                  <a:rect l="l" t="t" r="r" b="b"/>
                  <a:pathLst>
                    <a:path w="4549" h="52189">
                      <a:moveTo>
                        <a:pt x="2717" y="52190"/>
                      </a:moveTo>
                      <a:cubicBezTo>
                        <a:pt x="4960" y="44093"/>
                        <a:pt x="4711"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1" name="Freeform 7771">
                  <a:extLst>
                    <a:ext uri="{FF2B5EF4-FFF2-40B4-BE49-F238E27FC236}">
                      <a16:creationId xmlns:a16="http://schemas.microsoft.com/office/drawing/2014/main" id="{434A4550-3558-8330-743B-84EDBC13B35E}"/>
                    </a:ext>
                  </a:extLst>
                </p:cNvPr>
                <p:cNvSpPr/>
                <p:nvPr/>
              </p:nvSpPr>
              <p:spPr>
                <a:xfrm>
                  <a:off x="6382930" y="1932213"/>
                  <a:ext cx="3170" cy="52189"/>
                </a:xfrm>
                <a:custGeom>
                  <a:avLst/>
                  <a:gdLst>
                    <a:gd name="connsiteX0" fmla="*/ 525 w 3170"/>
                    <a:gd name="connsiteY0" fmla="*/ 0 h 52189"/>
                    <a:gd name="connsiteX1" fmla="*/ 3017 w 3170"/>
                    <a:gd name="connsiteY1" fmla="*/ 18684 h 52189"/>
                    <a:gd name="connsiteX2" fmla="*/ 27 w 3170"/>
                    <a:gd name="connsiteY2" fmla="*/ 35873 h 52189"/>
                    <a:gd name="connsiteX3" fmla="*/ 2643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0"/>
                      </a:moveTo>
                      <a:cubicBezTo>
                        <a:pt x="3266" y="7972"/>
                        <a:pt x="3390" y="14324"/>
                        <a:pt x="3017" y="18684"/>
                      </a:cubicBezTo>
                      <a:cubicBezTo>
                        <a:pt x="2394" y="25659"/>
                        <a:pt x="401"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2" name="Freeform 7772">
                  <a:extLst>
                    <a:ext uri="{FF2B5EF4-FFF2-40B4-BE49-F238E27FC236}">
                      <a16:creationId xmlns:a16="http://schemas.microsoft.com/office/drawing/2014/main" id="{AC5BF4FF-B6C8-C31B-1F17-2D90A38F7D6B}"/>
                    </a:ext>
                  </a:extLst>
                </p:cNvPr>
                <p:cNvSpPr/>
                <p:nvPr/>
              </p:nvSpPr>
              <p:spPr>
                <a:xfrm>
                  <a:off x="6375726" y="1973060"/>
                  <a:ext cx="26670" cy="26540"/>
                </a:xfrm>
                <a:custGeom>
                  <a:avLst/>
                  <a:gdLst>
                    <a:gd name="connsiteX0" fmla="*/ 8 w 26670"/>
                    <a:gd name="connsiteY0" fmla="*/ 13709 h 26540"/>
                    <a:gd name="connsiteX1" fmla="*/ 12961 w 26670"/>
                    <a:gd name="connsiteY1" fmla="*/ 8 h 26540"/>
                    <a:gd name="connsiteX2" fmla="*/ 26663 w 26670"/>
                    <a:gd name="connsiteY2" fmla="*/ 12837 h 26540"/>
                    <a:gd name="connsiteX3" fmla="*/ 13709 w 26670"/>
                    <a:gd name="connsiteY3" fmla="*/ 26539 h 26540"/>
                    <a:gd name="connsiteX4" fmla="*/ 8 w 26670"/>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0">
                      <a:moveTo>
                        <a:pt x="8" y="13709"/>
                      </a:moveTo>
                      <a:cubicBezTo>
                        <a:pt x="-241" y="6360"/>
                        <a:pt x="5613" y="257"/>
                        <a:pt x="12961" y="8"/>
                      </a:cubicBezTo>
                      <a:cubicBezTo>
                        <a:pt x="20311" y="-241"/>
                        <a:pt x="26414" y="5488"/>
                        <a:pt x="26663" y="12837"/>
                      </a:cubicBezTo>
                      <a:cubicBezTo>
                        <a:pt x="26913" y="20186"/>
                        <a:pt x="21058" y="26290"/>
                        <a:pt x="13709" y="26539"/>
                      </a:cubicBezTo>
                      <a:cubicBezTo>
                        <a:pt x="6360" y="26663"/>
                        <a:pt x="257" y="20934"/>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3" name="Freeform 7773">
                  <a:extLst>
                    <a:ext uri="{FF2B5EF4-FFF2-40B4-BE49-F238E27FC236}">
                      <a16:creationId xmlns:a16="http://schemas.microsoft.com/office/drawing/2014/main" id="{569EE016-DB03-1735-4CDE-13E5BAB0F849}"/>
                    </a:ext>
                  </a:extLst>
                </p:cNvPr>
                <p:cNvSpPr/>
                <p:nvPr/>
              </p:nvSpPr>
              <p:spPr>
                <a:xfrm>
                  <a:off x="6380254" y="1871055"/>
                  <a:ext cx="4424" cy="52189"/>
                </a:xfrm>
                <a:custGeom>
                  <a:avLst/>
                  <a:gdLst>
                    <a:gd name="connsiteX0" fmla="*/ 1832 w 4424"/>
                    <a:gd name="connsiteY0" fmla="*/ 0 h 52189"/>
                    <a:gd name="connsiteX1" fmla="*/ 337 w 4424"/>
                    <a:gd name="connsiteY1" fmla="*/ 18808 h 52189"/>
                    <a:gd name="connsiteX2" fmla="*/ 4199 w 4424"/>
                    <a:gd name="connsiteY2" fmla="*/ 35748 h 52189"/>
                    <a:gd name="connsiteX3" fmla="*/ 2455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1832" y="0"/>
                      </a:moveTo>
                      <a:cubicBezTo>
                        <a:pt x="-410" y="8096"/>
                        <a:pt x="-161" y="14449"/>
                        <a:pt x="337" y="18808"/>
                      </a:cubicBezTo>
                      <a:cubicBezTo>
                        <a:pt x="1334" y="25783"/>
                        <a:pt x="3576" y="28648"/>
                        <a:pt x="4199" y="35748"/>
                      </a:cubicBezTo>
                      <a:cubicBezTo>
                        <a:pt x="4946" y="42599"/>
                        <a:pt x="3701" y="48453"/>
                        <a:pt x="24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4" name="Freeform 7774">
                  <a:extLst>
                    <a:ext uri="{FF2B5EF4-FFF2-40B4-BE49-F238E27FC236}">
                      <a16:creationId xmlns:a16="http://schemas.microsoft.com/office/drawing/2014/main" id="{63F45BEA-E8A2-A9AA-8E21-5FC6711851ED}"/>
                    </a:ext>
                  </a:extLst>
                </p:cNvPr>
                <p:cNvSpPr/>
                <p:nvPr/>
              </p:nvSpPr>
              <p:spPr>
                <a:xfrm>
                  <a:off x="6388533" y="1865823"/>
                  <a:ext cx="3046" cy="52065"/>
                </a:xfrm>
                <a:custGeom>
                  <a:avLst/>
                  <a:gdLst>
                    <a:gd name="connsiteX0" fmla="*/ 2645 w 3046"/>
                    <a:gd name="connsiteY0" fmla="*/ 52065 h 52065"/>
                    <a:gd name="connsiteX1" fmla="*/ 154 w 3046"/>
                    <a:gd name="connsiteY1" fmla="*/ 33506 h 52065"/>
                    <a:gd name="connsiteX2" fmla="*/ 3019 w 3046"/>
                    <a:gd name="connsiteY2" fmla="*/ 16317 h 52065"/>
                    <a:gd name="connsiteX3" fmla="*/ 403 w 3046"/>
                    <a:gd name="connsiteY3" fmla="*/ 0 h 52065"/>
                  </a:gdLst>
                  <a:ahLst/>
                  <a:cxnLst>
                    <a:cxn ang="0">
                      <a:pos x="connsiteX0" y="connsiteY0"/>
                    </a:cxn>
                    <a:cxn ang="0">
                      <a:pos x="connsiteX1" y="connsiteY1"/>
                    </a:cxn>
                    <a:cxn ang="0">
                      <a:pos x="connsiteX2" y="connsiteY2"/>
                    </a:cxn>
                    <a:cxn ang="0">
                      <a:pos x="connsiteX3" y="connsiteY3"/>
                    </a:cxn>
                  </a:cxnLst>
                  <a:rect l="l" t="t" r="r" b="b"/>
                  <a:pathLst>
                    <a:path w="3046" h="52065">
                      <a:moveTo>
                        <a:pt x="2645" y="52065"/>
                      </a:moveTo>
                      <a:cubicBezTo>
                        <a:pt x="-95" y="44093"/>
                        <a:pt x="-220" y="37741"/>
                        <a:pt x="154" y="33506"/>
                      </a:cubicBezTo>
                      <a:cubicBezTo>
                        <a:pt x="777" y="26531"/>
                        <a:pt x="2770" y="23417"/>
                        <a:pt x="3019" y="16317"/>
                      </a:cubicBezTo>
                      <a:cubicBezTo>
                        <a:pt x="3267" y="9466"/>
                        <a:pt x="1773" y="3737"/>
                        <a:pt x="4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95" name="Freeform 7775">
                  <a:extLst>
                    <a:ext uri="{FF2B5EF4-FFF2-40B4-BE49-F238E27FC236}">
                      <a16:creationId xmlns:a16="http://schemas.microsoft.com/office/drawing/2014/main" id="{15AE31CA-B809-EDC6-0D03-DF7BB85E59E4}"/>
                    </a:ext>
                  </a:extLst>
                </p:cNvPr>
                <p:cNvSpPr/>
                <p:nvPr/>
              </p:nvSpPr>
              <p:spPr>
                <a:xfrm>
                  <a:off x="6372362" y="1850620"/>
                  <a:ext cx="26421" cy="26546"/>
                </a:xfrm>
                <a:custGeom>
                  <a:avLst/>
                  <a:gdLst>
                    <a:gd name="connsiteX0" fmla="*/ 26414 w 26421"/>
                    <a:gd name="connsiteY0" fmla="*/ 12837 h 26546"/>
                    <a:gd name="connsiteX1" fmla="*/ 13585 w 26421"/>
                    <a:gd name="connsiteY1" fmla="*/ 26539 h 26546"/>
                    <a:gd name="connsiteX2" fmla="*/ 8 w 26421"/>
                    <a:gd name="connsiteY2" fmla="*/ 13709 h 26546"/>
                    <a:gd name="connsiteX3" fmla="*/ 12837 w 26421"/>
                    <a:gd name="connsiteY3" fmla="*/ 8 h 26546"/>
                    <a:gd name="connsiteX4" fmla="*/ 26414 w 2642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2837"/>
                      </a:moveTo>
                      <a:cubicBezTo>
                        <a:pt x="26663" y="20186"/>
                        <a:pt x="20934" y="26290"/>
                        <a:pt x="13585" y="26539"/>
                      </a:cubicBezTo>
                      <a:cubicBezTo>
                        <a:pt x="6235" y="26788"/>
                        <a:pt x="257" y="21058"/>
                        <a:pt x="8" y="13709"/>
                      </a:cubicBezTo>
                      <a:cubicBezTo>
                        <a:pt x="-242" y="6360"/>
                        <a:pt x="5488" y="257"/>
                        <a:pt x="12837" y="8"/>
                      </a:cubicBezTo>
                      <a:cubicBezTo>
                        <a:pt x="20062" y="-241"/>
                        <a:pt x="26165" y="5488"/>
                        <a:pt x="26414"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8" name="Graphic 2987">
                <a:extLst>
                  <a:ext uri="{FF2B5EF4-FFF2-40B4-BE49-F238E27FC236}">
                    <a16:creationId xmlns:a16="http://schemas.microsoft.com/office/drawing/2014/main" id="{93602D41-53D4-3235-6887-3AF7D2610CF8}"/>
                  </a:ext>
                </a:extLst>
              </p:cNvPr>
              <p:cNvGrpSpPr/>
              <p:nvPr/>
            </p:nvGrpSpPr>
            <p:grpSpPr>
              <a:xfrm>
                <a:off x="6342848" y="1851616"/>
                <a:ext cx="29778" cy="148986"/>
                <a:chOff x="6342848" y="1851616"/>
                <a:chExt cx="29778" cy="148986"/>
              </a:xfrm>
              <a:grpFill/>
            </p:grpSpPr>
            <p:sp>
              <p:nvSpPr>
                <p:cNvPr id="6384" name="Freeform 7777">
                  <a:extLst>
                    <a:ext uri="{FF2B5EF4-FFF2-40B4-BE49-F238E27FC236}">
                      <a16:creationId xmlns:a16="http://schemas.microsoft.com/office/drawing/2014/main" id="{75CE5116-426A-0A37-335B-12C5672D07A4}"/>
                    </a:ext>
                  </a:extLst>
                </p:cNvPr>
                <p:cNvSpPr/>
                <p:nvPr/>
              </p:nvSpPr>
              <p:spPr>
                <a:xfrm>
                  <a:off x="6360246" y="1927853"/>
                  <a:ext cx="4419" cy="52189"/>
                </a:xfrm>
                <a:custGeom>
                  <a:avLst/>
                  <a:gdLst>
                    <a:gd name="connsiteX0" fmla="*/ 2533 w 4419"/>
                    <a:gd name="connsiteY0" fmla="*/ 52190 h 52189"/>
                    <a:gd name="connsiteX1" fmla="*/ 4028 w 4419"/>
                    <a:gd name="connsiteY1" fmla="*/ 33381 h 52189"/>
                    <a:gd name="connsiteX2" fmla="*/ 167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789" y="23541"/>
                        <a:pt x="167"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5" name="Freeform 7778">
                  <a:extLst>
                    <a:ext uri="{FF2B5EF4-FFF2-40B4-BE49-F238E27FC236}">
                      <a16:creationId xmlns:a16="http://schemas.microsoft.com/office/drawing/2014/main" id="{D78FA6D1-988C-D618-D866-F160FAE04B71}"/>
                    </a:ext>
                  </a:extLst>
                </p:cNvPr>
                <p:cNvSpPr/>
                <p:nvPr/>
              </p:nvSpPr>
              <p:spPr>
                <a:xfrm>
                  <a:off x="6353258" y="1933334"/>
                  <a:ext cx="3197" cy="52189"/>
                </a:xfrm>
                <a:custGeom>
                  <a:avLst/>
                  <a:gdLst>
                    <a:gd name="connsiteX0" fmla="*/ 553 w 3197"/>
                    <a:gd name="connsiteY0" fmla="*/ 0 h 52189"/>
                    <a:gd name="connsiteX1" fmla="*/ 3044 w 3197"/>
                    <a:gd name="connsiteY1" fmla="*/ 18684 h 52189"/>
                    <a:gd name="connsiteX2" fmla="*/ 55 w 3197"/>
                    <a:gd name="connsiteY2" fmla="*/ 35873 h 52189"/>
                    <a:gd name="connsiteX3" fmla="*/ 2670 w 31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0"/>
                      </a:moveTo>
                      <a:cubicBezTo>
                        <a:pt x="3293" y="7972"/>
                        <a:pt x="3417" y="14324"/>
                        <a:pt x="3044" y="18684"/>
                      </a:cubicBezTo>
                      <a:cubicBezTo>
                        <a:pt x="2421" y="25659"/>
                        <a:pt x="428"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6" name="Freeform 7779">
                  <a:extLst>
                    <a:ext uri="{FF2B5EF4-FFF2-40B4-BE49-F238E27FC236}">
                      <a16:creationId xmlns:a16="http://schemas.microsoft.com/office/drawing/2014/main" id="{E39911AC-AC3D-74B9-73AA-F46FC3B639D2}"/>
                    </a:ext>
                  </a:extLst>
                </p:cNvPr>
                <p:cNvSpPr/>
                <p:nvPr/>
              </p:nvSpPr>
              <p:spPr>
                <a:xfrm>
                  <a:off x="6345962" y="1974056"/>
                  <a:ext cx="26664" cy="26546"/>
                </a:xfrm>
                <a:custGeom>
                  <a:avLst/>
                  <a:gdLst>
                    <a:gd name="connsiteX0" fmla="*/ 2 w 26664"/>
                    <a:gd name="connsiteY0" fmla="*/ 13709 h 26546"/>
                    <a:gd name="connsiteX1" fmla="*/ 12956 w 26664"/>
                    <a:gd name="connsiteY1" fmla="*/ 8 h 26546"/>
                    <a:gd name="connsiteX2" fmla="*/ 26657 w 26664"/>
                    <a:gd name="connsiteY2" fmla="*/ 12837 h 26546"/>
                    <a:gd name="connsiteX3" fmla="*/ 13703 w 26664"/>
                    <a:gd name="connsiteY3" fmla="*/ 26539 h 26546"/>
                    <a:gd name="connsiteX4" fmla="*/ 2 w 26664"/>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3709"/>
                      </a:moveTo>
                      <a:cubicBezTo>
                        <a:pt x="-123" y="6360"/>
                        <a:pt x="5607" y="257"/>
                        <a:pt x="12956" y="8"/>
                      </a:cubicBezTo>
                      <a:cubicBezTo>
                        <a:pt x="20305" y="-241"/>
                        <a:pt x="26408" y="5488"/>
                        <a:pt x="26657" y="12837"/>
                      </a:cubicBezTo>
                      <a:cubicBezTo>
                        <a:pt x="26907" y="20186"/>
                        <a:pt x="21052" y="26290"/>
                        <a:pt x="13703" y="26539"/>
                      </a:cubicBezTo>
                      <a:cubicBezTo>
                        <a:pt x="6354" y="26788"/>
                        <a:pt x="251" y="21058"/>
                        <a:pt x="2"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7" name="Freeform 7780">
                  <a:extLst>
                    <a:ext uri="{FF2B5EF4-FFF2-40B4-BE49-F238E27FC236}">
                      <a16:creationId xmlns:a16="http://schemas.microsoft.com/office/drawing/2014/main" id="{6440B909-6838-2BA4-0411-754DFF534EF9}"/>
                    </a:ext>
                  </a:extLst>
                </p:cNvPr>
                <p:cNvSpPr/>
                <p:nvPr/>
              </p:nvSpPr>
              <p:spPr>
                <a:xfrm>
                  <a:off x="6350679" y="1872176"/>
                  <a:ext cx="4419" cy="52189"/>
                </a:xfrm>
                <a:custGeom>
                  <a:avLst/>
                  <a:gdLst>
                    <a:gd name="connsiteX0" fmla="*/ 1887 w 4419"/>
                    <a:gd name="connsiteY0" fmla="*/ 0 h 52189"/>
                    <a:gd name="connsiteX1" fmla="*/ 392 w 4419"/>
                    <a:gd name="connsiteY1" fmla="*/ 18808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808"/>
                      </a:cubicBezTo>
                      <a:cubicBezTo>
                        <a:pt x="1389" y="25783"/>
                        <a:pt x="3506" y="28648"/>
                        <a:pt x="4253" y="35748"/>
                      </a:cubicBezTo>
                      <a:cubicBezTo>
                        <a:pt x="4876" y="42599"/>
                        <a:pt x="3630" y="48453"/>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8" name="Freeform 7781">
                  <a:extLst>
                    <a:ext uri="{FF2B5EF4-FFF2-40B4-BE49-F238E27FC236}">
                      <a16:creationId xmlns:a16="http://schemas.microsoft.com/office/drawing/2014/main" id="{09D8F30D-B6A3-7A05-B825-C29017A66582}"/>
                    </a:ext>
                  </a:extLst>
                </p:cNvPr>
                <p:cNvSpPr/>
                <p:nvPr/>
              </p:nvSpPr>
              <p:spPr>
                <a:xfrm>
                  <a:off x="6359013" y="1866820"/>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6" y="44218"/>
                        <a:pt x="-220" y="37866"/>
                        <a:pt x="154" y="33506"/>
                      </a:cubicBezTo>
                      <a:cubicBezTo>
                        <a:pt x="776" y="26531"/>
                        <a:pt x="2769" y="23417"/>
                        <a:pt x="3143" y="16317"/>
                      </a:cubicBezTo>
                      <a:cubicBezTo>
                        <a:pt x="3392" y="9466"/>
                        <a:pt x="1897"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9" name="Freeform 7782">
                  <a:extLst>
                    <a:ext uri="{FF2B5EF4-FFF2-40B4-BE49-F238E27FC236}">
                      <a16:creationId xmlns:a16="http://schemas.microsoft.com/office/drawing/2014/main" id="{BAE73A99-361D-1205-FB35-D2A3B78A4394}"/>
                    </a:ext>
                  </a:extLst>
                </p:cNvPr>
                <p:cNvSpPr/>
                <p:nvPr/>
              </p:nvSpPr>
              <p:spPr>
                <a:xfrm>
                  <a:off x="6342848" y="1851616"/>
                  <a:ext cx="26415" cy="26546"/>
                </a:xfrm>
                <a:custGeom>
                  <a:avLst/>
                  <a:gdLst>
                    <a:gd name="connsiteX0" fmla="*/ 26408 w 26415"/>
                    <a:gd name="connsiteY0" fmla="*/ 12837 h 26546"/>
                    <a:gd name="connsiteX1" fmla="*/ 13579 w 26415"/>
                    <a:gd name="connsiteY1" fmla="*/ 26539 h 26546"/>
                    <a:gd name="connsiteX2" fmla="*/ 2 w 26415"/>
                    <a:gd name="connsiteY2" fmla="*/ 13709 h 26546"/>
                    <a:gd name="connsiteX3" fmla="*/ 12831 w 26415"/>
                    <a:gd name="connsiteY3" fmla="*/ 8 h 26546"/>
                    <a:gd name="connsiteX4" fmla="*/ 26408 w 2641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5">
                      <a:moveTo>
                        <a:pt x="26408" y="12837"/>
                      </a:moveTo>
                      <a:cubicBezTo>
                        <a:pt x="26657" y="20186"/>
                        <a:pt x="20803" y="26290"/>
                        <a:pt x="13579" y="26539"/>
                      </a:cubicBezTo>
                      <a:cubicBezTo>
                        <a:pt x="6230" y="26788"/>
                        <a:pt x="251" y="21058"/>
                        <a:pt x="2" y="13709"/>
                      </a:cubicBezTo>
                      <a:cubicBezTo>
                        <a:pt x="-123" y="6360"/>
                        <a:pt x="5607" y="257"/>
                        <a:pt x="12831" y="8"/>
                      </a:cubicBezTo>
                      <a:cubicBezTo>
                        <a:pt x="20056" y="-241"/>
                        <a:pt x="26159" y="5488"/>
                        <a:pt x="2640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69" name="Graphic 2987">
                <a:extLst>
                  <a:ext uri="{FF2B5EF4-FFF2-40B4-BE49-F238E27FC236}">
                    <a16:creationId xmlns:a16="http://schemas.microsoft.com/office/drawing/2014/main" id="{BE9F2049-09A1-C97A-118F-CF5595DB4294}"/>
                  </a:ext>
                </a:extLst>
              </p:cNvPr>
              <p:cNvGrpSpPr/>
              <p:nvPr/>
            </p:nvGrpSpPr>
            <p:grpSpPr>
              <a:xfrm>
                <a:off x="6313328" y="1852852"/>
                <a:ext cx="29530" cy="148865"/>
                <a:chOff x="6313328" y="1852852"/>
                <a:chExt cx="29530" cy="148865"/>
              </a:xfrm>
              <a:grpFill/>
            </p:grpSpPr>
            <p:sp>
              <p:nvSpPr>
                <p:cNvPr id="6378" name="Freeform 7784">
                  <a:extLst>
                    <a:ext uri="{FF2B5EF4-FFF2-40B4-BE49-F238E27FC236}">
                      <a16:creationId xmlns:a16="http://schemas.microsoft.com/office/drawing/2014/main" id="{BA047461-36B1-3ECD-3188-67AF2F2EC5AD}"/>
                    </a:ext>
                  </a:extLst>
                </p:cNvPr>
                <p:cNvSpPr/>
                <p:nvPr/>
              </p:nvSpPr>
              <p:spPr>
                <a:xfrm>
                  <a:off x="6330477" y="1928974"/>
                  <a:ext cx="4419" cy="52189"/>
                </a:xfrm>
                <a:custGeom>
                  <a:avLst/>
                  <a:gdLst>
                    <a:gd name="connsiteX0" fmla="*/ 2533 w 4419"/>
                    <a:gd name="connsiteY0" fmla="*/ 52190 h 52189"/>
                    <a:gd name="connsiteX1" fmla="*/ 4028 w 4419"/>
                    <a:gd name="connsiteY1" fmla="*/ 33381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3"/>
                        <a:pt x="4650" y="37741"/>
                        <a:pt x="4028" y="33381"/>
                      </a:cubicBezTo>
                      <a:cubicBezTo>
                        <a:pt x="3031" y="26406"/>
                        <a:pt x="914" y="23541"/>
                        <a:pt x="166" y="16442"/>
                      </a:cubicBezTo>
                      <a:cubicBezTo>
                        <a:pt x="-456" y="9591"/>
                        <a:pt x="789" y="3737"/>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9" name="Freeform 7785">
                  <a:extLst>
                    <a:ext uri="{FF2B5EF4-FFF2-40B4-BE49-F238E27FC236}">
                      <a16:creationId xmlns:a16="http://schemas.microsoft.com/office/drawing/2014/main" id="{F4A9A361-E1D6-FBAF-7D69-C2E245C2F791}"/>
                    </a:ext>
                  </a:extLst>
                </p:cNvPr>
                <p:cNvSpPr/>
                <p:nvPr/>
              </p:nvSpPr>
              <p:spPr>
                <a:xfrm>
                  <a:off x="6323614" y="1934330"/>
                  <a:ext cx="3181" cy="52189"/>
                </a:xfrm>
                <a:custGeom>
                  <a:avLst/>
                  <a:gdLst>
                    <a:gd name="connsiteX0" fmla="*/ 553 w 3181"/>
                    <a:gd name="connsiteY0" fmla="*/ 0 h 52189"/>
                    <a:gd name="connsiteX1" fmla="*/ 3044 w 3181"/>
                    <a:gd name="connsiteY1" fmla="*/ 18684 h 52189"/>
                    <a:gd name="connsiteX2" fmla="*/ 55 w 3181"/>
                    <a:gd name="connsiteY2" fmla="*/ 35873 h 52189"/>
                    <a:gd name="connsiteX3" fmla="*/ 2670 w 31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81" h="52189">
                      <a:moveTo>
                        <a:pt x="553" y="0"/>
                      </a:moveTo>
                      <a:cubicBezTo>
                        <a:pt x="3168" y="7972"/>
                        <a:pt x="3417" y="14324"/>
                        <a:pt x="3044" y="18684"/>
                      </a:cubicBezTo>
                      <a:cubicBezTo>
                        <a:pt x="2421" y="25659"/>
                        <a:pt x="304" y="28773"/>
                        <a:pt x="55" y="35873"/>
                      </a:cubicBezTo>
                      <a:cubicBezTo>
                        <a:pt x="-319" y="42723"/>
                        <a:pt x="1300" y="48453"/>
                        <a:pt x="26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0" name="Freeform 7786">
                  <a:extLst>
                    <a:ext uri="{FF2B5EF4-FFF2-40B4-BE49-F238E27FC236}">
                      <a16:creationId xmlns:a16="http://schemas.microsoft.com/office/drawing/2014/main" id="{41C7B2AA-4C57-7133-25A3-7EDFFEE2BC71}"/>
                    </a:ext>
                  </a:extLst>
                </p:cNvPr>
                <p:cNvSpPr/>
                <p:nvPr/>
              </p:nvSpPr>
              <p:spPr>
                <a:xfrm>
                  <a:off x="6316193" y="1975177"/>
                  <a:ext cx="26665" cy="26540"/>
                </a:xfrm>
                <a:custGeom>
                  <a:avLst/>
                  <a:gdLst>
                    <a:gd name="connsiteX0" fmla="*/ 2 w 26665"/>
                    <a:gd name="connsiteY0" fmla="*/ 13460 h 26540"/>
                    <a:gd name="connsiteX1" fmla="*/ 12956 w 26665"/>
                    <a:gd name="connsiteY1" fmla="*/ 8 h 26540"/>
                    <a:gd name="connsiteX2" fmla="*/ 26658 w 26665"/>
                    <a:gd name="connsiteY2" fmla="*/ 12837 h 26540"/>
                    <a:gd name="connsiteX3" fmla="*/ 13703 w 26665"/>
                    <a:gd name="connsiteY3" fmla="*/ 26539 h 26540"/>
                    <a:gd name="connsiteX4" fmla="*/ 2 w 2666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0">
                      <a:moveTo>
                        <a:pt x="2" y="13460"/>
                      </a:moveTo>
                      <a:cubicBezTo>
                        <a:pt x="-123" y="6111"/>
                        <a:pt x="5607" y="257"/>
                        <a:pt x="12956" y="8"/>
                      </a:cubicBezTo>
                      <a:cubicBezTo>
                        <a:pt x="20305" y="-241"/>
                        <a:pt x="26408" y="5488"/>
                        <a:pt x="26658" y="12837"/>
                      </a:cubicBezTo>
                      <a:cubicBezTo>
                        <a:pt x="26907" y="20186"/>
                        <a:pt x="21052" y="26290"/>
                        <a:pt x="13703" y="26539"/>
                      </a:cubicBezTo>
                      <a:cubicBezTo>
                        <a:pt x="6230" y="26663"/>
                        <a:pt x="127" y="20684"/>
                        <a:pt x="2"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1" name="Freeform 7787">
                  <a:extLst>
                    <a:ext uri="{FF2B5EF4-FFF2-40B4-BE49-F238E27FC236}">
                      <a16:creationId xmlns:a16="http://schemas.microsoft.com/office/drawing/2014/main" id="{2D6C1A1B-1C62-30D7-28E6-B50D8DFE8D23}"/>
                    </a:ext>
                  </a:extLst>
                </p:cNvPr>
                <p:cNvSpPr/>
                <p:nvPr/>
              </p:nvSpPr>
              <p:spPr>
                <a:xfrm>
                  <a:off x="6321283" y="1873172"/>
                  <a:ext cx="4419" cy="52065"/>
                </a:xfrm>
                <a:custGeom>
                  <a:avLst/>
                  <a:gdLst>
                    <a:gd name="connsiteX0" fmla="*/ 1887 w 4419"/>
                    <a:gd name="connsiteY0" fmla="*/ 0 h 52065"/>
                    <a:gd name="connsiteX1" fmla="*/ 392 w 4419"/>
                    <a:gd name="connsiteY1" fmla="*/ 18684 h 52065"/>
                    <a:gd name="connsiteX2" fmla="*/ 4253 w 4419"/>
                    <a:gd name="connsiteY2" fmla="*/ 35624 h 52065"/>
                    <a:gd name="connsiteX3" fmla="*/ 2510 w 4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419" h="52065">
                      <a:moveTo>
                        <a:pt x="1887" y="0"/>
                      </a:moveTo>
                      <a:cubicBezTo>
                        <a:pt x="-355" y="8096"/>
                        <a:pt x="-231" y="14449"/>
                        <a:pt x="392" y="18684"/>
                      </a:cubicBezTo>
                      <a:cubicBezTo>
                        <a:pt x="1388" y="25659"/>
                        <a:pt x="3506" y="28648"/>
                        <a:pt x="4253" y="35624"/>
                      </a:cubicBezTo>
                      <a:cubicBezTo>
                        <a:pt x="4876" y="42474"/>
                        <a:pt x="3631" y="48328"/>
                        <a:pt x="25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2" name="Freeform 7788">
                  <a:extLst>
                    <a:ext uri="{FF2B5EF4-FFF2-40B4-BE49-F238E27FC236}">
                      <a16:creationId xmlns:a16="http://schemas.microsoft.com/office/drawing/2014/main" id="{2252C95C-BF71-2725-4DBE-50E38C652DD9}"/>
                    </a:ext>
                  </a:extLst>
                </p:cNvPr>
                <p:cNvSpPr/>
                <p:nvPr/>
              </p:nvSpPr>
              <p:spPr>
                <a:xfrm>
                  <a:off x="6329385" y="1867816"/>
                  <a:ext cx="3181" cy="52189"/>
                </a:xfrm>
                <a:custGeom>
                  <a:avLst/>
                  <a:gdLst>
                    <a:gd name="connsiteX0" fmla="*/ 2629 w 3181"/>
                    <a:gd name="connsiteY0" fmla="*/ 52190 h 52189"/>
                    <a:gd name="connsiteX1" fmla="*/ 138 w 3181"/>
                    <a:gd name="connsiteY1" fmla="*/ 33506 h 52189"/>
                    <a:gd name="connsiteX2" fmla="*/ 3127 w 3181"/>
                    <a:gd name="connsiteY2" fmla="*/ 16317 h 52189"/>
                    <a:gd name="connsiteX3" fmla="*/ 636 w 3181"/>
                    <a:gd name="connsiteY3" fmla="*/ 0 h 52189"/>
                  </a:gdLst>
                  <a:ahLst/>
                  <a:cxnLst>
                    <a:cxn ang="0">
                      <a:pos x="connsiteX0" y="connsiteY0"/>
                    </a:cxn>
                    <a:cxn ang="0">
                      <a:pos x="connsiteX1" y="connsiteY1"/>
                    </a:cxn>
                    <a:cxn ang="0">
                      <a:pos x="connsiteX2" y="connsiteY2"/>
                    </a:cxn>
                    <a:cxn ang="0">
                      <a:pos x="connsiteX3" y="connsiteY3"/>
                    </a:cxn>
                  </a:cxnLst>
                  <a:rect l="l" t="t" r="r" b="b"/>
                  <a:pathLst>
                    <a:path w="3181" h="52189">
                      <a:moveTo>
                        <a:pt x="2629" y="52190"/>
                      </a:moveTo>
                      <a:cubicBezTo>
                        <a:pt x="13" y="44218"/>
                        <a:pt x="-236" y="37866"/>
                        <a:pt x="138" y="33506"/>
                      </a:cubicBezTo>
                      <a:cubicBezTo>
                        <a:pt x="760" y="26531"/>
                        <a:pt x="2753" y="23417"/>
                        <a:pt x="3127" y="16317"/>
                      </a:cubicBezTo>
                      <a:cubicBezTo>
                        <a:pt x="3501" y="9466"/>
                        <a:pt x="1881" y="3737"/>
                        <a:pt x="6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83" name="Freeform 7789">
                  <a:extLst>
                    <a:ext uri="{FF2B5EF4-FFF2-40B4-BE49-F238E27FC236}">
                      <a16:creationId xmlns:a16="http://schemas.microsoft.com/office/drawing/2014/main" id="{29D7A3C8-A6D1-9E74-FD96-5C5537E16955}"/>
                    </a:ext>
                  </a:extLst>
                </p:cNvPr>
                <p:cNvSpPr/>
                <p:nvPr/>
              </p:nvSpPr>
              <p:spPr>
                <a:xfrm>
                  <a:off x="6313328" y="1852852"/>
                  <a:ext cx="26410" cy="26431"/>
                </a:xfrm>
                <a:custGeom>
                  <a:avLst/>
                  <a:gdLst>
                    <a:gd name="connsiteX0" fmla="*/ 26409 w 26410"/>
                    <a:gd name="connsiteY0" fmla="*/ 12722 h 26431"/>
                    <a:gd name="connsiteX1" fmla="*/ 13579 w 26410"/>
                    <a:gd name="connsiteY1" fmla="*/ 26424 h 26431"/>
                    <a:gd name="connsiteX2" fmla="*/ 2 w 26410"/>
                    <a:gd name="connsiteY2" fmla="*/ 13470 h 26431"/>
                    <a:gd name="connsiteX3" fmla="*/ 12832 w 26410"/>
                    <a:gd name="connsiteY3" fmla="*/ 17 h 26431"/>
                    <a:gd name="connsiteX4" fmla="*/ 26409 w 26410"/>
                    <a:gd name="connsiteY4" fmla="*/ 12722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31">
                      <a:moveTo>
                        <a:pt x="26409" y="12722"/>
                      </a:moveTo>
                      <a:cubicBezTo>
                        <a:pt x="26533" y="20071"/>
                        <a:pt x="20803" y="26174"/>
                        <a:pt x="13579" y="26424"/>
                      </a:cubicBezTo>
                      <a:cubicBezTo>
                        <a:pt x="6230" y="26673"/>
                        <a:pt x="251" y="20694"/>
                        <a:pt x="2" y="13470"/>
                      </a:cubicBezTo>
                      <a:cubicBezTo>
                        <a:pt x="-122" y="6121"/>
                        <a:pt x="5607" y="266"/>
                        <a:pt x="12832" y="17"/>
                      </a:cubicBezTo>
                      <a:cubicBezTo>
                        <a:pt x="20181" y="-356"/>
                        <a:pt x="26284" y="5373"/>
                        <a:pt x="26409" y="127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0" name="Graphic 2987">
                <a:extLst>
                  <a:ext uri="{FF2B5EF4-FFF2-40B4-BE49-F238E27FC236}">
                    <a16:creationId xmlns:a16="http://schemas.microsoft.com/office/drawing/2014/main" id="{29D8BA1C-39BB-9FEA-8641-4B09E07DD885}"/>
                  </a:ext>
                </a:extLst>
              </p:cNvPr>
              <p:cNvGrpSpPr/>
              <p:nvPr/>
            </p:nvGrpSpPr>
            <p:grpSpPr>
              <a:xfrm>
                <a:off x="6283808" y="1853241"/>
                <a:ext cx="29275" cy="148850"/>
                <a:chOff x="6283808" y="1853241"/>
                <a:chExt cx="29275" cy="148850"/>
              </a:xfrm>
              <a:grpFill/>
            </p:grpSpPr>
            <p:sp>
              <p:nvSpPr>
                <p:cNvPr id="6372" name="Freeform 7791">
                  <a:extLst>
                    <a:ext uri="{FF2B5EF4-FFF2-40B4-BE49-F238E27FC236}">
                      <a16:creationId xmlns:a16="http://schemas.microsoft.com/office/drawing/2014/main" id="{F7FDF02E-7885-BE7A-F1BB-19B2C665002F}"/>
                    </a:ext>
                  </a:extLst>
                </p:cNvPr>
                <p:cNvSpPr/>
                <p:nvPr/>
              </p:nvSpPr>
              <p:spPr>
                <a:xfrm>
                  <a:off x="6300832" y="1929472"/>
                  <a:ext cx="4358" cy="52189"/>
                </a:xfrm>
                <a:custGeom>
                  <a:avLst/>
                  <a:gdLst>
                    <a:gd name="connsiteX0" fmla="*/ 2408 w 4358"/>
                    <a:gd name="connsiteY0" fmla="*/ 52190 h 52189"/>
                    <a:gd name="connsiteX1" fmla="*/ 4028 w 4358"/>
                    <a:gd name="connsiteY1" fmla="*/ 33506 h 52189"/>
                    <a:gd name="connsiteX2" fmla="*/ 166 w 4358"/>
                    <a:gd name="connsiteY2" fmla="*/ 16442 h 52189"/>
                    <a:gd name="connsiteX3" fmla="*/ 1910 w 4358"/>
                    <a:gd name="connsiteY3" fmla="*/ 0 h 52189"/>
                  </a:gdLst>
                  <a:ahLst/>
                  <a:cxnLst>
                    <a:cxn ang="0">
                      <a:pos x="connsiteX0" y="connsiteY0"/>
                    </a:cxn>
                    <a:cxn ang="0">
                      <a:pos x="connsiteX1" y="connsiteY1"/>
                    </a:cxn>
                    <a:cxn ang="0">
                      <a:pos x="connsiteX2" y="connsiteY2"/>
                    </a:cxn>
                    <a:cxn ang="0">
                      <a:pos x="connsiteX3" y="connsiteY3"/>
                    </a:cxn>
                  </a:cxnLst>
                  <a:rect l="l" t="t" r="r" b="b"/>
                  <a:pathLst>
                    <a:path w="4358" h="52189">
                      <a:moveTo>
                        <a:pt x="2408" y="52190"/>
                      </a:moveTo>
                      <a:cubicBezTo>
                        <a:pt x="4775" y="44093"/>
                        <a:pt x="4526" y="37741"/>
                        <a:pt x="4028" y="33506"/>
                      </a:cubicBezTo>
                      <a:cubicBezTo>
                        <a:pt x="3031"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3" name="Freeform 7792">
                  <a:extLst>
                    <a:ext uri="{FF2B5EF4-FFF2-40B4-BE49-F238E27FC236}">
                      <a16:creationId xmlns:a16="http://schemas.microsoft.com/office/drawing/2014/main" id="{C961B1E5-F240-F5AF-5562-2917930914DE}"/>
                    </a:ext>
                  </a:extLst>
                </p:cNvPr>
                <p:cNvSpPr/>
                <p:nvPr/>
              </p:nvSpPr>
              <p:spPr>
                <a:xfrm>
                  <a:off x="6293595" y="1934704"/>
                  <a:ext cx="3324" cy="52065"/>
                </a:xfrm>
                <a:custGeom>
                  <a:avLst/>
                  <a:gdLst>
                    <a:gd name="connsiteX0" fmla="*/ 802 w 3324"/>
                    <a:gd name="connsiteY0" fmla="*/ 0 h 52065"/>
                    <a:gd name="connsiteX1" fmla="*/ 3169 w 3324"/>
                    <a:gd name="connsiteY1" fmla="*/ 18684 h 52065"/>
                    <a:gd name="connsiteX2" fmla="*/ 55 w 3324"/>
                    <a:gd name="connsiteY2" fmla="*/ 35748 h 52065"/>
                    <a:gd name="connsiteX3" fmla="*/ 2546 w 332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4" h="52065">
                      <a:moveTo>
                        <a:pt x="802" y="0"/>
                      </a:moveTo>
                      <a:cubicBezTo>
                        <a:pt x="3418" y="7972"/>
                        <a:pt x="3542" y="14324"/>
                        <a:pt x="3169" y="18684"/>
                      </a:cubicBezTo>
                      <a:cubicBezTo>
                        <a:pt x="2546" y="25659"/>
                        <a:pt x="428" y="28773"/>
                        <a:pt x="55" y="35748"/>
                      </a:cubicBezTo>
                      <a:cubicBezTo>
                        <a:pt x="-319" y="42599"/>
                        <a:pt x="1300" y="48328"/>
                        <a:pt x="254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4" name="Freeform 7793">
                  <a:extLst>
                    <a:ext uri="{FF2B5EF4-FFF2-40B4-BE49-F238E27FC236}">
                      <a16:creationId xmlns:a16="http://schemas.microsoft.com/office/drawing/2014/main" id="{8B50D2A1-9DB1-DDBF-3E06-A246791581A8}"/>
                    </a:ext>
                  </a:extLst>
                </p:cNvPr>
                <p:cNvSpPr/>
                <p:nvPr/>
              </p:nvSpPr>
              <p:spPr>
                <a:xfrm>
                  <a:off x="6286424" y="1975557"/>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2" y="5732"/>
                        <a:pt x="26657" y="13080"/>
                      </a:cubicBezTo>
                      <a:cubicBezTo>
                        <a:pt x="26782" y="20429"/>
                        <a:pt x="20928" y="26408"/>
                        <a:pt x="13579" y="26533"/>
                      </a:cubicBezTo>
                      <a:cubicBezTo>
                        <a:pt x="6230" y="26657"/>
                        <a:pt x="126"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5" name="Freeform 7794">
                  <a:extLst>
                    <a:ext uri="{FF2B5EF4-FFF2-40B4-BE49-F238E27FC236}">
                      <a16:creationId xmlns:a16="http://schemas.microsoft.com/office/drawing/2014/main" id="{58ED4ADB-9689-8A2F-FDB2-66138C4D120C}"/>
                    </a:ext>
                  </a:extLst>
                </p:cNvPr>
                <p:cNvSpPr/>
                <p:nvPr/>
              </p:nvSpPr>
              <p:spPr>
                <a:xfrm>
                  <a:off x="6291730" y="1873546"/>
                  <a:ext cx="4203" cy="52189"/>
                </a:xfrm>
                <a:custGeom>
                  <a:avLst/>
                  <a:gdLst>
                    <a:gd name="connsiteX0" fmla="*/ 1920 w 4203"/>
                    <a:gd name="connsiteY0" fmla="*/ 0 h 52189"/>
                    <a:gd name="connsiteX1" fmla="*/ 300 w 4203"/>
                    <a:gd name="connsiteY1" fmla="*/ 18684 h 52189"/>
                    <a:gd name="connsiteX2" fmla="*/ 4037 w 4203"/>
                    <a:gd name="connsiteY2" fmla="*/ 35748 h 52189"/>
                    <a:gd name="connsiteX3" fmla="*/ 2293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1920" y="0"/>
                      </a:moveTo>
                      <a:cubicBezTo>
                        <a:pt x="-322" y="8096"/>
                        <a:pt x="-198" y="14449"/>
                        <a:pt x="300" y="18684"/>
                      </a:cubicBezTo>
                      <a:cubicBezTo>
                        <a:pt x="1172" y="25659"/>
                        <a:pt x="3414" y="28648"/>
                        <a:pt x="4037" y="35748"/>
                      </a:cubicBezTo>
                      <a:cubicBezTo>
                        <a:pt x="4660" y="42599"/>
                        <a:pt x="3414" y="48328"/>
                        <a:pt x="229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6" name="Freeform 7795">
                  <a:extLst>
                    <a:ext uri="{FF2B5EF4-FFF2-40B4-BE49-F238E27FC236}">
                      <a16:creationId xmlns:a16="http://schemas.microsoft.com/office/drawing/2014/main" id="{EF78B0E7-7F6A-E0C8-5035-C3524F2218F4}"/>
                    </a:ext>
                  </a:extLst>
                </p:cNvPr>
                <p:cNvSpPr/>
                <p:nvPr/>
              </p:nvSpPr>
              <p:spPr>
                <a:xfrm>
                  <a:off x="6299847" y="1868439"/>
                  <a:ext cx="3199" cy="52065"/>
                </a:xfrm>
                <a:custGeom>
                  <a:avLst/>
                  <a:gdLst>
                    <a:gd name="connsiteX0" fmla="*/ 2522 w 3199"/>
                    <a:gd name="connsiteY0" fmla="*/ 52065 h 52065"/>
                    <a:gd name="connsiteX1" fmla="*/ 156 w 3199"/>
                    <a:gd name="connsiteY1" fmla="*/ 33381 h 52065"/>
                    <a:gd name="connsiteX2" fmla="*/ 3145 w 3199"/>
                    <a:gd name="connsiteY2" fmla="*/ 16317 h 52065"/>
                    <a:gd name="connsiteX3" fmla="*/ 654 w 3199"/>
                    <a:gd name="connsiteY3" fmla="*/ 0 h 52065"/>
                  </a:gdLst>
                  <a:ahLst/>
                  <a:cxnLst>
                    <a:cxn ang="0">
                      <a:pos x="connsiteX0" y="connsiteY0"/>
                    </a:cxn>
                    <a:cxn ang="0">
                      <a:pos x="connsiteX1" y="connsiteY1"/>
                    </a:cxn>
                    <a:cxn ang="0">
                      <a:pos x="connsiteX2" y="connsiteY2"/>
                    </a:cxn>
                    <a:cxn ang="0">
                      <a:pos x="connsiteX3" y="connsiteY3"/>
                    </a:cxn>
                  </a:cxnLst>
                  <a:rect l="l" t="t" r="r" b="b"/>
                  <a:pathLst>
                    <a:path w="3199" h="52065">
                      <a:moveTo>
                        <a:pt x="2522" y="52065"/>
                      </a:moveTo>
                      <a:cubicBezTo>
                        <a:pt x="-94" y="44093"/>
                        <a:pt x="-218" y="37741"/>
                        <a:pt x="156" y="33381"/>
                      </a:cubicBezTo>
                      <a:cubicBezTo>
                        <a:pt x="778" y="26406"/>
                        <a:pt x="2896" y="23292"/>
                        <a:pt x="3145" y="16317"/>
                      </a:cubicBezTo>
                      <a:cubicBezTo>
                        <a:pt x="3519"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7" name="Freeform 7796">
                  <a:extLst>
                    <a:ext uri="{FF2B5EF4-FFF2-40B4-BE49-F238E27FC236}">
                      <a16:creationId xmlns:a16="http://schemas.microsoft.com/office/drawing/2014/main" id="{BCE1FAA7-3C63-06DA-4A14-5B5C97B6B350}"/>
                    </a:ext>
                  </a:extLst>
                </p:cNvPr>
                <p:cNvSpPr/>
                <p:nvPr/>
              </p:nvSpPr>
              <p:spPr>
                <a:xfrm>
                  <a:off x="6283808" y="1853241"/>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803" y="26408"/>
                        <a:pt x="13454" y="26533"/>
                      </a:cubicBezTo>
                      <a:cubicBezTo>
                        <a:pt x="6106" y="26657"/>
                        <a:pt x="127" y="20803"/>
                        <a:pt x="2" y="13454"/>
                      </a:cubicBezTo>
                      <a:cubicBezTo>
                        <a:pt x="-122" y="6105"/>
                        <a:pt x="5607" y="126"/>
                        <a:pt x="12956"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1" name="Graphic 2987">
                <a:extLst>
                  <a:ext uri="{FF2B5EF4-FFF2-40B4-BE49-F238E27FC236}">
                    <a16:creationId xmlns:a16="http://schemas.microsoft.com/office/drawing/2014/main" id="{4693006D-7BCC-141D-B131-0541F156FE2B}"/>
                  </a:ext>
                </a:extLst>
              </p:cNvPr>
              <p:cNvGrpSpPr/>
              <p:nvPr/>
            </p:nvGrpSpPr>
            <p:grpSpPr>
              <a:xfrm>
                <a:off x="6254288" y="1853492"/>
                <a:ext cx="28901" cy="148971"/>
                <a:chOff x="6254288" y="1853492"/>
                <a:chExt cx="28901" cy="148971"/>
              </a:xfrm>
              <a:grpFill/>
            </p:grpSpPr>
            <p:sp>
              <p:nvSpPr>
                <p:cNvPr id="6366" name="Freeform 7798">
                  <a:extLst>
                    <a:ext uri="{FF2B5EF4-FFF2-40B4-BE49-F238E27FC236}">
                      <a16:creationId xmlns:a16="http://schemas.microsoft.com/office/drawing/2014/main" id="{2FDDE5FF-FA3A-26FA-C45C-4FE2C3F8F7B6}"/>
                    </a:ext>
                  </a:extLst>
                </p:cNvPr>
                <p:cNvSpPr/>
                <p:nvPr/>
              </p:nvSpPr>
              <p:spPr>
                <a:xfrm>
                  <a:off x="6271188" y="1929846"/>
                  <a:ext cx="4288" cy="52189"/>
                </a:xfrm>
                <a:custGeom>
                  <a:avLst/>
                  <a:gdLst>
                    <a:gd name="connsiteX0" fmla="*/ 2283 w 4288"/>
                    <a:gd name="connsiteY0" fmla="*/ 52190 h 52189"/>
                    <a:gd name="connsiteX1" fmla="*/ 3903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3" y="33506"/>
                      </a:cubicBezTo>
                      <a:cubicBezTo>
                        <a:pt x="3031" y="26531"/>
                        <a:pt x="789" y="23541"/>
                        <a:pt x="166" y="16442"/>
                      </a:cubicBezTo>
                      <a:cubicBezTo>
                        <a:pt x="-457"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7" name="Freeform 7799">
                  <a:extLst>
                    <a:ext uri="{FF2B5EF4-FFF2-40B4-BE49-F238E27FC236}">
                      <a16:creationId xmlns:a16="http://schemas.microsoft.com/office/drawing/2014/main" id="{33A524C8-C469-4EE6-C2CC-9EF3C1F20BAE}"/>
                    </a:ext>
                  </a:extLst>
                </p:cNvPr>
                <p:cNvSpPr/>
                <p:nvPr/>
              </p:nvSpPr>
              <p:spPr>
                <a:xfrm>
                  <a:off x="6263947" y="1935078"/>
                  <a:ext cx="3327" cy="52065"/>
                </a:xfrm>
                <a:custGeom>
                  <a:avLst/>
                  <a:gdLst>
                    <a:gd name="connsiteX0" fmla="*/ 806 w 3327"/>
                    <a:gd name="connsiteY0" fmla="*/ 0 h 52065"/>
                    <a:gd name="connsiteX1" fmla="*/ 3172 w 3327"/>
                    <a:gd name="connsiteY1" fmla="*/ 18684 h 52065"/>
                    <a:gd name="connsiteX2" fmla="*/ 58 w 3327"/>
                    <a:gd name="connsiteY2" fmla="*/ 35748 h 52065"/>
                    <a:gd name="connsiteX3" fmla="*/ 2550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806" y="0"/>
                      </a:moveTo>
                      <a:cubicBezTo>
                        <a:pt x="3422" y="7972"/>
                        <a:pt x="3546" y="14324"/>
                        <a:pt x="3172" y="18684"/>
                      </a:cubicBezTo>
                      <a:cubicBezTo>
                        <a:pt x="2550" y="25659"/>
                        <a:pt x="432" y="28773"/>
                        <a:pt x="58" y="35748"/>
                      </a:cubicBezTo>
                      <a:cubicBezTo>
                        <a:pt x="-315" y="42599"/>
                        <a:pt x="1179" y="48328"/>
                        <a:pt x="255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8" name="Freeform 7800">
                  <a:extLst>
                    <a:ext uri="{FF2B5EF4-FFF2-40B4-BE49-F238E27FC236}">
                      <a16:creationId xmlns:a16="http://schemas.microsoft.com/office/drawing/2014/main" id="{1BA96893-514E-FFA7-C11B-94A40125BDF4}"/>
                    </a:ext>
                  </a:extLst>
                </p:cNvPr>
                <p:cNvSpPr/>
                <p:nvPr/>
              </p:nvSpPr>
              <p:spPr>
                <a:xfrm>
                  <a:off x="6256530" y="1975930"/>
                  <a:ext cx="26659" cy="26532"/>
                </a:xfrm>
                <a:custGeom>
                  <a:avLst/>
                  <a:gdLst>
                    <a:gd name="connsiteX0" fmla="*/ 2 w 26659"/>
                    <a:gd name="connsiteY0" fmla="*/ 13454 h 26532"/>
                    <a:gd name="connsiteX1" fmla="*/ 13081 w 26659"/>
                    <a:gd name="connsiteY1" fmla="*/ 2 h 26532"/>
                    <a:gd name="connsiteX2" fmla="*/ 26657 w 26659"/>
                    <a:gd name="connsiteY2" fmla="*/ 13080 h 26532"/>
                    <a:gd name="connsiteX3" fmla="*/ 13579 w 26659"/>
                    <a:gd name="connsiteY3" fmla="*/ 26533 h 26532"/>
                    <a:gd name="connsiteX4" fmla="*/ 2 w 26659"/>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1">
                      <a:moveTo>
                        <a:pt x="2" y="13454"/>
                      </a:moveTo>
                      <a:cubicBezTo>
                        <a:pt x="-122" y="6105"/>
                        <a:pt x="5732" y="126"/>
                        <a:pt x="13081" y="2"/>
                      </a:cubicBezTo>
                      <a:cubicBezTo>
                        <a:pt x="20430" y="-123"/>
                        <a:pt x="26533" y="5732"/>
                        <a:pt x="26657" y="13080"/>
                      </a:cubicBezTo>
                      <a:cubicBezTo>
                        <a:pt x="26782" y="20429"/>
                        <a:pt x="20928" y="26408"/>
                        <a:pt x="13579" y="26533"/>
                      </a:cubicBezTo>
                      <a:cubicBezTo>
                        <a:pt x="6230" y="26533"/>
                        <a:pt x="251" y="20679"/>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9" name="Freeform 7801">
                  <a:extLst>
                    <a:ext uri="{FF2B5EF4-FFF2-40B4-BE49-F238E27FC236}">
                      <a16:creationId xmlns:a16="http://schemas.microsoft.com/office/drawing/2014/main" id="{DE36AA7C-C486-C835-F6FC-B63E9AAD99AF}"/>
                    </a:ext>
                  </a:extLst>
                </p:cNvPr>
                <p:cNvSpPr/>
                <p:nvPr/>
              </p:nvSpPr>
              <p:spPr>
                <a:xfrm>
                  <a:off x="6262000" y="1873920"/>
                  <a:ext cx="4288" cy="52189"/>
                </a:xfrm>
                <a:custGeom>
                  <a:avLst/>
                  <a:gdLst>
                    <a:gd name="connsiteX0" fmla="*/ 2005 w 4288"/>
                    <a:gd name="connsiteY0" fmla="*/ 0 h 52189"/>
                    <a:gd name="connsiteX1" fmla="*/ 386 w 4288"/>
                    <a:gd name="connsiteY1" fmla="*/ 18684 h 52189"/>
                    <a:gd name="connsiteX2" fmla="*/ 4123 w 4288"/>
                    <a:gd name="connsiteY2" fmla="*/ 35748 h 52189"/>
                    <a:gd name="connsiteX3" fmla="*/ 2255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6"/>
                        <a:pt x="-237" y="14449"/>
                        <a:pt x="386" y="18684"/>
                      </a:cubicBezTo>
                      <a:cubicBezTo>
                        <a:pt x="1258" y="25659"/>
                        <a:pt x="3500" y="28648"/>
                        <a:pt x="4123" y="35748"/>
                      </a:cubicBezTo>
                      <a:cubicBezTo>
                        <a:pt x="4745" y="42599"/>
                        <a:pt x="3500" y="48328"/>
                        <a:pt x="225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0" name="Freeform 7802">
                  <a:extLst>
                    <a:ext uri="{FF2B5EF4-FFF2-40B4-BE49-F238E27FC236}">
                      <a16:creationId xmlns:a16="http://schemas.microsoft.com/office/drawing/2014/main" id="{68547D3F-D277-FF1A-5CC2-860CC9727063}"/>
                    </a:ext>
                  </a:extLst>
                </p:cNvPr>
                <p:cNvSpPr/>
                <p:nvPr/>
              </p:nvSpPr>
              <p:spPr>
                <a:xfrm>
                  <a:off x="6270202" y="1868813"/>
                  <a:ext cx="3327" cy="52065"/>
                </a:xfrm>
                <a:custGeom>
                  <a:avLst/>
                  <a:gdLst>
                    <a:gd name="connsiteX0" fmla="*/ 2522 w 3327"/>
                    <a:gd name="connsiteY0" fmla="*/ 52065 h 52065"/>
                    <a:gd name="connsiteX1" fmla="*/ 156 w 3327"/>
                    <a:gd name="connsiteY1" fmla="*/ 33381 h 52065"/>
                    <a:gd name="connsiteX2" fmla="*/ 3270 w 3327"/>
                    <a:gd name="connsiteY2" fmla="*/ 16317 h 52065"/>
                    <a:gd name="connsiteX3" fmla="*/ 778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52065"/>
                      </a:moveTo>
                      <a:cubicBezTo>
                        <a:pt x="-93" y="44093"/>
                        <a:pt x="-218" y="37741"/>
                        <a:pt x="156" y="33381"/>
                      </a:cubicBezTo>
                      <a:cubicBezTo>
                        <a:pt x="778" y="26406"/>
                        <a:pt x="2896" y="23292"/>
                        <a:pt x="3270" y="16317"/>
                      </a:cubicBezTo>
                      <a:cubicBezTo>
                        <a:pt x="3643" y="9466"/>
                        <a:pt x="2149" y="3737"/>
                        <a:pt x="7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71" name="Freeform 7803">
                  <a:extLst>
                    <a:ext uri="{FF2B5EF4-FFF2-40B4-BE49-F238E27FC236}">
                      <a16:creationId xmlns:a16="http://schemas.microsoft.com/office/drawing/2014/main" id="{FD6E62DD-1A01-6F1C-36EF-94D9E809AEF3}"/>
                    </a:ext>
                  </a:extLst>
                </p:cNvPr>
                <p:cNvSpPr/>
                <p:nvPr/>
              </p:nvSpPr>
              <p:spPr>
                <a:xfrm>
                  <a:off x="6254288" y="1853492"/>
                  <a:ext cx="26410" cy="26532"/>
                </a:xfrm>
                <a:custGeom>
                  <a:avLst/>
                  <a:gdLst>
                    <a:gd name="connsiteX0" fmla="*/ 26408 w 26410"/>
                    <a:gd name="connsiteY0" fmla="*/ 13079 h 26532"/>
                    <a:gd name="connsiteX1" fmla="*/ 13454 w 26410"/>
                    <a:gd name="connsiteY1" fmla="*/ 26531 h 26532"/>
                    <a:gd name="connsiteX2" fmla="*/ 2 w 26410"/>
                    <a:gd name="connsiteY2" fmla="*/ 13452 h 26532"/>
                    <a:gd name="connsiteX3" fmla="*/ 12956 w 26410"/>
                    <a:gd name="connsiteY3" fmla="*/ 0 h 26532"/>
                    <a:gd name="connsiteX4" fmla="*/ 26408 w 26410"/>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1">
                      <a:moveTo>
                        <a:pt x="26408" y="13079"/>
                      </a:moveTo>
                      <a:cubicBezTo>
                        <a:pt x="26533" y="20427"/>
                        <a:pt x="20803" y="26406"/>
                        <a:pt x="13454" y="26531"/>
                      </a:cubicBezTo>
                      <a:cubicBezTo>
                        <a:pt x="6105" y="26655"/>
                        <a:pt x="127" y="20801"/>
                        <a:pt x="2" y="13452"/>
                      </a:cubicBezTo>
                      <a:cubicBezTo>
                        <a:pt x="-123" y="6103"/>
                        <a:pt x="5607" y="125"/>
                        <a:pt x="12956" y="0"/>
                      </a:cubicBezTo>
                      <a:cubicBezTo>
                        <a:pt x="20305" y="0"/>
                        <a:pt x="26284"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2" name="Graphic 2987">
                <a:extLst>
                  <a:ext uri="{FF2B5EF4-FFF2-40B4-BE49-F238E27FC236}">
                    <a16:creationId xmlns:a16="http://schemas.microsoft.com/office/drawing/2014/main" id="{6B307B6A-DA27-9805-060E-6FF945392B9D}"/>
                  </a:ext>
                </a:extLst>
              </p:cNvPr>
              <p:cNvGrpSpPr/>
              <p:nvPr/>
            </p:nvGrpSpPr>
            <p:grpSpPr>
              <a:xfrm>
                <a:off x="6224892" y="1853864"/>
                <a:ext cx="28527" cy="148850"/>
                <a:chOff x="6224892" y="1853864"/>
                <a:chExt cx="28527" cy="148850"/>
              </a:xfrm>
              <a:grpFill/>
            </p:grpSpPr>
            <p:sp>
              <p:nvSpPr>
                <p:cNvPr id="6360" name="Freeform 7805">
                  <a:extLst>
                    <a:ext uri="{FF2B5EF4-FFF2-40B4-BE49-F238E27FC236}">
                      <a16:creationId xmlns:a16="http://schemas.microsoft.com/office/drawing/2014/main" id="{793CA616-D437-0E3D-9527-249190F9F5CF}"/>
                    </a:ext>
                  </a:extLst>
                </p:cNvPr>
                <p:cNvSpPr/>
                <p:nvPr/>
              </p:nvSpPr>
              <p:spPr>
                <a:xfrm>
                  <a:off x="6241429" y="1930220"/>
                  <a:ext cx="4278" cy="52189"/>
                </a:xfrm>
                <a:custGeom>
                  <a:avLst/>
                  <a:gdLst>
                    <a:gd name="connsiteX0" fmla="*/ 2273 w 4278"/>
                    <a:gd name="connsiteY0" fmla="*/ 52190 h 52189"/>
                    <a:gd name="connsiteX1" fmla="*/ 3893 w 4278"/>
                    <a:gd name="connsiteY1" fmla="*/ 33506 h 52189"/>
                    <a:gd name="connsiteX2" fmla="*/ 156 w 4278"/>
                    <a:gd name="connsiteY2" fmla="*/ 16442 h 52189"/>
                    <a:gd name="connsiteX3" fmla="*/ 202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52190"/>
                      </a:moveTo>
                      <a:cubicBezTo>
                        <a:pt x="4640" y="44093"/>
                        <a:pt x="4516" y="37741"/>
                        <a:pt x="3893" y="33506"/>
                      </a:cubicBezTo>
                      <a:cubicBezTo>
                        <a:pt x="3021" y="26531"/>
                        <a:pt x="779"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1" name="Freeform 7806">
                  <a:extLst>
                    <a:ext uri="{FF2B5EF4-FFF2-40B4-BE49-F238E27FC236}">
                      <a16:creationId xmlns:a16="http://schemas.microsoft.com/office/drawing/2014/main" id="{A5975FAE-081A-17F8-4E40-A30077022189}"/>
                    </a:ext>
                  </a:extLst>
                </p:cNvPr>
                <p:cNvSpPr/>
                <p:nvPr/>
              </p:nvSpPr>
              <p:spPr>
                <a:xfrm>
                  <a:off x="6234178" y="1935451"/>
                  <a:ext cx="3403" cy="52065"/>
                </a:xfrm>
                <a:custGeom>
                  <a:avLst/>
                  <a:gdLst>
                    <a:gd name="connsiteX0" fmla="*/ 930 w 3403"/>
                    <a:gd name="connsiteY0" fmla="*/ 0 h 52065"/>
                    <a:gd name="connsiteX1" fmla="*/ 3172 w 3403"/>
                    <a:gd name="connsiteY1" fmla="*/ 18684 h 52065"/>
                    <a:gd name="connsiteX2" fmla="*/ 58 w 3403"/>
                    <a:gd name="connsiteY2" fmla="*/ 35748 h 52065"/>
                    <a:gd name="connsiteX3" fmla="*/ 2549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930" y="0"/>
                      </a:moveTo>
                      <a:cubicBezTo>
                        <a:pt x="3546" y="7972"/>
                        <a:pt x="3670" y="14324"/>
                        <a:pt x="3172" y="18684"/>
                      </a:cubicBezTo>
                      <a:cubicBezTo>
                        <a:pt x="2549" y="25659"/>
                        <a:pt x="432" y="28773"/>
                        <a:pt x="58" y="35748"/>
                      </a:cubicBezTo>
                      <a:cubicBezTo>
                        <a:pt x="-315" y="42599"/>
                        <a:pt x="1179" y="48328"/>
                        <a:pt x="25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2" name="Freeform 7807">
                  <a:extLst>
                    <a:ext uri="{FF2B5EF4-FFF2-40B4-BE49-F238E27FC236}">
                      <a16:creationId xmlns:a16="http://schemas.microsoft.com/office/drawing/2014/main" id="{674A4D47-E611-979B-C991-A0206F5781A9}"/>
                    </a:ext>
                  </a:extLst>
                </p:cNvPr>
                <p:cNvSpPr/>
                <p:nvPr/>
              </p:nvSpPr>
              <p:spPr>
                <a:xfrm>
                  <a:off x="6226760" y="1976180"/>
                  <a:ext cx="26659" cy="26534"/>
                </a:xfrm>
                <a:custGeom>
                  <a:avLst/>
                  <a:gdLst>
                    <a:gd name="connsiteX0" fmla="*/ 2 w 26659"/>
                    <a:gd name="connsiteY0" fmla="*/ 13454 h 26534"/>
                    <a:gd name="connsiteX1" fmla="*/ 13080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3" y="6105"/>
                        <a:pt x="5732" y="126"/>
                        <a:pt x="13080" y="2"/>
                      </a:cubicBezTo>
                      <a:cubicBezTo>
                        <a:pt x="20429" y="-123"/>
                        <a:pt x="26533" y="5732"/>
                        <a:pt x="26657" y="13080"/>
                      </a:cubicBezTo>
                      <a:cubicBezTo>
                        <a:pt x="26782" y="20429"/>
                        <a:pt x="20928" y="26408"/>
                        <a:pt x="13579" y="26533"/>
                      </a:cubicBezTo>
                      <a:cubicBezTo>
                        <a:pt x="6230"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3" name="Freeform 7808">
                  <a:extLst>
                    <a:ext uri="{FF2B5EF4-FFF2-40B4-BE49-F238E27FC236}">
                      <a16:creationId xmlns:a16="http://schemas.microsoft.com/office/drawing/2014/main" id="{4F7C0AC9-53ED-E92E-25D9-D419DD82296D}"/>
                    </a:ext>
                  </a:extLst>
                </p:cNvPr>
                <p:cNvSpPr/>
                <p:nvPr/>
              </p:nvSpPr>
              <p:spPr>
                <a:xfrm>
                  <a:off x="6232480" y="1874293"/>
                  <a:ext cx="4278" cy="52189"/>
                </a:xfrm>
                <a:custGeom>
                  <a:avLst/>
                  <a:gdLst>
                    <a:gd name="connsiteX0" fmla="*/ 2005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0"/>
                      </a:moveTo>
                      <a:cubicBezTo>
                        <a:pt x="-361" y="8096"/>
                        <a:pt x="-237" y="14449"/>
                        <a:pt x="386" y="18684"/>
                      </a:cubicBezTo>
                      <a:cubicBezTo>
                        <a:pt x="1258" y="25659"/>
                        <a:pt x="3500" y="28648"/>
                        <a:pt x="4123" y="35748"/>
                      </a:cubicBezTo>
                      <a:cubicBezTo>
                        <a:pt x="4745" y="42599"/>
                        <a:pt x="3376"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4" name="Freeform 7809">
                  <a:extLst>
                    <a:ext uri="{FF2B5EF4-FFF2-40B4-BE49-F238E27FC236}">
                      <a16:creationId xmlns:a16="http://schemas.microsoft.com/office/drawing/2014/main" id="{274E1DC0-A5E9-4D1F-3AB1-0B9DFDC04420}"/>
                    </a:ext>
                  </a:extLst>
                </p:cNvPr>
                <p:cNvSpPr/>
                <p:nvPr/>
              </p:nvSpPr>
              <p:spPr>
                <a:xfrm>
                  <a:off x="6240606" y="1869187"/>
                  <a:ext cx="3403" cy="52065"/>
                </a:xfrm>
                <a:custGeom>
                  <a:avLst/>
                  <a:gdLst>
                    <a:gd name="connsiteX0" fmla="*/ 2473 w 3403"/>
                    <a:gd name="connsiteY0" fmla="*/ 52065 h 52065"/>
                    <a:gd name="connsiteX1" fmla="*/ 231 w 3403"/>
                    <a:gd name="connsiteY1" fmla="*/ 33381 h 52065"/>
                    <a:gd name="connsiteX2" fmla="*/ 3345 w 3403"/>
                    <a:gd name="connsiteY2" fmla="*/ 16317 h 52065"/>
                    <a:gd name="connsiteX3" fmla="*/ 854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52065"/>
                      </a:moveTo>
                      <a:cubicBezTo>
                        <a:pt x="-143" y="44093"/>
                        <a:pt x="-267" y="37741"/>
                        <a:pt x="231" y="33381"/>
                      </a:cubicBezTo>
                      <a:cubicBezTo>
                        <a:pt x="854" y="26406"/>
                        <a:pt x="2971" y="23292"/>
                        <a:pt x="3345" y="16317"/>
                      </a:cubicBezTo>
                      <a:cubicBezTo>
                        <a:pt x="3719" y="9466"/>
                        <a:pt x="2224" y="3737"/>
                        <a:pt x="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65" name="Freeform 7810">
                  <a:extLst>
                    <a:ext uri="{FF2B5EF4-FFF2-40B4-BE49-F238E27FC236}">
                      <a16:creationId xmlns:a16="http://schemas.microsoft.com/office/drawing/2014/main" id="{FF7DE8B9-FB12-4FDB-1289-144008A21914}"/>
                    </a:ext>
                  </a:extLst>
                </p:cNvPr>
                <p:cNvSpPr/>
                <p:nvPr/>
              </p:nvSpPr>
              <p:spPr>
                <a:xfrm>
                  <a:off x="6224892" y="1853864"/>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454" y="26533"/>
                      </a:cubicBezTo>
                      <a:cubicBezTo>
                        <a:pt x="6105" y="26657"/>
                        <a:pt x="126" y="20803"/>
                        <a:pt x="2" y="13454"/>
                      </a:cubicBezTo>
                      <a:cubicBezTo>
                        <a:pt x="-123" y="6105"/>
                        <a:pt x="5732" y="126"/>
                        <a:pt x="12956" y="2"/>
                      </a:cubicBezTo>
                      <a:cubicBezTo>
                        <a:pt x="20180" y="-123"/>
                        <a:pt x="26159" y="5856"/>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3" name="Graphic 2987">
                <a:extLst>
                  <a:ext uri="{FF2B5EF4-FFF2-40B4-BE49-F238E27FC236}">
                    <a16:creationId xmlns:a16="http://schemas.microsoft.com/office/drawing/2014/main" id="{157812CD-831D-03EB-1E68-97CE01544DB2}"/>
                  </a:ext>
                </a:extLst>
              </p:cNvPr>
              <p:cNvGrpSpPr/>
              <p:nvPr/>
            </p:nvGrpSpPr>
            <p:grpSpPr>
              <a:xfrm>
                <a:off x="6195372" y="1854238"/>
                <a:ext cx="28278" cy="148850"/>
                <a:chOff x="6195372" y="1854238"/>
                <a:chExt cx="28278" cy="148850"/>
              </a:xfrm>
              <a:grpFill/>
            </p:grpSpPr>
            <p:sp>
              <p:nvSpPr>
                <p:cNvPr id="6354" name="Freeform 7812">
                  <a:extLst>
                    <a:ext uri="{FF2B5EF4-FFF2-40B4-BE49-F238E27FC236}">
                      <a16:creationId xmlns:a16="http://schemas.microsoft.com/office/drawing/2014/main" id="{7E99D601-7CD8-97E4-C35D-B9E817C9266D}"/>
                    </a:ext>
                  </a:extLst>
                </p:cNvPr>
                <p:cNvSpPr/>
                <p:nvPr/>
              </p:nvSpPr>
              <p:spPr>
                <a:xfrm>
                  <a:off x="6211784" y="1930593"/>
                  <a:ext cx="4187" cy="52189"/>
                </a:xfrm>
                <a:custGeom>
                  <a:avLst/>
                  <a:gdLst>
                    <a:gd name="connsiteX0" fmla="*/ 2149 w 4187"/>
                    <a:gd name="connsiteY0" fmla="*/ 52190 h 52189"/>
                    <a:gd name="connsiteX1" fmla="*/ 3892 w 4187"/>
                    <a:gd name="connsiteY1" fmla="*/ 33506 h 52189"/>
                    <a:gd name="connsiteX2" fmla="*/ 156 w 4187"/>
                    <a:gd name="connsiteY2" fmla="*/ 16442 h 52189"/>
                    <a:gd name="connsiteX3" fmla="*/ 2024 w 4187"/>
                    <a:gd name="connsiteY3" fmla="*/ 0 h 52189"/>
                  </a:gdLst>
                  <a:ahLst/>
                  <a:cxnLst>
                    <a:cxn ang="0">
                      <a:pos x="connsiteX0" y="connsiteY0"/>
                    </a:cxn>
                    <a:cxn ang="0">
                      <a:pos x="connsiteX1" y="connsiteY1"/>
                    </a:cxn>
                    <a:cxn ang="0">
                      <a:pos x="connsiteX2" y="connsiteY2"/>
                    </a:cxn>
                    <a:cxn ang="0">
                      <a:pos x="connsiteX3" y="connsiteY3"/>
                    </a:cxn>
                  </a:cxnLst>
                  <a:rect l="l" t="t" r="r" b="b"/>
                  <a:pathLst>
                    <a:path w="4187" h="52189">
                      <a:moveTo>
                        <a:pt x="2149" y="52190"/>
                      </a:moveTo>
                      <a:cubicBezTo>
                        <a:pt x="4515" y="44093"/>
                        <a:pt x="4391" y="37741"/>
                        <a:pt x="3892" y="33506"/>
                      </a:cubicBezTo>
                      <a:cubicBezTo>
                        <a:pt x="3021" y="26531"/>
                        <a:pt x="778" y="23541"/>
                        <a:pt x="156" y="16442"/>
                      </a:cubicBezTo>
                      <a:cubicBezTo>
                        <a:pt x="-467" y="9591"/>
                        <a:pt x="903" y="3861"/>
                        <a:pt x="20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5" name="Freeform 7813">
                  <a:extLst>
                    <a:ext uri="{FF2B5EF4-FFF2-40B4-BE49-F238E27FC236}">
                      <a16:creationId xmlns:a16="http://schemas.microsoft.com/office/drawing/2014/main" id="{C0A3D446-F74A-1E3F-5261-86831A1CBAE6}"/>
                    </a:ext>
                  </a:extLst>
                </p:cNvPr>
                <p:cNvSpPr/>
                <p:nvPr/>
              </p:nvSpPr>
              <p:spPr>
                <a:xfrm>
                  <a:off x="6204408" y="1935700"/>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1" y="7972"/>
                        <a:pt x="3671" y="14324"/>
                        <a:pt x="3297" y="18684"/>
                      </a:cubicBezTo>
                      <a:cubicBezTo>
                        <a:pt x="2674" y="25659"/>
                        <a:pt x="557"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6" name="Freeform 7814">
                  <a:extLst>
                    <a:ext uri="{FF2B5EF4-FFF2-40B4-BE49-F238E27FC236}">
                      <a16:creationId xmlns:a16="http://schemas.microsoft.com/office/drawing/2014/main" id="{68712AE4-3A65-B394-2CC3-A934B0C6633A}"/>
                    </a:ext>
                  </a:extLst>
                </p:cNvPr>
                <p:cNvSpPr/>
                <p:nvPr/>
              </p:nvSpPr>
              <p:spPr>
                <a:xfrm>
                  <a:off x="6196991" y="1976553"/>
                  <a:ext cx="26659" cy="26534"/>
                </a:xfrm>
                <a:custGeom>
                  <a:avLst/>
                  <a:gdLst>
                    <a:gd name="connsiteX0" fmla="*/ 2 w 26659"/>
                    <a:gd name="connsiteY0" fmla="*/ 13454 h 26534"/>
                    <a:gd name="connsiteX1" fmla="*/ 13081 w 26659"/>
                    <a:gd name="connsiteY1" fmla="*/ 2 h 26534"/>
                    <a:gd name="connsiteX2" fmla="*/ 26657 w 26659"/>
                    <a:gd name="connsiteY2" fmla="*/ 13080 h 26534"/>
                    <a:gd name="connsiteX3" fmla="*/ 13579 w 26659"/>
                    <a:gd name="connsiteY3" fmla="*/ 26533 h 26534"/>
                    <a:gd name="connsiteX4" fmla="*/ 2 w 26659"/>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454"/>
                      </a:moveTo>
                      <a:cubicBezTo>
                        <a:pt x="-122" y="6105"/>
                        <a:pt x="5732" y="127"/>
                        <a:pt x="13081" y="2"/>
                      </a:cubicBezTo>
                      <a:cubicBezTo>
                        <a:pt x="20430" y="-123"/>
                        <a:pt x="26533" y="5732"/>
                        <a:pt x="26657" y="13080"/>
                      </a:cubicBezTo>
                      <a:cubicBezTo>
                        <a:pt x="26782" y="20429"/>
                        <a:pt x="20928" y="26408"/>
                        <a:pt x="13579" y="26533"/>
                      </a:cubicBezTo>
                      <a:cubicBezTo>
                        <a:pt x="6106" y="26657"/>
                        <a:pt x="127"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7" name="Freeform 7815">
                  <a:extLst>
                    <a:ext uri="{FF2B5EF4-FFF2-40B4-BE49-F238E27FC236}">
                      <a16:creationId xmlns:a16="http://schemas.microsoft.com/office/drawing/2014/main" id="{B2CD928F-4B3D-FA0B-4243-DBF915E954A9}"/>
                    </a:ext>
                  </a:extLst>
                </p:cNvPr>
                <p:cNvSpPr/>
                <p:nvPr/>
              </p:nvSpPr>
              <p:spPr>
                <a:xfrm>
                  <a:off x="6202926" y="1874667"/>
                  <a:ext cx="4063" cy="52189"/>
                </a:xfrm>
                <a:custGeom>
                  <a:avLst/>
                  <a:gdLst>
                    <a:gd name="connsiteX0" fmla="*/ 2039 w 4063"/>
                    <a:gd name="connsiteY0" fmla="*/ 0 h 52189"/>
                    <a:gd name="connsiteX1" fmla="*/ 295 w 4063"/>
                    <a:gd name="connsiteY1" fmla="*/ 18684 h 52189"/>
                    <a:gd name="connsiteX2" fmla="*/ 3907 w 4063"/>
                    <a:gd name="connsiteY2" fmla="*/ 35748 h 52189"/>
                    <a:gd name="connsiteX3" fmla="*/ 2039 w 406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0"/>
                      </a:moveTo>
                      <a:cubicBezTo>
                        <a:pt x="-327" y="8096"/>
                        <a:pt x="-203" y="14449"/>
                        <a:pt x="295" y="18684"/>
                      </a:cubicBezTo>
                      <a:cubicBezTo>
                        <a:pt x="1167" y="25659"/>
                        <a:pt x="3285" y="28648"/>
                        <a:pt x="3907" y="35748"/>
                      </a:cubicBezTo>
                      <a:cubicBezTo>
                        <a:pt x="4530" y="42599"/>
                        <a:pt x="3160" y="48328"/>
                        <a:pt x="203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8" name="Freeform 7816">
                  <a:extLst>
                    <a:ext uri="{FF2B5EF4-FFF2-40B4-BE49-F238E27FC236}">
                      <a16:creationId xmlns:a16="http://schemas.microsoft.com/office/drawing/2014/main" id="{ED9E4588-1CFF-D0DF-2020-EF2A4AC57306}"/>
                    </a:ext>
                  </a:extLst>
                </p:cNvPr>
                <p:cNvSpPr/>
                <p:nvPr/>
              </p:nvSpPr>
              <p:spPr>
                <a:xfrm>
                  <a:off x="6211016" y="1869560"/>
                  <a:ext cx="3349" cy="52065"/>
                </a:xfrm>
                <a:custGeom>
                  <a:avLst/>
                  <a:gdLst>
                    <a:gd name="connsiteX0" fmla="*/ 2419 w 3349"/>
                    <a:gd name="connsiteY0" fmla="*/ 52065 h 52065"/>
                    <a:gd name="connsiteX1" fmla="*/ 177 w 3349"/>
                    <a:gd name="connsiteY1" fmla="*/ 33381 h 52065"/>
                    <a:gd name="connsiteX2" fmla="*/ 3291 w 3349"/>
                    <a:gd name="connsiteY2" fmla="*/ 16317 h 52065"/>
                    <a:gd name="connsiteX3" fmla="*/ 924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52065"/>
                      </a:moveTo>
                      <a:cubicBezTo>
                        <a:pt x="-197" y="44093"/>
                        <a:pt x="-197" y="37741"/>
                        <a:pt x="177" y="33381"/>
                      </a:cubicBezTo>
                      <a:cubicBezTo>
                        <a:pt x="800" y="26406"/>
                        <a:pt x="2917" y="23292"/>
                        <a:pt x="3291" y="16317"/>
                      </a:cubicBezTo>
                      <a:cubicBezTo>
                        <a:pt x="3664" y="9466"/>
                        <a:pt x="2170" y="3737"/>
                        <a:pt x="9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9" name="Freeform 7817">
                  <a:extLst>
                    <a:ext uri="{FF2B5EF4-FFF2-40B4-BE49-F238E27FC236}">
                      <a16:creationId xmlns:a16="http://schemas.microsoft.com/office/drawing/2014/main" id="{E4CA49BB-97CE-FF8D-4AC6-51B69377862E}"/>
                    </a:ext>
                  </a:extLst>
                </p:cNvPr>
                <p:cNvSpPr/>
                <p:nvPr/>
              </p:nvSpPr>
              <p:spPr>
                <a:xfrm>
                  <a:off x="6195372" y="1854238"/>
                  <a:ext cx="26410" cy="26534"/>
                </a:xfrm>
                <a:custGeom>
                  <a:avLst/>
                  <a:gdLst>
                    <a:gd name="connsiteX0" fmla="*/ 26408 w 26410"/>
                    <a:gd name="connsiteY0" fmla="*/ 13080 h 26534"/>
                    <a:gd name="connsiteX1" fmla="*/ 13454 w 26410"/>
                    <a:gd name="connsiteY1" fmla="*/ 26533 h 26534"/>
                    <a:gd name="connsiteX2" fmla="*/ 2 w 26410"/>
                    <a:gd name="connsiteY2" fmla="*/ 13454 h 26534"/>
                    <a:gd name="connsiteX3" fmla="*/ 12956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2" y="20429"/>
                        <a:pt x="20678" y="26408"/>
                        <a:pt x="13454" y="26533"/>
                      </a:cubicBezTo>
                      <a:cubicBezTo>
                        <a:pt x="6230" y="26657"/>
                        <a:pt x="126" y="20803"/>
                        <a:pt x="2" y="13454"/>
                      </a:cubicBezTo>
                      <a:cubicBezTo>
                        <a:pt x="-123" y="6105"/>
                        <a:pt x="5732" y="126"/>
                        <a:pt x="12956" y="2"/>
                      </a:cubicBezTo>
                      <a:cubicBezTo>
                        <a:pt x="20305" y="-123"/>
                        <a:pt x="26283"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4" name="Graphic 2987">
                <a:extLst>
                  <a:ext uri="{FF2B5EF4-FFF2-40B4-BE49-F238E27FC236}">
                    <a16:creationId xmlns:a16="http://schemas.microsoft.com/office/drawing/2014/main" id="{2886D6AC-E82B-002E-579E-6242123BF57B}"/>
                  </a:ext>
                </a:extLst>
              </p:cNvPr>
              <p:cNvGrpSpPr/>
              <p:nvPr/>
            </p:nvGrpSpPr>
            <p:grpSpPr>
              <a:xfrm>
                <a:off x="6165852" y="1854611"/>
                <a:ext cx="28029" cy="148850"/>
                <a:chOff x="6165852" y="1854611"/>
                <a:chExt cx="28029" cy="148850"/>
              </a:xfrm>
              <a:grpFill/>
            </p:grpSpPr>
            <p:sp>
              <p:nvSpPr>
                <p:cNvPr id="6348" name="Freeform 7819">
                  <a:extLst>
                    <a:ext uri="{FF2B5EF4-FFF2-40B4-BE49-F238E27FC236}">
                      <a16:creationId xmlns:a16="http://schemas.microsoft.com/office/drawing/2014/main" id="{827026AA-F251-C449-C4C1-F23F0E0FD73B}"/>
                    </a:ext>
                  </a:extLst>
                </p:cNvPr>
                <p:cNvSpPr/>
                <p:nvPr/>
              </p:nvSpPr>
              <p:spPr>
                <a:xfrm>
                  <a:off x="6182015" y="1930967"/>
                  <a:ext cx="4062" cy="52189"/>
                </a:xfrm>
                <a:custGeom>
                  <a:avLst/>
                  <a:gdLst>
                    <a:gd name="connsiteX0" fmla="*/ 2024 w 4062"/>
                    <a:gd name="connsiteY0" fmla="*/ 52190 h 52189"/>
                    <a:gd name="connsiteX1" fmla="*/ 3767 w 4062"/>
                    <a:gd name="connsiteY1" fmla="*/ 33506 h 52189"/>
                    <a:gd name="connsiteX2" fmla="*/ 155 w 4062"/>
                    <a:gd name="connsiteY2" fmla="*/ 16442 h 52189"/>
                    <a:gd name="connsiteX3" fmla="*/ 2148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24" y="52190"/>
                      </a:moveTo>
                      <a:cubicBezTo>
                        <a:pt x="4390" y="44093"/>
                        <a:pt x="4266"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9" name="Freeform 7820">
                  <a:extLst>
                    <a:ext uri="{FF2B5EF4-FFF2-40B4-BE49-F238E27FC236}">
                      <a16:creationId xmlns:a16="http://schemas.microsoft.com/office/drawing/2014/main" id="{986116B1-1696-216B-566E-064019EF2094}"/>
                    </a:ext>
                  </a:extLst>
                </p:cNvPr>
                <p:cNvSpPr/>
                <p:nvPr/>
              </p:nvSpPr>
              <p:spPr>
                <a:xfrm>
                  <a:off x="6174639" y="1936074"/>
                  <a:ext cx="3473" cy="52065"/>
                </a:xfrm>
                <a:custGeom>
                  <a:avLst/>
                  <a:gdLst>
                    <a:gd name="connsiteX0" fmla="*/ 1055 w 3473"/>
                    <a:gd name="connsiteY0" fmla="*/ 0 h 52065"/>
                    <a:gd name="connsiteX1" fmla="*/ 3297 w 3473"/>
                    <a:gd name="connsiteY1" fmla="*/ 18684 h 52065"/>
                    <a:gd name="connsiteX2" fmla="*/ 58 w 3473"/>
                    <a:gd name="connsiteY2" fmla="*/ 35748 h 52065"/>
                    <a:gd name="connsiteX3" fmla="*/ 2425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0"/>
                      </a:moveTo>
                      <a:cubicBezTo>
                        <a:pt x="3670" y="7972"/>
                        <a:pt x="3670" y="14324"/>
                        <a:pt x="3297" y="18684"/>
                      </a:cubicBezTo>
                      <a:cubicBezTo>
                        <a:pt x="2549" y="25659"/>
                        <a:pt x="556" y="28773"/>
                        <a:pt x="58" y="35748"/>
                      </a:cubicBezTo>
                      <a:cubicBezTo>
                        <a:pt x="-315" y="42599"/>
                        <a:pt x="1179"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0" name="Freeform 7821">
                  <a:extLst>
                    <a:ext uri="{FF2B5EF4-FFF2-40B4-BE49-F238E27FC236}">
                      <a16:creationId xmlns:a16="http://schemas.microsoft.com/office/drawing/2014/main" id="{2905E8A3-C127-E06B-7AE5-06BA27A6FF51}"/>
                    </a:ext>
                  </a:extLst>
                </p:cNvPr>
                <p:cNvSpPr/>
                <p:nvPr/>
              </p:nvSpPr>
              <p:spPr>
                <a:xfrm>
                  <a:off x="6167222" y="1976927"/>
                  <a:ext cx="26658" cy="26534"/>
                </a:xfrm>
                <a:custGeom>
                  <a:avLst/>
                  <a:gdLst>
                    <a:gd name="connsiteX0" fmla="*/ 2 w 26658"/>
                    <a:gd name="connsiteY0" fmla="*/ 13454 h 26534"/>
                    <a:gd name="connsiteX1" fmla="*/ 13205 w 26658"/>
                    <a:gd name="connsiteY1" fmla="*/ 2 h 26534"/>
                    <a:gd name="connsiteX2" fmla="*/ 26657 w 26658"/>
                    <a:gd name="connsiteY2" fmla="*/ 13081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7"/>
                        <a:pt x="13205" y="2"/>
                      </a:cubicBezTo>
                      <a:cubicBezTo>
                        <a:pt x="20554" y="-123"/>
                        <a:pt x="26657" y="5732"/>
                        <a:pt x="26657" y="13081"/>
                      </a:cubicBezTo>
                      <a:cubicBezTo>
                        <a:pt x="26782" y="20429"/>
                        <a:pt x="20803" y="26408"/>
                        <a:pt x="13454" y="26533"/>
                      </a:cubicBezTo>
                      <a:cubicBezTo>
                        <a:pt x="6105" y="26657"/>
                        <a:pt x="2"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1" name="Freeform 7822">
                  <a:extLst>
                    <a:ext uri="{FF2B5EF4-FFF2-40B4-BE49-F238E27FC236}">
                      <a16:creationId xmlns:a16="http://schemas.microsoft.com/office/drawing/2014/main" id="{FF97A8B8-E9EC-E4C5-0998-6B17D5EF1594}"/>
                    </a:ext>
                  </a:extLst>
                </p:cNvPr>
                <p:cNvSpPr/>
                <p:nvPr/>
              </p:nvSpPr>
              <p:spPr>
                <a:xfrm>
                  <a:off x="6173405" y="1874916"/>
                  <a:ext cx="4062" cy="52189"/>
                </a:xfrm>
                <a:custGeom>
                  <a:avLst/>
                  <a:gdLst>
                    <a:gd name="connsiteX0" fmla="*/ 2039 w 4062"/>
                    <a:gd name="connsiteY0" fmla="*/ 0 h 52189"/>
                    <a:gd name="connsiteX1" fmla="*/ 295 w 4062"/>
                    <a:gd name="connsiteY1" fmla="*/ 18684 h 52189"/>
                    <a:gd name="connsiteX2" fmla="*/ 3908 w 4062"/>
                    <a:gd name="connsiteY2" fmla="*/ 35748 h 52189"/>
                    <a:gd name="connsiteX3" fmla="*/ 1915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0"/>
                      </a:moveTo>
                      <a:cubicBezTo>
                        <a:pt x="-327" y="8096"/>
                        <a:pt x="-203" y="14449"/>
                        <a:pt x="295" y="18684"/>
                      </a:cubicBezTo>
                      <a:cubicBezTo>
                        <a:pt x="1167" y="25659"/>
                        <a:pt x="3285" y="28648"/>
                        <a:pt x="3908" y="35748"/>
                      </a:cubicBezTo>
                      <a:cubicBezTo>
                        <a:pt x="4530" y="42599"/>
                        <a:pt x="3160" y="48328"/>
                        <a:pt x="191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2" name="Freeform 7823">
                  <a:extLst>
                    <a:ext uri="{FF2B5EF4-FFF2-40B4-BE49-F238E27FC236}">
                      <a16:creationId xmlns:a16="http://schemas.microsoft.com/office/drawing/2014/main" id="{6861A338-42A0-D56C-142E-23C4A7522622}"/>
                    </a:ext>
                  </a:extLst>
                </p:cNvPr>
                <p:cNvSpPr/>
                <p:nvPr/>
              </p:nvSpPr>
              <p:spPr>
                <a:xfrm>
                  <a:off x="6181371" y="1869934"/>
                  <a:ext cx="3473" cy="52065"/>
                </a:xfrm>
                <a:custGeom>
                  <a:avLst/>
                  <a:gdLst>
                    <a:gd name="connsiteX0" fmla="*/ 2419 w 3473"/>
                    <a:gd name="connsiteY0" fmla="*/ 52065 h 52065"/>
                    <a:gd name="connsiteX1" fmla="*/ 177 w 3473"/>
                    <a:gd name="connsiteY1" fmla="*/ 33381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3"/>
                        <a:pt x="-197" y="37741"/>
                        <a:pt x="177" y="33381"/>
                      </a:cubicBezTo>
                      <a:cubicBezTo>
                        <a:pt x="924" y="26406"/>
                        <a:pt x="2917" y="23292"/>
                        <a:pt x="3415" y="16317"/>
                      </a:cubicBezTo>
                      <a:cubicBezTo>
                        <a:pt x="3789" y="9466"/>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53" name="Freeform 7824">
                  <a:extLst>
                    <a:ext uri="{FF2B5EF4-FFF2-40B4-BE49-F238E27FC236}">
                      <a16:creationId xmlns:a16="http://schemas.microsoft.com/office/drawing/2014/main" id="{71EC9E25-C9F4-8DA3-CFAD-3DBB3B4CADDB}"/>
                    </a:ext>
                  </a:extLst>
                </p:cNvPr>
                <p:cNvSpPr/>
                <p:nvPr/>
              </p:nvSpPr>
              <p:spPr>
                <a:xfrm>
                  <a:off x="6165852" y="1854611"/>
                  <a:ext cx="26410" cy="26534"/>
                </a:xfrm>
                <a:custGeom>
                  <a:avLst/>
                  <a:gdLst>
                    <a:gd name="connsiteX0" fmla="*/ 26408 w 26410"/>
                    <a:gd name="connsiteY0" fmla="*/ 13081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1"/>
                      </a:moveTo>
                      <a:cubicBezTo>
                        <a:pt x="26533" y="20429"/>
                        <a:pt x="20679" y="26408"/>
                        <a:pt x="13330" y="26533"/>
                      </a:cubicBezTo>
                      <a:cubicBezTo>
                        <a:pt x="5981" y="26657"/>
                        <a:pt x="2" y="20803"/>
                        <a:pt x="2" y="13454"/>
                      </a:cubicBezTo>
                      <a:cubicBezTo>
                        <a:pt x="-122" y="6105"/>
                        <a:pt x="5732" y="127"/>
                        <a:pt x="13081" y="2"/>
                      </a:cubicBezTo>
                      <a:cubicBezTo>
                        <a:pt x="20305" y="-123"/>
                        <a:pt x="26284" y="5732"/>
                        <a:pt x="26408"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5" name="Graphic 2987">
                <a:extLst>
                  <a:ext uri="{FF2B5EF4-FFF2-40B4-BE49-F238E27FC236}">
                    <a16:creationId xmlns:a16="http://schemas.microsoft.com/office/drawing/2014/main" id="{ECA33C3B-EBF3-D6F0-657C-1FC609BEED72}"/>
                  </a:ext>
                </a:extLst>
              </p:cNvPr>
              <p:cNvGrpSpPr/>
              <p:nvPr/>
            </p:nvGrpSpPr>
            <p:grpSpPr>
              <a:xfrm>
                <a:off x="6136331" y="1854985"/>
                <a:ext cx="27655" cy="148850"/>
                <a:chOff x="6136331" y="1854985"/>
                <a:chExt cx="27655" cy="148850"/>
              </a:xfrm>
              <a:grpFill/>
            </p:grpSpPr>
            <p:sp>
              <p:nvSpPr>
                <p:cNvPr id="6342" name="Freeform 7826">
                  <a:extLst>
                    <a:ext uri="{FF2B5EF4-FFF2-40B4-BE49-F238E27FC236}">
                      <a16:creationId xmlns:a16="http://schemas.microsoft.com/office/drawing/2014/main" id="{B2CEA25B-CF64-211F-5E2A-F2F621E60F8E}"/>
                    </a:ext>
                  </a:extLst>
                </p:cNvPr>
                <p:cNvSpPr/>
                <p:nvPr/>
              </p:nvSpPr>
              <p:spPr>
                <a:xfrm>
                  <a:off x="6152246" y="1931341"/>
                  <a:ext cx="4118" cy="52189"/>
                </a:xfrm>
                <a:custGeom>
                  <a:avLst/>
                  <a:gdLst>
                    <a:gd name="connsiteX0" fmla="*/ 2023 w 4118"/>
                    <a:gd name="connsiteY0" fmla="*/ 52190 h 52189"/>
                    <a:gd name="connsiteX1" fmla="*/ 3767 w 4118"/>
                    <a:gd name="connsiteY1" fmla="*/ 33506 h 52189"/>
                    <a:gd name="connsiteX2" fmla="*/ 155 w 4118"/>
                    <a:gd name="connsiteY2" fmla="*/ 16442 h 52189"/>
                    <a:gd name="connsiteX3" fmla="*/ 2148 w 4118"/>
                    <a:gd name="connsiteY3" fmla="*/ 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52190"/>
                      </a:moveTo>
                      <a:cubicBezTo>
                        <a:pt x="4390" y="44093"/>
                        <a:pt x="4390" y="37741"/>
                        <a:pt x="3767" y="33506"/>
                      </a:cubicBezTo>
                      <a:cubicBezTo>
                        <a:pt x="2895" y="26531"/>
                        <a:pt x="778" y="23541"/>
                        <a:pt x="155" y="16442"/>
                      </a:cubicBezTo>
                      <a:cubicBezTo>
                        <a:pt x="-467" y="9591"/>
                        <a:pt x="903" y="3861"/>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3" name="Freeform 7827">
                  <a:extLst>
                    <a:ext uri="{FF2B5EF4-FFF2-40B4-BE49-F238E27FC236}">
                      <a16:creationId xmlns:a16="http://schemas.microsoft.com/office/drawing/2014/main" id="{BFDD076A-0F3F-A08F-24AC-3114FADCDCEE}"/>
                    </a:ext>
                  </a:extLst>
                </p:cNvPr>
                <p:cNvSpPr/>
                <p:nvPr/>
              </p:nvSpPr>
              <p:spPr>
                <a:xfrm>
                  <a:off x="6144866" y="1936448"/>
                  <a:ext cx="3557" cy="52065"/>
                </a:xfrm>
                <a:custGeom>
                  <a:avLst/>
                  <a:gdLst>
                    <a:gd name="connsiteX0" fmla="*/ 1183 w 3557"/>
                    <a:gd name="connsiteY0" fmla="*/ 0 h 52065"/>
                    <a:gd name="connsiteX1" fmla="*/ 3301 w 3557"/>
                    <a:gd name="connsiteY1" fmla="*/ 18684 h 52065"/>
                    <a:gd name="connsiteX2" fmla="*/ 62 w 3557"/>
                    <a:gd name="connsiteY2" fmla="*/ 35748 h 52065"/>
                    <a:gd name="connsiteX3" fmla="*/ 24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0"/>
                      </a:moveTo>
                      <a:cubicBezTo>
                        <a:pt x="3799" y="7972"/>
                        <a:pt x="3799" y="14324"/>
                        <a:pt x="3301" y="18684"/>
                      </a:cubicBezTo>
                      <a:cubicBezTo>
                        <a:pt x="2554" y="25659"/>
                        <a:pt x="436" y="28773"/>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4" name="Freeform 7828">
                  <a:extLst>
                    <a:ext uri="{FF2B5EF4-FFF2-40B4-BE49-F238E27FC236}">
                      <a16:creationId xmlns:a16="http://schemas.microsoft.com/office/drawing/2014/main" id="{E72A52A3-958D-1A98-9BA2-6A4F7112A103}"/>
                    </a:ext>
                  </a:extLst>
                </p:cNvPr>
                <p:cNvSpPr/>
                <p:nvPr/>
              </p:nvSpPr>
              <p:spPr>
                <a:xfrm>
                  <a:off x="6137328" y="1977301"/>
                  <a:ext cx="26658" cy="26534"/>
                </a:xfrm>
                <a:custGeom>
                  <a:avLst/>
                  <a:gdLst>
                    <a:gd name="connsiteX0" fmla="*/ 2 w 26658"/>
                    <a:gd name="connsiteY0" fmla="*/ 13454 h 26534"/>
                    <a:gd name="connsiteX1" fmla="*/ 13205 w 26658"/>
                    <a:gd name="connsiteY1" fmla="*/ 2 h 26534"/>
                    <a:gd name="connsiteX2" fmla="*/ 26657 w 26658"/>
                    <a:gd name="connsiteY2" fmla="*/ 13080 h 26534"/>
                    <a:gd name="connsiteX3" fmla="*/ 13454 w 26658"/>
                    <a:gd name="connsiteY3" fmla="*/ 26533 h 26534"/>
                    <a:gd name="connsiteX4" fmla="*/ 2 w 2665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4">
                      <a:moveTo>
                        <a:pt x="2" y="13454"/>
                      </a:moveTo>
                      <a:cubicBezTo>
                        <a:pt x="-123" y="6105"/>
                        <a:pt x="5856" y="126"/>
                        <a:pt x="13205" y="2"/>
                      </a:cubicBezTo>
                      <a:cubicBezTo>
                        <a:pt x="20554" y="-123"/>
                        <a:pt x="26532" y="5732"/>
                        <a:pt x="26657" y="13080"/>
                      </a:cubicBezTo>
                      <a:cubicBezTo>
                        <a:pt x="26782" y="20429"/>
                        <a:pt x="20803" y="26408"/>
                        <a:pt x="13454" y="26533"/>
                      </a:cubicBezTo>
                      <a:cubicBezTo>
                        <a:pt x="6105" y="26657"/>
                        <a:pt x="126" y="20803"/>
                        <a:pt x="2"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5" name="Freeform 7829">
                  <a:extLst>
                    <a:ext uri="{FF2B5EF4-FFF2-40B4-BE49-F238E27FC236}">
                      <a16:creationId xmlns:a16="http://schemas.microsoft.com/office/drawing/2014/main" id="{2871EEFD-5977-F999-4832-5636EA7C82D0}"/>
                    </a:ext>
                  </a:extLst>
                </p:cNvPr>
                <p:cNvSpPr/>
                <p:nvPr/>
              </p:nvSpPr>
              <p:spPr>
                <a:xfrm>
                  <a:off x="6143830" y="1875290"/>
                  <a:ext cx="4075" cy="52189"/>
                </a:xfrm>
                <a:custGeom>
                  <a:avLst/>
                  <a:gdLst>
                    <a:gd name="connsiteX0" fmla="*/ 2095 w 4075"/>
                    <a:gd name="connsiteY0" fmla="*/ 0 h 52189"/>
                    <a:gd name="connsiteX1" fmla="*/ 351 w 4075"/>
                    <a:gd name="connsiteY1" fmla="*/ 18684 h 52189"/>
                    <a:gd name="connsiteX2" fmla="*/ 3963 w 4075"/>
                    <a:gd name="connsiteY2" fmla="*/ 35748 h 52189"/>
                    <a:gd name="connsiteX3" fmla="*/ 1970 w 407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75" h="52189">
                      <a:moveTo>
                        <a:pt x="2095" y="0"/>
                      </a:moveTo>
                      <a:cubicBezTo>
                        <a:pt x="-272" y="8096"/>
                        <a:pt x="-272" y="14449"/>
                        <a:pt x="351" y="18684"/>
                      </a:cubicBezTo>
                      <a:cubicBezTo>
                        <a:pt x="1223" y="25659"/>
                        <a:pt x="3340" y="28648"/>
                        <a:pt x="3963" y="35748"/>
                      </a:cubicBezTo>
                      <a:cubicBezTo>
                        <a:pt x="4461" y="42599"/>
                        <a:pt x="3216" y="48328"/>
                        <a:pt x="197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6" name="Freeform 7830">
                  <a:extLst>
                    <a:ext uri="{FF2B5EF4-FFF2-40B4-BE49-F238E27FC236}">
                      <a16:creationId xmlns:a16="http://schemas.microsoft.com/office/drawing/2014/main" id="{CCE19095-EE51-786F-59A8-ABFD7EBC033F}"/>
                    </a:ext>
                  </a:extLst>
                </p:cNvPr>
                <p:cNvSpPr/>
                <p:nvPr/>
              </p:nvSpPr>
              <p:spPr>
                <a:xfrm>
                  <a:off x="6151771" y="1870308"/>
                  <a:ext cx="3557" cy="52065"/>
                </a:xfrm>
                <a:custGeom>
                  <a:avLst/>
                  <a:gdLst>
                    <a:gd name="connsiteX0" fmla="*/ 2374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4" y="52065"/>
                      </a:moveTo>
                      <a:cubicBezTo>
                        <a:pt x="-242" y="44093"/>
                        <a:pt x="-242" y="37741"/>
                        <a:pt x="257" y="33381"/>
                      </a:cubicBezTo>
                      <a:cubicBezTo>
                        <a:pt x="1004" y="26406"/>
                        <a:pt x="3122" y="23292"/>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7" name="Freeform 7831">
                  <a:extLst>
                    <a:ext uri="{FF2B5EF4-FFF2-40B4-BE49-F238E27FC236}">
                      <a16:creationId xmlns:a16="http://schemas.microsoft.com/office/drawing/2014/main" id="{2B6BE598-1B37-5661-429C-52CBFAEC3325}"/>
                    </a:ext>
                  </a:extLst>
                </p:cNvPr>
                <p:cNvSpPr/>
                <p:nvPr/>
              </p:nvSpPr>
              <p:spPr>
                <a:xfrm>
                  <a:off x="6136331" y="1854985"/>
                  <a:ext cx="26410" cy="26534"/>
                </a:xfrm>
                <a:custGeom>
                  <a:avLst/>
                  <a:gdLst>
                    <a:gd name="connsiteX0" fmla="*/ 26408 w 26410"/>
                    <a:gd name="connsiteY0" fmla="*/ 13080 h 26534"/>
                    <a:gd name="connsiteX1" fmla="*/ 13330 w 26410"/>
                    <a:gd name="connsiteY1" fmla="*/ 26533 h 26534"/>
                    <a:gd name="connsiteX2" fmla="*/ 2 w 26410"/>
                    <a:gd name="connsiteY2" fmla="*/ 13454 h 26534"/>
                    <a:gd name="connsiteX3" fmla="*/ 13081 w 26410"/>
                    <a:gd name="connsiteY3" fmla="*/ 2 h 26534"/>
                    <a:gd name="connsiteX4" fmla="*/ 26408 w 26410"/>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080"/>
                      </a:moveTo>
                      <a:cubicBezTo>
                        <a:pt x="26533" y="20429"/>
                        <a:pt x="20679" y="26408"/>
                        <a:pt x="13330" y="26533"/>
                      </a:cubicBezTo>
                      <a:cubicBezTo>
                        <a:pt x="5981" y="26657"/>
                        <a:pt x="2" y="20803"/>
                        <a:pt x="2" y="13454"/>
                      </a:cubicBezTo>
                      <a:cubicBezTo>
                        <a:pt x="-122" y="6105"/>
                        <a:pt x="5731" y="126"/>
                        <a:pt x="13081" y="2"/>
                      </a:cubicBezTo>
                      <a:cubicBezTo>
                        <a:pt x="20305" y="-123"/>
                        <a:pt x="26284" y="5732"/>
                        <a:pt x="2640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6" name="Graphic 2987">
                <a:extLst>
                  <a:ext uri="{FF2B5EF4-FFF2-40B4-BE49-F238E27FC236}">
                    <a16:creationId xmlns:a16="http://schemas.microsoft.com/office/drawing/2014/main" id="{7CD3A3A2-B502-538F-98FB-ACE07F955879}"/>
                  </a:ext>
                </a:extLst>
              </p:cNvPr>
              <p:cNvGrpSpPr/>
              <p:nvPr/>
            </p:nvGrpSpPr>
            <p:grpSpPr>
              <a:xfrm>
                <a:off x="6106813" y="1855359"/>
                <a:ext cx="27404" cy="148850"/>
                <a:chOff x="6106813" y="1855359"/>
                <a:chExt cx="27404" cy="148850"/>
              </a:xfrm>
              <a:grpFill/>
            </p:grpSpPr>
            <p:sp>
              <p:nvSpPr>
                <p:cNvPr id="6336" name="Freeform 7833">
                  <a:extLst>
                    <a:ext uri="{FF2B5EF4-FFF2-40B4-BE49-F238E27FC236}">
                      <a16:creationId xmlns:a16="http://schemas.microsoft.com/office/drawing/2014/main" id="{4F2A143A-9F70-0D04-0D9E-9FB83EBE8703}"/>
                    </a:ext>
                  </a:extLst>
                </p:cNvPr>
                <p:cNvSpPr/>
                <p:nvPr/>
              </p:nvSpPr>
              <p:spPr>
                <a:xfrm>
                  <a:off x="6122651" y="1931590"/>
                  <a:ext cx="4008" cy="52189"/>
                </a:xfrm>
                <a:custGeom>
                  <a:avLst/>
                  <a:gdLst>
                    <a:gd name="connsiteX0" fmla="*/ 1849 w 4008"/>
                    <a:gd name="connsiteY0" fmla="*/ 52190 h 52189"/>
                    <a:gd name="connsiteX1" fmla="*/ 3718 w 4008"/>
                    <a:gd name="connsiteY1" fmla="*/ 33506 h 52189"/>
                    <a:gd name="connsiteX2" fmla="*/ 105 w 4008"/>
                    <a:gd name="connsiteY2" fmla="*/ 16442 h 52189"/>
                    <a:gd name="connsiteX3" fmla="*/ 2098 w 4008"/>
                    <a:gd name="connsiteY3" fmla="*/ 0 h 52189"/>
                  </a:gdLst>
                  <a:ahLst/>
                  <a:cxnLst>
                    <a:cxn ang="0">
                      <a:pos x="connsiteX0" y="connsiteY0"/>
                    </a:cxn>
                    <a:cxn ang="0">
                      <a:pos x="connsiteX1" y="connsiteY1"/>
                    </a:cxn>
                    <a:cxn ang="0">
                      <a:pos x="connsiteX2" y="connsiteY2"/>
                    </a:cxn>
                    <a:cxn ang="0">
                      <a:pos x="connsiteX3" y="connsiteY3"/>
                    </a:cxn>
                  </a:cxnLst>
                  <a:rect l="l" t="t" r="r" b="b"/>
                  <a:pathLst>
                    <a:path w="4008" h="52189">
                      <a:moveTo>
                        <a:pt x="1849" y="52190"/>
                      </a:moveTo>
                      <a:cubicBezTo>
                        <a:pt x="4340" y="44093"/>
                        <a:pt x="4216" y="37741"/>
                        <a:pt x="3718" y="33506"/>
                      </a:cubicBezTo>
                      <a:cubicBezTo>
                        <a:pt x="2846" y="26531"/>
                        <a:pt x="728" y="23541"/>
                        <a:pt x="105" y="16442"/>
                      </a:cubicBezTo>
                      <a:cubicBezTo>
                        <a:pt x="-393" y="9591"/>
                        <a:pt x="977" y="3861"/>
                        <a:pt x="20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7" name="Freeform 7834">
                  <a:extLst>
                    <a:ext uri="{FF2B5EF4-FFF2-40B4-BE49-F238E27FC236}">
                      <a16:creationId xmlns:a16="http://schemas.microsoft.com/office/drawing/2014/main" id="{82AD3C8E-AC10-2EAC-5EB4-3F47A4DD2DBB}"/>
                    </a:ext>
                  </a:extLst>
                </p:cNvPr>
                <p:cNvSpPr/>
                <p:nvPr/>
              </p:nvSpPr>
              <p:spPr>
                <a:xfrm>
                  <a:off x="6115060" y="1936821"/>
                  <a:ext cx="3695" cy="52065"/>
                </a:xfrm>
                <a:custGeom>
                  <a:avLst/>
                  <a:gdLst>
                    <a:gd name="connsiteX0" fmla="*/ 1344 w 3695"/>
                    <a:gd name="connsiteY0" fmla="*/ 0 h 52065"/>
                    <a:gd name="connsiteX1" fmla="*/ 3461 w 3695"/>
                    <a:gd name="connsiteY1" fmla="*/ 18684 h 52065"/>
                    <a:gd name="connsiteX2" fmla="*/ 98 w 3695"/>
                    <a:gd name="connsiteY2" fmla="*/ 35748 h 52065"/>
                    <a:gd name="connsiteX3" fmla="*/ 2340 w 369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0"/>
                      </a:moveTo>
                      <a:cubicBezTo>
                        <a:pt x="3835" y="7972"/>
                        <a:pt x="3960"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8" name="Freeform 7835">
                  <a:extLst>
                    <a:ext uri="{FF2B5EF4-FFF2-40B4-BE49-F238E27FC236}">
                      <a16:creationId xmlns:a16="http://schemas.microsoft.com/office/drawing/2014/main" id="{24BBB0DE-F3ED-0BCE-D5B1-FA2FA3D1FA59}"/>
                    </a:ext>
                  </a:extLst>
                </p:cNvPr>
                <p:cNvSpPr/>
                <p:nvPr/>
              </p:nvSpPr>
              <p:spPr>
                <a:xfrm>
                  <a:off x="6107561" y="1977674"/>
                  <a:ext cx="26657" cy="26534"/>
                </a:xfrm>
                <a:custGeom>
                  <a:avLst/>
                  <a:gdLst>
                    <a:gd name="connsiteX0" fmla="*/ 0 w 26657"/>
                    <a:gd name="connsiteY0" fmla="*/ 13454 h 26534"/>
                    <a:gd name="connsiteX1" fmla="*/ 13203 w 26657"/>
                    <a:gd name="connsiteY1" fmla="*/ 2 h 26534"/>
                    <a:gd name="connsiteX2" fmla="*/ 26656 w 26657"/>
                    <a:gd name="connsiteY2" fmla="*/ 13080 h 26534"/>
                    <a:gd name="connsiteX3" fmla="*/ 13452 w 26657"/>
                    <a:gd name="connsiteY3" fmla="*/ 26533 h 26534"/>
                    <a:gd name="connsiteX4" fmla="*/ 0 w 26657"/>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454"/>
                      </a:moveTo>
                      <a:cubicBezTo>
                        <a:pt x="0" y="6105"/>
                        <a:pt x="5854" y="127"/>
                        <a:pt x="13203" y="2"/>
                      </a:cubicBezTo>
                      <a:cubicBezTo>
                        <a:pt x="20552" y="-123"/>
                        <a:pt x="26531" y="5732"/>
                        <a:pt x="26656" y="13080"/>
                      </a:cubicBezTo>
                      <a:cubicBezTo>
                        <a:pt x="26780" y="20429"/>
                        <a:pt x="20801" y="26408"/>
                        <a:pt x="13452" y="26533"/>
                      </a:cubicBezTo>
                      <a:cubicBezTo>
                        <a:pt x="6103" y="26657"/>
                        <a:pt x="125" y="20803"/>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9" name="Freeform 7836">
                  <a:extLst>
                    <a:ext uri="{FF2B5EF4-FFF2-40B4-BE49-F238E27FC236}">
                      <a16:creationId xmlns:a16="http://schemas.microsoft.com/office/drawing/2014/main" id="{3D1BBA04-E231-CD31-2609-906A63D98EAA}"/>
                    </a:ext>
                  </a:extLst>
                </p:cNvPr>
                <p:cNvSpPr/>
                <p:nvPr/>
              </p:nvSpPr>
              <p:spPr>
                <a:xfrm>
                  <a:off x="6114272" y="1875664"/>
                  <a:ext cx="3857" cy="52189"/>
                </a:xfrm>
                <a:custGeom>
                  <a:avLst/>
                  <a:gdLst>
                    <a:gd name="connsiteX0" fmla="*/ 2132 w 3857"/>
                    <a:gd name="connsiteY0" fmla="*/ 0 h 52189"/>
                    <a:gd name="connsiteX1" fmla="*/ 264 w 3857"/>
                    <a:gd name="connsiteY1" fmla="*/ 18684 h 52189"/>
                    <a:gd name="connsiteX2" fmla="*/ 3752 w 3857"/>
                    <a:gd name="connsiteY2" fmla="*/ 35748 h 52189"/>
                    <a:gd name="connsiteX3" fmla="*/ 1759 w 385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7" h="52189">
                      <a:moveTo>
                        <a:pt x="2132" y="0"/>
                      </a:moveTo>
                      <a:cubicBezTo>
                        <a:pt x="-234" y="8096"/>
                        <a:pt x="-234" y="14449"/>
                        <a:pt x="264" y="18684"/>
                      </a:cubicBezTo>
                      <a:cubicBezTo>
                        <a:pt x="1136" y="25659"/>
                        <a:pt x="3254" y="28648"/>
                        <a:pt x="3752" y="35748"/>
                      </a:cubicBezTo>
                      <a:cubicBezTo>
                        <a:pt x="4250" y="42599"/>
                        <a:pt x="2880" y="48328"/>
                        <a:pt x="17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0" name="Freeform 7837">
                  <a:extLst>
                    <a:ext uri="{FF2B5EF4-FFF2-40B4-BE49-F238E27FC236}">
                      <a16:creationId xmlns:a16="http://schemas.microsoft.com/office/drawing/2014/main" id="{E2C19CD5-C4FE-97FA-FDB9-A7D6193F8C86}"/>
                    </a:ext>
                  </a:extLst>
                </p:cNvPr>
                <p:cNvSpPr/>
                <p:nvPr/>
              </p:nvSpPr>
              <p:spPr>
                <a:xfrm>
                  <a:off x="6122149" y="1870681"/>
                  <a:ext cx="3570" cy="52065"/>
                </a:xfrm>
                <a:custGeom>
                  <a:avLst/>
                  <a:gdLst>
                    <a:gd name="connsiteX0" fmla="*/ 2352 w 3570"/>
                    <a:gd name="connsiteY0" fmla="*/ 52065 h 52065"/>
                    <a:gd name="connsiteX1" fmla="*/ 234 w 3570"/>
                    <a:gd name="connsiteY1" fmla="*/ 33381 h 52065"/>
                    <a:gd name="connsiteX2" fmla="*/ 3473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52065"/>
                      </a:moveTo>
                      <a:cubicBezTo>
                        <a:pt x="-140" y="44093"/>
                        <a:pt x="-264" y="37741"/>
                        <a:pt x="234" y="33381"/>
                      </a:cubicBezTo>
                      <a:cubicBezTo>
                        <a:pt x="981" y="26406"/>
                        <a:pt x="3099" y="23292"/>
                        <a:pt x="3473" y="16317"/>
                      </a:cubicBezTo>
                      <a:cubicBezTo>
                        <a:pt x="3970" y="9466"/>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41" name="Freeform 7838">
                  <a:extLst>
                    <a:ext uri="{FF2B5EF4-FFF2-40B4-BE49-F238E27FC236}">
                      <a16:creationId xmlns:a16="http://schemas.microsoft.com/office/drawing/2014/main" id="{9022D8FF-F64C-691A-A1BA-A86F02543F7D}"/>
                    </a:ext>
                  </a:extLst>
                </p:cNvPr>
                <p:cNvSpPr/>
                <p:nvPr/>
              </p:nvSpPr>
              <p:spPr>
                <a:xfrm>
                  <a:off x="6106813" y="1855359"/>
                  <a:ext cx="26408" cy="26534"/>
                </a:xfrm>
                <a:custGeom>
                  <a:avLst/>
                  <a:gdLst>
                    <a:gd name="connsiteX0" fmla="*/ 26406 w 26408"/>
                    <a:gd name="connsiteY0" fmla="*/ 13080 h 26534"/>
                    <a:gd name="connsiteX1" fmla="*/ 13328 w 26408"/>
                    <a:gd name="connsiteY1" fmla="*/ 26533 h 26534"/>
                    <a:gd name="connsiteX2" fmla="*/ 0 w 26408"/>
                    <a:gd name="connsiteY2" fmla="*/ 13454 h 26534"/>
                    <a:gd name="connsiteX3" fmla="*/ 13078 w 26408"/>
                    <a:gd name="connsiteY3" fmla="*/ 2 h 26534"/>
                    <a:gd name="connsiteX4" fmla="*/ 26406 w 26408"/>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080"/>
                      </a:moveTo>
                      <a:cubicBezTo>
                        <a:pt x="26531" y="20429"/>
                        <a:pt x="20552" y="26408"/>
                        <a:pt x="13328" y="26533"/>
                      </a:cubicBezTo>
                      <a:cubicBezTo>
                        <a:pt x="6103" y="26657"/>
                        <a:pt x="125" y="20803"/>
                        <a:pt x="0" y="13454"/>
                      </a:cubicBezTo>
                      <a:cubicBezTo>
                        <a:pt x="0" y="6105"/>
                        <a:pt x="5854" y="126"/>
                        <a:pt x="13078" y="2"/>
                      </a:cubicBezTo>
                      <a:cubicBezTo>
                        <a:pt x="20428" y="-123"/>
                        <a:pt x="26282"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7" name="Graphic 2987">
                <a:extLst>
                  <a:ext uri="{FF2B5EF4-FFF2-40B4-BE49-F238E27FC236}">
                    <a16:creationId xmlns:a16="http://schemas.microsoft.com/office/drawing/2014/main" id="{6D8C83A5-B958-BA96-B0BA-A4A963AA25B0}"/>
                  </a:ext>
                </a:extLst>
              </p:cNvPr>
              <p:cNvGrpSpPr/>
              <p:nvPr/>
            </p:nvGrpSpPr>
            <p:grpSpPr>
              <a:xfrm>
                <a:off x="6077291" y="1855610"/>
                <a:ext cx="27281" cy="148972"/>
                <a:chOff x="6077291" y="1855610"/>
                <a:chExt cx="27281" cy="148972"/>
              </a:xfrm>
              <a:grpFill/>
            </p:grpSpPr>
            <p:sp>
              <p:nvSpPr>
                <p:cNvPr id="6330" name="Freeform 7840">
                  <a:extLst>
                    <a:ext uri="{FF2B5EF4-FFF2-40B4-BE49-F238E27FC236}">
                      <a16:creationId xmlns:a16="http://schemas.microsoft.com/office/drawing/2014/main" id="{A2634773-A3D5-93E0-5C98-D80BBFB144A6}"/>
                    </a:ext>
                  </a:extLst>
                </p:cNvPr>
                <p:cNvSpPr/>
                <p:nvPr/>
              </p:nvSpPr>
              <p:spPr>
                <a:xfrm>
                  <a:off x="6093007" y="1931964"/>
                  <a:ext cx="3883" cy="52189"/>
                </a:xfrm>
                <a:custGeom>
                  <a:avLst/>
                  <a:gdLst>
                    <a:gd name="connsiteX0" fmla="*/ 1724 w 3883"/>
                    <a:gd name="connsiteY0" fmla="*/ 52190 h 52189"/>
                    <a:gd name="connsiteX1" fmla="*/ 3592 w 3883"/>
                    <a:gd name="connsiteY1" fmla="*/ 33506 h 52189"/>
                    <a:gd name="connsiteX2" fmla="*/ 105 w 3883"/>
                    <a:gd name="connsiteY2" fmla="*/ 16442 h 52189"/>
                    <a:gd name="connsiteX3" fmla="*/ 2223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2" y="33506"/>
                      </a:cubicBezTo>
                      <a:cubicBezTo>
                        <a:pt x="2721" y="26531"/>
                        <a:pt x="603" y="23541"/>
                        <a:pt x="105" y="16442"/>
                      </a:cubicBezTo>
                      <a:cubicBezTo>
                        <a:pt x="-393" y="9591"/>
                        <a:pt x="977" y="3861"/>
                        <a:pt x="22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1" name="Freeform 7841">
                  <a:extLst>
                    <a:ext uri="{FF2B5EF4-FFF2-40B4-BE49-F238E27FC236}">
                      <a16:creationId xmlns:a16="http://schemas.microsoft.com/office/drawing/2014/main" id="{ED254E90-D397-F3CD-0FC3-380021198374}"/>
                    </a:ext>
                  </a:extLst>
                </p:cNvPr>
                <p:cNvSpPr/>
                <p:nvPr/>
              </p:nvSpPr>
              <p:spPr>
                <a:xfrm>
                  <a:off x="6085416" y="1937195"/>
                  <a:ext cx="3640" cy="52065"/>
                </a:xfrm>
                <a:custGeom>
                  <a:avLst/>
                  <a:gdLst>
                    <a:gd name="connsiteX0" fmla="*/ 1344 w 3640"/>
                    <a:gd name="connsiteY0" fmla="*/ 0 h 52065"/>
                    <a:gd name="connsiteX1" fmla="*/ 3461 w 3640"/>
                    <a:gd name="connsiteY1" fmla="*/ 18684 h 52065"/>
                    <a:gd name="connsiteX2" fmla="*/ 98 w 3640"/>
                    <a:gd name="connsiteY2" fmla="*/ 35748 h 52065"/>
                    <a:gd name="connsiteX3" fmla="*/ 234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0"/>
                      </a:moveTo>
                      <a:cubicBezTo>
                        <a:pt x="3835" y="7972"/>
                        <a:pt x="3835" y="14324"/>
                        <a:pt x="3461" y="18684"/>
                      </a:cubicBezTo>
                      <a:cubicBezTo>
                        <a:pt x="2714" y="25659"/>
                        <a:pt x="596"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2" name="Freeform 7842">
                  <a:extLst>
                    <a:ext uri="{FF2B5EF4-FFF2-40B4-BE49-F238E27FC236}">
                      <a16:creationId xmlns:a16="http://schemas.microsoft.com/office/drawing/2014/main" id="{9CFF8BB3-7782-0AB7-11B2-B0DFF56A4863}"/>
                    </a:ext>
                  </a:extLst>
                </p:cNvPr>
                <p:cNvSpPr/>
                <p:nvPr/>
              </p:nvSpPr>
              <p:spPr>
                <a:xfrm>
                  <a:off x="6077792" y="1978048"/>
                  <a:ext cx="26781" cy="26534"/>
                </a:xfrm>
                <a:custGeom>
                  <a:avLst/>
                  <a:gdLst>
                    <a:gd name="connsiteX0" fmla="*/ 0 w 26781"/>
                    <a:gd name="connsiteY0" fmla="*/ 13454 h 26534"/>
                    <a:gd name="connsiteX1" fmla="*/ 13327 w 26781"/>
                    <a:gd name="connsiteY1" fmla="*/ 2 h 26534"/>
                    <a:gd name="connsiteX2" fmla="*/ 26780 w 26781"/>
                    <a:gd name="connsiteY2" fmla="*/ 13081 h 26534"/>
                    <a:gd name="connsiteX3" fmla="*/ 13452 w 26781"/>
                    <a:gd name="connsiteY3" fmla="*/ 26533 h 26534"/>
                    <a:gd name="connsiteX4" fmla="*/ 0 w 26781"/>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0" y="13454"/>
                      </a:moveTo>
                      <a:cubicBezTo>
                        <a:pt x="0" y="6105"/>
                        <a:pt x="5854" y="127"/>
                        <a:pt x="13327" y="2"/>
                      </a:cubicBezTo>
                      <a:cubicBezTo>
                        <a:pt x="20801" y="-123"/>
                        <a:pt x="26655" y="5732"/>
                        <a:pt x="26780" y="13081"/>
                      </a:cubicBezTo>
                      <a:cubicBezTo>
                        <a:pt x="26904" y="20429"/>
                        <a:pt x="20926" y="26408"/>
                        <a:pt x="13452" y="26533"/>
                      </a:cubicBezTo>
                      <a:cubicBezTo>
                        <a:pt x="5979" y="26657"/>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3" name="Freeform 7843">
                  <a:extLst>
                    <a:ext uri="{FF2B5EF4-FFF2-40B4-BE49-F238E27FC236}">
                      <a16:creationId xmlns:a16="http://schemas.microsoft.com/office/drawing/2014/main" id="{A2791D18-4572-3D3C-2784-0C51E3ED951B}"/>
                    </a:ext>
                  </a:extLst>
                </p:cNvPr>
                <p:cNvSpPr/>
                <p:nvPr/>
              </p:nvSpPr>
              <p:spPr>
                <a:xfrm>
                  <a:off x="6084725" y="1876037"/>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4" name="Freeform 7844">
                  <a:extLst>
                    <a:ext uri="{FF2B5EF4-FFF2-40B4-BE49-F238E27FC236}">
                      <a16:creationId xmlns:a16="http://schemas.microsoft.com/office/drawing/2014/main" id="{8234C54C-785F-7583-342E-AAA57E3AFEB2}"/>
                    </a:ext>
                  </a:extLst>
                </p:cNvPr>
                <p:cNvSpPr/>
                <p:nvPr/>
              </p:nvSpPr>
              <p:spPr>
                <a:xfrm>
                  <a:off x="6092559" y="1870930"/>
                  <a:ext cx="3641" cy="52065"/>
                </a:xfrm>
                <a:custGeom>
                  <a:avLst/>
                  <a:gdLst>
                    <a:gd name="connsiteX0" fmla="*/ 2297 w 3641"/>
                    <a:gd name="connsiteY0" fmla="*/ 52065 h 52065"/>
                    <a:gd name="connsiteX1" fmla="*/ 180 w 3641"/>
                    <a:gd name="connsiteY1" fmla="*/ 33381 h 52065"/>
                    <a:gd name="connsiteX2" fmla="*/ 3543 w 3641"/>
                    <a:gd name="connsiteY2" fmla="*/ 16317 h 52065"/>
                    <a:gd name="connsiteX3" fmla="*/ 1300 w 3641"/>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3"/>
                        <a:pt x="-194" y="37741"/>
                        <a:pt x="180" y="33381"/>
                      </a:cubicBezTo>
                      <a:cubicBezTo>
                        <a:pt x="927" y="26406"/>
                        <a:pt x="3044" y="23292"/>
                        <a:pt x="3543" y="16317"/>
                      </a:cubicBezTo>
                      <a:cubicBezTo>
                        <a:pt x="4041" y="9466"/>
                        <a:pt x="2546" y="3737"/>
                        <a:pt x="1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35" name="Freeform 7845">
                  <a:extLst>
                    <a:ext uri="{FF2B5EF4-FFF2-40B4-BE49-F238E27FC236}">
                      <a16:creationId xmlns:a16="http://schemas.microsoft.com/office/drawing/2014/main" id="{5767900B-71EF-9E62-927F-D487B966180C}"/>
                    </a:ext>
                  </a:extLst>
                </p:cNvPr>
                <p:cNvSpPr/>
                <p:nvPr/>
              </p:nvSpPr>
              <p:spPr>
                <a:xfrm>
                  <a:off x="6077291" y="1855610"/>
                  <a:ext cx="26408" cy="26532"/>
                </a:xfrm>
                <a:custGeom>
                  <a:avLst/>
                  <a:gdLst>
                    <a:gd name="connsiteX0" fmla="*/ 26408 w 26408"/>
                    <a:gd name="connsiteY0" fmla="*/ 13079 h 26532"/>
                    <a:gd name="connsiteX1" fmla="*/ 13330 w 26408"/>
                    <a:gd name="connsiteY1" fmla="*/ 26531 h 26532"/>
                    <a:gd name="connsiteX2" fmla="*/ 2 w 26408"/>
                    <a:gd name="connsiteY2" fmla="*/ 13452 h 26532"/>
                    <a:gd name="connsiteX3" fmla="*/ 13080 w 26408"/>
                    <a:gd name="connsiteY3" fmla="*/ 0 h 26532"/>
                    <a:gd name="connsiteX4" fmla="*/ 26408 w 26408"/>
                    <a:gd name="connsiteY4" fmla="*/ 1307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1">
                      <a:moveTo>
                        <a:pt x="26408" y="13079"/>
                      </a:moveTo>
                      <a:cubicBezTo>
                        <a:pt x="26408" y="20427"/>
                        <a:pt x="20554" y="26406"/>
                        <a:pt x="13330" y="26531"/>
                      </a:cubicBezTo>
                      <a:cubicBezTo>
                        <a:pt x="5981" y="26655"/>
                        <a:pt x="127" y="20801"/>
                        <a:pt x="2" y="13452"/>
                      </a:cubicBezTo>
                      <a:cubicBezTo>
                        <a:pt x="-123" y="6103"/>
                        <a:pt x="5856" y="125"/>
                        <a:pt x="13080" y="0"/>
                      </a:cubicBezTo>
                      <a:cubicBezTo>
                        <a:pt x="20429" y="0"/>
                        <a:pt x="26408" y="5854"/>
                        <a:pt x="26408" y="130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8" name="Graphic 2987">
                <a:extLst>
                  <a:ext uri="{FF2B5EF4-FFF2-40B4-BE49-F238E27FC236}">
                    <a16:creationId xmlns:a16="http://schemas.microsoft.com/office/drawing/2014/main" id="{827827BC-9C09-D0B7-DDC0-8C0EBDCE236A}"/>
                  </a:ext>
                </a:extLst>
              </p:cNvPr>
              <p:cNvGrpSpPr/>
              <p:nvPr/>
            </p:nvGrpSpPr>
            <p:grpSpPr>
              <a:xfrm>
                <a:off x="6047773" y="1855981"/>
                <a:ext cx="26904" cy="148972"/>
                <a:chOff x="6047773" y="1855981"/>
                <a:chExt cx="26904" cy="148972"/>
              </a:xfrm>
              <a:grpFill/>
            </p:grpSpPr>
            <p:sp>
              <p:nvSpPr>
                <p:cNvPr id="6324" name="Freeform 7847">
                  <a:extLst>
                    <a:ext uri="{FF2B5EF4-FFF2-40B4-BE49-F238E27FC236}">
                      <a16:creationId xmlns:a16="http://schemas.microsoft.com/office/drawing/2014/main" id="{ED106EFF-DC36-527D-5BEB-2A70899E36BC}"/>
                    </a:ext>
                  </a:extLst>
                </p:cNvPr>
                <p:cNvSpPr/>
                <p:nvPr/>
              </p:nvSpPr>
              <p:spPr>
                <a:xfrm>
                  <a:off x="6063238" y="1932337"/>
                  <a:ext cx="3883" cy="52189"/>
                </a:xfrm>
                <a:custGeom>
                  <a:avLst/>
                  <a:gdLst>
                    <a:gd name="connsiteX0" fmla="*/ 1724 w 3883"/>
                    <a:gd name="connsiteY0" fmla="*/ 52190 h 52189"/>
                    <a:gd name="connsiteX1" fmla="*/ 3593 w 3883"/>
                    <a:gd name="connsiteY1" fmla="*/ 33506 h 52189"/>
                    <a:gd name="connsiteX2" fmla="*/ 105 w 3883"/>
                    <a:gd name="connsiteY2" fmla="*/ 16442 h 52189"/>
                    <a:gd name="connsiteX3" fmla="*/ 2222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52190"/>
                      </a:moveTo>
                      <a:cubicBezTo>
                        <a:pt x="4215"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5" name="Freeform 7848">
                  <a:extLst>
                    <a:ext uri="{FF2B5EF4-FFF2-40B4-BE49-F238E27FC236}">
                      <a16:creationId xmlns:a16="http://schemas.microsoft.com/office/drawing/2014/main" id="{FD88F86D-112F-FDF1-2AAF-5C77E37DBE1D}"/>
                    </a:ext>
                  </a:extLst>
                </p:cNvPr>
                <p:cNvSpPr/>
                <p:nvPr/>
              </p:nvSpPr>
              <p:spPr>
                <a:xfrm>
                  <a:off x="6055646" y="1937569"/>
                  <a:ext cx="3721" cy="52065"/>
                </a:xfrm>
                <a:custGeom>
                  <a:avLst/>
                  <a:gdLst>
                    <a:gd name="connsiteX0" fmla="*/ 1469 w 3721"/>
                    <a:gd name="connsiteY0" fmla="*/ 0 h 52065"/>
                    <a:gd name="connsiteX1" fmla="*/ 3462 w 3721"/>
                    <a:gd name="connsiteY1" fmla="*/ 18684 h 52065"/>
                    <a:gd name="connsiteX2" fmla="*/ 98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0"/>
                      </a:moveTo>
                      <a:cubicBezTo>
                        <a:pt x="3960" y="7972"/>
                        <a:pt x="3960" y="14324"/>
                        <a:pt x="3462" y="18684"/>
                      </a:cubicBezTo>
                      <a:cubicBezTo>
                        <a:pt x="2714" y="25659"/>
                        <a:pt x="597" y="28773"/>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6" name="Freeform 7849">
                  <a:extLst>
                    <a:ext uri="{FF2B5EF4-FFF2-40B4-BE49-F238E27FC236}">
                      <a16:creationId xmlns:a16="http://schemas.microsoft.com/office/drawing/2014/main" id="{A80DC69C-A19D-0871-62B9-7D16CDA9517D}"/>
                    </a:ext>
                  </a:extLst>
                </p:cNvPr>
                <p:cNvSpPr/>
                <p:nvPr/>
              </p:nvSpPr>
              <p:spPr>
                <a:xfrm>
                  <a:off x="6048022" y="1978422"/>
                  <a:ext cx="26655" cy="26532"/>
                </a:xfrm>
                <a:custGeom>
                  <a:avLst/>
                  <a:gdLst>
                    <a:gd name="connsiteX0" fmla="*/ 0 w 26655"/>
                    <a:gd name="connsiteY0" fmla="*/ 13454 h 26532"/>
                    <a:gd name="connsiteX1" fmla="*/ 13328 w 26655"/>
                    <a:gd name="connsiteY1" fmla="*/ 2 h 26532"/>
                    <a:gd name="connsiteX2" fmla="*/ 26656 w 26655"/>
                    <a:gd name="connsiteY2" fmla="*/ 13080 h 26532"/>
                    <a:gd name="connsiteX3" fmla="*/ 13328 w 26655"/>
                    <a:gd name="connsiteY3" fmla="*/ 26533 h 26532"/>
                    <a:gd name="connsiteX4" fmla="*/ 0 w 26655"/>
                    <a:gd name="connsiteY4" fmla="*/ 13454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454"/>
                      </a:moveTo>
                      <a:cubicBezTo>
                        <a:pt x="0" y="6105"/>
                        <a:pt x="5979" y="126"/>
                        <a:pt x="13328" y="2"/>
                      </a:cubicBezTo>
                      <a:cubicBezTo>
                        <a:pt x="20677" y="-123"/>
                        <a:pt x="26656" y="5732"/>
                        <a:pt x="26656" y="13080"/>
                      </a:cubicBezTo>
                      <a:cubicBezTo>
                        <a:pt x="26656" y="20429"/>
                        <a:pt x="20677" y="26408"/>
                        <a:pt x="13328" y="26533"/>
                      </a:cubicBezTo>
                      <a:cubicBezTo>
                        <a:pt x="5979" y="26533"/>
                        <a:pt x="0" y="20679"/>
                        <a:pt x="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7" name="Freeform 7850">
                  <a:extLst>
                    <a:ext uri="{FF2B5EF4-FFF2-40B4-BE49-F238E27FC236}">
                      <a16:creationId xmlns:a16="http://schemas.microsoft.com/office/drawing/2014/main" id="{496DAC15-EE9D-65F4-30C8-A42EDC55EACD}"/>
                    </a:ext>
                  </a:extLst>
                </p:cNvPr>
                <p:cNvSpPr/>
                <p:nvPr/>
              </p:nvSpPr>
              <p:spPr>
                <a:xfrm>
                  <a:off x="6055205" y="1876411"/>
                  <a:ext cx="3883" cy="52189"/>
                </a:xfrm>
                <a:custGeom>
                  <a:avLst/>
                  <a:gdLst>
                    <a:gd name="connsiteX0" fmla="*/ 2159 w 3883"/>
                    <a:gd name="connsiteY0" fmla="*/ 0 h 52189"/>
                    <a:gd name="connsiteX1" fmla="*/ 291 w 3883"/>
                    <a:gd name="connsiteY1" fmla="*/ 18684 h 52189"/>
                    <a:gd name="connsiteX2" fmla="*/ 3778 w 3883"/>
                    <a:gd name="connsiteY2" fmla="*/ 35748 h 52189"/>
                    <a:gd name="connsiteX3" fmla="*/ 1661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0"/>
                      </a:moveTo>
                      <a:cubicBezTo>
                        <a:pt x="-332" y="8096"/>
                        <a:pt x="-208" y="14449"/>
                        <a:pt x="291" y="18684"/>
                      </a:cubicBezTo>
                      <a:cubicBezTo>
                        <a:pt x="1038" y="25659"/>
                        <a:pt x="3280" y="28648"/>
                        <a:pt x="3778" y="35748"/>
                      </a:cubicBezTo>
                      <a:cubicBezTo>
                        <a:pt x="4277" y="42599"/>
                        <a:pt x="2906" y="48328"/>
                        <a:pt x="166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8" name="Freeform 7851">
                  <a:extLst>
                    <a:ext uri="{FF2B5EF4-FFF2-40B4-BE49-F238E27FC236}">
                      <a16:creationId xmlns:a16="http://schemas.microsoft.com/office/drawing/2014/main" id="{27AE9BA1-CD05-9981-51A7-637DFDC82C80}"/>
                    </a:ext>
                  </a:extLst>
                </p:cNvPr>
                <p:cNvSpPr/>
                <p:nvPr/>
              </p:nvSpPr>
              <p:spPr>
                <a:xfrm>
                  <a:off x="6062958" y="1871304"/>
                  <a:ext cx="3721" cy="52065"/>
                </a:xfrm>
                <a:custGeom>
                  <a:avLst/>
                  <a:gdLst>
                    <a:gd name="connsiteX0" fmla="*/ 2253 w 3721"/>
                    <a:gd name="connsiteY0" fmla="*/ 52065 h 52065"/>
                    <a:gd name="connsiteX1" fmla="*/ 260 w 3721"/>
                    <a:gd name="connsiteY1" fmla="*/ 33381 h 52065"/>
                    <a:gd name="connsiteX2" fmla="*/ 3623 w 3721"/>
                    <a:gd name="connsiteY2" fmla="*/ 16317 h 52065"/>
                    <a:gd name="connsiteX3" fmla="*/ 1381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3"/>
                        <a:pt x="-238" y="37741"/>
                        <a:pt x="260" y="33381"/>
                      </a:cubicBezTo>
                      <a:cubicBezTo>
                        <a:pt x="1008" y="26406"/>
                        <a:pt x="3125" y="23292"/>
                        <a:pt x="3623" y="16317"/>
                      </a:cubicBezTo>
                      <a:cubicBezTo>
                        <a:pt x="4122" y="9466"/>
                        <a:pt x="2627" y="3737"/>
                        <a:pt x="13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9" name="Freeform 7852">
                  <a:extLst>
                    <a:ext uri="{FF2B5EF4-FFF2-40B4-BE49-F238E27FC236}">
                      <a16:creationId xmlns:a16="http://schemas.microsoft.com/office/drawing/2014/main" id="{F4582D23-83AE-E1FD-4A75-A470EA26E84C}"/>
                    </a:ext>
                  </a:extLst>
                </p:cNvPr>
                <p:cNvSpPr/>
                <p:nvPr/>
              </p:nvSpPr>
              <p:spPr>
                <a:xfrm>
                  <a:off x="6047773" y="1855981"/>
                  <a:ext cx="26406" cy="26534"/>
                </a:xfrm>
                <a:custGeom>
                  <a:avLst/>
                  <a:gdLst>
                    <a:gd name="connsiteX0" fmla="*/ 26406 w 26406"/>
                    <a:gd name="connsiteY0" fmla="*/ 13080 h 26534"/>
                    <a:gd name="connsiteX1" fmla="*/ 13203 w 26406"/>
                    <a:gd name="connsiteY1" fmla="*/ 26533 h 26534"/>
                    <a:gd name="connsiteX2" fmla="*/ 0 w 26406"/>
                    <a:gd name="connsiteY2" fmla="*/ 13454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803"/>
                        <a:pt x="0" y="13454"/>
                      </a:cubicBezTo>
                      <a:cubicBezTo>
                        <a:pt x="0" y="6105"/>
                        <a:pt x="5854" y="127"/>
                        <a:pt x="13203" y="2"/>
                      </a:cubicBezTo>
                      <a:cubicBezTo>
                        <a:pt x="20427"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79" name="Graphic 2987">
                <a:extLst>
                  <a:ext uri="{FF2B5EF4-FFF2-40B4-BE49-F238E27FC236}">
                    <a16:creationId xmlns:a16="http://schemas.microsoft.com/office/drawing/2014/main" id="{90046494-F164-C71E-DA77-B282B17FA92E}"/>
                  </a:ext>
                </a:extLst>
              </p:cNvPr>
              <p:cNvGrpSpPr/>
              <p:nvPr/>
            </p:nvGrpSpPr>
            <p:grpSpPr>
              <a:xfrm>
                <a:off x="6018128" y="1856355"/>
                <a:ext cx="26655" cy="148972"/>
                <a:chOff x="6018128" y="1856355"/>
                <a:chExt cx="26655" cy="148972"/>
              </a:xfrm>
              <a:grpFill/>
            </p:grpSpPr>
            <p:sp>
              <p:nvSpPr>
                <p:cNvPr id="6318" name="Freeform 7854">
                  <a:extLst>
                    <a:ext uri="{FF2B5EF4-FFF2-40B4-BE49-F238E27FC236}">
                      <a16:creationId xmlns:a16="http://schemas.microsoft.com/office/drawing/2014/main" id="{C165A032-AB97-D61C-2F52-A02ACD122229}"/>
                    </a:ext>
                  </a:extLst>
                </p:cNvPr>
                <p:cNvSpPr/>
                <p:nvPr/>
              </p:nvSpPr>
              <p:spPr>
                <a:xfrm>
                  <a:off x="6033593" y="1932711"/>
                  <a:ext cx="3853" cy="52189"/>
                </a:xfrm>
                <a:custGeom>
                  <a:avLst/>
                  <a:gdLst>
                    <a:gd name="connsiteX0" fmla="*/ 1600 w 3853"/>
                    <a:gd name="connsiteY0" fmla="*/ 52190 h 52189"/>
                    <a:gd name="connsiteX1" fmla="*/ 3593 w 3853"/>
                    <a:gd name="connsiteY1" fmla="*/ 33506 h 52189"/>
                    <a:gd name="connsiteX2" fmla="*/ 105 w 3853"/>
                    <a:gd name="connsiteY2" fmla="*/ 16442 h 52189"/>
                    <a:gd name="connsiteX3" fmla="*/ 2222 w 3853"/>
                    <a:gd name="connsiteY3" fmla="*/ 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52190"/>
                      </a:moveTo>
                      <a:cubicBezTo>
                        <a:pt x="4091" y="44093"/>
                        <a:pt x="4091" y="37741"/>
                        <a:pt x="3593" y="33506"/>
                      </a:cubicBezTo>
                      <a:cubicBezTo>
                        <a:pt x="2845" y="26531"/>
                        <a:pt x="603" y="23541"/>
                        <a:pt x="105" y="16442"/>
                      </a:cubicBezTo>
                      <a:cubicBezTo>
                        <a:pt x="-393" y="9591"/>
                        <a:pt x="977" y="3861"/>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9" name="Freeform 7855">
                  <a:extLst>
                    <a:ext uri="{FF2B5EF4-FFF2-40B4-BE49-F238E27FC236}">
                      <a16:creationId xmlns:a16="http://schemas.microsoft.com/office/drawing/2014/main" id="{B09BDEB7-30C0-620F-5DE5-9793DDF417AA}"/>
                    </a:ext>
                  </a:extLst>
                </p:cNvPr>
                <p:cNvSpPr/>
                <p:nvPr/>
              </p:nvSpPr>
              <p:spPr>
                <a:xfrm>
                  <a:off x="6025746" y="1937818"/>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324"/>
                        <a:pt x="3593" y="18684"/>
                      </a:cubicBezTo>
                      <a:cubicBezTo>
                        <a:pt x="2845" y="25659"/>
                        <a:pt x="728"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0" name="Freeform 7856">
                  <a:extLst>
                    <a:ext uri="{FF2B5EF4-FFF2-40B4-BE49-F238E27FC236}">
                      <a16:creationId xmlns:a16="http://schemas.microsoft.com/office/drawing/2014/main" id="{5F29642B-A7FF-2CC2-A2FE-2692311BC2C6}"/>
                    </a:ext>
                  </a:extLst>
                </p:cNvPr>
                <p:cNvSpPr/>
                <p:nvPr/>
              </p:nvSpPr>
              <p:spPr>
                <a:xfrm>
                  <a:off x="6018128" y="1978795"/>
                  <a:ext cx="26655" cy="26532"/>
                </a:xfrm>
                <a:custGeom>
                  <a:avLst/>
                  <a:gdLst>
                    <a:gd name="connsiteX0" fmla="*/ 0 w 26655"/>
                    <a:gd name="connsiteY0" fmla="*/ 13205 h 26532"/>
                    <a:gd name="connsiteX1" fmla="*/ 13328 w 26655"/>
                    <a:gd name="connsiteY1" fmla="*/ 2 h 26532"/>
                    <a:gd name="connsiteX2" fmla="*/ 26655 w 26655"/>
                    <a:gd name="connsiteY2" fmla="*/ 13080 h 26532"/>
                    <a:gd name="connsiteX3" fmla="*/ 13328 w 26655"/>
                    <a:gd name="connsiteY3" fmla="*/ 26533 h 26532"/>
                    <a:gd name="connsiteX4" fmla="*/ 0 w 26655"/>
                    <a:gd name="connsiteY4" fmla="*/ 13205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1">
                      <a:moveTo>
                        <a:pt x="0" y="13205"/>
                      </a:moveTo>
                      <a:cubicBezTo>
                        <a:pt x="0" y="5856"/>
                        <a:pt x="5979" y="126"/>
                        <a:pt x="13328" y="2"/>
                      </a:cubicBezTo>
                      <a:cubicBezTo>
                        <a:pt x="20677" y="-123"/>
                        <a:pt x="26655" y="5732"/>
                        <a:pt x="26655" y="13080"/>
                      </a:cubicBezTo>
                      <a:cubicBezTo>
                        <a:pt x="26655" y="20429"/>
                        <a:pt x="20677" y="26408"/>
                        <a:pt x="13328" y="26533"/>
                      </a:cubicBezTo>
                      <a:cubicBezTo>
                        <a:pt x="5979" y="26533"/>
                        <a:pt x="0" y="20429"/>
                        <a:pt x="0" y="1320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1" name="Freeform 7857">
                  <a:extLst>
                    <a:ext uri="{FF2B5EF4-FFF2-40B4-BE49-F238E27FC236}">
                      <a16:creationId xmlns:a16="http://schemas.microsoft.com/office/drawing/2014/main" id="{93B9A5FB-9067-1014-8CB8-64A05B7E898F}"/>
                    </a:ext>
                  </a:extLst>
                </p:cNvPr>
                <p:cNvSpPr/>
                <p:nvPr/>
              </p:nvSpPr>
              <p:spPr>
                <a:xfrm>
                  <a:off x="6025590" y="1876785"/>
                  <a:ext cx="3728" cy="52065"/>
                </a:xfrm>
                <a:custGeom>
                  <a:avLst/>
                  <a:gdLst>
                    <a:gd name="connsiteX0" fmla="*/ 2253 w 3728"/>
                    <a:gd name="connsiteY0" fmla="*/ 0 h 52065"/>
                    <a:gd name="connsiteX1" fmla="*/ 260 w 3728"/>
                    <a:gd name="connsiteY1" fmla="*/ 18684 h 52065"/>
                    <a:gd name="connsiteX2" fmla="*/ 3623 w 3728"/>
                    <a:gd name="connsiteY2" fmla="*/ 35748 h 52065"/>
                    <a:gd name="connsiteX3" fmla="*/ 1506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0"/>
                      </a:moveTo>
                      <a:cubicBezTo>
                        <a:pt x="-238" y="7972"/>
                        <a:pt x="-238" y="14324"/>
                        <a:pt x="260" y="18684"/>
                      </a:cubicBezTo>
                      <a:cubicBezTo>
                        <a:pt x="1008" y="25659"/>
                        <a:pt x="3125" y="28773"/>
                        <a:pt x="3623" y="35748"/>
                      </a:cubicBezTo>
                      <a:cubicBezTo>
                        <a:pt x="4122" y="42599"/>
                        <a:pt x="2752" y="48453"/>
                        <a:pt x="15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2" name="Freeform 7858">
                  <a:extLst>
                    <a:ext uri="{FF2B5EF4-FFF2-40B4-BE49-F238E27FC236}">
                      <a16:creationId xmlns:a16="http://schemas.microsoft.com/office/drawing/2014/main" id="{4F1781BC-23C2-3480-7B34-9B8A0DE7825E}"/>
                    </a:ext>
                  </a:extLst>
                </p:cNvPr>
                <p:cNvSpPr/>
                <p:nvPr/>
              </p:nvSpPr>
              <p:spPr>
                <a:xfrm>
                  <a:off x="6033313" y="1871678"/>
                  <a:ext cx="3728" cy="52065"/>
                </a:xfrm>
                <a:custGeom>
                  <a:avLst/>
                  <a:gdLst>
                    <a:gd name="connsiteX0" fmla="*/ 2253 w 3728"/>
                    <a:gd name="connsiteY0" fmla="*/ 52065 h 52065"/>
                    <a:gd name="connsiteX1" fmla="*/ 260 w 3728"/>
                    <a:gd name="connsiteY1" fmla="*/ 33381 h 52065"/>
                    <a:gd name="connsiteX2" fmla="*/ 3624 w 3728"/>
                    <a:gd name="connsiteY2" fmla="*/ 16317 h 52065"/>
                    <a:gd name="connsiteX3" fmla="*/ 1506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4093"/>
                        <a:pt x="-238" y="37741"/>
                        <a:pt x="260" y="33381"/>
                      </a:cubicBezTo>
                      <a:cubicBezTo>
                        <a:pt x="1008" y="26406"/>
                        <a:pt x="3125" y="23292"/>
                        <a:pt x="3624" y="16317"/>
                      </a:cubicBezTo>
                      <a:cubicBezTo>
                        <a:pt x="4122" y="9466"/>
                        <a:pt x="2752" y="3737"/>
                        <a:pt x="15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23" name="Freeform 7859">
                  <a:extLst>
                    <a:ext uri="{FF2B5EF4-FFF2-40B4-BE49-F238E27FC236}">
                      <a16:creationId xmlns:a16="http://schemas.microsoft.com/office/drawing/2014/main" id="{C8C5C5BE-9DF9-9AD0-995F-2B21DC994350}"/>
                    </a:ext>
                  </a:extLst>
                </p:cNvPr>
                <p:cNvSpPr/>
                <p:nvPr/>
              </p:nvSpPr>
              <p:spPr>
                <a:xfrm>
                  <a:off x="6018253" y="1856355"/>
                  <a:ext cx="26406" cy="26534"/>
                </a:xfrm>
                <a:custGeom>
                  <a:avLst/>
                  <a:gdLst>
                    <a:gd name="connsiteX0" fmla="*/ 26406 w 26406"/>
                    <a:gd name="connsiteY0" fmla="*/ 13080 h 26534"/>
                    <a:gd name="connsiteX1" fmla="*/ 13203 w 26406"/>
                    <a:gd name="connsiteY1" fmla="*/ 26533 h 26534"/>
                    <a:gd name="connsiteX2" fmla="*/ 0 w 26406"/>
                    <a:gd name="connsiteY2" fmla="*/ 13205 h 26534"/>
                    <a:gd name="connsiteX3" fmla="*/ 13203 w 26406"/>
                    <a:gd name="connsiteY3" fmla="*/ 2 h 26534"/>
                    <a:gd name="connsiteX4" fmla="*/ 26406 w 26406"/>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6" y="13080"/>
                      </a:moveTo>
                      <a:cubicBezTo>
                        <a:pt x="26406" y="20429"/>
                        <a:pt x="20552" y="26408"/>
                        <a:pt x="13203" y="26533"/>
                      </a:cubicBezTo>
                      <a:cubicBezTo>
                        <a:pt x="5854" y="26657"/>
                        <a:pt x="0" y="20429"/>
                        <a:pt x="0" y="13205"/>
                      </a:cubicBezTo>
                      <a:cubicBezTo>
                        <a:pt x="0" y="5856"/>
                        <a:pt x="5979" y="126"/>
                        <a:pt x="13203" y="2"/>
                      </a:cubicBezTo>
                      <a:cubicBezTo>
                        <a:pt x="20552" y="-123"/>
                        <a:pt x="26406" y="5732"/>
                        <a:pt x="26406"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0" name="Graphic 2987">
                <a:extLst>
                  <a:ext uri="{FF2B5EF4-FFF2-40B4-BE49-F238E27FC236}">
                    <a16:creationId xmlns:a16="http://schemas.microsoft.com/office/drawing/2014/main" id="{8C95D6B5-F2F0-30F6-BF44-1F1B7542110A}"/>
                  </a:ext>
                </a:extLst>
              </p:cNvPr>
              <p:cNvGrpSpPr/>
              <p:nvPr/>
            </p:nvGrpSpPr>
            <p:grpSpPr>
              <a:xfrm>
                <a:off x="5988359" y="1855981"/>
                <a:ext cx="26780" cy="149099"/>
                <a:chOff x="5988359" y="1855981"/>
                <a:chExt cx="26780" cy="149099"/>
              </a:xfrm>
              <a:grpFill/>
            </p:grpSpPr>
            <p:sp>
              <p:nvSpPr>
                <p:cNvPr id="6312" name="Freeform 7861">
                  <a:extLst>
                    <a:ext uri="{FF2B5EF4-FFF2-40B4-BE49-F238E27FC236}">
                      <a16:creationId xmlns:a16="http://schemas.microsoft.com/office/drawing/2014/main" id="{290D3E7A-62A7-39EB-9AF3-E22B2F08E496}"/>
                    </a:ext>
                  </a:extLst>
                </p:cNvPr>
                <p:cNvSpPr/>
                <p:nvPr/>
              </p:nvSpPr>
              <p:spPr>
                <a:xfrm>
                  <a:off x="6003955" y="1932586"/>
                  <a:ext cx="3721" cy="52065"/>
                </a:xfrm>
                <a:custGeom>
                  <a:avLst/>
                  <a:gdLst>
                    <a:gd name="connsiteX0" fmla="*/ 1469 w 3721"/>
                    <a:gd name="connsiteY0" fmla="*/ 52065 h 52065"/>
                    <a:gd name="connsiteX1" fmla="*/ 3461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9" y="52065"/>
                      </a:moveTo>
                      <a:cubicBezTo>
                        <a:pt x="3960"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3" name="Freeform 7862">
                  <a:extLst>
                    <a:ext uri="{FF2B5EF4-FFF2-40B4-BE49-F238E27FC236}">
                      <a16:creationId xmlns:a16="http://schemas.microsoft.com/office/drawing/2014/main" id="{0B62F562-F173-C0F5-7EDC-FB635077AA2F}"/>
                    </a:ext>
                  </a:extLst>
                </p:cNvPr>
                <p:cNvSpPr/>
                <p:nvPr/>
              </p:nvSpPr>
              <p:spPr>
                <a:xfrm>
                  <a:off x="5996101" y="1937444"/>
                  <a:ext cx="3853" cy="52189"/>
                </a:xfrm>
                <a:custGeom>
                  <a:avLst/>
                  <a:gdLst>
                    <a:gd name="connsiteX0" fmla="*/ 1600 w 3853"/>
                    <a:gd name="connsiteY0" fmla="*/ 0 h 52189"/>
                    <a:gd name="connsiteX1" fmla="*/ 3593 w 3853"/>
                    <a:gd name="connsiteY1" fmla="*/ 18684 h 52189"/>
                    <a:gd name="connsiteX2" fmla="*/ 105 w 3853"/>
                    <a:gd name="connsiteY2" fmla="*/ 35748 h 52189"/>
                    <a:gd name="connsiteX3" fmla="*/ 2223 w 385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53" h="52189">
                      <a:moveTo>
                        <a:pt x="1600" y="0"/>
                      </a:moveTo>
                      <a:cubicBezTo>
                        <a:pt x="4091" y="8096"/>
                        <a:pt x="4091" y="14449"/>
                        <a:pt x="3593" y="18684"/>
                      </a:cubicBezTo>
                      <a:cubicBezTo>
                        <a:pt x="2845" y="25659"/>
                        <a:pt x="603" y="28648"/>
                        <a:pt x="105" y="35748"/>
                      </a:cubicBezTo>
                      <a:cubicBezTo>
                        <a:pt x="-393" y="42599"/>
                        <a:pt x="977" y="48328"/>
                        <a:pt x="22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4" name="Freeform 7863">
                  <a:extLst>
                    <a:ext uri="{FF2B5EF4-FFF2-40B4-BE49-F238E27FC236}">
                      <a16:creationId xmlns:a16="http://schemas.microsoft.com/office/drawing/2014/main" id="{F71DF2E2-7EB4-17E1-03AA-4AAF2FF016A9}"/>
                    </a:ext>
                  </a:extLst>
                </p:cNvPr>
                <p:cNvSpPr/>
                <p:nvPr/>
              </p:nvSpPr>
              <p:spPr>
                <a:xfrm>
                  <a:off x="5988359" y="1978546"/>
                  <a:ext cx="26655" cy="26534"/>
                </a:xfrm>
                <a:custGeom>
                  <a:avLst/>
                  <a:gdLst>
                    <a:gd name="connsiteX0" fmla="*/ 0 w 26655"/>
                    <a:gd name="connsiteY0" fmla="*/ 13080 h 26534"/>
                    <a:gd name="connsiteX1" fmla="*/ 13328 w 26655"/>
                    <a:gd name="connsiteY1" fmla="*/ 2 h 26534"/>
                    <a:gd name="connsiteX2" fmla="*/ 26656 w 26655"/>
                    <a:gd name="connsiteY2" fmla="*/ 13454 h 26534"/>
                    <a:gd name="connsiteX3" fmla="*/ 13328 w 26655"/>
                    <a:gd name="connsiteY3" fmla="*/ 26533 h 26534"/>
                    <a:gd name="connsiteX4" fmla="*/ 0 w 26655"/>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4">
                      <a:moveTo>
                        <a:pt x="0" y="13080"/>
                      </a:moveTo>
                      <a:cubicBezTo>
                        <a:pt x="0" y="5732"/>
                        <a:pt x="5979" y="-123"/>
                        <a:pt x="13328" y="2"/>
                      </a:cubicBezTo>
                      <a:cubicBezTo>
                        <a:pt x="20677" y="127"/>
                        <a:pt x="26656" y="6105"/>
                        <a:pt x="26656" y="13454"/>
                      </a:cubicBezTo>
                      <a:cubicBezTo>
                        <a:pt x="26656" y="20803"/>
                        <a:pt x="20677" y="26657"/>
                        <a:pt x="13328" y="26533"/>
                      </a:cubicBezTo>
                      <a:cubicBezTo>
                        <a:pt x="5979" y="26408"/>
                        <a:pt x="0" y="20305"/>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5" name="Freeform 7864">
                  <a:extLst>
                    <a:ext uri="{FF2B5EF4-FFF2-40B4-BE49-F238E27FC236}">
                      <a16:creationId xmlns:a16="http://schemas.microsoft.com/office/drawing/2014/main" id="{C53A8810-EB29-866C-0619-26ECBD246D82}"/>
                    </a:ext>
                  </a:extLst>
                </p:cNvPr>
                <p:cNvSpPr/>
                <p:nvPr/>
              </p:nvSpPr>
              <p:spPr>
                <a:xfrm>
                  <a:off x="5996070" y="1876411"/>
                  <a:ext cx="3721" cy="52065"/>
                </a:xfrm>
                <a:custGeom>
                  <a:avLst/>
                  <a:gdLst>
                    <a:gd name="connsiteX0" fmla="*/ 2253 w 3721"/>
                    <a:gd name="connsiteY0" fmla="*/ 0 h 52065"/>
                    <a:gd name="connsiteX1" fmla="*/ 260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2"/>
                        <a:pt x="-238" y="14324"/>
                        <a:pt x="260" y="18684"/>
                      </a:cubicBezTo>
                      <a:cubicBezTo>
                        <a:pt x="1008" y="25659"/>
                        <a:pt x="3125" y="28773"/>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6" name="Freeform 7865">
                  <a:extLst>
                    <a:ext uri="{FF2B5EF4-FFF2-40B4-BE49-F238E27FC236}">
                      <a16:creationId xmlns:a16="http://schemas.microsoft.com/office/drawing/2014/main" id="{7F51C56B-0D26-A682-F555-57DA112108D2}"/>
                    </a:ext>
                  </a:extLst>
                </p:cNvPr>
                <p:cNvSpPr/>
                <p:nvPr/>
              </p:nvSpPr>
              <p:spPr>
                <a:xfrm>
                  <a:off x="6003668" y="1871429"/>
                  <a:ext cx="3852" cy="52189"/>
                </a:xfrm>
                <a:custGeom>
                  <a:avLst/>
                  <a:gdLst>
                    <a:gd name="connsiteX0" fmla="*/ 2253 w 3852"/>
                    <a:gd name="connsiteY0" fmla="*/ 52190 h 52189"/>
                    <a:gd name="connsiteX1" fmla="*/ 260 w 3852"/>
                    <a:gd name="connsiteY1" fmla="*/ 33506 h 52189"/>
                    <a:gd name="connsiteX2" fmla="*/ 3748 w 3852"/>
                    <a:gd name="connsiteY2" fmla="*/ 16442 h 52189"/>
                    <a:gd name="connsiteX3" fmla="*/ 1631 w 3852"/>
                    <a:gd name="connsiteY3" fmla="*/ 0 h 52189"/>
                  </a:gdLst>
                  <a:ahLst/>
                  <a:cxnLst>
                    <a:cxn ang="0">
                      <a:pos x="connsiteX0" y="connsiteY0"/>
                    </a:cxn>
                    <a:cxn ang="0">
                      <a:pos x="connsiteX1" y="connsiteY1"/>
                    </a:cxn>
                    <a:cxn ang="0">
                      <a:pos x="connsiteX2" y="connsiteY2"/>
                    </a:cxn>
                    <a:cxn ang="0">
                      <a:pos x="connsiteX3" y="connsiteY3"/>
                    </a:cxn>
                  </a:cxnLst>
                  <a:rect l="l" t="t" r="r" b="b"/>
                  <a:pathLst>
                    <a:path w="3852" h="52189">
                      <a:moveTo>
                        <a:pt x="2253" y="52190"/>
                      </a:moveTo>
                      <a:cubicBezTo>
                        <a:pt x="-238" y="44093"/>
                        <a:pt x="-238" y="37741"/>
                        <a:pt x="260" y="33506"/>
                      </a:cubicBezTo>
                      <a:cubicBezTo>
                        <a:pt x="1007" y="26531"/>
                        <a:pt x="3125" y="23541"/>
                        <a:pt x="3748" y="16442"/>
                      </a:cubicBezTo>
                      <a:cubicBezTo>
                        <a:pt x="4246" y="9591"/>
                        <a:pt x="2876" y="3861"/>
                        <a:pt x="16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7" name="Freeform 7866">
                  <a:extLst>
                    <a:ext uri="{FF2B5EF4-FFF2-40B4-BE49-F238E27FC236}">
                      <a16:creationId xmlns:a16="http://schemas.microsoft.com/office/drawing/2014/main" id="{7C8057C6-4302-DA82-105B-E82A89B3A4ED}"/>
                    </a:ext>
                  </a:extLst>
                </p:cNvPr>
                <p:cNvSpPr/>
                <p:nvPr/>
              </p:nvSpPr>
              <p:spPr>
                <a:xfrm>
                  <a:off x="5988732" y="1855981"/>
                  <a:ext cx="26406" cy="26534"/>
                </a:xfrm>
                <a:custGeom>
                  <a:avLst/>
                  <a:gdLst>
                    <a:gd name="connsiteX0" fmla="*/ 26407 w 26406"/>
                    <a:gd name="connsiteY0" fmla="*/ 13454 h 26534"/>
                    <a:gd name="connsiteX1" fmla="*/ 13203 w 26406"/>
                    <a:gd name="connsiteY1" fmla="*/ 26533 h 26534"/>
                    <a:gd name="connsiteX2" fmla="*/ 0 w 26406"/>
                    <a:gd name="connsiteY2" fmla="*/ 13080 h 26534"/>
                    <a:gd name="connsiteX3" fmla="*/ 13203 w 26406"/>
                    <a:gd name="connsiteY3" fmla="*/ 2 h 26534"/>
                    <a:gd name="connsiteX4" fmla="*/ 26407 w 26406"/>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4">
                      <a:moveTo>
                        <a:pt x="26407" y="13454"/>
                      </a:moveTo>
                      <a:cubicBezTo>
                        <a:pt x="26407" y="20803"/>
                        <a:pt x="20428" y="26657"/>
                        <a:pt x="13203" y="26533"/>
                      </a:cubicBezTo>
                      <a:cubicBezTo>
                        <a:pt x="5854" y="26408"/>
                        <a:pt x="0" y="20429"/>
                        <a:pt x="0" y="13080"/>
                      </a:cubicBezTo>
                      <a:cubicBezTo>
                        <a:pt x="0" y="5732"/>
                        <a:pt x="5979" y="-123"/>
                        <a:pt x="13203" y="2"/>
                      </a:cubicBezTo>
                      <a:cubicBezTo>
                        <a:pt x="20552" y="127"/>
                        <a:pt x="26407" y="6230"/>
                        <a:pt x="26407"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1" name="Graphic 2987">
                <a:extLst>
                  <a:ext uri="{FF2B5EF4-FFF2-40B4-BE49-F238E27FC236}">
                    <a16:creationId xmlns:a16="http://schemas.microsoft.com/office/drawing/2014/main" id="{7BAE302A-187B-FFCD-C6AC-F1B25A2C6845}"/>
                  </a:ext>
                </a:extLst>
              </p:cNvPr>
              <p:cNvGrpSpPr/>
              <p:nvPr/>
            </p:nvGrpSpPr>
            <p:grpSpPr>
              <a:xfrm>
                <a:off x="5958588" y="1855732"/>
                <a:ext cx="27032" cy="148974"/>
                <a:chOff x="5958588" y="1855732"/>
                <a:chExt cx="27032" cy="148974"/>
              </a:xfrm>
              <a:grpFill/>
            </p:grpSpPr>
            <p:sp>
              <p:nvSpPr>
                <p:cNvPr id="6306" name="Freeform 7868">
                  <a:extLst>
                    <a:ext uri="{FF2B5EF4-FFF2-40B4-BE49-F238E27FC236}">
                      <a16:creationId xmlns:a16="http://schemas.microsoft.com/office/drawing/2014/main" id="{AFFB1C41-0626-2E07-1660-B388459EFDF8}"/>
                    </a:ext>
                  </a:extLst>
                </p:cNvPr>
                <p:cNvSpPr/>
                <p:nvPr/>
              </p:nvSpPr>
              <p:spPr>
                <a:xfrm>
                  <a:off x="5974186" y="1932337"/>
                  <a:ext cx="3640" cy="52065"/>
                </a:xfrm>
                <a:custGeom>
                  <a:avLst/>
                  <a:gdLst>
                    <a:gd name="connsiteX0" fmla="*/ 1344 w 3640"/>
                    <a:gd name="connsiteY0" fmla="*/ 52065 h 52065"/>
                    <a:gd name="connsiteX1" fmla="*/ 3461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3"/>
                        <a:pt x="3835" y="37741"/>
                        <a:pt x="3461" y="33381"/>
                      </a:cubicBezTo>
                      <a:cubicBezTo>
                        <a:pt x="2714" y="26406"/>
                        <a:pt x="596"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7" name="Freeform 7869">
                  <a:extLst>
                    <a:ext uri="{FF2B5EF4-FFF2-40B4-BE49-F238E27FC236}">
                      <a16:creationId xmlns:a16="http://schemas.microsoft.com/office/drawing/2014/main" id="{A948DF40-FCEA-F06B-983C-CCAE0B4C01A4}"/>
                    </a:ext>
                  </a:extLst>
                </p:cNvPr>
                <p:cNvSpPr/>
                <p:nvPr/>
              </p:nvSpPr>
              <p:spPr>
                <a:xfrm>
                  <a:off x="5966332" y="1937195"/>
                  <a:ext cx="3883" cy="52189"/>
                </a:xfrm>
                <a:custGeom>
                  <a:avLst/>
                  <a:gdLst>
                    <a:gd name="connsiteX0" fmla="*/ 1724 w 3883"/>
                    <a:gd name="connsiteY0" fmla="*/ 0 h 52189"/>
                    <a:gd name="connsiteX1" fmla="*/ 3593 w 3883"/>
                    <a:gd name="connsiteY1" fmla="*/ 18684 h 52189"/>
                    <a:gd name="connsiteX2" fmla="*/ 105 w 3883"/>
                    <a:gd name="connsiteY2" fmla="*/ 35748 h 52189"/>
                    <a:gd name="connsiteX3" fmla="*/ 2222 w 388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883" h="52189">
                      <a:moveTo>
                        <a:pt x="1724" y="0"/>
                      </a:moveTo>
                      <a:cubicBezTo>
                        <a:pt x="4215" y="8096"/>
                        <a:pt x="4091" y="14449"/>
                        <a:pt x="3593" y="18684"/>
                      </a:cubicBezTo>
                      <a:cubicBezTo>
                        <a:pt x="2721" y="25659"/>
                        <a:pt x="603" y="28648"/>
                        <a:pt x="105" y="35748"/>
                      </a:cubicBezTo>
                      <a:cubicBezTo>
                        <a:pt x="-393" y="42599"/>
                        <a:pt x="977" y="48328"/>
                        <a:pt x="222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8" name="Freeform 7870">
                  <a:extLst>
                    <a:ext uri="{FF2B5EF4-FFF2-40B4-BE49-F238E27FC236}">
                      <a16:creationId xmlns:a16="http://schemas.microsoft.com/office/drawing/2014/main" id="{F7F33263-3C2F-4639-3B16-BFA7C319A475}"/>
                    </a:ext>
                  </a:extLst>
                </p:cNvPr>
                <p:cNvSpPr/>
                <p:nvPr/>
              </p:nvSpPr>
              <p:spPr>
                <a:xfrm>
                  <a:off x="5958588" y="1978173"/>
                  <a:ext cx="26781" cy="26534"/>
                </a:xfrm>
                <a:custGeom>
                  <a:avLst/>
                  <a:gdLst>
                    <a:gd name="connsiteX0" fmla="*/ 2 w 26781"/>
                    <a:gd name="connsiteY0" fmla="*/ 13080 h 26534"/>
                    <a:gd name="connsiteX1" fmla="*/ 13454 w 26781"/>
                    <a:gd name="connsiteY1" fmla="*/ 2 h 26534"/>
                    <a:gd name="connsiteX2" fmla="*/ 26782 w 26781"/>
                    <a:gd name="connsiteY2" fmla="*/ 13454 h 26534"/>
                    <a:gd name="connsiteX3" fmla="*/ 13330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2" y="5732"/>
                        <a:pt x="5980" y="-123"/>
                        <a:pt x="13454" y="2"/>
                      </a:cubicBezTo>
                      <a:cubicBezTo>
                        <a:pt x="20928" y="126"/>
                        <a:pt x="26782" y="6105"/>
                        <a:pt x="26782" y="13454"/>
                      </a:cubicBezTo>
                      <a:cubicBezTo>
                        <a:pt x="26782" y="20803"/>
                        <a:pt x="20803" y="26657"/>
                        <a:pt x="13330"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9" name="Freeform 7871">
                  <a:extLst>
                    <a:ext uri="{FF2B5EF4-FFF2-40B4-BE49-F238E27FC236}">
                      <a16:creationId xmlns:a16="http://schemas.microsoft.com/office/drawing/2014/main" id="{E66D368F-E142-6040-F2F3-8B1390AC23F0}"/>
                    </a:ext>
                  </a:extLst>
                </p:cNvPr>
                <p:cNvSpPr/>
                <p:nvPr/>
              </p:nvSpPr>
              <p:spPr>
                <a:xfrm>
                  <a:off x="5966506" y="1876037"/>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773"/>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0" name="Freeform 7872">
                  <a:extLst>
                    <a:ext uri="{FF2B5EF4-FFF2-40B4-BE49-F238E27FC236}">
                      <a16:creationId xmlns:a16="http://schemas.microsoft.com/office/drawing/2014/main" id="{A97C8E03-CFED-4AD7-DF98-BA94ADDE15C1}"/>
                    </a:ext>
                  </a:extLst>
                </p:cNvPr>
                <p:cNvSpPr/>
                <p:nvPr/>
              </p:nvSpPr>
              <p:spPr>
                <a:xfrm>
                  <a:off x="5974118" y="1871055"/>
                  <a:ext cx="3883" cy="52189"/>
                </a:xfrm>
                <a:custGeom>
                  <a:avLst/>
                  <a:gdLst>
                    <a:gd name="connsiteX0" fmla="*/ 2159 w 3883"/>
                    <a:gd name="connsiteY0" fmla="*/ 52190 h 52189"/>
                    <a:gd name="connsiteX1" fmla="*/ 291 w 3883"/>
                    <a:gd name="connsiteY1" fmla="*/ 33506 h 52189"/>
                    <a:gd name="connsiteX2" fmla="*/ 3778 w 3883"/>
                    <a:gd name="connsiteY2" fmla="*/ 16442 h 52189"/>
                    <a:gd name="connsiteX3" fmla="*/ 1661 w 3883"/>
                    <a:gd name="connsiteY3" fmla="*/ 0 h 52189"/>
                  </a:gdLst>
                  <a:ahLst/>
                  <a:cxnLst>
                    <a:cxn ang="0">
                      <a:pos x="connsiteX0" y="connsiteY0"/>
                    </a:cxn>
                    <a:cxn ang="0">
                      <a:pos x="connsiteX1" y="connsiteY1"/>
                    </a:cxn>
                    <a:cxn ang="0">
                      <a:pos x="connsiteX2" y="connsiteY2"/>
                    </a:cxn>
                    <a:cxn ang="0">
                      <a:pos x="connsiteX3" y="connsiteY3"/>
                    </a:cxn>
                  </a:cxnLst>
                  <a:rect l="l" t="t" r="r" b="b"/>
                  <a:pathLst>
                    <a:path w="3883" h="52189">
                      <a:moveTo>
                        <a:pt x="2159" y="52190"/>
                      </a:moveTo>
                      <a:cubicBezTo>
                        <a:pt x="-332" y="44093"/>
                        <a:pt x="-208" y="37741"/>
                        <a:pt x="291" y="33506"/>
                      </a:cubicBezTo>
                      <a:cubicBezTo>
                        <a:pt x="1038" y="26531"/>
                        <a:pt x="3280" y="23541"/>
                        <a:pt x="3778" y="16442"/>
                      </a:cubicBezTo>
                      <a:cubicBezTo>
                        <a:pt x="4277" y="9591"/>
                        <a:pt x="2906" y="3861"/>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11" name="Freeform 7873">
                  <a:extLst>
                    <a:ext uri="{FF2B5EF4-FFF2-40B4-BE49-F238E27FC236}">
                      <a16:creationId xmlns:a16="http://schemas.microsoft.com/office/drawing/2014/main" id="{050A69E4-87C0-0C31-6ECA-80ECB6AAEB8B}"/>
                    </a:ext>
                  </a:extLst>
                </p:cNvPr>
                <p:cNvSpPr/>
                <p:nvPr/>
              </p:nvSpPr>
              <p:spPr>
                <a:xfrm>
                  <a:off x="5959212" y="1855732"/>
                  <a:ext cx="26408" cy="26534"/>
                </a:xfrm>
                <a:custGeom>
                  <a:avLst/>
                  <a:gdLst>
                    <a:gd name="connsiteX0" fmla="*/ 26406 w 26408"/>
                    <a:gd name="connsiteY0" fmla="*/ 13454 h 26534"/>
                    <a:gd name="connsiteX1" fmla="*/ 13203 w 26408"/>
                    <a:gd name="connsiteY1" fmla="*/ 26533 h 26534"/>
                    <a:gd name="connsiteX2" fmla="*/ 0 w 26408"/>
                    <a:gd name="connsiteY2" fmla="*/ 13081 h 26534"/>
                    <a:gd name="connsiteX3" fmla="*/ 13203 w 26408"/>
                    <a:gd name="connsiteY3" fmla="*/ 2 h 26534"/>
                    <a:gd name="connsiteX4" fmla="*/ 26406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6" y="13454"/>
                      </a:moveTo>
                      <a:cubicBezTo>
                        <a:pt x="26406" y="20803"/>
                        <a:pt x="20428" y="26657"/>
                        <a:pt x="13203" y="26533"/>
                      </a:cubicBezTo>
                      <a:cubicBezTo>
                        <a:pt x="5979" y="26408"/>
                        <a:pt x="0" y="20429"/>
                        <a:pt x="0" y="13081"/>
                      </a:cubicBezTo>
                      <a:cubicBezTo>
                        <a:pt x="0" y="5732"/>
                        <a:pt x="5979" y="-123"/>
                        <a:pt x="13203" y="2"/>
                      </a:cubicBezTo>
                      <a:cubicBezTo>
                        <a:pt x="20552" y="127"/>
                        <a:pt x="26531" y="6105"/>
                        <a:pt x="26406"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2" name="Graphic 2987">
                <a:extLst>
                  <a:ext uri="{FF2B5EF4-FFF2-40B4-BE49-F238E27FC236}">
                    <a16:creationId xmlns:a16="http://schemas.microsoft.com/office/drawing/2014/main" id="{E68E9138-230B-7760-4E20-2A29D50C6AF4}"/>
                  </a:ext>
                </a:extLst>
              </p:cNvPr>
              <p:cNvGrpSpPr/>
              <p:nvPr/>
            </p:nvGrpSpPr>
            <p:grpSpPr>
              <a:xfrm>
                <a:off x="5928818" y="1855359"/>
                <a:ext cx="27282" cy="148974"/>
                <a:chOff x="5928818" y="1855359"/>
                <a:chExt cx="27282" cy="148974"/>
              </a:xfrm>
              <a:grpFill/>
            </p:grpSpPr>
            <p:sp>
              <p:nvSpPr>
                <p:cNvPr id="6300" name="Freeform 7875">
                  <a:extLst>
                    <a:ext uri="{FF2B5EF4-FFF2-40B4-BE49-F238E27FC236}">
                      <a16:creationId xmlns:a16="http://schemas.microsoft.com/office/drawing/2014/main" id="{BBCC79BD-69D3-61DB-45CF-037944AFF291}"/>
                    </a:ext>
                  </a:extLst>
                </p:cNvPr>
                <p:cNvSpPr/>
                <p:nvPr/>
              </p:nvSpPr>
              <p:spPr>
                <a:xfrm>
                  <a:off x="5944416" y="1931964"/>
                  <a:ext cx="3695" cy="52065"/>
                </a:xfrm>
                <a:custGeom>
                  <a:avLst/>
                  <a:gdLst>
                    <a:gd name="connsiteX0" fmla="*/ 1344 w 3695"/>
                    <a:gd name="connsiteY0" fmla="*/ 52065 h 52065"/>
                    <a:gd name="connsiteX1" fmla="*/ 3461 w 3695"/>
                    <a:gd name="connsiteY1" fmla="*/ 33381 h 52065"/>
                    <a:gd name="connsiteX2" fmla="*/ 98 w 3695"/>
                    <a:gd name="connsiteY2" fmla="*/ 16317 h 52065"/>
                    <a:gd name="connsiteX3" fmla="*/ 2340 w 3695"/>
                    <a:gd name="connsiteY3" fmla="*/ 0 h 52065"/>
                  </a:gdLst>
                  <a:ahLst/>
                  <a:cxnLst>
                    <a:cxn ang="0">
                      <a:pos x="connsiteX0" y="connsiteY0"/>
                    </a:cxn>
                    <a:cxn ang="0">
                      <a:pos x="connsiteX1" y="connsiteY1"/>
                    </a:cxn>
                    <a:cxn ang="0">
                      <a:pos x="connsiteX2" y="connsiteY2"/>
                    </a:cxn>
                    <a:cxn ang="0">
                      <a:pos x="connsiteX3" y="connsiteY3"/>
                    </a:cxn>
                  </a:cxnLst>
                  <a:rect l="l" t="t" r="r" b="b"/>
                  <a:pathLst>
                    <a:path w="3695" h="52065">
                      <a:moveTo>
                        <a:pt x="1344" y="52065"/>
                      </a:moveTo>
                      <a:cubicBezTo>
                        <a:pt x="3835" y="44093"/>
                        <a:pt x="3960" y="37741"/>
                        <a:pt x="3461" y="33381"/>
                      </a:cubicBezTo>
                      <a:cubicBezTo>
                        <a:pt x="2714" y="26406"/>
                        <a:pt x="597" y="23292"/>
                        <a:pt x="98" y="16317"/>
                      </a:cubicBezTo>
                      <a:cubicBezTo>
                        <a:pt x="-400" y="9466"/>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1" name="Freeform 7876">
                  <a:extLst>
                    <a:ext uri="{FF2B5EF4-FFF2-40B4-BE49-F238E27FC236}">
                      <a16:creationId xmlns:a16="http://schemas.microsoft.com/office/drawing/2014/main" id="{45160B26-F361-AA19-3463-F2D1219C801D}"/>
                    </a:ext>
                  </a:extLst>
                </p:cNvPr>
                <p:cNvSpPr/>
                <p:nvPr/>
              </p:nvSpPr>
              <p:spPr>
                <a:xfrm>
                  <a:off x="5936562" y="1936821"/>
                  <a:ext cx="3981" cy="52189"/>
                </a:xfrm>
                <a:custGeom>
                  <a:avLst/>
                  <a:gdLst>
                    <a:gd name="connsiteX0" fmla="*/ 1849 w 3981"/>
                    <a:gd name="connsiteY0" fmla="*/ 0 h 52189"/>
                    <a:gd name="connsiteX1" fmla="*/ 3718 w 3981"/>
                    <a:gd name="connsiteY1" fmla="*/ 18684 h 52189"/>
                    <a:gd name="connsiteX2" fmla="*/ 105 w 3981"/>
                    <a:gd name="connsiteY2" fmla="*/ 35748 h 52189"/>
                    <a:gd name="connsiteX3" fmla="*/ 2098 w 398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981" h="52189">
                      <a:moveTo>
                        <a:pt x="1849" y="0"/>
                      </a:moveTo>
                      <a:cubicBezTo>
                        <a:pt x="4216" y="8096"/>
                        <a:pt x="4216" y="14449"/>
                        <a:pt x="3718" y="18684"/>
                      </a:cubicBezTo>
                      <a:cubicBezTo>
                        <a:pt x="2846" y="25659"/>
                        <a:pt x="728" y="28648"/>
                        <a:pt x="105" y="35748"/>
                      </a:cubicBezTo>
                      <a:cubicBezTo>
                        <a:pt x="-393" y="42599"/>
                        <a:pt x="977" y="48328"/>
                        <a:pt x="209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2" name="Freeform 7877">
                  <a:extLst>
                    <a:ext uri="{FF2B5EF4-FFF2-40B4-BE49-F238E27FC236}">
                      <a16:creationId xmlns:a16="http://schemas.microsoft.com/office/drawing/2014/main" id="{FA54BA1E-86D9-A447-801A-D5B6D5A7D486}"/>
                    </a:ext>
                  </a:extLst>
                </p:cNvPr>
                <p:cNvSpPr/>
                <p:nvPr/>
              </p:nvSpPr>
              <p:spPr>
                <a:xfrm>
                  <a:off x="5928818" y="1977799"/>
                  <a:ext cx="26659" cy="26534"/>
                </a:xfrm>
                <a:custGeom>
                  <a:avLst/>
                  <a:gdLst>
                    <a:gd name="connsiteX0" fmla="*/ 2 w 26659"/>
                    <a:gd name="connsiteY0" fmla="*/ 13080 h 26534"/>
                    <a:gd name="connsiteX1" fmla="*/ 13454 w 26659"/>
                    <a:gd name="connsiteY1" fmla="*/ 2 h 26534"/>
                    <a:gd name="connsiteX2" fmla="*/ 26657 w 26659"/>
                    <a:gd name="connsiteY2" fmla="*/ 13454 h 26534"/>
                    <a:gd name="connsiteX3" fmla="*/ 13205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2" y="5732"/>
                        <a:pt x="6105" y="-123"/>
                        <a:pt x="13454" y="2"/>
                      </a:cubicBezTo>
                      <a:cubicBezTo>
                        <a:pt x="20803" y="126"/>
                        <a:pt x="26782" y="6105"/>
                        <a:pt x="26657" y="13454"/>
                      </a:cubicBezTo>
                      <a:cubicBezTo>
                        <a:pt x="26657" y="20803"/>
                        <a:pt x="20554" y="26657"/>
                        <a:pt x="13205" y="26533"/>
                      </a:cubicBezTo>
                      <a:cubicBezTo>
                        <a:pt x="5856" y="26408"/>
                        <a:pt x="-122"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3" name="Freeform 7878">
                  <a:extLst>
                    <a:ext uri="{FF2B5EF4-FFF2-40B4-BE49-F238E27FC236}">
                      <a16:creationId xmlns:a16="http://schemas.microsoft.com/office/drawing/2014/main" id="{B8EEB2E7-4506-A5AA-EACA-1E1657F6478D}"/>
                    </a:ext>
                  </a:extLst>
                </p:cNvPr>
                <p:cNvSpPr/>
                <p:nvPr/>
              </p:nvSpPr>
              <p:spPr>
                <a:xfrm>
                  <a:off x="5936932" y="1875664"/>
                  <a:ext cx="3570" cy="52065"/>
                </a:xfrm>
                <a:custGeom>
                  <a:avLst/>
                  <a:gdLst>
                    <a:gd name="connsiteX0" fmla="*/ 2351 w 3570"/>
                    <a:gd name="connsiteY0" fmla="*/ 0 h 52065"/>
                    <a:gd name="connsiteX1" fmla="*/ 234 w 3570"/>
                    <a:gd name="connsiteY1" fmla="*/ 18684 h 52065"/>
                    <a:gd name="connsiteX2" fmla="*/ 3473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0"/>
                      </a:moveTo>
                      <a:cubicBezTo>
                        <a:pt x="-140" y="7972"/>
                        <a:pt x="-264" y="14324"/>
                        <a:pt x="234" y="18684"/>
                      </a:cubicBezTo>
                      <a:cubicBezTo>
                        <a:pt x="981" y="25659"/>
                        <a:pt x="3099" y="28773"/>
                        <a:pt x="3473" y="35748"/>
                      </a:cubicBezTo>
                      <a:cubicBezTo>
                        <a:pt x="3970"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4" name="Freeform 7879">
                  <a:extLst>
                    <a:ext uri="{FF2B5EF4-FFF2-40B4-BE49-F238E27FC236}">
                      <a16:creationId xmlns:a16="http://schemas.microsoft.com/office/drawing/2014/main" id="{AF9C4A8F-D469-68EA-8244-D9EB03640FD6}"/>
                    </a:ext>
                  </a:extLst>
                </p:cNvPr>
                <p:cNvSpPr/>
                <p:nvPr/>
              </p:nvSpPr>
              <p:spPr>
                <a:xfrm>
                  <a:off x="5944500" y="1870681"/>
                  <a:ext cx="3856" cy="52189"/>
                </a:xfrm>
                <a:custGeom>
                  <a:avLst/>
                  <a:gdLst>
                    <a:gd name="connsiteX0" fmla="*/ 2133 w 3856"/>
                    <a:gd name="connsiteY0" fmla="*/ 52190 h 52189"/>
                    <a:gd name="connsiteX1" fmla="*/ 264 w 3856"/>
                    <a:gd name="connsiteY1" fmla="*/ 33506 h 52189"/>
                    <a:gd name="connsiteX2" fmla="*/ 3752 w 3856"/>
                    <a:gd name="connsiteY2" fmla="*/ 16442 h 52189"/>
                    <a:gd name="connsiteX3" fmla="*/ 1759 w 3856"/>
                    <a:gd name="connsiteY3" fmla="*/ 0 h 52189"/>
                  </a:gdLst>
                  <a:ahLst/>
                  <a:cxnLst>
                    <a:cxn ang="0">
                      <a:pos x="connsiteX0" y="connsiteY0"/>
                    </a:cxn>
                    <a:cxn ang="0">
                      <a:pos x="connsiteX1" y="connsiteY1"/>
                    </a:cxn>
                    <a:cxn ang="0">
                      <a:pos x="connsiteX2" y="connsiteY2"/>
                    </a:cxn>
                    <a:cxn ang="0">
                      <a:pos x="connsiteX3" y="connsiteY3"/>
                    </a:cxn>
                  </a:cxnLst>
                  <a:rect l="l" t="t" r="r" b="b"/>
                  <a:pathLst>
                    <a:path w="3856" h="52189">
                      <a:moveTo>
                        <a:pt x="2133" y="52190"/>
                      </a:moveTo>
                      <a:cubicBezTo>
                        <a:pt x="-234" y="44093"/>
                        <a:pt x="-234" y="37741"/>
                        <a:pt x="264" y="33506"/>
                      </a:cubicBezTo>
                      <a:cubicBezTo>
                        <a:pt x="1136" y="26531"/>
                        <a:pt x="3254" y="23541"/>
                        <a:pt x="3752" y="16442"/>
                      </a:cubicBezTo>
                      <a:cubicBezTo>
                        <a:pt x="4250" y="9591"/>
                        <a:pt x="2880" y="3861"/>
                        <a:pt x="17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305" name="Freeform 7880">
                  <a:extLst>
                    <a:ext uri="{FF2B5EF4-FFF2-40B4-BE49-F238E27FC236}">
                      <a16:creationId xmlns:a16="http://schemas.microsoft.com/office/drawing/2014/main" id="{CB1787A9-767D-1999-8694-6AA805E975D8}"/>
                    </a:ext>
                  </a:extLst>
                </p:cNvPr>
                <p:cNvSpPr/>
                <p:nvPr/>
              </p:nvSpPr>
              <p:spPr>
                <a:xfrm>
                  <a:off x="5929690" y="1855359"/>
                  <a:ext cx="26410" cy="26534"/>
                </a:xfrm>
                <a:custGeom>
                  <a:avLst/>
                  <a:gdLst>
                    <a:gd name="connsiteX0" fmla="*/ 26408 w 26410"/>
                    <a:gd name="connsiteY0" fmla="*/ 13454 h 26534"/>
                    <a:gd name="connsiteX1" fmla="*/ 13080 w 26410"/>
                    <a:gd name="connsiteY1" fmla="*/ 26533 h 26534"/>
                    <a:gd name="connsiteX2" fmla="*/ 2 w 26410"/>
                    <a:gd name="connsiteY2" fmla="*/ 13080 h 26534"/>
                    <a:gd name="connsiteX3" fmla="*/ 13330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408" y="20803"/>
                        <a:pt x="20430" y="26657"/>
                        <a:pt x="13080" y="26533"/>
                      </a:cubicBezTo>
                      <a:cubicBezTo>
                        <a:pt x="5732" y="26408"/>
                        <a:pt x="-123" y="20429"/>
                        <a:pt x="2" y="13080"/>
                      </a:cubicBezTo>
                      <a:cubicBezTo>
                        <a:pt x="2" y="5732"/>
                        <a:pt x="5981" y="-123"/>
                        <a:pt x="13330"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3" name="Graphic 2987">
                <a:extLst>
                  <a:ext uri="{FF2B5EF4-FFF2-40B4-BE49-F238E27FC236}">
                    <a16:creationId xmlns:a16="http://schemas.microsoft.com/office/drawing/2014/main" id="{16F157CF-F4D6-F559-2598-63FC0E882B8D}"/>
                  </a:ext>
                </a:extLst>
              </p:cNvPr>
              <p:cNvGrpSpPr/>
              <p:nvPr/>
            </p:nvGrpSpPr>
            <p:grpSpPr>
              <a:xfrm>
                <a:off x="5898926" y="1854985"/>
                <a:ext cx="27776" cy="148974"/>
                <a:chOff x="5898926" y="1854985"/>
                <a:chExt cx="27776" cy="148974"/>
              </a:xfrm>
              <a:grpFill/>
            </p:grpSpPr>
            <p:sp>
              <p:nvSpPr>
                <p:cNvPr id="6294" name="Freeform 7882">
                  <a:extLst>
                    <a:ext uri="{FF2B5EF4-FFF2-40B4-BE49-F238E27FC236}">
                      <a16:creationId xmlns:a16="http://schemas.microsoft.com/office/drawing/2014/main" id="{D4D3396A-2908-87E0-1002-8300ABB38DD9}"/>
                    </a:ext>
                  </a:extLst>
                </p:cNvPr>
                <p:cNvSpPr/>
                <p:nvPr/>
              </p:nvSpPr>
              <p:spPr>
                <a:xfrm>
                  <a:off x="5914807" y="1931590"/>
                  <a:ext cx="3557" cy="52065"/>
                </a:xfrm>
                <a:custGeom>
                  <a:avLst/>
                  <a:gdLst>
                    <a:gd name="connsiteX0" fmla="*/ 1183 w 3557"/>
                    <a:gd name="connsiteY0" fmla="*/ 52065 h 52065"/>
                    <a:gd name="connsiteX1" fmla="*/ 3301 w 3557"/>
                    <a:gd name="connsiteY1" fmla="*/ 33381 h 52065"/>
                    <a:gd name="connsiteX2" fmla="*/ 62 w 3557"/>
                    <a:gd name="connsiteY2" fmla="*/ 16317 h 52065"/>
                    <a:gd name="connsiteX3" fmla="*/ 24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1183" y="52065"/>
                      </a:moveTo>
                      <a:cubicBezTo>
                        <a:pt x="3799" y="44093"/>
                        <a:pt x="3799"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5" name="Freeform 7883">
                  <a:extLst>
                    <a:ext uri="{FF2B5EF4-FFF2-40B4-BE49-F238E27FC236}">
                      <a16:creationId xmlns:a16="http://schemas.microsoft.com/office/drawing/2014/main" id="{F6756230-CFE2-E1A6-1A3F-34E4CBCDBA75}"/>
                    </a:ext>
                  </a:extLst>
                </p:cNvPr>
                <p:cNvSpPr/>
                <p:nvPr/>
              </p:nvSpPr>
              <p:spPr>
                <a:xfrm>
                  <a:off x="5906618" y="1936448"/>
                  <a:ext cx="4118" cy="52189"/>
                </a:xfrm>
                <a:custGeom>
                  <a:avLst/>
                  <a:gdLst>
                    <a:gd name="connsiteX0" fmla="*/ 2023 w 4118"/>
                    <a:gd name="connsiteY0" fmla="*/ 0 h 52189"/>
                    <a:gd name="connsiteX1" fmla="*/ 3767 w 4118"/>
                    <a:gd name="connsiteY1" fmla="*/ 18684 h 52189"/>
                    <a:gd name="connsiteX2" fmla="*/ 155 w 4118"/>
                    <a:gd name="connsiteY2" fmla="*/ 35748 h 52189"/>
                    <a:gd name="connsiteX3" fmla="*/ 2148 w 411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18" h="52189">
                      <a:moveTo>
                        <a:pt x="2023" y="0"/>
                      </a:moveTo>
                      <a:cubicBezTo>
                        <a:pt x="4390" y="8096"/>
                        <a:pt x="4390"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6" name="Freeform 7884">
                  <a:extLst>
                    <a:ext uri="{FF2B5EF4-FFF2-40B4-BE49-F238E27FC236}">
                      <a16:creationId xmlns:a16="http://schemas.microsoft.com/office/drawing/2014/main" id="{3A59301B-8D9F-26FA-BA34-C93885BD1175}"/>
                    </a:ext>
                  </a:extLst>
                </p:cNvPr>
                <p:cNvSpPr/>
                <p:nvPr/>
              </p:nvSpPr>
              <p:spPr>
                <a:xfrm>
                  <a:off x="5898926" y="1977425"/>
                  <a:ext cx="26657" cy="26534"/>
                </a:xfrm>
                <a:custGeom>
                  <a:avLst/>
                  <a:gdLst>
                    <a:gd name="connsiteX0" fmla="*/ 0 w 26657"/>
                    <a:gd name="connsiteY0" fmla="*/ 13080 h 26534"/>
                    <a:gd name="connsiteX1" fmla="*/ 13452 w 26657"/>
                    <a:gd name="connsiteY1" fmla="*/ 2 h 26534"/>
                    <a:gd name="connsiteX2" fmla="*/ 26656 w 26657"/>
                    <a:gd name="connsiteY2" fmla="*/ 13454 h 26534"/>
                    <a:gd name="connsiteX3" fmla="*/ 13203 w 26657"/>
                    <a:gd name="connsiteY3" fmla="*/ 26533 h 26534"/>
                    <a:gd name="connsiteX4" fmla="*/ 0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0" y="13080"/>
                      </a:moveTo>
                      <a:cubicBezTo>
                        <a:pt x="125" y="5732"/>
                        <a:pt x="6103" y="-123"/>
                        <a:pt x="13452" y="2"/>
                      </a:cubicBezTo>
                      <a:cubicBezTo>
                        <a:pt x="20801" y="127"/>
                        <a:pt x="26780" y="6105"/>
                        <a:pt x="26656" y="13454"/>
                      </a:cubicBezTo>
                      <a:cubicBezTo>
                        <a:pt x="26656" y="20803"/>
                        <a:pt x="20552" y="26657"/>
                        <a:pt x="13203" y="26533"/>
                      </a:cubicBezTo>
                      <a:cubicBezTo>
                        <a:pt x="5854" y="26408"/>
                        <a:pt x="0" y="20429"/>
                        <a:pt x="0"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7" name="Freeform 7885">
                  <a:extLst>
                    <a:ext uri="{FF2B5EF4-FFF2-40B4-BE49-F238E27FC236}">
                      <a16:creationId xmlns:a16="http://schemas.microsoft.com/office/drawing/2014/main" id="{F7F1A651-C831-EE13-D06D-EDD04703F875}"/>
                    </a:ext>
                  </a:extLst>
                </p:cNvPr>
                <p:cNvSpPr/>
                <p:nvPr/>
              </p:nvSpPr>
              <p:spPr>
                <a:xfrm>
                  <a:off x="5907412" y="1875290"/>
                  <a:ext cx="3534" cy="52065"/>
                </a:xfrm>
                <a:custGeom>
                  <a:avLst/>
                  <a:gdLst>
                    <a:gd name="connsiteX0" fmla="*/ 2351 w 3534"/>
                    <a:gd name="connsiteY0" fmla="*/ 0 h 52065"/>
                    <a:gd name="connsiteX1" fmla="*/ 234 w 3534"/>
                    <a:gd name="connsiteY1" fmla="*/ 18684 h 52065"/>
                    <a:gd name="connsiteX2" fmla="*/ 3472 w 3534"/>
                    <a:gd name="connsiteY2" fmla="*/ 35748 h 52065"/>
                    <a:gd name="connsiteX3" fmla="*/ 1106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2351" y="0"/>
                      </a:moveTo>
                      <a:cubicBezTo>
                        <a:pt x="-140" y="7972"/>
                        <a:pt x="-264" y="14324"/>
                        <a:pt x="234" y="18684"/>
                      </a:cubicBezTo>
                      <a:cubicBezTo>
                        <a:pt x="981" y="25659"/>
                        <a:pt x="3098" y="28773"/>
                        <a:pt x="3472" y="35748"/>
                      </a:cubicBezTo>
                      <a:cubicBezTo>
                        <a:pt x="3846" y="42599"/>
                        <a:pt x="2476" y="48328"/>
                        <a:pt x="1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8" name="Freeform 7886">
                  <a:extLst>
                    <a:ext uri="{FF2B5EF4-FFF2-40B4-BE49-F238E27FC236}">
                      <a16:creationId xmlns:a16="http://schemas.microsoft.com/office/drawing/2014/main" id="{750AF08C-0546-7DDD-4183-D722717E12F4}"/>
                    </a:ext>
                  </a:extLst>
                </p:cNvPr>
                <p:cNvSpPr/>
                <p:nvPr/>
              </p:nvSpPr>
              <p:spPr>
                <a:xfrm>
                  <a:off x="5914855" y="1870308"/>
                  <a:ext cx="3988" cy="52189"/>
                </a:xfrm>
                <a:custGeom>
                  <a:avLst/>
                  <a:gdLst>
                    <a:gd name="connsiteX0" fmla="*/ 2132 w 3988"/>
                    <a:gd name="connsiteY0" fmla="*/ 52190 h 52189"/>
                    <a:gd name="connsiteX1" fmla="*/ 264 w 3988"/>
                    <a:gd name="connsiteY1" fmla="*/ 33506 h 52189"/>
                    <a:gd name="connsiteX2" fmla="*/ 3876 w 3988"/>
                    <a:gd name="connsiteY2" fmla="*/ 16442 h 52189"/>
                    <a:gd name="connsiteX3" fmla="*/ 1883 w 3988"/>
                    <a:gd name="connsiteY3" fmla="*/ 0 h 52189"/>
                  </a:gdLst>
                  <a:ahLst/>
                  <a:cxnLst>
                    <a:cxn ang="0">
                      <a:pos x="connsiteX0" y="connsiteY0"/>
                    </a:cxn>
                    <a:cxn ang="0">
                      <a:pos x="connsiteX1" y="connsiteY1"/>
                    </a:cxn>
                    <a:cxn ang="0">
                      <a:pos x="connsiteX2" y="connsiteY2"/>
                    </a:cxn>
                    <a:cxn ang="0">
                      <a:pos x="connsiteX3" y="connsiteY3"/>
                    </a:cxn>
                  </a:cxnLst>
                  <a:rect l="l" t="t" r="r" b="b"/>
                  <a:pathLst>
                    <a:path w="3988" h="52189">
                      <a:moveTo>
                        <a:pt x="2132" y="52190"/>
                      </a:moveTo>
                      <a:cubicBezTo>
                        <a:pt x="-234" y="44093"/>
                        <a:pt x="-234" y="37741"/>
                        <a:pt x="264" y="33506"/>
                      </a:cubicBezTo>
                      <a:cubicBezTo>
                        <a:pt x="1136" y="26531"/>
                        <a:pt x="3253" y="23541"/>
                        <a:pt x="3876" y="16442"/>
                      </a:cubicBezTo>
                      <a:cubicBezTo>
                        <a:pt x="4374" y="9591"/>
                        <a:pt x="3129" y="3861"/>
                        <a:pt x="18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9" name="Freeform 7887">
                  <a:extLst>
                    <a:ext uri="{FF2B5EF4-FFF2-40B4-BE49-F238E27FC236}">
                      <a16:creationId xmlns:a16="http://schemas.microsoft.com/office/drawing/2014/main" id="{80C86039-65A0-1BA6-848F-FB895778C071}"/>
                    </a:ext>
                  </a:extLst>
                </p:cNvPr>
                <p:cNvSpPr/>
                <p:nvPr/>
              </p:nvSpPr>
              <p:spPr>
                <a:xfrm>
                  <a:off x="5900295" y="1854985"/>
                  <a:ext cx="26408" cy="26534"/>
                </a:xfrm>
                <a:custGeom>
                  <a:avLst/>
                  <a:gdLst>
                    <a:gd name="connsiteX0" fmla="*/ 26408 w 26408"/>
                    <a:gd name="connsiteY0" fmla="*/ 13454 h 26534"/>
                    <a:gd name="connsiteX1" fmla="*/ 13080 w 26408"/>
                    <a:gd name="connsiteY1" fmla="*/ 26533 h 26534"/>
                    <a:gd name="connsiteX2" fmla="*/ 2 w 26408"/>
                    <a:gd name="connsiteY2" fmla="*/ 13080 h 26534"/>
                    <a:gd name="connsiteX3" fmla="*/ 13329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408" y="20803"/>
                        <a:pt x="20429" y="26657"/>
                        <a:pt x="13080" y="26533"/>
                      </a:cubicBezTo>
                      <a:cubicBezTo>
                        <a:pt x="5732" y="26408"/>
                        <a:pt x="-123" y="20429"/>
                        <a:pt x="2" y="13080"/>
                      </a:cubicBezTo>
                      <a:cubicBezTo>
                        <a:pt x="126" y="5732"/>
                        <a:pt x="6105" y="-123"/>
                        <a:pt x="13329" y="2"/>
                      </a:cubicBezTo>
                      <a:cubicBezTo>
                        <a:pt x="20554" y="126"/>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4" name="Graphic 2987">
                <a:extLst>
                  <a:ext uri="{FF2B5EF4-FFF2-40B4-BE49-F238E27FC236}">
                    <a16:creationId xmlns:a16="http://schemas.microsoft.com/office/drawing/2014/main" id="{042D7DEA-09AF-F2F7-ED5D-39C455465C41}"/>
                  </a:ext>
                </a:extLst>
              </p:cNvPr>
              <p:cNvGrpSpPr/>
              <p:nvPr/>
            </p:nvGrpSpPr>
            <p:grpSpPr>
              <a:xfrm>
                <a:off x="5869155" y="1854611"/>
                <a:ext cx="28027" cy="148974"/>
                <a:chOff x="5869155" y="1854611"/>
                <a:chExt cx="28027" cy="148974"/>
              </a:xfrm>
              <a:grpFill/>
            </p:grpSpPr>
            <p:sp>
              <p:nvSpPr>
                <p:cNvPr id="6288" name="Freeform 7889">
                  <a:extLst>
                    <a:ext uri="{FF2B5EF4-FFF2-40B4-BE49-F238E27FC236}">
                      <a16:creationId xmlns:a16="http://schemas.microsoft.com/office/drawing/2014/main" id="{47B061DA-40CA-4645-9407-75276C168B9C}"/>
                    </a:ext>
                  </a:extLst>
                </p:cNvPr>
                <p:cNvSpPr/>
                <p:nvPr/>
              </p:nvSpPr>
              <p:spPr>
                <a:xfrm>
                  <a:off x="5885163" y="1931216"/>
                  <a:ext cx="3477" cy="52065"/>
                </a:xfrm>
                <a:custGeom>
                  <a:avLst/>
                  <a:gdLst>
                    <a:gd name="connsiteX0" fmla="*/ 1059 w 3477"/>
                    <a:gd name="connsiteY0" fmla="*/ 52065 h 52065"/>
                    <a:gd name="connsiteX1" fmla="*/ 3301 w 3477"/>
                    <a:gd name="connsiteY1" fmla="*/ 33381 h 52065"/>
                    <a:gd name="connsiteX2" fmla="*/ 62 w 3477"/>
                    <a:gd name="connsiteY2" fmla="*/ 16317 h 52065"/>
                    <a:gd name="connsiteX3" fmla="*/ 2429 w 3477"/>
                    <a:gd name="connsiteY3" fmla="*/ 0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52065"/>
                      </a:moveTo>
                      <a:cubicBezTo>
                        <a:pt x="3675" y="44093"/>
                        <a:pt x="3675" y="37741"/>
                        <a:pt x="3301" y="33381"/>
                      </a:cubicBezTo>
                      <a:cubicBezTo>
                        <a:pt x="2554" y="26406"/>
                        <a:pt x="436" y="23292"/>
                        <a:pt x="62" y="16317"/>
                      </a:cubicBezTo>
                      <a:cubicBezTo>
                        <a:pt x="-311" y="9466"/>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9" name="Freeform 7890">
                  <a:extLst>
                    <a:ext uri="{FF2B5EF4-FFF2-40B4-BE49-F238E27FC236}">
                      <a16:creationId xmlns:a16="http://schemas.microsoft.com/office/drawing/2014/main" id="{26EE6B6A-8949-383B-0FB3-EA8F1F31ABC8}"/>
                    </a:ext>
                  </a:extLst>
                </p:cNvPr>
                <p:cNvSpPr/>
                <p:nvPr/>
              </p:nvSpPr>
              <p:spPr>
                <a:xfrm>
                  <a:off x="5876974" y="1936074"/>
                  <a:ext cx="4062" cy="52189"/>
                </a:xfrm>
                <a:custGeom>
                  <a:avLst/>
                  <a:gdLst>
                    <a:gd name="connsiteX0" fmla="*/ 2023 w 4062"/>
                    <a:gd name="connsiteY0" fmla="*/ 0 h 52189"/>
                    <a:gd name="connsiteX1" fmla="*/ 3767 w 4062"/>
                    <a:gd name="connsiteY1" fmla="*/ 18684 h 52189"/>
                    <a:gd name="connsiteX2" fmla="*/ 155 w 4062"/>
                    <a:gd name="connsiteY2" fmla="*/ 35748 h 52189"/>
                    <a:gd name="connsiteX3" fmla="*/ 2148 w 406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061" h="52189">
                      <a:moveTo>
                        <a:pt x="2023" y="0"/>
                      </a:moveTo>
                      <a:cubicBezTo>
                        <a:pt x="4390" y="8096"/>
                        <a:pt x="4266" y="14449"/>
                        <a:pt x="3767" y="18684"/>
                      </a:cubicBezTo>
                      <a:cubicBezTo>
                        <a:pt x="2895" y="25659"/>
                        <a:pt x="778" y="28648"/>
                        <a:pt x="155" y="35748"/>
                      </a:cubicBezTo>
                      <a:cubicBezTo>
                        <a:pt x="-467"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0" name="Freeform 7891">
                  <a:extLst>
                    <a:ext uri="{FF2B5EF4-FFF2-40B4-BE49-F238E27FC236}">
                      <a16:creationId xmlns:a16="http://schemas.microsoft.com/office/drawing/2014/main" id="{70164DF3-42E6-DA72-CF29-F568301E6133}"/>
                    </a:ext>
                  </a:extLst>
                </p:cNvPr>
                <p:cNvSpPr/>
                <p:nvPr/>
              </p:nvSpPr>
              <p:spPr>
                <a:xfrm>
                  <a:off x="5869155" y="1977051"/>
                  <a:ext cx="26657" cy="26534"/>
                </a:xfrm>
                <a:custGeom>
                  <a:avLst/>
                  <a:gdLst>
                    <a:gd name="connsiteX0" fmla="*/ 2 w 26657"/>
                    <a:gd name="connsiteY0" fmla="*/ 13080 h 26534"/>
                    <a:gd name="connsiteX1" fmla="*/ 13454 w 26657"/>
                    <a:gd name="connsiteY1" fmla="*/ 2 h 26534"/>
                    <a:gd name="connsiteX2" fmla="*/ 26657 w 26657"/>
                    <a:gd name="connsiteY2" fmla="*/ 13454 h 26534"/>
                    <a:gd name="connsiteX3" fmla="*/ 13205 w 26657"/>
                    <a:gd name="connsiteY3" fmla="*/ 26533 h 26534"/>
                    <a:gd name="connsiteX4" fmla="*/ 2 w 26657"/>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4">
                      <a:moveTo>
                        <a:pt x="2" y="13080"/>
                      </a:moveTo>
                      <a:cubicBezTo>
                        <a:pt x="126" y="5732"/>
                        <a:pt x="6105" y="-123"/>
                        <a:pt x="13454" y="2"/>
                      </a:cubicBezTo>
                      <a:cubicBezTo>
                        <a:pt x="20803" y="126"/>
                        <a:pt x="26657" y="6105"/>
                        <a:pt x="26657" y="13454"/>
                      </a:cubicBezTo>
                      <a:cubicBezTo>
                        <a:pt x="26532" y="20803"/>
                        <a:pt x="20554" y="26657"/>
                        <a:pt x="13205" y="26533"/>
                      </a:cubicBezTo>
                      <a:cubicBezTo>
                        <a:pt x="5856"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1" name="Freeform 7892">
                  <a:extLst>
                    <a:ext uri="{FF2B5EF4-FFF2-40B4-BE49-F238E27FC236}">
                      <a16:creationId xmlns:a16="http://schemas.microsoft.com/office/drawing/2014/main" id="{9D5AF3DA-16A2-BD2D-754C-423C2018070F}"/>
                    </a:ext>
                  </a:extLst>
                </p:cNvPr>
                <p:cNvSpPr/>
                <p:nvPr/>
              </p:nvSpPr>
              <p:spPr>
                <a:xfrm>
                  <a:off x="5877824" y="1875041"/>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2"/>
                        <a:pt x="-197" y="14324"/>
                        <a:pt x="177" y="18684"/>
                      </a:cubicBezTo>
                      <a:cubicBezTo>
                        <a:pt x="924" y="25659"/>
                        <a:pt x="2917" y="28773"/>
                        <a:pt x="3415" y="35748"/>
                      </a:cubicBezTo>
                      <a:cubicBezTo>
                        <a:pt x="3789" y="42599"/>
                        <a:pt x="2294"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2" name="Freeform 7893">
                  <a:extLst>
                    <a:ext uri="{FF2B5EF4-FFF2-40B4-BE49-F238E27FC236}">
                      <a16:creationId xmlns:a16="http://schemas.microsoft.com/office/drawing/2014/main" id="{449C1854-CB2F-D5E8-123D-C4A4A66FB99F}"/>
                    </a:ext>
                  </a:extLst>
                </p:cNvPr>
                <p:cNvSpPr/>
                <p:nvPr/>
              </p:nvSpPr>
              <p:spPr>
                <a:xfrm>
                  <a:off x="5885304" y="1869934"/>
                  <a:ext cx="4062" cy="52189"/>
                </a:xfrm>
                <a:custGeom>
                  <a:avLst/>
                  <a:gdLst>
                    <a:gd name="connsiteX0" fmla="*/ 2039 w 4062"/>
                    <a:gd name="connsiteY0" fmla="*/ 52190 h 52189"/>
                    <a:gd name="connsiteX1" fmla="*/ 295 w 4062"/>
                    <a:gd name="connsiteY1" fmla="*/ 33506 h 52189"/>
                    <a:gd name="connsiteX2" fmla="*/ 3907 w 4062"/>
                    <a:gd name="connsiteY2" fmla="*/ 16442 h 52189"/>
                    <a:gd name="connsiteX3" fmla="*/ 1915 w 4062"/>
                    <a:gd name="connsiteY3" fmla="*/ 0 h 52189"/>
                  </a:gdLst>
                  <a:ahLst/>
                  <a:cxnLst>
                    <a:cxn ang="0">
                      <a:pos x="connsiteX0" y="connsiteY0"/>
                    </a:cxn>
                    <a:cxn ang="0">
                      <a:pos x="connsiteX1" y="connsiteY1"/>
                    </a:cxn>
                    <a:cxn ang="0">
                      <a:pos x="connsiteX2" y="connsiteY2"/>
                    </a:cxn>
                    <a:cxn ang="0">
                      <a:pos x="connsiteX3" y="connsiteY3"/>
                    </a:cxn>
                  </a:cxnLst>
                  <a:rect l="l" t="t" r="r" b="b"/>
                  <a:pathLst>
                    <a:path w="4061" h="52189">
                      <a:moveTo>
                        <a:pt x="2039" y="52190"/>
                      </a:moveTo>
                      <a:cubicBezTo>
                        <a:pt x="-327" y="44093"/>
                        <a:pt x="-203" y="37741"/>
                        <a:pt x="295" y="33506"/>
                      </a:cubicBezTo>
                      <a:cubicBezTo>
                        <a:pt x="1167" y="26531"/>
                        <a:pt x="3285" y="23541"/>
                        <a:pt x="3907" y="16442"/>
                      </a:cubicBezTo>
                      <a:cubicBezTo>
                        <a:pt x="4530" y="9591"/>
                        <a:pt x="3160" y="3861"/>
                        <a:pt x="1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93" name="Freeform 7894">
                  <a:extLst>
                    <a:ext uri="{FF2B5EF4-FFF2-40B4-BE49-F238E27FC236}">
                      <a16:creationId xmlns:a16="http://schemas.microsoft.com/office/drawing/2014/main" id="{5FB065EA-DEAE-34B3-A87B-5BA5BE19ECCE}"/>
                    </a:ext>
                  </a:extLst>
                </p:cNvPr>
                <p:cNvSpPr/>
                <p:nvPr/>
              </p:nvSpPr>
              <p:spPr>
                <a:xfrm>
                  <a:off x="5870774" y="1854611"/>
                  <a:ext cx="26408" cy="26534"/>
                </a:xfrm>
                <a:custGeom>
                  <a:avLst/>
                  <a:gdLst>
                    <a:gd name="connsiteX0" fmla="*/ 26408 w 26408"/>
                    <a:gd name="connsiteY0" fmla="*/ 13454 h 26534"/>
                    <a:gd name="connsiteX1" fmla="*/ 13081 w 26408"/>
                    <a:gd name="connsiteY1" fmla="*/ 26533 h 26534"/>
                    <a:gd name="connsiteX2" fmla="*/ 2 w 26408"/>
                    <a:gd name="connsiteY2" fmla="*/ 13081 h 26534"/>
                    <a:gd name="connsiteX3" fmla="*/ 13330 w 26408"/>
                    <a:gd name="connsiteY3" fmla="*/ 2 h 26534"/>
                    <a:gd name="connsiteX4" fmla="*/ 26408 w 26408"/>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4">
                      <a:moveTo>
                        <a:pt x="26408" y="13454"/>
                      </a:moveTo>
                      <a:cubicBezTo>
                        <a:pt x="26284" y="20803"/>
                        <a:pt x="20305" y="26657"/>
                        <a:pt x="13081" y="26533"/>
                      </a:cubicBezTo>
                      <a:cubicBezTo>
                        <a:pt x="5732" y="26408"/>
                        <a:pt x="-122" y="20429"/>
                        <a:pt x="2" y="13081"/>
                      </a:cubicBezTo>
                      <a:cubicBezTo>
                        <a:pt x="127" y="5732"/>
                        <a:pt x="6106" y="-123"/>
                        <a:pt x="13330" y="2"/>
                      </a:cubicBezTo>
                      <a:cubicBezTo>
                        <a:pt x="20554" y="127"/>
                        <a:pt x="26408"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5" name="Graphic 2987">
                <a:extLst>
                  <a:ext uri="{FF2B5EF4-FFF2-40B4-BE49-F238E27FC236}">
                    <a16:creationId xmlns:a16="http://schemas.microsoft.com/office/drawing/2014/main" id="{9E74094D-44EE-D072-40D4-842D91C0FE2B}"/>
                  </a:ext>
                </a:extLst>
              </p:cNvPr>
              <p:cNvGrpSpPr/>
              <p:nvPr/>
            </p:nvGrpSpPr>
            <p:grpSpPr>
              <a:xfrm>
                <a:off x="5839386" y="1854238"/>
                <a:ext cx="28276" cy="149099"/>
                <a:chOff x="5839386" y="1854238"/>
                <a:chExt cx="28276" cy="149099"/>
              </a:xfrm>
              <a:grpFill/>
            </p:grpSpPr>
            <p:sp>
              <p:nvSpPr>
                <p:cNvPr id="6282" name="Freeform 7896">
                  <a:extLst>
                    <a:ext uri="{FF2B5EF4-FFF2-40B4-BE49-F238E27FC236}">
                      <a16:creationId xmlns:a16="http://schemas.microsoft.com/office/drawing/2014/main" id="{36B71473-96AA-78EC-DF67-AEA53B7F5092}"/>
                    </a:ext>
                  </a:extLst>
                </p:cNvPr>
                <p:cNvSpPr/>
                <p:nvPr/>
              </p:nvSpPr>
              <p:spPr>
                <a:xfrm>
                  <a:off x="5855398" y="1930843"/>
                  <a:ext cx="3473" cy="52065"/>
                </a:xfrm>
                <a:custGeom>
                  <a:avLst/>
                  <a:gdLst>
                    <a:gd name="connsiteX0" fmla="*/ 1055 w 3473"/>
                    <a:gd name="connsiteY0" fmla="*/ 52065 h 52065"/>
                    <a:gd name="connsiteX1" fmla="*/ 3297 w 3473"/>
                    <a:gd name="connsiteY1" fmla="*/ 33381 h 52065"/>
                    <a:gd name="connsiteX2" fmla="*/ 58 w 3473"/>
                    <a:gd name="connsiteY2" fmla="*/ 16317 h 52065"/>
                    <a:gd name="connsiteX3" fmla="*/ 2425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1055" y="52065"/>
                      </a:moveTo>
                      <a:cubicBezTo>
                        <a:pt x="3671" y="44093"/>
                        <a:pt x="3671" y="37741"/>
                        <a:pt x="3297" y="33381"/>
                      </a:cubicBezTo>
                      <a:cubicBezTo>
                        <a:pt x="2549" y="26406"/>
                        <a:pt x="557"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3" name="Freeform 7897">
                  <a:extLst>
                    <a:ext uri="{FF2B5EF4-FFF2-40B4-BE49-F238E27FC236}">
                      <a16:creationId xmlns:a16="http://schemas.microsoft.com/office/drawing/2014/main" id="{12052D9B-C1DF-58B8-8546-5B3F8EF7AA69}"/>
                    </a:ext>
                  </a:extLst>
                </p:cNvPr>
                <p:cNvSpPr/>
                <p:nvPr/>
              </p:nvSpPr>
              <p:spPr>
                <a:xfrm>
                  <a:off x="5847204" y="1935700"/>
                  <a:ext cx="4187" cy="52189"/>
                </a:xfrm>
                <a:custGeom>
                  <a:avLst/>
                  <a:gdLst>
                    <a:gd name="connsiteX0" fmla="*/ 2148 w 4187"/>
                    <a:gd name="connsiteY0" fmla="*/ 0 h 52189"/>
                    <a:gd name="connsiteX1" fmla="*/ 3892 w 4187"/>
                    <a:gd name="connsiteY1" fmla="*/ 18684 h 52189"/>
                    <a:gd name="connsiteX2" fmla="*/ 155 w 4187"/>
                    <a:gd name="connsiteY2" fmla="*/ 35748 h 52189"/>
                    <a:gd name="connsiteX3" fmla="*/ 2148 w 418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187" h="52189">
                      <a:moveTo>
                        <a:pt x="2148" y="0"/>
                      </a:moveTo>
                      <a:cubicBezTo>
                        <a:pt x="4515" y="8096"/>
                        <a:pt x="4390" y="14449"/>
                        <a:pt x="3892" y="18684"/>
                      </a:cubicBezTo>
                      <a:cubicBezTo>
                        <a:pt x="3020" y="25659"/>
                        <a:pt x="778" y="28648"/>
                        <a:pt x="155" y="35748"/>
                      </a:cubicBezTo>
                      <a:cubicBezTo>
                        <a:pt x="-468" y="42599"/>
                        <a:pt x="903" y="48328"/>
                        <a:pt x="214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4" name="Freeform 7898">
                  <a:extLst>
                    <a:ext uri="{FF2B5EF4-FFF2-40B4-BE49-F238E27FC236}">
                      <a16:creationId xmlns:a16="http://schemas.microsoft.com/office/drawing/2014/main" id="{39854C2F-3C3D-4BC5-117D-E9B7ADB285D3}"/>
                    </a:ext>
                  </a:extLst>
                </p:cNvPr>
                <p:cNvSpPr/>
                <p:nvPr/>
              </p:nvSpPr>
              <p:spPr>
                <a:xfrm>
                  <a:off x="5839386" y="1976802"/>
                  <a:ext cx="26781" cy="26534"/>
                </a:xfrm>
                <a:custGeom>
                  <a:avLst/>
                  <a:gdLst>
                    <a:gd name="connsiteX0" fmla="*/ 2 w 26781"/>
                    <a:gd name="connsiteY0" fmla="*/ 13080 h 26534"/>
                    <a:gd name="connsiteX1" fmla="*/ 13579 w 26781"/>
                    <a:gd name="connsiteY1" fmla="*/ 2 h 26534"/>
                    <a:gd name="connsiteX2" fmla="*/ 26782 w 26781"/>
                    <a:gd name="connsiteY2" fmla="*/ 13454 h 26534"/>
                    <a:gd name="connsiteX3" fmla="*/ 13205 w 26781"/>
                    <a:gd name="connsiteY3" fmla="*/ 26533 h 26534"/>
                    <a:gd name="connsiteX4" fmla="*/ 2 w 26781"/>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34">
                      <a:moveTo>
                        <a:pt x="2" y="13080"/>
                      </a:moveTo>
                      <a:cubicBezTo>
                        <a:pt x="127" y="5732"/>
                        <a:pt x="6230" y="-123"/>
                        <a:pt x="13579" y="2"/>
                      </a:cubicBezTo>
                      <a:cubicBezTo>
                        <a:pt x="20928" y="126"/>
                        <a:pt x="26782" y="6105"/>
                        <a:pt x="26782" y="13454"/>
                      </a:cubicBezTo>
                      <a:cubicBezTo>
                        <a:pt x="26657" y="20803"/>
                        <a:pt x="20679" y="26657"/>
                        <a:pt x="13205" y="26533"/>
                      </a:cubicBezTo>
                      <a:cubicBezTo>
                        <a:pt x="5732" y="26408"/>
                        <a:pt x="-123" y="20305"/>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5" name="Freeform 7899">
                  <a:extLst>
                    <a:ext uri="{FF2B5EF4-FFF2-40B4-BE49-F238E27FC236}">
                      <a16:creationId xmlns:a16="http://schemas.microsoft.com/office/drawing/2014/main" id="{A3CDC267-4A3B-26D0-09E7-E24C2F7FBA7C}"/>
                    </a:ext>
                  </a:extLst>
                </p:cNvPr>
                <p:cNvSpPr/>
                <p:nvPr/>
              </p:nvSpPr>
              <p:spPr>
                <a:xfrm>
                  <a:off x="5848304" y="1874667"/>
                  <a:ext cx="3349" cy="52065"/>
                </a:xfrm>
                <a:custGeom>
                  <a:avLst/>
                  <a:gdLst>
                    <a:gd name="connsiteX0" fmla="*/ 2419 w 3349"/>
                    <a:gd name="connsiteY0" fmla="*/ 0 h 52065"/>
                    <a:gd name="connsiteX1" fmla="*/ 177 w 3349"/>
                    <a:gd name="connsiteY1" fmla="*/ 18684 h 52065"/>
                    <a:gd name="connsiteX2" fmla="*/ 3291 w 3349"/>
                    <a:gd name="connsiteY2" fmla="*/ 35748 h 52065"/>
                    <a:gd name="connsiteX3" fmla="*/ 924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2419" y="0"/>
                      </a:moveTo>
                      <a:cubicBezTo>
                        <a:pt x="-197" y="7972"/>
                        <a:pt x="-197" y="14324"/>
                        <a:pt x="177" y="18684"/>
                      </a:cubicBezTo>
                      <a:cubicBezTo>
                        <a:pt x="800" y="25659"/>
                        <a:pt x="2917" y="28773"/>
                        <a:pt x="3291" y="35748"/>
                      </a:cubicBezTo>
                      <a:cubicBezTo>
                        <a:pt x="3664" y="42599"/>
                        <a:pt x="2170" y="48328"/>
                        <a:pt x="92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6" name="Freeform 7900">
                  <a:extLst>
                    <a:ext uri="{FF2B5EF4-FFF2-40B4-BE49-F238E27FC236}">
                      <a16:creationId xmlns:a16="http://schemas.microsoft.com/office/drawing/2014/main" id="{C7E2A05D-B5DA-1D68-2785-C8104A808305}"/>
                    </a:ext>
                  </a:extLst>
                </p:cNvPr>
                <p:cNvSpPr/>
                <p:nvPr/>
              </p:nvSpPr>
              <p:spPr>
                <a:xfrm>
                  <a:off x="5855659" y="1869685"/>
                  <a:ext cx="4063" cy="52189"/>
                </a:xfrm>
                <a:custGeom>
                  <a:avLst/>
                  <a:gdLst>
                    <a:gd name="connsiteX0" fmla="*/ 2039 w 4063"/>
                    <a:gd name="connsiteY0" fmla="*/ 52190 h 52189"/>
                    <a:gd name="connsiteX1" fmla="*/ 295 w 4063"/>
                    <a:gd name="connsiteY1" fmla="*/ 33506 h 52189"/>
                    <a:gd name="connsiteX2" fmla="*/ 3907 w 4063"/>
                    <a:gd name="connsiteY2" fmla="*/ 16442 h 52189"/>
                    <a:gd name="connsiteX3" fmla="*/ 2039 w 4063"/>
                    <a:gd name="connsiteY3" fmla="*/ 0 h 52189"/>
                  </a:gdLst>
                  <a:ahLst/>
                  <a:cxnLst>
                    <a:cxn ang="0">
                      <a:pos x="connsiteX0" y="connsiteY0"/>
                    </a:cxn>
                    <a:cxn ang="0">
                      <a:pos x="connsiteX1" y="connsiteY1"/>
                    </a:cxn>
                    <a:cxn ang="0">
                      <a:pos x="connsiteX2" y="connsiteY2"/>
                    </a:cxn>
                    <a:cxn ang="0">
                      <a:pos x="connsiteX3" y="connsiteY3"/>
                    </a:cxn>
                  </a:cxnLst>
                  <a:rect l="l" t="t" r="r" b="b"/>
                  <a:pathLst>
                    <a:path w="4063" h="52189">
                      <a:moveTo>
                        <a:pt x="2039" y="52190"/>
                      </a:moveTo>
                      <a:cubicBezTo>
                        <a:pt x="-328" y="44093"/>
                        <a:pt x="-203" y="37741"/>
                        <a:pt x="295" y="33506"/>
                      </a:cubicBezTo>
                      <a:cubicBezTo>
                        <a:pt x="1167" y="26531"/>
                        <a:pt x="3285" y="23541"/>
                        <a:pt x="3907" y="16442"/>
                      </a:cubicBezTo>
                      <a:cubicBezTo>
                        <a:pt x="4530" y="9591"/>
                        <a:pt x="3160" y="3861"/>
                        <a:pt x="20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7" name="Freeform 7901">
                  <a:extLst>
                    <a:ext uri="{FF2B5EF4-FFF2-40B4-BE49-F238E27FC236}">
                      <a16:creationId xmlns:a16="http://schemas.microsoft.com/office/drawing/2014/main" id="{B0088610-FD38-5FCB-84C3-C252DF8566E4}"/>
                    </a:ext>
                  </a:extLst>
                </p:cNvPr>
                <p:cNvSpPr/>
                <p:nvPr/>
              </p:nvSpPr>
              <p:spPr>
                <a:xfrm>
                  <a:off x="5841132" y="1854238"/>
                  <a:ext cx="26530" cy="26534"/>
                </a:xfrm>
                <a:custGeom>
                  <a:avLst/>
                  <a:gdLst>
                    <a:gd name="connsiteX0" fmla="*/ 26530 w 26530"/>
                    <a:gd name="connsiteY0" fmla="*/ 13454 h 26534"/>
                    <a:gd name="connsiteX1" fmla="*/ 13078 w 26530"/>
                    <a:gd name="connsiteY1" fmla="*/ 26533 h 26534"/>
                    <a:gd name="connsiteX2" fmla="*/ 0 w 26530"/>
                    <a:gd name="connsiteY2" fmla="*/ 13080 h 26534"/>
                    <a:gd name="connsiteX3" fmla="*/ 13452 w 26530"/>
                    <a:gd name="connsiteY3" fmla="*/ 2 h 26534"/>
                    <a:gd name="connsiteX4" fmla="*/ 26530 w 2653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4">
                      <a:moveTo>
                        <a:pt x="26530" y="13454"/>
                      </a:moveTo>
                      <a:cubicBezTo>
                        <a:pt x="26406" y="20803"/>
                        <a:pt x="20427" y="26657"/>
                        <a:pt x="13078" y="26533"/>
                      </a:cubicBezTo>
                      <a:cubicBezTo>
                        <a:pt x="5730" y="26408"/>
                        <a:pt x="0" y="20429"/>
                        <a:pt x="0" y="13080"/>
                      </a:cubicBezTo>
                      <a:cubicBezTo>
                        <a:pt x="0" y="5732"/>
                        <a:pt x="6103" y="-123"/>
                        <a:pt x="13452" y="2"/>
                      </a:cubicBezTo>
                      <a:cubicBezTo>
                        <a:pt x="20801" y="126"/>
                        <a:pt x="26530" y="6230"/>
                        <a:pt x="26530"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6" name="Graphic 2987">
                <a:extLst>
                  <a:ext uri="{FF2B5EF4-FFF2-40B4-BE49-F238E27FC236}">
                    <a16:creationId xmlns:a16="http://schemas.microsoft.com/office/drawing/2014/main" id="{FB7815CB-515E-B2C2-0429-5F3CAD1A8C4A}"/>
                  </a:ext>
                </a:extLst>
              </p:cNvPr>
              <p:cNvGrpSpPr/>
              <p:nvPr/>
            </p:nvGrpSpPr>
            <p:grpSpPr>
              <a:xfrm>
                <a:off x="5809611" y="1853989"/>
                <a:ext cx="28532" cy="148974"/>
                <a:chOff x="5809611" y="1853989"/>
                <a:chExt cx="28532" cy="148974"/>
              </a:xfrm>
              <a:grpFill/>
            </p:grpSpPr>
            <p:sp>
              <p:nvSpPr>
                <p:cNvPr id="6276" name="Freeform 7903">
                  <a:extLst>
                    <a:ext uri="{FF2B5EF4-FFF2-40B4-BE49-F238E27FC236}">
                      <a16:creationId xmlns:a16="http://schemas.microsoft.com/office/drawing/2014/main" id="{CB47CFFF-B56F-D693-6570-00A3FFC5964C}"/>
                    </a:ext>
                  </a:extLst>
                </p:cNvPr>
                <p:cNvSpPr/>
                <p:nvPr/>
              </p:nvSpPr>
              <p:spPr>
                <a:xfrm>
                  <a:off x="5825753" y="1930593"/>
                  <a:ext cx="3403" cy="52065"/>
                </a:xfrm>
                <a:custGeom>
                  <a:avLst/>
                  <a:gdLst>
                    <a:gd name="connsiteX0" fmla="*/ 930 w 3403"/>
                    <a:gd name="connsiteY0" fmla="*/ 52065 h 52065"/>
                    <a:gd name="connsiteX1" fmla="*/ 3172 w 3403"/>
                    <a:gd name="connsiteY1" fmla="*/ 33381 h 52065"/>
                    <a:gd name="connsiteX2" fmla="*/ 58 w 3403"/>
                    <a:gd name="connsiteY2" fmla="*/ 16317 h 52065"/>
                    <a:gd name="connsiteX3" fmla="*/ 2425 w 3403"/>
                    <a:gd name="connsiteY3" fmla="*/ 0 h 52065"/>
                  </a:gdLst>
                  <a:ahLst/>
                  <a:cxnLst>
                    <a:cxn ang="0">
                      <a:pos x="connsiteX0" y="connsiteY0"/>
                    </a:cxn>
                    <a:cxn ang="0">
                      <a:pos x="connsiteX1" y="connsiteY1"/>
                    </a:cxn>
                    <a:cxn ang="0">
                      <a:pos x="connsiteX2" y="connsiteY2"/>
                    </a:cxn>
                    <a:cxn ang="0">
                      <a:pos x="connsiteX3" y="connsiteY3"/>
                    </a:cxn>
                  </a:cxnLst>
                  <a:rect l="l" t="t" r="r" b="b"/>
                  <a:pathLst>
                    <a:path w="3403" h="52065">
                      <a:moveTo>
                        <a:pt x="930" y="52065"/>
                      </a:moveTo>
                      <a:cubicBezTo>
                        <a:pt x="3546" y="44093"/>
                        <a:pt x="3671" y="37741"/>
                        <a:pt x="3172" y="33381"/>
                      </a:cubicBezTo>
                      <a:cubicBezTo>
                        <a:pt x="2550" y="26406"/>
                        <a:pt x="432" y="23292"/>
                        <a:pt x="58" y="16317"/>
                      </a:cubicBezTo>
                      <a:cubicBezTo>
                        <a:pt x="-315" y="9466"/>
                        <a:pt x="1179"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7" name="Freeform 7904">
                  <a:extLst>
                    <a:ext uri="{FF2B5EF4-FFF2-40B4-BE49-F238E27FC236}">
                      <a16:creationId xmlns:a16="http://schemas.microsoft.com/office/drawing/2014/main" id="{840352BC-7677-98C7-142E-1345C9394E55}"/>
                    </a:ext>
                  </a:extLst>
                </p:cNvPr>
                <p:cNvSpPr/>
                <p:nvPr/>
              </p:nvSpPr>
              <p:spPr>
                <a:xfrm>
                  <a:off x="5817434" y="1935451"/>
                  <a:ext cx="4278" cy="52189"/>
                </a:xfrm>
                <a:custGeom>
                  <a:avLst/>
                  <a:gdLst>
                    <a:gd name="connsiteX0" fmla="*/ 2273 w 4278"/>
                    <a:gd name="connsiteY0" fmla="*/ 0 h 52189"/>
                    <a:gd name="connsiteX1" fmla="*/ 3892 w 4278"/>
                    <a:gd name="connsiteY1" fmla="*/ 18684 h 52189"/>
                    <a:gd name="connsiteX2" fmla="*/ 156 w 4278"/>
                    <a:gd name="connsiteY2" fmla="*/ 35748 h 52189"/>
                    <a:gd name="connsiteX3" fmla="*/ 202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273" y="0"/>
                      </a:moveTo>
                      <a:cubicBezTo>
                        <a:pt x="4640" y="8096"/>
                        <a:pt x="4515" y="14449"/>
                        <a:pt x="3892" y="18684"/>
                      </a:cubicBezTo>
                      <a:cubicBezTo>
                        <a:pt x="3021" y="25659"/>
                        <a:pt x="778" y="28648"/>
                        <a:pt x="156" y="35748"/>
                      </a:cubicBezTo>
                      <a:cubicBezTo>
                        <a:pt x="-467" y="42599"/>
                        <a:pt x="903" y="48328"/>
                        <a:pt x="202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8" name="Freeform 7905">
                  <a:extLst>
                    <a:ext uri="{FF2B5EF4-FFF2-40B4-BE49-F238E27FC236}">
                      <a16:creationId xmlns:a16="http://schemas.microsoft.com/office/drawing/2014/main" id="{C877DF09-0C3B-70BB-D6E9-D89AF478C7D6}"/>
                    </a:ext>
                  </a:extLst>
                </p:cNvPr>
                <p:cNvSpPr/>
                <p:nvPr/>
              </p:nvSpPr>
              <p:spPr>
                <a:xfrm>
                  <a:off x="5809611" y="1976429"/>
                  <a:ext cx="26664" cy="26534"/>
                </a:xfrm>
                <a:custGeom>
                  <a:avLst/>
                  <a:gdLst>
                    <a:gd name="connsiteX0" fmla="*/ 8 w 26664"/>
                    <a:gd name="connsiteY0" fmla="*/ 13080 h 26534"/>
                    <a:gd name="connsiteX1" fmla="*/ 13584 w 26664"/>
                    <a:gd name="connsiteY1" fmla="*/ 2 h 26534"/>
                    <a:gd name="connsiteX2" fmla="*/ 26663 w 26664"/>
                    <a:gd name="connsiteY2" fmla="*/ 13454 h 26534"/>
                    <a:gd name="connsiteX3" fmla="*/ 13086 w 26664"/>
                    <a:gd name="connsiteY3" fmla="*/ 26533 h 26534"/>
                    <a:gd name="connsiteX4" fmla="*/ 8 w 26664"/>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34">
                      <a:moveTo>
                        <a:pt x="8" y="13080"/>
                      </a:moveTo>
                      <a:cubicBezTo>
                        <a:pt x="132" y="5732"/>
                        <a:pt x="6235" y="-123"/>
                        <a:pt x="13584" y="2"/>
                      </a:cubicBezTo>
                      <a:cubicBezTo>
                        <a:pt x="20933" y="126"/>
                        <a:pt x="26787" y="6105"/>
                        <a:pt x="26663" y="13454"/>
                      </a:cubicBezTo>
                      <a:cubicBezTo>
                        <a:pt x="26538" y="20803"/>
                        <a:pt x="20435" y="26657"/>
                        <a:pt x="13086" y="26533"/>
                      </a:cubicBezTo>
                      <a:cubicBezTo>
                        <a:pt x="5737" y="26408"/>
                        <a:pt x="-242" y="20429"/>
                        <a:pt x="8"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9" name="Freeform 7906">
                  <a:extLst>
                    <a:ext uri="{FF2B5EF4-FFF2-40B4-BE49-F238E27FC236}">
                      <a16:creationId xmlns:a16="http://schemas.microsoft.com/office/drawing/2014/main" id="{B0D10E9C-247A-EF4F-8D0C-8F2183CEE764}"/>
                    </a:ext>
                  </a:extLst>
                </p:cNvPr>
                <p:cNvSpPr/>
                <p:nvPr/>
              </p:nvSpPr>
              <p:spPr>
                <a:xfrm>
                  <a:off x="5818730" y="1874293"/>
                  <a:ext cx="3403" cy="52065"/>
                </a:xfrm>
                <a:custGeom>
                  <a:avLst/>
                  <a:gdLst>
                    <a:gd name="connsiteX0" fmla="*/ 2473 w 3403"/>
                    <a:gd name="connsiteY0" fmla="*/ 0 h 52065"/>
                    <a:gd name="connsiteX1" fmla="*/ 231 w 3403"/>
                    <a:gd name="connsiteY1" fmla="*/ 18684 h 52065"/>
                    <a:gd name="connsiteX2" fmla="*/ 3345 w 3403"/>
                    <a:gd name="connsiteY2" fmla="*/ 35748 h 52065"/>
                    <a:gd name="connsiteX3" fmla="*/ 854 w 34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03" h="52065">
                      <a:moveTo>
                        <a:pt x="2473" y="0"/>
                      </a:moveTo>
                      <a:cubicBezTo>
                        <a:pt x="-143" y="7972"/>
                        <a:pt x="-267" y="14324"/>
                        <a:pt x="231" y="18684"/>
                      </a:cubicBezTo>
                      <a:cubicBezTo>
                        <a:pt x="854" y="25659"/>
                        <a:pt x="2971" y="28773"/>
                        <a:pt x="3345" y="35748"/>
                      </a:cubicBezTo>
                      <a:cubicBezTo>
                        <a:pt x="3719" y="42599"/>
                        <a:pt x="2224" y="48328"/>
                        <a:pt x="8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0" name="Freeform 7907">
                  <a:extLst>
                    <a:ext uri="{FF2B5EF4-FFF2-40B4-BE49-F238E27FC236}">
                      <a16:creationId xmlns:a16="http://schemas.microsoft.com/office/drawing/2014/main" id="{8674290F-771E-296E-F268-D8D0733DF517}"/>
                    </a:ext>
                  </a:extLst>
                </p:cNvPr>
                <p:cNvSpPr/>
                <p:nvPr/>
              </p:nvSpPr>
              <p:spPr>
                <a:xfrm>
                  <a:off x="5826173" y="1869311"/>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4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3"/>
                        <a:pt x="-237" y="37741"/>
                        <a:pt x="386" y="33506"/>
                      </a:cubicBezTo>
                      <a:cubicBezTo>
                        <a:pt x="1258" y="26531"/>
                        <a:pt x="3500" y="23541"/>
                        <a:pt x="4122" y="16442"/>
                      </a:cubicBezTo>
                      <a:cubicBezTo>
                        <a:pt x="4745" y="9591"/>
                        <a:pt x="3375"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81" name="Freeform 7908">
                  <a:extLst>
                    <a:ext uri="{FF2B5EF4-FFF2-40B4-BE49-F238E27FC236}">
                      <a16:creationId xmlns:a16="http://schemas.microsoft.com/office/drawing/2014/main" id="{F4C27ED0-EE8C-E493-18EA-37687DF0A7CA}"/>
                    </a:ext>
                  </a:extLst>
                </p:cNvPr>
                <p:cNvSpPr/>
                <p:nvPr/>
              </p:nvSpPr>
              <p:spPr>
                <a:xfrm>
                  <a:off x="5811734" y="1853989"/>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4" y="20803"/>
                        <a:pt x="20305" y="26657"/>
                        <a:pt x="12956" y="26533"/>
                      </a:cubicBezTo>
                      <a:cubicBezTo>
                        <a:pt x="5607" y="26408"/>
                        <a:pt x="-123" y="20429"/>
                        <a:pt x="2" y="13080"/>
                      </a:cubicBezTo>
                      <a:cubicBezTo>
                        <a:pt x="127" y="5732"/>
                        <a:pt x="6105" y="-123"/>
                        <a:pt x="13454" y="2"/>
                      </a:cubicBezTo>
                      <a:cubicBezTo>
                        <a:pt x="20679" y="127"/>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7" name="Graphic 2987">
                <a:extLst>
                  <a:ext uri="{FF2B5EF4-FFF2-40B4-BE49-F238E27FC236}">
                    <a16:creationId xmlns:a16="http://schemas.microsoft.com/office/drawing/2014/main" id="{EEE980EB-E6B0-7B9D-E093-DD368E4E19DF}"/>
                  </a:ext>
                </a:extLst>
              </p:cNvPr>
              <p:cNvGrpSpPr/>
              <p:nvPr/>
            </p:nvGrpSpPr>
            <p:grpSpPr>
              <a:xfrm>
                <a:off x="5779723" y="1853615"/>
                <a:ext cx="28901" cy="148974"/>
                <a:chOff x="5779723" y="1853615"/>
                <a:chExt cx="28901" cy="148974"/>
              </a:xfrm>
              <a:grpFill/>
            </p:grpSpPr>
            <p:sp>
              <p:nvSpPr>
                <p:cNvPr id="6270" name="Freeform 7910">
                  <a:extLst>
                    <a:ext uri="{FF2B5EF4-FFF2-40B4-BE49-F238E27FC236}">
                      <a16:creationId xmlns:a16="http://schemas.microsoft.com/office/drawing/2014/main" id="{C12FFA88-2B0C-FCD7-4BAD-A6B77F9DF558}"/>
                    </a:ext>
                  </a:extLst>
                </p:cNvPr>
                <p:cNvSpPr/>
                <p:nvPr/>
              </p:nvSpPr>
              <p:spPr>
                <a:xfrm>
                  <a:off x="5796108" y="1930220"/>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50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50" y="26406"/>
                        <a:pt x="432" y="23292"/>
                        <a:pt x="58" y="16317"/>
                      </a:cubicBezTo>
                      <a:cubicBezTo>
                        <a:pt x="-315" y="9466"/>
                        <a:pt x="1179" y="3737"/>
                        <a:pt x="2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1" name="Freeform 7911">
                  <a:extLst>
                    <a:ext uri="{FF2B5EF4-FFF2-40B4-BE49-F238E27FC236}">
                      <a16:creationId xmlns:a16="http://schemas.microsoft.com/office/drawing/2014/main" id="{C0676EC5-CA00-83BB-169B-A5C09EB997D7}"/>
                    </a:ext>
                  </a:extLst>
                </p:cNvPr>
                <p:cNvSpPr/>
                <p:nvPr/>
              </p:nvSpPr>
              <p:spPr>
                <a:xfrm>
                  <a:off x="5787780" y="1935078"/>
                  <a:ext cx="4288" cy="52189"/>
                </a:xfrm>
                <a:custGeom>
                  <a:avLst/>
                  <a:gdLst>
                    <a:gd name="connsiteX0" fmla="*/ 2283 w 4288"/>
                    <a:gd name="connsiteY0" fmla="*/ 0 h 52189"/>
                    <a:gd name="connsiteX1" fmla="*/ 3903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3" y="18684"/>
                      </a:cubicBezTo>
                      <a:cubicBezTo>
                        <a:pt x="3031" y="25659"/>
                        <a:pt x="789" y="28648"/>
                        <a:pt x="166" y="35748"/>
                      </a:cubicBezTo>
                      <a:cubicBezTo>
                        <a:pt x="-457" y="42599"/>
                        <a:pt x="789"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2" name="Freeform 7912">
                  <a:extLst>
                    <a:ext uri="{FF2B5EF4-FFF2-40B4-BE49-F238E27FC236}">
                      <a16:creationId xmlns:a16="http://schemas.microsoft.com/office/drawing/2014/main" id="{FE479769-536C-B8F5-C2A9-1E64001C819D}"/>
                    </a:ext>
                  </a:extLst>
                </p:cNvPr>
                <p:cNvSpPr/>
                <p:nvPr/>
              </p:nvSpPr>
              <p:spPr>
                <a:xfrm>
                  <a:off x="5779723" y="1976055"/>
                  <a:ext cx="26659" cy="26534"/>
                </a:xfrm>
                <a:custGeom>
                  <a:avLst/>
                  <a:gdLst>
                    <a:gd name="connsiteX0" fmla="*/ 2 w 26659"/>
                    <a:gd name="connsiteY0" fmla="*/ 13081 h 26534"/>
                    <a:gd name="connsiteX1" fmla="*/ 13579 w 26659"/>
                    <a:gd name="connsiteY1" fmla="*/ 2 h 26534"/>
                    <a:gd name="connsiteX2" fmla="*/ 26657 w 26659"/>
                    <a:gd name="connsiteY2" fmla="*/ 13454 h 26534"/>
                    <a:gd name="connsiteX3" fmla="*/ 13081 w 26659"/>
                    <a:gd name="connsiteY3" fmla="*/ 26533 h 26534"/>
                    <a:gd name="connsiteX4" fmla="*/ 2 w 26659"/>
                    <a:gd name="connsiteY4" fmla="*/ 13081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1"/>
                      </a:moveTo>
                      <a:cubicBezTo>
                        <a:pt x="127" y="5732"/>
                        <a:pt x="6230" y="-123"/>
                        <a:pt x="13579" y="2"/>
                      </a:cubicBezTo>
                      <a:cubicBezTo>
                        <a:pt x="20928" y="127"/>
                        <a:pt x="26782" y="6105"/>
                        <a:pt x="26657" y="13454"/>
                      </a:cubicBezTo>
                      <a:cubicBezTo>
                        <a:pt x="26533" y="20803"/>
                        <a:pt x="20430" y="26657"/>
                        <a:pt x="13081" y="26533"/>
                      </a:cubicBezTo>
                      <a:cubicBezTo>
                        <a:pt x="5732" y="26408"/>
                        <a:pt x="-122" y="20429"/>
                        <a:pt x="2" y="130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3" name="Freeform 7913">
                  <a:extLst>
                    <a:ext uri="{FF2B5EF4-FFF2-40B4-BE49-F238E27FC236}">
                      <a16:creationId xmlns:a16="http://schemas.microsoft.com/office/drawing/2014/main" id="{F8AEEBD5-262C-DE76-3478-D5F5E484A738}"/>
                    </a:ext>
                  </a:extLst>
                </p:cNvPr>
                <p:cNvSpPr/>
                <p:nvPr/>
              </p:nvSpPr>
              <p:spPr>
                <a:xfrm>
                  <a:off x="5789160" y="1873920"/>
                  <a:ext cx="3327" cy="52065"/>
                </a:xfrm>
                <a:custGeom>
                  <a:avLst/>
                  <a:gdLst>
                    <a:gd name="connsiteX0" fmla="*/ 2522 w 3327"/>
                    <a:gd name="connsiteY0" fmla="*/ 0 h 52065"/>
                    <a:gd name="connsiteX1" fmla="*/ 156 w 3327"/>
                    <a:gd name="connsiteY1" fmla="*/ 18684 h 52065"/>
                    <a:gd name="connsiteX2" fmla="*/ 3270 w 3327"/>
                    <a:gd name="connsiteY2" fmla="*/ 35748 h 52065"/>
                    <a:gd name="connsiteX3" fmla="*/ 778 w 33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27" h="52065">
                      <a:moveTo>
                        <a:pt x="2522" y="0"/>
                      </a:moveTo>
                      <a:cubicBezTo>
                        <a:pt x="-94" y="7972"/>
                        <a:pt x="-218" y="14324"/>
                        <a:pt x="156" y="18684"/>
                      </a:cubicBezTo>
                      <a:cubicBezTo>
                        <a:pt x="778" y="25659"/>
                        <a:pt x="2896" y="28773"/>
                        <a:pt x="3270" y="35748"/>
                      </a:cubicBezTo>
                      <a:cubicBezTo>
                        <a:pt x="3643" y="42599"/>
                        <a:pt x="2149" y="48328"/>
                        <a:pt x="7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4" name="Freeform 7914">
                  <a:extLst>
                    <a:ext uri="{FF2B5EF4-FFF2-40B4-BE49-F238E27FC236}">
                      <a16:creationId xmlns:a16="http://schemas.microsoft.com/office/drawing/2014/main" id="{BC79E52C-6D0F-C37F-7B42-7D7B7E66480F}"/>
                    </a:ext>
                  </a:extLst>
                </p:cNvPr>
                <p:cNvSpPr/>
                <p:nvPr/>
              </p:nvSpPr>
              <p:spPr>
                <a:xfrm>
                  <a:off x="5796528" y="1868937"/>
                  <a:ext cx="4288" cy="52189"/>
                </a:xfrm>
                <a:custGeom>
                  <a:avLst/>
                  <a:gdLst>
                    <a:gd name="connsiteX0" fmla="*/ 2005 w 4288"/>
                    <a:gd name="connsiteY0" fmla="*/ 52190 h 52189"/>
                    <a:gd name="connsiteX1" fmla="*/ 386 w 4288"/>
                    <a:gd name="connsiteY1" fmla="*/ 33506 h 52189"/>
                    <a:gd name="connsiteX2" fmla="*/ 4123 w 4288"/>
                    <a:gd name="connsiteY2" fmla="*/ 16442 h 52189"/>
                    <a:gd name="connsiteX3" fmla="*/ 225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90"/>
                      </a:moveTo>
                      <a:cubicBezTo>
                        <a:pt x="-361" y="44093"/>
                        <a:pt x="-237" y="37741"/>
                        <a:pt x="386" y="33506"/>
                      </a:cubicBezTo>
                      <a:cubicBezTo>
                        <a:pt x="1258" y="26531"/>
                        <a:pt x="3500" y="23541"/>
                        <a:pt x="4123" y="16442"/>
                      </a:cubicBezTo>
                      <a:cubicBezTo>
                        <a:pt x="4745" y="9591"/>
                        <a:pt x="3500" y="3861"/>
                        <a:pt x="22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75" name="Freeform 7915">
                  <a:extLst>
                    <a:ext uri="{FF2B5EF4-FFF2-40B4-BE49-F238E27FC236}">
                      <a16:creationId xmlns:a16="http://schemas.microsoft.com/office/drawing/2014/main" id="{279A351B-7D2B-3F7B-C540-85C192F84DEA}"/>
                    </a:ext>
                  </a:extLst>
                </p:cNvPr>
                <p:cNvSpPr/>
                <p:nvPr/>
              </p:nvSpPr>
              <p:spPr>
                <a:xfrm>
                  <a:off x="5782214" y="1853615"/>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305" y="26657"/>
                        <a:pt x="12956" y="26533"/>
                      </a:cubicBezTo>
                      <a:cubicBezTo>
                        <a:pt x="5607" y="26408"/>
                        <a:pt x="-123" y="20429"/>
                        <a:pt x="2" y="13080"/>
                      </a:cubicBezTo>
                      <a:cubicBezTo>
                        <a:pt x="127" y="5732"/>
                        <a:pt x="6230" y="-123"/>
                        <a:pt x="13454" y="2"/>
                      </a:cubicBezTo>
                      <a:cubicBezTo>
                        <a:pt x="20679"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8" name="Graphic 2987">
                <a:extLst>
                  <a:ext uri="{FF2B5EF4-FFF2-40B4-BE49-F238E27FC236}">
                    <a16:creationId xmlns:a16="http://schemas.microsoft.com/office/drawing/2014/main" id="{ADE56E20-130D-25BD-9970-96ABD1384F90}"/>
                  </a:ext>
                </a:extLst>
              </p:cNvPr>
              <p:cNvGrpSpPr/>
              <p:nvPr/>
            </p:nvGrpSpPr>
            <p:grpSpPr>
              <a:xfrm>
                <a:off x="5749954" y="1853241"/>
                <a:ext cx="29150" cy="148974"/>
                <a:chOff x="5749954" y="1853241"/>
                <a:chExt cx="29150" cy="148974"/>
              </a:xfrm>
              <a:grpFill/>
            </p:grpSpPr>
            <p:sp>
              <p:nvSpPr>
                <p:cNvPr id="6264" name="Freeform 7917">
                  <a:extLst>
                    <a:ext uri="{FF2B5EF4-FFF2-40B4-BE49-F238E27FC236}">
                      <a16:creationId xmlns:a16="http://schemas.microsoft.com/office/drawing/2014/main" id="{2D1B977E-148A-FF27-FE5B-398B59B9BBB3}"/>
                    </a:ext>
                  </a:extLst>
                </p:cNvPr>
                <p:cNvSpPr/>
                <p:nvPr/>
              </p:nvSpPr>
              <p:spPr>
                <a:xfrm>
                  <a:off x="5766339" y="1929846"/>
                  <a:ext cx="3327" cy="52065"/>
                </a:xfrm>
                <a:custGeom>
                  <a:avLst/>
                  <a:gdLst>
                    <a:gd name="connsiteX0" fmla="*/ 806 w 3327"/>
                    <a:gd name="connsiteY0" fmla="*/ 52065 h 52065"/>
                    <a:gd name="connsiteX1" fmla="*/ 3172 w 3327"/>
                    <a:gd name="connsiteY1" fmla="*/ 33381 h 52065"/>
                    <a:gd name="connsiteX2" fmla="*/ 58 w 3327"/>
                    <a:gd name="connsiteY2" fmla="*/ 16317 h 52065"/>
                    <a:gd name="connsiteX3" fmla="*/ 2549 w 3327"/>
                    <a:gd name="connsiteY3" fmla="*/ 0 h 52065"/>
                  </a:gdLst>
                  <a:ahLst/>
                  <a:cxnLst>
                    <a:cxn ang="0">
                      <a:pos x="connsiteX0" y="connsiteY0"/>
                    </a:cxn>
                    <a:cxn ang="0">
                      <a:pos x="connsiteX1" y="connsiteY1"/>
                    </a:cxn>
                    <a:cxn ang="0">
                      <a:pos x="connsiteX2" y="connsiteY2"/>
                    </a:cxn>
                    <a:cxn ang="0">
                      <a:pos x="connsiteX3" y="connsiteY3"/>
                    </a:cxn>
                  </a:cxnLst>
                  <a:rect l="l" t="t" r="r" b="b"/>
                  <a:pathLst>
                    <a:path w="3327" h="52065">
                      <a:moveTo>
                        <a:pt x="806" y="52065"/>
                      </a:moveTo>
                      <a:cubicBezTo>
                        <a:pt x="3421" y="44093"/>
                        <a:pt x="3546" y="37741"/>
                        <a:pt x="3172" y="33381"/>
                      </a:cubicBezTo>
                      <a:cubicBezTo>
                        <a:pt x="2549" y="26406"/>
                        <a:pt x="432" y="23292"/>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5" name="Freeform 7918">
                  <a:extLst>
                    <a:ext uri="{FF2B5EF4-FFF2-40B4-BE49-F238E27FC236}">
                      <a16:creationId xmlns:a16="http://schemas.microsoft.com/office/drawing/2014/main" id="{0E6EC359-2E3A-D984-4CD3-E4D383DB5974}"/>
                    </a:ext>
                  </a:extLst>
                </p:cNvPr>
                <p:cNvSpPr/>
                <p:nvPr/>
              </p:nvSpPr>
              <p:spPr>
                <a:xfrm>
                  <a:off x="5758011" y="1934704"/>
                  <a:ext cx="4233" cy="52189"/>
                </a:xfrm>
                <a:custGeom>
                  <a:avLst/>
                  <a:gdLst>
                    <a:gd name="connsiteX0" fmla="*/ 2283 w 4233"/>
                    <a:gd name="connsiteY0" fmla="*/ 0 h 52189"/>
                    <a:gd name="connsiteX1" fmla="*/ 3902 w 4233"/>
                    <a:gd name="connsiteY1" fmla="*/ 18684 h 52189"/>
                    <a:gd name="connsiteX2" fmla="*/ 166 w 4233"/>
                    <a:gd name="connsiteY2" fmla="*/ 35748 h 52189"/>
                    <a:gd name="connsiteX3" fmla="*/ 2034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2283" y="0"/>
                      </a:moveTo>
                      <a:cubicBezTo>
                        <a:pt x="4650" y="8096"/>
                        <a:pt x="4401"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6" name="Freeform 7919">
                  <a:extLst>
                    <a:ext uri="{FF2B5EF4-FFF2-40B4-BE49-F238E27FC236}">
                      <a16:creationId xmlns:a16="http://schemas.microsoft.com/office/drawing/2014/main" id="{4D0872BE-D3D4-779B-D5D5-CFF3E53C4FBD}"/>
                    </a:ext>
                  </a:extLst>
                </p:cNvPr>
                <p:cNvSpPr/>
                <p:nvPr/>
              </p:nvSpPr>
              <p:spPr>
                <a:xfrm>
                  <a:off x="5749954" y="1975681"/>
                  <a:ext cx="26659" cy="26534"/>
                </a:xfrm>
                <a:custGeom>
                  <a:avLst/>
                  <a:gdLst>
                    <a:gd name="connsiteX0" fmla="*/ 2 w 26659"/>
                    <a:gd name="connsiteY0" fmla="*/ 13080 h 26534"/>
                    <a:gd name="connsiteX1" fmla="*/ 13579 w 26659"/>
                    <a:gd name="connsiteY1" fmla="*/ 2 h 26534"/>
                    <a:gd name="connsiteX2" fmla="*/ 26657 w 26659"/>
                    <a:gd name="connsiteY2" fmla="*/ 13454 h 26534"/>
                    <a:gd name="connsiteX3" fmla="*/ 13080 w 26659"/>
                    <a:gd name="connsiteY3" fmla="*/ 26533 h 26534"/>
                    <a:gd name="connsiteX4" fmla="*/ 2 w 26659"/>
                    <a:gd name="connsiteY4" fmla="*/ 13080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 y="13080"/>
                      </a:moveTo>
                      <a:cubicBezTo>
                        <a:pt x="127" y="5732"/>
                        <a:pt x="6230" y="-123"/>
                        <a:pt x="13579" y="2"/>
                      </a:cubicBezTo>
                      <a:cubicBezTo>
                        <a:pt x="20928" y="126"/>
                        <a:pt x="26782" y="6105"/>
                        <a:pt x="26657" y="13454"/>
                      </a:cubicBezTo>
                      <a:cubicBezTo>
                        <a:pt x="26533" y="20803"/>
                        <a:pt x="20429" y="26657"/>
                        <a:pt x="13080" y="26533"/>
                      </a:cubicBezTo>
                      <a:cubicBezTo>
                        <a:pt x="5732" y="26408"/>
                        <a:pt x="-123" y="20429"/>
                        <a:pt x="2" y="130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7" name="Freeform 7920">
                  <a:extLst>
                    <a:ext uri="{FF2B5EF4-FFF2-40B4-BE49-F238E27FC236}">
                      <a16:creationId xmlns:a16="http://schemas.microsoft.com/office/drawing/2014/main" id="{0F8D5CFA-248F-4A9B-96D7-86E1C80068A8}"/>
                    </a:ext>
                  </a:extLst>
                </p:cNvPr>
                <p:cNvSpPr/>
                <p:nvPr/>
              </p:nvSpPr>
              <p:spPr>
                <a:xfrm>
                  <a:off x="5759640" y="1873546"/>
                  <a:ext cx="3203" cy="52065"/>
                </a:xfrm>
                <a:custGeom>
                  <a:avLst/>
                  <a:gdLst>
                    <a:gd name="connsiteX0" fmla="*/ 2522 w 3203"/>
                    <a:gd name="connsiteY0" fmla="*/ 0 h 52065"/>
                    <a:gd name="connsiteX1" fmla="*/ 156 w 3203"/>
                    <a:gd name="connsiteY1" fmla="*/ 18684 h 52065"/>
                    <a:gd name="connsiteX2" fmla="*/ 3145 w 3203"/>
                    <a:gd name="connsiteY2" fmla="*/ 35748 h 52065"/>
                    <a:gd name="connsiteX3" fmla="*/ 654 w 320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02" h="52065">
                      <a:moveTo>
                        <a:pt x="2522" y="0"/>
                      </a:moveTo>
                      <a:cubicBezTo>
                        <a:pt x="-94" y="7972"/>
                        <a:pt x="-218" y="14324"/>
                        <a:pt x="156" y="18684"/>
                      </a:cubicBezTo>
                      <a:cubicBezTo>
                        <a:pt x="778" y="25659"/>
                        <a:pt x="2896" y="28773"/>
                        <a:pt x="3145" y="35748"/>
                      </a:cubicBezTo>
                      <a:cubicBezTo>
                        <a:pt x="3519" y="42599"/>
                        <a:pt x="2024" y="48328"/>
                        <a:pt x="65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8" name="Freeform 7921">
                  <a:extLst>
                    <a:ext uri="{FF2B5EF4-FFF2-40B4-BE49-F238E27FC236}">
                      <a16:creationId xmlns:a16="http://schemas.microsoft.com/office/drawing/2014/main" id="{01C24B6D-599F-064A-87D5-C58F8497654E}"/>
                    </a:ext>
                  </a:extLst>
                </p:cNvPr>
                <p:cNvSpPr/>
                <p:nvPr/>
              </p:nvSpPr>
              <p:spPr>
                <a:xfrm>
                  <a:off x="5766938" y="1868564"/>
                  <a:ext cx="4233" cy="52189"/>
                </a:xfrm>
                <a:custGeom>
                  <a:avLst/>
                  <a:gdLst>
                    <a:gd name="connsiteX0" fmla="*/ 1950 w 4233"/>
                    <a:gd name="connsiteY0" fmla="*/ 52190 h 52189"/>
                    <a:gd name="connsiteX1" fmla="*/ 331 w 4233"/>
                    <a:gd name="connsiteY1" fmla="*/ 33506 h 52189"/>
                    <a:gd name="connsiteX2" fmla="*/ 4068 w 4233"/>
                    <a:gd name="connsiteY2" fmla="*/ 16442 h 52189"/>
                    <a:gd name="connsiteX3" fmla="*/ 2199 w 4233"/>
                    <a:gd name="connsiteY3" fmla="*/ 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52190"/>
                      </a:moveTo>
                      <a:cubicBezTo>
                        <a:pt x="-417" y="44093"/>
                        <a:pt x="-167" y="37741"/>
                        <a:pt x="331" y="33506"/>
                      </a:cubicBezTo>
                      <a:cubicBezTo>
                        <a:pt x="1203" y="26531"/>
                        <a:pt x="3445" y="23541"/>
                        <a:pt x="4068" y="16442"/>
                      </a:cubicBezTo>
                      <a:cubicBezTo>
                        <a:pt x="4690" y="9591"/>
                        <a:pt x="3445" y="3861"/>
                        <a:pt x="2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9" name="Freeform 7922">
                  <a:extLst>
                    <a:ext uri="{FF2B5EF4-FFF2-40B4-BE49-F238E27FC236}">
                      <a16:creationId xmlns:a16="http://schemas.microsoft.com/office/drawing/2014/main" id="{0FFDC505-EEA1-3633-7DD6-E6CDECA151E3}"/>
                    </a:ext>
                  </a:extLst>
                </p:cNvPr>
                <p:cNvSpPr/>
                <p:nvPr/>
              </p:nvSpPr>
              <p:spPr>
                <a:xfrm>
                  <a:off x="5752694" y="1853241"/>
                  <a:ext cx="26410" cy="26534"/>
                </a:xfrm>
                <a:custGeom>
                  <a:avLst/>
                  <a:gdLst>
                    <a:gd name="connsiteX0" fmla="*/ 26408 w 26410"/>
                    <a:gd name="connsiteY0" fmla="*/ 13454 h 26534"/>
                    <a:gd name="connsiteX1" fmla="*/ 12956 w 26410"/>
                    <a:gd name="connsiteY1" fmla="*/ 26533 h 26534"/>
                    <a:gd name="connsiteX2" fmla="*/ 2 w 26410"/>
                    <a:gd name="connsiteY2" fmla="*/ 13080 h 26534"/>
                    <a:gd name="connsiteX3" fmla="*/ 13454 w 26410"/>
                    <a:gd name="connsiteY3" fmla="*/ 2 h 26534"/>
                    <a:gd name="connsiteX4" fmla="*/ 26408 w 26410"/>
                    <a:gd name="connsiteY4" fmla="*/ 13454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6408" y="13454"/>
                      </a:moveTo>
                      <a:cubicBezTo>
                        <a:pt x="26283" y="20803"/>
                        <a:pt x="20180" y="26657"/>
                        <a:pt x="12956" y="26533"/>
                      </a:cubicBezTo>
                      <a:cubicBezTo>
                        <a:pt x="5607" y="26408"/>
                        <a:pt x="-123" y="20429"/>
                        <a:pt x="2" y="13080"/>
                      </a:cubicBezTo>
                      <a:cubicBezTo>
                        <a:pt x="126" y="5732"/>
                        <a:pt x="6230" y="-123"/>
                        <a:pt x="13454" y="2"/>
                      </a:cubicBezTo>
                      <a:cubicBezTo>
                        <a:pt x="20803" y="126"/>
                        <a:pt x="26533" y="6105"/>
                        <a:pt x="26408" y="134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89" name="Graphic 2987">
                <a:extLst>
                  <a:ext uri="{FF2B5EF4-FFF2-40B4-BE49-F238E27FC236}">
                    <a16:creationId xmlns:a16="http://schemas.microsoft.com/office/drawing/2014/main" id="{703F4393-A35E-665E-059E-AA633EEF74D2}"/>
                  </a:ext>
                </a:extLst>
              </p:cNvPr>
              <p:cNvGrpSpPr/>
              <p:nvPr/>
            </p:nvGrpSpPr>
            <p:grpSpPr>
              <a:xfrm>
                <a:off x="5720178" y="1852862"/>
                <a:ext cx="29405" cy="148980"/>
                <a:chOff x="5720178" y="1852862"/>
                <a:chExt cx="29405" cy="148980"/>
              </a:xfrm>
              <a:grpFill/>
            </p:grpSpPr>
            <p:sp>
              <p:nvSpPr>
                <p:cNvPr id="6258" name="Freeform 7924">
                  <a:extLst>
                    <a:ext uri="{FF2B5EF4-FFF2-40B4-BE49-F238E27FC236}">
                      <a16:creationId xmlns:a16="http://schemas.microsoft.com/office/drawing/2014/main" id="{EBF6B5E9-C227-1539-2BFB-6FB12FE7CA40}"/>
                    </a:ext>
                  </a:extLst>
                </p:cNvPr>
                <p:cNvSpPr/>
                <p:nvPr/>
              </p:nvSpPr>
              <p:spPr>
                <a:xfrm>
                  <a:off x="5736573" y="1929472"/>
                  <a:ext cx="3272" cy="52065"/>
                </a:xfrm>
                <a:custGeom>
                  <a:avLst/>
                  <a:gdLst>
                    <a:gd name="connsiteX0" fmla="*/ 677 w 3272"/>
                    <a:gd name="connsiteY0" fmla="*/ 52065 h 52065"/>
                    <a:gd name="connsiteX1" fmla="*/ 3044 w 3272"/>
                    <a:gd name="connsiteY1" fmla="*/ 33381 h 52065"/>
                    <a:gd name="connsiteX2" fmla="*/ 55 w 3272"/>
                    <a:gd name="connsiteY2" fmla="*/ 16317 h 52065"/>
                    <a:gd name="connsiteX3" fmla="*/ 2546 w 3272"/>
                    <a:gd name="connsiteY3" fmla="*/ 0 h 52065"/>
                  </a:gdLst>
                  <a:ahLst/>
                  <a:cxnLst>
                    <a:cxn ang="0">
                      <a:pos x="connsiteX0" y="connsiteY0"/>
                    </a:cxn>
                    <a:cxn ang="0">
                      <a:pos x="connsiteX1" y="connsiteY1"/>
                    </a:cxn>
                    <a:cxn ang="0">
                      <a:pos x="connsiteX2" y="connsiteY2"/>
                    </a:cxn>
                    <a:cxn ang="0">
                      <a:pos x="connsiteX3" y="connsiteY3"/>
                    </a:cxn>
                  </a:cxnLst>
                  <a:rect l="l" t="t" r="r" b="b"/>
                  <a:pathLst>
                    <a:path w="3272" h="52065">
                      <a:moveTo>
                        <a:pt x="677" y="52065"/>
                      </a:moveTo>
                      <a:cubicBezTo>
                        <a:pt x="3418" y="44093"/>
                        <a:pt x="3542" y="37741"/>
                        <a:pt x="3044" y="33381"/>
                      </a:cubicBezTo>
                      <a:cubicBezTo>
                        <a:pt x="2421" y="26406"/>
                        <a:pt x="304" y="23292"/>
                        <a:pt x="55" y="16317"/>
                      </a:cubicBezTo>
                      <a:cubicBezTo>
                        <a:pt x="-319" y="9466"/>
                        <a:pt x="1300" y="3737"/>
                        <a:pt x="25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9" name="Freeform 7925">
                  <a:extLst>
                    <a:ext uri="{FF2B5EF4-FFF2-40B4-BE49-F238E27FC236}">
                      <a16:creationId xmlns:a16="http://schemas.microsoft.com/office/drawing/2014/main" id="{8C0F73EE-FD46-2C21-B44E-ED7519DFCF61}"/>
                    </a:ext>
                  </a:extLst>
                </p:cNvPr>
                <p:cNvSpPr/>
                <p:nvPr/>
              </p:nvSpPr>
              <p:spPr>
                <a:xfrm>
                  <a:off x="5728116" y="1934206"/>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914"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0" name="Freeform 7926">
                  <a:extLst>
                    <a:ext uri="{FF2B5EF4-FFF2-40B4-BE49-F238E27FC236}">
                      <a16:creationId xmlns:a16="http://schemas.microsoft.com/office/drawing/2014/main" id="{0C68C04A-2A3C-4910-177D-18DCE2C25EFF}"/>
                    </a:ext>
                  </a:extLst>
                </p:cNvPr>
                <p:cNvSpPr/>
                <p:nvPr/>
              </p:nvSpPr>
              <p:spPr>
                <a:xfrm>
                  <a:off x="5720178" y="1975302"/>
                  <a:ext cx="26789" cy="26540"/>
                </a:xfrm>
                <a:custGeom>
                  <a:avLst/>
                  <a:gdLst>
                    <a:gd name="connsiteX0" fmla="*/ 8 w 26789"/>
                    <a:gd name="connsiteY0" fmla="*/ 12837 h 26540"/>
                    <a:gd name="connsiteX1" fmla="*/ 13709 w 26789"/>
                    <a:gd name="connsiteY1" fmla="*/ 8 h 26540"/>
                    <a:gd name="connsiteX2" fmla="*/ 26788 w 26789"/>
                    <a:gd name="connsiteY2" fmla="*/ 13460 h 26540"/>
                    <a:gd name="connsiteX3" fmla="*/ 13086 w 26789"/>
                    <a:gd name="connsiteY3" fmla="*/ 26539 h 26540"/>
                    <a:gd name="connsiteX4" fmla="*/ 8 w 26789"/>
                    <a:gd name="connsiteY4" fmla="*/ 12837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26540">
                      <a:moveTo>
                        <a:pt x="8" y="12837"/>
                      </a:moveTo>
                      <a:cubicBezTo>
                        <a:pt x="132" y="5488"/>
                        <a:pt x="6360" y="-241"/>
                        <a:pt x="13709" y="8"/>
                      </a:cubicBezTo>
                      <a:cubicBezTo>
                        <a:pt x="21058" y="132"/>
                        <a:pt x="26912" y="6111"/>
                        <a:pt x="26788" y="13460"/>
                      </a:cubicBezTo>
                      <a:cubicBezTo>
                        <a:pt x="26663" y="20809"/>
                        <a:pt x="20560" y="26663"/>
                        <a:pt x="13086" y="26539"/>
                      </a:cubicBezTo>
                      <a:cubicBezTo>
                        <a:pt x="5613" y="26290"/>
                        <a:pt x="-241" y="20062"/>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1" name="Freeform 7927">
                  <a:extLst>
                    <a:ext uri="{FF2B5EF4-FFF2-40B4-BE49-F238E27FC236}">
                      <a16:creationId xmlns:a16="http://schemas.microsoft.com/office/drawing/2014/main" id="{BA91A2DD-DFE4-7F5F-ADEF-A3E4D6927B1A}"/>
                    </a:ext>
                  </a:extLst>
                </p:cNvPr>
                <p:cNvSpPr/>
                <p:nvPr/>
              </p:nvSpPr>
              <p:spPr>
                <a:xfrm>
                  <a:off x="5730120" y="1873172"/>
                  <a:ext cx="3199" cy="52189"/>
                </a:xfrm>
                <a:custGeom>
                  <a:avLst/>
                  <a:gdLst>
                    <a:gd name="connsiteX0" fmla="*/ 2522 w 3199"/>
                    <a:gd name="connsiteY0" fmla="*/ 0 h 52189"/>
                    <a:gd name="connsiteX1" fmla="*/ 156 w 3199"/>
                    <a:gd name="connsiteY1" fmla="*/ 18684 h 52189"/>
                    <a:gd name="connsiteX2" fmla="*/ 3145 w 3199"/>
                    <a:gd name="connsiteY2" fmla="*/ 35873 h 52189"/>
                    <a:gd name="connsiteX3" fmla="*/ 654 w 319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99" h="52189">
                      <a:moveTo>
                        <a:pt x="2522" y="0"/>
                      </a:moveTo>
                      <a:cubicBezTo>
                        <a:pt x="-93" y="7972"/>
                        <a:pt x="-218" y="14324"/>
                        <a:pt x="156" y="18684"/>
                      </a:cubicBezTo>
                      <a:cubicBezTo>
                        <a:pt x="779" y="25659"/>
                        <a:pt x="2772" y="28773"/>
                        <a:pt x="3145" y="35873"/>
                      </a:cubicBezTo>
                      <a:cubicBezTo>
                        <a:pt x="3519" y="42723"/>
                        <a:pt x="1900" y="48453"/>
                        <a:pt x="6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2" name="Freeform 7928">
                  <a:extLst>
                    <a:ext uri="{FF2B5EF4-FFF2-40B4-BE49-F238E27FC236}">
                      <a16:creationId xmlns:a16="http://schemas.microsoft.com/office/drawing/2014/main" id="{CC945C22-795A-4BE1-BDC5-6DF05B4F687A}"/>
                    </a:ext>
                  </a:extLst>
                </p:cNvPr>
                <p:cNvSpPr/>
                <p:nvPr/>
              </p:nvSpPr>
              <p:spPr>
                <a:xfrm>
                  <a:off x="5737357" y="1868190"/>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506" y="23541"/>
                        <a:pt x="4253" y="16442"/>
                      </a:cubicBezTo>
                      <a:cubicBezTo>
                        <a:pt x="4876" y="9591"/>
                        <a:pt x="3631" y="3861"/>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63" name="Freeform 7929">
                  <a:extLst>
                    <a:ext uri="{FF2B5EF4-FFF2-40B4-BE49-F238E27FC236}">
                      <a16:creationId xmlns:a16="http://schemas.microsoft.com/office/drawing/2014/main" id="{5805369E-E49E-3188-5312-7451E4282630}"/>
                    </a:ext>
                  </a:extLst>
                </p:cNvPr>
                <p:cNvSpPr/>
                <p:nvPr/>
              </p:nvSpPr>
              <p:spPr>
                <a:xfrm>
                  <a:off x="5723168" y="1852862"/>
                  <a:ext cx="26415" cy="26540"/>
                </a:xfrm>
                <a:custGeom>
                  <a:avLst/>
                  <a:gdLst>
                    <a:gd name="connsiteX0" fmla="*/ 26414 w 26415"/>
                    <a:gd name="connsiteY0" fmla="*/ 13460 h 26540"/>
                    <a:gd name="connsiteX1" fmla="*/ 12837 w 26415"/>
                    <a:gd name="connsiteY1" fmla="*/ 26539 h 26540"/>
                    <a:gd name="connsiteX2" fmla="*/ 8 w 26415"/>
                    <a:gd name="connsiteY2" fmla="*/ 12837 h 26540"/>
                    <a:gd name="connsiteX3" fmla="*/ 13460 w 26415"/>
                    <a:gd name="connsiteY3" fmla="*/ 8 h 26540"/>
                    <a:gd name="connsiteX4" fmla="*/ 26414 w 26415"/>
                    <a:gd name="connsiteY4" fmla="*/ 13460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40">
                      <a:moveTo>
                        <a:pt x="26414" y="13460"/>
                      </a:moveTo>
                      <a:cubicBezTo>
                        <a:pt x="26289" y="20809"/>
                        <a:pt x="20186" y="26663"/>
                        <a:pt x="12837" y="26539"/>
                      </a:cubicBezTo>
                      <a:cubicBezTo>
                        <a:pt x="5488" y="26290"/>
                        <a:pt x="-242" y="20186"/>
                        <a:pt x="8" y="12837"/>
                      </a:cubicBezTo>
                      <a:cubicBezTo>
                        <a:pt x="132" y="5488"/>
                        <a:pt x="6236" y="-241"/>
                        <a:pt x="13460" y="8"/>
                      </a:cubicBezTo>
                      <a:cubicBezTo>
                        <a:pt x="20809" y="132"/>
                        <a:pt x="26538" y="6236"/>
                        <a:pt x="26414" y="13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0" name="Graphic 2987">
                <a:extLst>
                  <a:ext uri="{FF2B5EF4-FFF2-40B4-BE49-F238E27FC236}">
                    <a16:creationId xmlns:a16="http://schemas.microsoft.com/office/drawing/2014/main" id="{E3E6808F-1C4E-FF32-7445-25FF1933C6C3}"/>
                  </a:ext>
                </a:extLst>
              </p:cNvPr>
              <p:cNvGrpSpPr/>
              <p:nvPr/>
            </p:nvGrpSpPr>
            <p:grpSpPr>
              <a:xfrm>
                <a:off x="5690409" y="1851865"/>
                <a:ext cx="29660" cy="148862"/>
                <a:chOff x="5690409" y="1851865"/>
                <a:chExt cx="29660" cy="148862"/>
              </a:xfrm>
              <a:grpFill/>
            </p:grpSpPr>
            <p:sp>
              <p:nvSpPr>
                <p:cNvPr id="6252" name="Freeform 7931">
                  <a:extLst>
                    <a:ext uri="{FF2B5EF4-FFF2-40B4-BE49-F238E27FC236}">
                      <a16:creationId xmlns:a16="http://schemas.microsoft.com/office/drawing/2014/main" id="{512BD05B-C84B-B4D5-F93D-53B7169A0312}"/>
                    </a:ext>
                  </a:extLst>
                </p:cNvPr>
                <p:cNvSpPr/>
                <p:nvPr/>
              </p:nvSpPr>
              <p:spPr>
                <a:xfrm>
                  <a:off x="5706929" y="1928351"/>
                  <a:ext cx="3197" cy="52189"/>
                </a:xfrm>
                <a:custGeom>
                  <a:avLst/>
                  <a:gdLst>
                    <a:gd name="connsiteX0" fmla="*/ 553 w 3197"/>
                    <a:gd name="connsiteY0" fmla="*/ 52190 h 52189"/>
                    <a:gd name="connsiteX1" fmla="*/ 3044 w 3197"/>
                    <a:gd name="connsiteY1" fmla="*/ 33506 h 52189"/>
                    <a:gd name="connsiteX2" fmla="*/ 55 w 3197"/>
                    <a:gd name="connsiteY2" fmla="*/ 16317 h 52189"/>
                    <a:gd name="connsiteX3" fmla="*/ 2671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553" y="52190"/>
                      </a:moveTo>
                      <a:cubicBezTo>
                        <a:pt x="3293" y="44218"/>
                        <a:pt x="3418" y="37866"/>
                        <a:pt x="3044" y="33506"/>
                      </a:cubicBezTo>
                      <a:cubicBezTo>
                        <a:pt x="2421" y="26531"/>
                        <a:pt x="428" y="23417"/>
                        <a:pt x="55" y="16317"/>
                      </a:cubicBezTo>
                      <a:cubicBezTo>
                        <a:pt x="-319" y="9466"/>
                        <a:pt x="1300" y="3737"/>
                        <a:pt x="26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3" name="Freeform 7932">
                  <a:extLst>
                    <a:ext uri="{FF2B5EF4-FFF2-40B4-BE49-F238E27FC236}">
                      <a16:creationId xmlns:a16="http://schemas.microsoft.com/office/drawing/2014/main" id="{BD72DFBB-238E-EE78-865F-B334E31948A0}"/>
                    </a:ext>
                  </a:extLst>
                </p:cNvPr>
                <p:cNvSpPr/>
                <p:nvPr/>
              </p:nvSpPr>
              <p:spPr>
                <a:xfrm>
                  <a:off x="5698471" y="1933209"/>
                  <a:ext cx="4419" cy="52189"/>
                </a:xfrm>
                <a:custGeom>
                  <a:avLst/>
                  <a:gdLst>
                    <a:gd name="connsiteX0" fmla="*/ 2533 w 4419"/>
                    <a:gd name="connsiteY0" fmla="*/ 0 h 52189"/>
                    <a:gd name="connsiteX1" fmla="*/ 4028 w 4419"/>
                    <a:gd name="connsiteY1" fmla="*/ 18808 h 52189"/>
                    <a:gd name="connsiteX2" fmla="*/ 167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808"/>
                      </a:cubicBezTo>
                      <a:cubicBezTo>
                        <a:pt x="3031" y="25783"/>
                        <a:pt x="789" y="28648"/>
                        <a:pt x="167" y="35748"/>
                      </a:cubicBezTo>
                      <a:cubicBezTo>
                        <a:pt x="-456" y="42599"/>
                        <a:pt x="789" y="48453"/>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4" name="Freeform 7933">
                  <a:extLst>
                    <a:ext uri="{FF2B5EF4-FFF2-40B4-BE49-F238E27FC236}">
                      <a16:creationId xmlns:a16="http://schemas.microsoft.com/office/drawing/2014/main" id="{E51E7EFD-ABAC-D6DE-6C33-C225367B6914}"/>
                    </a:ext>
                  </a:extLst>
                </p:cNvPr>
                <p:cNvSpPr/>
                <p:nvPr/>
              </p:nvSpPr>
              <p:spPr>
                <a:xfrm>
                  <a:off x="5690409" y="1974181"/>
                  <a:ext cx="26670" cy="26546"/>
                </a:xfrm>
                <a:custGeom>
                  <a:avLst/>
                  <a:gdLst>
                    <a:gd name="connsiteX0" fmla="*/ 8 w 26670"/>
                    <a:gd name="connsiteY0" fmla="*/ 12837 h 26546"/>
                    <a:gd name="connsiteX1" fmla="*/ 13709 w 26670"/>
                    <a:gd name="connsiteY1" fmla="*/ 8 h 26546"/>
                    <a:gd name="connsiteX2" fmla="*/ 26663 w 26670"/>
                    <a:gd name="connsiteY2" fmla="*/ 13709 h 26546"/>
                    <a:gd name="connsiteX3" fmla="*/ 12962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360" y="-241"/>
                        <a:pt x="13709" y="8"/>
                      </a:cubicBezTo>
                      <a:cubicBezTo>
                        <a:pt x="21058" y="257"/>
                        <a:pt x="26912" y="6360"/>
                        <a:pt x="26663" y="13709"/>
                      </a:cubicBezTo>
                      <a:cubicBezTo>
                        <a:pt x="26539" y="21058"/>
                        <a:pt x="20311" y="26788"/>
                        <a:pt x="12962" y="26539"/>
                      </a:cubicBezTo>
                      <a:cubicBezTo>
                        <a:pt x="5613"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5" name="Freeform 7934">
                  <a:extLst>
                    <a:ext uri="{FF2B5EF4-FFF2-40B4-BE49-F238E27FC236}">
                      <a16:creationId xmlns:a16="http://schemas.microsoft.com/office/drawing/2014/main" id="{13CC8EAB-381D-56BC-2CA0-CF1B46095D3A}"/>
                    </a:ext>
                  </a:extLst>
                </p:cNvPr>
                <p:cNvSpPr/>
                <p:nvPr/>
              </p:nvSpPr>
              <p:spPr>
                <a:xfrm>
                  <a:off x="5700477" y="1872051"/>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6" y="7972"/>
                        <a:pt x="-220" y="14324"/>
                        <a:pt x="154" y="18684"/>
                      </a:cubicBezTo>
                      <a:cubicBezTo>
                        <a:pt x="776" y="25659"/>
                        <a:pt x="2769" y="28773"/>
                        <a:pt x="3143" y="35873"/>
                      </a:cubicBezTo>
                      <a:cubicBezTo>
                        <a:pt x="3392" y="42723"/>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6" name="Freeform 7935">
                  <a:extLst>
                    <a:ext uri="{FF2B5EF4-FFF2-40B4-BE49-F238E27FC236}">
                      <a16:creationId xmlns:a16="http://schemas.microsoft.com/office/drawing/2014/main" id="{491E8F0A-0360-3C4E-2D61-1D50317CD791}"/>
                    </a:ext>
                  </a:extLst>
                </p:cNvPr>
                <p:cNvSpPr/>
                <p:nvPr/>
              </p:nvSpPr>
              <p:spPr>
                <a:xfrm>
                  <a:off x="5707712" y="1867318"/>
                  <a:ext cx="4419" cy="52189"/>
                </a:xfrm>
                <a:custGeom>
                  <a:avLst/>
                  <a:gdLst>
                    <a:gd name="connsiteX0" fmla="*/ 1887 w 4419"/>
                    <a:gd name="connsiteY0" fmla="*/ 52190 h 52189"/>
                    <a:gd name="connsiteX1" fmla="*/ 392 w 4419"/>
                    <a:gd name="connsiteY1" fmla="*/ 33381 h 52189"/>
                    <a:gd name="connsiteX2" fmla="*/ 4253 w 4419"/>
                    <a:gd name="connsiteY2" fmla="*/ 16442 h 52189"/>
                    <a:gd name="connsiteX3" fmla="*/ 25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381"/>
                      </a:cubicBezTo>
                      <a:cubicBezTo>
                        <a:pt x="1389" y="26406"/>
                        <a:pt x="3506" y="23541"/>
                        <a:pt x="4253" y="16442"/>
                      </a:cubicBezTo>
                      <a:cubicBezTo>
                        <a:pt x="4876" y="9591"/>
                        <a:pt x="3631" y="3737"/>
                        <a:pt x="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7" name="Freeform 7936">
                  <a:extLst>
                    <a:ext uri="{FF2B5EF4-FFF2-40B4-BE49-F238E27FC236}">
                      <a16:creationId xmlns:a16="http://schemas.microsoft.com/office/drawing/2014/main" id="{E85D4C7E-AD8F-9FA5-2E88-46589AECECEC}"/>
                    </a:ext>
                  </a:extLst>
                </p:cNvPr>
                <p:cNvSpPr/>
                <p:nvPr/>
              </p:nvSpPr>
              <p:spPr>
                <a:xfrm>
                  <a:off x="5693647" y="1851865"/>
                  <a:ext cx="26422" cy="26546"/>
                </a:xfrm>
                <a:custGeom>
                  <a:avLst/>
                  <a:gdLst>
                    <a:gd name="connsiteX0" fmla="*/ 26414 w 26422"/>
                    <a:gd name="connsiteY0" fmla="*/ 13709 h 26546"/>
                    <a:gd name="connsiteX1" fmla="*/ 12838 w 26422"/>
                    <a:gd name="connsiteY1" fmla="*/ 26539 h 26546"/>
                    <a:gd name="connsiteX2" fmla="*/ 8 w 26422"/>
                    <a:gd name="connsiteY2" fmla="*/ 12837 h 26546"/>
                    <a:gd name="connsiteX3" fmla="*/ 13585 w 26422"/>
                    <a:gd name="connsiteY3" fmla="*/ 8 h 26546"/>
                    <a:gd name="connsiteX4" fmla="*/ 26414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26414" y="13709"/>
                      </a:moveTo>
                      <a:cubicBezTo>
                        <a:pt x="26290" y="21058"/>
                        <a:pt x="20186" y="26788"/>
                        <a:pt x="12838" y="26539"/>
                      </a:cubicBezTo>
                      <a:cubicBezTo>
                        <a:pt x="5488" y="26290"/>
                        <a:pt x="-241" y="20186"/>
                        <a:pt x="8" y="12837"/>
                      </a:cubicBezTo>
                      <a:cubicBezTo>
                        <a:pt x="257" y="5488"/>
                        <a:pt x="6236" y="-241"/>
                        <a:pt x="13585" y="8"/>
                      </a:cubicBezTo>
                      <a:cubicBezTo>
                        <a:pt x="20809" y="257"/>
                        <a:pt x="26663" y="6485"/>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1" name="Graphic 2987">
                <a:extLst>
                  <a:ext uri="{FF2B5EF4-FFF2-40B4-BE49-F238E27FC236}">
                    <a16:creationId xmlns:a16="http://schemas.microsoft.com/office/drawing/2014/main" id="{6077EA0D-8795-3648-3ADA-78C53B3A1653}"/>
                  </a:ext>
                </a:extLst>
              </p:cNvPr>
              <p:cNvGrpSpPr/>
              <p:nvPr/>
            </p:nvGrpSpPr>
            <p:grpSpPr>
              <a:xfrm>
                <a:off x="5660521" y="1850869"/>
                <a:ext cx="30027" cy="148862"/>
                <a:chOff x="5660521" y="1850869"/>
                <a:chExt cx="30027" cy="148862"/>
              </a:xfrm>
              <a:grpFill/>
            </p:grpSpPr>
            <p:sp>
              <p:nvSpPr>
                <p:cNvPr id="6246" name="Freeform 7938">
                  <a:extLst>
                    <a:ext uri="{FF2B5EF4-FFF2-40B4-BE49-F238E27FC236}">
                      <a16:creationId xmlns:a16="http://schemas.microsoft.com/office/drawing/2014/main" id="{9AE28324-1FA0-4D0A-EAB4-1384CBCE242B}"/>
                    </a:ext>
                  </a:extLst>
                </p:cNvPr>
                <p:cNvSpPr/>
                <p:nvPr/>
              </p:nvSpPr>
              <p:spPr>
                <a:xfrm>
                  <a:off x="5677187" y="192735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6" y="44218"/>
                        <a:pt x="3390" y="37866"/>
                        <a:pt x="3017" y="33506"/>
                      </a:cubicBezTo>
                      <a:cubicBezTo>
                        <a:pt x="2394" y="26531"/>
                        <a:pt x="401"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7" name="Freeform 7939">
                  <a:extLst>
                    <a:ext uri="{FF2B5EF4-FFF2-40B4-BE49-F238E27FC236}">
                      <a16:creationId xmlns:a16="http://schemas.microsoft.com/office/drawing/2014/main" id="{9C7DA2B2-8D7D-A9F4-5168-254B6D1D287F}"/>
                    </a:ext>
                  </a:extLst>
                </p:cNvPr>
                <p:cNvSpPr/>
                <p:nvPr/>
              </p:nvSpPr>
              <p:spPr>
                <a:xfrm>
                  <a:off x="5668768" y="1932088"/>
                  <a:ext cx="4424" cy="52189"/>
                </a:xfrm>
                <a:custGeom>
                  <a:avLst/>
                  <a:gdLst>
                    <a:gd name="connsiteX0" fmla="*/ 2592 w 4424"/>
                    <a:gd name="connsiteY0" fmla="*/ 0 h 52189"/>
                    <a:gd name="connsiteX1" fmla="*/ 4087 w 4424"/>
                    <a:gd name="connsiteY1" fmla="*/ 18808 h 52189"/>
                    <a:gd name="connsiteX2" fmla="*/ 226 w 4424"/>
                    <a:gd name="connsiteY2" fmla="*/ 35748 h 52189"/>
                    <a:gd name="connsiteX3" fmla="*/ 1969 w 442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24" h="52189">
                      <a:moveTo>
                        <a:pt x="2592" y="0"/>
                      </a:moveTo>
                      <a:cubicBezTo>
                        <a:pt x="4834" y="8096"/>
                        <a:pt x="4585" y="14449"/>
                        <a:pt x="4087" y="18808"/>
                      </a:cubicBezTo>
                      <a:cubicBezTo>
                        <a:pt x="3090" y="25783"/>
                        <a:pt x="848" y="28648"/>
                        <a:pt x="226" y="35748"/>
                      </a:cubicBezTo>
                      <a:cubicBezTo>
                        <a:pt x="-522" y="42599"/>
                        <a:pt x="724" y="48453"/>
                        <a:pt x="196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8" name="Freeform 7940">
                  <a:extLst>
                    <a:ext uri="{FF2B5EF4-FFF2-40B4-BE49-F238E27FC236}">
                      <a16:creationId xmlns:a16="http://schemas.microsoft.com/office/drawing/2014/main" id="{E649ABC1-1D02-A334-2690-983D142CE920}"/>
                    </a:ext>
                  </a:extLst>
                </p:cNvPr>
                <p:cNvSpPr/>
                <p:nvPr/>
              </p:nvSpPr>
              <p:spPr>
                <a:xfrm>
                  <a:off x="5660521" y="1973184"/>
                  <a:ext cx="26664" cy="26546"/>
                </a:xfrm>
                <a:custGeom>
                  <a:avLst/>
                  <a:gdLst>
                    <a:gd name="connsiteX0" fmla="*/ 2 w 26664"/>
                    <a:gd name="connsiteY0" fmla="*/ 12837 h 26546"/>
                    <a:gd name="connsiteX1" fmla="*/ 13703 w 26664"/>
                    <a:gd name="connsiteY1" fmla="*/ 8 h 26546"/>
                    <a:gd name="connsiteX2" fmla="*/ 26657 w 26664"/>
                    <a:gd name="connsiteY2" fmla="*/ 13709 h 26546"/>
                    <a:gd name="connsiteX3" fmla="*/ 12956 w 26664"/>
                    <a:gd name="connsiteY3" fmla="*/ 26539 h 26546"/>
                    <a:gd name="connsiteX4" fmla="*/ 2 w 26664"/>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45">
                      <a:moveTo>
                        <a:pt x="2" y="12837"/>
                      </a:moveTo>
                      <a:cubicBezTo>
                        <a:pt x="251" y="5488"/>
                        <a:pt x="6354" y="-241"/>
                        <a:pt x="13703" y="8"/>
                      </a:cubicBezTo>
                      <a:cubicBezTo>
                        <a:pt x="21052" y="257"/>
                        <a:pt x="26906" y="6360"/>
                        <a:pt x="26657" y="13709"/>
                      </a:cubicBezTo>
                      <a:cubicBezTo>
                        <a:pt x="26408" y="21058"/>
                        <a:pt x="20305" y="26788"/>
                        <a:pt x="12956" y="26539"/>
                      </a:cubicBezTo>
                      <a:cubicBezTo>
                        <a:pt x="5607" y="26290"/>
                        <a:pt x="-123" y="20062"/>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9" name="Freeform 7941">
                  <a:extLst>
                    <a:ext uri="{FF2B5EF4-FFF2-40B4-BE49-F238E27FC236}">
                      <a16:creationId xmlns:a16="http://schemas.microsoft.com/office/drawing/2014/main" id="{F809CFE2-3FC3-7DE4-55CB-05F10A2DCDFF}"/>
                    </a:ext>
                  </a:extLst>
                </p:cNvPr>
                <p:cNvSpPr/>
                <p:nvPr/>
              </p:nvSpPr>
              <p:spPr>
                <a:xfrm>
                  <a:off x="5670957" y="1871055"/>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8"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0" name="Freeform 7942">
                  <a:extLst>
                    <a:ext uri="{FF2B5EF4-FFF2-40B4-BE49-F238E27FC236}">
                      <a16:creationId xmlns:a16="http://schemas.microsoft.com/office/drawing/2014/main" id="{A0526D8D-B6DC-48E4-694F-D97B8E69E49A}"/>
                    </a:ext>
                  </a:extLst>
                </p:cNvPr>
                <p:cNvSpPr/>
                <p:nvPr/>
              </p:nvSpPr>
              <p:spPr>
                <a:xfrm>
                  <a:off x="5678122" y="1866197"/>
                  <a:ext cx="4375" cy="52189"/>
                </a:xfrm>
                <a:custGeom>
                  <a:avLst/>
                  <a:gdLst>
                    <a:gd name="connsiteX0" fmla="*/ 1832 w 4375"/>
                    <a:gd name="connsiteY0" fmla="*/ 52190 h 52189"/>
                    <a:gd name="connsiteX1" fmla="*/ 337 w 4375"/>
                    <a:gd name="connsiteY1" fmla="*/ 33381 h 52189"/>
                    <a:gd name="connsiteX2" fmla="*/ 4199 w 4375"/>
                    <a:gd name="connsiteY2" fmla="*/ 16442 h 52189"/>
                    <a:gd name="connsiteX3" fmla="*/ 2455 w 4375"/>
                    <a:gd name="connsiteY3" fmla="*/ 0 h 52189"/>
                  </a:gdLst>
                  <a:ahLst/>
                  <a:cxnLst>
                    <a:cxn ang="0">
                      <a:pos x="connsiteX0" y="connsiteY0"/>
                    </a:cxn>
                    <a:cxn ang="0">
                      <a:pos x="connsiteX1" y="connsiteY1"/>
                    </a:cxn>
                    <a:cxn ang="0">
                      <a:pos x="connsiteX2" y="connsiteY2"/>
                    </a:cxn>
                    <a:cxn ang="0">
                      <a:pos x="connsiteX3" y="connsiteY3"/>
                    </a:cxn>
                  </a:cxnLst>
                  <a:rect l="l" t="t" r="r" b="b"/>
                  <a:pathLst>
                    <a:path w="4375" h="52189">
                      <a:moveTo>
                        <a:pt x="1832" y="52190"/>
                      </a:moveTo>
                      <a:cubicBezTo>
                        <a:pt x="-410" y="44093"/>
                        <a:pt x="-161" y="37741"/>
                        <a:pt x="337" y="33381"/>
                      </a:cubicBezTo>
                      <a:cubicBezTo>
                        <a:pt x="1334" y="26406"/>
                        <a:pt x="3576" y="23541"/>
                        <a:pt x="4199" y="16442"/>
                      </a:cubicBezTo>
                      <a:cubicBezTo>
                        <a:pt x="4821" y="9591"/>
                        <a:pt x="3700" y="3737"/>
                        <a:pt x="2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51" name="Freeform 7943">
                  <a:extLst>
                    <a:ext uri="{FF2B5EF4-FFF2-40B4-BE49-F238E27FC236}">
                      <a16:creationId xmlns:a16="http://schemas.microsoft.com/office/drawing/2014/main" id="{A5923C06-3CF4-3316-0CC0-69555C464AD5}"/>
                    </a:ext>
                  </a:extLst>
                </p:cNvPr>
                <p:cNvSpPr/>
                <p:nvPr/>
              </p:nvSpPr>
              <p:spPr>
                <a:xfrm>
                  <a:off x="5664127" y="1850869"/>
                  <a:ext cx="26421" cy="26546"/>
                </a:xfrm>
                <a:custGeom>
                  <a:avLst/>
                  <a:gdLst>
                    <a:gd name="connsiteX0" fmla="*/ 26414 w 26421"/>
                    <a:gd name="connsiteY0" fmla="*/ 13709 h 26546"/>
                    <a:gd name="connsiteX1" fmla="*/ 12837 w 26421"/>
                    <a:gd name="connsiteY1" fmla="*/ 26539 h 26546"/>
                    <a:gd name="connsiteX2" fmla="*/ 8 w 26421"/>
                    <a:gd name="connsiteY2" fmla="*/ 12837 h 26546"/>
                    <a:gd name="connsiteX3" fmla="*/ 13585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186" y="26788"/>
                        <a:pt x="12837" y="26539"/>
                      </a:cubicBezTo>
                      <a:cubicBezTo>
                        <a:pt x="5488" y="26290"/>
                        <a:pt x="-241" y="20186"/>
                        <a:pt x="8" y="12837"/>
                      </a:cubicBezTo>
                      <a:cubicBezTo>
                        <a:pt x="257" y="5488"/>
                        <a:pt x="6360" y="-241"/>
                        <a:pt x="13585"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2" name="Graphic 2987">
                <a:extLst>
                  <a:ext uri="{FF2B5EF4-FFF2-40B4-BE49-F238E27FC236}">
                    <a16:creationId xmlns:a16="http://schemas.microsoft.com/office/drawing/2014/main" id="{C0D82299-498B-94A5-6D3B-79822718BCD3}"/>
                  </a:ext>
                </a:extLst>
              </p:cNvPr>
              <p:cNvGrpSpPr/>
              <p:nvPr/>
            </p:nvGrpSpPr>
            <p:grpSpPr>
              <a:xfrm>
                <a:off x="5630746" y="1849872"/>
                <a:ext cx="30401" cy="148737"/>
                <a:chOff x="5630746" y="1849872"/>
                <a:chExt cx="30401" cy="148737"/>
              </a:xfrm>
              <a:grpFill/>
            </p:grpSpPr>
            <p:sp>
              <p:nvSpPr>
                <p:cNvPr id="6240" name="Freeform 7945">
                  <a:extLst>
                    <a:ext uri="{FF2B5EF4-FFF2-40B4-BE49-F238E27FC236}">
                      <a16:creationId xmlns:a16="http://schemas.microsoft.com/office/drawing/2014/main" id="{0A22E8B6-43EC-102E-3A86-99D11710451C}"/>
                    </a:ext>
                  </a:extLst>
                </p:cNvPr>
                <p:cNvSpPr/>
                <p:nvPr/>
              </p:nvSpPr>
              <p:spPr>
                <a:xfrm>
                  <a:off x="5647666" y="1926358"/>
                  <a:ext cx="2978" cy="52065"/>
                </a:xfrm>
                <a:custGeom>
                  <a:avLst/>
                  <a:gdLst>
                    <a:gd name="connsiteX0" fmla="*/ 276 w 2978"/>
                    <a:gd name="connsiteY0" fmla="*/ 52065 h 52065"/>
                    <a:gd name="connsiteX1" fmla="*/ 2892 w 2978"/>
                    <a:gd name="connsiteY1" fmla="*/ 33506 h 52065"/>
                    <a:gd name="connsiteX2" fmla="*/ 27 w 2978"/>
                    <a:gd name="connsiteY2" fmla="*/ 16317 h 52065"/>
                    <a:gd name="connsiteX3" fmla="*/ 2643 w 2978"/>
                    <a:gd name="connsiteY3" fmla="*/ 0 h 52065"/>
                  </a:gdLst>
                  <a:ahLst/>
                  <a:cxnLst>
                    <a:cxn ang="0">
                      <a:pos x="connsiteX0" y="connsiteY0"/>
                    </a:cxn>
                    <a:cxn ang="0">
                      <a:pos x="connsiteX1" y="connsiteY1"/>
                    </a:cxn>
                    <a:cxn ang="0">
                      <a:pos x="connsiteX2" y="connsiteY2"/>
                    </a:cxn>
                    <a:cxn ang="0">
                      <a:pos x="connsiteX3" y="connsiteY3"/>
                    </a:cxn>
                  </a:cxnLst>
                  <a:rect l="l" t="t" r="r" b="b"/>
                  <a:pathLst>
                    <a:path w="2978" h="52065">
                      <a:moveTo>
                        <a:pt x="276" y="52065"/>
                      </a:moveTo>
                      <a:cubicBezTo>
                        <a:pt x="3017" y="44093"/>
                        <a:pt x="3141" y="37741"/>
                        <a:pt x="2892" y="33506"/>
                      </a:cubicBezTo>
                      <a:cubicBezTo>
                        <a:pt x="2269" y="26531"/>
                        <a:pt x="276" y="23417"/>
                        <a:pt x="27" y="16317"/>
                      </a:cubicBezTo>
                      <a:cubicBezTo>
                        <a:pt x="-222" y="9466"/>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1" name="Freeform 7946">
                  <a:extLst>
                    <a:ext uri="{FF2B5EF4-FFF2-40B4-BE49-F238E27FC236}">
                      <a16:creationId xmlns:a16="http://schemas.microsoft.com/office/drawing/2014/main" id="{BB22962A-68EA-BF53-9D97-2BC4D95EE302}"/>
                    </a:ext>
                  </a:extLst>
                </p:cNvPr>
                <p:cNvSpPr/>
                <p:nvPr/>
              </p:nvSpPr>
              <p:spPr>
                <a:xfrm>
                  <a:off x="5638873" y="193109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2"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2" name="Freeform 7947">
                  <a:extLst>
                    <a:ext uri="{FF2B5EF4-FFF2-40B4-BE49-F238E27FC236}">
                      <a16:creationId xmlns:a16="http://schemas.microsoft.com/office/drawing/2014/main" id="{0C903DB8-1E19-3073-297E-4FE89CF6B4F0}"/>
                    </a:ext>
                  </a:extLst>
                </p:cNvPr>
                <p:cNvSpPr/>
                <p:nvPr/>
              </p:nvSpPr>
              <p:spPr>
                <a:xfrm>
                  <a:off x="5630746" y="1972063"/>
                  <a:ext cx="26665" cy="26546"/>
                </a:xfrm>
                <a:custGeom>
                  <a:avLst/>
                  <a:gdLst>
                    <a:gd name="connsiteX0" fmla="*/ 8 w 26665"/>
                    <a:gd name="connsiteY0" fmla="*/ 12837 h 26546"/>
                    <a:gd name="connsiteX1" fmla="*/ 13709 w 26665"/>
                    <a:gd name="connsiteY1" fmla="*/ 8 h 26546"/>
                    <a:gd name="connsiteX2" fmla="*/ 26663 w 26665"/>
                    <a:gd name="connsiteY2" fmla="*/ 13709 h 26546"/>
                    <a:gd name="connsiteX3" fmla="*/ 12962 w 26665"/>
                    <a:gd name="connsiteY3" fmla="*/ 26539 h 26546"/>
                    <a:gd name="connsiteX4" fmla="*/ 8 w 26665"/>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8" y="12837"/>
                      </a:moveTo>
                      <a:cubicBezTo>
                        <a:pt x="257" y="5488"/>
                        <a:pt x="6360" y="-241"/>
                        <a:pt x="13709" y="8"/>
                      </a:cubicBezTo>
                      <a:cubicBezTo>
                        <a:pt x="21058" y="257"/>
                        <a:pt x="26787" y="6360"/>
                        <a:pt x="26663" y="13709"/>
                      </a:cubicBezTo>
                      <a:cubicBezTo>
                        <a:pt x="26414" y="21058"/>
                        <a:pt x="20311" y="26788"/>
                        <a:pt x="12962" y="26539"/>
                      </a:cubicBezTo>
                      <a:cubicBezTo>
                        <a:pt x="5613"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3" name="Freeform 7948">
                  <a:extLst>
                    <a:ext uri="{FF2B5EF4-FFF2-40B4-BE49-F238E27FC236}">
                      <a16:creationId xmlns:a16="http://schemas.microsoft.com/office/drawing/2014/main" id="{26C11451-953C-51E4-DF1E-CCE2CFD3462B}"/>
                    </a:ext>
                  </a:extLst>
                </p:cNvPr>
                <p:cNvSpPr/>
                <p:nvPr/>
              </p:nvSpPr>
              <p:spPr>
                <a:xfrm>
                  <a:off x="5641379" y="1870058"/>
                  <a:ext cx="2978" cy="52065"/>
                </a:xfrm>
                <a:custGeom>
                  <a:avLst/>
                  <a:gdLst>
                    <a:gd name="connsiteX0" fmla="*/ 2702 w 2978"/>
                    <a:gd name="connsiteY0" fmla="*/ 0 h 52065"/>
                    <a:gd name="connsiteX1" fmla="*/ 87 w 2978"/>
                    <a:gd name="connsiteY1" fmla="*/ 18559 h 52065"/>
                    <a:gd name="connsiteX2" fmla="*/ 2951 w 2978"/>
                    <a:gd name="connsiteY2" fmla="*/ 35748 h 52065"/>
                    <a:gd name="connsiteX3" fmla="*/ 336 w 297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78" h="52065">
                      <a:moveTo>
                        <a:pt x="2702" y="0"/>
                      </a:moveTo>
                      <a:cubicBezTo>
                        <a:pt x="-38" y="7972"/>
                        <a:pt x="-162" y="14324"/>
                        <a:pt x="87" y="18559"/>
                      </a:cubicBezTo>
                      <a:cubicBezTo>
                        <a:pt x="585" y="25534"/>
                        <a:pt x="2702" y="28648"/>
                        <a:pt x="2951" y="35748"/>
                      </a:cubicBezTo>
                      <a:cubicBezTo>
                        <a:pt x="3201" y="42599"/>
                        <a:pt x="1706" y="48328"/>
                        <a:pt x="3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4" name="Freeform 7949">
                  <a:extLst>
                    <a:ext uri="{FF2B5EF4-FFF2-40B4-BE49-F238E27FC236}">
                      <a16:creationId xmlns:a16="http://schemas.microsoft.com/office/drawing/2014/main" id="{63CA3487-0533-8928-519A-67AA5856309E}"/>
                    </a:ext>
                  </a:extLst>
                </p:cNvPr>
                <p:cNvSpPr/>
                <p:nvPr/>
              </p:nvSpPr>
              <p:spPr>
                <a:xfrm>
                  <a:off x="5648507" y="1865201"/>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45" name="Freeform 7950">
                  <a:extLst>
                    <a:ext uri="{FF2B5EF4-FFF2-40B4-BE49-F238E27FC236}">
                      <a16:creationId xmlns:a16="http://schemas.microsoft.com/office/drawing/2014/main" id="{47D82BEA-4853-8C8E-12CE-9601B05E8370}"/>
                    </a:ext>
                  </a:extLst>
                </p:cNvPr>
                <p:cNvSpPr/>
                <p:nvPr/>
              </p:nvSpPr>
              <p:spPr>
                <a:xfrm>
                  <a:off x="5634732" y="1849872"/>
                  <a:ext cx="26416" cy="26546"/>
                </a:xfrm>
                <a:custGeom>
                  <a:avLst/>
                  <a:gdLst>
                    <a:gd name="connsiteX0" fmla="*/ 26414 w 26416"/>
                    <a:gd name="connsiteY0" fmla="*/ 13709 h 26546"/>
                    <a:gd name="connsiteX1" fmla="*/ 12837 w 26416"/>
                    <a:gd name="connsiteY1" fmla="*/ 26539 h 26546"/>
                    <a:gd name="connsiteX2" fmla="*/ 8 w 26416"/>
                    <a:gd name="connsiteY2" fmla="*/ 12837 h 26546"/>
                    <a:gd name="connsiteX3" fmla="*/ 13585 w 26416"/>
                    <a:gd name="connsiteY3" fmla="*/ 8 h 26546"/>
                    <a:gd name="connsiteX4" fmla="*/ 26414 w 2641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545">
                      <a:moveTo>
                        <a:pt x="26414" y="13709"/>
                      </a:moveTo>
                      <a:cubicBezTo>
                        <a:pt x="26165" y="21058"/>
                        <a:pt x="20061" y="26788"/>
                        <a:pt x="12837" y="26539"/>
                      </a:cubicBezTo>
                      <a:cubicBezTo>
                        <a:pt x="5488" y="26289"/>
                        <a:pt x="-242" y="20186"/>
                        <a:pt x="8" y="12837"/>
                      </a:cubicBezTo>
                      <a:cubicBezTo>
                        <a:pt x="257" y="5488"/>
                        <a:pt x="6360" y="-241"/>
                        <a:pt x="13585" y="8"/>
                      </a:cubicBezTo>
                      <a:cubicBezTo>
                        <a:pt x="20809" y="132"/>
                        <a:pt x="26539"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3" name="Graphic 2987">
                <a:extLst>
                  <a:ext uri="{FF2B5EF4-FFF2-40B4-BE49-F238E27FC236}">
                    <a16:creationId xmlns:a16="http://schemas.microsoft.com/office/drawing/2014/main" id="{AABDEA28-49EE-C27F-8C18-AA42649BCF65}"/>
                  </a:ext>
                </a:extLst>
              </p:cNvPr>
              <p:cNvGrpSpPr/>
              <p:nvPr/>
            </p:nvGrpSpPr>
            <p:grpSpPr>
              <a:xfrm>
                <a:off x="5600977" y="1848751"/>
                <a:ext cx="30656" cy="148862"/>
                <a:chOff x="5600977" y="1848751"/>
                <a:chExt cx="30656" cy="148862"/>
              </a:xfrm>
              <a:grpFill/>
            </p:grpSpPr>
            <p:sp>
              <p:nvSpPr>
                <p:cNvPr id="6234" name="Freeform 7952">
                  <a:extLst>
                    <a:ext uri="{FF2B5EF4-FFF2-40B4-BE49-F238E27FC236}">
                      <a16:creationId xmlns:a16="http://schemas.microsoft.com/office/drawing/2014/main" id="{88CD716D-017F-AB96-5EAB-05792728A9E0}"/>
                    </a:ext>
                  </a:extLst>
                </p:cNvPr>
                <p:cNvSpPr/>
                <p:nvPr/>
              </p:nvSpPr>
              <p:spPr>
                <a:xfrm>
                  <a:off x="5617899" y="1925362"/>
                  <a:ext cx="3026" cy="52065"/>
                </a:xfrm>
                <a:custGeom>
                  <a:avLst/>
                  <a:gdLst>
                    <a:gd name="connsiteX0" fmla="*/ 275 w 3026"/>
                    <a:gd name="connsiteY0" fmla="*/ 52065 h 52065"/>
                    <a:gd name="connsiteX1" fmla="*/ 2891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1" y="33506"/>
                      </a:cubicBezTo>
                      <a:cubicBezTo>
                        <a:pt x="2392"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5" name="Freeform 7953">
                  <a:extLst>
                    <a:ext uri="{FF2B5EF4-FFF2-40B4-BE49-F238E27FC236}">
                      <a16:creationId xmlns:a16="http://schemas.microsoft.com/office/drawing/2014/main" id="{E8C4246C-A403-5871-0DE7-4AA97A5BE123}"/>
                    </a:ext>
                  </a:extLst>
                </p:cNvPr>
                <p:cNvSpPr/>
                <p:nvPr/>
              </p:nvSpPr>
              <p:spPr>
                <a:xfrm>
                  <a:off x="5609228" y="1930095"/>
                  <a:ext cx="4645" cy="52189"/>
                </a:xfrm>
                <a:custGeom>
                  <a:avLst/>
                  <a:gdLst>
                    <a:gd name="connsiteX0" fmla="*/ 2842 w 4645"/>
                    <a:gd name="connsiteY0" fmla="*/ 0 h 52189"/>
                    <a:gd name="connsiteX1" fmla="*/ 4213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5"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6" name="Freeform 7954">
                  <a:extLst>
                    <a:ext uri="{FF2B5EF4-FFF2-40B4-BE49-F238E27FC236}">
                      <a16:creationId xmlns:a16="http://schemas.microsoft.com/office/drawing/2014/main" id="{BC0B5D3C-8849-9D56-5D5D-603600C93C48}"/>
                    </a:ext>
                  </a:extLst>
                </p:cNvPr>
                <p:cNvSpPr/>
                <p:nvPr/>
              </p:nvSpPr>
              <p:spPr>
                <a:xfrm>
                  <a:off x="5600977" y="1971067"/>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310"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7" name="Freeform 7955">
                  <a:extLst>
                    <a:ext uri="{FF2B5EF4-FFF2-40B4-BE49-F238E27FC236}">
                      <a16:creationId xmlns:a16="http://schemas.microsoft.com/office/drawing/2014/main" id="{8431F23A-F12F-0EFC-84F9-2F2224832232}"/>
                    </a:ext>
                  </a:extLst>
                </p:cNvPr>
                <p:cNvSpPr/>
                <p:nvPr/>
              </p:nvSpPr>
              <p:spPr>
                <a:xfrm>
                  <a:off x="5611809" y="186893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8" name="Freeform 7956">
                  <a:extLst>
                    <a:ext uri="{FF2B5EF4-FFF2-40B4-BE49-F238E27FC236}">
                      <a16:creationId xmlns:a16="http://schemas.microsoft.com/office/drawing/2014/main" id="{5DE25BC5-6146-5765-34E9-BE6A35437361}"/>
                    </a:ext>
                  </a:extLst>
                </p:cNvPr>
                <p:cNvSpPr/>
                <p:nvPr/>
              </p:nvSpPr>
              <p:spPr>
                <a:xfrm>
                  <a:off x="5618862" y="1864080"/>
                  <a:ext cx="4645" cy="52189"/>
                </a:xfrm>
                <a:custGeom>
                  <a:avLst/>
                  <a:gdLst>
                    <a:gd name="connsiteX0" fmla="*/ 1803 w 4645"/>
                    <a:gd name="connsiteY0" fmla="*/ 52190 h 52189"/>
                    <a:gd name="connsiteX1" fmla="*/ 433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9" name="Freeform 7957">
                  <a:extLst>
                    <a:ext uri="{FF2B5EF4-FFF2-40B4-BE49-F238E27FC236}">
                      <a16:creationId xmlns:a16="http://schemas.microsoft.com/office/drawing/2014/main" id="{7EF2251C-1A9A-1FAF-4595-280B00E9D73A}"/>
                    </a:ext>
                  </a:extLst>
                </p:cNvPr>
                <p:cNvSpPr/>
                <p:nvPr/>
              </p:nvSpPr>
              <p:spPr>
                <a:xfrm>
                  <a:off x="5605336" y="1848751"/>
                  <a:ext cx="26297" cy="26546"/>
                </a:xfrm>
                <a:custGeom>
                  <a:avLst/>
                  <a:gdLst>
                    <a:gd name="connsiteX0" fmla="*/ 26290 w 26297"/>
                    <a:gd name="connsiteY0" fmla="*/ 13709 h 26546"/>
                    <a:gd name="connsiteX1" fmla="*/ 12713 w 26297"/>
                    <a:gd name="connsiteY1" fmla="*/ 26539 h 26546"/>
                    <a:gd name="connsiteX2" fmla="*/ 8 w 26297"/>
                    <a:gd name="connsiteY2" fmla="*/ 12837 h 26546"/>
                    <a:gd name="connsiteX3" fmla="*/ 13585 w 26297"/>
                    <a:gd name="connsiteY3" fmla="*/ 8 h 26546"/>
                    <a:gd name="connsiteX4" fmla="*/ 26290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26290" y="13709"/>
                      </a:moveTo>
                      <a:cubicBezTo>
                        <a:pt x="26040" y="21058"/>
                        <a:pt x="19937" y="26788"/>
                        <a:pt x="12713" y="26539"/>
                      </a:cubicBezTo>
                      <a:cubicBezTo>
                        <a:pt x="5364" y="26290"/>
                        <a:pt x="-241" y="20186"/>
                        <a:pt x="8" y="12837"/>
                      </a:cubicBezTo>
                      <a:cubicBezTo>
                        <a:pt x="257" y="5488"/>
                        <a:pt x="6361" y="-241"/>
                        <a:pt x="13585" y="8"/>
                      </a:cubicBezTo>
                      <a:cubicBezTo>
                        <a:pt x="20809" y="257"/>
                        <a:pt x="26539" y="6360"/>
                        <a:pt x="26290"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4" name="Graphic 2987">
                <a:extLst>
                  <a:ext uri="{FF2B5EF4-FFF2-40B4-BE49-F238E27FC236}">
                    <a16:creationId xmlns:a16="http://schemas.microsoft.com/office/drawing/2014/main" id="{2BF95BAC-D4BF-9FB7-FC9E-9329FA86CA96}"/>
                  </a:ext>
                </a:extLst>
              </p:cNvPr>
              <p:cNvGrpSpPr/>
              <p:nvPr/>
            </p:nvGrpSpPr>
            <p:grpSpPr>
              <a:xfrm>
                <a:off x="5571207" y="1847755"/>
                <a:ext cx="30906" cy="148737"/>
                <a:chOff x="5571207" y="1847755"/>
                <a:chExt cx="30906" cy="148737"/>
              </a:xfrm>
              <a:grpFill/>
            </p:grpSpPr>
            <p:sp>
              <p:nvSpPr>
                <p:cNvPr id="6228" name="Freeform 7959">
                  <a:extLst>
                    <a:ext uri="{FF2B5EF4-FFF2-40B4-BE49-F238E27FC236}">
                      <a16:creationId xmlns:a16="http://schemas.microsoft.com/office/drawing/2014/main" id="{B1BE3923-0680-2E76-BD71-D6EC7F41C640}"/>
                    </a:ext>
                  </a:extLst>
                </p:cNvPr>
                <p:cNvSpPr/>
                <p:nvPr/>
              </p:nvSpPr>
              <p:spPr>
                <a:xfrm>
                  <a:off x="5588130" y="1924241"/>
                  <a:ext cx="3026" cy="52065"/>
                </a:xfrm>
                <a:custGeom>
                  <a:avLst/>
                  <a:gdLst>
                    <a:gd name="connsiteX0" fmla="*/ 275 w 3026"/>
                    <a:gd name="connsiteY0" fmla="*/ 52065 h 52065"/>
                    <a:gd name="connsiteX1" fmla="*/ 2890 w 3026"/>
                    <a:gd name="connsiteY1" fmla="*/ 33506 h 52065"/>
                    <a:gd name="connsiteX2" fmla="*/ 26 w 3026"/>
                    <a:gd name="connsiteY2" fmla="*/ 16317 h 52065"/>
                    <a:gd name="connsiteX3" fmla="*/ 2766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 y="52065"/>
                      </a:moveTo>
                      <a:cubicBezTo>
                        <a:pt x="3015" y="44093"/>
                        <a:pt x="3264" y="37741"/>
                        <a:pt x="2890" y="33506"/>
                      </a:cubicBezTo>
                      <a:cubicBezTo>
                        <a:pt x="2392" y="26531"/>
                        <a:pt x="275"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9" name="Freeform 7960">
                  <a:extLst>
                    <a:ext uri="{FF2B5EF4-FFF2-40B4-BE49-F238E27FC236}">
                      <a16:creationId xmlns:a16="http://schemas.microsoft.com/office/drawing/2014/main" id="{F3CE0B02-9232-1897-6929-D861AA5F784D}"/>
                    </a:ext>
                  </a:extLst>
                </p:cNvPr>
                <p:cNvSpPr/>
                <p:nvPr/>
              </p:nvSpPr>
              <p:spPr>
                <a:xfrm>
                  <a:off x="5579458" y="1928974"/>
                  <a:ext cx="4743" cy="52189"/>
                </a:xfrm>
                <a:custGeom>
                  <a:avLst/>
                  <a:gdLst>
                    <a:gd name="connsiteX0" fmla="*/ 2967 w 4743"/>
                    <a:gd name="connsiteY0" fmla="*/ 0 h 52189"/>
                    <a:gd name="connsiteX1" fmla="*/ 4213 w 4743"/>
                    <a:gd name="connsiteY1" fmla="*/ 18808 h 52189"/>
                    <a:gd name="connsiteX2" fmla="*/ 227 w 4743"/>
                    <a:gd name="connsiteY2" fmla="*/ 35748 h 52189"/>
                    <a:gd name="connsiteX3" fmla="*/ 1846 w 474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43" h="52189">
                      <a:moveTo>
                        <a:pt x="2967" y="0"/>
                      </a:moveTo>
                      <a:cubicBezTo>
                        <a:pt x="5209" y="8096"/>
                        <a:pt x="4960" y="14449"/>
                        <a:pt x="4213" y="18808"/>
                      </a:cubicBezTo>
                      <a:cubicBezTo>
                        <a:pt x="3216" y="25783"/>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0" name="Freeform 7961">
                  <a:extLst>
                    <a:ext uri="{FF2B5EF4-FFF2-40B4-BE49-F238E27FC236}">
                      <a16:creationId xmlns:a16="http://schemas.microsoft.com/office/drawing/2014/main" id="{90CE3157-527E-BCAA-23D7-351D267B3EEF}"/>
                    </a:ext>
                  </a:extLst>
                </p:cNvPr>
                <p:cNvSpPr/>
                <p:nvPr/>
              </p:nvSpPr>
              <p:spPr>
                <a:xfrm>
                  <a:off x="5571207" y="1969946"/>
                  <a:ext cx="26671" cy="26546"/>
                </a:xfrm>
                <a:custGeom>
                  <a:avLst/>
                  <a:gdLst>
                    <a:gd name="connsiteX0" fmla="*/ 8 w 26671"/>
                    <a:gd name="connsiteY0" fmla="*/ 12837 h 26546"/>
                    <a:gd name="connsiteX1" fmla="*/ 13834 w 26671"/>
                    <a:gd name="connsiteY1" fmla="*/ 8 h 26546"/>
                    <a:gd name="connsiteX2" fmla="*/ 26663 w 26671"/>
                    <a:gd name="connsiteY2" fmla="*/ 13709 h 26546"/>
                    <a:gd name="connsiteX3" fmla="*/ 12837 w 26671"/>
                    <a:gd name="connsiteY3" fmla="*/ 26539 h 26546"/>
                    <a:gd name="connsiteX4" fmla="*/ 8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8" y="12837"/>
                      </a:moveTo>
                      <a:cubicBezTo>
                        <a:pt x="257" y="5488"/>
                        <a:pt x="6485" y="-241"/>
                        <a:pt x="13834" y="8"/>
                      </a:cubicBezTo>
                      <a:cubicBezTo>
                        <a:pt x="21183" y="257"/>
                        <a:pt x="26912" y="6360"/>
                        <a:pt x="26663" y="13709"/>
                      </a:cubicBezTo>
                      <a:cubicBezTo>
                        <a:pt x="26414" y="21058"/>
                        <a:pt x="20186" y="26788"/>
                        <a:pt x="12837" y="26539"/>
                      </a:cubicBezTo>
                      <a:cubicBezTo>
                        <a:pt x="5488"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1" name="Freeform 7962">
                  <a:extLst>
                    <a:ext uri="{FF2B5EF4-FFF2-40B4-BE49-F238E27FC236}">
                      <a16:creationId xmlns:a16="http://schemas.microsoft.com/office/drawing/2014/main" id="{DAD31A99-FFBA-028D-8FF5-ADDC296E060A}"/>
                    </a:ext>
                  </a:extLst>
                </p:cNvPr>
                <p:cNvSpPr/>
                <p:nvPr/>
              </p:nvSpPr>
              <p:spPr>
                <a:xfrm>
                  <a:off x="5582289" y="1867941"/>
                  <a:ext cx="2902" cy="52065"/>
                </a:xfrm>
                <a:custGeom>
                  <a:avLst/>
                  <a:gdLst>
                    <a:gd name="connsiteX0" fmla="*/ 2752 w 2902"/>
                    <a:gd name="connsiteY0" fmla="*/ 0 h 52065"/>
                    <a:gd name="connsiteX1" fmla="*/ 136 w 2902"/>
                    <a:gd name="connsiteY1" fmla="*/ 18559 h 52065"/>
                    <a:gd name="connsiteX2" fmla="*/ 2877 w 2902"/>
                    <a:gd name="connsiteY2" fmla="*/ 35748 h 52065"/>
                    <a:gd name="connsiteX3" fmla="*/ 13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0"/>
                      </a:moveTo>
                      <a:cubicBezTo>
                        <a:pt x="12" y="7972"/>
                        <a:pt x="-237" y="14324"/>
                        <a:pt x="136" y="18559"/>
                      </a:cubicBezTo>
                      <a:cubicBezTo>
                        <a:pt x="635" y="25534"/>
                        <a:pt x="2628" y="28648"/>
                        <a:pt x="2877" y="35748"/>
                      </a:cubicBezTo>
                      <a:cubicBezTo>
                        <a:pt x="3126" y="42599"/>
                        <a:pt x="1507" y="48328"/>
                        <a:pt x="13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2" name="Freeform 7963">
                  <a:extLst>
                    <a:ext uri="{FF2B5EF4-FFF2-40B4-BE49-F238E27FC236}">
                      <a16:creationId xmlns:a16="http://schemas.microsoft.com/office/drawing/2014/main" id="{028B84CE-6C73-12D6-FB16-4EA6240BD421}"/>
                    </a:ext>
                  </a:extLst>
                </p:cNvPr>
                <p:cNvSpPr/>
                <p:nvPr/>
              </p:nvSpPr>
              <p:spPr>
                <a:xfrm>
                  <a:off x="5589342" y="1863083"/>
                  <a:ext cx="4645" cy="52189"/>
                </a:xfrm>
                <a:custGeom>
                  <a:avLst/>
                  <a:gdLst>
                    <a:gd name="connsiteX0" fmla="*/ 1803 w 4645"/>
                    <a:gd name="connsiteY0" fmla="*/ 52190 h 52189"/>
                    <a:gd name="connsiteX1" fmla="*/ 432 w 4645"/>
                    <a:gd name="connsiteY1" fmla="*/ 33381 h 52189"/>
                    <a:gd name="connsiteX2" fmla="*/ 4418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2" y="33381"/>
                      </a:cubicBezTo>
                      <a:cubicBezTo>
                        <a:pt x="1429" y="26406"/>
                        <a:pt x="3671" y="23541"/>
                        <a:pt x="4418"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33" name="Freeform 7964">
                  <a:extLst>
                    <a:ext uri="{FF2B5EF4-FFF2-40B4-BE49-F238E27FC236}">
                      <a16:creationId xmlns:a16="http://schemas.microsoft.com/office/drawing/2014/main" id="{DB51E669-E6AC-F51A-9CE7-A134E16F6FF0}"/>
                    </a:ext>
                  </a:extLst>
                </p:cNvPr>
                <p:cNvSpPr/>
                <p:nvPr/>
              </p:nvSpPr>
              <p:spPr>
                <a:xfrm>
                  <a:off x="5575692" y="1847755"/>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20062" y="26788"/>
                        <a:pt x="12713" y="26539"/>
                      </a:cubicBezTo>
                      <a:cubicBezTo>
                        <a:pt x="5364" y="26290"/>
                        <a:pt x="-241" y="20186"/>
                        <a:pt x="8" y="12837"/>
                      </a:cubicBezTo>
                      <a:cubicBezTo>
                        <a:pt x="257" y="5488"/>
                        <a:pt x="6360"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5" name="Graphic 2987">
                <a:extLst>
                  <a:ext uri="{FF2B5EF4-FFF2-40B4-BE49-F238E27FC236}">
                    <a16:creationId xmlns:a16="http://schemas.microsoft.com/office/drawing/2014/main" id="{32C68531-861D-5579-E845-35DD2DA926A5}"/>
                  </a:ext>
                </a:extLst>
              </p:cNvPr>
              <p:cNvGrpSpPr/>
              <p:nvPr/>
            </p:nvGrpSpPr>
            <p:grpSpPr>
              <a:xfrm>
                <a:off x="5541438" y="1846634"/>
                <a:ext cx="31164" cy="148862"/>
                <a:chOff x="5541438" y="1846634"/>
                <a:chExt cx="31164" cy="148862"/>
              </a:xfrm>
              <a:grpFill/>
            </p:grpSpPr>
            <p:sp>
              <p:nvSpPr>
                <p:cNvPr id="6222" name="Freeform 7966">
                  <a:extLst>
                    <a:ext uri="{FF2B5EF4-FFF2-40B4-BE49-F238E27FC236}">
                      <a16:creationId xmlns:a16="http://schemas.microsoft.com/office/drawing/2014/main" id="{934AD729-50C0-E043-152F-1DCF96018C5E}"/>
                    </a:ext>
                  </a:extLst>
                </p:cNvPr>
                <p:cNvSpPr/>
                <p:nvPr/>
              </p:nvSpPr>
              <p:spPr>
                <a:xfrm>
                  <a:off x="5558609" y="1923245"/>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3"/>
                        <a:pt x="3015" y="37741"/>
                        <a:pt x="2766" y="33506"/>
                      </a:cubicBezTo>
                      <a:cubicBezTo>
                        <a:pt x="2268" y="26531"/>
                        <a:pt x="275" y="23417"/>
                        <a:pt x="26" y="16317"/>
                      </a:cubicBezTo>
                      <a:cubicBezTo>
                        <a:pt x="-223"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3" name="Freeform 7967">
                  <a:extLst>
                    <a:ext uri="{FF2B5EF4-FFF2-40B4-BE49-F238E27FC236}">
                      <a16:creationId xmlns:a16="http://schemas.microsoft.com/office/drawing/2014/main" id="{1EF6543B-300E-CBB8-5F26-892D08AFE3F2}"/>
                    </a:ext>
                  </a:extLst>
                </p:cNvPr>
                <p:cNvSpPr/>
                <p:nvPr/>
              </p:nvSpPr>
              <p:spPr>
                <a:xfrm>
                  <a:off x="5549674" y="1927978"/>
                  <a:ext cx="4792" cy="52189"/>
                </a:xfrm>
                <a:custGeom>
                  <a:avLst/>
                  <a:gdLst>
                    <a:gd name="connsiteX0" fmla="*/ 3107 w 4792"/>
                    <a:gd name="connsiteY0" fmla="*/ 0 h 52189"/>
                    <a:gd name="connsiteX1" fmla="*/ 4352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2" y="18808"/>
                      </a:cubicBezTo>
                      <a:cubicBezTo>
                        <a:pt x="3356"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4" name="Freeform 7968">
                  <a:extLst>
                    <a:ext uri="{FF2B5EF4-FFF2-40B4-BE49-F238E27FC236}">
                      <a16:creationId xmlns:a16="http://schemas.microsoft.com/office/drawing/2014/main" id="{18081636-3DE9-2E53-34FE-84187B7D2C4C}"/>
                    </a:ext>
                  </a:extLst>
                </p:cNvPr>
                <p:cNvSpPr/>
                <p:nvPr/>
              </p:nvSpPr>
              <p:spPr>
                <a:xfrm>
                  <a:off x="5541438" y="1968949"/>
                  <a:ext cx="26670" cy="26546"/>
                </a:xfrm>
                <a:custGeom>
                  <a:avLst/>
                  <a:gdLst>
                    <a:gd name="connsiteX0" fmla="*/ 8 w 26670"/>
                    <a:gd name="connsiteY0" fmla="*/ 12837 h 26546"/>
                    <a:gd name="connsiteX1" fmla="*/ 13834 w 26670"/>
                    <a:gd name="connsiteY1" fmla="*/ 8 h 26546"/>
                    <a:gd name="connsiteX2" fmla="*/ 26663 w 26670"/>
                    <a:gd name="connsiteY2" fmla="*/ 13709 h 26546"/>
                    <a:gd name="connsiteX3" fmla="*/ 12837 w 26670"/>
                    <a:gd name="connsiteY3" fmla="*/ 26539 h 26546"/>
                    <a:gd name="connsiteX4" fmla="*/ 8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8" y="12837"/>
                      </a:moveTo>
                      <a:cubicBezTo>
                        <a:pt x="257" y="5488"/>
                        <a:pt x="6485" y="-241"/>
                        <a:pt x="13834" y="8"/>
                      </a:cubicBezTo>
                      <a:cubicBezTo>
                        <a:pt x="21182" y="257"/>
                        <a:pt x="26912" y="6360"/>
                        <a:pt x="26663" y="13709"/>
                      </a:cubicBezTo>
                      <a:cubicBezTo>
                        <a:pt x="26414" y="21058"/>
                        <a:pt x="20186" y="26788"/>
                        <a:pt x="12837" y="26539"/>
                      </a:cubicBezTo>
                      <a:cubicBezTo>
                        <a:pt x="5488" y="26290"/>
                        <a:pt x="-242"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5" name="Freeform 7969">
                  <a:extLst>
                    <a:ext uri="{FF2B5EF4-FFF2-40B4-BE49-F238E27FC236}">
                      <a16:creationId xmlns:a16="http://schemas.microsoft.com/office/drawing/2014/main" id="{800D63F3-9BDB-78F4-BC35-FD9949849D0A}"/>
                    </a:ext>
                  </a:extLst>
                </p:cNvPr>
                <p:cNvSpPr/>
                <p:nvPr/>
              </p:nvSpPr>
              <p:spPr>
                <a:xfrm>
                  <a:off x="5552706" y="1866820"/>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5" y="14324"/>
                        <a:pt x="74" y="18559"/>
                      </a:cubicBezTo>
                      <a:cubicBezTo>
                        <a:pt x="573" y="25534"/>
                        <a:pt x="2566" y="28648"/>
                        <a:pt x="2815" y="35748"/>
                      </a:cubicBezTo>
                      <a:cubicBezTo>
                        <a:pt x="3064" y="42599"/>
                        <a:pt x="1445"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6" name="Freeform 7970">
                  <a:extLst>
                    <a:ext uri="{FF2B5EF4-FFF2-40B4-BE49-F238E27FC236}">
                      <a16:creationId xmlns:a16="http://schemas.microsoft.com/office/drawing/2014/main" id="{19673B54-11EA-016F-2A74-A20E66FCED0F}"/>
                    </a:ext>
                  </a:extLst>
                </p:cNvPr>
                <p:cNvSpPr/>
                <p:nvPr/>
              </p:nvSpPr>
              <p:spPr>
                <a:xfrm>
                  <a:off x="5559814" y="1861962"/>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437" y="26406"/>
                        <a:pt x="3679"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7" name="Freeform 7971">
                  <a:extLst>
                    <a:ext uri="{FF2B5EF4-FFF2-40B4-BE49-F238E27FC236}">
                      <a16:creationId xmlns:a16="http://schemas.microsoft.com/office/drawing/2014/main" id="{C53DE585-A927-53CA-59EC-4A50F111448F}"/>
                    </a:ext>
                  </a:extLst>
                </p:cNvPr>
                <p:cNvSpPr/>
                <p:nvPr/>
              </p:nvSpPr>
              <p:spPr>
                <a:xfrm>
                  <a:off x="5546171" y="1846634"/>
                  <a:ext cx="26431" cy="26546"/>
                </a:xfrm>
                <a:custGeom>
                  <a:avLst/>
                  <a:gdLst>
                    <a:gd name="connsiteX0" fmla="*/ 26415 w 26431"/>
                    <a:gd name="connsiteY0" fmla="*/ 13709 h 26546"/>
                    <a:gd name="connsiteX1" fmla="*/ 12713 w 26431"/>
                    <a:gd name="connsiteY1" fmla="*/ 26539 h 26546"/>
                    <a:gd name="connsiteX2" fmla="*/ 8 w 26431"/>
                    <a:gd name="connsiteY2" fmla="*/ 12837 h 26546"/>
                    <a:gd name="connsiteX3" fmla="*/ 13709 w 26431"/>
                    <a:gd name="connsiteY3" fmla="*/ 8 h 26546"/>
                    <a:gd name="connsiteX4" fmla="*/ 26415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15" y="13709"/>
                      </a:moveTo>
                      <a:cubicBezTo>
                        <a:pt x="26165" y="21058"/>
                        <a:pt x="20062" y="26788"/>
                        <a:pt x="12713" y="26539"/>
                      </a:cubicBezTo>
                      <a:cubicBezTo>
                        <a:pt x="5364" y="26290"/>
                        <a:pt x="-241" y="20186"/>
                        <a:pt x="8" y="12837"/>
                      </a:cubicBezTo>
                      <a:cubicBezTo>
                        <a:pt x="257" y="5488"/>
                        <a:pt x="6485" y="-241"/>
                        <a:pt x="13709" y="8"/>
                      </a:cubicBezTo>
                      <a:cubicBezTo>
                        <a:pt x="21058" y="257"/>
                        <a:pt x="26788" y="6485"/>
                        <a:pt x="26415"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6" name="Graphic 2987">
                <a:extLst>
                  <a:ext uri="{FF2B5EF4-FFF2-40B4-BE49-F238E27FC236}">
                    <a16:creationId xmlns:a16="http://schemas.microsoft.com/office/drawing/2014/main" id="{29B0E8A7-734A-DA9E-F50B-BF66ED9C323A}"/>
                  </a:ext>
                </a:extLst>
              </p:cNvPr>
              <p:cNvGrpSpPr/>
              <p:nvPr/>
            </p:nvGrpSpPr>
            <p:grpSpPr>
              <a:xfrm>
                <a:off x="5511659" y="1845637"/>
                <a:ext cx="31538" cy="148737"/>
                <a:chOff x="5511659" y="1845637"/>
                <a:chExt cx="31538" cy="148737"/>
              </a:xfrm>
              <a:grpFill/>
            </p:grpSpPr>
            <p:sp>
              <p:nvSpPr>
                <p:cNvPr id="6216" name="Freeform 7973">
                  <a:extLst>
                    <a:ext uri="{FF2B5EF4-FFF2-40B4-BE49-F238E27FC236}">
                      <a16:creationId xmlns:a16="http://schemas.microsoft.com/office/drawing/2014/main" id="{855B8DDD-4D9E-4E58-648C-877C277CB851}"/>
                    </a:ext>
                  </a:extLst>
                </p:cNvPr>
                <p:cNvSpPr/>
                <p:nvPr/>
              </p:nvSpPr>
              <p:spPr>
                <a:xfrm>
                  <a:off x="5528840" y="1922124"/>
                  <a:ext cx="2890" cy="52065"/>
                </a:xfrm>
                <a:custGeom>
                  <a:avLst/>
                  <a:gdLst>
                    <a:gd name="connsiteX0" fmla="*/ 26 w 2890"/>
                    <a:gd name="connsiteY0" fmla="*/ 52065 h 52065"/>
                    <a:gd name="connsiteX1" fmla="*/ 2766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890" y="44093"/>
                        <a:pt x="3015" y="37741"/>
                        <a:pt x="2766" y="33506"/>
                      </a:cubicBezTo>
                      <a:cubicBezTo>
                        <a:pt x="2268" y="26531"/>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7" name="Freeform 7974">
                  <a:extLst>
                    <a:ext uri="{FF2B5EF4-FFF2-40B4-BE49-F238E27FC236}">
                      <a16:creationId xmlns:a16="http://schemas.microsoft.com/office/drawing/2014/main" id="{65C83A7A-6981-1923-4ADE-A368960057B4}"/>
                    </a:ext>
                  </a:extLst>
                </p:cNvPr>
                <p:cNvSpPr/>
                <p:nvPr/>
              </p:nvSpPr>
              <p:spPr>
                <a:xfrm>
                  <a:off x="5519905" y="1926857"/>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4" y="8096"/>
                        <a:pt x="4975" y="14449"/>
                        <a:pt x="4353" y="18808"/>
                      </a:cubicBezTo>
                      <a:cubicBezTo>
                        <a:pt x="3232"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8" name="Freeform 7975">
                  <a:extLst>
                    <a:ext uri="{FF2B5EF4-FFF2-40B4-BE49-F238E27FC236}">
                      <a16:creationId xmlns:a16="http://schemas.microsoft.com/office/drawing/2014/main" id="{CC0693F5-7588-73BB-0923-E5C177D6844E}"/>
                    </a:ext>
                  </a:extLst>
                </p:cNvPr>
                <p:cNvSpPr/>
                <p:nvPr/>
              </p:nvSpPr>
              <p:spPr>
                <a:xfrm>
                  <a:off x="5511659" y="1967828"/>
                  <a:ext cx="26680" cy="26546"/>
                </a:xfrm>
                <a:custGeom>
                  <a:avLst/>
                  <a:gdLst>
                    <a:gd name="connsiteX0" fmla="*/ 17 w 26680"/>
                    <a:gd name="connsiteY0" fmla="*/ 12837 h 26546"/>
                    <a:gd name="connsiteX1" fmla="*/ 13843 w 26680"/>
                    <a:gd name="connsiteY1" fmla="*/ 8 h 26546"/>
                    <a:gd name="connsiteX2" fmla="*/ 26673 w 26680"/>
                    <a:gd name="connsiteY2" fmla="*/ 13709 h 26546"/>
                    <a:gd name="connsiteX3" fmla="*/ 12847 w 26680"/>
                    <a:gd name="connsiteY3" fmla="*/ 26539 h 26546"/>
                    <a:gd name="connsiteX4" fmla="*/ 17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17" y="12837"/>
                      </a:moveTo>
                      <a:cubicBezTo>
                        <a:pt x="266" y="5488"/>
                        <a:pt x="6494" y="-241"/>
                        <a:pt x="13843" y="8"/>
                      </a:cubicBezTo>
                      <a:cubicBezTo>
                        <a:pt x="21192" y="257"/>
                        <a:pt x="26922" y="6360"/>
                        <a:pt x="26673" y="13709"/>
                      </a:cubicBezTo>
                      <a:cubicBezTo>
                        <a:pt x="26423" y="21058"/>
                        <a:pt x="20196" y="26788"/>
                        <a:pt x="12847" y="26539"/>
                      </a:cubicBezTo>
                      <a:cubicBezTo>
                        <a:pt x="5373"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9" name="Freeform 7976">
                  <a:extLst>
                    <a:ext uri="{FF2B5EF4-FFF2-40B4-BE49-F238E27FC236}">
                      <a16:creationId xmlns:a16="http://schemas.microsoft.com/office/drawing/2014/main" id="{F21E1230-5B79-BEAA-57F4-151DD32F961C}"/>
                    </a:ext>
                  </a:extLst>
                </p:cNvPr>
                <p:cNvSpPr/>
                <p:nvPr/>
              </p:nvSpPr>
              <p:spPr>
                <a:xfrm>
                  <a:off x="5523136" y="1865823"/>
                  <a:ext cx="2890" cy="52065"/>
                </a:xfrm>
                <a:custGeom>
                  <a:avLst/>
                  <a:gdLst>
                    <a:gd name="connsiteX0" fmla="*/ 2865 w 2890"/>
                    <a:gd name="connsiteY0" fmla="*/ 0 h 52065"/>
                    <a:gd name="connsiteX1" fmla="*/ 124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124" y="7972"/>
                        <a:pt x="-125" y="14324"/>
                        <a:pt x="124" y="18559"/>
                      </a:cubicBezTo>
                      <a:cubicBezTo>
                        <a:pt x="623" y="25534"/>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0" name="Freeform 7977">
                  <a:extLst>
                    <a:ext uri="{FF2B5EF4-FFF2-40B4-BE49-F238E27FC236}">
                      <a16:creationId xmlns:a16="http://schemas.microsoft.com/office/drawing/2014/main" id="{A07FBB58-E12B-2A14-82A3-3DB131CBCB13}"/>
                    </a:ext>
                  </a:extLst>
                </p:cNvPr>
                <p:cNvSpPr/>
                <p:nvPr/>
              </p:nvSpPr>
              <p:spPr>
                <a:xfrm>
                  <a:off x="5530169" y="1860966"/>
                  <a:ext cx="4792" cy="52189"/>
                </a:xfrm>
                <a:custGeom>
                  <a:avLst/>
                  <a:gdLst>
                    <a:gd name="connsiteX0" fmla="*/ 1686 w 4792"/>
                    <a:gd name="connsiteY0" fmla="*/ 52190 h 52189"/>
                    <a:gd name="connsiteX1" fmla="*/ 440 w 4792"/>
                    <a:gd name="connsiteY1" fmla="*/ 33381 h 52189"/>
                    <a:gd name="connsiteX2" fmla="*/ 4551 w 4792"/>
                    <a:gd name="connsiteY2" fmla="*/ 16442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1" y="44093"/>
                        <a:pt x="-182" y="37741"/>
                        <a:pt x="440" y="33381"/>
                      </a:cubicBezTo>
                      <a:cubicBezTo>
                        <a:pt x="1561" y="26406"/>
                        <a:pt x="3804" y="23541"/>
                        <a:pt x="4551" y="16442"/>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21" name="Freeform 7978">
                  <a:extLst>
                    <a:ext uri="{FF2B5EF4-FFF2-40B4-BE49-F238E27FC236}">
                      <a16:creationId xmlns:a16="http://schemas.microsoft.com/office/drawing/2014/main" id="{B7676209-B421-FBEC-029C-22094EAD0F20}"/>
                    </a:ext>
                  </a:extLst>
                </p:cNvPr>
                <p:cNvSpPr/>
                <p:nvPr/>
              </p:nvSpPr>
              <p:spPr>
                <a:xfrm>
                  <a:off x="5516776" y="1845637"/>
                  <a:ext cx="26421" cy="26546"/>
                </a:xfrm>
                <a:custGeom>
                  <a:avLst/>
                  <a:gdLst>
                    <a:gd name="connsiteX0" fmla="*/ 26414 w 26421"/>
                    <a:gd name="connsiteY0" fmla="*/ 13709 h 26546"/>
                    <a:gd name="connsiteX1" fmla="*/ 12713 w 26421"/>
                    <a:gd name="connsiteY1" fmla="*/ 26539 h 26546"/>
                    <a:gd name="connsiteX2" fmla="*/ 8 w 26421"/>
                    <a:gd name="connsiteY2" fmla="*/ 12837 h 26546"/>
                    <a:gd name="connsiteX3" fmla="*/ 13709 w 26421"/>
                    <a:gd name="connsiteY3" fmla="*/ 8 h 26546"/>
                    <a:gd name="connsiteX4" fmla="*/ 26414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26414" y="13709"/>
                      </a:moveTo>
                      <a:cubicBezTo>
                        <a:pt x="26165" y="21058"/>
                        <a:pt x="19937" y="26788"/>
                        <a:pt x="12713" y="26539"/>
                      </a:cubicBezTo>
                      <a:cubicBezTo>
                        <a:pt x="5364" y="26290"/>
                        <a:pt x="-241" y="20186"/>
                        <a:pt x="8" y="12837"/>
                      </a:cubicBezTo>
                      <a:cubicBezTo>
                        <a:pt x="257" y="5488"/>
                        <a:pt x="6485" y="-241"/>
                        <a:pt x="13709" y="8"/>
                      </a:cubicBezTo>
                      <a:cubicBezTo>
                        <a:pt x="20934" y="257"/>
                        <a:pt x="26663" y="6360"/>
                        <a:pt x="2641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7" name="Graphic 2987">
                <a:extLst>
                  <a:ext uri="{FF2B5EF4-FFF2-40B4-BE49-F238E27FC236}">
                    <a16:creationId xmlns:a16="http://schemas.microsoft.com/office/drawing/2014/main" id="{0DADCEAC-E305-25CA-8462-3C96FDD79F3C}"/>
                  </a:ext>
                </a:extLst>
              </p:cNvPr>
              <p:cNvGrpSpPr/>
              <p:nvPr/>
            </p:nvGrpSpPr>
            <p:grpSpPr>
              <a:xfrm>
                <a:off x="5481890" y="1844641"/>
                <a:ext cx="31787" cy="148737"/>
                <a:chOff x="5481890" y="1844641"/>
                <a:chExt cx="31787" cy="148737"/>
              </a:xfrm>
              <a:grpFill/>
            </p:grpSpPr>
            <p:sp>
              <p:nvSpPr>
                <p:cNvPr id="6210" name="Freeform 7980">
                  <a:extLst>
                    <a:ext uri="{FF2B5EF4-FFF2-40B4-BE49-F238E27FC236}">
                      <a16:creationId xmlns:a16="http://schemas.microsoft.com/office/drawing/2014/main" id="{9C846068-36DC-8C6A-82EB-D5FA1F23E8C2}"/>
                    </a:ext>
                  </a:extLst>
                </p:cNvPr>
                <p:cNvSpPr/>
                <p:nvPr/>
              </p:nvSpPr>
              <p:spPr>
                <a:xfrm>
                  <a:off x="5499072" y="1921127"/>
                  <a:ext cx="2899" cy="52065"/>
                </a:xfrm>
                <a:custGeom>
                  <a:avLst/>
                  <a:gdLst>
                    <a:gd name="connsiteX0" fmla="*/ 24 w 2899"/>
                    <a:gd name="connsiteY0" fmla="*/ 52065 h 52065"/>
                    <a:gd name="connsiteX1" fmla="*/ 2764 w 2899"/>
                    <a:gd name="connsiteY1" fmla="*/ 33506 h 52065"/>
                    <a:gd name="connsiteX2" fmla="*/ 24 w 2899"/>
                    <a:gd name="connsiteY2" fmla="*/ 16317 h 52065"/>
                    <a:gd name="connsiteX3" fmla="*/ 2889 w 2899"/>
                    <a:gd name="connsiteY3" fmla="*/ 0 h 52065"/>
                  </a:gdLst>
                  <a:ahLst/>
                  <a:cxnLst>
                    <a:cxn ang="0">
                      <a:pos x="connsiteX0" y="connsiteY0"/>
                    </a:cxn>
                    <a:cxn ang="0">
                      <a:pos x="connsiteX1" y="connsiteY1"/>
                    </a:cxn>
                    <a:cxn ang="0">
                      <a:pos x="connsiteX2" y="connsiteY2"/>
                    </a:cxn>
                    <a:cxn ang="0">
                      <a:pos x="connsiteX3" y="connsiteY3"/>
                    </a:cxn>
                  </a:cxnLst>
                  <a:rect l="l" t="t" r="r" b="b"/>
                  <a:pathLst>
                    <a:path w="2899" h="52065">
                      <a:moveTo>
                        <a:pt x="24" y="52065"/>
                      </a:moveTo>
                      <a:cubicBezTo>
                        <a:pt x="2889" y="44093"/>
                        <a:pt x="3138" y="37741"/>
                        <a:pt x="2764" y="33506"/>
                      </a:cubicBezTo>
                      <a:cubicBezTo>
                        <a:pt x="2266" y="26531"/>
                        <a:pt x="273" y="23417"/>
                        <a:pt x="24" y="16317"/>
                      </a:cubicBezTo>
                      <a:cubicBezTo>
                        <a:pt x="-225" y="9466"/>
                        <a:pt x="1519" y="3737"/>
                        <a:pt x="28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1" name="Freeform 7981">
                  <a:extLst>
                    <a:ext uri="{FF2B5EF4-FFF2-40B4-BE49-F238E27FC236}">
                      <a16:creationId xmlns:a16="http://schemas.microsoft.com/office/drawing/2014/main" id="{6636A6C7-BFA3-EA7E-8681-BC8827BDBA80}"/>
                    </a:ext>
                  </a:extLst>
                </p:cNvPr>
                <p:cNvSpPr/>
                <p:nvPr/>
              </p:nvSpPr>
              <p:spPr>
                <a:xfrm>
                  <a:off x="5490135" y="1925860"/>
                  <a:ext cx="4891" cy="52189"/>
                </a:xfrm>
                <a:custGeom>
                  <a:avLst/>
                  <a:gdLst>
                    <a:gd name="connsiteX0" fmla="*/ 3231 w 4891"/>
                    <a:gd name="connsiteY0" fmla="*/ 0 h 52189"/>
                    <a:gd name="connsiteX1" fmla="*/ 4352 w 4891"/>
                    <a:gd name="connsiteY1" fmla="*/ 18808 h 52189"/>
                    <a:gd name="connsiteX2" fmla="*/ 242 w 4891"/>
                    <a:gd name="connsiteY2" fmla="*/ 35748 h 52189"/>
                    <a:gd name="connsiteX3" fmla="*/ 1737 w 489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0"/>
                      </a:moveTo>
                      <a:cubicBezTo>
                        <a:pt x="5349" y="8096"/>
                        <a:pt x="5100" y="14449"/>
                        <a:pt x="4352" y="18808"/>
                      </a:cubicBezTo>
                      <a:cubicBezTo>
                        <a:pt x="3231" y="25783"/>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2" name="Freeform 7982">
                  <a:extLst>
                    <a:ext uri="{FF2B5EF4-FFF2-40B4-BE49-F238E27FC236}">
                      <a16:creationId xmlns:a16="http://schemas.microsoft.com/office/drawing/2014/main" id="{A988AECB-BBE6-0EC4-9CFF-B472A7500BEC}"/>
                    </a:ext>
                  </a:extLst>
                </p:cNvPr>
                <p:cNvSpPr/>
                <p:nvPr/>
              </p:nvSpPr>
              <p:spPr>
                <a:xfrm>
                  <a:off x="5481890" y="1966832"/>
                  <a:ext cx="26690" cy="26546"/>
                </a:xfrm>
                <a:custGeom>
                  <a:avLst/>
                  <a:gdLst>
                    <a:gd name="connsiteX0" fmla="*/ 17 w 26690"/>
                    <a:gd name="connsiteY0" fmla="*/ 12837 h 26546"/>
                    <a:gd name="connsiteX1" fmla="*/ 13968 w 26690"/>
                    <a:gd name="connsiteY1" fmla="*/ 8 h 26546"/>
                    <a:gd name="connsiteX2" fmla="*/ 26673 w 26690"/>
                    <a:gd name="connsiteY2" fmla="*/ 13709 h 26546"/>
                    <a:gd name="connsiteX3" fmla="*/ 12722 w 26690"/>
                    <a:gd name="connsiteY3" fmla="*/ 26539 h 26546"/>
                    <a:gd name="connsiteX4" fmla="*/ 17 w 2669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45">
                      <a:moveTo>
                        <a:pt x="17" y="12837"/>
                      </a:moveTo>
                      <a:cubicBezTo>
                        <a:pt x="391" y="5488"/>
                        <a:pt x="6619" y="-241"/>
                        <a:pt x="13968" y="8"/>
                      </a:cubicBezTo>
                      <a:cubicBezTo>
                        <a:pt x="21317" y="257"/>
                        <a:pt x="27046" y="6360"/>
                        <a:pt x="26673" y="13709"/>
                      </a:cubicBezTo>
                      <a:cubicBezTo>
                        <a:pt x="26424" y="21058"/>
                        <a:pt x="20196" y="26788"/>
                        <a:pt x="12722" y="26539"/>
                      </a:cubicBezTo>
                      <a:cubicBezTo>
                        <a:pt x="5374" y="26290"/>
                        <a:pt x="-356" y="20186"/>
                        <a:pt x="17"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3" name="Freeform 7983">
                  <a:extLst>
                    <a:ext uri="{FF2B5EF4-FFF2-40B4-BE49-F238E27FC236}">
                      <a16:creationId xmlns:a16="http://schemas.microsoft.com/office/drawing/2014/main" id="{A4A930D7-719E-5C11-37F4-DA2752F599E8}"/>
                    </a:ext>
                  </a:extLst>
                </p:cNvPr>
                <p:cNvSpPr/>
                <p:nvPr/>
              </p:nvSpPr>
              <p:spPr>
                <a:xfrm>
                  <a:off x="5493491" y="1864827"/>
                  <a:ext cx="2989" cy="52065"/>
                </a:xfrm>
                <a:custGeom>
                  <a:avLst/>
                  <a:gdLst>
                    <a:gd name="connsiteX0" fmla="*/ 2989 w 2989"/>
                    <a:gd name="connsiteY0" fmla="*/ 0 h 52065"/>
                    <a:gd name="connsiteX1" fmla="*/ 249 w 2989"/>
                    <a:gd name="connsiteY1" fmla="*/ 18559 h 52065"/>
                    <a:gd name="connsiteX2" fmla="*/ 2865 w 2989"/>
                    <a:gd name="connsiteY2" fmla="*/ 35748 h 52065"/>
                    <a:gd name="connsiteX3" fmla="*/ 0 w 298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89" h="52065">
                      <a:moveTo>
                        <a:pt x="2989" y="0"/>
                      </a:moveTo>
                      <a:cubicBezTo>
                        <a:pt x="124" y="7972"/>
                        <a:pt x="-125" y="14324"/>
                        <a:pt x="249" y="18559"/>
                      </a:cubicBezTo>
                      <a:cubicBezTo>
                        <a:pt x="747" y="25534"/>
                        <a:pt x="2740" y="28648"/>
                        <a:pt x="2865" y="35748"/>
                      </a:cubicBezTo>
                      <a:cubicBezTo>
                        <a:pt x="3114"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4" name="Freeform 7984">
                  <a:extLst>
                    <a:ext uri="{FF2B5EF4-FFF2-40B4-BE49-F238E27FC236}">
                      <a16:creationId xmlns:a16="http://schemas.microsoft.com/office/drawing/2014/main" id="{B4EE6840-078D-FB0C-B96E-0E15D219B561}"/>
                    </a:ext>
                  </a:extLst>
                </p:cNvPr>
                <p:cNvSpPr/>
                <p:nvPr/>
              </p:nvSpPr>
              <p:spPr>
                <a:xfrm>
                  <a:off x="5500550" y="1859969"/>
                  <a:ext cx="4892" cy="52189"/>
                </a:xfrm>
                <a:custGeom>
                  <a:avLst/>
                  <a:gdLst>
                    <a:gd name="connsiteX0" fmla="*/ 1660 w 4892"/>
                    <a:gd name="connsiteY0" fmla="*/ 52190 h 52189"/>
                    <a:gd name="connsiteX1" fmla="*/ 540 w 4892"/>
                    <a:gd name="connsiteY1" fmla="*/ 33381 h 52189"/>
                    <a:gd name="connsiteX2" fmla="*/ 4650 w 4892"/>
                    <a:gd name="connsiteY2" fmla="*/ 16442 h 52189"/>
                    <a:gd name="connsiteX3" fmla="*/ 3155 w 4892"/>
                    <a:gd name="connsiteY3" fmla="*/ 0 h 52189"/>
                  </a:gdLst>
                  <a:ahLst/>
                  <a:cxnLst>
                    <a:cxn ang="0">
                      <a:pos x="connsiteX0" y="connsiteY0"/>
                    </a:cxn>
                    <a:cxn ang="0">
                      <a:pos x="connsiteX1" y="connsiteY1"/>
                    </a:cxn>
                    <a:cxn ang="0">
                      <a:pos x="connsiteX2" y="connsiteY2"/>
                    </a:cxn>
                    <a:cxn ang="0">
                      <a:pos x="connsiteX3" y="connsiteY3"/>
                    </a:cxn>
                  </a:cxnLst>
                  <a:rect l="l" t="t" r="r" b="b"/>
                  <a:pathLst>
                    <a:path w="4892" h="52189">
                      <a:moveTo>
                        <a:pt x="1660" y="52190"/>
                      </a:moveTo>
                      <a:cubicBezTo>
                        <a:pt x="-457" y="44093"/>
                        <a:pt x="-208" y="37741"/>
                        <a:pt x="540" y="33381"/>
                      </a:cubicBezTo>
                      <a:cubicBezTo>
                        <a:pt x="1660" y="26406"/>
                        <a:pt x="3903" y="23541"/>
                        <a:pt x="4650" y="16442"/>
                      </a:cubicBezTo>
                      <a:cubicBezTo>
                        <a:pt x="5397" y="9591"/>
                        <a:pt x="4276" y="3861"/>
                        <a:pt x="31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15" name="Freeform 7985">
                  <a:extLst>
                    <a:ext uri="{FF2B5EF4-FFF2-40B4-BE49-F238E27FC236}">
                      <a16:creationId xmlns:a16="http://schemas.microsoft.com/office/drawing/2014/main" id="{FF605DC9-1EFC-55F3-4CA1-5D8D192DC4BB}"/>
                    </a:ext>
                  </a:extLst>
                </p:cNvPr>
                <p:cNvSpPr/>
                <p:nvPr/>
              </p:nvSpPr>
              <p:spPr>
                <a:xfrm>
                  <a:off x="5487246" y="1844641"/>
                  <a:ext cx="26431" cy="26546"/>
                </a:xfrm>
                <a:custGeom>
                  <a:avLst/>
                  <a:gdLst>
                    <a:gd name="connsiteX0" fmla="*/ 26424 w 26431"/>
                    <a:gd name="connsiteY0" fmla="*/ 13709 h 26546"/>
                    <a:gd name="connsiteX1" fmla="*/ 12598 w 26431"/>
                    <a:gd name="connsiteY1" fmla="*/ 26539 h 26546"/>
                    <a:gd name="connsiteX2" fmla="*/ 18 w 26431"/>
                    <a:gd name="connsiteY2" fmla="*/ 12837 h 26546"/>
                    <a:gd name="connsiteX3" fmla="*/ 13843 w 26431"/>
                    <a:gd name="connsiteY3" fmla="*/ 8 h 26546"/>
                    <a:gd name="connsiteX4" fmla="*/ 26424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26424" y="13709"/>
                      </a:moveTo>
                      <a:cubicBezTo>
                        <a:pt x="26175" y="21058"/>
                        <a:pt x="19947" y="26788"/>
                        <a:pt x="12598" y="26539"/>
                      </a:cubicBezTo>
                      <a:cubicBezTo>
                        <a:pt x="5249" y="26290"/>
                        <a:pt x="-356" y="20186"/>
                        <a:pt x="18" y="12837"/>
                      </a:cubicBezTo>
                      <a:cubicBezTo>
                        <a:pt x="391" y="5488"/>
                        <a:pt x="6495" y="-241"/>
                        <a:pt x="13843" y="8"/>
                      </a:cubicBezTo>
                      <a:cubicBezTo>
                        <a:pt x="21068" y="257"/>
                        <a:pt x="26673"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8" name="Graphic 2987">
                <a:extLst>
                  <a:ext uri="{FF2B5EF4-FFF2-40B4-BE49-F238E27FC236}">
                    <a16:creationId xmlns:a16="http://schemas.microsoft.com/office/drawing/2014/main" id="{57F0F153-5CD1-6628-1966-F3141F753DD9}"/>
                  </a:ext>
                </a:extLst>
              </p:cNvPr>
              <p:cNvGrpSpPr/>
              <p:nvPr/>
            </p:nvGrpSpPr>
            <p:grpSpPr>
              <a:xfrm>
                <a:off x="5452005" y="1843520"/>
                <a:ext cx="32161" cy="148737"/>
                <a:chOff x="5452005" y="1843520"/>
                <a:chExt cx="32161" cy="148737"/>
              </a:xfrm>
              <a:grpFill/>
            </p:grpSpPr>
            <p:sp>
              <p:nvSpPr>
                <p:cNvPr id="6204" name="Freeform 7987">
                  <a:extLst>
                    <a:ext uri="{FF2B5EF4-FFF2-40B4-BE49-F238E27FC236}">
                      <a16:creationId xmlns:a16="http://schemas.microsoft.com/office/drawing/2014/main" id="{D90671AC-256D-A411-CAC4-5E493A8A760D}"/>
                    </a:ext>
                  </a:extLst>
                </p:cNvPr>
                <p:cNvSpPr/>
                <p:nvPr/>
              </p:nvSpPr>
              <p:spPr>
                <a:xfrm>
                  <a:off x="5469327" y="1920006"/>
                  <a:ext cx="3113" cy="52065"/>
                </a:xfrm>
                <a:custGeom>
                  <a:avLst/>
                  <a:gdLst>
                    <a:gd name="connsiteX0" fmla="*/ 0 w 3113"/>
                    <a:gd name="connsiteY0" fmla="*/ 52065 h 52065"/>
                    <a:gd name="connsiteX1" fmla="*/ 2865 w 3113"/>
                    <a:gd name="connsiteY1" fmla="*/ 33506 h 52065"/>
                    <a:gd name="connsiteX2" fmla="*/ 249 w 3113"/>
                    <a:gd name="connsiteY2" fmla="*/ 16317 h 52065"/>
                    <a:gd name="connsiteX3" fmla="*/ 3114 w 3113"/>
                    <a:gd name="connsiteY3" fmla="*/ 0 h 52065"/>
                  </a:gdLst>
                  <a:ahLst/>
                  <a:cxnLst>
                    <a:cxn ang="0">
                      <a:pos x="connsiteX0" y="connsiteY0"/>
                    </a:cxn>
                    <a:cxn ang="0">
                      <a:pos x="connsiteX1" y="connsiteY1"/>
                    </a:cxn>
                    <a:cxn ang="0">
                      <a:pos x="connsiteX2" y="connsiteY2"/>
                    </a:cxn>
                    <a:cxn ang="0">
                      <a:pos x="connsiteX3" y="connsiteY3"/>
                    </a:cxn>
                  </a:cxnLst>
                  <a:rect l="l" t="t" r="r" b="b"/>
                  <a:pathLst>
                    <a:path w="3113" h="52065">
                      <a:moveTo>
                        <a:pt x="0" y="52065"/>
                      </a:moveTo>
                      <a:cubicBezTo>
                        <a:pt x="2865" y="44093"/>
                        <a:pt x="3114" y="37741"/>
                        <a:pt x="2865" y="33506"/>
                      </a:cubicBezTo>
                      <a:cubicBezTo>
                        <a:pt x="2367" y="26531"/>
                        <a:pt x="374" y="23417"/>
                        <a:pt x="249" y="16317"/>
                      </a:cubicBezTo>
                      <a:cubicBezTo>
                        <a:pt x="124" y="9466"/>
                        <a:pt x="1744" y="3737"/>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5" name="Freeform 7988">
                  <a:extLst>
                    <a:ext uri="{FF2B5EF4-FFF2-40B4-BE49-F238E27FC236}">
                      <a16:creationId xmlns:a16="http://schemas.microsoft.com/office/drawing/2014/main" id="{C802ED49-1832-A72A-CFDC-44C3AC00864C}"/>
                    </a:ext>
                  </a:extLst>
                </p:cNvPr>
                <p:cNvSpPr/>
                <p:nvPr/>
              </p:nvSpPr>
              <p:spPr>
                <a:xfrm>
                  <a:off x="5460313" y="1924739"/>
                  <a:ext cx="5069" cy="52189"/>
                </a:xfrm>
                <a:custGeom>
                  <a:avLst/>
                  <a:gdLst>
                    <a:gd name="connsiteX0" fmla="*/ 3409 w 5069"/>
                    <a:gd name="connsiteY0" fmla="*/ 0 h 52189"/>
                    <a:gd name="connsiteX1" fmla="*/ 4530 w 5069"/>
                    <a:gd name="connsiteY1" fmla="*/ 18808 h 52189"/>
                    <a:gd name="connsiteX2" fmla="*/ 295 w 5069"/>
                    <a:gd name="connsiteY2" fmla="*/ 35748 h 52189"/>
                    <a:gd name="connsiteX3" fmla="*/ 1665 w 50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69" h="52189">
                      <a:moveTo>
                        <a:pt x="3409" y="0"/>
                      </a:moveTo>
                      <a:cubicBezTo>
                        <a:pt x="5526" y="8096"/>
                        <a:pt x="5277" y="14449"/>
                        <a:pt x="4530" y="18808"/>
                      </a:cubicBezTo>
                      <a:cubicBezTo>
                        <a:pt x="3409" y="25783"/>
                        <a:pt x="1167" y="28648"/>
                        <a:pt x="295" y="35748"/>
                      </a:cubicBezTo>
                      <a:cubicBezTo>
                        <a:pt x="-577" y="42599"/>
                        <a:pt x="668" y="48328"/>
                        <a:pt x="166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6" name="Freeform 7989">
                  <a:extLst>
                    <a:ext uri="{FF2B5EF4-FFF2-40B4-BE49-F238E27FC236}">
                      <a16:creationId xmlns:a16="http://schemas.microsoft.com/office/drawing/2014/main" id="{5BE48336-9213-EC08-AD53-28A90641CEAC}"/>
                    </a:ext>
                  </a:extLst>
                </p:cNvPr>
                <p:cNvSpPr/>
                <p:nvPr/>
              </p:nvSpPr>
              <p:spPr>
                <a:xfrm>
                  <a:off x="5452005" y="1965711"/>
                  <a:ext cx="26680" cy="26546"/>
                </a:xfrm>
                <a:custGeom>
                  <a:avLst/>
                  <a:gdLst>
                    <a:gd name="connsiteX0" fmla="*/ 8 w 26680"/>
                    <a:gd name="connsiteY0" fmla="*/ 12837 h 26546"/>
                    <a:gd name="connsiteX1" fmla="*/ 13958 w 26680"/>
                    <a:gd name="connsiteY1" fmla="*/ 8 h 26546"/>
                    <a:gd name="connsiteX2" fmla="*/ 26664 w 26680"/>
                    <a:gd name="connsiteY2" fmla="*/ 13709 h 26546"/>
                    <a:gd name="connsiteX3" fmla="*/ 12713 w 26680"/>
                    <a:gd name="connsiteY3" fmla="*/ 26539 h 26546"/>
                    <a:gd name="connsiteX4" fmla="*/ 8 w 2668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45">
                      <a:moveTo>
                        <a:pt x="8" y="12837"/>
                      </a:moveTo>
                      <a:cubicBezTo>
                        <a:pt x="382" y="5488"/>
                        <a:pt x="6610" y="-241"/>
                        <a:pt x="13958" y="8"/>
                      </a:cubicBezTo>
                      <a:cubicBezTo>
                        <a:pt x="21308" y="257"/>
                        <a:pt x="27037" y="6360"/>
                        <a:pt x="26664" y="13709"/>
                      </a:cubicBezTo>
                      <a:cubicBezTo>
                        <a:pt x="26290" y="21058"/>
                        <a:pt x="20062" y="26788"/>
                        <a:pt x="12713"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7" name="Freeform 7990">
                  <a:extLst>
                    <a:ext uri="{FF2B5EF4-FFF2-40B4-BE49-F238E27FC236}">
                      <a16:creationId xmlns:a16="http://schemas.microsoft.com/office/drawing/2014/main" id="{536AC4DF-91D7-5929-3D12-3F814A7522CA}"/>
                    </a:ext>
                  </a:extLst>
                </p:cNvPr>
                <p:cNvSpPr/>
                <p:nvPr/>
              </p:nvSpPr>
              <p:spPr>
                <a:xfrm>
                  <a:off x="5463971" y="1863706"/>
                  <a:ext cx="3113" cy="52065"/>
                </a:xfrm>
                <a:custGeom>
                  <a:avLst/>
                  <a:gdLst>
                    <a:gd name="connsiteX0" fmla="*/ 3114 w 3113"/>
                    <a:gd name="connsiteY0" fmla="*/ 0 h 52065"/>
                    <a:gd name="connsiteX1" fmla="*/ 249 w 3113"/>
                    <a:gd name="connsiteY1" fmla="*/ 18559 h 52065"/>
                    <a:gd name="connsiteX2" fmla="*/ 2865 w 3113"/>
                    <a:gd name="connsiteY2" fmla="*/ 35748 h 52065"/>
                    <a:gd name="connsiteX3" fmla="*/ 0 w 311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113" h="52065">
                      <a:moveTo>
                        <a:pt x="3114" y="0"/>
                      </a:moveTo>
                      <a:cubicBezTo>
                        <a:pt x="249" y="7972"/>
                        <a:pt x="0" y="14324"/>
                        <a:pt x="249" y="18559"/>
                      </a:cubicBezTo>
                      <a:cubicBezTo>
                        <a:pt x="747" y="25534"/>
                        <a:pt x="2740" y="28648"/>
                        <a:pt x="2865" y="35748"/>
                      </a:cubicBezTo>
                      <a:cubicBezTo>
                        <a:pt x="2989" y="42599"/>
                        <a:pt x="1370"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8" name="Freeform 7991">
                  <a:extLst>
                    <a:ext uri="{FF2B5EF4-FFF2-40B4-BE49-F238E27FC236}">
                      <a16:creationId xmlns:a16="http://schemas.microsoft.com/office/drawing/2014/main" id="{05D2D71E-5B82-36E5-547C-A8FC12995907}"/>
                    </a:ext>
                  </a:extLst>
                </p:cNvPr>
                <p:cNvSpPr/>
                <p:nvPr/>
              </p:nvSpPr>
              <p:spPr>
                <a:xfrm>
                  <a:off x="5470905" y="1858848"/>
                  <a:ext cx="5018" cy="52189"/>
                </a:xfrm>
                <a:custGeom>
                  <a:avLst/>
                  <a:gdLst>
                    <a:gd name="connsiteX0" fmla="*/ 1660 w 5018"/>
                    <a:gd name="connsiteY0" fmla="*/ 52190 h 52189"/>
                    <a:gd name="connsiteX1" fmla="*/ 540 w 5018"/>
                    <a:gd name="connsiteY1" fmla="*/ 33381 h 52189"/>
                    <a:gd name="connsiteX2" fmla="*/ 4774 w 5018"/>
                    <a:gd name="connsiteY2" fmla="*/ 16442 h 52189"/>
                    <a:gd name="connsiteX3" fmla="*/ 3404 w 5018"/>
                    <a:gd name="connsiteY3" fmla="*/ 0 h 52189"/>
                  </a:gdLst>
                  <a:ahLst/>
                  <a:cxnLst>
                    <a:cxn ang="0">
                      <a:pos x="connsiteX0" y="connsiteY0"/>
                    </a:cxn>
                    <a:cxn ang="0">
                      <a:pos x="connsiteX1" y="connsiteY1"/>
                    </a:cxn>
                    <a:cxn ang="0">
                      <a:pos x="connsiteX2" y="connsiteY2"/>
                    </a:cxn>
                    <a:cxn ang="0">
                      <a:pos x="connsiteX3" y="connsiteY3"/>
                    </a:cxn>
                  </a:cxnLst>
                  <a:rect l="l" t="t" r="r" b="b"/>
                  <a:pathLst>
                    <a:path w="5018" h="52189">
                      <a:moveTo>
                        <a:pt x="1660" y="52190"/>
                      </a:moveTo>
                      <a:cubicBezTo>
                        <a:pt x="-457" y="44093"/>
                        <a:pt x="-208" y="37741"/>
                        <a:pt x="540" y="33381"/>
                      </a:cubicBezTo>
                      <a:cubicBezTo>
                        <a:pt x="1660" y="26406"/>
                        <a:pt x="3903" y="23541"/>
                        <a:pt x="4774" y="16442"/>
                      </a:cubicBezTo>
                      <a:cubicBezTo>
                        <a:pt x="5522" y="9591"/>
                        <a:pt x="4401" y="3861"/>
                        <a:pt x="340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9" name="Freeform 7992">
                  <a:extLst>
                    <a:ext uri="{FF2B5EF4-FFF2-40B4-BE49-F238E27FC236}">
                      <a16:creationId xmlns:a16="http://schemas.microsoft.com/office/drawing/2014/main" id="{003FFE67-ED54-BC1A-2C2D-1F5FAF190260}"/>
                    </a:ext>
                  </a:extLst>
                </p:cNvPr>
                <p:cNvSpPr/>
                <p:nvPr/>
              </p:nvSpPr>
              <p:spPr>
                <a:xfrm>
                  <a:off x="5457726" y="1843520"/>
                  <a:ext cx="26441" cy="26546"/>
                </a:xfrm>
                <a:custGeom>
                  <a:avLst/>
                  <a:gdLst>
                    <a:gd name="connsiteX0" fmla="*/ 26424 w 26441"/>
                    <a:gd name="connsiteY0" fmla="*/ 13709 h 26546"/>
                    <a:gd name="connsiteX1" fmla="*/ 12598 w 26441"/>
                    <a:gd name="connsiteY1" fmla="*/ 26539 h 26546"/>
                    <a:gd name="connsiteX2" fmla="*/ 18 w 26441"/>
                    <a:gd name="connsiteY2" fmla="*/ 12837 h 26546"/>
                    <a:gd name="connsiteX3" fmla="*/ 13843 w 26441"/>
                    <a:gd name="connsiteY3" fmla="*/ 8 h 26546"/>
                    <a:gd name="connsiteX4" fmla="*/ 26424 w 2644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45">
                      <a:moveTo>
                        <a:pt x="26424" y="13709"/>
                      </a:moveTo>
                      <a:cubicBezTo>
                        <a:pt x="26050" y="21058"/>
                        <a:pt x="19947" y="26788"/>
                        <a:pt x="12598" y="26539"/>
                      </a:cubicBezTo>
                      <a:cubicBezTo>
                        <a:pt x="5249" y="26290"/>
                        <a:pt x="-356" y="20186"/>
                        <a:pt x="18" y="12837"/>
                      </a:cubicBezTo>
                      <a:cubicBezTo>
                        <a:pt x="391" y="5488"/>
                        <a:pt x="6495" y="-241"/>
                        <a:pt x="13843" y="8"/>
                      </a:cubicBezTo>
                      <a:cubicBezTo>
                        <a:pt x="21068" y="257"/>
                        <a:pt x="26797" y="6360"/>
                        <a:pt x="26424"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399" name="Graphic 2987">
                <a:extLst>
                  <a:ext uri="{FF2B5EF4-FFF2-40B4-BE49-F238E27FC236}">
                    <a16:creationId xmlns:a16="http://schemas.microsoft.com/office/drawing/2014/main" id="{EEF69BD2-7F9D-597F-78DE-BA32F3878C9F}"/>
                  </a:ext>
                </a:extLst>
              </p:cNvPr>
              <p:cNvGrpSpPr/>
              <p:nvPr/>
            </p:nvGrpSpPr>
            <p:grpSpPr>
              <a:xfrm>
                <a:off x="5422227" y="1842264"/>
                <a:ext cx="32420" cy="148894"/>
                <a:chOff x="5422227" y="1842264"/>
                <a:chExt cx="32420" cy="148894"/>
              </a:xfrm>
              <a:grpFill/>
            </p:grpSpPr>
            <p:sp>
              <p:nvSpPr>
                <p:cNvPr id="6198" name="Freeform 7994">
                  <a:extLst>
                    <a:ext uri="{FF2B5EF4-FFF2-40B4-BE49-F238E27FC236}">
                      <a16:creationId xmlns:a16="http://schemas.microsoft.com/office/drawing/2014/main" id="{F9B75152-DE0C-AF46-6891-8D7D444261E8}"/>
                    </a:ext>
                  </a:extLst>
                </p:cNvPr>
                <p:cNvSpPr/>
                <p:nvPr/>
              </p:nvSpPr>
              <p:spPr>
                <a:xfrm>
                  <a:off x="5439558" y="1918885"/>
                  <a:ext cx="3238" cy="52065"/>
                </a:xfrm>
                <a:custGeom>
                  <a:avLst/>
                  <a:gdLst>
                    <a:gd name="connsiteX0" fmla="*/ 0 w 3238"/>
                    <a:gd name="connsiteY0" fmla="*/ 52065 h 52065"/>
                    <a:gd name="connsiteX1" fmla="*/ 2865 w 3238"/>
                    <a:gd name="connsiteY1" fmla="*/ 33506 h 52065"/>
                    <a:gd name="connsiteX2" fmla="*/ 249 w 3238"/>
                    <a:gd name="connsiteY2" fmla="*/ 16193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114" y="37866"/>
                        <a:pt x="2865" y="33506"/>
                      </a:cubicBezTo>
                      <a:cubicBezTo>
                        <a:pt x="2367" y="26531"/>
                        <a:pt x="374" y="23292"/>
                        <a:pt x="249" y="16193"/>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9" name="Freeform 7995">
                  <a:extLst>
                    <a:ext uri="{FF2B5EF4-FFF2-40B4-BE49-F238E27FC236}">
                      <a16:creationId xmlns:a16="http://schemas.microsoft.com/office/drawing/2014/main" id="{086E63B7-68F7-F6A0-024E-D4E59E3D5C17}"/>
                    </a:ext>
                  </a:extLst>
                </p:cNvPr>
                <p:cNvSpPr/>
                <p:nvPr/>
              </p:nvSpPr>
              <p:spPr>
                <a:xfrm>
                  <a:off x="5430652" y="1923369"/>
                  <a:ext cx="5033" cy="52065"/>
                </a:xfrm>
                <a:custGeom>
                  <a:avLst/>
                  <a:gdLst>
                    <a:gd name="connsiteX0" fmla="*/ 3425 w 5033"/>
                    <a:gd name="connsiteY0" fmla="*/ 0 h 52065"/>
                    <a:gd name="connsiteX1" fmla="*/ 4546 w 5033"/>
                    <a:gd name="connsiteY1" fmla="*/ 18808 h 52065"/>
                    <a:gd name="connsiteX2" fmla="*/ 311 w 5033"/>
                    <a:gd name="connsiteY2" fmla="*/ 35624 h 52065"/>
                    <a:gd name="connsiteX3" fmla="*/ 1682 w 50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033" h="52065">
                      <a:moveTo>
                        <a:pt x="3425" y="0"/>
                      </a:moveTo>
                      <a:cubicBezTo>
                        <a:pt x="5543" y="8221"/>
                        <a:pt x="5169" y="14449"/>
                        <a:pt x="4546" y="18808"/>
                      </a:cubicBezTo>
                      <a:cubicBezTo>
                        <a:pt x="3425" y="25659"/>
                        <a:pt x="1183" y="28648"/>
                        <a:pt x="311" y="35624"/>
                      </a:cubicBezTo>
                      <a:cubicBezTo>
                        <a:pt x="-560" y="42474"/>
                        <a:pt x="561" y="48328"/>
                        <a:pt x="168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0" name="Freeform 7996">
                  <a:extLst>
                    <a:ext uri="{FF2B5EF4-FFF2-40B4-BE49-F238E27FC236}">
                      <a16:creationId xmlns:a16="http://schemas.microsoft.com/office/drawing/2014/main" id="{8AC41006-CF2C-68C7-9D78-B8DCBBE82C0A}"/>
                    </a:ext>
                  </a:extLst>
                </p:cNvPr>
                <p:cNvSpPr/>
                <p:nvPr/>
              </p:nvSpPr>
              <p:spPr>
                <a:xfrm>
                  <a:off x="5422227" y="1964580"/>
                  <a:ext cx="26689" cy="26579"/>
                </a:xfrm>
                <a:custGeom>
                  <a:avLst/>
                  <a:gdLst>
                    <a:gd name="connsiteX0" fmla="*/ 17 w 26689"/>
                    <a:gd name="connsiteY0" fmla="*/ 12474 h 26579"/>
                    <a:gd name="connsiteX1" fmla="*/ 13968 w 26689"/>
                    <a:gd name="connsiteY1" fmla="*/ 18 h 26579"/>
                    <a:gd name="connsiteX2" fmla="*/ 26672 w 26689"/>
                    <a:gd name="connsiteY2" fmla="*/ 13968 h 26579"/>
                    <a:gd name="connsiteX3" fmla="*/ 12722 w 26689"/>
                    <a:gd name="connsiteY3" fmla="*/ 26549 h 26579"/>
                    <a:gd name="connsiteX4" fmla="*/ 17 w 26689"/>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8" h="26579">
                      <a:moveTo>
                        <a:pt x="17" y="12474"/>
                      </a:moveTo>
                      <a:cubicBezTo>
                        <a:pt x="391" y="5125"/>
                        <a:pt x="6619" y="-356"/>
                        <a:pt x="13968" y="18"/>
                      </a:cubicBezTo>
                      <a:cubicBezTo>
                        <a:pt x="21317" y="516"/>
                        <a:pt x="27046" y="6620"/>
                        <a:pt x="26672" y="13968"/>
                      </a:cubicBezTo>
                      <a:cubicBezTo>
                        <a:pt x="26299" y="21317"/>
                        <a:pt x="20071" y="27047"/>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1" name="Freeform 7997">
                  <a:extLst>
                    <a:ext uri="{FF2B5EF4-FFF2-40B4-BE49-F238E27FC236}">
                      <a16:creationId xmlns:a16="http://schemas.microsoft.com/office/drawing/2014/main" id="{ED8ABC50-913F-C0CC-EB37-D4810097BB42}"/>
                    </a:ext>
                  </a:extLst>
                </p:cNvPr>
                <p:cNvSpPr/>
                <p:nvPr/>
              </p:nvSpPr>
              <p:spPr>
                <a:xfrm>
                  <a:off x="5434326" y="1862336"/>
                  <a:ext cx="3238" cy="52065"/>
                </a:xfrm>
                <a:custGeom>
                  <a:avLst/>
                  <a:gdLst>
                    <a:gd name="connsiteX0" fmla="*/ 3238 w 3238"/>
                    <a:gd name="connsiteY0" fmla="*/ 0 h 52065"/>
                    <a:gd name="connsiteX1" fmla="*/ 374 w 3238"/>
                    <a:gd name="connsiteY1" fmla="*/ 18559 h 52065"/>
                    <a:gd name="connsiteX2" fmla="*/ 2989 w 3238"/>
                    <a:gd name="connsiteY2" fmla="*/ 35873 h 52065"/>
                    <a:gd name="connsiteX3" fmla="*/ 0 w 323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238" h="52065">
                      <a:moveTo>
                        <a:pt x="3238" y="0"/>
                      </a:moveTo>
                      <a:cubicBezTo>
                        <a:pt x="374" y="7847"/>
                        <a:pt x="124" y="14200"/>
                        <a:pt x="374" y="18559"/>
                      </a:cubicBezTo>
                      <a:cubicBezTo>
                        <a:pt x="872" y="25534"/>
                        <a:pt x="2740"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2" name="Freeform 7998">
                  <a:extLst>
                    <a:ext uri="{FF2B5EF4-FFF2-40B4-BE49-F238E27FC236}">
                      <a16:creationId xmlns:a16="http://schemas.microsoft.com/office/drawing/2014/main" id="{89C2E7DB-E317-991E-7E10-D2D7137CF1BA}"/>
                    </a:ext>
                  </a:extLst>
                </p:cNvPr>
                <p:cNvSpPr/>
                <p:nvPr/>
              </p:nvSpPr>
              <p:spPr>
                <a:xfrm>
                  <a:off x="5441313" y="1857852"/>
                  <a:ext cx="5033" cy="52065"/>
                </a:xfrm>
                <a:custGeom>
                  <a:avLst/>
                  <a:gdLst>
                    <a:gd name="connsiteX0" fmla="*/ 1608 w 5033"/>
                    <a:gd name="connsiteY0" fmla="*/ 52065 h 52065"/>
                    <a:gd name="connsiteX1" fmla="*/ 487 w 5033"/>
                    <a:gd name="connsiteY1" fmla="*/ 33257 h 52065"/>
                    <a:gd name="connsiteX2" fmla="*/ 4722 w 5033"/>
                    <a:gd name="connsiteY2" fmla="*/ 16442 h 52065"/>
                    <a:gd name="connsiteX3" fmla="*/ 3352 w 5033"/>
                    <a:gd name="connsiteY3" fmla="*/ 0 h 52065"/>
                  </a:gdLst>
                  <a:ahLst/>
                  <a:cxnLst>
                    <a:cxn ang="0">
                      <a:pos x="connsiteX0" y="connsiteY0"/>
                    </a:cxn>
                    <a:cxn ang="0">
                      <a:pos x="connsiteX1" y="connsiteY1"/>
                    </a:cxn>
                    <a:cxn ang="0">
                      <a:pos x="connsiteX2" y="connsiteY2"/>
                    </a:cxn>
                    <a:cxn ang="0">
                      <a:pos x="connsiteX3" y="connsiteY3"/>
                    </a:cxn>
                  </a:cxnLst>
                  <a:rect l="l" t="t" r="r" b="b"/>
                  <a:pathLst>
                    <a:path w="5033" h="52065">
                      <a:moveTo>
                        <a:pt x="1608" y="52065"/>
                      </a:moveTo>
                      <a:cubicBezTo>
                        <a:pt x="-510" y="43844"/>
                        <a:pt x="-136" y="37616"/>
                        <a:pt x="487" y="33257"/>
                      </a:cubicBezTo>
                      <a:cubicBezTo>
                        <a:pt x="1608" y="26406"/>
                        <a:pt x="3850" y="23417"/>
                        <a:pt x="4722" y="16442"/>
                      </a:cubicBezTo>
                      <a:cubicBezTo>
                        <a:pt x="5594" y="9591"/>
                        <a:pt x="4473"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203" name="Freeform 7999">
                  <a:extLst>
                    <a:ext uri="{FF2B5EF4-FFF2-40B4-BE49-F238E27FC236}">
                      <a16:creationId xmlns:a16="http://schemas.microsoft.com/office/drawing/2014/main" id="{320ACC78-CE01-D62F-61C2-1C3ECFB6AC27}"/>
                    </a:ext>
                  </a:extLst>
                </p:cNvPr>
                <p:cNvSpPr/>
                <p:nvPr/>
              </p:nvSpPr>
              <p:spPr>
                <a:xfrm>
                  <a:off x="5428205" y="1842264"/>
                  <a:ext cx="26441" cy="26579"/>
                </a:xfrm>
                <a:custGeom>
                  <a:avLst/>
                  <a:gdLst>
                    <a:gd name="connsiteX0" fmla="*/ 26424 w 26441"/>
                    <a:gd name="connsiteY0" fmla="*/ 13968 h 26579"/>
                    <a:gd name="connsiteX1" fmla="*/ 12598 w 26441"/>
                    <a:gd name="connsiteY1" fmla="*/ 26549 h 26579"/>
                    <a:gd name="connsiteX2" fmla="*/ 18 w 26441"/>
                    <a:gd name="connsiteY2" fmla="*/ 12474 h 26579"/>
                    <a:gd name="connsiteX3" fmla="*/ 13844 w 26441"/>
                    <a:gd name="connsiteY3" fmla="*/ 18 h 26579"/>
                    <a:gd name="connsiteX4" fmla="*/ 26424 w 26441"/>
                    <a:gd name="connsiteY4" fmla="*/ 13968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79">
                      <a:moveTo>
                        <a:pt x="26424" y="13968"/>
                      </a:moveTo>
                      <a:cubicBezTo>
                        <a:pt x="26051" y="21317"/>
                        <a:pt x="19947" y="27047"/>
                        <a:pt x="12598" y="26549"/>
                      </a:cubicBezTo>
                      <a:cubicBezTo>
                        <a:pt x="5249" y="26175"/>
                        <a:pt x="-356" y="19823"/>
                        <a:pt x="18" y="12474"/>
                      </a:cubicBezTo>
                      <a:cubicBezTo>
                        <a:pt x="391" y="5125"/>
                        <a:pt x="6619" y="-356"/>
                        <a:pt x="13844" y="18"/>
                      </a:cubicBezTo>
                      <a:cubicBezTo>
                        <a:pt x="21193" y="516"/>
                        <a:pt x="26798" y="6620"/>
                        <a:pt x="2642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0" name="Graphic 2987">
                <a:extLst>
                  <a:ext uri="{FF2B5EF4-FFF2-40B4-BE49-F238E27FC236}">
                    <a16:creationId xmlns:a16="http://schemas.microsoft.com/office/drawing/2014/main" id="{CAF0CF7C-57E5-5B4B-CA2A-FE1DD093D66A}"/>
                  </a:ext>
                </a:extLst>
              </p:cNvPr>
              <p:cNvGrpSpPr/>
              <p:nvPr/>
            </p:nvGrpSpPr>
            <p:grpSpPr>
              <a:xfrm>
                <a:off x="5392458" y="1840520"/>
                <a:ext cx="32793" cy="148882"/>
                <a:chOff x="5392458" y="1840520"/>
                <a:chExt cx="32793" cy="148882"/>
              </a:xfrm>
              <a:grpFill/>
            </p:grpSpPr>
            <p:sp>
              <p:nvSpPr>
                <p:cNvPr id="6192" name="Freeform 8001">
                  <a:extLst>
                    <a:ext uri="{FF2B5EF4-FFF2-40B4-BE49-F238E27FC236}">
                      <a16:creationId xmlns:a16="http://schemas.microsoft.com/office/drawing/2014/main" id="{04C1048B-8562-B822-D168-5255527A768D}"/>
                    </a:ext>
                  </a:extLst>
                </p:cNvPr>
                <p:cNvSpPr/>
                <p:nvPr/>
              </p:nvSpPr>
              <p:spPr>
                <a:xfrm>
                  <a:off x="5409913" y="1917141"/>
                  <a:ext cx="3238" cy="52065"/>
                </a:xfrm>
                <a:custGeom>
                  <a:avLst/>
                  <a:gdLst>
                    <a:gd name="connsiteX0" fmla="*/ 0 w 3238"/>
                    <a:gd name="connsiteY0" fmla="*/ 52065 h 52065"/>
                    <a:gd name="connsiteX1" fmla="*/ 2865 w 3238"/>
                    <a:gd name="connsiteY1" fmla="*/ 33506 h 52065"/>
                    <a:gd name="connsiteX2" fmla="*/ 249 w 3238"/>
                    <a:gd name="connsiteY2" fmla="*/ 16192 h 52065"/>
                    <a:gd name="connsiteX3" fmla="*/ 3239 w 3238"/>
                    <a:gd name="connsiteY3" fmla="*/ 0 h 52065"/>
                  </a:gdLst>
                  <a:ahLst/>
                  <a:cxnLst>
                    <a:cxn ang="0">
                      <a:pos x="connsiteX0" y="connsiteY0"/>
                    </a:cxn>
                    <a:cxn ang="0">
                      <a:pos x="connsiteX1" y="connsiteY1"/>
                    </a:cxn>
                    <a:cxn ang="0">
                      <a:pos x="connsiteX2" y="connsiteY2"/>
                    </a:cxn>
                    <a:cxn ang="0">
                      <a:pos x="connsiteX3" y="connsiteY3"/>
                    </a:cxn>
                  </a:cxnLst>
                  <a:rect l="l" t="t" r="r" b="b"/>
                  <a:pathLst>
                    <a:path w="3238" h="52065">
                      <a:moveTo>
                        <a:pt x="0" y="52065"/>
                      </a:moveTo>
                      <a:cubicBezTo>
                        <a:pt x="2865" y="44218"/>
                        <a:pt x="3239" y="37866"/>
                        <a:pt x="2865" y="33506"/>
                      </a:cubicBezTo>
                      <a:cubicBezTo>
                        <a:pt x="2491" y="26531"/>
                        <a:pt x="498" y="23292"/>
                        <a:pt x="249" y="16192"/>
                      </a:cubicBezTo>
                      <a:cubicBezTo>
                        <a:pt x="125" y="9342"/>
                        <a:pt x="1744" y="3612"/>
                        <a:pt x="32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3" name="Freeform 8002">
                  <a:extLst>
                    <a:ext uri="{FF2B5EF4-FFF2-40B4-BE49-F238E27FC236}">
                      <a16:creationId xmlns:a16="http://schemas.microsoft.com/office/drawing/2014/main" id="{D8D10673-BC7D-C3D4-78EC-FB4BE5B916BB}"/>
                    </a:ext>
                  </a:extLst>
                </p:cNvPr>
                <p:cNvSpPr/>
                <p:nvPr/>
              </p:nvSpPr>
              <p:spPr>
                <a:xfrm>
                  <a:off x="5400883" y="1921625"/>
                  <a:ext cx="5135" cy="52065"/>
                </a:xfrm>
                <a:custGeom>
                  <a:avLst/>
                  <a:gdLst>
                    <a:gd name="connsiteX0" fmla="*/ 3550 w 5135"/>
                    <a:gd name="connsiteY0" fmla="*/ 0 h 52065"/>
                    <a:gd name="connsiteX1" fmla="*/ 4546 w 5135"/>
                    <a:gd name="connsiteY1" fmla="*/ 18808 h 52065"/>
                    <a:gd name="connsiteX2" fmla="*/ 311 w 5135"/>
                    <a:gd name="connsiteY2" fmla="*/ 35624 h 52065"/>
                    <a:gd name="connsiteX3" fmla="*/ 1681 w 513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35" h="52065">
                      <a:moveTo>
                        <a:pt x="3550" y="0"/>
                      </a:moveTo>
                      <a:cubicBezTo>
                        <a:pt x="5667" y="8221"/>
                        <a:pt x="5294" y="14449"/>
                        <a:pt x="4546" y="18808"/>
                      </a:cubicBezTo>
                      <a:cubicBezTo>
                        <a:pt x="3425" y="25659"/>
                        <a:pt x="1183" y="28648"/>
                        <a:pt x="311" y="35624"/>
                      </a:cubicBezTo>
                      <a:cubicBezTo>
                        <a:pt x="-561" y="42474"/>
                        <a:pt x="560" y="48328"/>
                        <a:pt x="16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4" name="Freeform 8003">
                  <a:extLst>
                    <a:ext uri="{FF2B5EF4-FFF2-40B4-BE49-F238E27FC236}">
                      <a16:creationId xmlns:a16="http://schemas.microsoft.com/office/drawing/2014/main" id="{E90DAD78-3A3B-84C5-0B39-081AFF22D4EC}"/>
                    </a:ext>
                  </a:extLst>
                </p:cNvPr>
                <p:cNvSpPr/>
                <p:nvPr/>
              </p:nvSpPr>
              <p:spPr>
                <a:xfrm>
                  <a:off x="5392458" y="1962836"/>
                  <a:ext cx="26680" cy="26566"/>
                </a:xfrm>
                <a:custGeom>
                  <a:avLst/>
                  <a:gdLst>
                    <a:gd name="connsiteX0" fmla="*/ 17 w 26680"/>
                    <a:gd name="connsiteY0" fmla="*/ 12474 h 26566"/>
                    <a:gd name="connsiteX1" fmla="*/ 13968 w 26680"/>
                    <a:gd name="connsiteY1" fmla="*/ 18 h 26566"/>
                    <a:gd name="connsiteX2" fmla="*/ 26673 w 26680"/>
                    <a:gd name="connsiteY2" fmla="*/ 14093 h 26566"/>
                    <a:gd name="connsiteX3" fmla="*/ 12722 w 26680"/>
                    <a:gd name="connsiteY3" fmla="*/ 26549 h 26566"/>
                    <a:gd name="connsiteX4" fmla="*/ 17 w 26680"/>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17" y="12474"/>
                      </a:moveTo>
                      <a:cubicBezTo>
                        <a:pt x="391" y="5125"/>
                        <a:pt x="6619" y="-356"/>
                        <a:pt x="13968" y="18"/>
                      </a:cubicBezTo>
                      <a:cubicBezTo>
                        <a:pt x="21317" y="392"/>
                        <a:pt x="26922" y="6744"/>
                        <a:pt x="26673" y="14093"/>
                      </a:cubicBezTo>
                      <a:cubicBezTo>
                        <a:pt x="26299" y="21442"/>
                        <a:pt x="20071" y="26922"/>
                        <a:pt x="12722" y="26549"/>
                      </a:cubicBezTo>
                      <a:cubicBezTo>
                        <a:pt x="5373" y="26051"/>
                        <a:pt x="-356" y="19698"/>
                        <a:pt x="17"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5" name="Freeform 8004">
                  <a:extLst>
                    <a:ext uri="{FF2B5EF4-FFF2-40B4-BE49-F238E27FC236}">
                      <a16:creationId xmlns:a16="http://schemas.microsoft.com/office/drawing/2014/main" id="{F9597EA3-6154-4D18-741D-D7FD0A7F0C94}"/>
                    </a:ext>
                  </a:extLst>
                </p:cNvPr>
                <p:cNvSpPr/>
                <p:nvPr/>
              </p:nvSpPr>
              <p:spPr>
                <a:xfrm>
                  <a:off x="5404682" y="1860592"/>
                  <a:ext cx="3362" cy="52065"/>
                </a:xfrm>
                <a:custGeom>
                  <a:avLst/>
                  <a:gdLst>
                    <a:gd name="connsiteX0" fmla="*/ 3363 w 3362"/>
                    <a:gd name="connsiteY0" fmla="*/ 0 h 52065"/>
                    <a:gd name="connsiteX1" fmla="*/ 498 w 3362"/>
                    <a:gd name="connsiteY1" fmla="*/ 18559 h 52065"/>
                    <a:gd name="connsiteX2" fmla="*/ 2989 w 3362"/>
                    <a:gd name="connsiteY2" fmla="*/ 35873 h 52065"/>
                    <a:gd name="connsiteX3" fmla="*/ 0 w 33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62" h="52065">
                      <a:moveTo>
                        <a:pt x="3363" y="0"/>
                      </a:moveTo>
                      <a:cubicBezTo>
                        <a:pt x="498" y="7847"/>
                        <a:pt x="125" y="14200"/>
                        <a:pt x="498" y="18559"/>
                      </a:cubicBezTo>
                      <a:cubicBezTo>
                        <a:pt x="872" y="25534"/>
                        <a:pt x="2865" y="28773"/>
                        <a:pt x="2989" y="35873"/>
                      </a:cubicBezTo>
                      <a:cubicBezTo>
                        <a:pt x="3114"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6" name="Freeform 8005">
                  <a:extLst>
                    <a:ext uri="{FF2B5EF4-FFF2-40B4-BE49-F238E27FC236}">
                      <a16:creationId xmlns:a16="http://schemas.microsoft.com/office/drawing/2014/main" id="{1E9E01BE-3421-3771-44E9-DDA33839D2F9}"/>
                    </a:ext>
                  </a:extLst>
                </p:cNvPr>
                <p:cNvSpPr/>
                <p:nvPr/>
              </p:nvSpPr>
              <p:spPr>
                <a:xfrm>
                  <a:off x="5411815" y="1856108"/>
                  <a:ext cx="5135" cy="52065"/>
                </a:xfrm>
                <a:custGeom>
                  <a:avLst/>
                  <a:gdLst>
                    <a:gd name="connsiteX0" fmla="*/ 1585 w 5135"/>
                    <a:gd name="connsiteY0" fmla="*/ 52065 h 52065"/>
                    <a:gd name="connsiteX1" fmla="*/ 589 w 5135"/>
                    <a:gd name="connsiteY1" fmla="*/ 33257 h 52065"/>
                    <a:gd name="connsiteX2" fmla="*/ 4824 w 5135"/>
                    <a:gd name="connsiteY2" fmla="*/ 16442 h 52065"/>
                    <a:gd name="connsiteX3" fmla="*/ 3454 w 5135"/>
                    <a:gd name="connsiteY3" fmla="*/ 0 h 52065"/>
                  </a:gdLst>
                  <a:ahLst/>
                  <a:cxnLst>
                    <a:cxn ang="0">
                      <a:pos x="connsiteX0" y="connsiteY0"/>
                    </a:cxn>
                    <a:cxn ang="0">
                      <a:pos x="connsiteX1" y="connsiteY1"/>
                    </a:cxn>
                    <a:cxn ang="0">
                      <a:pos x="connsiteX2" y="connsiteY2"/>
                    </a:cxn>
                    <a:cxn ang="0">
                      <a:pos x="connsiteX3" y="connsiteY3"/>
                    </a:cxn>
                  </a:cxnLst>
                  <a:rect l="l" t="t" r="r" b="b"/>
                  <a:pathLst>
                    <a:path w="5135" h="52065">
                      <a:moveTo>
                        <a:pt x="1585" y="52065"/>
                      </a:moveTo>
                      <a:cubicBezTo>
                        <a:pt x="-532" y="43844"/>
                        <a:pt x="-158" y="37616"/>
                        <a:pt x="589" y="33257"/>
                      </a:cubicBezTo>
                      <a:cubicBezTo>
                        <a:pt x="1710" y="26406"/>
                        <a:pt x="3952" y="23417"/>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7" name="Freeform 8006">
                  <a:extLst>
                    <a:ext uri="{FF2B5EF4-FFF2-40B4-BE49-F238E27FC236}">
                      <a16:creationId xmlns:a16="http://schemas.microsoft.com/office/drawing/2014/main" id="{2D9491F7-D709-BB1F-A211-0FC96BB7EA91}"/>
                    </a:ext>
                  </a:extLst>
                </p:cNvPr>
                <p:cNvSpPr/>
                <p:nvPr/>
              </p:nvSpPr>
              <p:spPr>
                <a:xfrm>
                  <a:off x="5398934" y="1840520"/>
                  <a:ext cx="26317" cy="26566"/>
                </a:xfrm>
                <a:custGeom>
                  <a:avLst/>
                  <a:gdLst>
                    <a:gd name="connsiteX0" fmla="*/ 26300 w 26317"/>
                    <a:gd name="connsiteY0" fmla="*/ 14093 h 26566"/>
                    <a:gd name="connsiteX1" fmla="*/ 12474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2"/>
                        <a:pt x="12474" y="26549"/>
                      </a:cubicBezTo>
                      <a:cubicBezTo>
                        <a:pt x="5125" y="26175"/>
                        <a:pt x="-356" y="19823"/>
                        <a:pt x="18" y="12474"/>
                      </a:cubicBezTo>
                      <a:cubicBezTo>
                        <a:pt x="392" y="5125"/>
                        <a:pt x="6620" y="-356"/>
                        <a:pt x="13844" y="18"/>
                      </a:cubicBezTo>
                      <a:cubicBezTo>
                        <a:pt x="21068"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1" name="Graphic 2987">
                <a:extLst>
                  <a:ext uri="{FF2B5EF4-FFF2-40B4-BE49-F238E27FC236}">
                    <a16:creationId xmlns:a16="http://schemas.microsoft.com/office/drawing/2014/main" id="{36734FCB-3D0F-100A-A119-523247DE807A}"/>
                  </a:ext>
                </a:extLst>
              </p:cNvPr>
              <p:cNvGrpSpPr/>
              <p:nvPr/>
            </p:nvGrpSpPr>
            <p:grpSpPr>
              <a:xfrm>
                <a:off x="5362799" y="1838776"/>
                <a:ext cx="32932" cy="148757"/>
                <a:chOff x="5362799" y="1838776"/>
                <a:chExt cx="32932" cy="148757"/>
              </a:xfrm>
              <a:grpFill/>
            </p:grpSpPr>
            <p:sp>
              <p:nvSpPr>
                <p:cNvPr id="6186" name="Freeform 8008">
                  <a:extLst>
                    <a:ext uri="{FF2B5EF4-FFF2-40B4-BE49-F238E27FC236}">
                      <a16:creationId xmlns:a16="http://schemas.microsoft.com/office/drawing/2014/main" id="{0F928026-AC20-C160-7B23-5D2AD80C7C65}"/>
                    </a:ext>
                  </a:extLst>
                </p:cNvPr>
                <p:cNvSpPr/>
                <p:nvPr/>
              </p:nvSpPr>
              <p:spPr>
                <a:xfrm>
                  <a:off x="5380144" y="1915397"/>
                  <a:ext cx="3487" cy="52065"/>
                </a:xfrm>
                <a:custGeom>
                  <a:avLst/>
                  <a:gdLst>
                    <a:gd name="connsiteX0" fmla="*/ 0 w 3487"/>
                    <a:gd name="connsiteY0" fmla="*/ 52065 h 52065"/>
                    <a:gd name="connsiteX1" fmla="*/ 2989 w 3487"/>
                    <a:gd name="connsiteY1" fmla="*/ 33506 h 52065"/>
                    <a:gd name="connsiteX2" fmla="*/ 498 w 3487"/>
                    <a:gd name="connsiteY2" fmla="*/ 16192 h 52065"/>
                    <a:gd name="connsiteX3" fmla="*/ 3488 w 3487"/>
                    <a:gd name="connsiteY3" fmla="*/ 0 h 52065"/>
                  </a:gdLst>
                  <a:ahLst/>
                  <a:cxnLst>
                    <a:cxn ang="0">
                      <a:pos x="connsiteX0" y="connsiteY0"/>
                    </a:cxn>
                    <a:cxn ang="0">
                      <a:pos x="connsiteX1" y="connsiteY1"/>
                    </a:cxn>
                    <a:cxn ang="0">
                      <a:pos x="connsiteX2" y="connsiteY2"/>
                    </a:cxn>
                    <a:cxn ang="0">
                      <a:pos x="connsiteX3" y="connsiteY3"/>
                    </a:cxn>
                  </a:cxnLst>
                  <a:rect l="l" t="t" r="r" b="b"/>
                  <a:pathLst>
                    <a:path w="3487" h="52065">
                      <a:moveTo>
                        <a:pt x="0" y="52065"/>
                      </a:moveTo>
                      <a:cubicBezTo>
                        <a:pt x="2865" y="44218"/>
                        <a:pt x="3239" y="37866"/>
                        <a:pt x="2989" y="33506"/>
                      </a:cubicBezTo>
                      <a:cubicBezTo>
                        <a:pt x="2616" y="26531"/>
                        <a:pt x="623" y="23292"/>
                        <a:pt x="498" y="16192"/>
                      </a:cubicBezTo>
                      <a:cubicBezTo>
                        <a:pt x="374" y="9342"/>
                        <a:pt x="2117" y="3612"/>
                        <a:pt x="34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7" name="Freeform 8009">
                  <a:extLst>
                    <a:ext uri="{FF2B5EF4-FFF2-40B4-BE49-F238E27FC236}">
                      <a16:creationId xmlns:a16="http://schemas.microsoft.com/office/drawing/2014/main" id="{FFB314DA-DA6D-8203-AA42-122868C3D5C1}"/>
                    </a:ext>
                  </a:extLst>
                </p:cNvPr>
                <p:cNvSpPr/>
                <p:nvPr/>
              </p:nvSpPr>
              <p:spPr>
                <a:xfrm>
                  <a:off x="5371236" y="1919881"/>
                  <a:ext cx="5222" cy="52065"/>
                </a:xfrm>
                <a:custGeom>
                  <a:avLst/>
                  <a:gdLst>
                    <a:gd name="connsiteX0" fmla="*/ 3676 w 5222"/>
                    <a:gd name="connsiteY0" fmla="*/ 0 h 52065"/>
                    <a:gd name="connsiteX1" fmla="*/ 4673 w 5222"/>
                    <a:gd name="connsiteY1" fmla="*/ 18808 h 52065"/>
                    <a:gd name="connsiteX2" fmla="*/ 313 w 5222"/>
                    <a:gd name="connsiteY2" fmla="*/ 35624 h 52065"/>
                    <a:gd name="connsiteX3" fmla="*/ 1559 w 522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22" h="52065">
                      <a:moveTo>
                        <a:pt x="3676" y="0"/>
                      </a:moveTo>
                      <a:cubicBezTo>
                        <a:pt x="5669" y="8221"/>
                        <a:pt x="5420" y="14449"/>
                        <a:pt x="4673" y="18808"/>
                      </a:cubicBezTo>
                      <a:cubicBezTo>
                        <a:pt x="3552" y="25659"/>
                        <a:pt x="1185" y="28648"/>
                        <a:pt x="313" y="35624"/>
                      </a:cubicBezTo>
                      <a:cubicBezTo>
                        <a:pt x="-559" y="42474"/>
                        <a:pt x="562"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8" name="Freeform 8010">
                  <a:extLst>
                    <a:ext uri="{FF2B5EF4-FFF2-40B4-BE49-F238E27FC236}">
                      <a16:creationId xmlns:a16="http://schemas.microsoft.com/office/drawing/2014/main" id="{CB80072D-BABE-B830-6C7B-D29062D7644F}"/>
                    </a:ext>
                  </a:extLst>
                </p:cNvPr>
                <p:cNvSpPr/>
                <p:nvPr/>
              </p:nvSpPr>
              <p:spPr>
                <a:xfrm>
                  <a:off x="5362799" y="1960967"/>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20085" y="26922"/>
                        <a:pt x="12611" y="26549"/>
                      </a:cubicBezTo>
                      <a:cubicBezTo>
                        <a:pt x="5138" y="26175"/>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9" name="Freeform 8011">
                  <a:extLst>
                    <a:ext uri="{FF2B5EF4-FFF2-40B4-BE49-F238E27FC236}">
                      <a16:creationId xmlns:a16="http://schemas.microsoft.com/office/drawing/2014/main" id="{EDA0EBE0-7C20-9BE1-3999-05192E62B235}"/>
                    </a:ext>
                  </a:extLst>
                </p:cNvPr>
                <p:cNvSpPr/>
                <p:nvPr/>
              </p:nvSpPr>
              <p:spPr>
                <a:xfrm>
                  <a:off x="5375162" y="1858848"/>
                  <a:ext cx="3487" cy="52065"/>
                </a:xfrm>
                <a:custGeom>
                  <a:avLst/>
                  <a:gdLst>
                    <a:gd name="connsiteX0" fmla="*/ 3488 w 3487"/>
                    <a:gd name="connsiteY0" fmla="*/ 0 h 52065"/>
                    <a:gd name="connsiteX1" fmla="*/ 498 w 3487"/>
                    <a:gd name="connsiteY1" fmla="*/ 18559 h 52065"/>
                    <a:gd name="connsiteX2" fmla="*/ 2989 w 3487"/>
                    <a:gd name="connsiteY2" fmla="*/ 35873 h 52065"/>
                    <a:gd name="connsiteX3" fmla="*/ 0 w 348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87" h="52065">
                      <a:moveTo>
                        <a:pt x="3488" y="0"/>
                      </a:moveTo>
                      <a:cubicBezTo>
                        <a:pt x="623" y="7847"/>
                        <a:pt x="249" y="14200"/>
                        <a:pt x="498" y="18559"/>
                      </a:cubicBezTo>
                      <a:cubicBezTo>
                        <a:pt x="872" y="25534"/>
                        <a:pt x="2865" y="28773"/>
                        <a:pt x="2989" y="35873"/>
                      </a:cubicBezTo>
                      <a:cubicBezTo>
                        <a:pt x="3114" y="42723"/>
                        <a:pt x="1370"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0" name="Freeform 8012">
                  <a:extLst>
                    <a:ext uri="{FF2B5EF4-FFF2-40B4-BE49-F238E27FC236}">
                      <a16:creationId xmlns:a16="http://schemas.microsoft.com/office/drawing/2014/main" id="{4AB7EDDB-12B9-95DF-9C01-5D922B39C20C}"/>
                    </a:ext>
                  </a:extLst>
                </p:cNvPr>
                <p:cNvSpPr/>
                <p:nvPr/>
              </p:nvSpPr>
              <p:spPr>
                <a:xfrm>
                  <a:off x="5382210" y="1854364"/>
                  <a:ext cx="5222" cy="52065"/>
                </a:xfrm>
                <a:custGeom>
                  <a:avLst/>
                  <a:gdLst>
                    <a:gd name="connsiteX0" fmla="*/ 1546 w 5222"/>
                    <a:gd name="connsiteY0" fmla="*/ 52065 h 52065"/>
                    <a:gd name="connsiteX1" fmla="*/ 549 w 5222"/>
                    <a:gd name="connsiteY1" fmla="*/ 33257 h 52065"/>
                    <a:gd name="connsiteX2" fmla="*/ 4909 w 5222"/>
                    <a:gd name="connsiteY2" fmla="*/ 16442 h 52065"/>
                    <a:gd name="connsiteX3" fmla="*/ 3663 w 5222"/>
                    <a:gd name="connsiteY3" fmla="*/ 0 h 52065"/>
                  </a:gdLst>
                  <a:ahLst/>
                  <a:cxnLst>
                    <a:cxn ang="0">
                      <a:pos x="connsiteX0" y="connsiteY0"/>
                    </a:cxn>
                    <a:cxn ang="0">
                      <a:pos x="connsiteX1" y="connsiteY1"/>
                    </a:cxn>
                    <a:cxn ang="0">
                      <a:pos x="connsiteX2" y="connsiteY2"/>
                    </a:cxn>
                    <a:cxn ang="0">
                      <a:pos x="connsiteX3" y="connsiteY3"/>
                    </a:cxn>
                  </a:cxnLst>
                  <a:rect l="l" t="t" r="r" b="b"/>
                  <a:pathLst>
                    <a:path w="5222" h="52065">
                      <a:moveTo>
                        <a:pt x="1546" y="52065"/>
                      </a:moveTo>
                      <a:cubicBezTo>
                        <a:pt x="-447" y="43844"/>
                        <a:pt x="-198" y="37616"/>
                        <a:pt x="549" y="33257"/>
                      </a:cubicBezTo>
                      <a:cubicBezTo>
                        <a:pt x="1670" y="26406"/>
                        <a:pt x="4037" y="23417"/>
                        <a:pt x="4909" y="16442"/>
                      </a:cubicBezTo>
                      <a:cubicBezTo>
                        <a:pt x="5781" y="9591"/>
                        <a:pt x="4660"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91" name="Freeform 8013">
                  <a:extLst>
                    <a:ext uri="{FF2B5EF4-FFF2-40B4-BE49-F238E27FC236}">
                      <a16:creationId xmlns:a16="http://schemas.microsoft.com/office/drawing/2014/main" id="{B1E4161C-1482-4D8B-E7CD-7EAC31EB79F4}"/>
                    </a:ext>
                  </a:extLst>
                </p:cNvPr>
                <p:cNvSpPr/>
                <p:nvPr/>
              </p:nvSpPr>
              <p:spPr>
                <a:xfrm>
                  <a:off x="5369414" y="1838776"/>
                  <a:ext cx="26317" cy="26566"/>
                </a:xfrm>
                <a:custGeom>
                  <a:avLst/>
                  <a:gdLst>
                    <a:gd name="connsiteX0" fmla="*/ 26300 w 26317"/>
                    <a:gd name="connsiteY0" fmla="*/ 14093 h 26566"/>
                    <a:gd name="connsiteX1" fmla="*/ 12473 w 26317"/>
                    <a:gd name="connsiteY1" fmla="*/ 26549 h 26566"/>
                    <a:gd name="connsiteX2" fmla="*/ 18 w 26317"/>
                    <a:gd name="connsiteY2" fmla="*/ 12474 h 26566"/>
                    <a:gd name="connsiteX3" fmla="*/ 13844 w 26317"/>
                    <a:gd name="connsiteY3" fmla="*/ 18 h 26566"/>
                    <a:gd name="connsiteX4" fmla="*/ 26300 w 26317"/>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6">
                      <a:moveTo>
                        <a:pt x="26300" y="14093"/>
                      </a:moveTo>
                      <a:cubicBezTo>
                        <a:pt x="25926" y="21442"/>
                        <a:pt x="19698" y="26923"/>
                        <a:pt x="12473" y="26549"/>
                      </a:cubicBezTo>
                      <a:cubicBezTo>
                        <a:pt x="5249" y="26175"/>
                        <a:pt x="-356" y="19823"/>
                        <a:pt x="18" y="12474"/>
                      </a:cubicBezTo>
                      <a:cubicBezTo>
                        <a:pt x="391" y="5125"/>
                        <a:pt x="6619" y="-356"/>
                        <a:pt x="13844" y="18"/>
                      </a:cubicBezTo>
                      <a:cubicBezTo>
                        <a:pt x="21193" y="516"/>
                        <a:pt x="26673" y="6744"/>
                        <a:pt x="26300"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2" name="Graphic 2987">
                <a:extLst>
                  <a:ext uri="{FF2B5EF4-FFF2-40B4-BE49-F238E27FC236}">
                    <a16:creationId xmlns:a16="http://schemas.microsoft.com/office/drawing/2014/main" id="{12489B95-0A87-C7F2-28F8-AC0763B9C145}"/>
                  </a:ext>
                </a:extLst>
              </p:cNvPr>
              <p:cNvGrpSpPr/>
              <p:nvPr/>
            </p:nvGrpSpPr>
            <p:grpSpPr>
              <a:xfrm>
                <a:off x="5333031" y="1837033"/>
                <a:ext cx="33304" cy="148757"/>
                <a:chOff x="5333031" y="1837033"/>
                <a:chExt cx="33304" cy="148757"/>
              </a:xfrm>
              <a:grpFill/>
            </p:grpSpPr>
            <p:sp>
              <p:nvSpPr>
                <p:cNvPr id="6180" name="Freeform 8015">
                  <a:extLst>
                    <a:ext uri="{FF2B5EF4-FFF2-40B4-BE49-F238E27FC236}">
                      <a16:creationId xmlns:a16="http://schemas.microsoft.com/office/drawing/2014/main" id="{2EF15DFD-5DE5-5541-0A0A-14105B33505B}"/>
                    </a:ext>
                  </a:extLst>
                </p:cNvPr>
                <p:cNvSpPr/>
                <p:nvPr/>
              </p:nvSpPr>
              <p:spPr>
                <a:xfrm>
                  <a:off x="5350374" y="1913529"/>
                  <a:ext cx="3612" cy="52065"/>
                </a:xfrm>
                <a:custGeom>
                  <a:avLst/>
                  <a:gdLst>
                    <a:gd name="connsiteX0" fmla="*/ 0 w 3612"/>
                    <a:gd name="connsiteY0" fmla="*/ 52065 h 52065"/>
                    <a:gd name="connsiteX1" fmla="*/ 2990 w 3612"/>
                    <a:gd name="connsiteY1" fmla="*/ 33506 h 52065"/>
                    <a:gd name="connsiteX2" fmla="*/ 498 w 3612"/>
                    <a:gd name="connsiteY2" fmla="*/ 16193 h 52065"/>
                    <a:gd name="connsiteX3" fmla="*/ 3612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0" y="52065"/>
                      </a:moveTo>
                      <a:cubicBezTo>
                        <a:pt x="2990" y="44218"/>
                        <a:pt x="3239" y="37866"/>
                        <a:pt x="2990" y="33506"/>
                      </a:cubicBezTo>
                      <a:cubicBezTo>
                        <a:pt x="2616" y="26531"/>
                        <a:pt x="623" y="23292"/>
                        <a:pt x="498" y="16193"/>
                      </a:cubicBezTo>
                      <a:cubicBezTo>
                        <a:pt x="374" y="9342"/>
                        <a:pt x="2118" y="3612"/>
                        <a:pt x="36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1" name="Freeform 8016">
                  <a:extLst>
                    <a:ext uri="{FF2B5EF4-FFF2-40B4-BE49-F238E27FC236}">
                      <a16:creationId xmlns:a16="http://schemas.microsoft.com/office/drawing/2014/main" id="{7B59B68F-C7F8-ACB4-44D7-F0AF9A40C694}"/>
                    </a:ext>
                  </a:extLst>
                </p:cNvPr>
                <p:cNvSpPr/>
                <p:nvPr/>
              </p:nvSpPr>
              <p:spPr>
                <a:xfrm>
                  <a:off x="5341591" y="1918138"/>
                  <a:ext cx="5169" cy="52065"/>
                </a:xfrm>
                <a:custGeom>
                  <a:avLst/>
                  <a:gdLst>
                    <a:gd name="connsiteX0" fmla="*/ 3677 w 5169"/>
                    <a:gd name="connsiteY0" fmla="*/ 0 h 52065"/>
                    <a:gd name="connsiteX1" fmla="*/ 4673 w 5169"/>
                    <a:gd name="connsiteY1" fmla="*/ 18808 h 52065"/>
                    <a:gd name="connsiteX2" fmla="*/ 313 w 5169"/>
                    <a:gd name="connsiteY2" fmla="*/ 35624 h 52065"/>
                    <a:gd name="connsiteX3" fmla="*/ 1559 w 516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169" h="52065">
                      <a:moveTo>
                        <a:pt x="3677" y="0"/>
                      </a:moveTo>
                      <a:cubicBezTo>
                        <a:pt x="5669" y="8221"/>
                        <a:pt x="5296" y="14449"/>
                        <a:pt x="4673" y="18808"/>
                      </a:cubicBezTo>
                      <a:cubicBezTo>
                        <a:pt x="3552" y="25659"/>
                        <a:pt x="1185" y="28648"/>
                        <a:pt x="313" y="35624"/>
                      </a:cubicBezTo>
                      <a:cubicBezTo>
                        <a:pt x="-559" y="42474"/>
                        <a:pt x="563" y="48328"/>
                        <a:pt x="155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2" name="Freeform 8017">
                  <a:extLst>
                    <a:ext uri="{FF2B5EF4-FFF2-40B4-BE49-F238E27FC236}">
                      <a16:creationId xmlns:a16="http://schemas.microsoft.com/office/drawing/2014/main" id="{B2360C61-E7D0-BE71-25E9-4623796DA1CF}"/>
                    </a:ext>
                  </a:extLst>
                </p:cNvPr>
                <p:cNvSpPr/>
                <p:nvPr/>
              </p:nvSpPr>
              <p:spPr>
                <a:xfrm>
                  <a:off x="5333031" y="1959224"/>
                  <a:ext cx="26703" cy="26566"/>
                </a:xfrm>
                <a:custGeom>
                  <a:avLst/>
                  <a:gdLst>
                    <a:gd name="connsiteX0" fmla="*/ 30 w 26703"/>
                    <a:gd name="connsiteY0" fmla="*/ 12474 h 26566"/>
                    <a:gd name="connsiteX1" fmla="*/ 14105 w 26703"/>
                    <a:gd name="connsiteY1" fmla="*/ 18 h 26566"/>
                    <a:gd name="connsiteX2" fmla="*/ 26685 w 26703"/>
                    <a:gd name="connsiteY2" fmla="*/ 14093 h 26566"/>
                    <a:gd name="connsiteX3" fmla="*/ 12611 w 26703"/>
                    <a:gd name="connsiteY3" fmla="*/ 26549 h 26566"/>
                    <a:gd name="connsiteX4" fmla="*/ 30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0" y="12474"/>
                      </a:moveTo>
                      <a:cubicBezTo>
                        <a:pt x="404" y="5125"/>
                        <a:pt x="6756" y="-356"/>
                        <a:pt x="14105" y="18"/>
                      </a:cubicBezTo>
                      <a:cubicBezTo>
                        <a:pt x="21454" y="392"/>
                        <a:pt x="27059" y="6744"/>
                        <a:pt x="26685" y="14093"/>
                      </a:cubicBezTo>
                      <a:cubicBezTo>
                        <a:pt x="26312" y="21442"/>
                        <a:pt x="19960" y="26922"/>
                        <a:pt x="12611" y="26549"/>
                      </a:cubicBezTo>
                      <a:cubicBezTo>
                        <a:pt x="5261" y="26051"/>
                        <a:pt x="-468" y="19823"/>
                        <a:pt x="30"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3" name="Freeform 8018">
                  <a:extLst>
                    <a:ext uri="{FF2B5EF4-FFF2-40B4-BE49-F238E27FC236}">
                      <a16:creationId xmlns:a16="http://schemas.microsoft.com/office/drawing/2014/main" id="{E6717701-0ADF-9FF5-78FB-FF5BA42F9829}"/>
                    </a:ext>
                  </a:extLst>
                </p:cNvPr>
                <p:cNvSpPr/>
                <p:nvPr/>
              </p:nvSpPr>
              <p:spPr>
                <a:xfrm>
                  <a:off x="5345517" y="1857104"/>
                  <a:ext cx="3612" cy="52065"/>
                </a:xfrm>
                <a:custGeom>
                  <a:avLst/>
                  <a:gdLst>
                    <a:gd name="connsiteX0" fmla="*/ 3612 w 3612"/>
                    <a:gd name="connsiteY0" fmla="*/ 0 h 52065"/>
                    <a:gd name="connsiteX1" fmla="*/ 623 w 3612"/>
                    <a:gd name="connsiteY1" fmla="*/ 18559 h 52065"/>
                    <a:gd name="connsiteX2" fmla="*/ 3114 w 3612"/>
                    <a:gd name="connsiteY2" fmla="*/ 35873 h 52065"/>
                    <a:gd name="connsiteX3" fmla="*/ 0 w 361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12" h="52065">
                      <a:moveTo>
                        <a:pt x="3612" y="0"/>
                      </a:moveTo>
                      <a:cubicBezTo>
                        <a:pt x="747" y="7847"/>
                        <a:pt x="374" y="14200"/>
                        <a:pt x="623" y="18559"/>
                      </a:cubicBezTo>
                      <a:cubicBezTo>
                        <a:pt x="996"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4" name="Freeform 8019">
                  <a:extLst>
                    <a:ext uri="{FF2B5EF4-FFF2-40B4-BE49-F238E27FC236}">
                      <a16:creationId xmlns:a16="http://schemas.microsoft.com/office/drawing/2014/main" id="{304308A5-2212-FB9C-EA52-64789A0F1827}"/>
                    </a:ext>
                  </a:extLst>
                </p:cNvPr>
                <p:cNvSpPr/>
                <p:nvPr/>
              </p:nvSpPr>
              <p:spPr>
                <a:xfrm>
                  <a:off x="5352742" y="1852620"/>
                  <a:ext cx="5169" cy="52065"/>
                </a:xfrm>
                <a:custGeom>
                  <a:avLst/>
                  <a:gdLst>
                    <a:gd name="connsiteX0" fmla="*/ 1493 w 5169"/>
                    <a:gd name="connsiteY0" fmla="*/ 52065 h 52065"/>
                    <a:gd name="connsiteX1" fmla="*/ 497 w 5169"/>
                    <a:gd name="connsiteY1" fmla="*/ 33257 h 52065"/>
                    <a:gd name="connsiteX2" fmla="*/ 4857 w 5169"/>
                    <a:gd name="connsiteY2" fmla="*/ 16442 h 52065"/>
                    <a:gd name="connsiteX3" fmla="*/ 3611 w 5169"/>
                    <a:gd name="connsiteY3" fmla="*/ 0 h 52065"/>
                  </a:gdLst>
                  <a:ahLst/>
                  <a:cxnLst>
                    <a:cxn ang="0">
                      <a:pos x="connsiteX0" y="connsiteY0"/>
                    </a:cxn>
                    <a:cxn ang="0">
                      <a:pos x="connsiteX1" y="connsiteY1"/>
                    </a:cxn>
                    <a:cxn ang="0">
                      <a:pos x="connsiteX2" y="connsiteY2"/>
                    </a:cxn>
                    <a:cxn ang="0">
                      <a:pos x="connsiteX3" y="connsiteY3"/>
                    </a:cxn>
                  </a:cxnLst>
                  <a:rect l="l" t="t" r="r" b="b"/>
                  <a:pathLst>
                    <a:path w="5169" h="52065">
                      <a:moveTo>
                        <a:pt x="1493" y="52065"/>
                      </a:moveTo>
                      <a:cubicBezTo>
                        <a:pt x="-499" y="43844"/>
                        <a:pt x="-126" y="37616"/>
                        <a:pt x="497" y="33257"/>
                      </a:cubicBezTo>
                      <a:cubicBezTo>
                        <a:pt x="1618" y="26406"/>
                        <a:pt x="3985" y="23417"/>
                        <a:pt x="4857" y="16442"/>
                      </a:cubicBezTo>
                      <a:cubicBezTo>
                        <a:pt x="5729" y="9591"/>
                        <a:pt x="4607" y="3737"/>
                        <a:pt x="36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85" name="Freeform 8020">
                  <a:extLst>
                    <a:ext uri="{FF2B5EF4-FFF2-40B4-BE49-F238E27FC236}">
                      <a16:creationId xmlns:a16="http://schemas.microsoft.com/office/drawing/2014/main" id="{5B7009C5-CD1B-0A7C-033E-7BAB0313B729}"/>
                    </a:ext>
                  </a:extLst>
                </p:cNvPr>
                <p:cNvSpPr/>
                <p:nvPr/>
              </p:nvSpPr>
              <p:spPr>
                <a:xfrm>
                  <a:off x="5339894" y="1837033"/>
                  <a:ext cx="26441" cy="26566"/>
                </a:xfrm>
                <a:custGeom>
                  <a:avLst/>
                  <a:gdLst>
                    <a:gd name="connsiteX0" fmla="*/ 26424 w 26441"/>
                    <a:gd name="connsiteY0" fmla="*/ 14093 h 26566"/>
                    <a:gd name="connsiteX1" fmla="*/ 12474 w 26441"/>
                    <a:gd name="connsiteY1" fmla="*/ 26549 h 26566"/>
                    <a:gd name="connsiteX2" fmla="*/ 18 w 26441"/>
                    <a:gd name="connsiteY2" fmla="*/ 12474 h 26566"/>
                    <a:gd name="connsiteX3" fmla="*/ 13968 w 26441"/>
                    <a:gd name="connsiteY3" fmla="*/ 18 h 26566"/>
                    <a:gd name="connsiteX4" fmla="*/ 26424 w 26441"/>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566">
                      <a:moveTo>
                        <a:pt x="26424" y="14093"/>
                      </a:moveTo>
                      <a:cubicBezTo>
                        <a:pt x="26051" y="21442"/>
                        <a:pt x="19823" y="26922"/>
                        <a:pt x="12474" y="26549"/>
                      </a:cubicBezTo>
                      <a:cubicBezTo>
                        <a:pt x="5125" y="26175"/>
                        <a:pt x="-356" y="19823"/>
                        <a:pt x="18" y="12474"/>
                      </a:cubicBezTo>
                      <a:cubicBezTo>
                        <a:pt x="392" y="5125"/>
                        <a:pt x="6620" y="-356"/>
                        <a:pt x="13968" y="18"/>
                      </a:cubicBezTo>
                      <a:cubicBezTo>
                        <a:pt x="21193" y="392"/>
                        <a:pt x="26798"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3" name="Graphic 2987">
                <a:extLst>
                  <a:ext uri="{FF2B5EF4-FFF2-40B4-BE49-F238E27FC236}">
                    <a16:creationId xmlns:a16="http://schemas.microsoft.com/office/drawing/2014/main" id="{4AE59448-9C57-2EB3-1C72-2B1F72E61201}"/>
                  </a:ext>
                </a:extLst>
              </p:cNvPr>
              <p:cNvGrpSpPr/>
              <p:nvPr/>
            </p:nvGrpSpPr>
            <p:grpSpPr>
              <a:xfrm>
                <a:off x="5303261" y="1835289"/>
                <a:ext cx="33567" cy="148757"/>
                <a:chOff x="5303261" y="1835289"/>
                <a:chExt cx="33567" cy="148757"/>
              </a:xfrm>
              <a:grpFill/>
            </p:grpSpPr>
            <p:sp>
              <p:nvSpPr>
                <p:cNvPr id="6174" name="Freeform 8022">
                  <a:extLst>
                    <a:ext uri="{FF2B5EF4-FFF2-40B4-BE49-F238E27FC236}">
                      <a16:creationId xmlns:a16="http://schemas.microsoft.com/office/drawing/2014/main" id="{78F6BE46-B9B0-550C-84D7-DC1936ACABEA}"/>
                    </a:ext>
                  </a:extLst>
                </p:cNvPr>
                <p:cNvSpPr/>
                <p:nvPr/>
              </p:nvSpPr>
              <p:spPr>
                <a:xfrm>
                  <a:off x="5320605" y="1911785"/>
                  <a:ext cx="3736" cy="52065"/>
                </a:xfrm>
                <a:custGeom>
                  <a:avLst/>
                  <a:gdLst>
                    <a:gd name="connsiteX0" fmla="*/ 0 w 3736"/>
                    <a:gd name="connsiteY0" fmla="*/ 52065 h 52065"/>
                    <a:gd name="connsiteX1" fmla="*/ 3114 w 3736"/>
                    <a:gd name="connsiteY1" fmla="*/ 33506 h 52065"/>
                    <a:gd name="connsiteX2" fmla="*/ 623 w 3736"/>
                    <a:gd name="connsiteY2" fmla="*/ 16193 h 52065"/>
                    <a:gd name="connsiteX3" fmla="*/ 3737 w 3736"/>
                    <a:gd name="connsiteY3" fmla="*/ 0 h 52065"/>
                  </a:gdLst>
                  <a:ahLst/>
                  <a:cxnLst>
                    <a:cxn ang="0">
                      <a:pos x="connsiteX0" y="connsiteY0"/>
                    </a:cxn>
                    <a:cxn ang="0">
                      <a:pos x="connsiteX1" y="connsiteY1"/>
                    </a:cxn>
                    <a:cxn ang="0">
                      <a:pos x="connsiteX2" y="connsiteY2"/>
                    </a:cxn>
                    <a:cxn ang="0">
                      <a:pos x="connsiteX3" y="connsiteY3"/>
                    </a:cxn>
                  </a:cxnLst>
                  <a:rect l="l" t="t" r="r" b="b"/>
                  <a:pathLst>
                    <a:path w="3736" h="52065">
                      <a:moveTo>
                        <a:pt x="0" y="52065"/>
                      </a:moveTo>
                      <a:cubicBezTo>
                        <a:pt x="2989" y="44218"/>
                        <a:pt x="3239" y="37866"/>
                        <a:pt x="3114" y="33506"/>
                      </a:cubicBezTo>
                      <a:cubicBezTo>
                        <a:pt x="2740" y="26531"/>
                        <a:pt x="747" y="23292"/>
                        <a:pt x="623" y="16193"/>
                      </a:cubicBezTo>
                      <a:cubicBezTo>
                        <a:pt x="498" y="9342"/>
                        <a:pt x="2242" y="3612"/>
                        <a:pt x="3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5" name="Freeform 8023">
                  <a:extLst>
                    <a:ext uri="{FF2B5EF4-FFF2-40B4-BE49-F238E27FC236}">
                      <a16:creationId xmlns:a16="http://schemas.microsoft.com/office/drawing/2014/main" id="{190936EE-DD8A-D2A0-C07B-098F3BBBCD46}"/>
                    </a:ext>
                  </a:extLst>
                </p:cNvPr>
                <p:cNvSpPr/>
                <p:nvPr/>
              </p:nvSpPr>
              <p:spPr>
                <a:xfrm>
                  <a:off x="5311803" y="1916394"/>
                  <a:ext cx="5291" cy="52065"/>
                </a:xfrm>
                <a:custGeom>
                  <a:avLst/>
                  <a:gdLst>
                    <a:gd name="connsiteX0" fmla="*/ 3820 w 5291"/>
                    <a:gd name="connsiteY0" fmla="*/ 0 h 52065"/>
                    <a:gd name="connsiteX1" fmla="*/ 4691 w 5291"/>
                    <a:gd name="connsiteY1" fmla="*/ 18808 h 52065"/>
                    <a:gd name="connsiteX2" fmla="*/ 332 w 5291"/>
                    <a:gd name="connsiteY2" fmla="*/ 35623 h 52065"/>
                    <a:gd name="connsiteX3" fmla="*/ 1577 w 52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1" h="52065">
                      <a:moveTo>
                        <a:pt x="3820" y="0"/>
                      </a:moveTo>
                      <a:cubicBezTo>
                        <a:pt x="5813" y="8221"/>
                        <a:pt x="5439" y="14449"/>
                        <a:pt x="4691" y="18808"/>
                      </a:cubicBezTo>
                      <a:cubicBezTo>
                        <a:pt x="3446" y="25659"/>
                        <a:pt x="1204" y="28648"/>
                        <a:pt x="332" y="35623"/>
                      </a:cubicBezTo>
                      <a:cubicBezTo>
                        <a:pt x="-540" y="42474"/>
                        <a:pt x="456" y="48328"/>
                        <a:pt x="157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6" name="Freeform 8024">
                  <a:extLst>
                    <a:ext uri="{FF2B5EF4-FFF2-40B4-BE49-F238E27FC236}">
                      <a16:creationId xmlns:a16="http://schemas.microsoft.com/office/drawing/2014/main" id="{C3FC45E2-2AF2-2930-5953-B57DCD58106F}"/>
                    </a:ext>
                  </a:extLst>
                </p:cNvPr>
                <p:cNvSpPr/>
                <p:nvPr/>
              </p:nvSpPr>
              <p:spPr>
                <a:xfrm>
                  <a:off x="5303261" y="1957480"/>
                  <a:ext cx="26703" cy="26566"/>
                </a:xfrm>
                <a:custGeom>
                  <a:avLst/>
                  <a:gdLst>
                    <a:gd name="connsiteX0" fmla="*/ 31 w 26703"/>
                    <a:gd name="connsiteY0" fmla="*/ 12474 h 26566"/>
                    <a:gd name="connsiteX1" fmla="*/ 14106 w 26703"/>
                    <a:gd name="connsiteY1" fmla="*/ 18 h 26566"/>
                    <a:gd name="connsiteX2" fmla="*/ 26686 w 26703"/>
                    <a:gd name="connsiteY2" fmla="*/ 14093 h 26566"/>
                    <a:gd name="connsiteX3" fmla="*/ 12611 w 26703"/>
                    <a:gd name="connsiteY3" fmla="*/ 26549 h 26566"/>
                    <a:gd name="connsiteX4" fmla="*/ 31 w 26703"/>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66">
                      <a:moveTo>
                        <a:pt x="31" y="12474"/>
                      </a:moveTo>
                      <a:cubicBezTo>
                        <a:pt x="404" y="5125"/>
                        <a:pt x="6757" y="-356"/>
                        <a:pt x="14106" y="18"/>
                      </a:cubicBezTo>
                      <a:cubicBezTo>
                        <a:pt x="21455" y="392"/>
                        <a:pt x="27060" y="6744"/>
                        <a:pt x="26686" y="14093"/>
                      </a:cubicBezTo>
                      <a:cubicBezTo>
                        <a:pt x="26313" y="21442"/>
                        <a:pt x="19960" y="26922"/>
                        <a:pt x="12611"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7" name="Freeform 8025">
                  <a:extLst>
                    <a:ext uri="{FF2B5EF4-FFF2-40B4-BE49-F238E27FC236}">
                      <a16:creationId xmlns:a16="http://schemas.microsoft.com/office/drawing/2014/main" id="{EA94EE74-8AA1-BA0B-3547-A64A3F1C4972}"/>
                    </a:ext>
                  </a:extLst>
                </p:cNvPr>
                <p:cNvSpPr/>
                <p:nvPr/>
              </p:nvSpPr>
              <p:spPr>
                <a:xfrm>
                  <a:off x="5315747" y="1855361"/>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623" y="14200"/>
                        <a:pt x="747"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8" name="Freeform 8026">
                  <a:extLst>
                    <a:ext uri="{FF2B5EF4-FFF2-40B4-BE49-F238E27FC236}">
                      <a16:creationId xmlns:a16="http://schemas.microsoft.com/office/drawing/2014/main" id="{352E0A6D-D0B7-7218-43E9-A07F7E5F4D4A}"/>
                    </a:ext>
                  </a:extLst>
                </p:cNvPr>
                <p:cNvSpPr/>
                <p:nvPr/>
              </p:nvSpPr>
              <p:spPr>
                <a:xfrm>
                  <a:off x="5323119" y="1850877"/>
                  <a:ext cx="5291" cy="52065"/>
                </a:xfrm>
                <a:custGeom>
                  <a:avLst/>
                  <a:gdLst>
                    <a:gd name="connsiteX0" fmla="*/ 1472 w 5291"/>
                    <a:gd name="connsiteY0" fmla="*/ 52065 h 52065"/>
                    <a:gd name="connsiteX1" fmla="*/ 600 w 5291"/>
                    <a:gd name="connsiteY1" fmla="*/ 33257 h 52065"/>
                    <a:gd name="connsiteX2" fmla="*/ 4960 w 5291"/>
                    <a:gd name="connsiteY2" fmla="*/ 16442 h 52065"/>
                    <a:gd name="connsiteX3" fmla="*/ 3714 w 5291"/>
                    <a:gd name="connsiteY3" fmla="*/ 0 h 52065"/>
                  </a:gdLst>
                  <a:ahLst/>
                  <a:cxnLst>
                    <a:cxn ang="0">
                      <a:pos x="connsiteX0" y="connsiteY0"/>
                    </a:cxn>
                    <a:cxn ang="0">
                      <a:pos x="connsiteX1" y="connsiteY1"/>
                    </a:cxn>
                    <a:cxn ang="0">
                      <a:pos x="connsiteX2" y="connsiteY2"/>
                    </a:cxn>
                    <a:cxn ang="0">
                      <a:pos x="connsiteX3" y="connsiteY3"/>
                    </a:cxn>
                  </a:cxnLst>
                  <a:rect l="l" t="t" r="r" b="b"/>
                  <a:pathLst>
                    <a:path w="5291" h="52065">
                      <a:moveTo>
                        <a:pt x="1472" y="52065"/>
                      </a:moveTo>
                      <a:cubicBezTo>
                        <a:pt x="-521" y="43844"/>
                        <a:pt x="-147" y="37616"/>
                        <a:pt x="600" y="33257"/>
                      </a:cubicBezTo>
                      <a:cubicBezTo>
                        <a:pt x="1721" y="26406"/>
                        <a:pt x="4088" y="23417"/>
                        <a:pt x="4960" y="16442"/>
                      </a:cubicBezTo>
                      <a:cubicBezTo>
                        <a:pt x="5832" y="9591"/>
                        <a:pt x="4835"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9" name="Freeform 8027">
                  <a:extLst>
                    <a:ext uri="{FF2B5EF4-FFF2-40B4-BE49-F238E27FC236}">
                      <a16:creationId xmlns:a16="http://schemas.microsoft.com/office/drawing/2014/main" id="{4203E7EF-08B6-6D99-92D4-715D5A37FDE4}"/>
                    </a:ext>
                  </a:extLst>
                </p:cNvPr>
                <p:cNvSpPr/>
                <p:nvPr/>
              </p:nvSpPr>
              <p:spPr>
                <a:xfrm>
                  <a:off x="5310373" y="1835289"/>
                  <a:ext cx="26455" cy="26566"/>
                </a:xfrm>
                <a:custGeom>
                  <a:avLst/>
                  <a:gdLst>
                    <a:gd name="connsiteX0" fmla="*/ 26424 w 26455"/>
                    <a:gd name="connsiteY0" fmla="*/ 14093 h 26566"/>
                    <a:gd name="connsiteX1" fmla="*/ 12474 w 26455"/>
                    <a:gd name="connsiteY1" fmla="*/ 26549 h 26566"/>
                    <a:gd name="connsiteX2" fmla="*/ 18 w 26455"/>
                    <a:gd name="connsiteY2" fmla="*/ 12474 h 26566"/>
                    <a:gd name="connsiteX3" fmla="*/ 13968 w 26455"/>
                    <a:gd name="connsiteY3" fmla="*/ 18 h 26566"/>
                    <a:gd name="connsiteX4" fmla="*/ 26424 w 26455"/>
                    <a:gd name="connsiteY4" fmla="*/ 14093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5" h="26566">
                      <a:moveTo>
                        <a:pt x="26424" y="14093"/>
                      </a:moveTo>
                      <a:cubicBezTo>
                        <a:pt x="26051" y="21442"/>
                        <a:pt x="19823" y="26922"/>
                        <a:pt x="12474" y="26549"/>
                      </a:cubicBezTo>
                      <a:cubicBezTo>
                        <a:pt x="5125" y="26175"/>
                        <a:pt x="-356" y="19823"/>
                        <a:pt x="18" y="12474"/>
                      </a:cubicBezTo>
                      <a:cubicBezTo>
                        <a:pt x="392" y="5125"/>
                        <a:pt x="6744" y="-356"/>
                        <a:pt x="13968" y="18"/>
                      </a:cubicBezTo>
                      <a:cubicBezTo>
                        <a:pt x="21317" y="392"/>
                        <a:pt x="26923" y="6744"/>
                        <a:pt x="26424" y="140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4" name="Graphic 2987">
                <a:extLst>
                  <a:ext uri="{FF2B5EF4-FFF2-40B4-BE49-F238E27FC236}">
                    <a16:creationId xmlns:a16="http://schemas.microsoft.com/office/drawing/2014/main" id="{23600934-B8EA-0FB0-B5AF-77DBF1543024}"/>
                  </a:ext>
                </a:extLst>
              </p:cNvPr>
              <p:cNvGrpSpPr/>
              <p:nvPr/>
            </p:nvGrpSpPr>
            <p:grpSpPr>
              <a:xfrm>
                <a:off x="5273492" y="1833545"/>
                <a:ext cx="33928" cy="148757"/>
                <a:chOff x="5273492" y="1833545"/>
                <a:chExt cx="33928" cy="148757"/>
              </a:xfrm>
              <a:grpFill/>
            </p:grpSpPr>
            <p:sp>
              <p:nvSpPr>
                <p:cNvPr id="6168" name="Freeform 8029">
                  <a:extLst>
                    <a:ext uri="{FF2B5EF4-FFF2-40B4-BE49-F238E27FC236}">
                      <a16:creationId xmlns:a16="http://schemas.microsoft.com/office/drawing/2014/main" id="{B39E7940-85A9-BF03-4D2F-17180842E277}"/>
                    </a:ext>
                  </a:extLst>
                </p:cNvPr>
                <p:cNvSpPr/>
                <p:nvPr/>
              </p:nvSpPr>
              <p:spPr>
                <a:xfrm>
                  <a:off x="5290836" y="1910041"/>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363" y="37866"/>
                        <a:pt x="3114" y="33506"/>
                      </a:cubicBezTo>
                      <a:cubicBezTo>
                        <a:pt x="2740" y="26531"/>
                        <a:pt x="747"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9" name="Freeform 8030">
                  <a:extLst>
                    <a:ext uri="{FF2B5EF4-FFF2-40B4-BE49-F238E27FC236}">
                      <a16:creationId xmlns:a16="http://schemas.microsoft.com/office/drawing/2014/main" id="{63C90126-5253-B656-DF54-B502849175F3}"/>
                    </a:ext>
                  </a:extLst>
                </p:cNvPr>
                <p:cNvSpPr/>
                <p:nvPr/>
              </p:nvSpPr>
              <p:spPr>
                <a:xfrm>
                  <a:off x="5282032" y="1914650"/>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5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449"/>
                        <a:pt x="4819"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0" name="Freeform 8031">
                  <a:extLst>
                    <a:ext uri="{FF2B5EF4-FFF2-40B4-BE49-F238E27FC236}">
                      <a16:creationId xmlns:a16="http://schemas.microsoft.com/office/drawing/2014/main" id="{1D5A9DB3-035F-9991-E1D6-7169B0F9268A}"/>
                    </a:ext>
                  </a:extLst>
                </p:cNvPr>
                <p:cNvSpPr/>
                <p:nvPr/>
              </p:nvSpPr>
              <p:spPr>
                <a:xfrm>
                  <a:off x="5273492" y="1955736"/>
                  <a:ext cx="26592" cy="26566"/>
                </a:xfrm>
                <a:custGeom>
                  <a:avLst/>
                  <a:gdLst>
                    <a:gd name="connsiteX0" fmla="*/ 31 w 26592"/>
                    <a:gd name="connsiteY0" fmla="*/ 12474 h 26566"/>
                    <a:gd name="connsiteX1" fmla="*/ 14106 w 26592"/>
                    <a:gd name="connsiteY1" fmla="*/ 18 h 26566"/>
                    <a:gd name="connsiteX2" fmla="*/ 26562 w 26592"/>
                    <a:gd name="connsiteY2" fmla="*/ 14093 h 26566"/>
                    <a:gd name="connsiteX3" fmla="*/ 12487 w 26592"/>
                    <a:gd name="connsiteY3" fmla="*/ 26549 h 26566"/>
                    <a:gd name="connsiteX4" fmla="*/ 31 w 26592"/>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66">
                      <a:moveTo>
                        <a:pt x="31" y="12474"/>
                      </a:moveTo>
                      <a:cubicBezTo>
                        <a:pt x="529" y="5125"/>
                        <a:pt x="6757" y="-356"/>
                        <a:pt x="14106" y="18"/>
                      </a:cubicBezTo>
                      <a:cubicBezTo>
                        <a:pt x="21455" y="392"/>
                        <a:pt x="27060" y="6744"/>
                        <a:pt x="26562" y="14093"/>
                      </a:cubicBezTo>
                      <a:cubicBezTo>
                        <a:pt x="26188" y="21442"/>
                        <a:pt x="19835" y="26922"/>
                        <a:pt x="12487" y="26549"/>
                      </a:cubicBezTo>
                      <a:cubicBezTo>
                        <a:pt x="5138" y="26051"/>
                        <a:pt x="-468"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1" name="Freeform 8032">
                  <a:extLst>
                    <a:ext uri="{FF2B5EF4-FFF2-40B4-BE49-F238E27FC236}">
                      <a16:creationId xmlns:a16="http://schemas.microsoft.com/office/drawing/2014/main" id="{14F424B0-A032-ED84-16FB-CF572B49DA7F}"/>
                    </a:ext>
                  </a:extLst>
                </p:cNvPr>
                <p:cNvSpPr/>
                <p:nvPr/>
              </p:nvSpPr>
              <p:spPr>
                <a:xfrm>
                  <a:off x="5286352" y="1853617"/>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8" y="14200"/>
                        <a:pt x="747" y="18559"/>
                      </a:cubicBezTo>
                      <a:cubicBezTo>
                        <a:pt x="1121" y="25534"/>
                        <a:pt x="2989"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2" name="Freeform 8033">
                  <a:extLst>
                    <a:ext uri="{FF2B5EF4-FFF2-40B4-BE49-F238E27FC236}">
                      <a16:creationId xmlns:a16="http://schemas.microsoft.com/office/drawing/2014/main" id="{3D110CC5-5D35-1469-762E-3EB331885BA9}"/>
                    </a:ext>
                  </a:extLst>
                </p:cNvPr>
                <p:cNvSpPr/>
                <p:nvPr/>
              </p:nvSpPr>
              <p:spPr>
                <a:xfrm>
                  <a:off x="5293599" y="1849008"/>
                  <a:ext cx="5418" cy="52065"/>
                </a:xfrm>
                <a:custGeom>
                  <a:avLst/>
                  <a:gdLst>
                    <a:gd name="connsiteX0" fmla="*/ 1472 w 5418"/>
                    <a:gd name="connsiteY0" fmla="*/ 52065 h 52065"/>
                    <a:gd name="connsiteX1" fmla="*/ 600 w 5418"/>
                    <a:gd name="connsiteY1" fmla="*/ 33257 h 52065"/>
                    <a:gd name="connsiteX2" fmla="*/ 5084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1" y="43844"/>
                        <a:pt x="-147" y="37616"/>
                        <a:pt x="600" y="33257"/>
                      </a:cubicBezTo>
                      <a:cubicBezTo>
                        <a:pt x="1846" y="26406"/>
                        <a:pt x="4088" y="23417"/>
                        <a:pt x="5084"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73" name="Freeform 8034">
                  <a:extLst>
                    <a:ext uri="{FF2B5EF4-FFF2-40B4-BE49-F238E27FC236}">
                      <a16:creationId xmlns:a16="http://schemas.microsoft.com/office/drawing/2014/main" id="{4A1282AB-E770-C9D3-A40F-F2F937458FFE}"/>
                    </a:ext>
                  </a:extLst>
                </p:cNvPr>
                <p:cNvSpPr/>
                <p:nvPr/>
              </p:nvSpPr>
              <p:spPr>
                <a:xfrm>
                  <a:off x="5281090" y="1833545"/>
                  <a:ext cx="26330" cy="26441"/>
                </a:xfrm>
                <a:custGeom>
                  <a:avLst/>
                  <a:gdLst>
                    <a:gd name="connsiteX0" fmla="*/ 26313 w 26330"/>
                    <a:gd name="connsiteY0" fmla="*/ 13968 h 26441"/>
                    <a:gd name="connsiteX1" fmla="*/ 12362 w 26330"/>
                    <a:gd name="connsiteY1" fmla="*/ 26424 h 26441"/>
                    <a:gd name="connsiteX2" fmla="*/ 31 w 26330"/>
                    <a:gd name="connsiteY2" fmla="*/ 12473 h 26441"/>
                    <a:gd name="connsiteX3" fmla="*/ 13981 w 26330"/>
                    <a:gd name="connsiteY3" fmla="*/ 18 h 26441"/>
                    <a:gd name="connsiteX4" fmla="*/ 26313 w 26330"/>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41">
                      <a:moveTo>
                        <a:pt x="26313" y="13968"/>
                      </a:moveTo>
                      <a:cubicBezTo>
                        <a:pt x="25939" y="21317"/>
                        <a:pt x="19586" y="26798"/>
                        <a:pt x="12362" y="26424"/>
                      </a:cubicBezTo>
                      <a:cubicBezTo>
                        <a:pt x="5138" y="26050"/>
                        <a:pt x="-467" y="19698"/>
                        <a:pt x="31" y="12473"/>
                      </a:cubicBezTo>
                      <a:cubicBezTo>
                        <a:pt x="529" y="5249"/>
                        <a:pt x="6757" y="-356"/>
                        <a:pt x="13981" y="18"/>
                      </a:cubicBezTo>
                      <a:cubicBezTo>
                        <a:pt x="21206" y="391"/>
                        <a:pt x="26686" y="6744"/>
                        <a:pt x="26313"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5" name="Graphic 2987">
                <a:extLst>
                  <a:ext uri="{FF2B5EF4-FFF2-40B4-BE49-F238E27FC236}">
                    <a16:creationId xmlns:a16="http://schemas.microsoft.com/office/drawing/2014/main" id="{891BC7BA-6A02-B023-ED83-B7DC60E5EEA1}"/>
                  </a:ext>
                </a:extLst>
              </p:cNvPr>
              <p:cNvGrpSpPr/>
              <p:nvPr/>
            </p:nvGrpSpPr>
            <p:grpSpPr>
              <a:xfrm>
                <a:off x="5243722" y="1831802"/>
                <a:ext cx="34302" cy="148757"/>
                <a:chOff x="5243722" y="1831802"/>
                <a:chExt cx="34302" cy="148757"/>
              </a:xfrm>
              <a:grpFill/>
            </p:grpSpPr>
            <p:sp>
              <p:nvSpPr>
                <p:cNvPr id="6162" name="Freeform 8036">
                  <a:extLst>
                    <a:ext uri="{FF2B5EF4-FFF2-40B4-BE49-F238E27FC236}">
                      <a16:creationId xmlns:a16="http://schemas.microsoft.com/office/drawing/2014/main" id="{1D3F1208-8301-90E9-D7C8-CFF4450D8E68}"/>
                    </a:ext>
                  </a:extLst>
                </p:cNvPr>
                <p:cNvSpPr/>
                <p:nvPr/>
              </p:nvSpPr>
              <p:spPr>
                <a:xfrm>
                  <a:off x="5261191" y="1908298"/>
                  <a:ext cx="3985" cy="52065"/>
                </a:xfrm>
                <a:custGeom>
                  <a:avLst/>
                  <a:gdLst>
                    <a:gd name="connsiteX0" fmla="*/ 0 w 3985"/>
                    <a:gd name="connsiteY0" fmla="*/ 52065 h 52065"/>
                    <a:gd name="connsiteX1" fmla="*/ 3114 w 3985"/>
                    <a:gd name="connsiteY1" fmla="*/ 33506 h 52065"/>
                    <a:gd name="connsiteX2" fmla="*/ 747 w 3985"/>
                    <a:gd name="connsiteY2" fmla="*/ 16192 h 52065"/>
                    <a:gd name="connsiteX3" fmla="*/ 3986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0" y="52065"/>
                      </a:moveTo>
                      <a:cubicBezTo>
                        <a:pt x="2989" y="44218"/>
                        <a:pt x="3363" y="37866"/>
                        <a:pt x="3114" y="33506"/>
                      </a:cubicBezTo>
                      <a:cubicBezTo>
                        <a:pt x="2740" y="26531"/>
                        <a:pt x="872" y="23292"/>
                        <a:pt x="747" y="16192"/>
                      </a:cubicBezTo>
                      <a:cubicBezTo>
                        <a:pt x="747" y="9342"/>
                        <a:pt x="2491" y="3612"/>
                        <a:pt x="39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3" name="Freeform 8037">
                  <a:extLst>
                    <a:ext uri="{FF2B5EF4-FFF2-40B4-BE49-F238E27FC236}">
                      <a16:creationId xmlns:a16="http://schemas.microsoft.com/office/drawing/2014/main" id="{4F69440E-B7DF-1ADF-190F-C45E6C9C1636}"/>
                    </a:ext>
                  </a:extLst>
                </p:cNvPr>
                <p:cNvSpPr/>
                <p:nvPr/>
              </p:nvSpPr>
              <p:spPr>
                <a:xfrm>
                  <a:off x="5252262" y="1912906"/>
                  <a:ext cx="5474" cy="52065"/>
                </a:xfrm>
                <a:custGeom>
                  <a:avLst/>
                  <a:gdLst>
                    <a:gd name="connsiteX0" fmla="*/ 4071 w 5474"/>
                    <a:gd name="connsiteY0" fmla="*/ 0 h 52065"/>
                    <a:gd name="connsiteX1" fmla="*/ 4818 w 5474"/>
                    <a:gd name="connsiteY1" fmla="*/ 18808 h 52065"/>
                    <a:gd name="connsiteX2" fmla="*/ 334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3" y="25659"/>
                        <a:pt x="1331" y="28648"/>
                        <a:pt x="334" y="35624"/>
                      </a:cubicBezTo>
                      <a:cubicBezTo>
                        <a:pt x="-538" y="42474"/>
                        <a:pt x="459"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4" name="Freeform 8038">
                  <a:extLst>
                    <a:ext uri="{FF2B5EF4-FFF2-40B4-BE49-F238E27FC236}">
                      <a16:creationId xmlns:a16="http://schemas.microsoft.com/office/drawing/2014/main" id="{7C02891D-A371-3EDD-94D7-484F71445073}"/>
                    </a:ext>
                  </a:extLst>
                </p:cNvPr>
                <p:cNvSpPr/>
                <p:nvPr/>
              </p:nvSpPr>
              <p:spPr>
                <a:xfrm>
                  <a:off x="5243722" y="1953992"/>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392"/>
                        <a:pt x="27185" y="6744"/>
                        <a:pt x="26686" y="14093"/>
                      </a:cubicBezTo>
                      <a:cubicBezTo>
                        <a:pt x="26188" y="21442"/>
                        <a:pt x="19960" y="26923"/>
                        <a:pt x="12487" y="26549"/>
                      </a:cubicBezTo>
                      <a:cubicBezTo>
                        <a:pt x="5138" y="26051"/>
                        <a:pt x="-467" y="19698"/>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5" name="Freeform 8039">
                  <a:extLst>
                    <a:ext uri="{FF2B5EF4-FFF2-40B4-BE49-F238E27FC236}">
                      <a16:creationId xmlns:a16="http://schemas.microsoft.com/office/drawing/2014/main" id="{A63D5544-F22A-07A0-873C-C1338C6F2FD7}"/>
                    </a:ext>
                  </a:extLst>
                </p:cNvPr>
                <p:cNvSpPr/>
                <p:nvPr/>
              </p:nvSpPr>
              <p:spPr>
                <a:xfrm>
                  <a:off x="5256707" y="1851873"/>
                  <a:ext cx="3985" cy="51940"/>
                </a:xfrm>
                <a:custGeom>
                  <a:avLst/>
                  <a:gdLst>
                    <a:gd name="connsiteX0" fmla="*/ 3986 w 3985"/>
                    <a:gd name="connsiteY0" fmla="*/ 0 h 51940"/>
                    <a:gd name="connsiteX1" fmla="*/ 872 w 3985"/>
                    <a:gd name="connsiteY1" fmla="*/ 18559 h 51940"/>
                    <a:gd name="connsiteX2" fmla="*/ 3239 w 3985"/>
                    <a:gd name="connsiteY2" fmla="*/ 35748 h 51940"/>
                    <a:gd name="connsiteX3" fmla="*/ 0 w 3985"/>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985" h="51940">
                      <a:moveTo>
                        <a:pt x="3986" y="0"/>
                      </a:moveTo>
                      <a:cubicBezTo>
                        <a:pt x="996" y="7847"/>
                        <a:pt x="623" y="14200"/>
                        <a:pt x="872" y="18559"/>
                      </a:cubicBezTo>
                      <a:cubicBezTo>
                        <a:pt x="1246" y="25534"/>
                        <a:pt x="3114" y="28773"/>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6" name="Freeform 8040">
                  <a:extLst>
                    <a:ext uri="{FF2B5EF4-FFF2-40B4-BE49-F238E27FC236}">
                      <a16:creationId xmlns:a16="http://schemas.microsoft.com/office/drawing/2014/main" id="{820EFB1E-62C7-D9ED-C6E8-8D3361679ECB}"/>
                    </a:ext>
                  </a:extLst>
                </p:cNvPr>
                <p:cNvSpPr/>
                <p:nvPr/>
              </p:nvSpPr>
              <p:spPr>
                <a:xfrm>
                  <a:off x="5264023" y="1847264"/>
                  <a:ext cx="5474" cy="52065"/>
                </a:xfrm>
                <a:custGeom>
                  <a:avLst/>
                  <a:gdLst>
                    <a:gd name="connsiteX0" fmla="*/ 1404 w 5474"/>
                    <a:gd name="connsiteY0" fmla="*/ 52065 h 52065"/>
                    <a:gd name="connsiteX1" fmla="*/ 656 w 5474"/>
                    <a:gd name="connsiteY1" fmla="*/ 33257 h 52065"/>
                    <a:gd name="connsiteX2" fmla="*/ 5140 w 5474"/>
                    <a:gd name="connsiteY2" fmla="*/ 16442 h 52065"/>
                    <a:gd name="connsiteX3" fmla="*/ 4019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1404" y="52065"/>
                      </a:moveTo>
                      <a:cubicBezTo>
                        <a:pt x="-589" y="43844"/>
                        <a:pt x="-91" y="37616"/>
                        <a:pt x="656" y="33257"/>
                      </a:cubicBezTo>
                      <a:cubicBezTo>
                        <a:pt x="1902" y="26406"/>
                        <a:pt x="4144" y="23417"/>
                        <a:pt x="5140" y="16442"/>
                      </a:cubicBezTo>
                      <a:cubicBezTo>
                        <a:pt x="6012" y="9591"/>
                        <a:pt x="5015"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7" name="Freeform 8041">
                  <a:extLst>
                    <a:ext uri="{FF2B5EF4-FFF2-40B4-BE49-F238E27FC236}">
                      <a16:creationId xmlns:a16="http://schemas.microsoft.com/office/drawing/2014/main" id="{4E43409C-A9CF-A196-D014-E80D134B381D}"/>
                    </a:ext>
                  </a:extLst>
                </p:cNvPr>
                <p:cNvSpPr/>
                <p:nvPr/>
              </p:nvSpPr>
              <p:spPr>
                <a:xfrm>
                  <a:off x="5251569" y="1831802"/>
                  <a:ext cx="26456" cy="26441"/>
                </a:xfrm>
                <a:custGeom>
                  <a:avLst/>
                  <a:gdLst>
                    <a:gd name="connsiteX0" fmla="*/ 26438 w 26456"/>
                    <a:gd name="connsiteY0" fmla="*/ 13968 h 26441"/>
                    <a:gd name="connsiteX1" fmla="*/ 12363 w 26456"/>
                    <a:gd name="connsiteY1" fmla="*/ 26424 h 26441"/>
                    <a:gd name="connsiteX2" fmla="*/ 31 w 26456"/>
                    <a:gd name="connsiteY2" fmla="*/ 12473 h 26441"/>
                    <a:gd name="connsiteX3" fmla="*/ 14107 w 26456"/>
                    <a:gd name="connsiteY3" fmla="*/ 18 h 26441"/>
                    <a:gd name="connsiteX4" fmla="*/ 26438 w 26456"/>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41">
                      <a:moveTo>
                        <a:pt x="26438" y="13968"/>
                      </a:moveTo>
                      <a:cubicBezTo>
                        <a:pt x="25940" y="21317"/>
                        <a:pt x="19712" y="26798"/>
                        <a:pt x="12363" y="26424"/>
                      </a:cubicBezTo>
                      <a:cubicBezTo>
                        <a:pt x="5014" y="26050"/>
                        <a:pt x="-467" y="19698"/>
                        <a:pt x="31" y="12473"/>
                      </a:cubicBezTo>
                      <a:cubicBezTo>
                        <a:pt x="530" y="5249"/>
                        <a:pt x="6758" y="-356"/>
                        <a:pt x="14107" y="18"/>
                      </a:cubicBezTo>
                      <a:cubicBezTo>
                        <a:pt x="21455" y="391"/>
                        <a:pt x="26811"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6" name="Graphic 2987">
                <a:extLst>
                  <a:ext uri="{FF2B5EF4-FFF2-40B4-BE49-F238E27FC236}">
                    <a16:creationId xmlns:a16="http://schemas.microsoft.com/office/drawing/2014/main" id="{3D522498-253D-EA48-1736-653BFADAD4E4}"/>
                  </a:ext>
                </a:extLst>
              </p:cNvPr>
              <p:cNvGrpSpPr/>
              <p:nvPr/>
            </p:nvGrpSpPr>
            <p:grpSpPr>
              <a:xfrm>
                <a:off x="5213953" y="1830057"/>
                <a:ext cx="34564" cy="148633"/>
                <a:chOff x="5213953" y="1830057"/>
                <a:chExt cx="34564" cy="148633"/>
              </a:xfrm>
              <a:grpFill/>
            </p:grpSpPr>
            <p:sp>
              <p:nvSpPr>
                <p:cNvPr id="6156" name="Freeform 8043">
                  <a:extLst>
                    <a:ext uri="{FF2B5EF4-FFF2-40B4-BE49-F238E27FC236}">
                      <a16:creationId xmlns:a16="http://schemas.microsoft.com/office/drawing/2014/main" id="{866531BA-8B1F-C751-C9B5-DDF1FBF52B7C}"/>
                    </a:ext>
                  </a:extLst>
                </p:cNvPr>
                <p:cNvSpPr/>
                <p:nvPr/>
              </p:nvSpPr>
              <p:spPr>
                <a:xfrm>
                  <a:off x="5231422" y="1906678"/>
                  <a:ext cx="4110" cy="51940"/>
                </a:xfrm>
                <a:custGeom>
                  <a:avLst/>
                  <a:gdLst>
                    <a:gd name="connsiteX0" fmla="*/ 0 w 4110"/>
                    <a:gd name="connsiteY0" fmla="*/ 51941 h 51940"/>
                    <a:gd name="connsiteX1" fmla="*/ 3239 w 4110"/>
                    <a:gd name="connsiteY1" fmla="*/ 33381 h 51940"/>
                    <a:gd name="connsiteX2" fmla="*/ 872 w 4110"/>
                    <a:gd name="connsiteY2" fmla="*/ 16192 h 51940"/>
                    <a:gd name="connsiteX3" fmla="*/ 4110 w 4110"/>
                    <a:gd name="connsiteY3" fmla="*/ 0 h 51940"/>
                  </a:gdLst>
                  <a:ahLst/>
                  <a:cxnLst>
                    <a:cxn ang="0">
                      <a:pos x="connsiteX0" y="connsiteY0"/>
                    </a:cxn>
                    <a:cxn ang="0">
                      <a:pos x="connsiteX1" y="connsiteY1"/>
                    </a:cxn>
                    <a:cxn ang="0">
                      <a:pos x="connsiteX2" y="connsiteY2"/>
                    </a:cxn>
                    <a:cxn ang="0">
                      <a:pos x="connsiteX3" y="connsiteY3"/>
                    </a:cxn>
                  </a:cxnLst>
                  <a:rect l="l" t="t" r="r" b="b"/>
                  <a:pathLst>
                    <a:path w="4110" h="51940">
                      <a:moveTo>
                        <a:pt x="0" y="51941"/>
                      </a:moveTo>
                      <a:cubicBezTo>
                        <a:pt x="2989" y="44093"/>
                        <a:pt x="3363" y="37741"/>
                        <a:pt x="3239" y="33381"/>
                      </a:cubicBezTo>
                      <a:cubicBezTo>
                        <a:pt x="2865" y="26406"/>
                        <a:pt x="996" y="23168"/>
                        <a:pt x="872" y="16192"/>
                      </a:cubicBezTo>
                      <a:cubicBezTo>
                        <a:pt x="872" y="9342"/>
                        <a:pt x="2616" y="3612"/>
                        <a:pt x="41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7" name="Freeform 8044">
                  <a:extLst>
                    <a:ext uri="{FF2B5EF4-FFF2-40B4-BE49-F238E27FC236}">
                      <a16:creationId xmlns:a16="http://schemas.microsoft.com/office/drawing/2014/main" id="{C0507296-BE3C-93C5-6D40-E82D800B8BB7}"/>
                    </a:ext>
                  </a:extLst>
                </p:cNvPr>
                <p:cNvSpPr/>
                <p:nvPr/>
              </p:nvSpPr>
              <p:spPr>
                <a:xfrm>
                  <a:off x="5222439" y="1911162"/>
                  <a:ext cx="5652" cy="52065"/>
                </a:xfrm>
                <a:custGeom>
                  <a:avLst/>
                  <a:gdLst>
                    <a:gd name="connsiteX0" fmla="*/ 4249 w 5652"/>
                    <a:gd name="connsiteY0" fmla="*/ 0 h 52065"/>
                    <a:gd name="connsiteX1" fmla="*/ 4997 w 5652"/>
                    <a:gd name="connsiteY1" fmla="*/ 18808 h 52065"/>
                    <a:gd name="connsiteX2" fmla="*/ 388 w 5652"/>
                    <a:gd name="connsiteY2" fmla="*/ 35624 h 52065"/>
                    <a:gd name="connsiteX3" fmla="*/ 1509 w 56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2" h="52065">
                      <a:moveTo>
                        <a:pt x="4249" y="0"/>
                      </a:moveTo>
                      <a:cubicBezTo>
                        <a:pt x="6242" y="8221"/>
                        <a:pt x="5744" y="14449"/>
                        <a:pt x="4997" y="18808"/>
                      </a:cubicBezTo>
                      <a:cubicBezTo>
                        <a:pt x="3751" y="25659"/>
                        <a:pt x="1385" y="28648"/>
                        <a:pt x="388" y="35624"/>
                      </a:cubicBezTo>
                      <a:cubicBezTo>
                        <a:pt x="-608" y="42474"/>
                        <a:pt x="513" y="48328"/>
                        <a:pt x="15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8" name="Freeform 8045">
                  <a:extLst>
                    <a:ext uri="{FF2B5EF4-FFF2-40B4-BE49-F238E27FC236}">
                      <a16:creationId xmlns:a16="http://schemas.microsoft.com/office/drawing/2014/main" id="{36044AD4-8F29-62F0-0EDD-4F31B1F978F0}"/>
                    </a:ext>
                  </a:extLst>
                </p:cNvPr>
                <p:cNvSpPr/>
                <p:nvPr/>
              </p:nvSpPr>
              <p:spPr>
                <a:xfrm>
                  <a:off x="5213953" y="1952124"/>
                  <a:ext cx="26716" cy="26566"/>
                </a:xfrm>
                <a:custGeom>
                  <a:avLst/>
                  <a:gdLst>
                    <a:gd name="connsiteX0" fmla="*/ 31 w 26716"/>
                    <a:gd name="connsiteY0" fmla="*/ 12474 h 26566"/>
                    <a:gd name="connsiteX1" fmla="*/ 14230 w 26716"/>
                    <a:gd name="connsiteY1" fmla="*/ 18 h 26566"/>
                    <a:gd name="connsiteX2" fmla="*/ 26686 w 26716"/>
                    <a:gd name="connsiteY2" fmla="*/ 14093 h 26566"/>
                    <a:gd name="connsiteX3" fmla="*/ 12487 w 26716"/>
                    <a:gd name="connsiteY3" fmla="*/ 26549 h 26566"/>
                    <a:gd name="connsiteX4" fmla="*/ 31 w 26716"/>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66">
                      <a:moveTo>
                        <a:pt x="31" y="12474"/>
                      </a:moveTo>
                      <a:cubicBezTo>
                        <a:pt x="529" y="5125"/>
                        <a:pt x="6881" y="-356"/>
                        <a:pt x="14230" y="18"/>
                      </a:cubicBezTo>
                      <a:cubicBezTo>
                        <a:pt x="21579" y="516"/>
                        <a:pt x="27184" y="6744"/>
                        <a:pt x="26686" y="14093"/>
                      </a:cubicBezTo>
                      <a:cubicBezTo>
                        <a:pt x="26188" y="21442"/>
                        <a:pt x="19835" y="26922"/>
                        <a:pt x="12487" y="26549"/>
                      </a:cubicBezTo>
                      <a:cubicBezTo>
                        <a:pt x="5138" y="26051"/>
                        <a:pt x="-468"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9" name="Freeform 8046">
                  <a:extLst>
                    <a:ext uri="{FF2B5EF4-FFF2-40B4-BE49-F238E27FC236}">
                      <a16:creationId xmlns:a16="http://schemas.microsoft.com/office/drawing/2014/main" id="{B0DEDA04-71EB-CF21-18E7-98E3EA693255}"/>
                    </a:ext>
                  </a:extLst>
                </p:cNvPr>
                <p:cNvSpPr/>
                <p:nvPr/>
              </p:nvSpPr>
              <p:spPr>
                <a:xfrm>
                  <a:off x="5227062" y="1850129"/>
                  <a:ext cx="4234" cy="51940"/>
                </a:xfrm>
                <a:custGeom>
                  <a:avLst/>
                  <a:gdLst>
                    <a:gd name="connsiteX0" fmla="*/ 4235 w 4234"/>
                    <a:gd name="connsiteY0" fmla="*/ 0 h 51940"/>
                    <a:gd name="connsiteX1" fmla="*/ 997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872" y="14200"/>
                        <a:pt x="997" y="18559"/>
                      </a:cubicBezTo>
                      <a:cubicBezTo>
                        <a:pt x="1370"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0" name="Freeform 8047">
                  <a:extLst>
                    <a:ext uri="{FF2B5EF4-FFF2-40B4-BE49-F238E27FC236}">
                      <a16:creationId xmlns:a16="http://schemas.microsoft.com/office/drawing/2014/main" id="{2EEC7C16-A343-F144-885B-588C9D76A9EB}"/>
                    </a:ext>
                  </a:extLst>
                </p:cNvPr>
                <p:cNvSpPr/>
                <p:nvPr/>
              </p:nvSpPr>
              <p:spPr>
                <a:xfrm>
                  <a:off x="5234503" y="1845521"/>
                  <a:ext cx="5528" cy="52065"/>
                </a:xfrm>
                <a:custGeom>
                  <a:avLst/>
                  <a:gdLst>
                    <a:gd name="connsiteX0" fmla="*/ 1403 w 5528"/>
                    <a:gd name="connsiteY0" fmla="*/ 52065 h 52065"/>
                    <a:gd name="connsiteX1" fmla="*/ 656 w 5528"/>
                    <a:gd name="connsiteY1" fmla="*/ 33257 h 52065"/>
                    <a:gd name="connsiteX2" fmla="*/ 5140 w 5528"/>
                    <a:gd name="connsiteY2" fmla="*/ 16442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8" y="23417"/>
                        <a:pt x="5140" y="16442"/>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61" name="Freeform 8048">
                  <a:extLst>
                    <a:ext uri="{FF2B5EF4-FFF2-40B4-BE49-F238E27FC236}">
                      <a16:creationId xmlns:a16="http://schemas.microsoft.com/office/drawing/2014/main" id="{21C8531B-8334-93B2-2E25-DA5AEE6BACD7}"/>
                    </a:ext>
                  </a:extLst>
                </p:cNvPr>
                <p:cNvSpPr/>
                <p:nvPr/>
              </p:nvSpPr>
              <p:spPr>
                <a:xfrm>
                  <a:off x="5222049" y="1830057"/>
                  <a:ext cx="26469" cy="26442"/>
                </a:xfrm>
                <a:custGeom>
                  <a:avLst/>
                  <a:gdLst>
                    <a:gd name="connsiteX0" fmla="*/ 26438 w 26469"/>
                    <a:gd name="connsiteY0" fmla="*/ 13968 h 26442"/>
                    <a:gd name="connsiteX1" fmla="*/ 12363 w 26469"/>
                    <a:gd name="connsiteY1" fmla="*/ 26424 h 26442"/>
                    <a:gd name="connsiteX2" fmla="*/ 31 w 26469"/>
                    <a:gd name="connsiteY2" fmla="*/ 12474 h 26442"/>
                    <a:gd name="connsiteX3" fmla="*/ 14107 w 26469"/>
                    <a:gd name="connsiteY3" fmla="*/ 18 h 26442"/>
                    <a:gd name="connsiteX4" fmla="*/ 26438 w 26469"/>
                    <a:gd name="connsiteY4" fmla="*/ 13968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442">
                      <a:moveTo>
                        <a:pt x="26438" y="13968"/>
                      </a:moveTo>
                      <a:cubicBezTo>
                        <a:pt x="25939" y="21317"/>
                        <a:pt x="19711" y="26798"/>
                        <a:pt x="12363" y="26424"/>
                      </a:cubicBezTo>
                      <a:cubicBezTo>
                        <a:pt x="5014" y="26051"/>
                        <a:pt x="-467" y="19698"/>
                        <a:pt x="31" y="12474"/>
                      </a:cubicBezTo>
                      <a:cubicBezTo>
                        <a:pt x="530" y="5125"/>
                        <a:pt x="6758" y="-356"/>
                        <a:pt x="14107" y="18"/>
                      </a:cubicBezTo>
                      <a:cubicBezTo>
                        <a:pt x="21455" y="392"/>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7" name="Graphic 2987">
                <a:extLst>
                  <a:ext uri="{FF2B5EF4-FFF2-40B4-BE49-F238E27FC236}">
                    <a16:creationId xmlns:a16="http://schemas.microsoft.com/office/drawing/2014/main" id="{621D0803-58C4-DCDC-60EB-C93F567B1D7F}"/>
                  </a:ext>
                </a:extLst>
              </p:cNvPr>
              <p:cNvGrpSpPr/>
              <p:nvPr/>
            </p:nvGrpSpPr>
            <p:grpSpPr>
              <a:xfrm>
                <a:off x="5184184" y="1828314"/>
                <a:ext cx="34937" cy="148632"/>
                <a:chOff x="5184184" y="1828314"/>
                <a:chExt cx="34937" cy="148632"/>
              </a:xfrm>
              <a:grpFill/>
            </p:grpSpPr>
            <p:sp>
              <p:nvSpPr>
                <p:cNvPr id="6150" name="Freeform 8050">
                  <a:extLst>
                    <a:ext uri="{FF2B5EF4-FFF2-40B4-BE49-F238E27FC236}">
                      <a16:creationId xmlns:a16="http://schemas.microsoft.com/office/drawing/2014/main" id="{72ADE773-5460-2155-2BAD-9BE9865FC3A9}"/>
                    </a:ext>
                  </a:extLst>
                </p:cNvPr>
                <p:cNvSpPr/>
                <p:nvPr/>
              </p:nvSpPr>
              <p:spPr>
                <a:xfrm>
                  <a:off x="5201652" y="1904935"/>
                  <a:ext cx="4235" cy="51940"/>
                </a:xfrm>
                <a:custGeom>
                  <a:avLst/>
                  <a:gdLst>
                    <a:gd name="connsiteX0" fmla="*/ 0 w 4235"/>
                    <a:gd name="connsiteY0" fmla="*/ 51941 h 51940"/>
                    <a:gd name="connsiteX1" fmla="*/ 3239 w 4235"/>
                    <a:gd name="connsiteY1" fmla="*/ 33381 h 51940"/>
                    <a:gd name="connsiteX2" fmla="*/ 997 w 4235"/>
                    <a:gd name="connsiteY2" fmla="*/ 16192 h 51940"/>
                    <a:gd name="connsiteX3" fmla="*/ 4235 w 4235"/>
                    <a:gd name="connsiteY3" fmla="*/ 0 h 51940"/>
                  </a:gdLst>
                  <a:ahLst/>
                  <a:cxnLst>
                    <a:cxn ang="0">
                      <a:pos x="connsiteX0" y="connsiteY0"/>
                    </a:cxn>
                    <a:cxn ang="0">
                      <a:pos x="connsiteX1" y="connsiteY1"/>
                    </a:cxn>
                    <a:cxn ang="0">
                      <a:pos x="connsiteX2" y="connsiteY2"/>
                    </a:cxn>
                    <a:cxn ang="0">
                      <a:pos x="connsiteX3" y="connsiteY3"/>
                    </a:cxn>
                  </a:cxnLst>
                  <a:rect l="l" t="t" r="r" b="b"/>
                  <a:pathLst>
                    <a:path w="4235" h="51940">
                      <a:moveTo>
                        <a:pt x="0" y="51941"/>
                      </a:moveTo>
                      <a:cubicBezTo>
                        <a:pt x="2990" y="44093"/>
                        <a:pt x="3488" y="37741"/>
                        <a:pt x="3239" y="33381"/>
                      </a:cubicBezTo>
                      <a:cubicBezTo>
                        <a:pt x="2990" y="26406"/>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1" name="Freeform 8051">
                  <a:extLst>
                    <a:ext uri="{FF2B5EF4-FFF2-40B4-BE49-F238E27FC236}">
                      <a16:creationId xmlns:a16="http://schemas.microsoft.com/office/drawing/2014/main" id="{938BE540-EA15-7BBF-9425-D63B4C6BB98A}"/>
                    </a:ext>
                  </a:extLst>
                </p:cNvPr>
                <p:cNvSpPr/>
                <p:nvPr/>
              </p:nvSpPr>
              <p:spPr>
                <a:xfrm>
                  <a:off x="5192894" y="1909419"/>
                  <a:ext cx="5633" cy="52065"/>
                </a:xfrm>
                <a:custGeom>
                  <a:avLst/>
                  <a:gdLst>
                    <a:gd name="connsiteX0" fmla="*/ 4274 w 5633"/>
                    <a:gd name="connsiteY0" fmla="*/ 0 h 52065"/>
                    <a:gd name="connsiteX1" fmla="*/ 5021 w 5633"/>
                    <a:gd name="connsiteY1" fmla="*/ 18808 h 52065"/>
                    <a:gd name="connsiteX2" fmla="*/ 413 w 5633"/>
                    <a:gd name="connsiteY2" fmla="*/ 35624 h 52065"/>
                    <a:gd name="connsiteX3" fmla="*/ 1409 w 563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33" h="52065">
                      <a:moveTo>
                        <a:pt x="4274" y="0"/>
                      </a:moveTo>
                      <a:cubicBezTo>
                        <a:pt x="6142" y="8221"/>
                        <a:pt x="5769" y="14449"/>
                        <a:pt x="5021" y="18808"/>
                      </a:cubicBezTo>
                      <a:cubicBezTo>
                        <a:pt x="3776" y="25659"/>
                        <a:pt x="1409" y="28648"/>
                        <a:pt x="413" y="35624"/>
                      </a:cubicBezTo>
                      <a:cubicBezTo>
                        <a:pt x="-584"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2" name="Freeform 8052">
                  <a:extLst>
                    <a:ext uri="{FF2B5EF4-FFF2-40B4-BE49-F238E27FC236}">
                      <a16:creationId xmlns:a16="http://schemas.microsoft.com/office/drawing/2014/main" id="{269A2B60-DF1F-BC47-F93B-87F83C15E5BA}"/>
                    </a:ext>
                  </a:extLst>
                </p:cNvPr>
                <p:cNvSpPr/>
                <p:nvPr/>
              </p:nvSpPr>
              <p:spPr>
                <a:xfrm>
                  <a:off x="5184184" y="1950380"/>
                  <a:ext cx="26717" cy="26566"/>
                </a:xfrm>
                <a:custGeom>
                  <a:avLst/>
                  <a:gdLst>
                    <a:gd name="connsiteX0" fmla="*/ 31 w 26717"/>
                    <a:gd name="connsiteY0" fmla="*/ 12474 h 26566"/>
                    <a:gd name="connsiteX1" fmla="*/ 14231 w 26717"/>
                    <a:gd name="connsiteY1" fmla="*/ 18 h 26566"/>
                    <a:gd name="connsiteX2" fmla="*/ 26686 w 26717"/>
                    <a:gd name="connsiteY2" fmla="*/ 14093 h 26566"/>
                    <a:gd name="connsiteX3" fmla="*/ 12487 w 26717"/>
                    <a:gd name="connsiteY3" fmla="*/ 26549 h 26566"/>
                    <a:gd name="connsiteX4" fmla="*/ 31 w 26717"/>
                    <a:gd name="connsiteY4" fmla="*/ 12474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66">
                      <a:moveTo>
                        <a:pt x="31" y="12474"/>
                      </a:moveTo>
                      <a:cubicBezTo>
                        <a:pt x="529" y="5125"/>
                        <a:pt x="6882" y="-356"/>
                        <a:pt x="14231" y="18"/>
                      </a:cubicBezTo>
                      <a:cubicBezTo>
                        <a:pt x="21579" y="516"/>
                        <a:pt x="27185" y="6744"/>
                        <a:pt x="26686" y="14093"/>
                      </a:cubicBezTo>
                      <a:cubicBezTo>
                        <a:pt x="26188" y="21442"/>
                        <a:pt x="19835" y="26922"/>
                        <a:pt x="12487" y="26549"/>
                      </a:cubicBezTo>
                      <a:cubicBezTo>
                        <a:pt x="5138" y="26051"/>
                        <a:pt x="-467" y="19823"/>
                        <a:pt x="31"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3" name="Freeform 8053">
                  <a:extLst>
                    <a:ext uri="{FF2B5EF4-FFF2-40B4-BE49-F238E27FC236}">
                      <a16:creationId xmlns:a16="http://schemas.microsoft.com/office/drawing/2014/main" id="{3FDBFB2D-3613-7B67-FFD9-4AF2381A6018}"/>
                    </a:ext>
                  </a:extLst>
                </p:cNvPr>
                <p:cNvSpPr/>
                <p:nvPr/>
              </p:nvSpPr>
              <p:spPr>
                <a:xfrm>
                  <a:off x="5197542" y="1848385"/>
                  <a:ext cx="4234" cy="51940"/>
                </a:xfrm>
                <a:custGeom>
                  <a:avLst/>
                  <a:gdLst>
                    <a:gd name="connsiteX0" fmla="*/ 4235 w 4234"/>
                    <a:gd name="connsiteY0" fmla="*/ 0 h 51940"/>
                    <a:gd name="connsiteX1" fmla="*/ 996 w 4234"/>
                    <a:gd name="connsiteY1" fmla="*/ 18559 h 51940"/>
                    <a:gd name="connsiteX2" fmla="*/ 3239 w 4234"/>
                    <a:gd name="connsiteY2" fmla="*/ 35748 h 51940"/>
                    <a:gd name="connsiteX3" fmla="*/ 0 w 423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234" h="51940">
                      <a:moveTo>
                        <a:pt x="4235" y="0"/>
                      </a:moveTo>
                      <a:cubicBezTo>
                        <a:pt x="1246" y="7847"/>
                        <a:pt x="747" y="14200"/>
                        <a:pt x="996" y="18559"/>
                      </a:cubicBezTo>
                      <a:cubicBezTo>
                        <a:pt x="1246" y="25534"/>
                        <a:pt x="3239" y="28648"/>
                        <a:pt x="3239" y="35748"/>
                      </a:cubicBezTo>
                      <a:cubicBezTo>
                        <a:pt x="3239" y="42599"/>
                        <a:pt x="1495"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4" name="Freeform 8054">
                  <a:extLst>
                    <a:ext uri="{FF2B5EF4-FFF2-40B4-BE49-F238E27FC236}">
                      <a16:creationId xmlns:a16="http://schemas.microsoft.com/office/drawing/2014/main" id="{F63BDD38-F87B-78F5-E503-75C34A86A55C}"/>
                    </a:ext>
                  </a:extLst>
                </p:cNvPr>
                <p:cNvSpPr/>
                <p:nvPr/>
              </p:nvSpPr>
              <p:spPr>
                <a:xfrm>
                  <a:off x="5204858" y="1843777"/>
                  <a:ext cx="5677" cy="52065"/>
                </a:xfrm>
                <a:custGeom>
                  <a:avLst/>
                  <a:gdLst>
                    <a:gd name="connsiteX0" fmla="*/ 1404 w 5677"/>
                    <a:gd name="connsiteY0" fmla="*/ 52065 h 52065"/>
                    <a:gd name="connsiteX1" fmla="*/ 656 w 5677"/>
                    <a:gd name="connsiteY1" fmla="*/ 33257 h 52065"/>
                    <a:gd name="connsiteX2" fmla="*/ 5265 w 5677"/>
                    <a:gd name="connsiteY2" fmla="*/ 16442 h 52065"/>
                    <a:gd name="connsiteX3" fmla="*/ 4268 w 5677"/>
                    <a:gd name="connsiteY3" fmla="*/ 0 h 52065"/>
                  </a:gdLst>
                  <a:ahLst/>
                  <a:cxnLst>
                    <a:cxn ang="0">
                      <a:pos x="connsiteX0" y="connsiteY0"/>
                    </a:cxn>
                    <a:cxn ang="0">
                      <a:pos x="connsiteX1" y="connsiteY1"/>
                    </a:cxn>
                    <a:cxn ang="0">
                      <a:pos x="connsiteX2" y="connsiteY2"/>
                    </a:cxn>
                    <a:cxn ang="0">
                      <a:pos x="connsiteX3" y="connsiteY3"/>
                    </a:cxn>
                  </a:cxnLst>
                  <a:rect l="l" t="t" r="r" b="b"/>
                  <a:pathLst>
                    <a:path w="5677" h="52065">
                      <a:moveTo>
                        <a:pt x="1404" y="52065"/>
                      </a:moveTo>
                      <a:cubicBezTo>
                        <a:pt x="-589" y="43844"/>
                        <a:pt x="-91" y="37616"/>
                        <a:pt x="656" y="33257"/>
                      </a:cubicBezTo>
                      <a:cubicBezTo>
                        <a:pt x="1902" y="26406"/>
                        <a:pt x="4268" y="23417"/>
                        <a:pt x="5265" y="16442"/>
                      </a:cubicBezTo>
                      <a:cubicBezTo>
                        <a:pt x="6261" y="9591"/>
                        <a:pt x="5265" y="3737"/>
                        <a:pt x="42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55" name="Freeform 8055">
                  <a:extLst>
                    <a:ext uri="{FF2B5EF4-FFF2-40B4-BE49-F238E27FC236}">
                      <a16:creationId xmlns:a16="http://schemas.microsoft.com/office/drawing/2014/main" id="{7DA36E07-275F-7B19-61FE-93E95BB6AC80}"/>
                    </a:ext>
                  </a:extLst>
                </p:cNvPr>
                <p:cNvSpPr/>
                <p:nvPr/>
              </p:nvSpPr>
              <p:spPr>
                <a:xfrm>
                  <a:off x="5192653" y="1828314"/>
                  <a:ext cx="26468" cy="26441"/>
                </a:xfrm>
                <a:custGeom>
                  <a:avLst/>
                  <a:gdLst>
                    <a:gd name="connsiteX0" fmla="*/ 26438 w 26468"/>
                    <a:gd name="connsiteY0" fmla="*/ 13968 h 26441"/>
                    <a:gd name="connsiteX1" fmla="*/ 12363 w 26468"/>
                    <a:gd name="connsiteY1" fmla="*/ 26424 h 26441"/>
                    <a:gd name="connsiteX2" fmla="*/ 31 w 26468"/>
                    <a:gd name="connsiteY2" fmla="*/ 12473 h 26441"/>
                    <a:gd name="connsiteX3" fmla="*/ 14106 w 26468"/>
                    <a:gd name="connsiteY3" fmla="*/ 18 h 26441"/>
                    <a:gd name="connsiteX4" fmla="*/ 26438 w 26468"/>
                    <a:gd name="connsiteY4" fmla="*/ 139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 h="26441">
                      <a:moveTo>
                        <a:pt x="26438" y="13968"/>
                      </a:moveTo>
                      <a:cubicBezTo>
                        <a:pt x="25939" y="21317"/>
                        <a:pt x="19587" y="26798"/>
                        <a:pt x="12363" y="26424"/>
                      </a:cubicBezTo>
                      <a:cubicBezTo>
                        <a:pt x="5014" y="26050"/>
                        <a:pt x="-467" y="19698"/>
                        <a:pt x="31" y="12473"/>
                      </a:cubicBezTo>
                      <a:cubicBezTo>
                        <a:pt x="529" y="5249"/>
                        <a:pt x="6882" y="-356"/>
                        <a:pt x="14106" y="18"/>
                      </a:cubicBezTo>
                      <a:cubicBezTo>
                        <a:pt x="21331" y="391"/>
                        <a:pt x="26936" y="6744"/>
                        <a:pt x="2643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8" name="Graphic 2987">
                <a:extLst>
                  <a:ext uri="{FF2B5EF4-FFF2-40B4-BE49-F238E27FC236}">
                    <a16:creationId xmlns:a16="http://schemas.microsoft.com/office/drawing/2014/main" id="{A697092F-0FE2-38A3-3D1A-7960531B95FA}"/>
                  </a:ext>
                </a:extLst>
              </p:cNvPr>
              <p:cNvGrpSpPr/>
              <p:nvPr/>
            </p:nvGrpSpPr>
            <p:grpSpPr>
              <a:xfrm>
                <a:off x="5154414" y="1826569"/>
                <a:ext cx="35188" cy="148509"/>
                <a:chOff x="5154414" y="1826569"/>
                <a:chExt cx="35188" cy="148509"/>
              </a:xfrm>
              <a:grpFill/>
            </p:grpSpPr>
            <p:sp>
              <p:nvSpPr>
                <p:cNvPr id="6144" name="Freeform 8057">
                  <a:extLst>
                    <a:ext uri="{FF2B5EF4-FFF2-40B4-BE49-F238E27FC236}">
                      <a16:creationId xmlns:a16="http://schemas.microsoft.com/office/drawing/2014/main" id="{AB4E1E18-6826-8931-915A-AA7B83E25D78}"/>
                    </a:ext>
                  </a:extLst>
                </p:cNvPr>
                <p:cNvSpPr/>
                <p:nvPr/>
              </p:nvSpPr>
              <p:spPr>
                <a:xfrm>
                  <a:off x="5171883" y="1903066"/>
                  <a:ext cx="4359" cy="51940"/>
                </a:xfrm>
                <a:custGeom>
                  <a:avLst/>
                  <a:gdLst>
                    <a:gd name="connsiteX0" fmla="*/ 0 w 4359"/>
                    <a:gd name="connsiteY0" fmla="*/ 51941 h 51940"/>
                    <a:gd name="connsiteX1" fmla="*/ 3239 w 4359"/>
                    <a:gd name="connsiteY1" fmla="*/ 33381 h 51940"/>
                    <a:gd name="connsiteX2" fmla="*/ 996 w 4359"/>
                    <a:gd name="connsiteY2" fmla="*/ 16192 h 51940"/>
                    <a:gd name="connsiteX3" fmla="*/ 4360 w 4359"/>
                    <a:gd name="connsiteY3" fmla="*/ 0 h 51940"/>
                  </a:gdLst>
                  <a:ahLst/>
                  <a:cxnLst>
                    <a:cxn ang="0">
                      <a:pos x="connsiteX0" y="connsiteY0"/>
                    </a:cxn>
                    <a:cxn ang="0">
                      <a:pos x="connsiteX1" y="connsiteY1"/>
                    </a:cxn>
                    <a:cxn ang="0">
                      <a:pos x="connsiteX2" y="connsiteY2"/>
                    </a:cxn>
                    <a:cxn ang="0">
                      <a:pos x="connsiteX3" y="connsiteY3"/>
                    </a:cxn>
                  </a:cxnLst>
                  <a:rect l="l" t="t" r="r" b="b"/>
                  <a:pathLst>
                    <a:path w="4359" h="51940">
                      <a:moveTo>
                        <a:pt x="0" y="51941"/>
                      </a:moveTo>
                      <a:cubicBezTo>
                        <a:pt x="3114" y="44093"/>
                        <a:pt x="3488" y="37741"/>
                        <a:pt x="3239" y="33381"/>
                      </a:cubicBezTo>
                      <a:cubicBezTo>
                        <a:pt x="2989" y="26406"/>
                        <a:pt x="996" y="23292"/>
                        <a:pt x="996" y="16192"/>
                      </a:cubicBezTo>
                      <a:cubicBezTo>
                        <a:pt x="996" y="9342"/>
                        <a:pt x="2740" y="3612"/>
                        <a:pt x="43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5" name="Freeform 8058">
                  <a:extLst>
                    <a:ext uri="{FF2B5EF4-FFF2-40B4-BE49-F238E27FC236}">
                      <a16:creationId xmlns:a16="http://schemas.microsoft.com/office/drawing/2014/main" id="{94EE390F-E1D6-BF69-BD11-9AB042A2A310}"/>
                    </a:ext>
                  </a:extLst>
                </p:cNvPr>
                <p:cNvSpPr/>
                <p:nvPr/>
              </p:nvSpPr>
              <p:spPr>
                <a:xfrm>
                  <a:off x="5163125" y="1907550"/>
                  <a:ext cx="5739" cy="52065"/>
                </a:xfrm>
                <a:custGeom>
                  <a:avLst/>
                  <a:gdLst>
                    <a:gd name="connsiteX0" fmla="*/ 4399 w 5739"/>
                    <a:gd name="connsiteY0" fmla="*/ 0 h 52065"/>
                    <a:gd name="connsiteX1" fmla="*/ 5022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0"/>
                      </a:moveTo>
                      <a:cubicBezTo>
                        <a:pt x="6267" y="8221"/>
                        <a:pt x="5893" y="14449"/>
                        <a:pt x="5022" y="18808"/>
                      </a:cubicBezTo>
                      <a:cubicBezTo>
                        <a:pt x="3776" y="25659"/>
                        <a:pt x="1409" y="28648"/>
                        <a:pt x="413" y="35624"/>
                      </a:cubicBezTo>
                      <a:cubicBezTo>
                        <a:pt x="-584" y="42474"/>
                        <a:pt x="413" y="48204"/>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6" name="Freeform 8059">
                  <a:extLst>
                    <a:ext uri="{FF2B5EF4-FFF2-40B4-BE49-F238E27FC236}">
                      <a16:creationId xmlns:a16="http://schemas.microsoft.com/office/drawing/2014/main" id="{29C46AB9-507E-91F3-AAAF-9A357F17B8E9}"/>
                    </a:ext>
                  </a:extLst>
                </p:cNvPr>
                <p:cNvSpPr/>
                <p:nvPr/>
              </p:nvSpPr>
              <p:spPr>
                <a:xfrm>
                  <a:off x="5154414" y="1948636"/>
                  <a:ext cx="26593" cy="26442"/>
                </a:xfrm>
                <a:custGeom>
                  <a:avLst/>
                  <a:gdLst>
                    <a:gd name="connsiteX0" fmla="*/ 31 w 26593"/>
                    <a:gd name="connsiteY0" fmla="*/ 12350 h 26442"/>
                    <a:gd name="connsiteX1" fmla="*/ 14231 w 26593"/>
                    <a:gd name="connsiteY1" fmla="*/ 18 h 26442"/>
                    <a:gd name="connsiteX2" fmla="*/ 26562 w 26593"/>
                    <a:gd name="connsiteY2" fmla="*/ 13969 h 26442"/>
                    <a:gd name="connsiteX3" fmla="*/ 12363 w 26593"/>
                    <a:gd name="connsiteY3" fmla="*/ 26425 h 26442"/>
                    <a:gd name="connsiteX4" fmla="*/ 31 w 26593"/>
                    <a:gd name="connsiteY4" fmla="*/ 1235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42">
                      <a:moveTo>
                        <a:pt x="31" y="12350"/>
                      </a:moveTo>
                      <a:cubicBezTo>
                        <a:pt x="529" y="5001"/>
                        <a:pt x="6882" y="-355"/>
                        <a:pt x="14231" y="18"/>
                      </a:cubicBezTo>
                      <a:cubicBezTo>
                        <a:pt x="21580" y="517"/>
                        <a:pt x="27060" y="6744"/>
                        <a:pt x="26562" y="13969"/>
                      </a:cubicBezTo>
                      <a:cubicBezTo>
                        <a:pt x="26064" y="21318"/>
                        <a:pt x="19711" y="26798"/>
                        <a:pt x="12363" y="26425"/>
                      </a:cubicBezTo>
                      <a:cubicBezTo>
                        <a:pt x="5014" y="26176"/>
                        <a:pt x="-467" y="19699"/>
                        <a:pt x="31" y="123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7" name="Freeform 8060">
                  <a:extLst>
                    <a:ext uri="{FF2B5EF4-FFF2-40B4-BE49-F238E27FC236}">
                      <a16:creationId xmlns:a16="http://schemas.microsoft.com/office/drawing/2014/main" id="{2DCC0968-6B59-2FEC-F6D5-64838B5B327C}"/>
                    </a:ext>
                  </a:extLst>
                </p:cNvPr>
                <p:cNvSpPr/>
                <p:nvPr/>
              </p:nvSpPr>
              <p:spPr>
                <a:xfrm>
                  <a:off x="5167897" y="1846642"/>
                  <a:ext cx="4359" cy="51940"/>
                </a:xfrm>
                <a:custGeom>
                  <a:avLst/>
                  <a:gdLst>
                    <a:gd name="connsiteX0" fmla="*/ 4360 w 4359"/>
                    <a:gd name="connsiteY0" fmla="*/ 0 h 51940"/>
                    <a:gd name="connsiteX1" fmla="*/ 1121 w 4359"/>
                    <a:gd name="connsiteY1" fmla="*/ 18559 h 51940"/>
                    <a:gd name="connsiteX2" fmla="*/ 3363 w 4359"/>
                    <a:gd name="connsiteY2" fmla="*/ 35748 h 51940"/>
                    <a:gd name="connsiteX3" fmla="*/ 0 w 435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359" h="51940">
                      <a:moveTo>
                        <a:pt x="4360" y="0"/>
                      </a:moveTo>
                      <a:cubicBezTo>
                        <a:pt x="1370" y="7847"/>
                        <a:pt x="872" y="14200"/>
                        <a:pt x="1121" y="18559"/>
                      </a:cubicBezTo>
                      <a:cubicBezTo>
                        <a:pt x="1370" y="25534"/>
                        <a:pt x="3363" y="28648"/>
                        <a:pt x="3363" y="35748"/>
                      </a:cubicBezTo>
                      <a:cubicBezTo>
                        <a:pt x="3363" y="42599"/>
                        <a:pt x="1619"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8" name="Freeform 8061">
                  <a:extLst>
                    <a:ext uri="{FF2B5EF4-FFF2-40B4-BE49-F238E27FC236}">
                      <a16:creationId xmlns:a16="http://schemas.microsoft.com/office/drawing/2014/main" id="{8967AFE7-6A37-B47B-E1BA-BE8F1864965C}"/>
                    </a:ext>
                  </a:extLst>
                </p:cNvPr>
                <p:cNvSpPr/>
                <p:nvPr/>
              </p:nvSpPr>
              <p:spPr>
                <a:xfrm>
                  <a:off x="5175400" y="1842033"/>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1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1" y="23417"/>
                        <a:pt x="5327" y="16442"/>
                      </a:cubicBezTo>
                      <a:cubicBezTo>
                        <a:pt x="6324" y="9591"/>
                        <a:pt x="5327" y="3861"/>
                        <a:pt x="4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9" name="Freeform 8062">
                  <a:extLst>
                    <a:ext uri="{FF2B5EF4-FFF2-40B4-BE49-F238E27FC236}">
                      <a16:creationId xmlns:a16="http://schemas.microsoft.com/office/drawing/2014/main" id="{6CE0DE3C-A412-4C7F-84C8-E8FD45987AFA}"/>
                    </a:ext>
                  </a:extLst>
                </p:cNvPr>
                <p:cNvSpPr/>
                <p:nvPr/>
              </p:nvSpPr>
              <p:spPr>
                <a:xfrm>
                  <a:off x="5163257" y="1826569"/>
                  <a:ext cx="26345" cy="26442"/>
                </a:xfrm>
                <a:custGeom>
                  <a:avLst/>
                  <a:gdLst>
                    <a:gd name="connsiteX0" fmla="*/ 26314 w 26345"/>
                    <a:gd name="connsiteY0" fmla="*/ 13969 h 26442"/>
                    <a:gd name="connsiteX1" fmla="*/ 12239 w 26345"/>
                    <a:gd name="connsiteY1" fmla="*/ 26425 h 26442"/>
                    <a:gd name="connsiteX2" fmla="*/ 32 w 26345"/>
                    <a:gd name="connsiteY2" fmla="*/ 12350 h 26442"/>
                    <a:gd name="connsiteX3" fmla="*/ 14107 w 26345"/>
                    <a:gd name="connsiteY3" fmla="*/ 18 h 26442"/>
                    <a:gd name="connsiteX4" fmla="*/ 26314 w 26345"/>
                    <a:gd name="connsiteY4" fmla="*/ 13969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2">
                      <a:moveTo>
                        <a:pt x="26314" y="13969"/>
                      </a:moveTo>
                      <a:cubicBezTo>
                        <a:pt x="25816" y="21318"/>
                        <a:pt x="19463" y="26798"/>
                        <a:pt x="12239" y="26425"/>
                      </a:cubicBezTo>
                      <a:cubicBezTo>
                        <a:pt x="4890" y="26051"/>
                        <a:pt x="-466" y="19574"/>
                        <a:pt x="32" y="12350"/>
                      </a:cubicBezTo>
                      <a:cubicBezTo>
                        <a:pt x="530" y="5001"/>
                        <a:pt x="6883" y="-355"/>
                        <a:pt x="14107" y="18"/>
                      </a:cubicBezTo>
                      <a:cubicBezTo>
                        <a:pt x="21331" y="392"/>
                        <a:pt x="26812" y="6745"/>
                        <a:pt x="26314" y="139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09" name="Graphic 2987">
                <a:extLst>
                  <a:ext uri="{FF2B5EF4-FFF2-40B4-BE49-F238E27FC236}">
                    <a16:creationId xmlns:a16="http://schemas.microsoft.com/office/drawing/2014/main" id="{7927014D-C0F7-9624-4990-BE35FADB7A0F}"/>
                  </a:ext>
                </a:extLst>
              </p:cNvPr>
              <p:cNvGrpSpPr/>
              <p:nvPr/>
            </p:nvGrpSpPr>
            <p:grpSpPr>
              <a:xfrm>
                <a:off x="5124753" y="1824296"/>
                <a:ext cx="35453" cy="148571"/>
                <a:chOff x="5124753" y="1824296"/>
                <a:chExt cx="35453" cy="148571"/>
              </a:xfrm>
              <a:grpFill/>
            </p:grpSpPr>
            <p:sp>
              <p:nvSpPr>
                <p:cNvPr id="6138" name="Freeform 8064">
                  <a:extLst>
                    <a:ext uri="{FF2B5EF4-FFF2-40B4-BE49-F238E27FC236}">
                      <a16:creationId xmlns:a16="http://schemas.microsoft.com/office/drawing/2014/main" id="{B9AD7E57-CDB5-93F1-8CDF-EFACA37C9325}"/>
                    </a:ext>
                  </a:extLst>
                </p:cNvPr>
                <p:cNvSpPr/>
                <p:nvPr/>
              </p:nvSpPr>
              <p:spPr>
                <a:xfrm>
                  <a:off x="5142239" y="1900949"/>
                  <a:ext cx="4608" cy="51940"/>
                </a:xfrm>
                <a:custGeom>
                  <a:avLst/>
                  <a:gdLst>
                    <a:gd name="connsiteX0" fmla="*/ 0 w 4608"/>
                    <a:gd name="connsiteY0" fmla="*/ 51941 h 51940"/>
                    <a:gd name="connsiteX1" fmla="*/ 3363 w 4608"/>
                    <a:gd name="connsiteY1" fmla="*/ 33506 h 51940"/>
                    <a:gd name="connsiteX2" fmla="*/ 1246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741"/>
                        <a:pt x="3363" y="33506"/>
                      </a:cubicBezTo>
                      <a:cubicBezTo>
                        <a:pt x="3114" y="26531"/>
                        <a:pt x="1121" y="23292"/>
                        <a:pt x="1246" y="16192"/>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9" name="Freeform 8065">
                  <a:extLst>
                    <a:ext uri="{FF2B5EF4-FFF2-40B4-BE49-F238E27FC236}">
                      <a16:creationId xmlns:a16="http://schemas.microsoft.com/office/drawing/2014/main" id="{13622BE0-4828-67F6-C72D-8DA6201B1517}"/>
                    </a:ext>
                  </a:extLst>
                </p:cNvPr>
                <p:cNvSpPr/>
                <p:nvPr/>
              </p:nvSpPr>
              <p:spPr>
                <a:xfrm>
                  <a:off x="5133356" y="1905184"/>
                  <a:ext cx="5816" cy="51940"/>
                </a:xfrm>
                <a:custGeom>
                  <a:avLst/>
                  <a:gdLst>
                    <a:gd name="connsiteX0" fmla="*/ 4523 w 5816"/>
                    <a:gd name="connsiteY0" fmla="*/ 0 h 51940"/>
                    <a:gd name="connsiteX1" fmla="*/ 5146 w 5816"/>
                    <a:gd name="connsiteY1" fmla="*/ 18808 h 51940"/>
                    <a:gd name="connsiteX2" fmla="*/ 413 w 5816"/>
                    <a:gd name="connsiteY2" fmla="*/ 35499 h 51940"/>
                    <a:gd name="connsiteX3" fmla="*/ 1409 w 581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816" h="51940">
                      <a:moveTo>
                        <a:pt x="4523" y="0"/>
                      </a:moveTo>
                      <a:cubicBezTo>
                        <a:pt x="6392" y="8221"/>
                        <a:pt x="5893" y="14573"/>
                        <a:pt x="5146" y="18808"/>
                      </a:cubicBezTo>
                      <a:cubicBezTo>
                        <a:pt x="3900" y="25659"/>
                        <a:pt x="1534" y="28524"/>
                        <a:pt x="413" y="35499"/>
                      </a:cubicBezTo>
                      <a:cubicBezTo>
                        <a:pt x="-584" y="42350"/>
                        <a:pt x="413" y="48204"/>
                        <a:pt x="14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0" name="Freeform 8066">
                  <a:extLst>
                    <a:ext uri="{FF2B5EF4-FFF2-40B4-BE49-F238E27FC236}">
                      <a16:creationId xmlns:a16="http://schemas.microsoft.com/office/drawing/2014/main" id="{90057F30-E6D3-6B4F-4583-E69E6FEF74B7}"/>
                    </a:ext>
                  </a:extLst>
                </p:cNvPr>
                <p:cNvSpPr/>
                <p:nvPr/>
              </p:nvSpPr>
              <p:spPr>
                <a:xfrm>
                  <a:off x="5124753" y="1946363"/>
                  <a:ext cx="26733" cy="26504"/>
                </a:xfrm>
                <a:custGeom>
                  <a:avLst/>
                  <a:gdLst>
                    <a:gd name="connsiteX0" fmla="*/ 47 w 26733"/>
                    <a:gd name="connsiteY0" fmla="*/ 12131 h 26504"/>
                    <a:gd name="connsiteX1" fmla="*/ 14371 w 26733"/>
                    <a:gd name="connsiteY1" fmla="*/ 49 h 26504"/>
                    <a:gd name="connsiteX2" fmla="*/ 26702 w 26733"/>
                    <a:gd name="connsiteY2" fmla="*/ 14373 h 26504"/>
                    <a:gd name="connsiteX3" fmla="*/ 12378 w 26733"/>
                    <a:gd name="connsiteY3" fmla="*/ 26455 h 26504"/>
                    <a:gd name="connsiteX4" fmla="*/ 47 w 2673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504">
                      <a:moveTo>
                        <a:pt x="47" y="12131"/>
                      </a:moveTo>
                      <a:cubicBezTo>
                        <a:pt x="546" y="4782"/>
                        <a:pt x="7022" y="-574"/>
                        <a:pt x="14371" y="49"/>
                      </a:cubicBezTo>
                      <a:cubicBezTo>
                        <a:pt x="21720" y="672"/>
                        <a:pt x="27201" y="7024"/>
                        <a:pt x="26702" y="14373"/>
                      </a:cubicBezTo>
                      <a:cubicBezTo>
                        <a:pt x="26204" y="21722"/>
                        <a:pt x="19852" y="27078"/>
                        <a:pt x="12378" y="26455"/>
                      </a:cubicBezTo>
                      <a:cubicBezTo>
                        <a:pt x="5029" y="25833"/>
                        <a:pt x="-575" y="19480"/>
                        <a:pt x="47"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1" name="Freeform 8067">
                  <a:extLst>
                    <a:ext uri="{FF2B5EF4-FFF2-40B4-BE49-F238E27FC236}">
                      <a16:creationId xmlns:a16="http://schemas.microsoft.com/office/drawing/2014/main" id="{1DCCAF8A-74EC-628E-2648-F4072FCA416B}"/>
                    </a:ext>
                  </a:extLst>
                </p:cNvPr>
                <p:cNvSpPr/>
                <p:nvPr/>
              </p:nvSpPr>
              <p:spPr>
                <a:xfrm>
                  <a:off x="5138253" y="1844275"/>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2" name="Freeform 8068">
                  <a:extLst>
                    <a:ext uri="{FF2B5EF4-FFF2-40B4-BE49-F238E27FC236}">
                      <a16:creationId xmlns:a16="http://schemas.microsoft.com/office/drawing/2014/main" id="{C8A8AE2D-080A-3055-EC50-D070E84A5064}"/>
                    </a:ext>
                  </a:extLst>
                </p:cNvPr>
                <p:cNvSpPr/>
                <p:nvPr/>
              </p:nvSpPr>
              <p:spPr>
                <a:xfrm>
                  <a:off x="5145803" y="1839915"/>
                  <a:ext cx="5691" cy="52065"/>
                </a:xfrm>
                <a:custGeom>
                  <a:avLst/>
                  <a:gdLst>
                    <a:gd name="connsiteX0" fmla="*/ 1293 w 5691"/>
                    <a:gd name="connsiteY0" fmla="*/ 52065 h 52065"/>
                    <a:gd name="connsiteX1" fmla="*/ 670 w 5691"/>
                    <a:gd name="connsiteY1" fmla="*/ 33257 h 52065"/>
                    <a:gd name="connsiteX2" fmla="*/ 5279 w 5691"/>
                    <a:gd name="connsiteY2" fmla="*/ 16442 h 52065"/>
                    <a:gd name="connsiteX3" fmla="*/ 4282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52065"/>
                      </a:moveTo>
                      <a:cubicBezTo>
                        <a:pt x="-576" y="43844"/>
                        <a:pt x="-77" y="37492"/>
                        <a:pt x="670" y="33257"/>
                      </a:cubicBezTo>
                      <a:cubicBezTo>
                        <a:pt x="1916" y="26406"/>
                        <a:pt x="4282" y="23541"/>
                        <a:pt x="5279" y="16442"/>
                      </a:cubicBezTo>
                      <a:cubicBezTo>
                        <a:pt x="6275" y="9591"/>
                        <a:pt x="5279" y="3737"/>
                        <a:pt x="42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43" name="Freeform 8069">
                  <a:extLst>
                    <a:ext uri="{FF2B5EF4-FFF2-40B4-BE49-F238E27FC236}">
                      <a16:creationId xmlns:a16="http://schemas.microsoft.com/office/drawing/2014/main" id="{4A9C0C0F-CC64-BF97-6D1D-89A1FF8A3BFE}"/>
                    </a:ext>
                  </a:extLst>
                </p:cNvPr>
                <p:cNvSpPr/>
                <p:nvPr/>
              </p:nvSpPr>
              <p:spPr>
                <a:xfrm>
                  <a:off x="5133862" y="1824296"/>
                  <a:ext cx="26344" cy="26504"/>
                </a:xfrm>
                <a:custGeom>
                  <a:avLst/>
                  <a:gdLst>
                    <a:gd name="connsiteX0" fmla="*/ 26313 w 26344"/>
                    <a:gd name="connsiteY0" fmla="*/ 14373 h 26504"/>
                    <a:gd name="connsiteX1" fmla="*/ 12238 w 26344"/>
                    <a:gd name="connsiteY1" fmla="*/ 26455 h 26504"/>
                    <a:gd name="connsiteX2" fmla="*/ 31 w 26344"/>
                    <a:gd name="connsiteY2" fmla="*/ 12131 h 26504"/>
                    <a:gd name="connsiteX3" fmla="*/ 14106 w 26344"/>
                    <a:gd name="connsiteY3" fmla="*/ 49 h 26504"/>
                    <a:gd name="connsiteX4" fmla="*/ 26313 w 26344"/>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04">
                      <a:moveTo>
                        <a:pt x="26313" y="14373"/>
                      </a:moveTo>
                      <a:cubicBezTo>
                        <a:pt x="25815" y="21722"/>
                        <a:pt x="19462" y="27078"/>
                        <a:pt x="12238" y="26455"/>
                      </a:cubicBezTo>
                      <a:cubicBezTo>
                        <a:pt x="5014" y="25833"/>
                        <a:pt x="-467" y="19480"/>
                        <a:pt x="31" y="12131"/>
                      </a:cubicBezTo>
                      <a:cubicBezTo>
                        <a:pt x="529" y="4782"/>
                        <a:pt x="6882" y="-574"/>
                        <a:pt x="14106" y="49"/>
                      </a:cubicBezTo>
                      <a:cubicBezTo>
                        <a:pt x="21331" y="672"/>
                        <a:pt x="26811" y="7024"/>
                        <a:pt x="26313"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0" name="Graphic 2987">
                <a:extLst>
                  <a:ext uri="{FF2B5EF4-FFF2-40B4-BE49-F238E27FC236}">
                    <a16:creationId xmlns:a16="http://schemas.microsoft.com/office/drawing/2014/main" id="{09A45663-E3C7-9A1C-E59D-16089C6C6EFC}"/>
                  </a:ext>
                </a:extLst>
              </p:cNvPr>
              <p:cNvGrpSpPr/>
              <p:nvPr/>
            </p:nvGrpSpPr>
            <p:grpSpPr>
              <a:xfrm>
                <a:off x="5095000" y="1821805"/>
                <a:ext cx="35811" cy="148571"/>
                <a:chOff x="5095000" y="1821805"/>
                <a:chExt cx="35811" cy="148571"/>
              </a:xfrm>
              <a:grpFill/>
            </p:grpSpPr>
            <p:sp>
              <p:nvSpPr>
                <p:cNvPr id="6132" name="Freeform 8071">
                  <a:extLst>
                    <a:ext uri="{FF2B5EF4-FFF2-40B4-BE49-F238E27FC236}">
                      <a16:creationId xmlns:a16="http://schemas.microsoft.com/office/drawing/2014/main" id="{4E5CC864-B3EB-8098-C858-45711371CE47}"/>
                    </a:ext>
                  </a:extLst>
                </p:cNvPr>
                <p:cNvSpPr/>
                <p:nvPr/>
              </p:nvSpPr>
              <p:spPr>
                <a:xfrm>
                  <a:off x="5112470" y="1898458"/>
                  <a:ext cx="4608" cy="51940"/>
                </a:xfrm>
                <a:custGeom>
                  <a:avLst/>
                  <a:gdLst>
                    <a:gd name="connsiteX0" fmla="*/ 0 w 4608"/>
                    <a:gd name="connsiteY0" fmla="*/ 51941 h 51940"/>
                    <a:gd name="connsiteX1" fmla="*/ 3363 w 4608"/>
                    <a:gd name="connsiteY1" fmla="*/ 33506 h 51940"/>
                    <a:gd name="connsiteX2" fmla="*/ 1245 w 4608"/>
                    <a:gd name="connsiteY2" fmla="*/ 16192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3"/>
                        <a:pt x="3488" y="37866"/>
                        <a:pt x="3363" y="33506"/>
                      </a:cubicBezTo>
                      <a:cubicBezTo>
                        <a:pt x="3114" y="26531"/>
                        <a:pt x="1245" y="23292"/>
                        <a:pt x="1245" y="16192"/>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3" name="Freeform 8072">
                  <a:extLst>
                    <a:ext uri="{FF2B5EF4-FFF2-40B4-BE49-F238E27FC236}">
                      <a16:creationId xmlns:a16="http://schemas.microsoft.com/office/drawing/2014/main" id="{7E5D819C-664A-C592-5929-095F1E59AE01}"/>
                    </a:ext>
                  </a:extLst>
                </p:cNvPr>
                <p:cNvSpPr/>
                <p:nvPr/>
              </p:nvSpPr>
              <p:spPr>
                <a:xfrm>
                  <a:off x="5103708" y="1902817"/>
                  <a:ext cx="5927" cy="51940"/>
                </a:xfrm>
                <a:custGeom>
                  <a:avLst/>
                  <a:gdLst>
                    <a:gd name="connsiteX0" fmla="*/ 4651 w 5927"/>
                    <a:gd name="connsiteY0" fmla="*/ 0 h 51940"/>
                    <a:gd name="connsiteX1" fmla="*/ 5149 w 5927"/>
                    <a:gd name="connsiteY1" fmla="*/ 18808 h 51940"/>
                    <a:gd name="connsiteX2" fmla="*/ 416 w 5927"/>
                    <a:gd name="connsiteY2" fmla="*/ 35499 h 51940"/>
                    <a:gd name="connsiteX3" fmla="*/ 1288 w 592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27" h="51940">
                      <a:moveTo>
                        <a:pt x="4651" y="0"/>
                      </a:moveTo>
                      <a:cubicBezTo>
                        <a:pt x="6519" y="8221"/>
                        <a:pt x="6021" y="14573"/>
                        <a:pt x="5149" y="18808"/>
                      </a:cubicBezTo>
                      <a:cubicBezTo>
                        <a:pt x="3903" y="25659"/>
                        <a:pt x="1537" y="28524"/>
                        <a:pt x="416" y="35499"/>
                      </a:cubicBezTo>
                      <a:cubicBezTo>
                        <a:pt x="-580" y="42350"/>
                        <a:pt x="416" y="48204"/>
                        <a:pt x="12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4" name="Freeform 8073">
                  <a:extLst>
                    <a:ext uri="{FF2B5EF4-FFF2-40B4-BE49-F238E27FC236}">
                      <a16:creationId xmlns:a16="http://schemas.microsoft.com/office/drawing/2014/main" id="{35DF89AC-BAFD-13F7-BAEE-162325B7AB60}"/>
                    </a:ext>
                  </a:extLst>
                </p:cNvPr>
                <p:cNvSpPr/>
                <p:nvPr/>
              </p:nvSpPr>
              <p:spPr>
                <a:xfrm>
                  <a:off x="5095000" y="1943872"/>
                  <a:ext cx="26718" cy="26504"/>
                </a:xfrm>
                <a:custGeom>
                  <a:avLst/>
                  <a:gdLst>
                    <a:gd name="connsiteX0" fmla="*/ 31 w 26718"/>
                    <a:gd name="connsiteY0" fmla="*/ 12131 h 26504"/>
                    <a:gd name="connsiteX1" fmla="*/ 14356 w 26718"/>
                    <a:gd name="connsiteY1" fmla="*/ 49 h 26504"/>
                    <a:gd name="connsiteX2" fmla="*/ 26687 w 26718"/>
                    <a:gd name="connsiteY2" fmla="*/ 14373 h 26504"/>
                    <a:gd name="connsiteX3" fmla="*/ 12363 w 26718"/>
                    <a:gd name="connsiteY3" fmla="*/ 26455 h 26504"/>
                    <a:gd name="connsiteX4" fmla="*/ 31 w 2671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04">
                      <a:moveTo>
                        <a:pt x="31" y="12131"/>
                      </a:moveTo>
                      <a:cubicBezTo>
                        <a:pt x="654" y="4782"/>
                        <a:pt x="7007" y="-574"/>
                        <a:pt x="14356" y="49"/>
                      </a:cubicBezTo>
                      <a:cubicBezTo>
                        <a:pt x="21705" y="672"/>
                        <a:pt x="27185" y="7024"/>
                        <a:pt x="26687" y="14373"/>
                      </a:cubicBezTo>
                      <a:cubicBezTo>
                        <a:pt x="26189" y="21722"/>
                        <a:pt x="19712" y="27078"/>
                        <a:pt x="12363" y="26455"/>
                      </a:cubicBezTo>
                      <a:cubicBezTo>
                        <a:pt x="5014" y="25833"/>
                        <a:pt x="-467" y="19480"/>
                        <a:pt x="31"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5" name="Freeform 8074">
                  <a:extLst>
                    <a:ext uri="{FF2B5EF4-FFF2-40B4-BE49-F238E27FC236}">
                      <a16:creationId xmlns:a16="http://schemas.microsoft.com/office/drawing/2014/main" id="{079F91B9-23B6-0463-3A53-AD206163F293}"/>
                    </a:ext>
                  </a:extLst>
                </p:cNvPr>
                <p:cNvSpPr/>
                <p:nvPr/>
              </p:nvSpPr>
              <p:spPr>
                <a:xfrm>
                  <a:off x="5108857" y="1841908"/>
                  <a:ext cx="4608" cy="51940"/>
                </a:xfrm>
                <a:custGeom>
                  <a:avLst/>
                  <a:gdLst>
                    <a:gd name="connsiteX0" fmla="*/ 4609 w 4608"/>
                    <a:gd name="connsiteY0" fmla="*/ 0 h 51940"/>
                    <a:gd name="connsiteX1" fmla="*/ 1246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075"/>
                        <a:pt x="1246"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6" name="Freeform 8075">
                  <a:extLst>
                    <a:ext uri="{FF2B5EF4-FFF2-40B4-BE49-F238E27FC236}">
                      <a16:creationId xmlns:a16="http://schemas.microsoft.com/office/drawing/2014/main" id="{0E0A8FA0-4F5A-8D95-7239-B40C07D18613}"/>
                    </a:ext>
                  </a:extLst>
                </p:cNvPr>
                <p:cNvSpPr/>
                <p:nvPr/>
              </p:nvSpPr>
              <p:spPr>
                <a:xfrm>
                  <a:off x="5116283" y="1837549"/>
                  <a:ext cx="5819" cy="51940"/>
                </a:xfrm>
                <a:custGeom>
                  <a:avLst/>
                  <a:gdLst>
                    <a:gd name="connsiteX0" fmla="*/ 1293 w 5819"/>
                    <a:gd name="connsiteY0" fmla="*/ 51941 h 51940"/>
                    <a:gd name="connsiteX1" fmla="*/ 670 w 5819"/>
                    <a:gd name="connsiteY1" fmla="*/ 33132 h 51940"/>
                    <a:gd name="connsiteX2" fmla="*/ 5403 w 5819"/>
                    <a:gd name="connsiteY2" fmla="*/ 16442 h 51940"/>
                    <a:gd name="connsiteX3" fmla="*/ 4531 w 5819"/>
                    <a:gd name="connsiteY3" fmla="*/ 0 h 51940"/>
                  </a:gdLst>
                  <a:ahLst/>
                  <a:cxnLst>
                    <a:cxn ang="0">
                      <a:pos x="connsiteX0" y="connsiteY0"/>
                    </a:cxn>
                    <a:cxn ang="0">
                      <a:pos x="connsiteX1" y="connsiteY1"/>
                    </a:cxn>
                    <a:cxn ang="0">
                      <a:pos x="connsiteX2" y="connsiteY2"/>
                    </a:cxn>
                    <a:cxn ang="0">
                      <a:pos x="connsiteX3" y="connsiteY3"/>
                    </a:cxn>
                  </a:cxnLst>
                  <a:rect l="l" t="t" r="r" b="b"/>
                  <a:pathLst>
                    <a:path w="5819" h="51940">
                      <a:moveTo>
                        <a:pt x="1293" y="51941"/>
                      </a:moveTo>
                      <a:cubicBezTo>
                        <a:pt x="-576" y="43720"/>
                        <a:pt x="-77" y="37367"/>
                        <a:pt x="670" y="33132"/>
                      </a:cubicBezTo>
                      <a:cubicBezTo>
                        <a:pt x="1916" y="26282"/>
                        <a:pt x="4282" y="23417"/>
                        <a:pt x="5403" y="16442"/>
                      </a:cubicBezTo>
                      <a:cubicBezTo>
                        <a:pt x="6400" y="9591"/>
                        <a:pt x="5403" y="3737"/>
                        <a:pt x="4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7" name="Freeform 8076">
                  <a:extLst>
                    <a:ext uri="{FF2B5EF4-FFF2-40B4-BE49-F238E27FC236}">
                      <a16:creationId xmlns:a16="http://schemas.microsoft.com/office/drawing/2014/main" id="{D774D9EE-892B-64CC-12B3-EE938263A924}"/>
                    </a:ext>
                  </a:extLst>
                </p:cNvPr>
                <p:cNvSpPr/>
                <p:nvPr/>
              </p:nvSpPr>
              <p:spPr>
                <a:xfrm>
                  <a:off x="5104342" y="1821805"/>
                  <a:ext cx="26469" cy="26504"/>
                </a:xfrm>
                <a:custGeom>
                  <a:avLst/>
                  <a:gdLst>
                    <a:gd name="connsiteX0" fmla="*/ 26438 w 26469"/>
                    <a:gd name="connsiteY0" fmla="*/ 14373 h 26504"/>
                    <a:gd name="connsiteX1" fmla="*/ 12238 w 26469"/>
                    <a:gd name="connsiteY1" fmla="*/ 26455 h 26504"/>
                    <a:gd name="connsiteX2" fmla="*/ 31 w 26469"/>
                    <a:gd name="connsiteY2" fmla="*/ 12131 h 26504"/>
                    <a:gd name="connsiteX3" fmla="*/ 14231 w 26469"/>
                    <a:gd name="connsiteY3" fmla="*/ 49 h 26504"/>
                    <a:gd name="connsiteX4" fmla="*/ 26438 w 2646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9" h="26504">
                      <a:moveTo>
                        <a:pt x="26438" y="14373"/>
                      </a:moveTo>
                      <a:cubicBezTo>
                        <a:pt x="25940" y="21722"/>
                        <a:pt x="19587" y="27078"/>
                        <a:pt x="12238" y="26455"/>
                      </a:cubicBezTo>
                      <a:cubicBezTo>
                        <a:pt x="5014" y="25833"/>
                        <a:pt x="-467" y="19480"/>
                        <a:pt x="31" y="12131"/>
                      </a:cubicBezTo>
                      <a:cubicBezTo>
                        <a:pt x="654" y="4782"/>
                        <a:pt x="6882" y="-574"/>
                        <a:pt x="14231" y="49"/>
                      </a:cubicBezTo>
                      <a:cubicBezTo>
                        <a:pt x="21455" y="672"/>
                        <a:pt x="26936" y="7149"/>
                        <a:pt x="26438"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1" name="Graphic 2987">
                <a:extLst>
                  <a:ext uri="{FF2B5EF4-FFF2-40B4-BE49-F238E27FC236}">
                    <a16:creationId xmlns:a16="http://schemas.microsoft.com/office/drawing/2014/main" id="{D535AD79-11BF-99F1-EC48-427618D1E66E}"/>
                  </a:ext>
                </a:extLst>
              </p:cNvPr>
              <p:cNvGrpSpPr/>
              <p:nvPr/>
            </p:nvGrpSpPr>
            <p:grpSpPr>
              <a:xfrm>
                <a:off x="5065338" y="1819314"/>
                <a:ext cx="36077" cy="148571"/>
                <a:chOff x="5065338" y="1819314"/>
                <a:chExt cx="36077" cy="148571"/>
              </a:xfrm>
              <a:grpFill/>
            </p:grpSpPr>
            <p:sp>
              <p:nvSpPr>
                <p:cNvPr id="6126" name="Freeform 8078">
                  <a:extLst>
                    <a:ext uri="{FF2B5EF4-FFF2-40B4-BE49-F238E27FC236}">
                      <a16:creationId xmlns:a16="http://schemas.microsoft.com/office/drawing/2014/main" id="{FA95BCB4-62E2-F2BF-5D23-ECEAB13BE799}"/>
                    </a:ext>
                  </a:extLst>
                </p:cNvPr>
                <p:cNvSpPr/>
                <p:nvPr/>
              </p:nvSpPr>
              <p:spPr>
                <a:xfrm>
                  <a:off x="5082825" y="1895966"/>
                  <a:ext cx="4857" cy="51940"/>
                </a:xfrm>
                <a:custGeom>
                  <a:avLst/>
                  <a:gdLst>
                    <a:gd name="connsiteX0" fmla="*/ 0 w 4857"/>
                    <a:gd name="connsiteY0" fmla="*/ 51941 h 51940"/>
                    <a:gd name="connsiteX1" fmla="*/ 3488 w 4857"/>
                    <a:gd name="connsiteY1" fmla="*/ 33506 h 51940"/>
                    <a:gd name="connsiteX2" fmla="*/ 1370 w 4857"/>
                    <a:gd name="connsiteY2" fmla="*/ 16193 h 51940"/>
                    <a:gd name="connsiteX3" fmla="*/ 4858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0" y="51941"/>
                      </a:moveTo>
                      <a:cubicBezTo>
                        <a:pt x="3114" y="44093"/>
                        <a:pt x="3612" y="37866"/>
                        <a:pt x="3488" y="33506"/>
                      </a:cubicBezTo>
                      <a:cubicBezTo>
                        <a:pt x="3238" y="26531"/>
                        <a:pt x="1370" y="23292"/>
                        <a:pt x="1370" y="16193"/>
                      </a:cubicBezTo>
                      <a:cubicBezTo>
                        <a:pt x="1370" y="9342"/>
                        <a:pt x="3238" y="3737"/>
                        <a:pt x="48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7" name="Freeform 8079">
                  <a:extLst>
                    <a:ext uri="{FF2B5EF4-FFF2-40B4-BE49-F238E27FC236}">
                      <a16:creationId xmlns:a16="http://schemas.microsoft.com/office/drawing/2014/main" id="{56FF27B1-8CD9-E2A7-1E04-2D47DD330789}"/>
                    </a:ext>
                  </a:extLst>
                </p:cNvPr>
                <p:cNvSpPr/>
                <p:nvPr/>
              </p:nvSpPr>
              <p:spPr>
                <a:xfrm>
                  <a:off x="5074039" y="1900326"/>
                  <a:ext cx="5951" cy="51940"/>
                </a:xfrm>
                <a:custGeom>
                  <a:avLst/>
                  <a:gdLst>
                    <a:gd name="connsiteX0" fmla="*/ 4675 w 5951"/>
                    <a:gd name="connsiteY0" fmla="*/ 0 h 51940"/>
                    <a:gd name="connsiteX1" fmla="*/ 5173 w 5951"/>
                    <a:gd name="connsiteY1" fmla="*/ 18808 h 51940"/>
                    <a:gd name="connsiteX2" fmla="*/ 440 w 5951"/>
                    <a:gd name="connsiteY2" fmla="*/ 35499 h 51940"/>
                    <a:gd name="connsiteX3" fmla="*/ 1312 w 59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5951" h="51940">
                      <a:moveTo>
                        <a:pt x="4675" y="0"/>
                      </a:moveTo>
                      <a:cubicBezTo>
                        <a:pt x="6543" y="8221"/>
                        <a:pt x="6045" y="14573"/>
                        <a:pt x="5173" y="18808"/>
                      </a:cubicBezTo>
                      <a:cubicBezTo>
                        <a:pt x="3803" y="25659"/>
                        <a:pt x="1437"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8" name="Freeform 8080">
                  <a:extLst>
                    <a:ext uri="{FF2B5EF4-FFF2-40B4-BE49-F238E27FC236}">
                      <a16:creationId xmlns:a16="http://schemas.microsoft.com/office/drawing/2014/main" id="{406ED69F-75B2-8923-211E-3277E15DF7F7}"/>
                    </a:ext>
                  </a:extLst>
                </p:cNvPr>
                <p:cNvSpPr/>
                <p:nvPr/>
              </p:nvSpPr>
              <p:spPr>
                <a:xfrm>
                  <a:off x="5065338" y="1941381"/>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957"/>
                        <a:pt x="-575" y="19480"/>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9" name="Freeform 8081">
                  <a:extLst>
                    <a:ext uri="{FF2B5EF4-FFF2-40B4-BE49-F238E27FC236}">
                      <a16:creationId xmlns:a16="http://schemas.microsoft.com/office/drawing/2014/main" id="{F00F8EEF-5013-1EC2-9608-6B9D309557B0}"/>
                    </a:ext>
                  </a:extLst>
                </p:cNvPr>
                <p:cNvSpPr/>
                <p:nvPr/>
              </p:nvSpPr>
              <p:spPr>
                <a:xfrm>
                  <a:off x="5079212" y="1839417"/>
                  <a:ext cx="4857" cy="51940"/>
                </a:xfrm>
                <a:custGeom>
                  <a:avLst/>
                  <a:gdLst>
                    <a:gd name="connsiteX0" fmla="*/ 4858 w 4857"/>
                    <a:gd name="connsiteY0" fmla="*/ 0 h 51940"/>
                    <a:gd name="connsiteX1" fmla="*/ 1370 w 4857"/>
                    <a:gd name="connsiteY1" fmla="*/ 18435 h 51940"/>
                    <a:gd name="connsiteX2" fmla="*/ 3488 w 4857"/>
                    <a:gd name="connsiteY2" fmla="*/ 35748 h 51940"/>
                    <a:gd name="connsiteX3" fmla="*/ 0 w 48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0"/>
                      </a:moveTo>
                      <a:cubicBezTo>
                        <a:pt x="1744" y="7847"/>
                        <a:pt x="1246" y="14075"/>
                        <a:pt x="1370" y="18435"/>
                      </a:cubicBezTo>
                      <a:cubicBezTo>
                        <a:pt x="1619" y="25410"/>
                        <a:pt x="3488"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0" name="Freeform 8082">
                  <a:extLst>
                    <a:ext uri="{FF2B5EF4-FFF2-40B4-BE49-F238E27FC236}">
                      <a16:creationId xmlns:a16="http://schemas.microsoft.com/office/drawing/2014/main" id="{8E945D28-538C-B975-B604-AA8661FAF6E7}"/>
                    </a:ext>
                  </a:extLst>
                </p:cNvPr>
                <p:cNvSpPr/>
                <p:nvPr/>
              </p:nvSpPr>
              <p:spPr>
                <a:xfrm>
                  <a:off x="5086779" y="1835058"/>
                  <a:ext cx="5951" cy="51940"/>
                </a:xfrm>
                <a:custGeom>
                  <a:avLst/>
                  <a:gdLst>
                    <a:gd name="connsiteX0" fmla="*/ 1277 w 5951"/>
                    <a:gd name="connsiteY0" fmla="*/ 51941 h 51940"/>
                    <a:gd name="connsiteX1" fmla="*/ 779 w 5951"/>
                    <a:gd name="connsiteY1" fmla="*/ 33132 h 51940"/>
                    <a:gd name="connsiteX2" fmla="*/ 5512 w 5951"/>
                    <a:gd name="connsiteY2" fmla="*/ 16442 h 51940"/>
                    <a:gd name="connsiteX3" fmla="*/ 4640 w 5951"/>
                    <a:gd name="connsiteY3" fmla="*/ 0 h 51940"/>
                  </a:gdLst>
                  <a:ahLst/>
                  <a:cxnLst>
                    <a:cxn ang="0">
                      <a:pos x="connsiteX0" y="connsiteY0"/>
                    </a:cxn>
                    <a:cxn ang="0">
                      <a:pos x="connsiteX1" y="connsiteY1"/>
                    </a:cxn>
                    <a:cxn ang="0">
                      <a:pos x="connsiteX2" y="connsiteY2"/>
                    </a:cxn>
                    <a:cxn ang="0">
                      <a:pos x="connsiteX3" y="connsiteY3"/>
                    </a:cxn>
                  </a:cxnLst>
                  <a:rect l="l" t="t" r="r" b="b"/>
                  <a:pathLst>
                    <a:path w="5951" h="51940">
                      <a:moveTo>
                        <a:pt x="1277" y="51941"/>
                      </a:moveTo>
                      <a:cubicBezTo>
                        <a:pt x="-592" y="43720"/>
                        <a:pt x="-93" y="37367"/>
                        <a:pt x="779" y="33132"/>
                      </a:cubicBezTo>
                      <a:cubicBezTo>
                        <a:pt x="2149" y="26282"/>
                        <a:pt x="4515" y="23417"/>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31" name="Freeform 8083">
                  <a:extLst>
                    <a:ext uri="{FF2B5EF4-FFF2-40B4-BE49-F238E27FC236}">
                      <a16:creationId xmlns:a16="http://schemas.microsoft.com/office/drawing/2014/main" id="{AA678A1D-3D7A-64CF-7B29-9CC5A5C63348}"/>
                    </a:ext>
                  </a:extLst>
                </p:cNvPr>
                <p:cNvSpPr/>
                <p:nvPr/>
              </p:nvSpPr>
              <p:spPr>
                <a:xfrm>
                  <a:off x="5075054" y="1819314"/>
                  <a:ext cx="26361" cy="26504"/>
                </a:xfrm>
                <a:custGeom>
                  <a:avLst/>
                  <a:gdLst>
                    <a:gd name="connsiteX0" fmla="*/ 26330 w 26361"/>
                    <a:gd name="connsiteY0" fmla="*/ 14373 h 26504"/>
                    <a:gd name="connsiteX1" fmla="*/ 12130 w 26361"/>
                    <a:gd name="connsiteY1" fmla="*/ 26455 h 26504"/>
                    <a:gd name="connsiteX2" fmla="*/ 48 w 26361"/>
                    <a:gd name="connsiteY2" fmla="*/ 12131 h 26504"/>
                    <a:gd name="connsiteX3" fmla="*/ 14248 w 26361"/>
                    <a:gd name="connsiteY3" fmla="*/ 49 h 26504"/>
                    <a:gd name="connsiteX4" fmla="*/ 26330 w 26361"/>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828" y="7149"/>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2" name="Graphic 2987">
                <a:extLst>
                  <a:ext uri="{FF2B5EF4-FFF2-40B4-BE49-F238E27FC236}">
                    <a16:creationId xmlns:a16="http://schemas.microsoft.com/office/drawing/2014/main" id="{CD2B6A2C-13F1-7A89-88CF-65B579E37289}"/>
                  </a:ext>
                </a:extLst>
              </p:cNvPr>
              <p:cNvGrpSpPr/>
              <p:nvPr/>
            </p:nvGrpSpPr>
            <p:grpSpPr>
              <a:xfrm>
                <a:off x="5035569" y="1816948"/>
                <a:ext cx="36451" cy="148571"/>
                <a:chOff x="5035569" y="1816948"/>
                <a:chExt cx="36451" cy="148571"/>
              </a:xfrm>
              <a:grpFill/>
            </p:grpSpPr>
            <p:sp>
              <p:nvSpPr>
                <p:cNvPr id="6120" name="Freeform 8085">
                  <a:extLst>
                    <a:ext uri="{FF2B5EF4-FFF2-40B4-BE49-F238E27FC236}">
                      <a16:creationId xmlns:a16="http://schemas.microsoft.com/office/drawing/2014/main" id="{0E1952B1-1768-00EF-53BC-0CF1EDC6331D}"/>
                    </a:ext>
                  </a:extLst>
                </p:cNvPr>
                <p:cNvSpPr/>
                <p:nvPr/>
              </p:nvSpPr>
              <p:spPr>
                <a:xfrm>
                  <a:off x="5053180" y="1893600"/>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2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363" y="3612"/>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1" name="Freeform 8086">
                  <a:extLst>
                    <a:ext uri="{FF2B5EF4-FFF2-40B4-BE49-F238E27FC236}">
                      <a16:creationId xmlns:a16="http://schemas.microsoft.com/office/drawing/2014/main" id="{8BAECF7D-BA64-681D-CD16-259AE17DCE2B}"/>
                    </a:ext>
                  </a:extLst>
                </p:cNvPr>
                <p:cNvSpPr/>
                <p:nvPr/>
              </p:nvSpPr>
              <p:spPr>
                <a:xfrm>
                  <a:off x="5044395" y="1897835"/>
                  <a:ext cx="6030" cy="51940"/>
                </a:xfrm>
                <a:custGeom>
                  <a:avLst/>
                  <a:gdLst>
                    <a:gd name="connsiteX0" fmla="*/ 4799 w 6030"/>
                    <a:gd name="connsiteY0" fmla="*/ 0 h 51940"/>
                    <a:gd name="connsiteX1" fmla="*/ 5298 w 6030"/>
                    <a:gd name="connsiteY1" fmla="*/ 18808 h 51940"/>
                    <a:gd name="connsiteX2" fmla="*/ 440 w 6030"/>
                    <a:gd name="connsiteY2" fmla="*/ 35499 h 51940"/>
                    <a:gd name="connsiteX3" fmla="*/ 1312 w 603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030" h="51940">
                      <a:moveTo>
                        <a:pt x="4799" y="0"/>
                      </a:moveTo>
                      <a:cubicBezTo>
                        <a:pt x="6668" y="8221"/>
                        <a:pt x="6045" y="14573"/>
                        <a:pt x="5298" y="18808"/>
                      </a:cubicBezTo>
                      <a:cubicBezTo>
                        <a:pt x="3927" y="25659"/>
                        <a:pt x="1561" y="28524"/>
                        <a:pt x="440" y="35499"/>
                      </a:cubicBezTo>
                      <a:cubicBezTo>
                        <a:pt x="-556" y="42350"/>
                        <a:pt x="316" y="48204"/>
                        <a:pt x="131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2" name="Freeform 8087">
                  <a:extLst>
                    <a:ext uri="{FF2B5EF4-FFF2-40B4-BE49-F238E27FC236}">
                      <a16:creationId xmlns:a16="http://schemas.microsoft.com/office/drawing/2014/main" id="{60FA5684-7603-4B69-49E4-7B8CDD124E0B}"/>
                    </a:ext>
                  </a:extLst>
                </p:cNvPr>
                <p:cNvSpPr/>
                <p:nvPr/>
              </p:nvSpPr>
              <p:spPr>
                <a:xfrm>
                  <a:off x="5035569" y="1939014"/>
                  <a:ext cx="26627" cy="26504"/>
                </a:xfrm>
                <a:custGeom>
                  <a:avLst/>
                  <a:gdLst>
                    <a:gd name="connsiteX0" fmla="*/ 48 w 26627"/>
                    <a:gd name="connsiteY0" fmla="*/ 12131 h 26504"/>
                    <a:gd name="connsiteX1" fmla="*/ 14372 w 26627"/>
                    <a:gd name="connsiteY1" fmla="*/ 49 h 26504"/>
                    <a:gd name="connsiteX2" fmla="*/ 26579 w 26627"/>
                    <a:gd name="connsiteY2" fmla="*/ 14373 h 26504"/>
                    <a:gd name="connsiteX3" fmla="*/ 12255 w 26627"/>
                    <a:gd name="connsiteY3" fmla="*/ 26455 h 26504"/>
                    <a:gd name="connsiteX4" fmla="*/ 48 w 26627"/>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48" y="12131"/>
                      </a:moveTo>
                      <a:cubicBezTo>
                        <a:pt x="671" y="4782"/>
                        <a:pt x="7023" y="-574"/>
                        <a:pt x="14372" y="49"/>
                      </a:cubicBezTo>
                      <a:cubicBezTo>
                        <a:pt x="21721" y="672"/>
                        <a:pt x="27202" y="7024"/>
                        <a:pt x="26579" y="14373"/>
                      </a:cubicBezTo>
                      <a:cubicBezTo>
                        <a:pt x="25956" y="21722"/>
                        <a:pt x="19604" y="27078"/>
                        <a:pt x="12255" y="26455"/>
                      </a:cubicBezTo>
                      <a:cubicBezTo>
                        <a:pt x="4906" y="25833"/>
                        <a:pt x="-574"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3" name="Freeform 8088">
                  <a:extLst>
                    <a:ext uri="{FF2B5EF4-FFF2-40B4-BE49-F238E27FC236}">
                      <a16:creationId xmlns:a16="http://schemas.microsoft.com/office/drawing/2014/main" id="{999882C7-E8D0-D015-5FF7-85438B22F405}"/>
                    </a:ext>
                  </a:extLst>
                </p:cNvPr>
                <p:cNvSpPr/>
                <p:nvPr/>
              </p:nvSpPr>
              <p:spPr>
                <a:xfrm>
                  <a:off x="5049692" y="1836926"/>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4" name="Freeform 8089">
                  <a:extLst>
                    <a:ext uri="{FF2B5EF4-FFF2-40B4-BE49-F238E27FC236}">
                      <a16:creationId xmlns:a16="http://schemas.microsoft.com/office/drawing/2014/main" id="{5628D9A6-E314-98F7-F8B0-22E59C55970E}"/>
                    </a:ext>
                  </a:extLst>
                </p:cNvPr>
                <p:cNvSpPr/>
                <p:nvPr/>
              </p:nvSpPr>
              <p:spPr>
                <a:xfrm>
                  <a:off x="5057305" y="1832567"/>
                  <a:ext cx="5905" cy="51940"/>
                </a:xfrm>
                <a:custGeom>
                  <a:avLst/>
                  <a:gdLst>
                    <a:gd name="connsiteX0" fmla="*/ 1231 w 5905"/>
                    <a:gd name="connsiteY0" fmla="*/ 51941 h 51940"/>
                    <a:gd name="connsiteX1" fmla="*/ 732 w 5905"/>
                    <a:gd name="connsiteY1" fmla="*/ 33132 h 51940"/>
                    <a:gd name="connsiteX2" fmla="*/ 5465 w 5905"/>
                    <a:gd name="connsiteY2" fmla="*/ 16442 h 51940"/>
                    <a:gd name="connsiteX3" fmla="*/ 4594 w 5905"/>
                    <a:gd name="connsiteY3" fmla="*/ 0 h 51940"/>
                  </a:gdLst>
                  <a:ahLst/>
                  <a:cxnLst>
                    <a:cxn ang="0">
                      <a:pos x="connsiteX0" y="connsiteY0"/>
                    </a:cxn>
                    <a:cxn ang="0">
                      <a:pos x="connsiteX1" y="connsiteY1"/>
                    </a:cxn>
                    <a:cxn ang="0">
                      <a:pos x="connsiteX2" y="connsiteY2"/>
                    </a:cxn>
                    <a:cxn ang="0">
                      <a:pos x="connsiteX3" y="connsiteY3"/>
                    </a:cxn>
                  </a:cxnLst>
                  <a:rect l="l" t="t" r="r" b="b"/>
                  <a:pathLst>
                    <a:path w="5905" h="51940">
                      <a:moveTo>
                        <a:pt x="1231" y="51941"/>
                      </a:moveTo>
                      <a:cubicBezTo>
                        <a:pt x="-638" y="43720"/>
                        <a:pt x="-15" y="37367"/>
                        <a:pt x="732" y="33132"/>
                      </a:cubicBezTo>
                      <a:cubicBezTo>
                        <a:pt x="2103" y="26282"/>
                        <a:pt x="4469" y="23417"/>
                        <a:pt x="5465" y="16442"/>
                      </a:cubicBezTo>
                      <a:cubicBezTo>
                        <a:pt x="6462" y="9591"/>
                        <a:pt x="5590" y="3737"/>
                        <a:pt x="45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25" name="Freeform 8090">
                  <a:extLst>
                    <a:ext uri="{FF2B5EF4-FFF2-40B4-BE49-F238E27FC236}">
                      <a16:creationId xmlns:a16="http://schemas.microsoft.com/office/drawing/2014/main" id="{14C6D33C-757A-21B9-BBE6-FFE762E6DE59}"/>
                    </a:ext>
                  </a:extLst>
                </p:cNvPr>
                <p:cNvSpPr/>
                <p:nvPr/>
              </p:nvSpPr>
              <p:spPr>
                <a:xfrm>
                  <a:off x="5045658" y="1816948"/>
                  <a:ext cx="26362" cy="26504"/>
                </a:xfrm>
                <a:custGeom>
                  <a:avLst/>
                  <a:gdLst>
                    <a:gd name="connsiteX0" fmla="*/ 26330 w 26362"/>
                    <a:gd name="connsiteY0" fmla="*/ 14373 h 26504"/>
                    <a:gd name="connsiteX1" fmla="*/ 12130 w 26362"/>
                    <a:gd name="connsiteY1" fmla="*/ 26455 h 26504"/>
                    <a:gd name="connsiteX2" fmla="*/ 48 w 26362"/>
                    <a:gd name="connsiteY2" fmla="*/ 12131 h 26504"/>
                    <a:gd name="connsiteX3" fmla="*/ 14248 w 26362"/>
                    <a:gd name="connsiteY3" fmla="*/ 49 h 26504"/>
                    <a:gd name="connsiteX4" fmla="*/ 26330 w 26362"/>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04">
                      <a:moveTo>
                        <a:pt x="26330" y="14373"/>
                      </a:moveTo>
                      <a:cubicBezTo>
                        <a:pt x="25707" y="21722"/>
                        <a:pt x="19355" y="27078"/>
                        <a:pt x="12130" y="26455"/>
                      </a:cubicBezTo>
                      <a:cubicBezTo>
                        <a:pt x="4906" y="25833"/>
                        <a:pt x="-574" y="19480"/>
                        <a:pt x="48" y="12131"/>
                      </a:cubicBezTo>
                      <a:cubicBezTo>
                        <a:pt x="671" y="4782"/>
                        <a:pt x="7023" y="-574"/>
                        <a:pt x="14248" y="49"/>
                      </a:cubicBezTo>
                      <a:cubicBezTo>
                        <a:pt x="21472" y="672"/>
                        <a:pt x="26828"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3" name="Graphic 2987">
                <a:extLst>
                  <a:ext uri="{FF2B5EF4-FFF2-40B4-BE49-F238E27FC236}">
                    <a16:creationId xmlns:a16="http://schemas.microsoft.com/office/drawing/2014/main" id="{6C6EFA76-4B5A-C624-8FE3-910B9D2CA038}"/>
                  </a:ext>
                </a:extLst>
              </p:cNvPr>
              <p:cNvGrpSpPr/>
              <p:nvPr/>
            </p:nvGrpSpPr>
            <p:grpSpPr>
              <a:xfrm>
                <a:off x="5005923" y="1814456"/>
                <a:ext cx="36717" cy="148571"/>
                <a:chOff x="5005923" y="1814456"/>
                <a:chExt cx="36717" cy="148571"/>
              </a:xfrm>
              <a:grpFill/>
            </p:grpSpPr>
            <p:sp>
              <p:nvSpPr>
                <p:cNvPr id="6114" name="Freeform 8092">
                  <a:extLst>
                    <a:ext uri="{FF2B5EF4-FFF2-40B4-BE49-F238E27FC236}">
                      <a16:creationId xmlns:a16="http://schemas.microsoft.com/office/drawing/2014/main" id="{92236D4A-071C-8483-C18C-4F7D38E788B1}"/>
                    </a:ext>
                  </a:extLst>
                </p:cNvPr>
                <p:cNvSpPr/>
                <p:nvPr/>
              </p:nvSpPr>
              <p:spPr>
                <a:xfrm>
                  <a:off x="5023410" y="1891109"/>
                  <a:ext cx="4982" cy="51815"/>
                </a:xfrm>
                <a:custGeom>
                  <a:avLst/>
                  <a:gdLst>
                    <a:gd name="connsiteX0" fmla="*/ 0 w 4982"/>
                    <a:gd name="connsiteY0" fmla="*/ 51816 h 51815"/>
                    <a:gd name="connsiteX1" fmla="*/ 3488 w 4982"/>
                    <a:gd name="connsiteY1" fmla="*/ 33381 h 51815"/>
                    <a:gd name="connsiteX2" fmla="*/ 1495 w 4982"/>
                    <a:gd name="connsiteY2" fmla="*/ 16068 h 51815"/>
                    <a:gd name="connsiteX3" fmla="*/ 4983 w 4982"/>
                    <a:gd name="connsiteY3" fmla="*/ 0 h 51815"/>
                  </a:gdLst>
                  <a:ahLst/>
                  <a:cxnLst>
                    <a:cxn ang="0">
                      <a:pos x="connsiteX0" y="connsiteY0"/>
                    </a:cxn>
                    <a:cxn ang="0">
                      <a:pos x="connsiteX1" y="connsiteY1"/>
                    </a:cxn>
                    <a:cxn ang="0">
                      <a:pos x="connsiteX2" y="connsiteY2"/>
                    </a:cxn>
                    <a:cxn ang="0">
                      <a:pos x="connsiteX3" y="connsiteY3"/>
                    </a:cxn>
                  </a:cxnLst>
                  <a:rect l="l" t="t" r="r" b="b"/>
                  <a:pathLst>
                    <a:path w="4982" h="51815">
                      <a:moveTo>
                        <a:pt x="0" y="51816"/>
                      </a:moveTo>
                      <a:cubicBezTo>
                        <a:pt x="3114" y="43969"/>
                        <a:pt x="3612" y="37741"/>
                        <a:pt x="3488" y="33381"/>
                      </a:cubicBezTo>
                      <a:cubicBezTo>
                        <a:pt x="3239" y="26406"/>
                        <a:pt x="1370" y="23168"/>
                        <a:pt x="1495" y="16068"/>
                      </a:cubicBezTo>
                      <a:cubicBezTo>
                        <a:pt x="1619" y="9217"/>
                        <a:pt x="3488" y="3612"/>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5" name="Freeform 8093">
                  <a:extLst>
                    <a:ext uri="{FF2B5EF4-FFF2-40B4-BE49-F238E27FC236}">
                      <a16:creationId xmlns:a16="http://schemas.microsoft.com/office/drawing/2014/main" id="{95327E07-E433-FEC6-05A9-C9BB97CFB945}"/>
                    </a:ext>
                  </a:extLst>
                </p:cNvPr>
                <p:cNvSpPr/>
                <p:nvPr/>
              </p:nvSpPr>
              <p:spPr>
                <a:xfrm>
                  <a:off x="5014691" y="1895344"/>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7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5" y="48204"/>
                        <a:pt x="1247"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6" name="Freeform 8094">
                  <a:extLst>
                    <a:ext uri="{FF2B5EF4-FFF2-40B4-BE49-F238E27FC236}">
                      <a16:creationId xmlns:a16="http://schemas.microsoft.com/office/drawing/2014/main" id="{5EA63A35-3FA8-E8C3-598C-9CD0363E325B}"/>
                    </a:ext>
                  </a:extLst>
                </p:cNvPr>
                <p:cNvSpPr/>
                <p:nvPr/>
              </p:nvSpPr>
              <p:spPr>
                <a:xfrm>
                  <a:off x="5005923" y="1936523"/>
                  <a:ext cx="26752" cy="26504"/>
                </a:xfrm>
                <a:custGeom>
                  <a:avLst/>
                  <a:gdLst>
                    <a:gd name="connsiteX0" fmla="*/ 49 w 26752"/>
                    <a:gd name="connsiteY0" fmla="*/ 12131 h 26504"/>
                    <a:gd name="connsiteX1" fmla="*/ 14498 w 26752"/>
                    <a:gd name="connsiteY1" fmla="*/ 49 h 26504"/>
                    <a:gd name="connsiteX2" fmla="*/ 26705 w 26752"/>
                    <a:gd name="connsiteY2" fmla="*/ 14373 h 26504"/>
                    <a:gd name="connsiteX3" fmla="*/ 12256 w 26752"/>
                    <a:gd name="connsiteY3" fmla="*/ 26455 h 26504"/>
                    <a:gd name="connsiteX4" fmla="*/ 49 w 26752"/>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2" h="26504">
                      <a:moveTo>
                        <a:pt x="49" y="12131"/>
                      </a:moveTo>
                      <a:cubicBezTo>
                        <a:pt x="672" y="4782"/>
                        <a:pt x="7149" y="-574"/>
                        <a:pt x="14498" y="49"/>
                      </a:cubicBezTo>
                      <a:cubicBezTo>
                        <a:pt x="21847" y="672"/>
                        <a:pt x="27327" y="7024"/>
                        <a:pt x="26705" y="14373"/>
                      </a:cubicBezTo>
                      <a:cubicBezTo>
                        <a:pt x="26082" y="21722"/>
                        <a:pt x="19605" y="27078"/>
                        <a:pt x="12256"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7" name="Freeform 8095">
                  <a:extLst>
                    <a:ext uri="{FF2B5EF4-FFF2-40B4-BE49-F238E27FC236}">
                      <a16:creationId xmlns:a16="http://schemas.microsoft.com/office/drawing/2014/main" id="{3FEF94E6-9144-89D1-1C9C-FD897F771D06}"/>
                    </a:ext>
                  </a:extLst>
                </p:cNvPr>
                <p:cNvSpPr/>
                <p:nvPr/>
              </p:nvSpPr>
              <p:spPr>
                <a:xfrm>
                  <a:off x="5020172" y="1834435"/>
                  <a:ext cx="4982" cy="51815"/>
                </a:xfrm>
                <a:custGeom>
                  <a:avLst/>
                  <a:gdLst>
                    <a:gd name="connsiteX0" fmla="*/ 4982 w 4982"/>
                    <a:gd name="connsiteY0" fmla="*/ 0 h 51815"/>
                    <a:gd name="connsiteX1" fmla="*/ 1495 w 4982"/>
                    <a:gd name="connsiteY1" fmla="*/ 18435 h 51815"/>
                    <a:gd name="connsiteX2" fmla="*/ 3488 w 4982"/>
                    <a:gd name="connsiteY2" fmla="*/ 35748 h 51815"/>
                    <a:gd name="connsiteX3" fmla="*/ 0 w 498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4982" h="51815">
                      <a:moveTo>
                        <a:pt x="4982" y="0"/>
                      </a:moveTo>
                      <a:cubicBezTo>
                        <a:pt x="1868" y="7847"/>
                        <a:pt x="1370" y="14075"/>
                        <a:pt x="1495" y="18435"/>
                      </a:cubicBezTo>
                      <a:cubicBezTo>
                        <a:pt x="1744" y="25410"/>
                        <a:pt x="3612" y="28648"/>
                        <a:pt x="3488" y="35748"/>
                      </a:cubicBezTo>
                      <a:cubicBezTo>
                        <a:pt x="3363"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8" name="Freeform 8096">
                  <a:extLst>
                    <a:ext uri="{FF2B5EF4-FFF2-40B4-BE49-F238E27FC236}">
                      <a16:creationId xmlns:a16="http://schemas.microsoft.com/office/drawing/2014/main" id="{C517D2C6-9D10-9D88-1A01-534764F8E9CB}"/>
                    </a:ext>
                  </a:extLst>
                </p:cNvPr>
                <p:cNvSpPr/>
                <p:nvPr/>
              </p:nvSpPr>
              <p:spPr>
                <a:xfrm>
                  <a:off x="5027847" y="1830075"/>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4"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9" name="Freeform 8097">
                  <a:extLst>
                    <a:ext uri="{FF2B5EF4-FFF2-40B4-BE49-F238E27FC236}">
                      <a16:creationId xmlns:a16="http://schemas.microsoft.com/office/drawing/2014/main" id="{76826309-4387-CCBA-D112-DBE066B01104}"/>
                    </a:ext>
                  </a:extLst>
                </p:cNvPr>
                <p:cNvSpPr/>
                <p:nvPr/>
              </p:nvSpPr>
              <p:spPr>
                <a:xfrm>
                  <a:off x="5016263" y="1814456"/>
                  <a:ext cx="26378" cy="26504"/>
                </a:xfrm>
                <a:custGeom>
                  <a:avLst/>
                  <a:gdLst>
                    <a:gd name="connsiteX0" fmla="*/ 26330 w 26378"/>
                    <a:gd name="connsiteY0" fmla="*/ 14373 h 26504"/>
                    <a:gd name="connsiteX1" fmla="*/ 12130 w 26378"/>
                    <a:gd name="connsiteY1" fmla="*/ 26455 h 26504"/>
                    <a:gd name="connsiteX2" fmla="*/ 48 w 26378"/>
                    <a:gd name="connsiteY2" fmla="*/ 12131 h 26504"/>
                    <a:gd name="connsiteX3" fmla="*/ 14248 w 26378"/>
                    <a:gd name="connsiteY3" fmla="*/ 49 h 26504"/>
                    <a:gd name="connsiteX4" fmla="*/ 26330 w 2637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04">
                      <a:moveTo>
                        <a:pt x="26330" y="14373"/>
                      </a:moveTo>
                      <a:cubicBezTo>
                        <a:pt x="25707" y="21722"/>
                        <a:pt x="19355" y="27078"/>
                        <a:pt x="12130" y="26455"/>
                      </a:cubicBezTo>
                      <a:cubicBezTo>
                        <a:pt x="4906" y="25833"/>
                        <a:pt x="-575" y="19480"/>
                        <a:pt x="48" y="12131"/>
                      </a:cubicBezTo>
                      <a:cubicBezTo>
                        <a:pt x="671" y="4782"/>
                        <a:pt x="7023" y="-574"/>
                        <a:pt x="14248" y="49"/>
                      </a:cubicBezTo>
                      <a:cubicBezTo>
                        <a:pt x="21472" y="672"/>
                        <a:pt x="26953" y="7024"/>
                        <a:pt x="2633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4" name="Graphic 2987">
                <a:extLst>
                  <a:ext uri="{FF2B5EF4-FFF2-40B4-BE49-F238E27FC236}">
                    <a16:creationId xmlns:a16="http://schemas.microsoft.com/office/drawing/2014/main" id="{F11C76EA-1679-9ADA-568F-82F28B355FA8}"/>
                  </a:ext>
                </a:extLst>
              </p:cNvPr>
              <p:cNvGrpSpPr/>
              <p:nvPr/>
            </p:nvGrpSpPr>
            <p:grpSpPr>
              <a:xfrm>
                <a:off x="4976155" y="1811965"/>
                <a:ext cx="37090" cy="148571"/>
                <a:chOff x="4976155" y="1811965"/>
                <a:chExt cx="37090" cy="148571"/>
              </a:xfrm>
              <a:grpFill/>
            </p:grpSpPr>
            <p:sp>
              <p:nvSpPr>
                <p:cNvPr id="6108" name="Freeform 8099">
                  <a:extLst>
                    <a:ext uri="{FF2B5EF4-FFF2-40B4-BE49-F238E27FC236}">
                      <a16:creationId xmlns:a16="http://schemas.microsoft.com/office/drawing/2014/main" id="{1BCA54D0-2C36-B9DF-B9CC-950A4818882B}"/>
                    </a:ext>
                  </a:extLst>
                </p:cNvPr>
                <p:cNvSpPr/>
                <p:nvPr/>
              </p:nvSpPr>
              <p:spPr>
                <a:xfrm>
                  <a:off x="4993766" y="1888617"/>
                  <a:ext cx="5231" cy="51816"/>
                </a:xfrm>
                <a:custGeom>
                  <a:avLst/>
                  <a:gdLst>
                    <a:gd name="connsiteX0" fmla="*/ 0 w 5231"/>
                    <a:gd name="connsiteY0" fmla="*/ 51816 h 51816"/>
                    <a:gd name="connsiteX1" fmla="*/ 3612 w 5231"/>
                    <a:gd name="connsiteY1" fmla="*/ 33381 h 51816"/>
                    <a:gd name="connsiteX2" fmla="*/ 1619 w 5231"/>
                    <a:gd name="connsiteY2" fmla="*/ 16068 h 51816"/>
                    <a:gd name="connsiteX3" fmla="*/ 5231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0" y="51816"/>
                      </a:moveTo>
                      <a:cubicBezTo>
                        <a:pt x="3114" y="43969"/>
                        <a:pt x="3737" y="37741"/>
                        <a:pt x="3612" y="33381"/>
                      </a:cubicBezTo>
                      <a:cubicBezTo>
                        <a:pt x="3488" y="26406"/>
                        <a:pt x="1495" y="23168"/>
                        <a:pt x="1619" y="16068"/>
                      </a:cubicBezTo>
                      <a:cubicBezTo>
                        <a:pt x="1744" y="9217"/>
                        <a:pt x="3612" y="3612"/>
                        <a:pt x="5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9" name="Freeform 8100">
                  <a:extLst>
                    <a:ext uri="{FF2B5EF4-FFF2-40B4-BE49-F238E27FC236}">
                      <a16:creationId xmlns:a16="http://schemas.microsoft.com/office/drawing/2014/main" id="{61914C99-90A6-FB2E-3FFC-5A165674E388}"/>
                    </a:ext>
                  </a:extLst>
                </p:cNvPr>
                <p:cNvSpPr/>
                <p:nvPr/>
              </p:nvSpPr>
              <p:spPr>
                <a:xfrm>
                  <a:off x="4985046" y="1892852"/>
                  <a:ext cx="6151" cy="51940"/>
                </a:xfrm>
                <a:custGeom>
                  <a:avLst/>
                  <a:gdLst>
                    <a:gd name="connsiteX0" fmla="*/ 4983 w 6151"/>
                    <a:gd name="connsiteY0" fmla="*/ 0 h 51940"/>
                    <a:gd name="connsiteX1" fmla="*/ 5357 w 6151"/>
                    <a:gd name="connsiteY1" fmla="*/ 18808 h 51940"/>
                    <a:gd name="connsiteX2" fmla="*/ 499 w 6151"/>
                    <a:gd name="connsiteY2" fmla="*/ 35499 h 51940"/>
                    <a:gd name="connsiteX3" fmla="*/ 1246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0"/>
                      </a:moveTo>
                      <a:cubicBezTo>
                        <a:pt x="6727" y="8221"/>
                        <a:pt x="6229" y="14573"/>
                        <a:pt x="5357" y="18808"/>
                      </a:cubicBezTo>
                      <a:cubicBezTo>
                        <a:pt x="3987" y="25659"/>
                        <a:pt x="1620" y="28524"/>
                        <a:pt x="499" y="35499"/>
                      </a:cubicBezTo>
                      <a:cubicBezTo>
                        <a:pt x="-622" y="42350"/>
                        <a:pt x="374" y="48204"/>
                        <a:pt x="124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0" name="Freeform 8101">
                  <a:extLst>
                    <a:ext uri="{FF2B5EF4-FFF2-40B4-BE49-F238E27FC236}">
                      <a16:creationId xmlns:a16="http://schemas.microsoft.com/office/drawing/2014/main" id="{B27C42EB-600D-0276-A72D-09A6C6527EFE}"/>
                    </a:ext>
                  </a:extLst>
                </p:cNvPr>
                <p:cNvSpPr/>
                <p:nvPr/>
              </p:nvSpPr>
              <p:spPr>
                <a:xfrm>
                  <a:off x="4976155" y="1934032"/>
                  <a:ext cx="26751" cy="26504"/>
                </a:xfrm>
                <a:custGeom>
                  <a:avLst/>
                  <a:gdLst>
                    <a:gd name="connsiteX0" fmla="*/ 48 w 26751"/>
                    <a:gd name="connsiteY0" fmla="*/ 12131 h 26504"/>
                    <a:gd name="connsiteX1" fmla="*/ 14497 w 26751"/>
                    <a:gd name="connsiteY1" fmla="*/ 49 h 26504"/>
                    <a:gd name="connsiteX2" fmla="*/ 26703 w 26751"/>
                    <a:gd name="connsiteY2" fmla="*/ 14373 h 26504"/>
                    <a:gd name="connsiteX3" fmla="*/ 12255 w 26751"/>
                    <a:gd name="connsiteY3" fmla="*/ 26455 h 26504"/>
                    <a:gd name="connsiteX4" fmla="*/ 48 w 26751"/>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04">
                      <a:moveTo>
                        <a:pt x="48" y="12131"/>
                      </a:moveTo>
                      <a:cubicBezTo>
                        <a:pt x="671" y="4782"/>
                        <a:pt x="7148" y="-574"/>
                        <a:pt x="14497" y="49"/>
                      </a:cubicBezTo>
                      <a:cubicBezTo>
                        <a:pt x="21846" y="672"/>
                        <a:pt x="27326" y="7024"/>
                        <a:pt x="26703" y="14373"/>
                      </a:cubicBezTo>
                      <a:cubicBezTo>
                        <a:pt x="26081" y="21722"/>
                        <a:pt x="19604" y="27078"/>
                        <a:pt x="12255" y="26455"/>
                      </a:cubicBezTo>
                      <a:cubicBezTo>
                        <a:pt x="4906" y="25833"/>
                        <a:pt x="-575" y="19356"/>
                        <a:pt x="4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1" name="Freeform 8102">
                  <a:extLst>
                    <a:ext uri="{FF2B5EF4-FFF2-40B4-BE49-F238E27FC236}">
                      <a16:creationId xmlns:a16="http://schemas.microsoft.com/office/drawing/2014/main" id="{FFC01F26-E73F-E146-4BCD-519B6D9C9D0D}"/>
                    </a:ext>
                  </a:extLst>
                </p:cNvPr>
                <p:cNvSpPr/>
                <p:nvPr/>
              </p:nvSpPr>
              <p:spPr>
                <a:xfrm>
                  <a:off x="4990403" y="1832068"/>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242"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2" name="Freeform 8103">
                  <a:extLst>
                    <a:ext uri="{FF2B5EF4-FFF2-40B4-BE49-F238E27FC236}">
                      <a16:creationId xmlns:a16="http://schemas.microsoft.com/office/drawing/2014/main" id="{40587143-D2BC-7A18-8BD4-AE71EC0D7551}"/>
                    </a:ext>
                  </a:extLst>
                </p:cNvPr>
                <p:cNvSpPr/>
                <p:nvPr/>
              </p:nvSpPr>
              <p:spPr>
                <a:xfrm>
                  <a:off x="4998327" y="1827709"/>
                  <a:ext cx="6151" cy="51940"/>
                </a:xfrm>
                <a:custGeom>
                  <a:avLst/>
                  <a:gdLst>
                    <a:gd name="connsiteX0" fmla="*/ 1168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51941"/>
                      </a:moveTo>
                      <a:cubicBezTo>
                        <a:pt x="-576" y="43720"/>
                        <a:pt x="-77" y="37367"/>
                        <a:pt x="795" y="33132"/>
                      </a:cubicBezTo>
                      <a:cubicBezTo>
                        <a:pt x="2165"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13" name="Freeform 8104">
                  <a:extLst>
                    <a:ext uri="{FF2B5EF4-FFF2-40B4-BE49-F238E27FC236}">
                      <a16:creationId xmlns:a16="http://schemas.microsoft.com/office/drawing/2014/main" id="{C775CB05-F262-9D1F-4145-BC46C9407FA1}"/>
                    </a:ext>
                  </a:extLst>
                </p:cNvPr>
                <p:cNvSpPr/>
                <p:nvPr/>
              </p:nvSpPr>
              <p:spPr>
                <a:xfrm>
                  <a:off x="4986847" y="1811965"/>
                  <a:ext cx="26398" cy="26504"/>
                </a:xfrm>
                <a:custGeom>
                  <a:avLst/>
                  <a:gdLst>
                    <a:gd name="connsiteX0" fmla="*/ 26350 w 26398"/>
                    <a:gd name="connsiteY0" fmla="*/ 14373 h 26504"/>
                    <a:gd name="connsiteX1" fmla="*/ 12026 w 26398"/>
                    <a:gd name="connsiteY1" fmla="*/ 26455 h 26504"/>
                    <a:gd name="connsiteX2" fmla="*/ 68 w 26398"/>
                    <a:gd name="connsiteY2" fmla="*/ 12131 h 26504"/>
                    <a:gd name="connsiteX3" fmla="*/ 14392 w 26398"/>
                    <a:gd name="connsiteY3" fmla="*/ 49 h 26504"/>
                    <a:gd name="connsiteX4" fmla="*/ 26350 w 26398"/>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8" h="26504">
                      <a:moveTo>
                        <a:pt x="26350" y="14373"/>
                      </a:moveTo>
                      <a:cubicBezTo>
                        <a:pt x="25727" y="21722"/>
                        <a:pt x="19375" y="27078"/>
                        <a:pt x="12026" y="26455"/>
                      </a:cubicBezTo>
                      <a:cubicBezTo>
                        <a:pt x="4802" y="25833"/>
                        <a:pt x="-679" y="19480"/>
                        <a:pt x="68" y="12131"/>
                      </a:cubicBezTo>
                      <a:cubicBezTo>
                        <a:pt x="816" y="4782"/>
                        <a:pt x="7168" y="-574"/>
                        <a:pt x="14392" y="49"/>
                      </a:cubicBezTo>
                      <a:cubicBezTo>
                        <a:pt x="21492" y="672"/>
                        <a:pt x="26973" y="7149"/>
                        <a:pt x="263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5" name="Graphic 2987">
                <a:extLst>
                  <a:ext uri="{FF2B5EF4-FFF2-40B4-BE49-F238E27FC236}">
                    <a16:creationId xmlns:a16="http://schemas.microsoft.com/office/drawing/2014/main" id="{A6D3BEC3-3D98-F10A-39FD-88A2D85782FF}"/>
                  </a:ext>
                </a:extLst>
              </p:cNvPr>
              <p:cNvGrpSpPr/>
              <p:nvPr/>
            </p:nvGrpSpPr>
            <p:grpSpPr>
              <a:xfrm>
                <a:off x="4946385" y="1809599"/>
                <a:ext cx="37465" cy="148446"/>
                <a:chOff x="4946385" y="1809599"/>
                <a:chExt cx="37465" cy="148446"/>
              </a:xfrm>
              <a:grpFill/>
            </p:grpSpPr>
            <p:sp>
              <p:nvSpPr>
                <p:cNvPr id="6102" name="Freeform 8106">
                  <a:extLst>
                    <a:ext uri="{FF2B5EF4-FFF2-40B4-BE49-F238E27FC236}">
                      <a16:creationId xmlns:a16="http://schemas.microsoft.com/office/drawing/2014/main" id="{E9D62388-4389-5205-4C70-E2E3977523A3}"/>
                    </a:ext>
                  </a:extLst>
                </p:cNvPr>
                <p:cNvSpPr/>
                <p:nvPr/>
              </p:nvSpPr>
              <p:spPr>
                <a:xfrm>
                  <a:off x="4963997" y="1886126"/>
                  <a:ext cx="5355" cy="51815"/>
                </a:xfrm>
                <a:custGeom>
                  <a:avLst/>
                  <a:gdLst>
                    <a:gd name="connsiteX0" fmla="*/ 0 w 5355"/>
                    <a:gd name="connsiteY0" fmla="*/ 51816 h 51815"/>
                    <a:gd name="connsiteX1" fmla="*/ 3612 w 5355"/>
                    <a:gd name="connsiteY1" fmla="*/ 33381 h 51815"/>
                    <a:gd name="connsiteX2" fmla="*/ 1744 w 5355"/>
                    <a:gd name="connsiteY2" fmla="*/ 16068 h 51815"/>
                    <a:gd name="connsiteX3" fmla="*/ 5356 w 5355"/>
                    <a:gd name="connsiteY3" fmla="*/ 0 h 51815"/>
                  </a:gdLst>
                  <a:ahLst/>
                  <a:cxnLst>
                    <a:cxn ang="0">
                      <a:pos x="connsiteX0" y="connsiteY0"/>
                    </a:cxn>
                    <a:cxn ang="0">
                      <a:pos x="connsiteX1" y="connsiteY1"/>
                    </a:cxn>
                    <a:cxn ang="0">
                      <a:pos x="connsiteX2" y="connsiteY2"/>
                    </a:cxn>
                    <a:cxn ang="0">
                      <a:pos x="connsiteX3" y="connsiteY3"/>
                    </a:cxn>
                  </a:cxnLst>
                  <a:rect l="l" t="t" r="r" b="b"/>
                  <a:pathLst>
                    <a:path w="5355" h="51815">
                      <a:moveTo>
                        <a:pt x="0" y="51816"/>
                      </a:moveTo>
                      <a:cubicBezTo>
                        <a:pt x="3239" y="43969"/>
                        <a:pt x="3737" y="37741"/>
                        <a:pt x="3612" y="33381"/>
                      </a:cubicBezTo>
                      <a:cubicBezTo>
                        <a:pt x="3488" y="26406"/>
                        <a:pt x="1619" y="23168"/>
                        <a:pt x="1744" y="16068"/>
                      </a:cubicBezTo>
                      <a:cubicBezTo>
                        <a:pt x="1868"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3" name="Freeform 8107">
                  <a:extLst>
                    <a:ext uri="{FF2B5EF4-FFF2-40B4-BE49-F238E27FC236}">
                      <a16:creationId xmlns:a16="http://schemas.microsoft.com/office/drawing/2014/main" id="{AFAA2AE5-A4E5-1D76-8948-88F815BE97E8}"/>
                    </a:ext>
                  </a:extLst>
                </p:cNvPr>
                <p:cNvSpPr/>
                <p:nvPr/>
              </p:nvSpPr>
              <p:spPr>
                <a:xfrm>
                  <a:off x="4955374" y="1890486"/>
                  <a:ext cx="6302" cy="51940"/>
                </a:xfrm>
                <a:custGeom>
                  <a:avLst/>
                  <a:gdLst>
                    <a:gd name="connsiteX0" fmla="*/ 5135 w 6302"/>
                    <a:gd name="connsiteY0" fmla="*/ 0 h 51940"/>
                    <a:gd name="connsiteX1" fmla="*/ 5508 w 6302"/>
                    <a:gd name="connsiteY1" fmla="*/ 18808 h 51940"/>
                    <a:gd name="connsiteX2" fmla="*/ 526 w 6302"/>
                    <a:gd name="connsiteY2" fmla="*/ 35499 h 51940"/>
                    <a:gd name="connsiteX3" fmla="*/ 1273 w 630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02" h="51940">
                      <a:moveTo>
                        <a:pt x="5135" y="0"/>
                      </a:moveTo>
                      <a:cubicBezTo>
                        <a:pt x="6879" y="8221"/>
                        <a:pt x="6380" y="14573"/>
                        <a:pt x="5508" y="18808"/>
                      </a:cubicBezTo>
                      <a:cubicBezTo>
                        <a:pt x="4138" y="25659"/>
                        <a:pt x="1772" y="28524"/>
                        <a:pt x="526" y="35499"/>
                      </a:cubicBezTo>
                      <a:cubicBezTo>
                        <a:pt x="-595" y="42350"/>
                        <a:pt x="277" y="48204"/>
                        <a:pt x="127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4" name="Freeform 8108">
                  <a:extLst>
                    <a:ext uri="{FF2B5EF4-FFF2-40B4-BE49-F238E27FC236}">
                      <a16:creationId xmlns:a16="http://schemas.microsoft.com/office/drawing/2014/main" id="{6B7EEEA1-A8D4-FC8F-3FA6-7AEEB9AB4830}"/>
                    </a:ext>
                  </a:extLst>
                </p:cNvPr>
                <p:cNvSpPr/>
                <p:nvPr/>
              </p:nvSpPr>
              <p:spPr>
                <a:xfrm>
                  <a:off x="4946385" y="1931541"/>
                  <a:ext cx="26629" cy="26504"/>
                </a:xfrm>
                <a:custGeom>
                  <a:avLst/>
                  <a:gdLst>
                    <a:gd name="connsiteX0" fmla="*/ 49 w 26629"/>
                    <a:gd name="connsiteY0" fmla="*/ 12131 h 26504"/>
                    <a:gd name="connsiteX1" fmla="*/ 14498 w 26629"/>
                    <a:gd name="connsiteY1" fmla="*/ 49 h 26504"/>
                    <a:gd name="connsiteX2" fmla="*/ 26580 w 26629"/>
                    <a:gd name="connsiteY2" fmla="*/ 14373 h 26504"/>
                    <a:gd name="connsiteX3" fmla="*/ 12131 w 26629"/>
                    <a:gd name="connsiteY3" fmla="*/ 26455 h 26504"/>
                    <a:gd name="connsiteX4" fmla="*/ 49 w 26629"/>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4">
                      <a:moveTo>
                        <a:pt x="49" y="12131"/>
                      </a:moveTo>
                      <a:cubicBezTo>
                        <a:pt x="672" y="4782"/>
                        <a:pt x="7149" y="-574"/>
                        <a:pt x="14498" y="49"/>
                      </a:cubicBezTo>
                      <a:cubicBezTo>
                        <a:pt x="21847" y="672"/>
                        <a:pt x="27203" y="7024"/>
                        <a:pt x="26580" y="14373"/>
                      </a:cubicBezTo>
                      <a:cubicBezTo>
                        <a:pt x="25957" y="21722"/>
                        <a:pt x="19480" y="27078"/>
                        <a:pt x="12131" y="26455"/>
                      </a:cubicBezTo>
                      <a:cubicBezTo>
                        <a:pt x="4782" y="25833"/>
                        <a:pt x="-573"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5" name="Freeform 8109">
                  <a:extLst>
                    <a:ext uri="{FF2B5EF4-FFF2-40B4-BE49-F238E27FC236}">
                      <a16:creationId xmlns:a16="http://schemas.microsoft.com/office/drawing/2014/main" id="{901CB4CF-6D0D-B405-BB80-7D9F82A897C5}"/>
                    </a:ext>
                  </a:extLst>
                </p:cNvPr>
                <p:cNvSpPr/>
                <p:nvPr/>
              </p:nvSpPr>
              <p:spPr>
                <a:xfrm>
                  <a:off x="4961007" y="1829577"/>
                  <a:ext cx="5355" cy="51815"/>
                </a:xfrm>
                <a:custGeom>
                  <a:avLst/>
                  <a:gdLst>
                    <a:gd name="connsiteX0" fmla="*/ 5356 w 5355"/>
                    <a:gd name="connsiteY0" fmla="*/ 0 h 51815"/>
                    <a:gd name="connsiteX1" fmla="*/ 1744 w 5355"/>
                    <a:gd name="connsiteY1" fmla="*/ 18435 h 51815"/>
                    <a:gd name="connsiteX2" fmla="*/ 3612 w 5355"/>
                    <a:gd name="connsiteY2" fmla="*/ 35748 h 51815"/>
                    <a:gd name="connsiteX3" fmla="*/ 0 w 5355"/>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355" h="51815">
                      <a:moveTo>
                        <a:pt x="5356" y="0"/>
                      </a:moveTo>
                      <a:cubicBezTo>
                        <a:pt x="2117" y="7847"/>
                        <a:pt x="1619" y="14075"/>
                        <a:pt x="1744" y="18435"/>
                      </a:cubicBezTo>
                      <a:cubicBezTo>
                        <a:pt x="1868" y="25410"/>
                        <a:pt x="3737" y="28648"/>
                        <a:pt x="3612"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6" name="Freeform 8110">
                  <a:extLst>
                    <a:ext uri="{FF2B5EF4-FFF2-40B4-BE49-F238E27FC236}">
                      <a16:creationId xmlns:a16="http://schemas.microsoft.com/office/drawing/2014/main" id="{D28F3728-3918-D31C-7070-E4CFC57B9DBA}"/>
                    </a:ext>
                  </a:extLst>
                </p:cNvPr>
                <p:cNvSpPr/>
                <p:nvPr/>
              </p:nvSpPr>
              <p:spPr>
                <a:xfrm>
                  <a:off x="4968682" y="1825218"/>
                  <a:ext cx="6178" cy="51940"/>
                </a:xfrm>
                <a:custGeom>
                  <a:avLst/>
                  <a:gdLst>
                    <a:gd name="connsiteX0" fmla="*/ 1168 w 6178"/>
                    <a:gd name="connsiteY0" fmla="*/ 51941 h 51940"/>
                    <a:gd name="connsiteX1" fmla="*/ 795 w 6178"/>
                    <a:gd name="connsiteY1" fmla="*/ 33132 h 51940"/>
                    <a:gd name="connsiteX2" fmla="*/ 5652 w 6178"/>
                    <a:gd name="connsiteY2" fmla="*/ 16442 h 51940"/>
                    <a:gd name="connsiteX3" fmla="*/ 4905 w 6178"/>
                    <a:gd name="connsiteY3" fmla="*/ 0 h 51940"/>
                  </a:gdLst>
                  <a:ahLst/>
                  <a:cxnLst>
                    <a:cxn ang="0">
                      <a:pos x="connsiteX0" y="connsiteY0"/>
                    </a:cxn>
                    <a:cxn ang="0">
                      <a:pos x="connsiteX1" y="connsiteY1"/>
                    </a:cxn>
                    <a:cxn ang="0">
                      <a:pos x="connsiteX2" y="connsiteY2"/>
                    </a:cxn>
                    <a:cxn ang="0">
                      <a:pos x="connsiteX3" y="connsiteY3"/>
                    </a:cxn>
                  </a:cxnLst>
                  <a:rect l="l" t="t" r="r" b="b"/>
                  <a:pathLst>
                    <a:path w="6178" h="51940">
                      <a:moveTo>
                        <a:pt x="1168" y="51941"/>
                      </a:moveTo>
                      <a:cubicBezTo>
                        <a:pt x="-576" y="43720"/>
                        <a:pt x="-77" y="37367"/>
                        <a:pt x="795" y="33132"/>
                      </a:cubicBezTo>
                      <a:cubicBezTo>
                        <a:pt x="2165" y="26282"/>
                        <a:pt x="4531" y="23417"/>
                        <a:pt x="5652" y="16442"/>
                      </a:cubicBezTo>
                      <a:cubicBezTo>
                        <a:pt x="6774" y="9591"/>
                        <a:pt x="5902"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7" name="Freeform 8111">
                  <a:extLst>
                    <a:ext uri="{FF2B5EF4-FFF2-40B4-BE49-F238E27FC236}">
                      <a16:creationId xmlns:a16="http://schemas.microsoft.com/office/drawing/2014/main" id="{07E157A2-7CA9-B535-228F-4226BA4C1E90}"/>
                    </a:ext>
                  </a:extLst>
                </p:cNvPr>
                <p:cNvSpPr/>
                <p:nvPr/>
              </p:nvSpPr>
              <p:spPr>
                <a:xfrm>
                  <a:off x="4957470" y="1809599"/>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3" y="25833"/>
                        <a:pt x="-574"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6" name="Graphic 2987">
                <a:extLst>
                  <a:ext uri="{FF2B5EF4-FFF2-40B4-BE49-F238E27FC236}">
                    <a16:creationId xmlns:a16="http://schemas.microsoft.com/office/drawing/2014/main" id="{FFE0A869-EA3E-9B7A-96E6-319E351EF19F}"/>
                  </a:ext>
                </a:extLst>
              </p:cNvPr>
              <p:cNvGrpSpPr/>
              <p:nvPr/>
            </p:nvGrpSpPr>
            <p:grpSpPr>
              <a:xfrm>
                <a:off x="4916721" y="1807108"/>
                <a:ext cx="37734" cy="148446"/>
                <a:chOff x="4916721" y="1807108"/>
                <a:chExt cx="37734" cy="148446"/>
              </a:xfrm>
              <a:grpFill/>
            </p:grpSpPr>
            <p:sp>
              <p:nvSpPr>
                <p:cNvPr id="6096" name="Freeform 8113">
                  <a:extLst>
                    <a:ext uri="{FF2B5EF4-FFF2-40B4-BE49-F238E27FC236}">
                      <a16:creationId xmlns:a16="http://schemas.microsoft.com/office/drawing/2014/main" id="{7509A6F9-CEA4-9660-6730-9C5BB9D53E0F}"/>
                    </a:ext>
                  </a:extLst>
                </p:cNvPr>
                <p:cNvSpPr/>
                <p:nvPr/>
              </p:nvSpPr>
              <p:spPr>
                <a:xfrm>
                  <a:off x="4934352" y="1883760"/>
                  <a:ext cx="5480" cy="51815"/>
                </a:xfrm>
                <a:custGeom>
                  <a:avLst/>
                  <a:gdLst>
                    <a:gd name="connsiteX0" fmla="*/ 0 w 5480"/>
                    <a:gd name="connsiteY0" fmla="*/ 51816 h 51815"/>
                    <a:gd name="connsiteX1" fmla="*/ 3737 w 5480"/>
                    <a:gd name="connsiteY1" fmla="*/ 33381 h 51815"/>
                    <a:gd name="connsiteX2" fmla="*/ 1868 w 5480"/>
                    <a:gd name="connsiteY2" fmla="*/ 16068 h 51815"/>
                    <a:gd name="connsiteX3" fmla="*/ 5481 w 5480"/>
                    <a:gd name="connsiteY3" fmla="*/ 0 h 51815"/>
                  </a:gdLst>
                  <a:ahLst/>
                  <a:cxnLst>
                    <a:cxn ang="0">
                      <a:pos x="connsiteX0" y="connsiteY0"/>
                    </a:cxn>
                    <a:cxn ang="0">
                      <a:pos x="connsiteX1" y="connsiteY1"/>
                    </a:cxn>
                    <a:cxn ang="0">
                      <a:pos x="connsiteX2" y="connsiteY2"/>
                    </a:cxn>
                    <a:cxn ang="0">
                      <a:pos x="connsiteX3" y="connsiteY3"/>
                    </a:cxn>
                  </a:cxnLst>
                  <a:rect l="l" t="t" r="r" b="b"/>
                  <a:pathLst>
                    <a:path w="5480" h="51815">
                      <a:moveTo>
                        <a:pt x="0" y="51816"/>
                      </a:moveTo>
                      <a:cubicBezTo>
                        <a:pt x="3239" y="43969"/>
                        <a:pt x="3737" y="37741"/>
                        <a:pt x="3737" y="33381"/>
                      </a:cubicBezTo>
                      <a:cubicBezTo>
                        <a:pt x="3612" y="26406"/>
                        <a:pt x="1744" y="23168"/>
                        <a:pt x="1868" y="16068"/>
                      </a:cubicBezTo>
                      <a:cubicBezTo>
                        <a:pt x="1993" y="9217"/>
                        <a:pt x="3861" y="3612"/>
                        <a:pt x="54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7" name="Freeform 8114">
                  <a:extLst>
                    <a:ext uri="{FF2B5EF4-FFF2-40B4-BE49-F238E27FC236}">
                      <a16:creationId xmlns:a16="http://schemas.microsoft.com/office/drawing/2014/main" id="{7BF2F5D6-E780-D0C5-7B16-478C7AEAF7A4}"/>
                    </a:ext>
                  </a:extLst>
                </p:cNvPr>
                <p:cNvSpPr/>
                <p:nvPr/>
              </p:nvSpPr>
              <p:spPr>
                <a:xfrm>
                  <a:off x="4925600" y="1887995"/>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8" name="Freeform 8115">
                  <a:extLst>
                    <a:ext uri="{FF2B5EF4-FFF2-40B4-BE49-F238E27FC236}">
                      <a16:creationId xmlns:a16="http://schemas.microsoft.com/office/drawing/2014/main" id="{D6F1411A-23D4-A551-D6EF-23071D2A507B}"/>
                    </a:ext>
                  </a:extLst>
                </p:cNvPr>
                <p:cNvSpPr/>
                <p:nvPr/>
              </p:nvSpPr>
              <p:spPr>
                <a:xfrm>
                  <a:off x="4916721" y="1929049"/>
                  <a:ext cx="26648" cy="26504"/>
                </a:xfrm>
                <a:custGeom>
                  <a:avLst/>
                  <a:gdLst>
                    <a:gd name="connsiteX0" fmla="*/ 68 w 26648"/>
                    <a:gd name="connsiteY0" fmla="*/ 12131 h 26504"/>
                    <a:gd name="connsiteX1" fmla="*/ 14517 w 26648"/>
                    <a:gd name="connsiteY1" fmla="*/ 49 h 26504"/>
                    <a:gd name="connsiteX2" fmla="*/ 26599 w 26648"/>
                    <a:gd name="connsiteY2" fmla="*/ 14373 h 26504"/>
                    <a:gd name="connsiteX3" fmla="*/ 12150 w 26648"/>
                    <a:gd name="connsiteY3" fmla="*/ 26455 h 26504"/>
                    <a:gd name="connsiteX4" fmla="*/ 68 w 26648"/>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4">
                      <a:moveTo>
                        <a:pt x="68" y="12131"/>
                      </a:moveTo>
                      <a:cubicBezTo>
                        <a:pt x="691" y="4782"/>
                        <a:pt x="7293" y="-574"/>
                        <a:pt x="14517" y="49"/>
                      </a:cubicBezTo>
                      <a:cubicBezTo>
                        <a:pt x="21866" y="672"/>
                        <a:pt x="27222" y="7024"/>
                        <a:pt x="26599" y="14373"/>
                      </a:cubicBezTo>
                      <a:cubicBezTo>
                        <a:pt x="25976" y="21722"/>
                        <a:pt x="19499" y="27078"/>
                        <a:pt x="12150" y="26455"/>
                      </a:cubicBezTo>
                      <a:cubicBezTo>
                        <a:pt x="4801" y="25833"/>
                        <a:pt x="-679" y="19356"/>
                        <a:pt x="68"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9" name="Freeform 8116">
                  <a:extLst>
                    <a:ext uri="{FF2B5EF4-FFF2-40B4-BE49-F238E27FC236}">
                      <a16:creationId xmlns:a16="http://schemas.microsoft.com/office/drawing/2014/main" id="{25BED80B-F567-6698-5B87-A8FFF7656EA6}"/>
                    </a:ext>
                  </a:extLst>
                </p:cNvPr>
                <p:cNvSpPr/>
                <p:nvPr/>
              </p:nvSpPr>
              <p:spPr>
                <a:xfrm>
                  <a:off x="4931487" y="1827086"/>
                  <a:ext cx="5480" cy="51815"/>
                </a:xfrm>
                <a:custGeom>
                  <a:avLst/>
                  <a:gdLst>
                    <a:gd name="connsiteX0" fmla="*/ 5480 w 5480"/>
                    <a:gd name="connsiteY0" fmla="*/ 0 h 51815"/>
                    <a:gd name="connsiteX1" fmla="*/ 1744 w 5480"/>
                    <a:gd name="connsiteY1" fmla="*/ 18435 h 51815"/>
                    <a:gd name="connsiteX2" fmla="*/ 3612 w 5480"/>
                    <a:gd name="connsiteY2" fmla="*/ 35748 h 51815"/>
                    <a:gd name="connsiteX3" fmla="*/ 0 w 548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480" h="51815">
                      <a:moveTo>
                        <a:pt x="5480" y="0"/>
                      </a:moveTo>
                      <a:cubicBezTo>
                        <a:pt x="2242" y="7847"/>
                        <a:pt x="1744" y="14075"/>
                        <a:pt x="1744" y="18435"/>
                      </a:cubicBezTo>
                      <a:cubicBezTo>
                        <a:pt x="1868" y="25410"/>
                        <a:pt x="3737" y="28648"/>
                        <a:pt x="3612"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0" name="Freeform 8117">
                  <a:extLst>
                    <a:ext uri="{FF2B5EF4-FFF2-40B4-BE49-F238E27FC236}">
                      <a16:creationId xmlns:a16="http://schemas.microsoft.com/office/drawing/2014/main" id="{4E82EE45-2210-466B-7083-4C58E83FCD6E}"/>
                    </a:ext>
                  </a:extLst>
                </p:cNvPr>
                <p:cNvSpPr/>
                <p:nvPr/>
              </p:nvSpPr>
              <p:spPr>
                <a:xfrm>
                  <a:off x="4939220" y="1822726"/>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3" y="23417"/>
                        <a:pt x="5844" y="16442"/>
                      </a:cubicBezTo>
                      <a:cubicBezTo>
                        <a:pt x="6965"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101" name="Freeform 8118">
                  <a:extLst>
                    <a:ext uri="{FF2B5EF4-FFF2-40B4-BE49-F238E27FC236}">
                      <a16:creationId xmlns:a16="http://schemas.microsoft.com/office/drawing/2014/main" id="{4E239C79-290F-9F81-C623-813D9E3DCB53}"/>
                    </a:ext>
                  </a:extLst>
                </p:cNvPr>
                <p:cNvSpPr/>
                <p:nvPr/>
              </p:nvSpPr>
              <p:spPr>
                <a:xfrm>
                  <a:off x="4928075" y="1807108"/>
                  <a:ext cx="26380" cy="26504"/>
                </a:xfrm>
                <a:custGeom>
                  <a:avLst/>
                  <a:gdLst>
                    <a:gd name="connsiteX0" fmla="*/ 26331 w 26380"/>
                    <a:gd name="connsiteY0" fmla="*/ 14373 h 26504"/>
                    <a:gd name="connsiteX1" fmla="*/ 12007 w 26380"/>
                    <a:gd name="connsiteY1" fmla="*/ 26455 h 26504"/>
                    <a:gd name="connsiteX2" fmla="*/ 49 w 26380"/>
                    <a:gd name="connsiteY2" fmla="*/ 12131 h 26504"/>
                    <a:gd name="connsiteX3" fmla="*/ 14373 w 26380"/>
                    <a:gd name="connsiteY3" fmla="*/ 49 h 26504"/>
                    <a:gd name="connsiteX4" fmla="*/ 26331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26331" y="14373"/>
                      </a:moveTo>
                      <a:cubicBezTo>
                        <a:pt x="25708" y="21722"/>
                        <a:pt x="19231" y="27078"/>
                        <a:pt x="12007" y="26455"/>
                      </a:cubicBezTo>
                      <a:cubicBezTo>
                        <a:pt x="4782" y="25833"/>
                        <a:pt x="-573" y="19480"/>
                        <a:pt x="49" y="12131"/>
                      </a:cubicBezTo>
                      <a:cubicBezTo>
                        <a:pt x="672" y="4782"/>
                        <a:pt x="7149" y="-574"/>
                        <a:pt x="14373" y="49"/>
                      </a:cubicBezTo>
                      <a:cubicBezTo>
                        <a:pt x="21598" y="672"/>
                        <a:pt x="26954" y="7024"/>
                        <a:pt x="26331"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7" name="Graphic 2987">
                <a:extLst>
                  <a:ext uri="{FF2B5EF4-FFF2-40B4-BE49-F238E27FC236}">
                    <a16:creationId xmlns:a16="http://schemas.microsoft.com/office/drawing/2014/main" id="{1EAF8ED1-1474-1140-183A-3833564544D8}"/>
                  </a:ext>
                </a:extLst>
              </p:cNvPr>
              <p:cNvGrpSpPr/>
              <p:nvPr/>
            </p:nvGrpSpPr>
            <p:grpSpPr>
              <a:xfrm>
                <a:off x="4886971" y="1804616"/>
                <a:ext cx="38088" cy="148446"/>
                <a:chOff x="4886971" y="1804616"/>
                <a:chExt cx="38088" cy="148446"/>
              </a:xfrm>
              <a:grpFill/>
            </p:grpSpPr>
            <p:sp>
              <p:nvSpPr>
                <p:cNvPr id="6090" name="Freeform 8120">
                  <a:extLst>
                    <a:ext uri="{FF2B5EF4-FFF2-40B4-BE49-F238E27FC236}">
                      <a16:creationId xmlns:a16="http://schemas.microsoft.com/office/drawing/2014/main" id="{EEB4A041-6112-6390-0B7F-9974D65160DD}"/>
                    </a:ext>
                  </a:extLst>
                </p:cNvPr>
                <p:cNvSpPr/>
                <p:nvPr/>
              </p:nvSpPr>
              <p:spPr>
                <a:xfrm>
                  <a:off x="4904707" y="1881269"/>
                  <a:ext cx="5605" cy="51815"/>
                </a:xfrm>
                <a:custGeom>
                  <a:avLst/>
                  <a:gdLst>
                    <a:gd name="connsiteX0" fmla="*/ 0 w 5605"/>
                    <a:gd name="connsiteY0" fmla="*/ 51816 h 51815"/>
                    <a:gd name="connsiteX1" fmla="*/ 3737 w 5605"/>
                    <a:gd name="connsiteY1" fmla="*/ 33381 h 51815"/>
                    <a:gd name="connsiteX2" fmla="*/ 1869 w 5605"/>
                    <a:gd name="connsiteY2" fmla="*/ 16068 h 51815"/>
                    <a:gd name="connsiteX3" fmla="*/ 5605 w 5605"/>
                    <a:gd name="connsiteY3" fmla="*/ 0 h 51815"/>
                  </a:gdLst>
                  <a:ahLst/>
                  <a:cxnLst>
                    <a:cxn ang="0">
                      <a:pos x="connsiteX0" y="connsiteY0"/>
                    </a:cxn>
                    <a:cxn ang="0">
                      <a:pos x="connsiteX1" y="connsiteY1"/>
                    </a:cxn>
                    <a:cxn ang="0">
                      <a:pos x="connsiteX2" y="connsiteY2"/>
                    </a:cxn>
                    <a:cxn ang="0">
                      <a:pos x="connsiteX3" y="connsiteY3"/>
                    </a:cxn>
                  </a:cxnLst>
                  <a:rect l="l" t="t" r="r" b="b"/>
                  <a:pathLst>
                    <a:path w="5605" h="51815">
                      <a:moveTo>
                        <a:pt x="0" y="51816"/>
                      </a:moveTo>
                      <a:cubicBezTo>
                        <a:pt x="3239" y="43969"/>
                        <a:pt x="3861" y="37741"/>
                        <a:pt x="3737" y="33381"/>
                      </a:cubicBezTo>
                      <a:cubicBezTo>
                        <a:pt x="3612" y="26406"/>
                        <a:pt x="1744" y="23168"/>
                        <a:pt x="1869" y="16068"/>
                      </a:cubicBezTo>
                      <a:cubicBezTo>
                        <a:pt x="1993" y="9217"/>
                        <a:pt x="3986"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1" name="Freeform 8121">
                  <a:extLst>
                    <a:ext uri="{FF2B5EF4-FFF2-40B4-BE49-F238E27FC236}">
                      <a16:creationId xmlns:a16="http://schemas.microsoft.com/office/drawing/2014/main" id="{CABF7269-687C-A5BF-654C-857E93DB2794}"/>
                    </a:ext>
                  </a:extLst>
                </p:cNvPr>
                <p:cNvSpPr/>
                <p:nvPr/>
              </p:nvSpPr>
              <p:spPr>
                <a:xfrm>
                  <a:off x="4896080" y="1885504"/>
                  <a:ext cx="6374" cy="51940"/>
                </a:xfrm>
                <a:custGeom>
                  <a:avLst/>
                  <a:gdLst>
                    <a:gd name="connsiteX0" fmla="*/ 5264 w 6374"/>
                    <a:gd name="connsiteY0" fmla="*/ 0 h 51940"/>
                    <a:gd name="connsiteX1" fmla="*/ 5513 w 6374"/>
                    <a:gd name="connsiteY1" fmla="*/ 18808 h 51940"/>
                    <a:gd name="connsiteX2" fmla="*/ 531 w 6374"/>
                    <a:gd name="connsiteY2" fmla="*/ 35499 h 51940"/>
                    <a:gd name="connsiteX3" fmla="*/ 1154 w 6374"/>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1" y="35499"/>
                      </a:cubicBezTo>
                      <a:cubicBezTo>
                        <a:pt x="-590" y="42350"/>
                        <a:pt x="282" y="48079"/>
                        <a:pt x="115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2" name="Freeform 8122">
                  <a:extLst>
                    <a:ext uri="{FF2B5EF4-FFF2-40B4-BE49-F238E27FC236}">
                      <a16:creationId xmlns:a16="http://schemas.microsoft.com/office/drawing/2014/main" id="{7169EE15-E068-F4EF-0667-45A49E592DB9}"/>
                    </a:ext>
                  </a:extLst>
                </p:cNvPr>
                <p:cNvSpPr/>
                <p:nvPr/>
              </p:nvSpPr>
              <p:spPr>
                <a:xfrm>
                  <a:off x="4886971" y="1926558"/>
                  <a:ext cx="26753" cy="26504"/>
                </a:xfrm>
                <a:custGeom>
                  <a:avLst/>
                  <a:gdLst>
                    <a:gd name="connsiteX0" fmla="*/ 49 w 26753"/>
                    <a:gd name="connsiteY0" fmla="*/ 12131 h 26504"/>
                    <a:gd name="connsiteX1" fmla="*/ 14622 w 26753"/>
                    <a:gd name="connsiteY1" fmla="*/ 49 h 26504"/>
                    <a:gd name="connsiteX2" fmla="*/ 26704 w 26753"/>
                    <a:gd name="connsiteY2" fmla="*/ 14373 h 26504"/>
                    <a:gd name="connsiteX3" fmla="*/ 12131 w 26753"/>
                    <a:gd name="connsiteY3" fmla="*/ 26455 h 26504"/>
                    <a:gd name="connsiteX4" fmla="*/ 49 w 26753"/>
                    <a:gd name="connsiteY4" fmla="*/ 1213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49" y="12131"/>
                      </a:moveTo>
                      <a:cubicBezTo>
                        <a:pt x="797" y="4782"/>
                        <a:pt x="7273" y="-574"/>
                        <a:pt x="14622" y="49"/>
                      </a:cubicBezTo>
                      <a:cubicBezTo>
                        <a:pt x="21971" y="672"/>
                        <a:pt x="27327" y="7024"/>
                        <a:pt x="26704" y="14373"/>
                      </a:cubicBezTo>
                      <a:cubicBezTo>
                        <a:pt x="26082" y="21722"/>
                        <a:pt x="19480" y="27078"/>
                        <a:pt x="12131" y="26455"/>
                      </a:cubicBezTo>
                      <a:cubicBezTo>
                        <a:pt x="4783" y="25833"/>
                        <a:pt x="-574" y="19356"/>
                        <a:pt x="4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3" name="Freeform 8123">
                  <a:extLst>
                    <a:ext uri="{FF2B5EF4-FFF2-40B4-BE49-F238E27FC236}">
                      <a16:creationId xmlns:a16="http://schemas.microsoft.com/office/drawing/2014/main" id="{3B32DFD7-7303-9266-26F7-BB334FF7B776}"/>
                    </a:ext>
                  </a:extLst>
                </p:cNvPr>
                <p:cNvSpPr/>
                <p:nvPr/>
              </p:nvSpPr>
              <p:spPr>
                <a:xfrm>
                  <a:off x="4901842" y="1824719"/>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847"/>
                        <a:pt x="1993" y="14075"/>
                        <a:pt x="1993" y="18435"/>
                      </a:cubicBezTo>
                      <a:cubicBezTo>
                        <a:pt x="2117" y="25410"/>
                        <a:pt x="3986"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4" name="Freeform 8124">
                  <a:extLst>
                    <a:ext uri="{FF2B5EF4-FFF2-40B4-BE49-F238E27FC236}">
                      <a16:creationId xmlns:a16="http://schemas.microsoft.com/office/drawing/2014/main" id="{F572DDAB-B0EE-DBD4-76AE-6029B5FFDD41}"/>
                    </a:ext>
                  </a:extLst>
                </p:cNvPr>
                <p:cNvSpPr/>
                <p:nvPr/>
              </p:nvSpPr>
              <p:spPr>
                <a:xfrm>
                  <a:off x="4909700" y="1820235"/>
                  <a:ext cx="6374" cy="51940"/>
                </a:xfrm>
                <a:custGeom>
                  <a:avLst/>
                  <a:gdLst>
                    <a:gd name="connsiteX0" fmla="*/ 1110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0" y="51941"/>
                      </a:moveTo>
                      <a:cubicBezTo>
                        <a:pt x="-634" y="43720"/>
                        <a:pt x="-11" y="37367"/>
                        <a:pt x="861" y="33132"/>
                      </a:cubicBezTo>
                      <a:cubicBezTo>
                        <a:pt x="2231" y="26282"/>
                        <a:pt x="4722" y="23417"/>
                        <a:pt x="5844" y="16442"/>
                      </a:cubicBezTo>
                      <a:cubicBezTo>
                        <a:pt x="6965" y="9591"/>
                        <a:pt x="6093" y="3861"/>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95" name="Freeform 8125">
                  <a:extLst>
                    <a:ext uri="{FF2B5EF4-FFF2-40B4-BE49-F238E27FC236}">
                      <a16:creationId xmlns:a16="http://schemas.microsoft.com/office/drawing/2014/main" id="{5A6C5F80-6F34-DA01-35E4-63414F213278}"/>
                    </a:ext>
                  </a:extLst>
                </p:cNvPr>
                <p:cNvSpPr/>
                <p:nvPr/>
              </p:nvSpPr>
              <p:spPr>
                <a:xfrm>
                  <a:off x="4898554" y="1804616"/>
                  <a:ext cx="26505" cy="26504"/>
                </a:xfrm>
                <a:custGeom>
                  <a:avLst/>
                  <a:gdLst>
                    <a:gd name="connsiteX0" fmla="*/ 26456 w 26505"/>
                    <a:gd name="connsiteY0" fmla="*/ 14373 h 26504"/>
                    <a:gd name="connsiteX1" fmla="*/ 12008 w 26505"/>
                    <a:gd name="connsiteY1" fmla="*/ 26455 h 26504"/>
                    <a:gd name="connsiteX2" fmla="*/ 50 w 26505"/>
                    <a:gd name="connsiteY2" fmla="*/ 12131 h 26504"/>
                    <a:gd name="connsiteX3" fmla="*/ 14499 w 26505"/>
                    <a:gd name="connsiteY3" fmla="*/ 49 h 26504"/>
                    <a:gd name="connsiteX4" fmla="*/ 26456 w 2650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5" h="26504">
                      <a:moveTo>
                        <a:pt x="26456" y="14373"/>
                      </a:moveTo>
                      <a:cubicBezTo>
                        <a:pt x="25834" y="21722"/>
                        <a:pt x="19357" y="27078"/>
                        <a:pt x="12008" y="26455"/>
                      </a:cubicBezTo>
                      <a:cubicBezTo>
                        <a:pt x="4659" y="25833"/>
                        <a:pt x="-572" y="19480"/>
                        <a:pt x="50" y="12131"/>
                      </a:cubicBezTo>
                      <a:cubicBezTo>
                        <a:pt x="798" y="4782"/>
                        <a:pt x="7150" y="-574"/>
                        <a:pt x="14499" y="49"/>
                      </a:cubicBezTo>
                      <a:cubicBezTo>
                        <a:pt x="21723" y="672"/>
                        <a:pt x="27079" y="7149"/>
                        <a:pt x="26456"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8" name="Graphic 2987">
                <a:extLst>
                  <a:ext uri="{FF2B5EF4-FFF2-40B4-BE49-F238E27FC236}">
                    <a16:creationId xmlns:a16="http://schemas.microsoft.com/office/drawing/2014/main" id="{E076F6A8-4DCD-D999-D42D-5116280BB669}"/>
                  </a:ext>
                </a:extLst>
              </p:cNvPr>
              <p:cNvGrpSpPr/>
              <p:nvPr/>
            </p:nvGrpSpPr>
            <p:grpSpPr>
              <a:xfrm>
                <a:off x="4857307" y="1801856"/>
                <a:ext cx="38357" cy="148635"/>
                <a:chOff x="4857307" y="1801856"/>
                <a:chExt cx="38357" cy="148635"/>
              </a:xfrm>
              <a:grpFill/>
            </p:grpSpPr>
            <p:sp>
              <p:nvSpPr>
                <p:cNvPr id="6084" name="Freeform 8127">
                  <a:extLst>
                    <a:ext uri="{FF2B5EF4-FFF2-40B4-BE49-F238E27FC236}">
                      <a16:creationId xmlns:a16="http://schemas.microsoft.com/office/drawing/2014/main" id="{F9E9CC7E-3949-F5B5-D28B-EA55DF8F9402}"/>
                    </a:ext>
                  </a:extLst>
                </p:cNvPr>
                <p:cNvSpPr/>
                <p:nvPr/>
              </p:nvSpPr>
              <p:spPr>
                <a:xfrm>
                  <a:off x="4874938" y="1878653"/>
                  <a:ext cx="5729" cy="51815"/>
                </a:xfrm>
                <a:custGeom>
                  <a:avLst/>
                  <a:gdLst>
                    <a:gd name="connsiteX0" fmla="*/ 0 w 5729"/>
                    <a:gd name="connsiteY0" fmla="*/ 51816 h 51815"/>
                    <a:gd name="connsiteX1" fmla="*/ 3737 w 5729"/>
                    <a:gd name="connsiteY1" fmla="*/ 33381 h 51815"/>
                    <a:gd name="connsiteX2" fmla="*/ 1993 w 5729"/>
                    <a:gd name="connsiteY2" fmla="*/ 16068 h 51815"/>
                    <a:gd name="connsiteX3" fmla="*/ 5730 w 5729"/>
                    <a:gd name="connsiteY3" fmla="*/ 0 h 51815"/>
                  </a:gdLst>
                  <a:ahLst/>
                  <a:cxnLst>
                    <a:cxn ang="0">
                      <a:pos x="connsiteX0" y="connsiteY0"/>
                    </a:cxn>
                    <a:cxn ang="0">
                      <a:pos x="connsiteX1" y="connsiteY1"/>
                    </a:cxn>
                    <a:cxn ang="0">
                      <a:pos x="connsiteX2" y="connsiteY2"/>
                    </a:cxn>
                    <a:cxn ang="0">
                      <a:pos x="connsiteX3" y="connsiteY3"/>
                    </a:cxn>
                  </a:cxnLst>
                  <a:rect l="l" t="t" r="r" b="b"/>
                  <a:pathLst>
                    <a:path w="5729" h="51815">
                      <a:moveTo>
                        <a:pt x="0" y="51816"/>
                      </a:moveTo>
                      <a:cubicBezTo>
                        <a:pt x="3239" y="44093"/>
                        <a:pt x="3861" y="37741"/>
                        <a:pt x="3737" y="33381"/>
                      </a:cubicBezTo>
                      <a:cubicBezTo>
                        <a:pt x="3612" y="26406"/>
                        <a:pt x="1744" y="23168"/>
                        <a:pt x="1993" y="16068"/>
                      </a:cubicBezTo>
                      <a:cubicBezTo>
                        <a:pt x="2117" y="9217"/>
                        <a:pt x="4110"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5" name="Freeform 8128">
                  <a:extLst>
                    <a:ext uri="{FF2B5EF4-FFF2-40B4-BE49-F238E27FC236}">
                      <a16:creationId xmlns:a16="http://schemas.microsoft.com/office/drawing/2014/main" id="{FC4A8847-673F-0116-BBA7-C645CE1ACC05}"/>
                    </a:ext>
                  </a:extLst>
                </p:cNvPr>
                <p:cNvSpPr/>
                <p:nvPr/>
              </p:nvSpPr>
              <p:spPr>
                <a:xfrm>
                  <a:off x="4866311" y="1882639"/>
                  <a:ext cx="6611" cy="52065"/>
                </a:xfrm>
                <a:custGeom>
                  <a:avLst/>
                  <a:gdLst>
                    <a:gd name="connsiteX0" fmla="*/ 5513 w 6611"/>
                    <a:gd name="connsiteY0" fmla="*/ 0 h 52065"/>
                    <a:gd name="connsiteX1" fmla="*/ 5638 w 6611"/>
                    <a:gd name="connsiteY1" fmla="*/ 18808 h 52065"/>
                    <a:gd name="connsiteX2" fmla="*/ 531 w 6611"/>
                    <a:gd name="connsiteY2" fmla="*/ 35499 h 52065"/>
                    <a:gd name="connsiteX3" fmla="*/ 1153 w 661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11" h="52065">
                      <a:moveTo>
                        <a:pt x="5513" y="0"/>
                      </a:moveTo>
                      <a:cubicBezTo>
                        <a:pt x="7257" y="8221"/>
                        <a:pt x="6634" y="14573"/>
                        <a:pt x="5638" y="18808"/>
                      </a:cubicBezTo>
                      <a:cubicBezTo>
                        <a:pt x="4143" y="25659"/>
                        <a:pt x="1776" y="28399"/>
                        <a:pt x="531" y="35499"/>
                      </a:cubicBezTo>
                      <a:cubicBezTo>
                        <a:pt x="-590" y="42350"/>
                        <a:pt x="281" y="48204"/>
                        <a:pt x="115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6" name="Freeform 8129">
                  <a:extLst>
                    <a:ext uri="{FF2B5EF4-FFF2-40B4-BE49-F238E27FC236}">
                      <a16:creationId xmlns:a16="http://schemas.microsoft.com/office/drawing/2014/main" id="{972C492A-1F66-9591-A052-ECCA14027A18}"/>
                    </a:ext>
                  </a:extLst>
                </p:cNvPr>
                <p:cNvSpPr/>
                <p:nvPr/>
              </p:nvSpPr>
              <p:spPr>
                <a:xfrm>
                  <a:off x="4857307" y="1923899"/>
                  <a:ext cx="26668" cy="26592"/>
                </a:xfrm>
                <a:custGeom>
                  <a:avLst/>
                  <a:gdLst>
                    <a:gd name="connsiteX0" fmla="*/ 68 w 26668"/>
                    <a:gd name="connsiteY0" fmla="*/ 11802 h 26592"/>
                    <a:gd name="connsiteX1" fmla="*/ 14642 w 26668"/>
                    <a:gd name="connsiteY1" fmla="*/ 93 h 26592"/>
                    <a:gd name="connsiteX2" fmla="*/ 26599 w 26668"/>
                    <a:gd name="connsiteY2" fmla="*/ 14666 h 26592"/>
                    <a:gd name="connsiteX3" fmla="*/ 12026 w 26668"/>
                    <a:gd name="connsiteY3" fmla="*/ 26499 h 26592"/>
                    <a:gd name="connsiteX4" fmla="*/ 68 w 26668"/>
                    <a:gd name="connsiteY4" fmla="*/ 11802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92">
                      <a:moveTo>
                        <a:pt x="68" y="11802"/>
                      </a:moveTo>
                      <a:cubicBezTo>
                        <a:pt x="816" y="4577"/>
                        <a:pt x="7292" y="-779"/>
                        <a:pt x="14642" y="93"/>
                      </a:cubicBezTo>
                      <a:cubicBezTo>
                        <a:pt x="21991" y="965"/>
                        <a:pt x="27346" y="7317"/>
                        <a:pt x="26599" y="14666"/>
                      </a:cubicBezTo>
                      <a:cubicBezTo>
                        <a:pt x="25852" y="22015"/>
                        <a:pt x="19375" y="27371"/>
                        <a:pt x="12026" y="26499"/>
                      </a:cubicBezTo>
                      <a:cubicBezTo>
                        <a:pt x="4802" y="25627"/>
                        <a:pt x="-679" y="19026"/>
                        <a:pt x="68"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7" name="Freeform 8130">
                  <a:extLst>
                    <a:ext uri="{FF2B5EF4-FFF2-40B4-BE49-F238E27FC236}">
                      <a16:creationId xmlns:a16="http://schemas.microsoft.com/office/drawing/2014/main" id="{D5638B14-8F34-37FB-07C1-F5AB108463C7}"/>
                    </a:ext>
                  </a:extLst>
                </p:cNvPr>
                <p:cNvSpPr/>
                <p:nvPr/>
              </p:nvSpPr>
              <p:spPr>
                <a:xfrm>
                  <a:off x="4872447" y="1821855"/>
                  <a:ext cx="5729" cy="51815"/>
                </a:xfrm>
                <a:custGeom>
                  <a:avLst/>
                  <a:gdLst>
                    <a:gd name="connsiteX0" fmla="*/ 5730 w 5729"/>
                    <a:gd name="connsiteY0" fmla="*/ 0 h 51815"/>
                    <a:gd name="connsiteX1" fmla="*/ 1993 w 5729"/>
                    <a:gd name="connsiteY1" fmla="*/ 18435 h 51815"/>
                    <a:gd name="connsiteX2" fmla="*/ 3737 w 5729"/>
                    <a:gd name="connsiteY2" fmla="*/ 35748 h 51815"/>
                    <a:gd name="connsiteX3" fmla="*/ 0 w 57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729" h="51815">
                      <a:moveTo>
                        <a:pt x="5730" y="0"/>
                      </a:moveTo>
                      <a:cubicBezTo>
                        <a:pt x="2491" y="7723"/>
                        <a:pt x="1868" y="14075"/>
                        <a:pt x="1993" y="18435"/>
                      </a:cubicBezTo>
                      <a:cubicBezTo>
                        <a:pt x="2118" y="25410"/>
                        <a:pt x="3861"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8" name="Freeform 8131">
                  <a:extLst>
                    <a:ext uri="{FF2B5EF4-FFF2-40B4-BE49-F238E27FC236}">
                      <a16:creationId xmlns:a16="http://schemas.microsoft.com/office/drawing/2014/main" id="{1BCEF56D-B4A7-BAE1-0014-D6478A20A92F}"/>
                    </a:ext>
                  </a:extLst>
                </p:cNvPr>
                <p:cNvSpPr/>
                <p:nvPr/>
              </p:nvSpPr>
              <p:spPr>
                <a:xfrm>
                  <a:off x="4880192" y="1817495"/>
                  <a:ext cx="6486" cy="52065"/>
                </a:xfrm>
                <a:custGeom>
                  <a:avLst/>
                  <a:gdLst>
                    <a:gd name="connsiteX0" fmla="*/ 1098 w 6486"/>
                    <a:gd name="connsiteY0" fmla="*/ 52065 h 52065"/>
                    <a:gd name="connsiteX1" fmla="*/ 974 w 6486"/>
                    <a:gd name="connsiteY1" fmla="*/ 33257 h 52065"/>
                    <a:gd name="connsiteX2" fmla="*/ 5956 w 6486"/>
                    <a:gd name="connsiteY2" fmla="*/ 16566 h 52065"/>
                    <a:gd name="connsiteX3" fmla="*/ 5333 w 6486"/>
                    <a:gd name="connsiteY3" fmla="*/ 0 h 52065"/>
                  </a:gdLst>
                  <a:ahLst/>
                  <a:cxnLst>
                    <a:cxn ang="0">
                      <a:pos x="connsiteX0" y="connsiteY0"/>
                    </a:cxn>
                    <a:cxn ang="0">
                      <a:pos x="connsiteX1" y="connsiteY1"/>
                    </a:cxn>
                    <a:cxn ang="0">
                      <a:pos x="connsiteX2" y="connsiteY2"/>
                    </a:cxn>
                    <a:cxn ang="0">
                      <a:pos x="connsiteX3" y="connsiteY3"/>
                    </a:cxn>
                  </a:cxnLst>
                  <a:rect l="l" t="t" r="r" b="b"/>
                  <a:pathLst>
                    <a:path w="6486" h="52065">
                      <a:moveTo>
                        <a:pt x="1098" y="52065"/>
                      </a:moveTo>
                      <a:cubicBezTo>
                        <a:pt x="-646" y="43844"/>
                        <a:pt x="-23" y="37492"/>
                        <a:pt x="974" y="33257"/>
                      </a:cubicBezTo>
                      <a:cubicBezTo>
                        <a:pt x="2468" y="26406"/>
                        <a:pt x="4835" y="23666"/>
                        <a:pt x="5956" y="16566"/>
                      </a:cubicBezTo>
                      <a:cubicBezTo>
                        <a:pt x="7077" y="9716"/>
                        <a:pt x="6205" y="3861"/>
                        <a:pt x="53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9" name="Freeform 8132">
                  <a:extLst>
                    <a:ext uri="{FF2B5EF4-FFF2-40B4-BE49-F238E27FC236}">
                      <a16:creationId xmlns:a16="http://schemas.microsoft.com/office/drawing/2014/main" id="{8F28F39D-D754-9C23-093B-32E040DDAEF8}"/>
                    </a:ext>
                  </a:extLst>
                </p:cNvPr>
                <p:cNvSpPr/>
                <p:nvPr/>
              </p:nvSpPr>
              <p:spPr>
                <a:xfrm>
                  <a:off x="4869263" y="1801856"/>
                  <a:ext cx="26401" cy="26568"/>
                </a:xfrm>
                <a:custGeom>
                  <a:avLst/>
                  <a:gdLst>
                    <a:gd name="connsiteX0" fmla="*/ 26352 w 26401"/>
                    <a:gd name="connsiteY0" fmla="*/ 14643 h 26568"/>
                    <a:gd name="connsiteX1" fmla="*/ 11903 w 26401"/>
                    <a:gd name="connsiteY1" fmla="*/ 26476 h 26568"/>
                    <a:gd name="connsiteX2" fmla="*/ 70 w 26401"/>
                    <a:gd name="connsiteY2" fmla="*/ 11903 h 26568"/>
                    <a:gd name="connsiteX3" fmla="*/ 14518 w 26401"/>
                    <a:gd name="connsiteY3" fmla="*/ 70 h 26568"/>
                    <a:gd name="connsiteX4" fmla="*/ 26352 w 26401"/>
                    <a:gd name="connsiteY4" fmla="*/ 14643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567">
                      <a:moveTo>
                        <a:pt x="26352" y="14643"/>
                      </a:moveTo>
                      <a:cubicBezTo>
                        <a:pt x="25604" y="21992"/>
                        <a:pt x="19252" y="27348"/>
                        <a:pt x="11903" y="26476"/>
                      </a:cubicBezTo>
                      <a:cubicBezTo>
                        <a:pt x="4678" y="25729"/>
                        <a:pt x="-678" y="19127"/>
                        <a:pt x="70" y="11903"/>
                      </a:cubicBezTo>
                      <a:cubicBezTo>
                        <a:pt x="817" y="4678"/>
                        <a:pt x="7170" y="-678"/>
                        <a:pt x="14518" y="70"/>
                      </a:cubicBezTo>
                      <a:cubicBezTo>
                        <a:pt x="21743" y="1066"/>
                        <a:pt x="26974" y="7419"/>
                        <a:pt x="26352"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19" name="Graphic 2987">
                <a:extLst>
                  <a:ext uri="{FF2B5EF4-FFF2-40B4-BE49-F238E27FC236}">
                    <a16:creationId xmlns:a16="http://schemas.microsoft.com/office/drawing/2014/main" id="{9CF3256D-C2A2-E8D6-3F0C-A5623563911C}"/>
                  </a:ext>
                </a:extLst>
              </p:cNvPr>
              <p:cNvGrpSpPr/>
              <p:nvPr/>
            </p:nvGrpSpPr>
            <p:grpSpPr>
              <a:xfrm>
                <a:off x="4827661" y="1798742"/>
                <a:ext cx="38627" cy="148386"/>
                <a:chOff x="4827661" y="1798742"/>
                <a:chExt cx="38627" cy="148386"/>
              </a:xfrm>
              <a:grpFill/>
            </p:grpSpPr>
            <p:sp>
              <p:nvSpPr>
                <p:cNvPr id="6078" name="Freeform 8134">
                  <a:extLst>
                    <a:ext uri="{FF2B5EF4-FFF2-40B4-BE49-F238E27FC236}">
                      <a16:creationId xmlns:a16="http://schemas.microsoft.com/office/drawing/2014/main" id="{168F8666-D7F5-C900-2EB9-9BF1C2A6742B}"/>
                    </a:ext>
                  </a:extLst>
                </p:cNvPr>
                <p:cNvSpPr/>
                <p:nvPr/>
              </p:nvSpPr>
              <p:spPr>
                <a:xfrm>
                  <a:off x="4845293" y="1875414"/>
                  <a:ext cx="5854" cy="51815"/>
                </a:xfrm>
                <a:custGeom>
                  <a:avLst/>
                  <a:gdLst>
                    <a:gd name="connsiteX0" fmla="*/ 0 w 5854"/>
                    <a:gd name="connsiteY0" fmla="*/ 51816 h 51815"/>
                    <a:gd name="connsiteX1" fmla="*/ 3861 w 5854"/>
                    <a:gd name="connsiteY1" fmla="*/ 33381 h 51815"/>
                    <a:gd name="connsiteX2" fmla="*/ 2118 w 5854"/>
                    <a:gd name="connsiteY2" fmla="*/ 16068 h 51815"/>
                    <a:gd name="connsiteX3" fmla="*/ 5854 w 5854"/>
                    <a:gd name="connsiteY3" fmla="*/ 0 h 51815"/>
                  </a:gdLst>
                  <a:ahLst/>
                  <a:cxnLst>
                    <a:cxn ang="0">
                      <a:pos x="connsiteX0" y="connsiteY0"/>
                    </a:cxn>
                    <a:cxn ang="0">
                      <a:pos x="connsiteX1" y="connsiteY1"/>
                    </a:cxn>
                    <a:cxn ang="0">
                      <a:pos x="connsiteX2" y="connsiteY2"/>
                    </a:cxn>
                    <a:cxn ang="0">
                      <a:pos x="connsiteX3" y="connsiteY3"/>
                    </a:cxn>
                  </a:cxnLst>
                  <a:rect l="l" t="t" r="r" b="b"/>
                  <a:pathLst>
                    <a:path w="5854" h="51815">
                      <a:moveTo>
                        <a:pt x="0" y="51816"/>
                      </a:moveTo>
                      <a:cubicBezTo>
                        <a:pt x="3239" y="44093"/>
                        <a:pt x="3861" y="37741"/>
                        <a:pt x="3861" y="33381"/>
                      </a:cubicBezTo>
                      <a:cubicBezTo>
                        <a:pt x="3737" y="26406"/>
                        <a:pt x="1993" y="23168"/>
                        <a:pt x="2118" y="16068"/>
                      </a:cubicBezTo>
                      <a:cubicBezTo>
                        <a:pt x="2367" y="9217"/>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9" name="Freeform 8135">
                  <a:extLst>
                    <a:ext uri="{FF2B5EF4-FFF2-40B4-BE49-F238E27FC236}">
                      <a16:creationId xmlns:a16="http://schemas.microsoft.com/office/drawing/2014/main" id="{3697C6CA-A5A9-6672-A0EF-4FF44E4221DA}"/>
                    </a:ext>
                  </a:extLst>
                </p:cNvPr>
                <p:cNvSpPr/>
                <p:nvPr/>
              </p:nvSpPr>
              <p:spPr>
                <a:xfrm>
                  <a:off x="4836756" y="1879525"/>
                  <a:ext cx="6553" cy="52065"/>
                </a:xfrm>
                <a:custGeom>
                  <a:avLst/>
                  <a:gdLst>
                    <a:gd name="connsiteX0" fmla="*/ 5548 w 6553"/>
                    <a:gd name="connsiteY0" fmla="*/ 0 h 52065"/>
                    <a:gd name="connsiteX1" fmla="*/ 5673 w 6553"/>
                    <a:gd name="connsiteY1" fmla="*/ 18808 h 52065"/>
                    <a:gd name="connsiteX2" fmla="*/ 566 w 6553"/>
                    <a:gd name="connsiteY2" fmla="*/ 35499 h 52065"/>
                    <a:gd name="connsiteX3" fmla="*/ 1064 w 65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0"/>
                      </a:moveTo>
                      <a:cubicBezTo>
                        <a:pt x="7168" y="8221"/>
                        <a:pt x="6545" y="14573"/>
                        <a:pt x="5673" y="18808"/>
                      </a:cubicBezTo>
                      <a:cubicBezTo>
                        <a:pt x="4178" y="25659"/>
                        <a:pt x="1811" y="28399"/>
                        <a:pt x="566" y="35499"/>
                      </a:cubicBezTo>
                      <a:cubicBezTo>
                        <a:pt x="-555" y="42350"/>
                        <a:pt x="192" y="48204"/>
                        <a:pt x="106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0" name="Freeform 8136">
                  <a:extLst>
                    <a:ext uri="{FF2B5EF4-FFF2-40B4-BE49-F238E27FC236}">
                      <a16:creationId xmlns:a16="http://schemas.microsoft.com/office/drawing/2014/main" id="{E49D6316-DC0C-CCCC-9412-F0F2F3DF99BB}"/>
                    </a:ext>
                  </a:extLst>
                </p:cNvPr>
                <p:cNvSpPr/>
                <p:nvPr/>
              </p:nvSpPr>
              <p:spPr>
                <a:xfrm>
                  <a:off x="4827661" y="1920660"/>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294" y="-779"/>
                        <a:pt x="14643" y="93"/>
                      </a:cubicBezTo>
                      <a:cubicBezTo>
                        <a:pt x="21992" y="840"/>
                        <a:pt x="27348" y="7442"/>
                        <a:pt x="26600" y="14666"/>
                      </a:cubicBezTo>
                      <a:cubicBezTo>
                        <a:pt x="25853" y="21891"/>
                        <a:pt x="19376" y="27247"/>
                        <a:pt x="12027" y="26375"/>
                      </a:cubicBezTo>
                      <a:cubicBezTo>
                        <a:pt x="4678" y="25627"/>
                        <a:pt x="-678" y="19026"/>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1" name="Freeform 8137">
                  <a:extLst>
                    <a:ext uri="{FF2B5EF4-FFF2-40B4-BE49-F238E27FC236}">
                      <a16:creationId xmlns:a16="http://schemas.microsoft.com/office/drawing/2014/main" id="{451AF323-B128-9DE1-01F2-6841DBD127BB}"/>
                    </a:ext>
                  </a:extLst>
                </p:cNvPr>
                <p:cNvSpPr/>
                <p:nvPr/>
              </p:nvSpPr>
              <p:spPr>
                <a:xfrm>
                  <a:off x="4842927" y="1818741"/>
                  <a:ext cx="5854" cy="51815"/>
                </a:xfrm>
                <a:custGeom>
                  <a:avLst/>
                  <a:gdLst>
                    <a:gd name="connsiteX0" fmla="*/ 5854 w 5854"/>
                    <a:gd name="connsiteY0" fmla="*/ 0 h 51815"/>
                    <a:gd name="connsiteX1" fmla="*/ 1993 w 5854"/>
                    <a:gd name="connsiteY1" fmla="*/ 18435 h 51815"/>
                    <a:gd name="connsiteX2" fmla="*/ 3737 w 5854"/>
                    <a:gd name="connsiteY2" fmla="*/ 35748 h 51815"/>
                    <a:gd name="connsiteX3" fmla="*/ 0 w 58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854" h="51815">
                      <a:moveTo>
                        <a:pt x="5854" y="0"/>
                      </a:moveTo>
                      <a:cubicBezTo>
                        <a:pt x="2616" y="7723"/>
                        <a:pt x="1993" y="14075"/>
                        <a:pt x="1993" y="18435"/>
                      </a:cubicBezTo>
                      <a:cubicBezTo>
                        <a:pt x="2118" y="25410"/>
                        <a:pt x="3861" y="28648"/>
                        <a:pt x="3737"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2" name="Freeform 8138">
                  <a:extLst>
                    <a:ext uri="{FF2B5EF4-FFF2-40B4-BE49-F238E27FC236}">
                      <a16:creationId xmlns:a16="http://schemas.microsoft.com/office/drawing/2014/main" id="{392059A2-8C41-2B52-C898-3E27DE489DAD}"/>
                    </a:ext>
                  </a:extLst>
                </p:cNvPr>
                <p:cNvSpPr/>
                <p:nvPr/>
              </p:nvSpPr>
              <p:spPr>
                <a:xfrm>
                  <a:off x="4850889" y="1814381"/>
                  <a:ext cx="6553" cy="52065"/>
                </a:xfrm>
                <a:custGeom>
                  <a:avLst/>
                  <a:gdLst>
                    <a:gd name="connsiteX0" fmla="*/ 1006 w 6553"/>
                    <a:gd name="connsiteY0" fmla="*/ 52065 h 52065"/>
                    <a:gd name="connsiteX1" fmla="*/ 881 w 6553"/>
                    <a:gd name="connsiteY1" fmla="*/ 33257 h 52065"/>
                    <a:gd name="connsiteX2" fmla="*/ 5988 w 6553"/>
                    <a:gd name="connsiteY2" fmla="*/ 16566 h 52065"/>
                    <a:gd name="connsiteX3" fmla="*/ 5490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1006" y="52065"/>
                      </a:moveTo>
                      <a:cubicBezTo>
                        <a:pt x="-614" y="43844"/>
                        <a:pt x="9" y="37492"/>
                        <a:pt x="881" y="33257"/>
                      </a:cubicBezTo>
                      <a:cubicBezTo>
                        <a:pt x="2376" y="26406"/>
                        <a:pt x="4742" y="23666"/>
                        <a:pt x="5988" y="16566"/>
                      </a:cubicBezTo>
                      <a:cubicBezTo>
                        <a:pt x="7109" y="9716"/>
                        <a:pt x="6361"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83" name="Freeform 8139">
                  <a:extLst>
                    <a:ext uri="{FF2B5EF4-FFF2-40B4-BE49-F238E27FC236}">
                      <a16:creationId xmlns:a16="http://schemas.microsoft.com/office/drawing/2014/main" id="{B42DBC7B-F2E5-FCF9-2CB3-4AA0CA2BF3FE}"/>
                    </a:ext>
                  </a:extLst>
                </p:cNvPr>
                <p:cNvSpPr/>
                <p:nvPr/>
              </p:nvSpPr>
              <p:spPr>
                <a:xfrm>
                  <a:off x="4839868" y="1798742"/>
                  <a:ext cx="26420" cy="26568"/>
                </a:xfrm>
                <a:custGeom>
                  <a:avLst/>
                  <a:gdLst>
                    <a:gd name="connsiteX0" fmla="*/ 26351 w 26420"/>
                    <a:gd name="connsiteY0" fmla="*/ 14767 h 26568"/>
                    <a:gd name="connsiteX1" fmla="*/ 11902 w 26420"/>
                    <a:gd name="connsiteY1" fmla="*/ 26476 h 26568"/>
                    <a:gd name="connsiteX2" fmla="*/ 70 w 26420"/>
                    <a:gd name="connsiteY2" fmla="*/ 11903 h 26568"/>
                    <a:gd name="connsiteX3" fmla="*/ 14518 w 26420"/>
                    <a:gd name="connsiteY3" fmla="*/ 70 h 26568"/>
                    <a:gd name="connsiteX4" fmla="*/ 26351 w 26420"/>
                    <a:gd name="connsiteY4" fmla="*/ 14767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67">
                      <a:moveTo>
                        <a:pt x="26351" y="14767"/>
                      </a:moveTo>
                      <a:cubicBezTo>
                        <a:pt x="25604" y="21992"/>
                        <a:pt x="19127" y="27348"/>
                        <a:pt x="11902" y="26476"/>
                      </a:cubicBezTo>
                      <a:cubicBezTo>
                        <a:pt x="4678" y="25729"/>
                        <a:pt x="-678" y="19127"/>
                        <a:pt x="70" y="11903"/>
                      </a:cubicBezTo>
                      <a:cubicBezTo>
                        <a:pt x="817" y="4678"/>
                        <a:pt x="7294" y="-678"/>
                        <a:pt x="14518" y="70"/>
                      </a:cubicBezTo>
                      <a:cubicBezTo>
                        <a:pt x="21743" y="942"/>
                        <a:pt x="27098" y="7419"/>
                        <a:pt x="26351" y="14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0" name="Graphic 2987">
                <a:extLst>
                  <a:ext uri="{FF2B5EF4-FFF2-40B4-BE49-F238E27FC236}">
                    <a16:creationId xmlns:a16="http://schemas.microsoft.com/office/drawing/2014/main" id="{3C0693CA-394F-9E87-3C16-38BA757FED65}"/>
                  </a:ext>
                </a:extLst>
              </p:cNvPr>
              <p:cNvGrpSpPr/>
              <p:nvPr/>
            </p:nvGrpSpPr>
            <p:grpSpPr>
              <a:xfrm>
                <a:off x="4798016" y="1795604"/>
                <a:ext cx="39001" cy="148285"/>
                <a:chOff x="4798016" y="1795604"/>
                <a:chExt cx="39001" cy="148285"/>
              </a:xfrm>
              <a:grpFill/>
            </p:grpSpPr>
            <p:sp>
              <p:nvSpPr>
                <p:cNvPr id="6072" name="Freeform 8141">
                  <a:extLst>
                    <a:ext uri="{FF2B5EF4-FFF2-40B4-BE49-F238E27FC236}">
                      <a16:creationId xmlns:a16="http://schemas.microsoft.com/office/drawing/2014/main" id="{521DC923-37BC-4654-B6B6-328795845C49}"/>
                    </a:ext>
                  </a:extLst>
                </p:cNvPr>
                <p:cNvSpPr/>
                <p:nvPr/>
              </p:nvSpPr>
              <p:spPr>
                <a:xfrm>
                  <a:off x="4815773" y="1872176"/>
                  <a:ext cx="5978" cy="51815"/>
                </a:xfrm>
                <a:custGeom>
                  <a:avLst/>
                  <a:gdLst>
                    <a:gd name="connsiteX0" fmla="*/ 0 w 5978"/>
                    <a:gd name="connsiteY0" fmla="*/ 51816 h 51815"/>
                    <a:gd name="connsiteX1" fmla="*/ 3861 w 5978"/>
                    <a:gd name="connsiteY1" fmla="*/ 33381 h 51815"/>
                    <a:gd name="connsiteX2" fmla="*/ 2117 w 5978"/>
                    <a:gd name="connsiteY2" fmla="*/ 16068 h 51815"/>
                    <a:gd name="connsiteX3" fmla="*/ 5979 w 5978"/>
                    <a:gd name="connsiteY3" fmla="*/ 0 h 51815"/>
                  </a:gdLst>
                  <a:ahLst/>
                  <a:cxnLst>
                    <a:cxn ang="0">
                      <a:pos x="connsiteX0" y="connsiteY0"/>
                    </a:cxn>
                    <a:cxn ang="0">
                      <a:pos x="connsiteX1" y="connsiteY1"/>
                    </a:cxn>
                    <a:cxn ang="0">
                      <a:pos x="connsiteX2" y="connsiteY2"/>
                    </a:cxn>
                    <a:cxn ang="0">
                      <a:pos x="connsiteX3" y="connsiteY3"/>
                    </a:cxn>
                  </a:cxnLst>
                  <a:rect l="l" t="t" r="r" b="b"/>
                  <a:pathLst>
                    <a:path w="5978" h="51815">
                      <a:moveTo>
                        <a:pt x="0" y="51816"/>
                      </a:moveTo>
                      <a:cubicBezTo>
                        <a:pt x="3239" y="44093"/>
                        <a:pt x="3861" y="37741"/>
                        <a:pt x="3861" y="33381"/>
                      </a:cubicBezTo>
                      <a:cubicBezTo>
                        <a:pt x="3737" y="26406"/>
                        <a:pt x="1993" y="23168"/>
                        <a:pt x="2117" y="16068"/>
                      </a:cubicBezTo>
                      <a:cubicBezTo>
                        <a:pt x="2367" y="9217"/>
                        <a:pt x="4360" y="3612"/>
                        <a:pt x="5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3" name="Freeform 8142">
                  <a:extLst>
                    <a:ext uri="{FF2B5EF4-FFF2-40B4-BE49-F238E27FC236}">
                      <a16:creationId xmlns:a16="http://schemas.microsoft.com/office/drawing/2014/main" id="{077832F8-76B5-4CED-F3A3-69F7CED613DA}"/>
                    </a:ext>
                  </a:extLst>
                </p:cNvPr>
                <p:cNvSpPr/>
                <p:nvPr/>
              </p:nvSpPr>
              <p:spPr>
                <a:xfrm>
                  <a:off x="4807181" y="1876286"/>
                  <a:ext cx="6608" cy="51940"/>
                </a:xfrm>
                <a:custGeom>
                  <a:avLst/>
                  <a:gdLst>
                    <a:gd name="connsiteX0" fmla="*/ 5603 w 6608"/>
                    <a:gd name="connsiteY0" fmla="*/ 0 h 51940"/>
                    <a:gd name="connsiteX1" fmla="*/ 5728 w 6608"/>
                    <a:gd name="connsiteY1" fmla="*/ 18808 h 51940"/>
                    <a:gd name="connsiteX2" fmla="*/ 621 w 6608"/>
                    <a:gd name="connsiteY2" fmla="*/ 35374 h 51940"/>
                    <a:gd name="connsiteX3" fmla="*/ 1119 w 6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607" h="51940">
                      <a:moveTo>
                        <a:pt x="5603" y="0"/>
                      </a:moveTo>
                      <a:cubicBezTo>
                        <a:pt x="7222" y="8221"/>
                        <a:pt x="6600" y="14573"/>
                        <a:pt x="5728" y="18808"/>
                      </a:cubicBezTo>
                      <a:cubicBezTo>
                        <a:pt x="4233"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4" name="Freeform 8143">
                  <a:extLst>
                    <a:ext uri="{FF2B5EF4-FFF2-40B4-BE49-F238E27FC236}">
                      <a16:creationId xmlns:a16="http://schemas.microsoft.com/office/drawing/2014/main" id="{C3540AF9-ED88-FEC6-E8BE-888F0D1A58C1}"/>
                    </a:ext>
                  </a:extLst>
                </p:cNvPr>
                <p:cNvSpPr/>
                <p:nvPr/>
              </p:nvSpPr>
              <p:spPr>
                <a:xfrm>
                  <a:off x="4798016" y="1917422"/>
                  <a:ext cx="26670" cy="26467"/>
                </a:xfrm>
                <a:custGeom>
                  <a:avLst/>
                  <a:gdLst>
                    <a:gd name="connsiteX0" fmla="*/ 70 w 26670"/>
                    <a:gd name="connsiteY0" fmla="*/ 11802 h 26467"/>
                    <a:gd name="connsiteX1" fmla="*/ 14643 w 26670"/>
                    <a:gd name="connsiteY1" fmla="*/ 93 h 26467"/>
                    <a:gd name="connsiteX2" fmla="*/ 26600 w 26670"/>
                    <a:gd name="connsiteY2" fmla="*/ 14666 h 26467"/>
                    <a:gd name="connsiteX3" fmla="*/ 12027 w 26670"/>
                    <a:gd name="connsiteY3" fmla="*/ 26375 h 26467"/>
                    <a:gd name="connsiteX4" fmla="*/ 70 w 2667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467">
                      <a:moveTo>
                        <a:pt x="70" y="11802"/>
                      </a:moveTo>
                      <a:cubicBezTo>
                        <a:pt x="817" y="4577"/>
                        <a:pt x="7418" y="-779"/>
                        <a:pt x="14643" y="93"/>
                      </a:cubicBezTo>
                      <a:cubicBezTo>
                        <a:pt x="21992" y="840"/>
                        <a:pt x="27348" y="7442"/>
                        <a:pt x="26600" y="14666"/>
                      </a:cubicBezTo>
                      <a:cubicBezTo>
                        <a:pt x="25853" y="21891"/>
                        <a:pt x="19376" y="27247"/>
                        <a:pt x="12027" y="26375"/>
                      </a:cubicBezTo>
                      <a:cubicBezTo>
                        <a:pt x="4678"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5" name="Freeform 8144">
                  <a:extLst>
                    <a:ext uri="{FF2B5EF4-FFF2-40B4-BE49-F238E27FC236}">
                      <a16:creationId xmlns:a16="http://schemas.microsoft.com/office/drawing/2014/main" id="{4096E543-0D89-91C9-471D-8F0129DA513A}"/>
                    </a:ext>
                  </a:extLst>
                </p:cNvPr>
                <p:cNvSpPr/>
                <p:nvPr/>
              </p:nvSpPr>
              <p:spPr>
                <a:xfrm>
                  <a:off x="4813406" y="1815502"/>
                  <a:ext cx="6103" cy="51815"/>
                </a:xfrm>
                <a:custGeom>
                  <a:avLst/>
                  <a:gdLst>
                    <a:gd name="connsiteX0" fmla="*/ 6103 w 6103"/>
                    <a:gd name="connsiteY0" fmla="*/ 0 h 51815"/>
                    <a:gd name="connsiteX1" fmla="*/ 2242 w 6103"/>
                    <a:gd name="connsiteY1" fmla="*/ 18435 h 51815"/>
                    <a:gd name="connsiteX2" fmla="*/ 3861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3" y="0"/>
                      </a:moveTo>
                      <a:cubicBezTo>
                        <a:pt x="2865" y="7723"/>
                        <a:pt x="2242" y="14075"/>
                        <a:pt x="2242" y="18435"/>
                      </a:cubicBezTo>
                      <a:cubicBezTo>
                        <a:pt x="2367"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6" name="Freeform 8145">
                  <a:extLst>
                    <a:ext uri="{FF2B5EF4-FFF2-40B4-BE49-F238E27FC236}">
                      <a16:creationId xmlns:a16="http://schemas.microsoft.com/office/drawing/2014/main" id="{0C5BBA22-6BE9-0A45-4DAE-5ACBD6911DFD}"/>
                    </a:ext>
                  </a:extLst>
                </p:cNvPr>
                <p:cNvSpPr/>
                <p:nvPr/>
              </p:nvSpPr>
              <p:spPr>
                <a:xfrm>
                  <a:off x="4821369" y="1811267"/>
                  <a:ext cx="6608" cy="51940"/>
                </a:xfrm>
                <a:custGeom>
                  <a:avLst/>
                  <a:gdLst>
                    <a:gd name="connsiteX0" fmla="*/ 1006 w 6608"/>
                    <a:gd name="connsiteY0" fmla="*/ 51941 h 51940"/>
                    <a:gd name="connsiteX1" fmla="*/ 881 w 6608"/>
                    <a:gd name="connsiteY1" fmla="*/ 33132 h 51940"/>
                    <a:gd name="connsiteX2" fmla="*/ 5988 w 6608"/>
                    <a:gd name="connsiteY2" fmla="*/ 16566 h 51940"/>
                    <a:gd name="connsiteX3" fmla="*/ 5490 w 6608"/>
                    <a:gd name="connsiteY3" fmla="*/ 0 h 51940"/>
                  </a:gdLst>
                  <a:ahLst/>
                  <a:cxnLst>
                    <a:cxn ang="0">
                      <a:pos x="connsiteX0" y="connsiteY0"/>
                    </a:cxn>
                    <a:cxn ang="0">
                      <a:pos x="connsiteX1" y="connsiteY1"/>
                    </a:cxn>
                    <a:cxn ang="0">
                      <a:pos x="connsiteX2" y="connsiteY2"/>
                    </a:cxn>
                    <a:cxn ang="0">
                      <a:pos x="connsiteX3" y="connsiteY3"/>
                    </a:cxn>
                  </a:cxnLst>
                  <a:rect l="l" t="t" r="r" b="b"/>
                  <a:pathLst>
                    <a:path w="6607" h="51940">
                      <a:moveTo>
                        <a:pt x="1006" y="51941"/>
                      </a:moveTo>
                      <a:cubicBezTo>
                        <a:pt x="-614" y="43720"/>
                        <a:pt x="9" y="37367"/>
                        <a:pt x="881" y="33132"/>
                      </a:cubicBezTo>
                      <a:cubicBezTo>
                        <a:pt x="2376" y="26282"/>
                        <a:pt x="4742" y="23541"/>
                        <a:pt x="5988" y="16566"/>
                      </a:cubicBezTo>
                      <a:cubicBezTo>
                        <a:pt x="7234" y="9716"/>
                        <a:pt x="6362" y="3861"/>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7" name="Freeform 8146">
                  <a:extLst>
                    <a:ext uri="{FF2B5EF4-FFF2-40B4-BE49-F238E27FC236}">
                      <a16:creationId xmlns:a16="http://schemas.microsoft.com/office/drawing/2014/main" id="{FC4B22C1-8587-EFDD-FB28-C580F3EC5233}"/>
                    </a:ext>
                  </a:extLst>
                </p:cNvPr>
                <p:cNvSpPr/>
                <p:nvPr/>
              </p:nvSpPr>
              <p:spPr>
                <a:xfrm>
                  <a:off x="4810596" y="1795604"/>
                  <a:ext cx="26420" cy="26467"/>
                </a:xfrm>
                <a:custGeom>
                  <a:avLst/>
                  <a:gdLst>
                    <a:gd name="connsiteX0" fmla="*/ 26351 w 26420"/>
                    <a:gd name="connsiteY0" fmla="*/ 14666 h 26467"/>
                    <a:gd name="connsiteX1" fmla="*/ 11903 w 26420"/>
                    <a:gd name="connsiteY1" fmla="*/ 26375 h 26467"/>
                    <a:gd name="connsiteX2" fmla="*/ 70 w 26420"/>
                    <a:gd name="connsiteY2" fmla="*/ 11802 h 26467"/>
                    <a:gd name="connsiteX3" fmla="*/ 14518 w 26420"/>
                    <a:gd name="connsiteY3" fmla="*/ 93 h 26467"/>
                    <a:gd name="connsiteX4" fmla="*/ 26351 w 26420"/>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467">
                      <a:moveTo>
                        <a:pt x="26351" y="14666"/>
                      </a:moveTo>
                      <a:cubicBezTo>
                        <a:pt x="25604" y="21891"/>
                        <a:pt x="19127" y="27247"/>
                        <a:pt x="11903" y="26375"/>
                      </a:cubicBezTo>
                      <a:cubicBezTo>
                        <a:pt x="4678" y="25627"/>
                        <a:pt x="-678" y="19026"/>
                        <a:pt x="70" y="11802"/>
                      </a:cubicBezTo>
                      <a:cubicBezTo>
                        <a:pt x="817" y="4577"/>
                        <a:pt x="7294" y="-779"/>
                        <a:pt x="14518" y="93"/>
                      </a:cubicBezTo>
                      <a:cubicBezTo>
                        <a:pt x="21743" y="840"/>
                        <a:pt x="27099" y="7442"/>
                        <a:pt x="26351"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1" name="Graphic 2987">
                <a:extLst>
                  <a:ext uri="{FF2B5EF4-FFF2-40B4-BE49-F238E27FC236}">
                    <a16:creationId xmlns:a16="http://schemas.microsoft.com/office/drawing/2014/main" id="{47B914B2-DA18-55B4-949A-01D1A3C5C2C3}"/>
                  </a:ext>
                </a:extLst>
              </p:cNvPr>
              <p:cNvGrpSpPr/>
              <p:nvPr/>
            </p:nvGrpSpPr>
            <p:grpSpPr>
              <a:xfrm>
                <a:off x="4768371" y="1792490"/>
                <a:ext cx="39251" cy="148160"/>
                <a:chOff x="4768371" y="1792490"/>
                <a:chExt cx="39251" cy="148160"/>
              </a:xfrm>
              <a:grpFill/>
            </p:grpSpPr>
            <p:sp>
              <p:nvSpPr>
                <p:cNvPr id="6066" name="Freeform 8148">
                  <a:extLst>
                    <a:ext uri="{FF2B5EF4-FFF2-40B4-BE49-F238E27FC236}">
                      <a16:creationId xmlns:a16="http://schemas.microsoft.com/office/drawing/2014/main" id="{D16FC0AE-B7CC-9E76-AD0A-64752A522E7C}"/>
                    </a:ext>
                  </a:extLst>
                </p:cNvPr>
                <p:cNvSpPr/>
                <p:nvPr/>
              </p:nvSpPr>
              <p:spPr>
                <a:xfrm>
                  <a:off x="4786128" y="1869062"/>
                  <a:ext cx="6103" cy="51815"/>
                </a:xfrm>
                <a:custGeom>
                  <a:avLst/>
                  <a:gdLst>
                    <a:gd name="connsiteX0" fmla="*/ 0 w 6103"/>
                    <a:gd name="connsiteY0" fmla="*/ 51816 h 51815"/>
                    <a:gd name="connsiteX1" fmla="*/ 3861 w 6103"/>
                    <a:gd name="connsiteY1" fmla="*/ 33381 h 51815"/>
                    <a:gd name="connsiteX2" fmla="*/ 2242 w 6103"/>
                    <a:gd name="connsiteY2" fmla="*/ 16068 h 51815"/>
                    <a:gd name="connsiteX3" fmla="*/ 6103 w 6103"/>
                    <a:gd name="connsiteY3" fmla="*/ 0 h 51815"/>
                  </a:gdLst>
                  <a:ahLst/>
                  <a:cxnLst>
                    <a:cxn ang="0">
                      <a:pos x="connsiteX0" y="connsiteY0"/>
                    </a:cxn>
                    <a:cxn ang="0">
                      <a:pos x="connsiteX1" y="connsiteY1"/>
                    </a:cxn>
                    <a:cxn ang="0">
                      <a:pos x="connsiteX2" y="connsiteY2"/>
                    </a:cxn>
                    <a:cxn ang="0">
                      <a:pos x="connsiteX3" y="connsiteY3"/>
                    </a:cxn>
                  </a:cxnLst>
                  <a:rect l="l" t="t" r="r" b="b"/>
                  <a:pathLst>
                    <a:path w="6103" h="51815">
                      <a:moveTo>
                        <a:pt x="0" y="51816"/>
                      </a:moveTo>
                      <a:cubicBezTo>
                        <a:pt x="3363" y="44093"/>
                        <a:pt x="3986"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7" name="Freeform 8149">
                  <a:extLst>
                    <a:ext uri="{FF2B5EF4-FFF2-40B4-BE49-F238E27FC236}">
                      <a16:creationId xmlns:a16="http://schemas.microsoft.com/office/drawing/2014/main" id="{35C03C29-B52E-B36C-75E3-7A8251077F36}"/>
                    </a:ext>
                  </a:extLst>
                </p:cNvPr>
                <p:cNvSpPr/>
                <p:nvPr/>
              </p:nvSpPr>
              <p:spPr>
                <a:xfrm>
                  <a:off x="4777411" y="1873172"/>
                  <a:ext cx="6846" cy="51940"/>
                </a:xfrm>
                <a:custGeom>
                  <a:avLst/>
                  <a:gdLst>
                    <a:gd name="connsiteX0" fmla="*/ 5852 w 6846"/>
                    <a:gd name="connsiteY0" fmla="*/ 0 h 51940"/>
                    <a:gd name="connsiteX1" fmla="*/ 5852 w 6846"/>
                    <a:gd name="connsiteY1" fmla="*/ 18808 h 51940"/>
                    <a:gd name="connsiteX2" fmla="*/ 621 w 6846"/>
                    <a:gd name="connsiteY2" fmla="*/ 35374 h 51940"/>
                    <a:gd name="connsiteX3" fmla="*/ 1119 w 6846"/>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46" h="51940">
                      <a:moveTo>
                        <a:pt x="5852" y="0"/>
                      </a:moveTo>
                      <a:cubicBezTo>
                        <a:pt x="7471" y="8221"/>
                        <a:pt x="6849" y="14573"/>
                        <a:pt x="5852" y="18808"/>
                      </a:cubicBezTo>
                      <a:cubicBezTo>
                        <a:pt x="4357" y="25659"/>
                        <a:pt x="1866" y="28399"/>
                        <a:pt x="621" y="35374"/>
                      </a:cubicBezTo>
                      <a:cubicBezTo>
                        <a:pt x="-625" y="42225"/>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8" name="Freeform 8150">
                  <a:extLst>
                    <a:ext uri="{FF2B5EF4-FFF2-40B4-BE49-F238E27FC236}">
                      <a16:creationId xmlns:a16="http://schemas.microsoft.com/office/drawing/2014/main" id="{D23DCD83-7A8D-CCD1-1FF8-7F9140946555}"/>
                    </a:ext>
                  </a:extLst>
                </p:cNvPr>
                <p:cNvSpPr/>
                <p:nvPr/>
              </p:nvSpPr>
              <p:spPr>
                <a:xfrm>
                  <a:off x="4768371" y="1914183"/>
                  <a:ext cx="26671" cy="26467"/>
                </a:xfrm>
                <a:custGeom>
                  <a:avLst/>
                  <a:gdLst>
                    <a:gd name="connsiteX0" fmla="*/ 70 w 26671"/>
                    <a:gd name="connsiteY0" fmla="*/ 11802 h 26467"/>
                    <a:gd name="connsiteX1" fmla="*/ 14768 w 26671"/>
                    <a:gd name="connsiteY1" fmla="*/ 93 h 26467"/>
                    <a:gd name="connsiteX2" fmla="*/ 26600 w 26671"/>
                    <a:gd name="connsiteY2" fmla="*/ 14666 h 26467"/>
                    <a:gd name="connsiteX3" fmla="*/ 11903 w 26671"/>
                    <a:gd name="connsiteY3" fmla="*/ 26375 h 26467"/>
                    <a:gd name="connsiteX4" fmla="*/ 70 w 26671"/>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467">
                      <a:moveTo>
                        <a:pt x="70" y="11802"/>
                      </a:moveTo>
                      <a:cubicBezTo>
                        <a:pt x="817" y="4577"/>
                        <a:pt x="7419" y="-779"/>
                        <a:pt x="14768" y="93"/>
                      </a:cubicBezTo>
                      <a:cubicBezTo>
                        <a:pt x="22117" y="840"/>
                        <a:pt x="27348" y="7442"/>
                        <a:pt x="26600" y="14666"/>
                      </a:cubicBezTo>
                      <a:cubicBezTo>
                        <a:pt x="25853" y="21891"/>
                        <a:pt x="19252" y="27247"/>
                        <a:pt x="11903" y="26375"/>
                      </a:cubicBezTo>
                      <a:cubicBezTo>
                        <a:pt x="4679" y="25627"/>
                        <a:pt x="-678" y="19150"/>
                        <a:pt x="70"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9" name="Freeform 8151">
                  <a:extLst>
                    <a:ext uri="{FF2B5EF4-FFF2-40B4-BE49-F238E27FC236}">
                      <a16:creationId xmlns:a16="http://schemas.microsoft.com/office/drawing/2014/main" id="{0FDA591E-A02F-3361-1CA4-9634A98B012D}"/>
                    </a:ext>
                  </a:extLst>
                </p:cNvPr>
                <p:cNvSpPr/>
                <p:nvPr/>
              </p:nvSpPr>
              <p:spPr>
                <a:xfrm>
                  <a:off x="4784011" y="1812388"/>
                  <a:ext cx="6103" cy="51815"/>
                </a:xfrm>
                <a:custGeom>
                  <a:avLst/>
                  <a:gdLst>
                    <a:gd name="connsiteX0" fmla="*/ 6104 w 6103"/>
                    <a:gd name="connsiteY0" fmla="*/ 0 h 51815"/>
                    <a:gd name="connsiteX1" fmla="*/ 2242 w 6103"/>
                    <a:gd name="connsiteY1" fmla="*/ 18435 h 51815"/>
                    <a:gd name="connsiteX2" fmla="*/ 3862 w 6103"/>
                    <a:gd name="connsiteY2" fmla="*/ 35748 h 51815"/>
                    <a:gd name="connsiteX3" fmla="*/ 0 w 6103"/>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103" h="51815">
                      <a:moveTo>
                        <a:pt x="6104" y="0"/>
                      </a:moveTo>
                      <a:cubicBezTo>
                        <a:pt x="2865" y="7723"/>
                        <a:pt x="2118" y="14075"/>
                        <a:pt x="2242" y="18435"/>
                      </a:cubicBezTo>
                      <a:cubicBezTo>
                        <a:pt x="2242" y="25410"/>
                        <a:pt x="4111" y="28648"/>
                        <a:pt x="3862"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0" name="Freeform 8152">
                  <a:extLst>
                    <a:ext uri="{FF2B5EF4-FFF2-40B4-BE49-F238E27FC236}">
                      <a16:creationId xmlns:a16="http://schemas.microsoft.com/office/drawing/2014/main" id="{3046B23B-BE26-501C-8810-467F3DC188F4}"/>
                    </a:ext>
                  </a:extLst>
                </p:cNvPr>
                <p:cNvSpPr/>
                <p:nvPr/>
              </p:nvSpPr>
              <p:spPr>
                <a:xfrm>
                  <a:off x="4791860" y="1808153"/>
                  <a:ext cx="6722" cy="51940"/>
                </a:xfrm>
                <a:custGeom>
                  <a:avLst/>
                  <a:gdLst>
                    <a:gd name="connsiteX0" fmla="*/ 995 w 6722"/>
                    <a:gd name="connsiteY0" fmla="*/ 51941 h 51940"/>
                    <a:gd name="connsiteX1" fmla="*/ 995 w 6722"/>
                    <a:gd name="connsiteY1" fmla="*/ 33132 h 51940"/>
                    <a:gd name="connsiteX2" fmla="*/ 6101 w 6722"/>
                    <a:gd name="connsiteY2" fmla="*/ 16566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5" y="51941"/>
                      </a:moveTo>
                      <a:cubicBezTo>
                        <a:pt x="-625" y="43720"/>
                        <a:pt x="-2" y="37367"/>
                        <a:pt x="995" y="33132"/>
                      </a:cubicBezTo>
                      <a:cubicBezTo>
                        <a:pt x="2489" y="26282"/>
                        <a:pt x="4980" y="23541"/>
                        <a:pt x="6101" y="16566"/>
                      </a:cubicBezTo>
                      <a:cubicBezTo>
                        <a:pt x="7347" y="9716"/>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71" name="Freeform 8153">
                  <a:extLst>
                    <a:ext uri="{FF2B5EF4-FFF2-40B4-BE49-F238E27FC236}">
                      <a16:creationId xmlns:a16="http://schemas.microsoft.com/office/drawing/2014/main" id="{48F6E420-3F33-B8F7-1786-C712616C2736}"/>
                    </a:ext>
                  </a:extLst>
                </p:cNvPr>
                <p:cNvSpPr/>
                <p:nvPr/>
              </p:nvSpPr>
              <p:spPr>
                <a:xfrm>
                  <a:off x="4781324" y="1792490"/>
                  <a:ext cx="26299" cy="26467"/>
                </a:xfrm>
                <a:custGeom>
                  <a:avLst/>
                  <a:gdLst>
                    <a:gd name="connsiteX0" fmla="*/ 26228 w 26299"/>
                    <a:gd name="connsiteY0" fmla="*/ 14666 h 26467"/>
                    <a:gd name="connsiteX1" fmla="*/ 11780 w 26299"/>
                    <a:gd name="connsiteY1" fmla="*/ 26375 h 26467"/>
                    <a:gd name="connsiteX2" fmla="*/ 71 w 26299"/>
                    <a:gd name="connsiteY2" fmla="*/ 11802 h 26467"/>
                    <a:gd name="connsiteX3" fmla="*/ 14520 w 26299"/>
                    <a:gd name="connsiteY3" fmla="*/ 93 h 26467"/>
                    <a:gd name="connsiteX4" fmla="*/ 26228 w 2629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9" h="26467">
                      <a:moveTo>
                        <a:pt x="26228" y="14666"/>
                      </a:moveTo>
                      <a:cubicBezTo>
                        <a:pt x="25481" y="21891"/>
                        <a:pt x="19004" y="27247"/>
                        <a:pt x="11780" y="26375"/>
                      </a:cubicBezTo>
                      <a:cubicBezTo>
                        <a:pt x="4555" y="25627"/>
                        <a:pt x="-676" y="19026"/>
                        <a:pt x="71" y="11802"/>
                      </a:cubicBezTo>
                      <a:cubicBezTo>
                        <a:pt x="818" y="4577"/>
                        <a:pt x="7296" y="-779"/>
                        <a:pt x="14520" y="93"/>
                      </a:cubicBezTo>
                      <a:cubicBezTo>
                        <a:pt x="21744" y="840"/>
                        <a:pt x="26976" y="7317"/>
                        <a:pt x="26228"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2" name="Graphic 2987">
                <a:extLst>
                  <a:ext uri="{FF2B5EF4-FFF2-40B4-BE49-F238E27FC236}">
                    <a16:creationId xmlns:a16="http://schemas.microsoft.com/office/drawing/2014/main" id="{20D64915-1CC5-8578-11E8-9454FD7AE75E}"/>
                  </a:ext>
                </a:extLst>
              </p:cNvPr>
              <p:cNvGrpSpPr/>
              <p:nvPr/>
            </p:nvGrpSpPr>
            <p:grpSpPr>
              <a:xfrm>
                <a:off x="4738725" y="1789252"/>
                <a:ext cx="39626" cy="148285"/>
                <a:chOff x="4738725" y="1789252"/>
                <a:chExt cx="39626" cy="148285"/>
              </a:xfrm>
              <a:grpFill/>
            </p:grpSpPr>
            <p:sp>
              <p:nvSpPr>
                <p:cNvPr id="6060" name="Freeform 8155">
                  <a:extLst>
                    <a:ext uri="{FF2B5EF4-FFF2-40B4-BE49-F238E27FC236}">
                      <a16:creationId xmlns:a16="http://schemas.microsoft.com/office/drawing/2014/main" id="{D3DE5D45-9F14-74E9-9D0A-67ED4E3B7A5A}"/>
                    </a:ext>
                  </a:extLst>
                </p:cNvPr>
                <p:cNvSpPr/>
                <p:nvPr/>
              </p:nvSpPr>
              <p:spPr>
                <a:xfrm>
                  <a:off x="4756483" y="1865823"/>
                  <a:ext cx="6227" cy="51815"/>
                </a:xfrm>
                <a:custGeom>
                  <a:avLst/>
                  <a:gdLst>
                    <a:gd name="connsiteX0" fmla="*/ 0 w 6227"/>
                    <a:gd name="connsiteY0" fmla="*/ 51816 h 51815"/>
                    <a:gd name="connsiteX1" fmla="*/ 3986 w 6227"/>
                    <a:gd name="connsiteY1" fmla="*/ 33381 h 51815"/>
                    <a:gd name="connsiteX2" fmla="*/ 2367 w 6227"/>
                    <a:gd name="connsiteY2" fmla="*/ 16068 h 51815"/>
                    <a:gd name="connsiteX3" fmla="*/ 6228 w 6227"/>
                    <a:gd name="connsiteY3" fmla="*/ 0 h 51815"/>
                  </a:gdLst>
                  <a:ahLst/>
                  <a:cxnLst>
                    <a:cxn ang="0">
                      <a:pos x="connsiteX0" y="connsiteY0"/>
                    </a:cxn>
                    <a:cxn ang="0">
                      <a:pos x="connsiteX1" y="connsiteY1"/>
                    </a:cxn>
                    <a:cxn ang="0">
                      <a:pos x="connsiteX2" y="connsiteY2"/>
                    </a:cxn>
                    <a:cxn ang="0">
                      <a:pos x="connsiteX3" y="connsiteY3"/>
                    </a:cxn>
                  </a:cxnLst>
                  <a:rect l="l" t="t" r="r" b="b"/>
                  <a:pathLst>
                    <a:path w="6227" h="51815">
                      <a:moveTo>
                        <a:pt x="0" y="51816"/>
                      </a:moveTo>
                      <a:cubicBezTo>
                        <a:pt x="3363"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1" name="Freeform 8156">
                  <a:extLst>
                    <a:ext uri="{FF2B5EF4-FFF2-40B4-BE49-F238E27FC236}">
                      <a16:creationId xmlns:a16="http://schemas.microsoft.com/office/drawing/2014/main" id="{A0E9038A-0B22-BF74-9307-A4F7360E8004}"/>
                    </a:ext>
                  </a:extLst>
                </p:cNvPr>
                <p:cNvSpPr/>
                <p:nvPr/>
              </p:nvSpPr>
              <p:spPr>
                <a:xfrm>
                  <a:off x="4747853" y="1869934"/>
                  <a:ext cx="6844" cy="51816"/>
                </a:xfrm>
                <a:custGeom>
                  <a:avLst/>
                  <a:gdLst>
                    <a:gd name="connsiteX0" fmla="*/ 5890 w 6844"/>
                    <a:gd name="connsiteY0" fmla="*/ 0 h 51816"/>
                    <a:gd name="connsiteX1" fmla="*/ 5890 w 6844"/>
                    <a:gd name="connsiteY1" fmla="*/ 18808 h 51816"/>
                    <a:gd name="connsiteX2" fmla="*/ 659 w 6844"/>
                    <a:gd name="connsiteY2" fmla="*/ 35374 h 51816"/>
                    <a:gd name="connsiteX3" fmla="*/ 1033 w 6844"/>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843" h="51816">
                      <a:moveTo>
                        <a:pt x="5890" y="0"/>
                      </a:moveTo>
                      <a:cubicBezTo>
                        <a:pt x="7510" y="8221"/>
                        <a:pt x="6762" y="14573"/>
                        <a:pt x="5890" y="18808"/>
                      </a:cubicBezTo>
                      <a:cubicBezTo>
                        <a:pt x="4396" y="25659"/>
                        <a:pt x="1904" y="28399"/>
                        <a:pt x="659" y="35374"/>
                      </a:cubicBezTo>
                      <a:cubicBezTo>
                        <a:pt x="-586" y="42225"/>
                        <a:pt x="161" y="48079"/>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2" name="Freeform 8157">
                  <a:extLst>
                    <a:ext uri="{FF2B5EF4-FFF2-40B4-BE49-F238E27FC236}">
                      <a16:creationId xmlns:a16="http://schemas.microsoft.com/office/drawing/2014/main" id="{F17B17C6-10AD-EB99-7D4D-DCE7DA3D6571}"/>
                    </a:ext>
                  </a:extLst>
                </p:cNvPr>
                <p:cNvSpPr/>
                <p:nvPr/>
              </p:nvSpPr>
              <p:spPr>
                <a:xfrm>
                  <a:off x="4738725" y="1911069"/>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818" y="4577"/>
                        <a:pt x="7420" y="-779"/>
                        <a:pt x="14769" y="93"/>
                      </a:cubicBezTo>
                      <a:cubicBezTo>
                        <a:pt x="22118" y="840"/>
                        <a:pt x="27349" y="7442"/>
                        <a:pt x="26602" y="14666"/>
                      </a:cubicBezTo>
                      <a:cubicBezTo>
                        <a:pt x="25854" y="21891"/>
                        <a:pt x="19253" y="27247"/>
                        <a:pt x="11904" y="26375"/>
                      </a:cubicBezTo>
                      <a:cubicBezTo>
                        <a:pt x="4555" y="25503"/>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3" name="Freeform 8158">
                  <a:extLst>
                    <a:ext uri="{FF2B5EF4-FFF2-40B4-BE49-F238E27FC236}">
                      <a16:creationId xmlns:a16="http://schemas.microsoft.com/office/drawing/2014/main" id="{1A2E8F4F-6129-EB00-233D-1654BA825B13}"/>
                    </a:ext>
                  </a:extLst>
                </p:cNvPr>
                <p:cNvSpPr/>
                <p:nvPr/>
              </p:nvSpPr>
              <p:spPr>
                <a:xfrm>
                  <a:off x="4754615" y="1809150"/>
                  <a:ext cx="6227" cy="51815"/>
                </a:xfrm>
                <a:custGeom>
                  <a:avLst/>
                  <a:gdLst>
                    <a:gd name="connsiteX0" fmla="*/ 6228 w 6227"/>
                    <a:gd name="connsiteY0" fmla="*/ 0 h 51815"/>
                    <a:gd name="connsiteX1" fmla="*/ 2242 w 6227"/>
                    <a:gd name="connsiteY1" fmla="*/ 18435 h 51815"/>
                    <a:gd name="connsiteX2" fmla="*/ 3861 w 6227"/>
                    <a:gd name="connsiteY2" fmla="*/ 35748 h 51815"/>
                    <a:gd name="connsiteX3" fmla="*/ 0 w 6227"/>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227" h="51815">
                      <a:moveTo>
                        <a:pt x="6228" y="0"/>
                      </a:moveTo>
                      <a:cubicBezTo>
                        <a:pt x="2865" y="7723"/>
                        <a:pt x="2242" y="14075"/>
                        <a:pt x="2242" y="18435"/>
                      </a:cubicBezTo>
                      <a:cubicBezTo>
                        <a:pt x="2242" y="25410"/>
                        <a:pt x="4110"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4" name="Freeform 8159">
                  <a:extLst>
                    <a:ext uri="{FF2B5EF4-FFF2-40B4-BE49-F238E27FC236}">
                      <a16:creationId xmlns:a16="http://schemas.microsoft.com/office/drawing/2014/main" id="{11F9E4DE-5454-BDDC-981B-A02D44989074}"/>
                    </a:ext>
                  </a:extLst>
                </p:cNvPr>
                <p:cNvSpPr/>
                <p:nvPr/>
              </p:nvSpPr>
              <p:spPr>
                <a:xfrm>
                  <a:off x="4762504" y="1805039"/>
                  <a:ext cx="6845" cy="51815"/>
                </a:xfrm>
                <a:custGeom>
                  <a:avLst/>
                  <a:gdLst>
                    <a:gd name="connsiteX0" fmla="*/ 954 w 6845"/>
                    <a:gd name="connsiteY0" fmla="*/ 51816 h 51815"/>
                    <a:gd name="connsiteX1" fmla="*/ 954 w 6845"/>
                    <a:gd name="connsiteY1" fmla="*/ 33008 h 51815"/>
                    <a:gd name="connsiteX2" fmla="*/ 6186 w 6845"/>
                    <a:gd name="connsiteY2" fmla="*/ 16442 h 51815"/>
                    <a:gd name="connsiteX3" fmla="*/ 5812 w 6845"/>
                    <a:gd name="connsiteY3" fmla="*/ 0 h 51815"/>
                  </a:gdLst>
                  <a:ahLst/>
                  <a:cxnLst>
                    <a:cxn ang="0">
                      <a:pos x="connsiteX0" y="connsiteY0"/>
                    </a:cxn>
                    <a:cxn ang="0">
                      <a:pos x="connsiteX1" y="connsiteY1"/>
                    </a:cxn>
                    <a:cxn ang="0">
                      <a:pos x="connsiteX2" y="connsiteY2"/>
                    </a:cxn>
                    <a:cxn ang="0">
                      <a:pos x="connsiteX3" y="connsiteY3"/>
                    </a:cxn>
                  </a:cxnLst>
                  <a:rect l="l" t="t" r="r" b="b"/>
                  <a:pathLst>
                    <a:path w="6845" h="51815">
                      <a:moveTo>
                        <a:pt x="954" y="51816"/>
                      </a:moveTo>
                      <a:cubicBezTo>
                        <a:pt x="-665" y="43595"/>
                        <a:pt x="82" y="37243"/>
                        <a:pt x="954" y="33008"/>
                      </a:cubicBezTo>
                      <a:cubicBezTo>
                        <a:pt x="2449" y="26157"/>
                        <a:pt x="4940" y="23417"/>
                        <a:pt x="6186" y="16442"/>
                      </a:cubicBezTo>
                      <a:cubicBezTo>
                        <a:pt x="7432" y="9591"/>
                        <a:pt x="6684" y="3737"/>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65" name="Freeform 8160">
                  <a:extLst>
                    <a:ext uri="{FF2B5EF4-FFF2-40B4-BE49-F238E27FC236}">
                      <a16:creationId xmlns:a16="http://schemas.microsoft.com/office/drawing/2014/main" id="{71561DE1-7212-8637-830D-C6DBD55CF926}"/>
                    </a:ext>
                  </a:extLst>
                </p:cNvPr>
                <p:cNvSpPr/>
                <p:nvPr/>
              </p:nvSpPr>
              <p:spPr>
                <a:xfrm>
                  <a:off x="4751928" y="1789252"/>
                  <a:ext cx="26423" cy="26467"/>
                </a:xfrm>
                <a:custGeom>
                  <a:avLst/>
                  <a:gdLst>
                    <a:gd name="connsiteX0" fmla="*/ 26353 w 26423"/>
                    <a:gd name="connsiteY0" fmla="*/ 14666 h 26467"/>
                    <a:gd name="connsiteX1" fmla="*/ 11780 w 26423"/>
                    <a:gd name="connsiteY1" fmla="*/ 26375 h 26467"/>
                    <a:gd name="connsiteX2" fmla="*/ 71 w 26423"/>
                    <a:gd name="connsiteY2" fmla="*/ 11802 h 26467"/>
                    <a:gd name="connsiteX3" fmla="*/ 14644 w 26423"/>
                    <a:gd name="connsiteY3" fmla="*/ 93 h 26467"/>
                    <a:gd name="connsiteX4" fmla="*/ 26353 w 26423"/>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467">
                      <a:moveTo>
                        <a:pt x="26353" y="14666"/>
                      </a:moveTo>
                      <a:cubicBezTo>
                        <a:pt x="25605" y="21891"/>
                        <a:pt x="19128" y="27247"/>
                        <a:pt x="11780" y="26375"/>
                      </a:cubicBezTo>
                      <a:cubicBezTo>
                        <a:pt x="4555" y="25627"/>
                        <a:pt x="-676" y="19026"/>
                        <a:pt x="71" y="11802"/>
                      </a:cubicBezTo>
                      <a:cubicBezTo>
                        <a:pt x="818" y="4577"/>
                        <a:pt x="7420" y="-779"/>
                        <a:pt x="14644" y="93"/>
                      </a:cubicBezTo>
                      <a:cubicBezTo>
                        <a:pt x="21869" y="965"/>
                        <a:pt x="27100"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3" name="Graphic 2987">
                <a:extLst>
                  <a:ext uri="{FF2B5EF4-FFF2-40B4-BE49-F238E27FC236}">
                    <a16:creationId xmlns:a16="http://schemas.microsoft.com/office/drawing/2014/main" id="{53AD9789-005D-D034-F61A-2FB294B6D140}"/>
                  </a:ext>
                </a:extLst>
              </p:cNvPr>
              <p:cNvGrpSpPr/>
              <p:nvPr/>
            </p:nvGrpSpPr>
            <p:grpSpPr>
              <a:xfrm>
                <a:off x="4709081" y="1786138"/>
                <a:ext cx="39899" cy="148160"/>
                <a:chOff x="4709081" y="1786138"/>
                <a:chExt cx="39899" cy="148160"/>
              </a:xfrm>
              <a:grpFill/>
            </p:grpSpPr>
            <p:sp>
              <p:nvSpPr>
                <p:cNvPr id="6054" name="Freeform 8162">
                  <a:extLst>
                    <a:ext uri="{FF2B5EF4-FFF2-40B4-BE49-F238E27FC236}">
                      <a16:creationId xmlns:a16="http://schemas.microsoft.com/office/drawing/2014/main" id="{B87FFB0F-E7DB-8BBE-9F25-D40A8C316EEA}"/>
                    </a:ext>
                  </a:extLst>
                </p:cNvPr>
                <p:cNvSpPr/>
                <p:nvPr/>
              </p:nvSpPr>
              <p:spPr>
                <a:xfrm>
                  <a:off x="4726839" y="1862585"/>
                  <a:ext cx="6477" cy="51815"/>
                </a:xfrm>
                <a:custGeom>
                  <a:avLst/>
                  <a:gdLst>
                    <a:gd name="connsiteX0" fmla="*/ 0 w 6477"/>
                    <a:gd name="connsiteY0" fmla="*/ 51816 h 51815"/>
                    <a:gd name="connsiteX1" fmla="*/ 3986 w 6477"/>
                    <a:gd name="connsiteY1" fmla="*/ 33381 h 51815"/>
                    <a:gd name="connsiteX2" fmla="*/ 2491 w 6477"/>
                    <a:gd name="connsiteY2" fmla="*/ 16068 h 51815"/>
                    <a:gd name="connsiteX3" fmla="*/ 6477 w 6477"/>
                    <a:gd name="connsiteY3" fmla="*/ 0 h 51815"/>
                  </a:gdLst>
                  <a:ahLst/>
                  <a:cxnLst>
                    <a:cxn ang="0">
                      <a:pos x="connsiteX0" y="connsiteY0"/>
                    </a:cxn>
                    <a:cxn ang="0">
                      <a:pos x="connsiteX1" y="connsiteY1"/>
                    </a:cxn>
                    <a:cxn ang="0">
                      <a:pos x="connsiteX2" y="connsiteY2"/>
                    </a:cxn>
                    <a:cxn ang="0">
                      <a:pos x="connsiteX3" y="connsiteY3"/>
                    </a:cxn>
                  </a:cxnLst>
                  <a:rect l="l" t="t" r="r" b="b"/>
                  <a:pathLst>
                    <a:path w="6477" h="51815">
                      <a:moveTo>
                        <a:pt x="0" y="51816"/>
                      </a:moveTo>
                      <a:cubicBezTo>
                        <a:pt x="3363" y="44093"/>
                        <a:pt x="3986" y="37741"/>
                        <a:pt x="3986" y="33381"/>
                      </a:cubicBezTo>
                      <a:cubicBezTo>
                        <a:pt x="3986" y="26406"/>
                        <a:pt x="2118"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5" name="Freeform 8163">
                  <a:extLst>
                    <a:ext uri="{FF2B5EF4-FFF2-40B4-BE49-F238E27FC236}">
                      <a16:creationId xmlns:a16="http://schemas.microsoft.com/office/drawing/2014/main" id="{D109911E-2E3F-AF35-A54F-2F3AA6CDEE32}"/>
                    </a:ext>
                  </a:extLst>
                </p:cNvPr>
                <p:cNvSpPr/>
                <p:nvPr/>
              </p:nvSpPr>
              <p:spPr>
                <a:xfrm>
                  <a:off x="4718208" y="1866695"/>
                  <a:ext cx="6959" cy="51815"/>
                </a:xfrm>
                <a:custGeom>
                  <a:avLst/>
                  <a:gdLst>
                    <a:gd name="connsiteX0" fmla="*/ 6015 w 6959"/>
                    <a:gd name="connsiteY0" fmla="*/ 0 h 51815"/>
                    <a:gd name="connsiteX1" fmla="*/ 5890 w 6959"/>
                    <a:gd name="connsiteY1" fmla="*/ 18808 h 51815"/>
                    <a:gd name="connsiteX2" fmla="*/ 659 w 6959"/>
                    <a:gd name="connsiteY2" fmla="*/ 35374 h 51815"/>
                    <a:gd name="connsiteX3" fmla="*/ 1033 w 695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59" h="51815">
                      <a:moveTo>
                        <a:pt x="6015" y="0"/>
                      </a:moveTo>
                      <a:cubicBezTo>
                        <a:pt x="7634" y="8221"/>
                        <a:pt x="6887" y="14573"/>
                        <a:pt x="5890" y="18808"/>
                      </a:cubicBezTo>
                      <a:cubicBezTo>
                        <a:pt x="4396" y="25659"/>
                        <a:pt x="1905"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6" name="Freeform 8164">
                  <a:extLst>
                    <a:ext uri="{FF2B5EF4-FFF2-40B4-BE49-F238E27FC236}">
                      <a16:creationId xmlns:a16="http://schemas.microsoft.com/office/drawing/2014/main" id="{EF4E5681-E5F2-FB91-C4D6-72D9EE67051B}"/>
                    </a:ext>
                  </a:extLst>
                </p:cNvPr>
                <p:cNvSpPr/>
                <p:nvPr/>
              </p:nvSpPr>
              <p:spPr>
                <a:xfrm>
                  <a:off x="4709081" y="1907831"/>
                  <a:ext cx="26672" cy="26467"/>
                </a:xfrm>
                <a:custGeom>
                  <a:avLst/>
                  <a:gdLst>
                    <a:gd name="connsiteX0" fmla="*/ 71 w 26672"/>
                    <a:gd name="connsiteY0" fmla="*/ 11802 h 26467"/>
                    <a:gd name="connsiteX1" fmla="*/ 14769 w 26672"/>
                    <a:gd name="connsiteY1" fmla="*/ 93 h 26467"/>
                    <a:gd name="connsiteX2" fmla="*/ 26602 w 26672"/>
                    <a:gd name="connsiteY2" fmla="*/ 14666 h 26467"/>
                    <a:gd name="connsiteX3" fmla="*/ 11904 w 26672"/>
                    <a:gd name="connsiteY3" fmla="*/ 26375 h 26467"/>
                    <a:gd name="connsiteX4" fmla="*/ 71 w 26672"/>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467">
                      <a:moveTo>
                        <a:pt x="71" y="11802"/>
                      </a:moveTo>
                      <a:cubicBezTo>
                        <a:pt x="943" y="4577"/>
                        <a:pt x="7420" y="-779"/>
                        <a:pt x="14769" y="93"/>
                      </a:cubicBezTo>
                      <a:cubicBezTo>
                        <a:pt x="22118" y="965"/>
                        <a:pt x="27349" y="7442"/>
                        <a:pt x="26602" y="14666"/>
                      </a:cubicBezTo>
                      <a:cubicBezTo>
                        <a:pt x="25855" y="21891"/>
                        <a:pt x="19253" y="27247"/>
                        <a:pt x="11904" y="26375"/>
                      </a:cubicBezTo>
                      <a:cubicBezTo>
                        <a:pt x="4555" y="25627"/>
                        <a:pt x="-676" y="19026"/>
                        <a:pt x="71"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7" name="Freeform 8165">
                  <a:extLst>
                    <a:ext uri="{FF2B5EF4-FFF2-40B4-BE49-F238E27FC236}">
                      <a16:creationId xmlns:a16="http://schemas.microsoft.com/office/drawing/2014/main" id="{AE0D81B5-FF76-E20B-6E66-9DF41E0C8059}"/>
                    </a:ext>
                  </a:extLst>
                </p:cNvPr>
                <p:cNvSpPr/>
                <p:nvPr/>
              </p:nvSpPr>
              <p:spPr>
                <a:xfrm>
                  <a:off x="4724970" y="1806036"/>
                  <a:ext cx="6476" cy="51815"/>
                </a:xfrm>
                <a:custGeom>
                  <a:avLst/>
                  <a:gdLst>
                    <a:gd name="connsiteX0" fmla="*/ 6477 w 6476"/>
                    <a:gd name="connsiteY0" fmla="*/ 0 h 51815"/>
                    <a:gd name="connsiteX1" fmla="*/ 2491 w 6476"/>
                    <a:gd name="connsiteY1" fmla="*/ 18435 h 51815"/>
                    <a:gd name="connsiteX2" fmla="*/ 3986 w 6476"/>
                    <a:gd name="connsiteY2" fmla="*/ 35748 h 51815"/>
                    <a:gd name="connsiteX3" fmla="*/ 0 w 64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476" h="51815">
                      <a:moveTo>
                        <a:pt x="6477" y="0"/>
                      </a:moveTo>
                      <a:cubicBezTo>
                        <a:pt x="3114" y="7723"/>
                        <a:pt x="2491" y="14075"/>
                        <a:pt x="2491" y="18435"/>
                      </a:cubicBezTo>
                      <a:cubicBezTo>
                        <a:pt x="2491" y="25410"/>
                        <a:pt x="4235" y="28648"/>
                        <a:pt x="3986" y="35748"/>
                      </a:cubicBezTo>
                      <a:cubicBezTo>
                        <a:pt x="3737" y="42599"/>
                        <a:pt x="1744"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8" name="Freeform 8166">
                  <a:extLst>
                    <a:ext uri="{FF2B5EF4-FFF2-40B4-BE49-F238E27FC236}">
                      <a16:creationId xmlns:a16="http://schemas.microsoft.com/office/drawing/2014/main" id="{7862A7A5-D6E2-CB89-FF35-764DF750FBCE}"/>
                    </a:ext>
                  </a:extLst>
                </p:cNvPr>
                <p:cNvSpPr/>
                <p:nvPr/>
              </p:nvSpPr>
              <p:spPr>
                <a:xfrm>
                  <a:off x="4732994" y="1801925"/>
                  <a:ext cx="6959" cy="51815"/>
                </a:xfrm>
                <a:custGeom>
                  <a:avLst/>
                  <a:gdLst>
                    <a:gd name="connsiteX0" fmla="*/ 945 w 6959"/>
                    <a:gd name="connsiteY0" fmla="*/ 51816 h 51815"/>
                    <a:gd name="connsiteX1" fmla="*/ 1069 w 6959"/>
                    <a:gd name="connsiteY1" fmla="*/ 33008 h 51815"/>
                    <a:gd name="connsiteX2" fmla="*/ 6301 w 6959"/>
                    <a:gd name="connsiteY2" fmla="*/ 16442 h 51815"/>
                    <a:gd name="connsiteX3" fmla="*/ 5927 w 6959"/>
                    <a:gd name="connsiteY3" fmla="*/ 0 h 51815"/>
                  </a:gdLst>
                  <a:ahLst/>
                  <a:cxnLst>
                    <a:cxn ang="0">
                      <a:pos x="connsiteX0" y="connsiteY0"/>
                    </a:cxn>
                    <a:cxn ang="0">
                      <a:pos x="connsiteX1" y="connsiteY1"/>
                    </a:cxn>
                    <a:cxn ang="0">
                      <a:pos x="connsiteX2" y="connsiteY2"/>
                    </a:cxn>
                    <a:cxn ang="0">
                      <a:pos x="connsiteX3" y="connsiteY3"/>
                    </a:cxn>
                  </a:cxnLst>
                  <a:rect l="l" t="t" r="r" b="b"/>
                  <a:pathLst>
                    <a:path w="6959" h="51815">
                      <a:moveTo>
                        <a:pt x="945" y="51816"/>
                      </a:moveTo>
                      <a:cubicBezTo>
                        <a:pt x="-675" y="43595"/>
                        <a:pt x="73" y="37243"/>
                        <a:pt x="1069" y="33008"/>
                      </a:cubicBezTo>
                      <a:cubicBezTo>
                        <a:pt x="2564" y="26157"/>
                        <a:pt x="5055" y="23417"/>
                        <a:pt x="6301" y="16442"/>
                      </a:cubicBezTo>
                      <a:cubicBezTo>
                        <a:pt x="7546" y="9591"/>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9" name="Freeform 8167">
                  <a:extLst>
                    <a:ext uri="{FF2B5EF4-FFF2-40B4-BE49-F238E27FC236}">
                      <a16:creationId xmlns:a16="http://schemas.microsoft.com/office/drawing/2014/main" id="{7A236EFB-5E1A-3187-C8DB-F2924C6F8E4D}"/>
                    </a:ext>
                  </a:extLst>
                </p:cNvPr>
                <p:cNvSpPr/>
                <p:nvPr/>
              </p:nvSpPr>
              <p:spPr>
                <a:xfrm>
                  <a:off x="4722533" y="1786138"/>
                  <a:ext cx="26447" cy="26467"/>
                </a:xfrm>
                <a:custGeom>
                  <a:avLst/>
                  <a:gdLst>
                    <a:gd name="connsiteX0" fmla="*/ 26353 w 26447"/>
                    <a:gd name="connsiteY0" fmla="*/ 14666 h 26467"/>
                    <a:gd name="connsiteX1" fmla="*/ 11780 w 26447"/>
                    <a:gd name="connsiteY1" fmla="*/ 26375 h 26467"/>
                    <a:gd name="connsiteX2" fmla="*/ 71 w 26447"/>
                    <a:gd name="connsiteY2" fmla="*/ 11802 h 26467"/>
                    <a:gd name="connsiteX3" fmla="*/ 14644 w 26447"/>
                    <a:gd name="connsiteY3" fmla="*/ 93 h 26467"/>
                    <a:gd name="connsiteX4" fmla="*/ 26353 w 264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67">
                      <a:moveTo>
                        <a:pt x="26353" y="14666"/>
                      </a:moveTo>
                      <a:cubicBezTo>
                        <a:pt x="25606" y="21891"/>
                        <a:pt x="19004" y="27247"/>
                        <a:pt x="11780" y="26375"/>
                      </a:cubicBezTo>
                      <a:cubicBezTo>
                        <a:pt x="4555" y="25627"/>
                        <a:pt x="-676" y="19026"/>
                        <a:pt x="71" y="11802"/>
                      </a:cubicBezTo>
                      <a:cubicBezTo>
                        <a:pt x="943" y="4577"/>
                        <a:pt x="7420" y="-779"/>
                        <a:pt x="14644" y="93"/>
                      </a:cubicBezTo>
                      <a:cubicBezTo>
                        <a:pt x="21993" y="840"/>
                        <a:pt x="27225" y="7442"/>
                        <a:pt x="26353"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4" name="Graphic 2987">
                <a:extLst>
                  <a:ext uri="{FF2B5EF4-FFF2-40B4-BE49-F238E27FC236}">
                    <a16:creationId xmlns:a16="http://schemas.microsoft.com/office/drawing/2014/main" id="{34B9A8A7-8B97-7219-DF53-67D1260B0867}"/>
                  </a:ext>
                </a:extLst>
              </p:cNvPr>
              <p:cNvGrpSpPr/>
              <p:nvPr/>
            </p:nvGrpSpPr>
            <p:grpSpPr>
              <a:xfrm>
                <a:off x="4679414" y="1783024"/>
                <a:ext cx="40295" cy="148036"/>
                <a:chOff x="4679414" y="1783024"/>
                <a:chExt cx="40295" cy="148036"/>
              </a:xfrm>
              <a:grpFill/>
            </p:grpSpPr>
            <p:sp>
              <p:nvSpPr>
                <p:cNvPr id="6048" name="Freeform 8169">
                  <a:extLst>
                    <a:ext uri="{FF2B5EF4-FFF2-40B4-BE49-F238E27FC236}">
                      <a16:creationId xmlns:a16="http://schemas.microsoft.com/office/drawing/2014/main" id="{71825057-9E5A-9D13-6AD5-45A15BE6568C}"/>
                    </a:ext>
                  </a:extLst>
                </p:cNvPr>
                <p:cNvSpPr/>
                <p:nvPr/>
              </p:nvSpPr>
              <p:spPr>
                <a:xfrm>
                  <a:off x="4697194" y="185947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9" name="Freeform 8170">
                  <a:extLst>
                    <a:ext uri="{FF2B5EF4-FFF2-40B4-BE49-F238E27FC236}">
                      <a16:creationId xmlns:a16="http://schemas.microsoft.com/office/drawing/2014/main" id="{E9580094-ECC3-0808-1750-D6FD71565CCE}"/>
                    </a:ext>
                  </a:extLst>
                </p:cNvPr>
                <p:cNvSpPr/>
                <p:nvPr/>
              </p:nvSpPr>
              <p:spPr>
                <a:xfrm>
                  <a:off x="4688688" y="1863581"/>
                  <a:ext cx="7084" cy="51815"/>
                </a:xfrm>
                <a:custGeom>
                  <a:avLst/>
                  <a:gdLst>
                    <a:gd name="connsiteX0" fmla="*/ 6140 w 7084"/>
                    <a:gd name="connsiteY0" fmla="*/ 0 h 51815"/>
                    <a:gd name="connsiteX1" fmla="*/ 6015 w 7084"/>
                    <a:gd name="connsiteY1" fmla="*/ 18808 h 51815"/>
                    <a:gd name="connsiteX2" fmla="*/ 659 w 7084"/>
                    <a:gd name="connsiteY2" fmla="*/ 35374 h 51815"/>
                    <a:gd name="connsiteX3" fmla="*/ 1033 w 708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84" h="51815">
                      <a:moveTo>
                        <a:pt x="6140" y="0"/>
                      </a:moveTo>
                      <a:cubicBezTo>
                        <a:pt x="7759" y="8221"/>
                        <a:pt x="7011" y="14573"/>
                        <a:pt x="6015" y="18808"/>
                      </a:cubicBezTo>
                      <a:cubicBezTo>
                        <a:pt x="4396" y="25659"/>
                        <a:pt x="2029" y="28399"/>
                        <a:pt x="659" y="35374"/>
                      </a:cubicBezTo>
                      <a:cubicBezTo>
                        <a:pt x="-586" y="42225"/>
                        <a:pt x="161" y="47955"/>
                        <a:pt x="103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0" name="Freeform 8171">
                  <a:extLst>
                    <a:ext uri="{FF2B5EF4-FFF2-40B4-BE49-F238E27FC236}">
                      <a16:creationId xmlns:a16="http://schemas.microsoft.com/office/drawing/2014/main" id="{9A52772B-1E48-9C8E-E804-C70870A6A864}"/>
                    </a:ext>
                  </a:extLst>
                </p:cNvPr>
                <p:cNvSpPr/>
                <p:nvPr/>
              </p:nvSpPr>
              <p:spPr>
                <a:xfrm>
                  <a:off x="4679414" y="1904592"/>
                  <a:ext cx="26694" cy="26467"/>
                </a:xfrm>
                <a:custGeom>
                  <a:avLst/>
                  <a:gdLst>
                    <a:gd name="connsiteX0" fmla="*/ 93 w 26694"/>
                    <a:gd name="connsiteY0" fmla="*/ 11802 h 26467"/>
                    <a:gd name="connsiteX1" fmla="*/ 14791 w 26694"/>
                    <a:gd name="connsiteY1" fmla="*/ 93 h 26467"/>
                    <a:gd name="connsiteX2" fmla="*/ 26624 w 26694"/>
                    <a:gd name="connsiteY2" fmla="*/ 14666 h 26467"/>
                    <a:gd name="connsiteX3" fmla="*/ 11926 w 26694"/>
                    <a:gd name="connsiteY3" fmla="*/ 26375 h 26467"/>
                    <a:gd name="connsiteX4" fmla="*/ 93 w 26694"/>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67">
                      <a:moveTo>
                        <a:pt x="93" y="11802"/>
                      </a:moveTo>
                      <a:cubicBezTo>
                        <a:pt x="965" y="4577"/>
                        <a:pt x="7567" y="-779"/>
                        <a:pt x="14791" y="93"/>
                      </a:cubicBezTo>
                      <a:cubicBezTo>
                        <a:pt x="22140" y="840"/>
                        <a:pt x="27371" y="7442"/>
                        <a:pt x="26624" y="14666"/>
                      </a:cubicBezTo>
                      <a:cubicBezTo>
                        <a:pt x="25752" y="21891"/>
                        <a:pt x="19150" y="27247"/>
                        <a:pt x="11926" y="26375"/>
                      </a:cubicBezTo>
                      <a:cubicBezTo>
                        <a:pt x="4577" y="25627"/>
                        <a:pt x="-779" y="19150"/>
                        <a:pt x="93"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1" name="Freeform 8172">
                  <a:extLst>
                    <a:ext uri="{FF2B5EF4-FFF2-40B4-BE49-F238E27FC236}">
                      <a16:creationId xmlns:a16="http://schemas.microsoft.com/office/drawing/2014/main" id="{A0B9AA4E-94A7-8A08-4789-32E12578B04F}"/>
                    </a:ext>
                  </a:extLst>
                </p:cNvPr>
                <p:cNvSpPr/>
                <p:nvPr/>
              </p:nvSpPr>
              <p:spPr>
                <a:xfrm>
                  <a:off x="4695450" y="1802922"/>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2" name="Freeform 8173">
                  <a:extLst>
                    <a:ext uri="{FF2B5EF4-FFF2-40B4-BE49-F238E27FC236}">
                      <a16:creationId xmlns:a16="http://schemas.microsoft.com/office/drawing/2014/main" id="{10B23090-1AC9-9FDA-5B08-A9A9E9C252BE}"/>
                    </a:ext>
                  </a:extLst>
                </p:cNvPr>
                <p:cNvSpPr/>
                <p:nvPr/>
              </p:nvSpPr>
              <p:spPr>
                <a:xfrm>
                  <a:off x="4703598" y="1798687"/>
                  <a:ext cx="7091" cy="51815"/>
                </a:xfrm>
                <a:custGeom>
                  <a:avLst/>
                  <a:gdLst>
                    <a:gd name="connsiteX0" fmla="*/ 945 w 7091"/>
                    <a:gd name="connsiteY0" fmla="*/ 51816 h 51815"/>
                    <a:gd name="connsiteX1" fmla="*/ 1069 w 7091"/>
                    <a:gd name="connsiteY1" fmla="*/ 33008 h 51815"/>
                    <a:gd name="connsiteX2" fmla="*/ 6425 w 7091"/>
                    <a:gd name="connsiteY2" fmla="*/ 16442 h 51815"/>
                    <a:gd name="connsiteX3" fmla="*/ 6176 w 7091"/>
                    <a:gd name="connsiteY3" fmla="*/ 0 h 51815"/>
                  </a:gdLst>
                  <a:ahLst/>
                  <a:cxnLst>
                    <a:cxn ang="0">
                      <a:pos x="connsiteX0" y="connsiteY0"/>
                    </a:cxn>
                    <a:cxn ang="0">
                      <a:pos x="connsiteX1" y="connsiteY1"/>
                    </a:cxn>
                    <a:cxn ang="0">
                      <a:pos x="connsiteX2" y="connsiteY2"/>
                    </a:cxn>
                    <a:cxn ang="0">
                      <a:pos x="connsiteX3" y="connsiteY3"/>
                    </a:cxn>
                  </a:cxnLst>
                  <a:rect l="l" t="t" r="r" b="b"/>
                  <a:pathLst>
                    <a:path w="7091" h="51815">
                      <a:moveTo>
                        <a:pt x="945" y="51816"/>
                      </a:moveTo>
                      <a:cubicBezTo>
                        <a:pt x="-674" y="43595"/>
                        <a:pt x="73" y="37243"/>
                        <a:pt x="1069" y="33008"/>
                      </a:cubicBezTo>
                      <a:cubicBezTo>
                        <a:pt x="2564"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53" name="Freeform 8174">
                  <a:extLst>
                    <a:ext uri="{FF2B5EF4-FFF2-40B4-BE49-F238E27FC236}">
                      <a16:creationId xmlns:a16="http://schemas.microsoft.com/office/drawing/2014/main" id="{597C8F0C-4CE0-98EB-7DA6-9B9955DAC246}"/>
                    </a:ext>
                  </a:extLst>
                </p:cNvPr>
                <p:cNvSpPr/>
                <p:nvPr/>
              </p:nvSpPr>
              <p:spPr>
                <a:xfrm>
                  <a:off x="4693362" y="1783024"/>
                  <a:ext cx="26347" cy="26467"/>
                </a:xfrm>
                <a:custGeom>
                  <a:avLst/>
                  <a:gdLst>
                    <a:gd name="connsiteX0" fmla="*/ 26252 w 26347"/>
                    <a:gd name="connsiteY0" fmla="*/ 14666 h 26467"/>
                    <a:gd name="connsiteX1" fmla="*/ 11679 w 26347"/>
                    <a:gd name="connsiteY1" fmla="*/ 26375 h 26467"/>
                    <a:gd name="connsiteX2" fmla="*/ 95 w 26347"/>
                    <a:gd name="connsiteY2" fmla="*/ 11802 h 26467"/>
                    <a:gd name="connsiteX3" fmla="*/ 14668 w 26347"/>
                    <a:gd name="connsiteY3" fmla="*/ 93 h 26467"/>
                    <a:gd name="connsiteX4" fmla="*/ 26252 w 26347"/>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67">
                      <a:moveTo>
                        <a:pt x="26252" y="14666"/>
                      </a:moveTo>
                      <a:cubicBezTo>
                        <a:pt x="25380" y="21891"/>
                        <a:pt x="18903" y="27247"/>
                        <a:pt x="11679" y="26375"/>
                      </a:cubicBezTo>
                      <a:cubicBezTo>
                        <a:pt x="4455" y="25627"/>
                        <a:pt x="-777" y="19026"/>
                        <a:pt x="95" y="11802"/>
                      </a:cubicBezTo>
                      <a:cubicBezTo>
                        <a:pt x="967" y="4577"/>
                        <a:pt x="7444" y="-779"/>
                        <a:pt x="14668" y="93"/>
                      </a:cubicBezTo>
                      <a:cubicBezTo>
                        <a:pt x="21893" y="840"/>
                        <a:pt x="27124" y="7317"/>
                        <a:pt x="26252"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5" name="Graphic 2987">
                <a:extLst>
                  <a:ext uri="{FF2B5EF4-FFF2-40B4-BE49-F238E27FC236}">
                    <a16:creationId xmlns:a16="http://schemas.microsoft.com/office/drawing/2014/main" id="{4B44DCF8-DFBB-28D9-ED22-4FA59273A7F1}"/>
                  </a:ext>
                </a:extLst>
              </p:cNvPr>
              <p:cNvGrpSpPr/>
              <p:nvPr/>
            </p:nvGrpSpPr>
            <p:grpSpPr>
              <a:xfrm>
                <a:off x="4649767" y="1779786"/>
                <a:ext cx="40648" cy="148036"/>
                <a:chOff x="4649767" y="1779786"/>
                <a:chExt cx="40648" cy="148036"/>
              </a:xfrm>
              <a:grpFill/>
            </p:grpSpPr>
            <p:sp>
              <p:nvSpPr>
                <p:cNvPr id="6042" name="Freeform 8176">
                  <a:extLst>
                    <a:ext uri="{FF2B5EF4-FFF2-40B4-BE49-F238E27FC236}">
                      <a16:creationId xmlns:a16="http://schemas.microsoft.com/office/drawing/2014/main" id="{4A92A6AA-6DF4-E7FB-46F3-114940B16CF0}"/>
                    </a:ext>
                  </a:extLst>
                </p:cNvPr>
                <p:cNvSpPr/>
                <p:nvPr/>
              </p:nvSpPr>
              <p:spPr>
                <a:xfrm>
                  <a:off x="4667549" y="1856357"/>
                  <a:ext cx="6601" cy="51691"/>
                </a:xfrm>
                <a:custGeom>
                  <a:avLst/>
                  <a:gdLst>
                    <a:gd name="connsiteX0" fmla="*/ 0 w 6601"/>
                    <a:gd name="connsiteY0" fmla="*/ 51691 h 51691"/>
                    <a:gd name="connsiteX1" fmla="*/ 4110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0" y="37616"/>
                        <a:pt x="4110" y="33381"/>
                      </a:cubicBezTo>
                      <a:cubicBezTo>
                        <a:pt x="4110" y="26406"/>
                        <a:pt x="2367" y="23168"/>
                        <a:pt x="2616" y="16068"/>
                      </a:cubicBezTo>
                      <a:cubicBezTo>
                        <a:pt x="2865" y="9217"/>
                        <a:pt x="4982"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3" name="Freeform 8177">
                  <a:extLst>
                    <a:ext uri="{FF2B5EF4-FFF2-40B4-BE49-F238E27FC236}">
                      <a16:creationId xmlns:a16="http://schemas.microsoft.com/office/drawing/2014/main" id="{8BB68119-C9C9-88F4-9CAA-9764BFAB5CAE}"/>
                    </a:ext>
                  </a:extLst>
                </p:cNvPr>
                <p:cNvSpPr/>
                <p:nvPr/>
              </p:nvSpPr>
              <p:spPr>
                <a:xfrm>
                  <a:off x="4659161" y="1860343"/>
                  <a:ext cx="7000" cy="51815"/>
                </a:xfrm>
                <a:custGeom>
                  <a:avLst/>
                  <a:gdLst>
                    <a:gd name="connsiteX0" fmla="*/ 6147 w 7000"/>
                    <a:gd name="connsiteY0" fmla="*/ 0 h 51815"/>
                    <a:gd name="connsiteX1" fmla="*/ 6022 w 7000"/>
                    <a:gd name="connsiteY1" fmla="*/ 18808 h 51815"/>
                    <a:gd name="connsiteX2" fmla="*/ 666 w 7000"/>
                    <a:gd name="connsiteY2" fmla="*/ 35374 h 51815"/>
                    <a:gd name="connsiteX3" fmla="*/ 915 w 7000"/>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000" h="51815">
                      <a:moveTo>
                        <a:pt x="6147" y="0"/>
                      </a:moveTo>
                      <a:cubicBezTo>
                        <a:pt x="7642" y="8221"/>
                        <a:pt x="6894" y="14573"/>
                        <a:pt x="6022" y="18808"/>
                      </a:cubicBezTo>
                      <a:cubicBezTo>
                        <a:pt x="4403" y="25659"/>
                        <a:pt x="1912" y="28399"/>
                        <a:pt x="666" y="35374"/>
                      </a:cubicBezTo>
                      <a:cubicBezTo>
                        <a:pt x="-579" y="42225"/>
                        <a:pt x="168" y="47955"/>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4" name="Freeform 8178">
                  <a:extLst>
                    <a:ext uri="{FF2B5EF4-FFF2-40B4-BE49-F238E27FC236}">
                      <a16:creationId xmlns:a16="http://schemas.microsoft.com/office/drawing/2014/main" id="{C9A658E2-E7FD-89F3-9489-DF3ECE36AEE0}"/>
                    </a:ext>
                  </a:extLst>
                </p:cNvPr>
                <p:cNvSpPr/>
                <p:nvPr/>
              </p:nvSpPr>
              <p:spPr>
                <a:xfrm>
                  <a:off x="4649767" y="1901354"/>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840"/>
                        <a:pt x="27498" y="7442"/>
                        <a:pt x="26626" y="14666"/>
                      </a:cubicBezTo>
                      <a:cubicBezTo>
                        <a:pt x="25754" y="21891"/>
                        <a:pt x="19152" y="27247"/>
                        <a:pt x="11803" y="26375"/>
                      </a:cubicBezTo>
                      <a:cubicBezTo>
                        <a:pt x="4455" y="25503"/>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5" name="Freeform 8179">
                  <a:extLst>
                    <a:ext uri="{FF2B5EF4-FFF2-40B4-BE49-F238E27FC236}">
                      <a16:creationId xmlns:a16="http://schemas.microsoft.com/office/drawing/2014/main" id="{4EDEC4CF-E0FA-C158-350F-95A698AE56CF}"/>
                    </a:ext>
                  </a:extLst>
                </p:cNvPr>
                <p:cNvSpPr/>
                <p:nvPr/>
              </p:nvSpPr>
              <p:spPr>
                <a:xfrm>
                  <a:off x="4666054" y="1799683"/>
                  <a:ext cx="6726" cy="51691"/>
                </a:xfrm>
                <a:custGeom>
                  <a:avLst/>
                  <a:gdLst>
                    <a:gd name="connsiteX0" fmla="*/ 6726 w 6726"/>
                    <a:gd name="connsiteY0" fmla="*/ 0 h 51691"/>
                    <a:gd name="connsiteX1" fmla="*/ 2616 w 6726"/>
                    <a:gd name="connsiteY1" fmla="*/ 18310 h 51691"/>
                    <a:gd name="connsiteX2" fmla="*/ 3986 w 6726"/>
                    <a:gd name="connsiteY2" fmla="*/ 35624 h 51691"/>
                    <a:gd name="connsiteX3" fmla="*/ 0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6726" y="0"/>
                      </a:moveTo>
                      <a:cubicBezTo>
                        <a:pt x="3363" y="7723"/>
                        <a:pt x="2616" y="14075"/>
                        <a:pt x="2616" y="18310"/>
                      </a:cubicBezTo>
                      <a:cubicBezTo>
                        <a:pt x="2616" y="25285"/>
                        <a:pt x="4360" y="28524"/>
                        <a:pt x="3986" y="35624"/>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6" name="Freeform 8180">
                  <a:extLst>
                    <a:ext uri="{FF2B5EF4-FFF2-40B4-BE49-F238E27FC236}">
                      <a16:creationId xmlns:a16="http://schemas.microsoft.com/office/drawing/2014/main" id="{48AEBFBF-03FC-E69D-68FA-C75EF9FC20B9}"/>
                    </a:ext>
                  </a:extLst>
                </p:cNvPr>
                <p:cNvSpPr/>
                <p:nvPr/>
              </p:nvSpPr>
              <p:spPr>
                <a:xfrm>
                  <a:off x="4674169" y="1795448"/>
                  <a:ext cx="7000" cy="51815"/>
                </a:xfrm>
                <a:custGeom>
                  <a:avLst/>
                  <a:gdLst>
                    <a:gd name="connsiteX0" fmla="*/ 854 w 7000"/>
                    <a:gd name="connsiteY0" fmla="*/ 51816 h 51815"/>
                    <a:gd name="connsiteX1" fmla="*/ 978 w 7000"/>
                    <a:gd name="connsiteY1" fmla="*/ 33008 h 51815"/>
                    <a:gd name="connsiteX2" fmla="*/ 6334 w 7000"/>
                    <a:gd name="connsiteY2" fmla="*/ 16442 h 51815"/>
                    <a:gd name="connsiteX3" fmla="*/ 6085 w 7000"/>
                    <a:gd name="connsiteY3" fmla="*/ 0 h 51815"/>
                  </a:gdLst>
                  <a:ahLst/>
                  <a:cxnLst>
                    <a:cxn ang="0">
                      <a:pos x="connsiteX0" y="connsiteY0"/>
                    </a:cxn>
                    <a:cxn ang="0">
                      <a:pos x="connsiteX1" y="connsiteY1"/>
                    </a:cxn>
                    <a:cxn ang="0">
                      <a:pos x="connsiteX2" y="connsiteY2"/>
                    </a:cxn>
                    <a:cxn ang="0">
                      <a:pos x="connsiteX3" y="connsiteY3"/>
                    </a:cxn>
                  </a:cxnLst>
                  <a:rect l="l" t="t" r="r" b="b"/>
                  <a:pathLst>
                    <a:path w="7000" h="51815">
                      <a:moveTo>
                        <a:pt x="854" y="51816"/>
                      </a:moveTo>
                      <a:cubicBezTo>
                        <a:pt x="-641" y="43595"/>
                        <a:pt x="106" y="37243"/>
                        <a:pt x="978" y="33008"/>
                      </a:cubicBezTo>
                      <a:cubicBezTo>
                        <a:pt x="2598" y="26157"/>
                        <a:pt x="4964" y="23417"/>
                        <a:pt x="6334" y="16442"/>
                      </a:cubicBezTo>
                      <a:cubicBezTo>
                        <a:pt x="7580" y="9591"/>
                        <a:pt x="6833" y="3861"/>
                        <a:pt x="60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7" name="Freeform 8181">
                  <a:extLst>
                    <a:ext uri="{FF2B5EF4-FFF2-40B4-BE49-F238E27FC236}">
                      <a16:creationId xmlns:a16="http://schemas.microsoft.com/office/drawing/2014/main" id="{6199A6C7-FD60-7B99-F558-7F58526F1329}"/>
                    </a:ext>
                  </a:extLst>
                </p:cNvPr>
                <p:cNvSpPr/>
                <p:nvPr/>
              </p:nvSpPr>
              <p:spPr>
                <a:xfrm>
                  <a:off x="4663967" y="1779786"/>
                  <a:ext cx="26449" cy="26467"/>
                </a:xfrm>
                <a:custGeom>
                  <a:avLst/>
                  <a:gdLst>
                    <a:gd name="connsiteX0" fmla="*/ 26376 w 26449"/>
                    <a:gd name="connsiteY0" fmla="*/ 14666 h 26467"/>
                    <a:gd name="connsiteX1" fmla="*/ 11679 w 26449"/>
                    <a:gd name="connsiteY1" fmla="*/ 26375 h 26467"/>
                    <a:gd name="connsiteX2" fmla="*/ 95 w 26449"/>
                    <a:gd name="connsiteY2" fmla="*/ 11802 h 26467"/>
                    <a:gd name="connsiteX3" fmla="*/ 14793 w 26449"/>
                    <a:gd name="connsiteY3" fmla="*/ 93 h 26467"/>
                    <a:gd name="connsiteX4" fmla="*/ 26376 w 26449"/>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467">
                      <a:moveTo>
                        <a:pt x="26376" y="14666"/>
                      </a:moveTo>
                      <a:cubicBezTo>
                        <a:pt x="25504" y="21891"/>
                        <a:pt x="19028" y="27247"/>
                        <a:pt x="11679" y="26375"/>
                      </a:cubicBezTo>
                      <a:cubicBezTo>
                        <a:pt x="4454" y="25627"/>
                        <a:pt x="-777" y="19026"/>
                        <a:pt x="95" y="11802"/>
                      </a:cubicBezTo>
                      <a:cubicBezTo>
                        <a:pt x="967" y="4577"/>
                        <a:pt x="7444" y="-779"/>
                        <a:pt x="14793" y="93"/>
                      </a:cubicBezTo>
                      <a:cubicBezTo>
                        <a:pt x="22017" y="840"/>
                        <a:pt x="27124" y="7442"/>
                        <a:pt x="26376"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6" name="Graphic 2987">
                <a:extLst>
                  <a:ext uri="{FF2B5EF4-FFF2-40B4-BE49-F238E27FC236}">
                    <a16:creationId xmlns:a16="http://schemas.microsoft.com/office/drawing/2014/main" id="{56F69201-6818-5FD5-4D02-E9E4632FC12C}"/>
                  </a:ext>
                </a:extLst>
              </p:cNvPr>
              <p:cNvGrpSpPr/>
              <p:nvPr/>
            </p:nvGrpSpPr>
            <p:grpSpPr>
              <a:xfrm>
                <a:off x="4620122" y="1776672"/>
                <a:ext cx="40920" cy="148036"/>
                <a:chOff x="4620122" y="1776672"/>
                <a:chExt cx="40920" cy="148036"/>
              </a:xfrm>
              <a:grpFill/>
            </p:grpSpPr>
            <p:sp>
              <p:nvSpPr>
                <p:cNvPr id="6036" name="Freeform 8183">
                  <a:extLst>
                    <a:ext uri="{FF2B5EF4-FFF2-40B4-BE49-F238E27FC236}">
                      <a16:creationId xmlns:a16="http://schemas.microsoft.com/office/drawing/2014/main" id="{5BF04527-B4FA-9A31-7E67-8E238A4EE30E}"/>
                    </a:ext>
                  </a:extLst>
                </p:cNvPr>
                <p:cNvSpPr/>
                <p:nvPr/>
              </p:nvSpPr>
              <p:spPr>
                <a:xfrm>
                  <a:off x="4637905" y="1853119"/>
                  <a:ext cx="6850" cy="51691"/>
                </a:xfrm>
                <a:custGeom>
                  <a:avLst/>
                  <a:gdLst>
                    <a:gd name="connsiteX0" fmla="*/ 0 w 6850"/>
                    <a:gd name="connsiteY0" fmla="*/ 51691 h 51691"/>
                    <a:gd name="connsiteX1" fmla="*/ 4110 w 6850"/>
                    <a:gd name="connsiteY1" fmla="*/ 33381 h 51691"/>
                    <a:gd name="connsiteX2" fmla="*/ 2740 w 6850"/>
                    <a:gd name="connsiteY2" fmla="*/ 16068 h 51691"/>
                    <a:gd name="connsiteX3" fmla="*/ 6851 w 6850"/>
                    <a:gd name="connsiteY3" fmla="*/ 0 h 51691"/>
                  </a:gdLst>
                  <a:ahLst/>
                  <a:cxnLst>
                    <a:cxn ang="0">
                      <a:pos x="connsiteX0" y="connsiteY0"/>
                    </a:cxn>
                    <a:cxn ang="0">
                      <a:pos x="connsiteX1" y="connsiteY1"/>
                    </a:cxn>
                    <a:cxn ang="0">
                      <a:pos x="connsiteX2" y="connsiteY2"/>
                    </a:cxn>
                    <a:cxn ang="0">
                      <a:pos x="connsiteX3" y="connsiteY3"/>
                    </a:cxn>
                  </a:cxnLst>
                  <a:rect l="l" t="t" r="r" b="b"/>
                  <a:pathLst>
                    <a:path w="6850" h="51690">
                      <a:moveTo>
                        <a:pt x="0" y="51691"/>
                      </a:moveTo>
                      <a:cubicBezTo>
                        <a:pt x="3363" y="43969"/>
                        <a:pt x="4110" y="37616"/>
                        <a:pt x="4110" y="33381"/>
                      </a:cubicBezTo>
                      <a:cubicBezTo>
                        <a:pt x="4110" y="26406"/>
                        <a:pt x="2367" y="23168"/>
                        <a:pt x="2740" y="16068"/>
                      </a:cubicBezTo>
                      <a:cubicBezTo>
                        <a:pt x="3114" y="9217"/>
                        <a:pt x="5107" y="3612"/>
                        <a:pt x="68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7" name="Freeform 8184">
                  <a:extLst>
                    <a:ext uri="{FF2B5EF4-FFF2-40B4-BE49-F238E27FC236}">
                      <a16:creationId xmlns:a16="http://schemas.microsoft.com/office/drawing/2014/main" id="{04888D75-4245-1B10-04D9-F3A38965DD88}"/>
                    </a:ext>
                  </a:extLst>
                </p:cNvPr>
                <p:cNvSpPr/>
                <p:nvPr/>
              </p:nvSpPr>
              <p:spPr>
                <a:xfrm>
                  <a:off x="4629356" y="1857229"/>
                  <a:ext cx="7276" cy="51815"/>
                </a:xfrm>
                <a:custGeom>
                  <a:avLst/>
                  <a:gdLst>
                    <a:gd name="connsiteX0" fmla="*/ 6431 w 7276"/>
                    <a:gd name="connsiteY0" fmla="*/ 0 h 51815"/>
                    <a:gd name="connsiteX1" fmla="*/ 6182 w 7276"/>
                    <a:gd name="connsiteY1" fmla="*/ 18808 h 51815"/>
                    <a:gd name="connsiteX2" fmla="*/ 702 w 7276"/>
                    <a:gd name="connsiteY2" fmla="*/ 35374 h 51815"/>
                    <a:gd name="connsiteX3" fmla="*/ 951 w 727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276" h="51815">
                      <a:moveTo>
                        <a:pt x="6431" y="0"/>
                      </a:moveTo>
                      <a:cubicBezTo>
                        <a:pt x="7926" y="8221"/>
                        <a:pt x="7178" y="14573"/>
                        <a:pt x="6182" y="18808"/>
                      </a:cubicBezTo>
                      <a:cubicBezTo>
                        <a:pt x="4563" y="25659"/>
                        <a:pt x="2072" y="28399"/>
                        <a:pt x="702" y="35374"/>
                      </a:cubicBezTo>
                      <a:cubicBezTo>
                        <a:pt x="-544" y="42100"/>
                        <a:pt x="79" y="47955"/>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8" name="Freeform 8185">
                  <a:extLst>
                    <a:ext uri="{FF2B5EF4-FFF2-40B4-BE49-F238E27FC236}">
                      <a16:creationId xmlns:a16="http://schemas.microsoft.com/office/drawing/2014/main" id="{D9DA135C-F7DC-3B61-EC00-304BBF7AEA28}"/>
                    </a:ext>
                  </a:extLst>
                </p:cNvPr>
                <p:cNvSpPr/>
                <p:nvPr/>
              </p:nvSpPr>
              <p:spPr>
                <a:xfrm>
                  <a:off x="4620122" y="1898240"/>
                  <a:ext cx="26720" cy="26467"/>
                </a:xfrm>
                <a:custGeom>
                  <a:avLst/>
                  <a:gdLst>
                    <a:gd name="connsiteX0" fmla="*/ 95 w 26720"/>
                    <a:gd name="connsiteY0" fmla="*/ 11802 h 26467"/>
                    <a:gd name="connsiteX1" fmla="*/ 14917 w 26720"/>
                    <a:gd name="connsiteY1" fmla="*/ 93 h 26467"/>
                    <a:gd name="connsiteX2" fmla="*/ 26626 w 26720"/>
                    <a:gd name="connsiteY2" fmla="*/ 14666 h 26467"/>
                    <a:gd name="connsiteX3" fmla="*/ 11803 w 26720"/>
                    <a:gd name="connsiteY3" fmla="*/ 26375 h 26467"/>
                    <a:gd name="connsiteX4" fmla="*/ 95 w 26720"/>
                    <a:gd name="connsiteY4" fmla="*/ 11802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67">
                      <a:moveTo>
                        <a:pt x="95" y="11802"/>
                      </a:moveTo>
                      <a:cubicBezTo>
                        <a:pt x="967" y="4577"/>
                        <a:pt x="7568" y="-779"/>
                        <a:pt x="14917" y="93"/>
                      </a:cubicBezTo>
                      <a:cubicBezTo>
                        <a:pt x="22266" y="965"/>
                        <a:pt x="27498" y="7442"/>
                        <a:pt x="26626" y="14666"/>
                      </a:cubicBezTo>
                      <a:cubicBezTo>
                        <a:pt x="25754" y="21891"/>
                        <a:pt x="19152" y="27247"/>
                        <a:pt x="11803" y="26375"/>
                      </a:cubicBezTo>
                      <a:cubicBezTo>
                        <a:pt x="4455"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9" name="Freeform 8186">
                  <a:extLst>
                    <a:ext uri="{FF2B5EF4-FFF2-40B4-BE49-F238E27FC236}">
                      <a16:creationId xmlns:a16="http://schemas.microsoft.com/office/drawing/2014/main" id="{63B8C0A0-6D43-EC88-7C08-840B22470D48}"/>
                    </a:ext>
                  </a:extLst>
                </p:cNvPr>
                <p:cNvSpPr/>
                <p:nvPr/>
              </p:nvSpPr>
              <p:spPr>
                <a:xfrm>
                  <a:off x="4636534" y="1796569"/>
                  <a:ext cx="6850" cy="51691"/>
                </a:xfrm>
                <a:custGeom>
                  <a:avLst/>
                  <a:gdLst>
                    <a:gd name="connsiteX0" fmla="*/ 6851 w 6850"/>
                    <a:gd name="connsiteY0" fmla="*/ 0 h 51691"/>
                    <a:gd name="connsiteX1" fmla="*/ 2740 w 6850"/>
                    <a:gd name="connsiteY1" fmla="*/ 18310 h 51691"/>
                    <a:gd name="connsiteX2" fmla="*/ 4111 w 6850"/>
                    <a:gd name="connsiteY2" fmla="*/ 35624 h 51691"/>
                    <a:gd name="connsiteX3" fmla="*/ 0 w 685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850" h="51690">
                      <a:moveTo>
                        <a:pt x="6851" y="0"/>
                      </a:moveTo>
                      <a:cubicBezTo>
                        <a:pt x="3488" y="7723"/>
                        <a:pt x="2740" y="14075"/>
                        <a:pt x="2740" y="18310"/>
                      </a:cubicBezTo>
                      <a:cubicBezTo>
                        <a:pt x="2740" y="25285"/>
                        <a:pt x="4484" y="28524"/>
                        <a:pt x="4111" y="35624"/>
                      </a:cubicBezTo>
                      <a:cubicBezTo>
                        <a:pt x="3737" y="42474"/>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0" name="Freeform 8187">
                  <a:extLst>
                    <a:ext uri="{FF2B5EF4-FFF2-40B4-BE49-F238E27FC236}">
                      <a16:creationId xmlns:a16="http://schemas.microsoft.com/office/drawing/2014/main" id="{08985496-FEB9-9BC2-CB2E-1CCE8177CBBD}"/>
                    </a:ext>
                  </a:extLst>
                </p:cNvPr>
                <p:cNvSpPr/>
                <p:nvPr/>
              </p:nvSpPr>
              <p:spPr>
                <a:xfrm>
                  <a:off x="4644782" y="1792334"/>
                  <a:ext cx="7151" cy="51815"/>
                </a:xfrm>
                <a:custGeom>
                  <a:avLst/>
                  <a:gdLst>
                    <a:gd name="connsiteX0" fmla="*/ 845 w 7151"/>
                    <a:gd name="connsiteY0" fmla="*/ 51816 h 51815"/>
                    <a:gd name="connsiteX1" fmla="*/ 1094 w 7151"/>
                    <a:gd name="connsiteY1" fmla="*/ 33008 h 51815"/>
                    <a:gd name="connsiteX2" fmla="*/ 6450 w 7151"/>
                    <a:gd name="connsiteY2" fmla="*/ 16442 h 51815"/>
                    <a:gd name="connsiteX3" fmla="*/ 6201 w 7151"/>
                    <a:gd name="connsiteY3" fmla="*/ 0 h 51815"/>
                  </a:gdLst>
                  <a:ahLst/>
                  <a:cxnLst>
                    <a:cxn ang="0">
                      <a:pos x="connsiteX0" y="connsiteY0"/>
                    </a:cxn>
                    <a:cxn ang="0">
                      <a:pos x="connsiteX1" y="connsiteY1"/>
                    </a:cxn>
                    <a:cxn ang="0">
                      <a:pos x="connsiteX2" y="connsiteY2"/>
                    </a:cxn>
                    <a:cxn ang="0">
                      <a:pos x="connsiteX3" y="connsiteY3"/>
                    </a:cxn>
                  </a:cxnLst>
                  <a:rect l="l" t="t" r="r" b="b"/>
                  <a:pathLst>
                    <a:path w="7151" h="51815">
                      <a:moveTo>
                        <a:pt x="845" y="51816"/>
                      </a:moveTo>
                      <a:cubicBezTo>
                        <a:pt x="-649" y="43595"/>
                        <a:pt x="98" y="37243"/>
                        <a:pt x="1094" y="33008"/>
                      </a:cubicBezTo>
                      <a:cubicBezTo>
                        <a:pt x="2713" y="26157"/>
                        <a:pt x="5205" y="23417"/>
                        <a:pt x="6450" y="16442"/>
                      </a:cubicBezTo>
                      <a:cubicBezTo>
                        <a:pt x="7696" y="9716"/>
                        <a:pt x="7073"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41" name="Freeform 8188">
                  <a:extLst>
                    <a:ext uri="{FF2B5EF4-FFF2-40B4-BE49-F238E27FC236}">
                      <a16:creationId xmlns:a16="http://schemas.microsoft.com/office/drawing/2014/main" id="{BB9BC404-FA13-7068-1C81-23B856AC2875}"/>
                    </a:ext>
                  </a:extLst>
                </p:cNvPr>
                <p:cNvSpPr/>
                <p:nvPr/>
              </p:nvSpPr>
              <p:spPr>
                <a:xfrm>
                  <a:off x="4634571" y="1776672"/>
                  <a:ext cx="26471" cy="26467"/>
                </a:xfrm>
                <a:custGeom>
                  <a:avLst/>
                  <a:gdLst>
                    <a:gd name="connsiteX0" fmla="*/ 26377 w 26471"/>
                    <a:gd name="connsiteY0" fmla="*/ 14666 h 26467"/>
                    <a:gd name="connsiteX1" fmla="*/ 11679 w 26471"/>
                    <a:gd name="connsiteY1" fmla="*/ 26375 h 26467"/>
                    <a:gd name="connsiteX2" fmla="*/ 95 w 26471"/>
                    <a:gd name="connsiteY2" fmla="*/ 11802 h 26467"/>
                    <a:gd name="connsiteX3" fmla="*/ 14793 w 26471"/>
                    <a:gd name="connsiteY3" fmla="*/ 93 h 26467"/>
                    <a:gd name="connsiteX4" fmla="*/ 26377 w 26471"/>
                    <a:gd name="connsiteY4" fmla="*/ 14666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467">
                      <a:moveTo>
                        <a:pt x="26377" y="14666"/>
                      </a:moveTo>
                      <a:cubicBezTo>
                        <a:pt x="25505" y="21891"/>
                        <a:pt x="18903" y="27247"/>
                        <a:pt x="11679" y="26375"/>
                      </a:cubicBezTo>
                      <a:cubicBezTo>
                        <a:pt x="4455" y="25627"/>
                        <a:pt x="-777" y="19026"/>
                        <a:pt x="95" y="11802"/>
                      </a:cubicBezTo>
                      <a:cubicBezTo>
                        <a:pt x="967" y="4577"/>
                        <a:pt x="7569" y="-779"/>
                        <a:pt x="14793" y="93"/>
                      </a:cubicBezTo>
                      <a:cubicBezTo>
                        <a:pt x="22017" y="840"/>
                        <a:pt x="27248" y="7317"/>
                        <a:pt x="26377" y="146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7" name="Graphic 2987">
                <a:extLst>
                  <a:ext uri="{FF2B5EF4-FFF2-40B4-BE49-F238E27FC236}">
                    <a16:creationId xmlns:a16="http://schemas.microsoft.com/office/drawing/2014/main" id="{E4D2F30F-C8C7-D248-0AEB-51F4F96765CF}"/>
                  </a:ext>
                </a:extLst>
              </p:cNvPr>
              <p:cNvGrpSpPr/>
              <p:nvPr/>
            </p:nvGrpSpPr>
            <p:grpSpPr>
              <a:xfrm>
                <a:off x="4590478" y="1773305"/>
                <a:ext cx="41294" cy="148289"/>
                <a:chOff x="4590478" y="1773305"/>
                <a:chExt cx="41294" cy="148289"/>
              </a:xfrm>
              <a:grpFill/>
            </p:grpSpPr>
            <p:sp>
              <p:nvSpPr>
                <p:cNvPr id="6030" name="Freeform 8190">
                  <a:extLst>
                    <a:ext uri="{FF2B5EF4-FFF2-40B4-BE49-F238E27FC236}">
                      <a16:creationId xmlns:a16="http://schemas.microsoft.com/office/drawing/2014/main" id="{891610A4-0DA6-4E65-C5C9-85FA162B9DAB}"/>
                    </a:ext>
                  </a:extLst>
                </p:cNvPr>
                <p:cNvSpPr/>
                <p:nvPr/>
              </p:nvSpPr>
              <p:spPr>
                <a:xfrm>
                  <a:off x="4608260" y="1850005"/>
                  <a:ext cx="6975" cy="51566"/>
                </a:xfrm>
                <a:custGeom>
                  <a:avLst/>
                  <a:gdLst>
                    <a:gd name="connsiteX0" fmla="*/ 0 w 6975"/>
                    <a:gd name="connsiteY0" fmla="*/ 51567 h 51566"/>
                    <a:gd name="connsiteX1" fmla="*/ 4235 w 6975"/>
                    <a:gd name="connsiteY1" fmla="*/ 33257 h 51566"/>
                    <a:gd name="connsiteX2" fmla="*/ 2865 w 6975"/>
                    <a:gd name="connsiteY2" fmla="*/ 15943 h 51566"/>
                    <a:gd name="connsiteX3" fmla="*/ 6975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0" y="51567"/>
                      </a:moveTo>
                      <a:cubicBezTo>
                        <a:pt x="3488" y="43844"/>
                        <a:pt x="4235" y="37616"/>
                        <a:pt x="4235" y="33257"/>
                      </a:cubicBezTo>
                      <a:cubicBezTo>
                        <a:pt x="4235" y="26282"/>
                        <a:pt x="2491" y="23043"/>
                        <a:pt x="2865" y="15943"/>
                      </a:cubicBezTo>
                      <a:cubicBezTo>
                        <a:pt x="3239" y="9093"/>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1" name="Freeform 8191">
                  <a:extLst>
                    <a:ext uri="{FF2B5EF4-FFF2-40B4-BE49-F238E27FC236}">
                      <a16:creationId xmlns:a16="http://schemas.microsoft.com/office/drawing/2014/main" id="{F9D31862-00C0-88B9-CE15-6D2BE00961BC}"/>
                    </a:ext>
                  </a:extLst>
                </p:cNvPr>
                <p:cNvSpPr/>
                <p:nvPr/>
              </p:nvSpPr>
              <p:spPr>
                <a:xfrm>
                  <a:off x="4599774" y="1853866"/>
                  <a:ext cx="7338" cy="51940"/>
                </a:xfrm>
                <a:custGeom>
                  <a:avLst/>
                  <a:gdLst>
                    <a:gd name="connsiteX0" fmla="*/ 6493 w 7338"/>
                    <a:gd name="connsiteY0" fmla="*/ 0 h 51940"/>
                    <a:gd name="connsiteX1" fmla="*/ 6244 w 7338"/>
                    <a:gd name="connsiteY1" fmla="*/ 18808 h 51940"/>
                    <a:gd name="connsiteX2" fmla="*/ 764 w 7338"/>
                    <a:gd name="connsiteY2" fmla="*/ 35374 h 51940"/>
                    <a:gd name="connsiteX3" fmla="*/ 888 w 733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338" h="51940">
                      <a:moveTo>
                        <a:pt x="6493" y="0"/>
                      </a:moveTo>
                      <a:cubicBezTo>
                        <a:pt x="7988" y="8345"/>
                        <a:pt x="7240" y="14573"/>
                        <a:pt x="6244" y="18808"/>
                      </a:cubicBezTo>
                      <a:cubicBezTo>
                        <a:pt x="4625" y="25659"/>
                        <a:pt x="2134" y="28399"/>
                        <a:pt x="764" y="35374"/>
                      </a:cubicBezTo>
                      <a:cubicBezTo>
                        <a:pt x="-607" y="42100"/>
                        <a:pt x="141" y="48079"/>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2" name="Freeform 8192">
                  <a:extLst>
                    <a:ext uri="{FF2B5EF4-FFF2-40B4-BE49-F238E27FC236}">
                      <a16:creationId xmlns:a16="http://schemas.microsoft.com/office/drawing/2014/main" id="{61A322D8-9184-61FA-1740-4114559B6596}"/>
                    </a:ext>
                  </a:extLst>
                </p:cNvPr>
                <p:cNvSpPr/>
                <p:nvPr/>
              </p:nvSpPr>
              <p:spPr>
                <a:xfrm>
                  <a:off x="4590478" y="1894970"/>
                  <a:ext cx="26720" cy="26623"/>
                </a:xfrm>
                <a:custGeom>
                  <a:avLst/>
                  <a:gdLst>
                    <a:gd name="connsiteX0" fmla="*/ 95 w 26720"/>
                    <a:gd name="connsiteY0" fmla="*/ 11459 h 26623"/>
                    <a:gd name="connsiteX1" fmla="*/ 14917 w 26720"/>
                    <a:gd name="connsiteY1" fmla="*/ 124 h 26623"/>
                    <a:gd name="connsiteX2" fmla="*/ 26626 w 26720"/>
                    <a:gd name="connsiteY2" fmla="*/ 14822 h 26623"/>
                    <a:gd name="connsiteX3" fmla="*/ 11803 w 26720"/>
                    <a:gd name="connsiteY3" fmla="*/ 26531 h 26623"/>
                    <a:gd name="connsiteX4" fmla="*/ 95 w 26720"/>
                    <a:gd name="connsiteY4" fmla="*/ 11459 h 2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623">
                      <a:moveTo>
                        <a:pt x="95" y="11459"/>
                      </a:moveTo>
                      <a:cubicBezTo>
                        <a:pt x="967" y="4235"/>
                        <a:pt x="7568" y="-872"/>
                        <a:pt x="14917" y="124"/>
                      </a:cubicBezTo>
                      <a:cubicBezTo>
                        <a:pt x="22266" y="996"/>
                        <a:pt x="27498" y="7473"/>
                        <a:pt x="26626" y="14822"/>
                      </a:cubicBezTo>
                      <a:cubicBezTo>
                        <a:pt x="25754" y="22046"/>
                        <a:pt x="19152" y="27402"/>
                        <a:pt x="11803" y="26531"/>
                      </a:cubicBezTo>
                      <a:cubicBezTo>
                        <a:pt x="4454" y="25410"/>
                        <a:pt x="-777" y="18683"/>
                        <a:pt x="95"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3" name="Freeform 8193">
                  <a:extLst>
                    <a:ext uri="{FF2B5EF4-FFF2-40B4-BE49-F238E27FC236}">
                      <a16:creationId xmlns:a16="http://schemas.microsoft.com/office/drawing/2014/main" id="{30B8ADF3-1E5B-4336-19BA-DCB0785C61DE}"/>
                    </a:ext>
                  </a:extLst>
                </p:cNvPr>
                <p:cNvSpPr/>
                <p:nvPr/>
              </p:nvSpPr>
              <p:spPr>
                <a:xfrm>
                  <a:off x="4607139" y="1793206"/>
                  <a:ext cx="6975" cy="51691"/>
                </a:xfrm>
                <a:custGeom>
                  <a:avLst/>
                  <a:gdLst>
                    <a:gd name="connsiteX0" fmla="*/ 6975 w 6975"/>
                    <a:gd name="connsiteY0" fmla="*/ 0 h 51691"/>
                    <a:gd name="connsiteX1" fmla="*/ 2740 w 6975"/>
                    <a:gd name="connsiteY1" fmla="*/ 18310 h 51691"/>
                    <a:gd name="connsiteX2" fmla="*/ 4110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612" y="7598"/>
                        <a:pt x="2865" y="13950"/>
                        <a:pt x="2740" y="18310"/>
                      </a:cubicBezTo>
                      <a:cubicBezTo>
                        <a:pt x="2616" y="25285"/>
                        <a:pt x="4360" y="28648"/>
                        <a:pt x="4110" y="35748"/>
                      </a:cubicBezTo>
                      <a:cubicBezTo>
                        <a:pt x="3737"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4" name="Freeform 8194">
                  <a:extLst>
                    <a:ext uri="{FF2B5EF4-FFF2-40B4-BE49-F238E27FC236}">
                      <a16:creationId xmlns:a16="http://schemas.microsoft.com/office/drawing/2014/main" id="{7C31CC08-A5F7-7CA4-EB74-ECD63A2F9AAB}"/>
                    </a:ext>
                  </a:extLst>
                </p:cNvPr>
                <p:cNvSpPr/>
                <p:nvPr/>
              </p:nvSpPr>
              <p:spPr>
                <a:xfrm>
                  <a:off x="4615262" y="1789096"/>
                  <a:ext cx="7338" cy="51815"/>
                </a:xfrm>
                <a:custGeom>
                  <a:avLst/>
                  <a:gdLst>
                    <a:gd name="connsiteX0" fmla="*/ 845 w 7338"/>
                    <a:gd name="connsiteY0" fmla="*/ 51816 h 51815"/>
                    <a:gd name="connsiteX1" fmla="*/ 1094 w 7338"/>
                    <a:gd name="connsiteY1" fmla="*/ 33008 h 51815"/>
                    <a:gd name="connsiteX2" fmla="*/ 6575 w 7338"/>
                    <a:gd name="connsiteY2" fmla="*/ 16442 h 51815"/>
                    <a:gd name="connsiteX3" fmla="*/ 6450 w 7338"/>
                    <a:gd name="connsiteY3" fmla="*/ 0 h 51815"/>
                  </a:gdLst>
                  <a:ahLst/>
                  <a:cxnLst>
                    <a:cxn ang="0">
                      <a:pos x="connsiteX0" y="connsiteY0"/>
                    </a:cxn>
                    <a:cxn ang="0">
                      <a:pos x="connsiteX1" y="connsiteY1"/>
                    </a:cxn>
                    <a:cxn ang="0">
                      <a:pos x="connsiteX2" y="connsiteY2"/>
                    </a:cxn>
                    <a:cxn ang="0">
                      <a:pos x="connsiteX3" y="connsiteY3"/>
                    </a:cxn>
                  </a:cxnLst>
                  <a:rect l="l" t="t" r="r" b="b"/>
                  <a:pathLst>
                    <a:path w="7338" h="51815">
                      <a:moveTo>
                        <a:pt x="845" y="51816"/>
                      </a:moveTo>
                      <a:cubicBezTo>
                        <a:pt x="-649" y="43595"/>
                        <a:pt x="98" y="37243"/>
                        <a:pt x="1094" y="33008"/>
                      </a:cubicBezTo>
                      <a:cubicBezTo>
                        <a:pt x="2713" y="26157"/>
                        <a:pt x="5205" y="23417"/>
                        <a:pt x="6575" y="16442"/>
                      </a:cubicBezTo>
                      <a:cubicBezTo>
                        <a:pt x="7945" y="9715"/>
                        <a:pt x="7197" y="3861"/>
                        <a:pt x="64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35" name="Freeform 8195">
                  <a:extLst>
                    <a:ext uri="{FF2B5EF4-FFF2-40B4-BE49-F238E27FC236}">
                      <a16:creationId xmlns:a16="http://schemas.microsoft.com/office/drawing/2014/main" id="{12AC5C78-7ADC-E7B8-4075-FC26FF2D7679}"/>
                    </a:ext>
                  </a:extLst>
                </p:cNvPr>
                <p:cNvSpPr/>
                <p:nvPr/>
              </p:nvSpPr>
              <p:spPr>
                <a:xfrm>
                  <a:off x="4605423" y="1773305"/>
                  <a:ext cx="26349" cy="26596"/>
                </a:xfrm>
                <a:custGeom>
                  <a:avLst/>
                  <a:gdLst>
                    <a:gd name="connsiteX0" fmla="*/ 26254 w 26349"/>
                    <a:gd name="connsiteY0" fmla="*/ 14795 h 26596"/>
                    <a:gd name="connsiteX1" fmla="*/ 11556 w 26349"/>
                    <a:gd name="connsiteY1" fmla="*/ 26503 h 26596"/>
                    <a:gd name="connsiteX2" fmla="*/ 97 w 26349"/>
                    <a:gd name="connsiteY2" fmla="*/ 11556 h 26596"/>
                    <a:gd name="connsiteX3" fmla="*/ 14795 w 26349"/>
                    <a:gd name="connsiteY3" fmla="*/ 97 h 26596"/>
                    <a:gd name="connsiteX4" fmla="*/ 26254 w 26349"/>
                    <a:gd name="connsiteY4" fmla="*/ 14795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9" h="26595">
                      <a:moveTo>
                        <a:pt x="26254" y="14795"/>
                      </a:moveTo>
                      <a:cubicBezTo>
                        <a:pt x="25382" y="22019"/>
                        <a:pt x="18781" y="27375"/>
                        <a:pt x="11556" y="26503"/>
                      </a:cubicBezTo>
                      <a:cubicBezTo>
                        <a:pt x="4332" y="25507"/>
                        <a:pt x="-775" y="18905"/>
                        <a:pt x="97" y="11556"/>
                      </a:cubicBezTo>
                      <a:cubicBezTo>
                        <a:pt x="969" y="4332"/>
                        <a:pt x="7570" y="-775"/>
                        <a:pt x="14795" y="97"/>
                      </a:cubicBezTo>
                      <a:cubicBezTo>
                        <a:pt x="21895" y="1093"/>
                        <a:pt x="27126" y="7570"/>
                        <a:pt x="26254" y="147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8" name="Graphic 2987">
                <a:extLst>
                  <a:ext uri="{FF2B5EF4-FFF2-40B4-BE49-F238E27FC236}">
                    <a16:creationId xmlns:a16="http://schemas.microsoft.com/office/drawing/2014/main" id="{166693B0-BFFE-87B5-5087-C126285BD8EC}"/>
                  </a:ext>
                </a:extLst>
              </p:cNvPr>
              <p:cNvGrpSpPr/>
              <p:nvPr/>
            </p:nvGrpSpPr>
            <p:grpSpPr>
              <a:xfrm>
                <a:off x="4560956" y="1769441"/>
                <a:ext cx="41547" cy="148075"/>
                <a:chOff x="4560956" y="1769441"/>
                <a:chExt cx="41547" cy="148075"/>
              </a:xfrm>
              <a:grpFill/>
            </p:grpSpPr>
            <p:sp>
              <p:nvSpPr>
                <p:cNvPr id="6024" name="Freeform 8197">
                  <a:extLst>
                    <a:ext uri="{FF2B5EF4-FFF2-40B4-BE49-F238E27FC236}">
                      <a16:creationId xmlns:a16="http://schemas.microsoft.com/office/drawing/2014/main" id="{F69395EB-A562-E177-0A01-B6C5FDDA9251}"/>
                    </a:ext>
                  </a:extLst>
                </p:cNvPr>
                <p:cNvSpPr/>
                <p:nvPr/>
              </p:nvSpPr>
              <p:spPr>
                <a:xfrm>
                  <a:off x="4578740" y="18460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8" y="44093"/>
                        <a:pt x="4235" y="37741"/>
                        <a:pt x="4235" y="33381"/>
                      </a:cubicBezTo>
                      <a:cubicBezTo>
                        <a:pt x="4360"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5" name="Freeform 8198">
                  <a:extLst>
                    <a:ext uri="{FF2B5EF4-FFF2-40B4-BE49-F238E27FC236}">
                      <a16:creationId xmlns:a16="http://schemas.microsoft.com/office/drawing/2014/main" id="{C9AAA9B7-484D-0435-744D-AA5C3D0ADCE3}"/>
                    </a:ext>
                  </a:extLst>
                </p:cNvPr>
                <p:cNvSpPr/>
                <p:nvPr/>
              </p:nvSpPr>
              <p:spPr>
                <a:xfrm>
                  <a:off x="4570254" y="1849880"/>
                  <a:ext cx="7419" cy="51815"/>
                </a:xfrm>
                <a:custGeom>
                  <a:avLst/>
                  <a:gdLst>
                    <a:gd name="connsiteX0" fmla="*/ 6618 w 7419"/>
                    <a:gd name="connsiteY0" fmla="*/ 0 h 51815"/>
                    <a:gd name="connsiteX1" fmla="*/ 6244 w 7419"/>
                    <a:gd name="connsiteY1" fmla="*/ 18808 h 51815"/>
                    <a:gd name="connsiteX2" fmla="*/ 764 w 7419"/>
                    <a:gd name="connsiteY2" fmla="*/ 35250 h 51815"/>
                    <a:gd name="connsiteX3" fmla="*/ 888 w 741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19" h="51815">
                      <a:moveTo>
                        <a:pt x="6618" y="0"/>
                      </a:moveTo>
                      <a:cubicBezTo>
                        <a:pt x="8112" y="8345"/>
                        <a:pt x="7240" y="14573"/>
                        <a:pt x="6244" y="18808"/>
                      </a:cubicBezTo>
                      <a:cubicBezTo>
                        <a:pt x="4625" y="25659"/>
                        <a:pt x="2134" y="28399"/>
                        <a:pt x="764" y="35250"/>
                      </a:cubicBezTo>
                      <a:cubicBezTo>
                        <a:pt x="-607" y="41976"/>
                        <a:pt x="141" y="47955"/>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6" name="Freeform 8199">
                  <a:extLst>
                    <a:ext uri="{FF2B5EF4-FFF2-40B4-BE49-F238E27FC236}">
                      <a16:creationId xmlns:a16="http://schemas.microsoft.com/office/drawing/2014/main" id="{14D01426-1BAC-252E-58A1-F3C7D30B9A80}"/>
                    </a:ext>
                  </a:extLst>
                </p:cNvPr>
                <p:cNvSpPr/>
                <p:nvPr/>
              </p:nvSpPr>
              <p:spPr>
                <a:xfrm>
                  <a:off x="4560956" y="1890984"/>
                  <a:ext cx="26599" cy="26532"/>
                </a:xfrm>
                <a:custGeom>
                  <a:avLst/>
                  <a:gdLst>
                    <a:gd name="connsiteX0" fmla="*/ 97 w 26599"/>
                    <a:gd name="connsiteY0" fmla="*/ 11459 h 26532"/>
                    <a:gd name="connsiteX1" fmla="*/ 14919 w 26599"/>
                    <a:gd name="connsiteY1" fmla="*/ 124 h 26532"/>
                    <a:gd name="connsiteX2" fmla="*/ 26503 w 26599"/>
                    <a:gd name="connsiteY2" fmla="*/ 15071 h 26532"/>
                    <a:gd name="connsiteX3" fmla="*/ 11681 w 26599"/>
                    <a:gd name="connsiteY3" fmla="*/ 26406 h 26532"/>
                    <a:gd name="connsiteX4" fmla="*/ 97 w 2659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31">
                      <a:moveTo>
                        <a:pt x="97" y="11459"/>
                      </a:moveTo>
                      <a:cubicBezTo>
                        <a:pt x="969" y="4235"/>
                        <a:pt x="7695" y="-872"/>
                        <a:pt x="14919" y="124"/>
                      </a:cubicBezTo>
                      <a:cubicBezTo>
                        <a:pt x="22268" y="1121"/>
                        <a:pt x="27375" y="7722"/>
                        <a:pt x="26503" y="15071"/>
                      </a:cubicBezTo>
                      <a:cubicBezTo>
                        <a:pt x="25631" y="22420"/>
                        <a:pt x="18905" y="27402"/>
                        <a:pt x="11681" y="26406"/>
                      </a:cubicBezTo>
                      <a:cubicBezTo>
                        <a:pt x="4332" y="25410"/>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7" name="Freeform 8200">
                  <a:extLst>
                    <a:ext uri="{FF2B5EF4-FFF2-40B4-BE49-F238E27FC236}">
                      <a16:creationId xmlns:a16="http://schemas.microsoft.com/office/drawing/2014/main" id="{1A3F0F2A-E8CB-7C71-DE92-3B05943069A2}"/>
                    </a:ext>
                  </a:extLst>
                </p:cNvPr>
                <p:cNvSpPr/>
                <p:nvPr/>
              </p:nvSpPr>
              <p:spPr>
                <a:xfrm>
                  <a:off x="4577743" y="1789345"/>
                  <a:ext cx="7099" cy="51691"/>
                </a:xfrm>
                <a:custGeom>
                  <a:avLst/>
                  <a:gdLst>
                    <a:gd name="connsiteX0" fmla="*/ 7100 w 7099"/>
                    <a:gd name="connsiteY0" fmla="*/ 0 h 51691"/>
                    <a:gd name="connsiteX1" fmla="*/ 2865 w 7099"/>
                    <a:gd name="connsiteY1" fmla="*/ 18310 h 51691"/>
                    <a:gd name="connsiteX2" fmla="*/ 4111 w 7099"/>
                    <a:gd name="connsiteY2" fmla="*/ 35748 h 51691"/>
                    <a:gd name="connsiteX3" fmla="*/ 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0"/>
                      </a:moveTo>
                      <a:cubicBezTo>
                        <a:pt x="3612" y="7598"/>
                        <a:pt x="2865" y="13950"/>
                        <a:pt x="2865" y="18310"/>
                      </a:cubicBezTo>
                      <a:cubicBezTo>
                        <a:pt x="2740" y="25285"/>
                        <a:pt x="4484"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8" name="Freeform 8201">
                  <a:extLst>
                    <a:ext uri="{FF2B5EF4-FFF2-40B4-BE49-F238E27FC236}">
                      <a16:creationId xmlns:a16="http://schemas.microsoft.com/office/drawing/2014/main" id="{C4A3307A-A4D4-0DAE-733C-3898B3C78DE3}"/>
                    </a:ext>
                  </a:extLst>
                </p:cNvPr>
                <p:cNvSpPr/>
                <p:nvPr/>
              </p:nvSpPr>
              <p:spPr>
                <a:xfrm>
                  <a:off x="4585909" y="1785235"/>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861"/>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9" name="Freeform 8202">
                  <a:extLst>
                    <a:ext uri="{FF2B5EF4-FFF2-40B4-BE49-F238E27FC236}">
                      <a16:creationId xmlns:a16="http://schemas.microsoft.com/office/drawing/2014/main" id="{7B991E5A-F218-A996-8739-3757484AF9E8}"/>
                    </a:ext>
                  </a:extLst>
                </p:cNvPr>
                <p:cNvSpPr/>
                <p:nvPr/>
              </p:nvSpPr>
              <p:spPr>
                <a:xfrm>
                  <a:off x="4576152" y="1769441"/>
                  <a:ext cx="26351" cy="26602"/>
                </a:xfrm>
                <a:custGeom>
                  <a:avLst/>
                  <a:gdLst>
                    <a:gd name="connsiteX0" fmla="*/ 26254 w 26351"/>
                    <a:gd name="connsiteY0" fmla="*/ 15046 h 26602"/>
                    <a:gd name="connsiteX1" fmla="*/ 11556 w 26351"/>
                    <a:gd name="connsiteY1" fmla="*/ 26505 h 26602"/>
                    <a:gd name="connsiteX2" fmla="*/ 97 w 26351"/>
                    <a:gd name="connsiteY2" fmla="*/ 11558 h 26602"/>
                    <a:gd name="connsiteX3" fmla="*/ 14795 w 26351"/>
                    <a:gd name="connsiteY3" fmla="*/ 99 h 26602"/>
                    <a:gd name="connsiteX4" fmla="*/ 26254 w 26351"/>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821"/>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29" name="Graphic 2987">
                <a:extLst>
                  <a:ext uri="{FF2B5EF4-FFF2-40B4-BE49-F238E27FC236}">
                    <a16:creationId xmlns:a16="http://schemas.microsoft.com/office/drawing/2014/main" id="{85A8E8FC-2699-7DA3-715E-54CB899A621A}"/>
                  </a:ext>
                </a:extLst>
              </p:cNvPr>
              <p:cNvGrpSpPr/>
              <p:nvPr/>
            </p:nvGrpSpPr>
            <p:grpSpPr>
              <a:xfrm>
                <a:off x="4531411" y="1765580"/>
                <a:ext cx="41820" cy="148075"/>
                <a:chOff x="4531411" y="1765580"/>
                <a:chExt cx="41820" cy="148075"/>
              </a:xfrm>
              <a:grpFill/>
            </p:grpSpPr>
            <p:sp>
              <p:nvSpPr>
                <p:cNvPr id="6018" name="Freeform 8204">
                  <a:extLst>
                    <a:ext uri="{FF2B5EF4-FFF2-40B4-BE49-F238E27FC236}">
                      <a16:creationId xmlns:a16="http://schemas.microsoft.com/office/drawing/2014/main" id="{1B688949-B165-5B7E-798E-02DA10C0B8A2}"/>
                    </a:ext>
                  </a:extLst>
                </p:cNvPr>
                <p:cNvSpPr/>
                <p:nvPr/>
              </p:nvSpPr>
              <p:spPr>
                <a:xfrm>
                  <a:off x="4549220" y="1842033"/>
                  <a:ext cx="7348" cy="51691"/>
                </a:xfrm>
                <a:custGeom>
                  <a:avLst/>
                  <a:gdLst>
                    <a:gd name="connsiteX0" fmla="*/ 0 w 7348"/>
                    <a:gd name="connsiteY0" fmla="*/ 51691 h 51691"/>
                    <a:gd name="connsiteX1" fmla="*/ 4359 w 7348"/>
                    <a:gd name="connsiteY1" fmla="*/ 33381 h 51691"/>
                    <a:gd name="connsiteX2" fmla="*/ 3114 w 7348"/>
                    <a:gd name="connsiteY2" fmla="*/ 15943 h 51691"/>
                    <a:gd name="connsiteX3" fmla="*/ 7349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0" y="51691"/>
                      </a:moveTo>
                      <a:cubicBezTo>
                        <a:pt x="3488" y="44093"/>
                        <a:pt x="4235" y="37741"/>
                        <a:pt x="4359"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9" name="Freeform 8205">
                  <a:extLst>
                    <a:ext uri="{FF2B5EF4-FFF2-40B4-BE49-F238E27FC236}">
                      <a16:creationId xmlns:a16="http://schemas.microsoft.com/office/drawing/2014/main" id="{C003D0FF-E804-542B-BBFF-2A6B684654FC}"/>
                    </a:ext>
                  </a:extLst>
                </p:cNvPr>
                <p:cNvSpPr/>
                <p:nvPr/>
              </p:nvSpPr>
              <p:spPr>
                <a:xfrm>
                  <a:off x="4540733" y="1846019"/>
                  <a:ext cx="7544" cy="51815"/>
                </a:xfrm>
                <a:custGeom>
                  <a:avLst/>
                  <a:gdLst>
                    <a:gd name="connsiteX0" fmla="*/ 6742 w 7544"/>
                    <a:gd name="connsiteY0" fmla="*/ 0 h 51815"/>
                    <a:gd name="connsiteX1" fmla="*/ 6369 w 7544"/>
                    <a:gd name="connsiteY1" fmla="*/ 18808 h 51815"/>
                    <a:gd name="connsiteX2" fmla="*/ 763 w 7544"/>
                    <a:gd name="connsiteY2" fmla="*/ 35250 h 51815"/>
                    <a:gd name="connsiteX3" fmla="*/ 888 w 754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544" h="51815">
                      <a:moveTo>
                        <a:pt x="6742" y="0"/>
                      </a:moveTo>
                      <a:cubicBezTo>
                        <a:pt x="8237" y="8345"/>
                        <a:pt x="7365" y="14573"/>
                        <a:pt x="6369" y="18808"/>
                      </a:cubicBezTo>
                      <a:cubicBezTo>
                        <a:pt x="4749" y="25659"/>
                        <a:pt x="2258" y="28399"/>
                        <a:pt x="763" y="35250"/>
                      </a:cubicBezTo>
                      <a:cubicBezTo>
                        <a:pt x="-607" y="41976"/>
                        <a:pt x="141" y="47830"/>
                        <a:pt x="8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0" name="Freeform 8206">
                  <a:extLst>
                    <a:ext uri="{FF2B5EF4-FFF2-40B4-BE49-F238E27FC236}">
                      <a16:creationId xmlns:a16="http://schemas.microsoft.com/office/drawing/2014/main" id="{76D572C4-79D9-BDF6-26EC-87829663120D}"/>
                    </a:ext>
                  </a:extLst>
                </p:cNvPr>
                <p:cNvSpPr/>
                <p:nvPr/>
              </p:nvSpPr>
              <p:spPr>
                <a:xfrm>
                  <a:off x="4531411" y="1887123"/>
                  <a:ext cx="26749" cy="26532"/>
                </a:xfrm>
                <a:custGeom>
                  <a:avLst/>
                  <a:gdLst>
                    <a:gd name="connsiteX0" fmla="*/ 122 w 26749"/>
                    <a:gd name="connsiteY0" fmla="*/ 11459 h 26532"/>
                    <a:gd name="connsiteX1" fmla="*/ 15069 w 26749"/>
                    <a:gd name="connsiteY1" fmla="*/ 124 h 26532"/>
                    <a:gd name="connsiteX2" fmla="*/ 26653 w 26749"/>
                    <a:gd name="connsiteY2" fmla="*/ 15071 h 26532"/>
                    <a:gd name="connsiteX3" fmla="*/ 11706 w 26749"/>
                    <a:gd name="connsiteY3" fmla="*/ 26406 h 26532"/>
                    <a:gd name="connsiteX4" fmla="*/ 122 w 26749"/>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31">
                      <a:moveTo>
                        <a:pt x="122" y="11459"/>
                      </a:moveTo>
                      <a:cubicBezTo>
                        <a:pt x="994" y="4235"/>
                        <a:pt x="7720" y="-872"/>
                        <a:pt x="15069" y="124"/>
                      </a:cubicBezTo>
                      <a:cubicBezTo>
                        <a:pt x="22418" y="1121"/>
                        <a:pt x="27525" y="7722"/>
                        <a:pt x="26653" y="15071"/>
                      </a:cubicBezTo>
                      <a:cubicBezTo>
                        <a:pt x="25781" y="22420"/>
                        <a:pt x="19054" y="27402"/>
                        <a:pt x="11706" y="26406"/>
                      </a:cubicBezTo>
                      <a:cubicBezTo>
                        <a:pt x="4357" y="25285"/>
                        <a:pt x="-875"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1" name="Freeform 8207">
                  <a:extLst>
                    <a:ext uri="{FF2B5EF4-FFF2-40B4-BE49-F238E27FC236}">
                      <a16:creationId xmlns:a16="http://schemas.microsoft.com/office/drawing/2014/main" id="{0BCAC32F-F98D-C83A-059A-77077F78933D}"/>
                    </a:ext>
                  </a:extLst>
                </p:cNvPr>
                <p:cNvSpPr/>
                <p:nvPr/>
              </p:nvSpPr>
              <p:spPr>
                <a:xfrm>
                  <a:off x="4548223" y="1785359"/>
                  <a:ext cx="7348" cy="51691"/>
                </a:xfrm>
                <a:custGeom>
                  <a:avLst/>
                  <a:gdLst>
                    <a:gd name="connsiteX0" fmla="*/ 7349 w 7348"/>
                    <a:gd name="connsiteY0" fmla="*/ 0 h 51691"/>
                    <a:gd name="connsiteX1" fmla="*/ 2990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2" name="Freeform 8208">
                  <a:extLst>
                    <a:ext uri="{FF2B5EF4-FFF2-40B4-BE49-F238E27FC236}">
                      <a16:creationId xmlns:a16="http://schemas.microsoft.com/office/drawing/2014/main" id="{4BAF5C32-076B-8696-0B8C-FE98D8A2F485}"/>
                    </a:ext>
                  </a:extLst>
                </p:cNvPr>
                <p:cNvSpPr/>
                <p:nvPr/>
              </p:nvSpPr>
              <p:spPr>
                <a:xfrm>
                  <a:off x="4556514" y="1781373"/>
                  <a:ext cx="7419" cy="51815"/>
                </a:xfrm>
                <a:custGeom>
                  <a:avLst/>
                  <a:gdLst>
                    <a:gd name="connsiteX0" fmla="*/ 802 w 7419"/>
                    <a:gd name="connsiteY0" fmla="*/ 51816 h 51815"/>
                    <a:gd name="connsiteX1" fmla="*/ 1176 w 7419"/>
                    <a:gd name="connsiteY1" fmla="*/ 33008 h 51815"/>
                    <a:gd name="connsiteX2" fmla="*/ 6656 w 7419"/>
                    <a:gd name="connsiteY2" fmla="*/ 16566 h 51815"/>
                    <a:gd name="connsiteX3" fmla="*/ 6532 w 7419"/>
                    <a:gd name="connsiteY3" fmla="*/ 0 h 51815"/>
                  </a:gdLst>
                  <a:ahLst/>
                  <a:cxnLst>
                    <a:cxn ang="0">
                      <a:pos x="connsiteX0" y="connsiteY0"/>
                    </a:cxn>
                    <a:cxn ang="0">
                      <a:pos x="connsiteX1" y="connsiteY1"/>
                    </a:cxn>
                    <a:cxn ang="0">
                      <a:pos x="connsiteX2" y="connsiteY2"/>
                    </a:cxn>
                    <a:cxn ang="0">
                      <a:pos x="connsiteX3" y="connsiteY3"/>
                    </a:cxn>
                  </a:cxnLst>
                  <a:rect l="l" t="t" r="r" b="b"/>
                  <a:pathLst>
                    <a:path w="7419" h="51815">
                      <a:moveTo>
                        <a:pt x="802" y="51816"/>
                      </a:moveTo>
                      <a:cubicBezTo>
                        <a:pt x="-693" y="43471"/>
                        <a:pt x="179" y="37243"/>
                        <a:pt x="1176" y="33008"/>
                      </a:cubicBezTo>
                      <a:cubicBezTo>
                        <a:pt x="2795" y="26157"/>
                        <a:pt x="5286" y="23417"/>
                        <a:pt x="6656" y="16566"/>
                      </a:cubicBezTo>
                      <a:cubicBezTo>
                        <a:pt x="8026" y="9840"/>
                        <a:pt x="7279" y="3986"/>
                        <a:pt x="6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23" name="Freeform 8209">
                  <a:extLst>
                    <a:ext uri="{FF2B5EF4-FFF2-40B4-BE49-F238E27FC236}">
                      <a16:creationId xmlns:a16="http://schemas.microsoft.com/office/drawing/2014/main" id="{FA87C62B-C79C-A076-D0F1-F85F4240DCA4}"/>
                    </a:ext>
                  </a:extLst>
                </p:cNvPr>
                <p:cNvSpPr/>
                <p:nvPr/>
              </p:nvSpPr>
              <p:spPr>
                <a:xfrm>
                  <a:off x="4546880" y="1765580"/>
                  <a:ext cx="26350" cy="26602"/>
                </a:xfrm>
                <a:custGeom>
                  <a:avLst/>
                  <a:gdLst>
                    <a:gd name="connsiteX0" fmla="*/ 26254 w 26350"/>
                    <a:gd name="connsiteY0" fmla="*/ 15046 h 26602"/>
                    <a:gd name="connsiteX1" fmla="*/ 11556 w 26350"/>
                    <a:gd name="connsiteY1" fmla="*/ 26505 h 26602"/>
                    <a:gd name="connsiteX2" fmla="*/ 97 w 26350"/>
                    <a:gd name="connsiteY2" fmla="*/ 11558 h 26602"/>
                    <a:gd name="connsiteX3" fmla="*/ 14795 w 26350"/>
                    <a:gd name="connsiteY3" fmla="*/ 99 h 26602"/>
                    <a:gd name="connsiteX4" fmla="*/ 26254 w 26350"/>
                    <a:gd name="connsiteY4" fmla="*/ 15046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602">
                      <a:moveTo>
                        <a:pt x="26254" y="15046"/>
                      </a:moveTo>
                      <a:cubicBezTo>
                        <a:pt x="25382" y="22270"/>
                        <a:pt x="18781" y="27377"/>
                        <a:pt x="11556" y="26505"/>
                      </a:cubicBezTo>
                      <a:cubicBezTo>
                        <a:pt x="4332" y="25509"/>
                        <a:pt x="-775" y="18907"/>
                        <a:pt x="97" y="11558"/>
                      </a:cubicBezTo>
                      <a:cubicBezTo>
                        <a:pt x="969" y="4209"/>
                        <a:pt x="7570" y="-773"/>
                        <a:pt x="14795" y="99"/>
                      </a:cubicBezTo>
                      <a:cubicBezTo>
                        <a:pt x="22019" y="1095"/>
                        <a:pt x="27126" y="7697"/>
                        <a:pt x="26254" y="150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0" name="Graphic 2987">
                <a:extLst>
                  <a:ext uri="{FF2B5EF4-FFF2-40B4-BE49-F238E27FC236}">
                    <a16:creationId xmlns:a16="http://schemas.microsoft.com/office/drawing/2014/main" id="{2D434850-197E-7B15-44D2-EFBE7271F41D}"/>
                  </a:ext>
                </a:extLst>
              </p:cNvPr>
              <p:cNvGrpSpPr/>
              <p:nvPr/>
            </p:nvGrpSpPr>
            <p:grpSpPr>
              <a:xfrm>
                <a:off x="4501791" y="1761596"/>
                <a:ext cx="42197" cy="148071"/>
                <a:chOff x="4501791" y="1761596"/>
                <a:chExt cx="42197" cy="148071"/>
              </a:xfrm>
              <a:grpFill/>
            </p:grpSpPr>
            <p:sp>
              <p:nvSpPr>
                <p:cNvPr id="6012" name="Freeform 8211">
                  <a:extLst>
                    <a:ext uri="{FF2B5EF4-FFF2-40B4-BE49-F238E27FC236}">
                      <a16:creationId xmlns:a16="http://schemas.microsoft.com/office/drawing/2014/main" id="{A0B41A8A-6451-4005-4EB2-112432AD8932}"/>
                    </a:ext>
                  </a:extLst>
                </p:cNvPr>
                <p:cNvSpPr/>
                <p:nvPr/>
              </p:nvSpPr>
              <p:spPr>
                <a:xfrm>
                  <a:off x="4519699" y="1838172"/>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4093"/>
                        <a:pt x="4235" y="37741"/>
                        <a:pt x="4360" y="33381"/>
                      </a:cubicBezTo>
                      <a:cubicBezTo>
                        <a:pt x="4484" y="26406"/>
                        <a:pt x="2740" y="23043"/>
                        <a:pt x="3114" y="15943"/>
                      </a:cubicBezTo>
                      <a:cubicBezTo>
                        <a:pt x="3488" y="9093"/>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3" name="Freeform 8212">
                  <a:extLst>
                    <a:ext uri="{FF2B5EF4-FFF2-40B4-BE49-F238E27FC236}">
                      <a16:creationId xmlns:a16="http://schemas.microsoft.com/office/drawing/2014/main" id="{62B02294-3919-FB33-EDDB-6294784BC433}"/>
                    </a:ext>
                  </a:extLst>
                </p:cNvPr>
                <p:cNvSpPr/>
                <p:nvPr/>
              </p:nvSpPr>
              <p:spPr>
                <a:xfrm>
                  <a:off x="4511166" y="1842033"/>
                  <a:ext cx="7654" cy="51815"/>
                </a:xfrm>
                <a:custGeom>
                  <a:avLst/>
                  <a:gdLst>
                    <a:gd name="connsiteX0" fmla="*/ 6914 w 7654"/>
                    <a:gd name="connsiteY0" fmla="*/ 0 h 51815"/>
                    <a:gd name="connsiteX1" fmla="*/ 6416 w 7654"/>
                    <a:gd name="connsiteY1" fmla="*/ 18808 h 51815"/>
                    <a:gd name="connsiteX2" fmla="*/ 810 w 7654"/>
                    <a:gd name="connsiteY2" fmla="*/ 35250 h 51815"/>
                    <a:gd name="connsiteX3" fmla="*/ 810 w 76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54" h="51815">
                      <a:moveTo>
                        <a:pt x="6914" y="0"/>
                      </a:moveTo>
                      <a:cubicBezTo>
                        <a:pt x="8284" y="8345"/>
                        <a:pt x="7537" y="14573"/>
                        <a:pt x="6416" y="18808"/>
                      </a:cubicBezTo>
                      <a:cubicBezTo>
                        <a:pt x="4796" y="25659"/>
                        <a:pt x="2181" y="28399"/>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4" name="Freeform 8213">
                  <a:extLst>
                    <a:ext uri="{FF2B5EF4-FFF2-40B4-BE49-F238E27FC236}">
                      <a16:creationId xmlns:a16="http://schemas.microsoft.com/office/drawing/2014/main" id="{2985593A-E65D-65D3-716B-70073EA2CB16}"/>
                    </a:ext>
                  </a:extLst>
                </p:cNvPr>
                <p:cNvSpPr/>
                <p:nvPr/>
              </p:nvSpPr>
              <p:spPr>
                <a:xfrm>
                  <a:off x="4501791" y="1883137"/>
                  <a:ext cx="26724" cy="26530"/>
                </a:xfrm>
                <a:custGeom>
                  <a:avLst/>
                  <a:gdLst>
                    <a:gd name="connsiteX0" fmla="*/ 97 w 26724"/>
                    <a:gd name="connsiteY0" fmla="*/ 11459 h 26530"/>
                    <a:gd name="connsiteX1" fmla="*/ 15044 w 26724"/>
                    <a:gd name="connsiteY1" fmla="*/ 124 h 26530"/>
                    <a:gd name="connsiteX2" fmla="*/ 26628 w 26724"/>
                    <a:gd name="connsiteY2" fmla="*/ 15071 h 26530"/>
                    <a:gd name="connsiteX3" fmla="*/ 11681 w 26724"/>
                    <a:gd name="connsiteY3" fmla="*/ 26406 h 26530"/>
                    <a:gd name="connsiteX4" fmla="*/ 97 w 2672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30">
                      <a:moveTo>
                        <a:pt x="97" y="11459"/>
                      </a:moveTo>
                      <a:cubicBezTo>
                        <a:pt x="1094" y="4235"/>
                        <a:pt x="7695" y="-872"/>
                        <a:pt x="15044" y="124"/>
                      </a:cubicBezTo>
                      <a:cubicBezTo>
                        <a:pt x="22393" y="1121"/>
                        <a:pt x="27500" y="7722"/>
                        <a:pt x="26628" y="15071"/>
                      </a:cubicBezTo>
                      <a:cubicBezTo>
                        <a:pt x="25756" y="22296"/>
                        <a:pt x="19030" y="27402"/>
                        <a:pt x="11681" y="26406"/>
                      </a:cubicBezTo>
                      <a:cubicBezTo>
                        <a:pt x="4332" y="25409"/>
                        <a:pt x="-775" y="18683"/>
                        <a:pt x="9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5" name="Freeform 8214">
                  <a:extLst>
                    <a:ext uri="{FF2B5EF4-FFF2-40B4-BE49-F238E27FC236}">
                      <a16:creationId xmlns:a16="http://schemas.microsoft.com/office/drawing/2014/main" id="{70B4133F-8548-99C9-E65A-90C81197BA90}"/>
                    </a:ext>
                  </a:extLst>
                </p:cNvPr>
                <p:cNvSpPr/>
                <p:nvPr/>
              </p:nvSpPr>
              <p:spPr>
                <a:xfrm>
                  <a:off x="4518952" y="1781498"/>
                  <a:ext cx="7349" cy="51691"/>
                </a:xfrm>
                <a:custGeom>
                  <a:avLst/>
                  <a:gdLst>
                    <a:gd name="connsiteX0" fmla="*/ 7349 w 7349"/>
                    <a:gd name="connsiteY0" fmla="*/ 0 h 51691"/>
                    <a:gd name="connsiteX1" fmla="*/ 2990 w 7349"/>
                    <a:gd name="connsiteY1" fmla="*/ 18310 h 51691"/>
                    <a:gd name="connsiteX2" fmla="*/ 4235 w 7349"/>
                    <a:gd name="connsiteY2" fmla="*/ 35748 h 51691"/>
                    <a:gd name="connsiteX3" fmla="*/ 0 w 734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0"/>
                      </a:moveTo>
                      <a:cubicBezTo>
                        <a:pt x="3861" y="7598"/>
                        <a:pt x="3114" y="13950"/>
                        <a:pt x="2990" y="18310"/>
                      </a:cubicBezTo>
                      <a:cubicBezTo>
                        <a:pt x="2865" y="25285"/>
                        <a:pt x="4609" y="28648"/>
                        <a:pt x="4235" y="35748"/>
                      </a:cubicBezTo>
                      <a:cubicBezTo>
                        <a:pt x="3861" y="42599"/>
                        <a:pt x="1744"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6" name="Freeform 8215">
                  <a:extLst>
                    <a:ext uri="{FF2B5EF4-FFF2-40B4-BE49-F238E27FC236}">
                      <a16:creationId xmlns:a16="http://schemas.microsoft.com/office/drawing/2014/main" id="{232C070B-68F9-CD86-1EFB-A45C6B6D8C07}"/>
                    </a:ext>
                  </a:extLst>
                </p:cNvPr>
                <p:cNvSpPr/>
                <p:nvPr/>
              </p:nvSpPr>
              <p:spPr>
                <a:xfrm>
                  <a:off x="4527172" y="1777388"/>
                  <a:ext cx="7536" cy="51815"/>
                </a:xfrm>
                <a:custGeom>
                  <a:avLst/>
                  <a:gdLst>
                    <a:gd name="connsiteX0" fmla="*/ 748 w 7536"/>
                    <a:gd name="connsiteY0" fmla="*/ 51816 h 51815"/>
                    <a:gd name="connsiteX1" fmla="*/ 1121 w 7536"/>
                    <a:gd name="connsiteY1" fmla="*/ 33008 h 51815"/>
                    <a:gd name="connsiteX2" fmla="*/ 6726 w 7536"/>
                    <a:gd name="connsiteY2" fmla="*/ 16566 h 51815"/>
                    <a:gd name="connsiteX3" fmla="*/ 6726 w 7536"/>
                    <a:gd name="connsiteY3" fmla="*/ 0 h 51815"/>
                  </a:gdLst>
                  <a:ahLst/>
                  <a:cxnLst>
                    <a:cxn ang="0">
                      <a:pos x="connsiteX0" y="connsiteY0"/>
                    </a:cxn>
                    <a:cxn ang="0">
                      <a:pos x="connsiteX1" y="connsiteY1"/>
                    </a:cxn>
                    <a:cxn ang="0">
                      <a:pos x="connsiteX2" y="connsiteY2"/>
                    </a:cxn>
                    <a:cxn ang="0">
                      <a:pos x="connsiteX3" y="connsiteY3"/>
                    </a:cxn>
                  </a:cxnLst>
                  <a:rect l="l" t="t" r="r" b="b"/>
                  <a:pathLst>
                    <a:path w="7536" h="51815">
                      <a:moveTo>
                        <a:pt x="748" y="51816"/>
                      </a:moveTo>
                      <a:cubicBezTo>
                        <a:pt x="-622" y="43471"/>
                        <a:pt x="125" y="37243"/>
                        <a:pt x="1121" y="33008"/>
                      </a:cubicBezTo>
                      <a:cubicBezTo>
                        <a:pt x="2741" y="26157"/>
                        <a:pt x="5232" y="23417"/>
                        <a:pt x="6726" y="16566"/>
                      </a:cubicBezTo>
                      <a:cubicBezTo>
                        <a:pt x="8096" y="9840"/>
                        <a:pt x="7474" y="3986"/>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7" name="Freeform 8216">
                  <a:extLst>
                    <a:ext uri="{FF2B5EF4-FFF2-40B4-BE49-F238E27FC236}">
                      <a16:creationId xmlns:a16="http://schemas.microsoft.com/office/drawing/2014/main" id="{76A2129D-2EA0-FC24-465C-351DE3B1B401}"/>
                    </a:ext>
                  </a:extLst>
                </p:cNvPr>
                <p:cNvSpPr/>
                <p:nvPr/>
              </p:nvSpPr>
              <p:spPr>
                <a:xfrm>
                  <a:off x="4517582" y="1761596"/>
                  <a:ext cx="26405" cy="26600"/>
                </a:xfrm>
                <a:custGeom>
                  <a:avLst/>
                  <a:gdLst>
                    <a:gd name="connsiteX0" fmla="*/ 26281 w 26405"/>
                    <a:gd name="connsiteY0" fmla="*/ 15044 h 26600"/>
                    <a:gd name="connsiteX1" fmla="*/ 11459 w 26405"/>
                    <a:gd name="connsiteY1" fmla="*/ 26503 h 26600"/>
                    <a:gd name="connsiteX2" fmla="*/ 124 w 26405"/>
                    <a:gd name="connsiteY2" fmla="*/ 11556 h 26600"/>
                    <a:gd name="connsiteX3" fmla="*/ 14947 w 26405"/>
                    <a:gd name="connsiteY3" fmla="*/ 97 h 26600"/>
                    <a:gd name="connsiteX4" fmla="*/ 26281 w 26405"/>
                    <a:gd name="connsiteY4" fmla="*/ 15044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599">
                      <a:moveTo>
                        <a:pt x="26281" y="15044"/>
                      </a:moveTo>
                      <a:cubicBezTo>
                        <a:pt x="25410" y="22268"/>
                        <a:pt x="18683" y="27375"/>
                        <a:pt x="11459" y="26503"/>
                      </a:cubicBezTo>
                      <a:cubicBezTo>
                        <a:pt x="4235" y="25507"/>
                        <a:pt x="-872" y="18905"/>
                        <a:pt x="124" y="11556"/>
                      </a:cubicBezTo>
                      <a:cubicBezTo>
                        <a:pt x="1121" y="4332"/>
                        <a:pt x="7722" y="-775"/>
                        <a:pt x="14947" y="97"/>
                      </a:cubicBezTo>
                      <a:cubicBezTo>
                        <a:pt x="22171" y="1218"/>
                        <a:pt x="27278" y="7819"/>
                        <a:pt x="26281" y="150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1" name="Graphic 2987">
                <a:extLst>
                  <a:ext uri="{FF2B5EF4-FFF2-40B4-BE49-F238E27FC236}">
                    <a16:creationId xmlns:a16="http://schemas.microsoft.com/office/drawing/2014/main" id="{BBBD385A-9ECB-C8D2-3A4B-EADA3FE8AE9E}"/>
                  </a:ext>
                </a:extLst>
              </p:cNvPr>
              <p:cNvGrpSpPr/>
              <p:nvPr/>
            </p:nvGrpSpPr>
            <p:grpSpPr>
              <a:xfrm>
                <a:off x="4472243" y="1757832"/>
                <a:ext cx="42572" cy="147849"/>
                <a:chOff x="4472243" y="1757832"/>
                <a:chExt cx="42572" cy="147849"/>
              </a:xfrm>
              <a:grpFill/>
            </p:grpSpPr>
            <p:sp>
              <p:nvSpPr>
                <p:cNvPr id="6006" name="Freeform 8218">
                  <a:extLst>
                    <a:ext uri="{FF2B5EF4-FFF2-40B4-BE49-F238E27FC236}">
                      <a16:creationId xmlns:a16="http://schemas.microsoft.com/office/drawing/2014/main" id="{132FEB33-0D99-5016-E1CE-E9FE12396BEF}"/>
                    </a:ext>
                  </a:extLst>
                </p:cNvPr>
                <p:cNvSpPr/>
                <p:nvPr/>
              </p:nvSpPr>
              <p:spPr>
                <a:xfrm>
                  <a:off x="4490179" y="1834186"/>
                  <a:ext cx="7473" cy="51691"/>
                </a:xfrm>
                <a:custGeom>
                  <a:avLst/>
                  <a:gdLst>
                    <a:gd name="connsiteX0" fmla="*/ 0 w 7473"/>
                    <a:gd name="connsiteY0" fmla="*/ 51691 h 51691"/>
                    <a:gd name="connsiteX1" fmla="*/ 4360 w 7473"/>
                    <a:gd name="connsiteY1" fmla="*/ 33381 h 51691"/>
                    <a:gd name="connsiteX2" fmla="*/ 3239 w 7473"/>
                    <a:gd name="connsiteY2" fmla="*/ 15943 h 51691"/>
                    <a:gd name="connsiteX3" fmla="*/ 7474 w 7473"/>
                    <a:gd name="connsiteY3" fmla="*/ 0 h 51691"/>
                  </a:gdLst>
                  <a:ahLst/>
                  <a:cxnLst>
                    <a:cxn ang="0">
                      <a:pos x="connsiteX0" y="connsiteY0"/>
                    </a:cxn>
                    <a:cxn ang="0">
                      <a:pos x="connsiteX1" y="connsiteY1"/>
                    </a:cxn>
                    <a:cxn ang="0">
                      <a:pos x="connsiteX2" y="connsiteY2"/>
                    </a:cxn>
                    <a:cxn ang="0">
                      <a:pos x="connsiteX3" y="connsiteY3"/>
                    </a:cxn>
                  </a:cxnLst>
                  <a:rect l="l" t="t" r="r" b="b"/>
                  <a:pathLst>
                    <a:path w="7473" h="51690">
                      <a:moveTo>
                        <a:pt x="0" y="51691"/>
                      </a:moveTo>
                      <a:cubicBezTo>
                        <a:pt x="3488" y="44093"/>
                        <a:pt x="4360" y="37741"/>
                        <a:pt x="4360" y="33381"/>
                      </a:cubicBezTo>
                      <a:cubicBezTo>
                        <a:pt x="4484" y="26406"/>
                        <a:pt x="2740" y="23043"/>
                        <a:pt x="3239" y="15943"/>
                      </a:cubicBezTo>
                      <a:cubicBezTo>
                        <a:pt x="3612" y="9093"/>
                        <a:pt x="5854" y="3612"/>
                        <a:pt x="74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7" name="Freeform 8219">
                  <a:extLst>
                    <a:ext uri="{FF2B5EF4-FFF2-40B4-BE49-F238E27FC236}">
                      <a16:creationId xmlns:a16="http://schemas.microsoft.com/office/drawing/2014/main" id="{9134A937-4BCC-294B-96EA-5FAECC9EE980}"/>
                    </a:ext>
                  </a:extLst>
                </p:cNvPr>
                <p:cNvSpPr/>
                <p:nvPr/>
              </p:nvSpPr>
              <p:spPr>
                <a:xfrm>
                  <a:off x="4481646" y="1838172"/>
                  <a:ext cx="7621" cy="51815"/>
                </a:xfrm>
                <a:custGeom>
                  <a:avLst/>
                  <a:gdLst>
                    <a:gd name="connsiteX0" fmla="*/ 6914 w 7621"/>
                    <a:gd name="connsiteY0" fmla="*/ 0 h 51815"/>
                    <a:gd name="connsiteX1" fmla="*/ 6416 w 7621"/>
                    <a:gd name="connsiteY1" fmla="*/ 18808 h 51815"/>
                    <a:gd name="connsiteX2" fmla="*/ 810 w 7621"/>
                    <a:gd name="connsiteY2" fmla="*/ 35250 h 51815"/>
                    <a:gd name="connsiteX3" fmla="*/ 810 w 762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621" h="51815">
                      <a:moveTo>
                        <a:pt x="6914" y="0"/>
                      </a:moveTo>
                      <a:cubicBezTo>
                        <a:pt x="8284" y="8345"/>
                        <a:pt x="7412" y="14573"/>
                        <a:pt x="6416" y="18808"/>
                      </a:cubicBezTo>
                      <a:cubicBezTo>
                        <a:pt x="4672" y="25659"/>
                        <a:pt x="2181" y="28275"/>
                        <a:pt x="810" y="35250"/>
                      </a:cubicBezTo>
                      <a:cubicBezTo>
                        <a:pt x="-559" y="41976"/>
                        <a:pt x="63" y="47830"/>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8" name="Freeform 8220">
                  <a:extLst>
                    <a:ext uri="{FF2B5EF4-FFF2-40B4-BE49-F238E27FC236}">
                      <a16:creationId xmlns:a16="http://schemas.microsoft.com/office/drawing/2014/main" id="{509B3C27-B1BF-5D26-614C-CCF96A8DF26D}"/>
                    </a:ext>
                  </a:extLst>
                </p:cNvPr>
                <p:cNvSpPr/>
                <p:nvPr/>
              </p:nvSpPr>
              <p:spPr>
                <a:xfrm>
                  <a:off x="4472243" y="1879151"/>
                  <a:ext cx="26654" cy="26530"/>
                </a:xfrm>
                <a:custGeom>
                  <a:avLst/>
                  <a:gdLst>
                    <a:gd name="connsiteX0" fmla="*/ 124 w 26654"/>
                    <a:gd name="connsiteY0" fmla="*/ 11459 h 26530"/>
                    <a:gd name="connsiteX1" fmla="*/ 15071 w 26654"/>
                    <a:gd name="connsiteY1" fmla="*/ 124 h 26530"/>
                    <a:gd name="connsiteX2" fmla="*/ 26530 w 26654"/>
                    <a:gd name="connsiteY2" fmla="*/ 15071 h 26530"/>
                    <a:gd name="connsiteX3" fmla="*/ 11584 w 26654"/>
                    <a:gd name="connsiteY3" fmla="*/ 26406 h 26530"/>
                    <a:gd name="connsiteX4" fmla="*/ 124 w 26654"/>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124" y="11459"/>
                      </a:moveTo>
                      <a:cubicBezTo>
                        <a:pt x="1121" y="4235"/>
                        <a:pt x="7847" y="-872"/>
                        <a:pt x="15071" y="124"/>
                      </a:cubicBezTo>
                      <a:cubicBezTo>
                        <a:pt x="22420" y="1121"/>
                        <a:pt x="27527" y="7722"/>
                        <a:pt x="26530" y="15071"/>
                      </a:cubicBezTo>
                      <a:cubicBezTo>
                        <a:pt x="25534" y="22296"/>
                        <a:pt x="18932" y="27402"/>
                        <a:pt x="11584" y="26406"/>
                      </a:cubicBezTo>
                      <a:cubicBezTo>
                        <a:pt x="4235" y="25410"/>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9" name="Freeform 8221">
                  <a:extLst>
                    <a:ext uri="{FF2B5EF4-FFF2-40B4-BE49-F238E27FC236}">
                      <a16:creationId xmlns:a16="http://schemas.microsoft.com/office/drawing/2014/main" id="{20558F93-6E1D-09A6-68FE-F02768C08FB5}"/>
                    </a:ext>
                  </a:extLst>
                </p:cNvPr>
                <p:cNvSpPr/>
                <p:nvPr/>
              </p:nvSpPr>
              <p:spPr>
                <a:xfrm>
                  <a:off x="4489681" y="1777637"/>
                  <a:ext cx="7473" cy="51691"/>
                </a:xfrm>
                <a:custGeom>
                  <a:avLst/>
                  <a:gdLst>
                    <a:gd name="connsiteX0" fmla="*/ 7473 w 7473"/>
                    <a:gd name="connsiteY0" fmla="*/ 0 h 51691"/>
                    <a:gd name="connsiteX1" fmla="*/ 3114 w 7473"/>
                    <a:gd name="connsiteY1" fmla="*/ 18310 h 51691"/>
                    <a:gd name="connsiteX2" fmla="*/ 4235 w 7473"/>
                    <a:gd name="connsiteY2" fmla="*/ 35748 h 51691"/>
                    <a:gd name="connsiteX3" fmla="*/ 0 w 747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473" h="51690">
                      <a:moveTo>
                        <a:pt x="7473" y="0"/>
                      </a:moveTo>
                      <a:cubicBezTo>
                        <a:pt x="3986" y="7598"/>
                        <a:pt x="3114" y="13950"/>
                        <a:pt x="3114" y="18310"/>
                      </a:cubicBezTo>
                      <a:cubicBezTo>
                        <a:pt x="2989" y="25285"/>
                        <a:pt x="4733" y="28648"/>
                        <a:pt x="4235" y="35748"/>
                      </a:cubicBezTo>
                      <a:cubicBezTo>
                        <a:pt x="3861" y="42599"/>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0" name="Freeform 8222">
                  <a:extLst>
                    <a:ext uri="{FF2B5EF4-FFF2-40B4-BE49-F238E27FC236}">
                      <a16:creationId xmlns:a16="http://schemas.microsoft.com/office/drawing/2014/main" id="{15D87937-BC18-BA34-5547-D976ECD40487}"/>
                    </a:ext>
                  </a:extLst>
                </p:cNvPr>
                <p:cNvSpPr/>
                <p:nvPr/>
              </p:nvSpPr>
              <p:spPr>
                <a:xfrm>
                  <a:off x="4497817" y="1773526"/>
                  <a:ext cx="7621" cy="51815"/>
                </a:xfrm>
                <a:custGeom>
                  <a:avLst/>
                  <a:gdLst>
                    <a:gd name="connsiteX0" fmla="*/ 707 w 7621"/>
                    <a:gd name="connsiteY0" fmla="*/ 51816 h 51815"/>
                    <a:gd name="connsiteX1" fmla="*/ 1206 w 7621"/>
                    <a:gd name="connsiteY1" fmla="*/ 33008 h 51815"/>
                    <a:gd name="connsiteX2" fmla="*/ 6811 w 7621"/>
                    <a:gd name="connsiteY2" fmla="*/ 16566 h 51815"/>
                    <a:gd name="connsiteX3" fmla="*/ 6811 w 7621"/>
                    <a:gd name="connsiteY3" fmla="*/ 0 h 51815"/>
                  </a:gdLst>
                  <a:ahLst/>
                  <a:cxnLst>
                    <a:cxn ang="0">
                      <a:pos x="connsiteX0" y="connsiteY0"/>
                    </a:cxn>
                    <a:cxn ang="0">
                      <a:pos x="connsiteX1" y="connsiteY1"/>
                    </a:cxn>
                    <a:cxn ang="0">
                      <a:pos x="connsiteX2" y="connsiteY2"/>
                    </a:cxn>
                    <a:cxn ang="0">
                      <a:pos x="connsiteX3" y="connsiteY3"/>
                    </a:cxn>
                  </a:cxnLst>
                  <a:rect l="l" t="t" r="r" b="b"/>
                  <a:pathLst>
                    <a:path w="7621" h="51815">
                      <a:moveTo>
                        <a:pt x="707" y="51816"/>
                      </a:moveTo>
                      <a:cubicBezTo>
                        <a:pt x="-663" y="43471"/>
                        <a:pt x="209" y="37243"/>
                        <a:pt x="1206" y="33008"/>
                      </a:cubicBezTo>
                      <a:cubicBezTo>
                        <a:pt x="2825" y="26157"/>
                        <a:pt x="5441" y="23417"/>
                        <a:pt x="6811" y="16566"/>
                      </a:cubicBezTo>
                      <a:cubicBezTo>
                        <a:pt x="8181" y="9840"/>
                        <a:pt x="7558" y="3986"/>
                        <a:pt x="68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11" name="Freeform 8223">
                  <a:extLst>
                    <a:ext uri="{FF2B5EF4-FFF2-40B4-BE49-F238E27FC236}">
                      <a16:creationId xmlns:a16="http://schemas.microsoft.com/office/drawing/2014/main" id="{F34902F6-F66F-F8DC-C6C6-6E79FA23E10C}"/>
                    </a:ext>
                  </a:extLst>
                </p:cNvPr>
                <p:cNvSpPr/>
                <p:nvPr/>
              </p:nvSpPr>
              <p:spPr>
                <a:xfrm>
                  <a:off x="4488436" y="1757832"/>
                  <a:ext cx="26380" cy="26405"/>
                </a:xfrm>
                <a:custGeom>
                  <a:avLst/>
                  <a:gdLst>
                    <a:gd name="connsiteX0" fmla="*/ 26281 w 26380"/>
                    <a:gd name="connsiteY0" fmla="*/ 14947 h 26405"/>
                    <a:gd name="connsiteX1" fmla="*/ 11459 w 26380"/>
                    <a:gd name="connsiteY1" fmla="*/ 26281 h 26405"/>
                    <a:gd name="connsiteX2" fmla="*/ 124 w 26380"/>
                    <a:gd name="connsiteY2" fmla="*/ 11459 h 26405"/>
                    <a:gd name="connsiteX3" fmla="*/ 14947 w 26380"/>
                    <a:gd name="connsiteY3" fmla="*/ 124 h 26405"/>
                    <a:gd name="connsiteX4" fmla="*/ 26281 w 2638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05">
                      <a:moveTo>
                        <a:pt x="26281" y="14947"/>
                      </a:moveTo>
                      <a:cubicBezTo>
                        <a:pt x="25285" y="22171"/>
                        <a:pt x="18684" y="27278"/>
                        <a:pt x="11459" y="26281"/>
                      </a:cubicBezTo>
                      <a:cubicBezTo>
                        <a:pt x="4235" y="25285"/>
                        <a:pt x="-872" y="18683"/>
                        <a:pt x="124" y="11459"/>
                      </a:cubicBezTo>
                      <a:cubicBezTo>
                        <a:pt x="1121" y="4235"/>
                        <a:pt x="7722" y="-872"/>
                        <a:pt x="14947" y="124"/>
                      </a:cubicBezTo>
                      <a:cubicBezTo>
                        <a:pt x="22171" y="996"/>
                        <a:pt x="27153"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2" name="Graphic 2987">
                <a:extLst>
                  <a:ext uri="{FF2B5EF4-FFF2-40B4-BE49-F238E27FC236}">
                    <a16:creationId xmlns:a16="http://schemas.microsoft.com/office/drawing/2014/main" id="{63061586-D8A2-4213-4F1C-5DBFC9F5E1B5}"/>
                  </a:ext>
                </a:extLst>
              </p:cNvPr>
              <p:cNvGrpSpPr/>
              <p:nvPr/>
            </p:nvGrpSpPr>
            <p:grpSpPr>
              <a:xfrm>
                <a:off x="4442601" y="1753971"/>
                <a:ext cx="42969" cy="147849"/>
                <a:chOff x="4442601" y="1753971"/>
                <a:chExt cx="42969" cy="147849"/>
              </a:xfrm>
              <a:grpFill/>
            </p:grpSpPr>
            <p:sp>
              <p:nvSpPr>
                <p:cNvPr id="6000" name="Freeform 8225">
                  <a:extLst>
                    <a:ext uri="{FF2B5EF4-FFF2-40B4-BE49-F238E27FC236}">
                      <a16:creationId xmlns:a16="http://schemas.microsoft.com/office/drawing/2014/main" id="{1BC6BB7F-A295-93FB-34AA-72A19EAA2440}"/>
                    </a:ext>
                  </a:extLst>
                </p:cNvPr>
                <p:cNvSpPr/>
                <p:nvPr/>
              </p:nvSpPr>
              <p:spPr>
                <a:xfrm>
                  <a:off x="4460534" y="1830200"/>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488" y="44093"/>
                        <a:pt x="4360" y="37741"/>
                        <a:pt x="4484" y="33381"/>
                      </a:cubicBezTo>
                      <a:cubicBezTo>
                        <a:pt x="4609" y="26406"/>
                        <a:pt x="2865" y="23043"/>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1" name="Freeform 8226">
                  <a:extLst>
                    <a:ext uri="{FF2B5EF4-FFF2-40B4-BE49-F238E27FC236}">
                      <a16:creationId xmlns:a16="http://schemas.microsoft.com/office/drawing/2014/main" id="{C4A1BD64-070F-0404-A053-2C5BAC4FA6CB}"/>
                    </a:ext>
                  </a:extLst>
                </p:cNvPr>
                <p:cNvSpPr/>
                <p:nvPr/>
              </p:nvSpPr>
              <p:spPr>
                <a:xfrm>
                  <a:off x="4452126" y="1834186"/>
                  <a:ext cx="7745" cy="51691"/>
                </a:xfrm>
                <a:custGeom>
                  <a:avLst/>
                  <a:gdLst>
                    <a:gd name="connsiteX0" fmla="*/ 7038 w 7745"/>
                    <a:gd name="connsiteY0" fmla="*/ 0 h 51691"/>
                    <a:gd name="connsiteX1" fmla="*/ 6540 w 7745"/>
                    <a:gd name="connsiteY1" fmla="*/ 18808 h 51691"/>
                    <a:gd name="connsiteX2" fmla="*/ 810 w 7745"/>
                    <a:gd name="connsiteY2" fmla="*/ 35250 h 51691"/>
                    <a:gd name="connsiteX3" fmla="*/ 810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38" y="0"/>
                      </a:moveTo>
                      <a:cubicBezTo>
                        <a:pt x="8408" y="8345"/>
                        <a:pt x="7537" y="14573"/>
                        <a:pt x="6540" y="18808"/>
                      </a:cubicBezTo>
                      <a:cubicBezTo>
                        <a:pt x="4796" y="25659"/>
                        <a:pt x="2305" y="28275"/>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2" name="Freeform 8227">
                  <a:extLst>
                    <a:ext uri="{FF2B5EF4-FFF2-40B4-BE49-F238E27FC236}">
                      <a16:creationId xmlns:a16="http://schemas.microsoft.com/office/drawing/2014/main" id="{F09582E7-B89A-5C84-E08C-FB30A487FEDD}"/>
                    </a:ext>
                  </a:extLst>
                </p:cNvPr>
                <p:cNvSpPr/>
                <p:nvPr/>
              </p:nvSpPr>
              <p:spPr>
                <a:xfrm>
                  <a:off x="4442601" y="1875290"/>
                  <a:ext cx="26649" cy="26530"/>
                </a:xfrm>
                <a:custGeom>
                  <a:avLst/>
                  <a:gdLst>
                    <a:gd name="connsiteX0" fmla="*/ 122 w 26649"/>
                    <a:gd name="connsiteY0" fmla="*/ 11459 h 26530"/>
                    <a:gd name="connsiteX1" fmla="*/ 15069 w 26649"/>
                    <a:gd name="connsiteY1" fmla="*/ 124 h 26530"/>
                    <a:gd name="connsiteX2" fmla="*/ 26528 w 26649"/>
                    <a:gd name="connsiteY2" fmla="*/ 15071 h 26530"/>
                    <a:gd name="connsiteX3" fmla="*/ 11581 w 26649"/>
                    <a:gd name="connsiteY3" fmla="*/ 26406 h 26530"/>
                    <a:gd name="connsiteX4" fmla="*/ 122 w 2664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0">
                      <a:moveTo>
                        <a:pt x="122" y="11459"/>
                      </a:moveTo>
                      <a:cubicBezTo>
                        <a:pt x="1118" y="4235"/>
                        <a:pt x="7844" y="-872"/>
                        <a:pt x="15069" y="124"/>
                      </a:cubicBezTo>
                      <a:cubicBezTo>
                        <a:pt x="22293" y="1121"/>
                        <a:pt x="27525" y="7722"/>
                        <a:pt x="26528" y="15071"/>
                      </a:cubicBezTo>
                      <a:cubicBezTo>
                        <a:pt x="25532" y="22296"/>
                        <a:pt x="18805" y="27402"/>
                        <a:pt x="11581" y="26406"/>
                      </a:cubicBezTo>
                      <a:cubicBezTo>
                        <a:pt x="4357" y="25285"/>
                        <a:pt x="-874" y="18683"/>
                        <a:pt x="122"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3" name="Freeform 8228">
                  <a:extLst>
                    <a:ext uri="{FF2B5EF4-FFF2-40B4-BE49-F238E27FC236}">
                      <a16:creationId xmlns:a16="http://schemas.microsoft.com/office/drawing/2014/main" id="{1A2C4B0F-B87F-E557-8D32-01E8761DEA88}"/>
                    </a:ext>
                  </a:extLst>
                </p:cNvPr>
                <p:cNvSpPr/>
                <p:nvPr/>
              </p:nvSpPr>
              <p:spPr>
                <a:xfrm>
                  <a:off x="4460161" y="1773651"/>
                  <a:ext cx="7722" cy="51691"/>
                </a:xfrm>
                <a:custGeom>
                  <a:avLst/>
                  <a:gdLst>
                    <a:gd name="connsiteX0" fmla="*/ 7723 w 7722"/>
                    <a:gd name="connsiteY0" fmla="*/ 0 h 51691"/>
                    <a:gd name="connsiteX1" fmla="*/ 3239 w 7722"/>
                    <a:gd name="connsiteY1" fmla="*/ 18310 h 51691"/>
                    <a:gd name="connsiteX2" fmla="*/ 4360 w 7722"/>
                    <a:gd name="connsiteY2" fmla="*/ 35748 h 51691"/>
                    <a:gd name="connsiteX3" fmla="*/ 0 w 772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0"/>
                      </a:moveTo>
                      <a:cubicBezTo>
                        <a:pt x="4235" y="7598"/>
                        <a:pt x="3363" y="13950"/>
                        <a:pt x="3239" y="18310"/>
                      </a:cubicBezTo>
                      <a:cubicBezTo>
                        <a:pt x="3114" y="25285"/>
                        <a:pt x="4733" y="28648"/>
                        <a:pt x="4360" y="35748"/>
                      </a:cubicBezTo>
                      <a:cubicBezTo>
                        <a:pt x="3986" y="42599"/>
                        <a:pt x="1744"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4" name="Freeform 8229">
                  <a:extLst>
                    <a:ext uri="{FF2B5EF4-FFF2-40B4-BE49-F238E27FC236}">
                      <a16:creationId xmlns:a16="http://schemas.microsoft.com/office/drawing/2014/main" id="{0176B2E1-9707-373C-8CFC-21D1F26432F5}"/>
                    </a:ext>
                  </a:extLst>
                </p:cNvPr>
                <p:cNvSpPr/>
                <p:nvPr/>
              </p:nvSpPr>
              <p:spPr>
                <a:xfrm>
                  <a:off x="4468546" y="1769665"/>
                  <a:ext cx="7621" cy="51691"/>
                </a:xfrm>
                <a:custGeom>
                  <a:avLst/>
                  <a:gdLst>
                    <a:gd name="connsiteX0" fmla="*/ 707 w 7621"/>
                    <a:gd name="connsiteY0" fmla="*/ 51691 h 51691"/>
                    <a:gd name="connsiteX1" fmla="*/ 1206 w 7621"/>
                    <a:gd name="connsiteY1" fmla="*/ 32883 h 51691"/>
                    <a:gd name="connsiteX2" fmla="*/ 6810 w 7621"/>
                    <a:gd name="connsiteY2" fmla="*/ 16442 h 51691"/>
                    <a:gd name="connsiteX3" fmla="*/ 6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707" y="51691"/>
                      </a:moveTo>
                      <a:cubicBezTo>
                        <a:pt x="-663" y="43346"/>
                        <a:pt x="209" y="37118"/>
                        <a:pt x="1206" y="32883"/>
                      </a:cubicBezTo>
                      <a:cubicBezTo>
                        <a:pt x="2949" y="26033"/>
                        <a:pt x="5440" y="23417"/>
                        <a:pt x="6810" y="16442"/>
                      </a:cubicBezTo>
                      <a:cubicBezTo>
                        <a:pt x="8181" y="9716"/>
                        <a:pt x="7558" y="3861"/>
                        <a:pt x="6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6005" name="Freeform 8230">
                  <a:extLst>
                    <a:ext uri="{FF2B5EF4-FFF2-40B4-BE49-F238E27FC236}">
                      <a16:creationId xmlns:a16="http://schemas.microsoft.com/office/drawing/2014/main" id="{5D1A8F26-E10D-E0CC-9BC9-93CA5930C64C}"/>
                    </a:ext>
                  </a:extLst>
                </p:cNvPr>
                <p:cNvSpPr/>
                <p:nvPr/>
              </p:nvSpPr>
              <p:spPr>
                <a:xfrm>
                  <a:off x="4459165" y="1753971"/>
                  <a:ext cx="26405" cy="26405"/>
                </a:xfrm>
                <a:custGeom>
                  <a:avLst/>
                  <a:gdLst>
                    <a:gd name="connsiteX0" fmla="*/ 26281 w 26405"/>
                    <a:gd name="connsiteY0" fmla="*/ 14947 h 26405"/>
                    <a:gd name="connsiteX1" fmla="*/ 11459 w 26405"/>
                    <a:gd name="connsiteY1" fmla="*/ 26281 h 26405"/>
                    <a:gd name="connsiteX2" fmla="*/ 124 w 26405"/>
                    <a:gd name="connsiteY2" fmla="*/ 11459 h 26405"/>
                    <a:gd name="connsiteX3" fmla="*/ 14947 w 26405"/>
                    <a:gd name="connsiteY3" fmla="*/ 124 h 26405"/>
                    <a:gd name="connsiteX4" fmla="*/ 26281 w 26405"/>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05">
                      <a:moveTo>
                        <a:pt x="26281" y="14947"/>
                      </a:moveTo>
                      <a:cubicBezTo>
                        <a:pt x="25285" y="22171"/>
                        <a:pt x="18683" y="27278"/>
                        <a:pt x="11459" y="26281"/>
                      </a:cubicBezTo>
                      <a:cubicBezTo>
                        <a:pt x="4235" y="25285"/>
                        <a:pt x="-872" y="18683"/>
                        <a:pt x="124" y="11459"/>
                      </a:cubicBezTo>
                      <a:cubicBezTo>
                        <a:pt x="1121" y="4235"/>
                        <a:pt x="7722" y="-872"/>
                        <a:pt x="14947" y="124"/>
                      </a:cubicBezTo>
                      <a:cubicBezTo>
                        <a:pt x="22171" y="996"/>
                        <a:pt x="27278" y="7722"/>
                        <a:pt x="2628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3" name="Graphic 2987">
                <a:extLst>
                  <a:ext uri="{FF2B5EF4-FFF2-40B4-BE49-F238E27FC236}">
                    <a16:creationId xmlns:a16="http://schemas.microsoft.com/office/drawing/2014/main" id="{F3DA4AED-B1D9-D156-E0E0-A6DED2FAE5FD}"/>
                  </a:ext>
                </a:extLst>
              </p:cNvPr>
              <p:cNvGrpSpPr/>
              <p:nvPr/>
            </p:nvGrpSpPr>
            <p:grpSpPr>
              <a:xfrm>
                <a:off x="4413078" y="1750110"/>
                <a:ext cx="43320" cy="147724"/>
                <a:chOff x="4413078" y="1750110"/>
                <a:chExt cx="43320" cy="147724"/>
              </a:xfrm>
              <a:grpFill/>
            </p:grpSpPr>
            <p:sp>
              <p:nvSpPr>
                <p:cNvPr id="5994" name="Freeform 8232">
                  <a:extLst>
                    <a:ext uri="{FF2B5EF4-FFF2-40B4-BE49-F238E27FC236}">
                      <a16:creationId xmlns:a16="http://schemas.microsoft.com/office/drawing/2014/main" id="{16DE1FF3-D88D-BEB5-7804-747B542BA2C4}"/>
                    </a:ext>
                  </a:extLst>
                </p:cNvPr>
                <p:cNvSpPr/>
                <p:nvPr/>
              </p:nvSpPr>
              <p:spPr>
                <a:xfrm>
                  <a:off x="4431014" y="1826339"/>
                  <a:ext cx="7722" cy="51691"/>
                </a:xfrm>
                <a:custGeom>
                  <a:avLst/>
                  <a:gdLst>
                    <a:gd name="connsiteX0" fmla="*/ 0 w 7722"/>
                    <a:gd name="connsiteY0" fmla="*/ 51691 h 51691"/>
                    <a:gd name="connsiteX1" fmla="*/ 4484 w 7722"/>
                    <a:gd name="connsiteY1" fmla="*/ 33381 h 51691"/>
                    <a:gd name="connsiteX2" fmla="*/ 3363 w 7722"/>
                    <a:gd name="connsiteY2" fmla="*/ 15943 h 51691"/>
                    <a:gd name="connsiteX3" fmla="*/ 7723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0" y="51691"/>
                      </a:moveTo>
                      <a:cubicBezTo>
                        <a:pt x="3612" y="44093"/>
                        <a:pt x="4360" y="37741"/>
                        <a:pt x="4484" y="33381"/>
                      </a:cubicBezTo>
                      <a:cubicBezTo>
                        <a:pt x="4609" y="26406"/>
                        <a:pt x="2990" y="23043"/>
                        <a:pt x="3363" y="15943"/>
                      </a:cubicBezTo>
                      <a:cubicBezTo>
                        <a:pt x="3861"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5" name="Freeform 8233">
                  <a:extLst>
                    <a:ext uri="{FF2B5EF4-FFF2-40B4-BE49-F238E27FC236}">
                      <a16:creationId xmlns:a16="http://schemas.microsoft.com/office/drawing/2014/main" id="{380EC7F2-F194-8AD8-AC19-7BBF5083A83F}"/>
                    </a:ext>
                  </a:extLst>
                </p:cNvPr>
                <p:cNvSpPr/>
                <p:nvPr/>
              </p:nvSpPr>
              <p:spPr>
                <a:xfrm>
                  <a:off x="4422503" y="1830325"/>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8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659"/>
                        <a:pt x="2408" y="28275"/>
                        <a:pt x="913" y="35250"/>
                      </a:cubicBezTo>
                      <a:cubicBezTo>
                        <a:pt x="-582" y="41976"/>
                        <a:pt x="41" y="47830"/>
                        <a:pt x="78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6" name="Freeform 8234">
                  <a:extLst>
                    <a:ext uri="{FF2B5EF4-FFF2-40B4-BE49-F238E27FC236}">
                      <a16:creationId xmlns:a16="http://schemas.microsoft.com/office/drawing/2014/main" id="{80473DFF-A1E9-A8DB-DECA-27F07DA746ED}"/>
                    </a:ext>
                  </a:extLst>
                </p:cNvPr>
                <p:cNvSpPr/>
                <p:nvPr/>
              </p:nvSpPr>
              <p:spPr>
                <a:xfrm>
                  <a:off x="4413078" y="1871304"/>
                  <a:ext cx="26779" cy="26530"/>
                </a:xfrm>
                <a:custGeom>
                  <a:avLst/>
                  <a:gdLst>
                    <a:gd name="connsiteX0" fmla="*/ 124 w 26779"/>
                    <a:gd name="connsiteY0" fmla="*/ 11459 h 26530"/>
                    <a:gd name="connsiteX1" fmla="*/ 15196 w 26779"/>
                    <a:gd name="connsiteY1" fmla="*/ 124 h 26530"/>
                    <a:gd name="connsiteX2" fmla="*/ 26655 w 26779"/>
                    <a:gd name="connsiteY2" fmla="*/ 15071 h 26530"/>
                    <a:gd name="connsiteX3" fmla="*/ 11584 w 26779"/>
                    <a:gd name="connsiteY3" fmla="*/ 26406 h 26530"/>
                    <a:gd name="connsiteX4" fmla="*/ 124 w 26779"/>
                    <a:gd name="connsiteY4" fmla="*/ 11459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9" h="26530">
                      <a:moveTo>
                        <a:pt x="124" y="11459"/>
                      </a:moveTo>
                      <a:cubicBezTo>
                        <a:pt x="1121" y="4235"/>
                        <a:pt x="7847" y="-872"/>
                        <a:pt x="15196" y="124"/>
                      </a:cubicBezTo>
                      <a:cubicBezTo>
                        <a:pt x="22544" y="1121"/>
                        <a:pt x="27651" y="7722"/>
                        <a:pt x="26655" y="15071"/>
                      </a:cubicBezTo>
                      <a:cubicBezTo>
                        <a:pt x="25658" y="22296"/>
                        <a:pt x="18932" y="27402"/>
                        <a:pt x="11584" y="26406"/>
                      </a:cubicBezTo>
                      <a:cubicBezTo>
                        <a:pt x="4235" y="25409"/>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7" name="Freeform 8235">
                  <a:extLst>
                    <a:ext uri="{FF2B5EF4-FFF2-40B4-BE49-F238E27FC236}">
                      <a16:creationId xmlns:a16="http://schemas.microsoft.com/office/drawing/2014/main" id="{8B69D3E3-FFF2-A0DB-89FB-C55400D0D286}"/>
                    </a:ext>
                  </a:extLst>
                </p:cNvPr>
                <p:cNvSpPr/>
                <p:nvPr/>
              </p:nvSpPr>
              <p:spPr>
                <a:xfrm>
                  <a:off x="4430765" y="1769789"/>
                  <a:ext cx="7847" cy="51566"/>
                </a:xfrm>
                <a:custGeom>
                  <a:avLst/>
                  <a:gdLst>
                    <a:gd name="connsiteX0" fmla="*/ 7847 w 7847"/>
                    <a:gd name="connsiteY0" fmla="*/ 0 h 51566"/>
                    <a:gd name="connsiteX1" fmla="*/ 3363 w 7847"/>
                    <a:gd name="connsiteY1" fmla="*/ 18310 h 51566"/>
                    <a:gd name="connsiteX2" fmla="*/ 4360 w 7847"/>
                    <a:gd name="connsiteY2" fmla="*/ 35624 h 51566"/>
                    <a:gd name="connsiteX3" fmla="*/ 0 w 7847"/>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0"/>
                      </a:moveTo>
                      <a:cubicBezTo>
                        <a:pt x="4235" y="7598"/>
                        <a:pt x="3488" y="13950"/>
                        <a:pt x="3363" y="18310"/>
                      </a:cubicBezTo>
                      <a:cubicBezTo>
                        <a:pt x="3239" y="25285"/>
                        <a:pt x="4858" y="28648"/>
                        <a:pt x="4360" y="35624"/>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8" name="Freeform 8236">
                  <a:extLst>
                    <a:ext uri="{FF2B5EF4-FFF2-40B4-BE49-F238E27FC236}">
                      <a16:creationId xmlns:a16="http://schemas.microsoft.com/office/drawing/2014/main" id="{5103A22C-640E-3255-DB0D-CC7B39C78309}"/>
                    </a:ext>
                  </a:extLst>
                </p:cNvPr>
                <p:cNvSpPr/>
                <p:nvPr/>
              </p:nvSpPr>
              <p:spPr>
                <a:xfrm>
                  <a:off x="4439157" y="1765804"/>
                  <a:ext cx="7915" cy="51691"/>
                </a:xfrm>
                <a:custGeom>
                  <a:avLst/>
                  <a:gdLst>
                    <a:gd name="connsiteX0" fmla="*/ 701 w 7915"/>
                    <a:gd name="connsiteY0" fmla="*/ 51691 h 51691"/>
                    <a:gd name="connsiteX1" fmla="*/ 1324 w 7915"/>
                    <a:gd name="connsiteY1" fmla="*/ 32883 h 51691"/>
                    <a:gd name="connsiteX2" fmla="*/ 7053 w 7915"/>
                    <a:gd name="connsiteY2" fmla="*/ 16442 h 51691"/>
                    <a:gd name="connsiteX3" fmla="*/ 7178 w 7915"/>
                    <a:gd name="connsiteY3" fmla="*/ 0 h 51691"/>
                  </a:gdLst>
                  <a:ahLst/>
                  <a:cxnLst>
                    <a:cxn ang="0">
                      <a:pos x="connsiteX0" y="connsiteY0"/>
                    </a:cxn>
                    <a:cxn ang="0">
                      <a:pos x="connsiteX1" y="connsiteY1"/>
                    </a:cxn>
                    <a:cxn ang="0">
                      <a:pos x="connsiteX2" y="connsiteY2"/>
                    </a:cxn>
                    <a:cxn ang="0">
                      <a:pos x="connsiteX3" y="connsiteY3"/>
                    </a:cxn>
                  </a:cxnLst>
                  <a:rect l="l" t="t" r="r" b="b"/>
                  <a:pathLst>
                    <a:path w="7915" h="51690">
                      <a:moveTo>
                        <a:pt x="701" y="51691"/>
                      </a:moveTo>
                      <a:cubicBezTo>
                        <a:pt x="-669" y="43346"/>
                        <a:pt x="203" y="37118"/>
                        <a:pt x="1324" y="32883"/>
                      </a:cubicBezTo>
                      <a:cubicBezTo>
                        <a:pt x="3068" y="26033"/>
                        <a:pt x="5559" y="23417"/>
                        <a:pt x="7053" y="16442"/>
                      </a:cubicBezTo>
                      <a:cubicBezTo>
                        <a:pt x="8424" y="9715"/>
                        <a:pt x="7925"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9" name="Freeform 8237">
                  <a:extLst>
                    <a:ext uri="{FF2B5EF4-FFF2-40B4-BE49-F238E27FC236}">
                      <a16:creationId xmlns:a16="http://schemas.microsoft.com/office/drawing/2014/main" id="{F6B34FDF-B52E-1C8C-D474-A05336B2B3E1}"/>
                    </a:ext>
                  </a:extLst>
                </p:cNvPr>
                <p:cNvSpPr/>
                <p:nvPr/>
              </p:nvSpPr>
              <p:spPr>
                <a:xfrm>
                  <a:off x="4429988" y="1750110"/>
                  <a:ext cx="26410" cy="26405"/>
                </a:xfrm>
                <a:custGeom>
                  <a:avLst/>
                  <a:gdLst>
                    <a:gd name="connsiteX0" fmla="*/ 26311 w 26410"/>
                    <a:gd name="connsiteY0" fmla="*/ 14947 h 26405"/>
                    <a:gd name="connsiteX1" fmla="*/ 11365 w 26410"/>
                    <a:gd name="connsiteY1" fmla="*/ 26281 h 26405"/>
                    <a:gd name="connsiteX2" fmla="*/ 155 w 26410"/>
                    <a:gd name="connsiteY2" fmla="*/ 11459 h 26405"/>
                    <a:gd name="connsiteX3" fmla="*/ 15101 w 26410"/>
                    <a:gd name="connsiteY3" fmla="*/ 124 h 26405"/>
                    <a:gd name="connsiteX4" fmla="*/ 26311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311" y="14947"/>
                      </a:moveTo>
                      <a:cubicBezTo>
                        <a:pt x="25315" y="22171"/>
                        <a:pt x="18714" y="27278"/>
                        <a:pt x="11365" y="26281"/>
                      </a:cubicBezTo>
                      <a:cubicBezTo>
                        <a:pt x="4140" y="25285"/>
                        <a:pt x="-967" y="18683"/>
                        <a:pt x="155" y="11459"/>
                      </a:cubicBezTo>
                      <a:cubicBezTo>
                        <a:pt x="1151" y="4235"/>
                        <a:pt x="7877" y="-872"/>
                        <a:pt x="15101" y="124"/>
                      </a:cubicBezTo>
                      <a:cubicBezTo>
                        <a:pt x="22201" y="996"/>
                        <a:pt x="27183" y="7598"/>
                        <a:pt x="26311"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4" name="Graphic 2987">
                <a:extLst>
                  <a:ext uri="{FF2B5EF4-FFF2-40B4-BE49-F238E27FC236}">
                    <a16:creationId xmlns:a16="http://schemas.microsoft.com/office/drawing/2014/main" id="{CEA10EF5-9DDA-BDF1-2905-124C2B5BBBC5}"/>
                  </a:ext>
                </a:extLst>
              </p:cNvPr>
              <p:cNvGrpSpPr/>
              <p:nvPr/>
            </p:nvGrpSpPr>
            <p:grpSpPr>
              <a:xfrm>
                <a:off x="4383528" y="1746124"/>
                <a:ext cx="43627" cy="147727"/>
                <a:chOff x="4383528" y="1746124"/>
                <a:chExt cx="43627" cy="147727"/>
              </a:xfrm>
              <a:grpFill/>
            </p:grpSpPr>
            <p:sp>
              <p:nvSpPr>
                <p:cNvPr id="5988" name="Freeform 8239">
                  <a:extLst>
                    <a:ext uri="{FF2B5EF4-FFF2-40B4-BE49-F238E27FC236}">
                      <a16:creationId xmlns:a16="http://schemas.microsoft.com/office/drawing/2014/main" id="{A67A76E2-C00C-4033-38F1-BE77B8D2B663}"/>
                    </a:ext>
                  </a:extLst>
                </p:cNvPr>
                <p:cNvSpPr/>
                <p:nvPr/>
              </p:nvSpPr>
              <p:spPr>
                <a:xfrm>
                  <a:off x="4401494" y="1822477"/>
                  <a:ext cx="7971" cy="51566"/>
                </a:xfrm>
                <a:custGeom>
                  <a:avLst/>
                  <a:gdLst>
                    <a:gd name="connsiteX0" fmla="*/ 0 w 7971"/>
                    <a:gd name="connsiteY0" fmla="*/ 51567 h 51566"/>
                    <a:gd name="connsiteX1" fmla="*/ 4609 w 7971"/>
                    <a:gd name="connsiteY1" fmla="*/ 33257 h 51566"/>
                    <a:gd name="connsiteX2" fmla="*/ 3612 w 7971"/>
                    <a:gd name="connsiteY2" fmla="*/ 15943 h 51566"/>
                    <a:gd name="connsiteX3" fmla="*/ 7972 w 7971"/>
                    <a:gd name="connsiteY3" fmla="*/ 0 h 51566"/>
                  </a:gdLst>
                  <a:ahLst/>
                  <a:cxnLst>
                    <a:cxn ang="0">
                      <a:pos x="connsiteX0" y="connsiteY0"/>
                    </a:cxn>
                    <a:cxn ang="0">
                      <a:pos x="connsiteX1" y="connsiteY1"/>
                    </a:cxn>
                    <a:cxn ang="0">
                      <a:pos x="connsiteX2" y="connsiteY2"/>
                    </a:cxn>
                    <a:cxn ang="0">
                      <a:pos x="connsiteX3" y="connsiteY3"/>
                    </a:cxn>
                  </a:cxnLst>
                  <a:rect l="l" t="t" r="r" b="b"/>
                  <a:pathLst>
                    <a:path w="7971" h="51566">
                      <a:moveTo>
                        <a:pt x="0" y="51567"/>
                      </a:moveTo>
                      <a:cubicBezTo>
                        <a:pt x="3612" y="43969"/>
                        <a:pt x="4484" y="37616"/>
                        <a:pt x="4609" y="33257"/>
                      </a:cubicBezTo>
                      <a:cubicBezTo>
                        <a:pt x="4858" y="26282"/>
                        <a:pt x="3114" y="22919"/>
                        <a:pt x="3612" y="15943"/>
                      </a:cubicBezTo>
                      <a:cubicBezTo>
                        <a:pt x="4111" y="9093"/>
                        <a:pt x="6228" y="3612"/>
                        <a:pt x="79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9" name="Freeform 8240">
                  <a:extLst>
                    <a:ext uri="{FF2B5EF4-FFF2-40B4-BE49-F238E27FC236}">
                      <a16:creationId xmlns:a16="http://schemas.microsoft.com/office/drawing/2014/main" id="{7B265163-912F-EC40-5280-40A78D9EAE39}"/>
                    </a:ext>
                  </a:extLst>
                </p:cNvPr>
                <p:cNvSpPr/>
                <p:nvPr/>
              </p:nvSpPr>
              <p:spPr>
                <a:xfrm>
                  <a:off x="4393108" y="1826339"/>
                  <a:ext cx="7966" cy="51691"/>
                </a:xfrm>
                <a:custGeom>
                  <a:avLst/>
                  <a:gdLst>
                    <a:gd name="connsiteX0" fmla="*/ 7266 w 7966"/>
                    <a:gd name="connsiteY0" fmla="*/ 0 h 51691"/>
                    <a:gd name="connsiteX1" fmla="*/ 6643 w 7966"/>
                    <a:gd name="connsiteY1" fmla="*/ 18808 h 51691"/>
                    <a:gd name="connsiteX2" fmla="*/ 913 w 7966"/>
                    <a:gd name="connsiteY2" fmla="*/ 35250 h 51691"/>
                    <a:gd name="connsiteX3" fmla="*/ 789 w 796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66" h="51690">
                      <a:moveTo>
                        <a:pt x="7266" y="0"/>
                      </a:moveTo>
                      <a:cubicBezTo>
                        <a:pt x="8636" y="8345"/>
                        <a:pt x="7764" y="14573"/>
                        <a:pt x="6643" y="18808"/>
                      </a:cubicBezTo>
                      <a:cubicBezTo>
                        <a:pt x="4899"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0" name="Freeform 8241">
                  <a:extLst>
                    <a:ext uri="{FF2B5EF4-FFF2-40B4-BE49-F238E27FC236}">
                      <a16:creationId xmlns:a16="http://schemas.microsoft.com/office/drawing/2014/main" id="{4C03DD3C-AD37-4FE0-C11E-682C07471E70}"/>
                    </a:ext>
                  </a:extLst>
                </p:cNvPr>
                <p:cNvSpPr/>
                <p:nvPr/>
              </p:nvSpPr>
              <p:spPr>
                <a:xfrm>
                  <a:off x="4383528" y="1867318"/>
                  <a:ext cx="26687" cy="26532"/>
                </a:xfrm>
                <a:custGeom>
                  <a:avLst/>
                  <a:gdLst>
                    <a:gd name="connsiteX0" fmla="*/ 154 w 26687"/>
                    <a:gd name="connsiteY0" fmla="*/ 11459 h 26532"/>
                    <a:gd name="connsiteX1" fmla="*/ 15226 w 26687"/>
                    <a:gd name="connsiteY1" fmla="*/ 124 h 26532"/>
                    <a:gd name="connsiteX2" fmla="*/ 26561 w 26687"/>
                    <a:gd name="connsiteY2" fmla="*/ 15071 h 26532"/>
                    <a:gd name="connsiteX3" fmla="*/ 11489 w 26687"/>
                    <a:gd name="connsiteY3" fmla="*/ 26406 h 26532"/>
                    <a:gd name="connsiteX4" fmla="*/ 154 w 26687"/>
                    <a:gd name="connsiteY4" fmla="*/ 11459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31">
                      <a:moveTo>
                        <a:pt x="154" y="11459"/>
                      </a:moveTo>
                      <a:cubicBezTo>
                        <a:pt x="1151" y="4235"/>
                        <a:pt x="7877" y="-872"/>
                        <a:pt x="15226" y="124"/>
                      </a:cubicBezTo>
                      <a:cubicBezTo>
                        <a:pt x="22575" y="1121"/>
                        <a:pt x="27557" y="7722"/>
                        <a:pt x="26561" y="15071"/>
                      </a:cubicBezTo>
                      <a:cubicBezTo>
                        <a:pt x="25564" y="22420"/>
                        <a:pt x="18838" y="27402"/>
                        <a:pt x="11489" y="26406"/>
                      </a:cubicBezTo>
                      <a:cubicBezTo>
                        <a:pt x="4140" y="25409"/>
                        <a:pt x="-967" y="18683"/>
                        <a:pt x="15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1" name="Freeform 8242">
                  <a:extLst>
                    <a:ext uri="{FF2B5EF4-FFF2-40B4-BE49-F238E27FC236}">
                      <a16:creationId xmlns:a16="http://schemas.microsoft.com/office/drawing/2014/main" id="{37F8F15C-7B37-3B80-8347-710A32383024}"/>
                    </a:ext>
                  </a:extLst>
                </p:cNvPr>
                <p:cNvSpPr/>
                <p:nvPr/>
              </p:nvSpPr>
              <p:spPr>
                <a:xfrm>
                  <a:off x="4401245" y="1765928"/>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8" y="25285"/>
                        <a:pt x="4982" y="28648"/>
                        <a:pt x="4484" y="35624"/>
                      </a:cubicBezTo>
                      <a:cubicBezTo>
                        <a:pt x="3986" y="42474"/>
                        <a:pt x="1868"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2" name="Freeform 8243">
                  <a:extLst>
                    <a:ext uri="{FF2B5EF4-FFF2-40B4-BE49-F238E27FC236}">
                      <a16:creationId xmlns:a16="http://schemas.microsoft.com/office/drawing/2014/main" id="{273279BC-D410-7379-D6B9-AB8CA30BAB24}"/>
                    </a:ext>
                  </a:extLst>
                </p:cNvPr>
                <p:cNvSpPr/>
                <p:nvPr/>
              </p:nvSpPr>
              <p:spPr>
                <a:xfrm>
                  <a:off x="4409761" y="1761818"/>
                  <a:ext cx="7966" cy="51691"/>
                </a:xfrm>
                <a:custGeom>
                  <a:avLst/>
                  <a:gdLst>
                    <a:gd name="connsiteX0" fmla="*/ 701 w 7966"/>
                    <a:gd name="connsiteY0" fmla="*/ 51691 h 51691"/>
                    <a:gd name="connsiteX1" fmla="*/ 1324 w 7966"/>
                    <a:gd name="connsiteY1" fmla="*/ 32883 h 51691"/>
                    <a:gd name="connsiteX2" fmla="*/ 7054 w 7966"/>
                    <a:gd name="connsiteY2" fmla="*/ 16442 h 51691"/>
                    <a:gd name="connsiteX3" fmla="*/ 7178 w 7966"/>
                    <a:gd name="connsiteY3" fmla="*/ 0 h 51691"/>
                  </a:gdLst>
                  <a:ahLst/>
                  <a:cxnLst>
                    <a:cxn ang="0">
                      <a:pos x="connsiteX0" y="connsiteY0"/>
                    </a:cxn>
                    <a:cxn ang="0">
                      <a:pos x="connsiteX1" y="connsiteY1"/>
                    </a:cxn>
                    <a:cxn ang="0">
                      <a:pos x="connsiteX2" y="connsiteY2"/>
                    </a:cxn>
                    <a:cxn ang="0">
                      <a:pos x="connsiteX3" y="connsiteY3"/>
                    </a:cxn>
                  </a:cxnLst>
                  <a:rect l="l" t="t" r="r" b="b"/>
                  <a:pathLst>
                    <a:path w="7966" h="51690">
                      <a:moveTo>
                        <a:pt x="701" y="51691"/>
                      </a:moveTo>
                      <a:cubicBezTo>
                        <a:pt x="-669" y="43346"/>
                        <a:pt x="203" y="37118"/>
                        <a:pt x="1324" y="32883"/>
                      </a:cubicBezTo>
                      <a:cubicBezTo>
                        <a:pt x="3068" y="26157"/>
                        <a:pt x="5559" y="23417"/>
                        <a:pt x="7054" y="16442"/>
                      </a:cubicBezTo>
                      <a:cubicBezTo>
                        <a:pt x="8548" y="9715"/>
                        <a:pt x="7926" y="3861"/>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93" name="Freeform 8244">
                  <a:extLst>
                    <a:ext uri="{FF2B5EF4-FFF2-40B4-BE49-F238E27FC236}">
                      <a16:creationId xmlns:a16="http://schemas.microsoft.com/office/drawing/2014/main" id="{C1C9BE0D-1026-34B4-E308-B8CF59401787}"/>
                    </a:ext>
                  </a:extLst>
                </p:cNvPr>
                <p:cNvSpPr/>
                <p:nvPr/>
              </p:nvSpPr>
              <p:spPr>
                <a:xfrm>
                  <a:off x="4400745" y="1746124"/>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5" name="Graphic 2987">
                <a:extLst>
                  <a:ext uri="{FF2B5EF4-FFF2-40B4-BE49-F238E27FC236}">
                    <a16:creationId xmlns:a16="http://schemas.microsoft.com/office/drawing/2014/main" id="{728A9A02-B3E0-A078-AF9D-845311A7783C}"/>
                  </a:ext>
                </a:extLst>
              </p:cNvPr>
              <p:cNvGrpSpPr/>
              <p:nvPr/>
            </p:nvGrpSpPr>
            <p:grpSpPr>
              <a:xfrm>
                <a:off x="4353913" y="1742263"/>
                <a:ext cx="43970" cy="147600"/>
                <a:chOff x="4353913" y="1742263"/>
                <a:chExt cx="43970" cy="147600"/>
              </a:xfrm>
              <a:grpFill/>
            </p:grpSpPr>
            <p:sp>
              <p:nvSpPr>
                <p:cNvPr id="5982" name="Freeform 8246">
                  <a:extLst>
                    <a:ext uri="{FF2B5EF4-FFF2-40B4-BE49-F238E27FC236}">
                      <a16:creationId xmlns:a16="http://schemas.microsoft.com/office/drawing/2014/main" id="{AE7E612A-168F-E9BF-4A51-B5FCB92224E3}"/>
                    </a:ext>
                  </a:extLst>
                </p:cNvPr>
                <p:cNvSpPr/>
                <p:nvPr/>
              </p:nvSpPr>
              <p:spPr>
                <a:xfrm>
                  <a:off x="4371974" y="1818492"/>
                  <a:ext cx="8096" cy="51566"/>
                </a:xfrm>
                <a:custGeom>
                  <a:avLst/>
                  <a:gdLst>
                    <a:gd name="connsiteX0" fmla="*/ 0 w 8096"/>
                    <a:gd name="connsiteY0" fmla="*/ 51567 h 51566"/>
                    <a:gd name="connsiteX1" fmla="*/ 4609 w 8096"/>
                    <a:gd name="connsiteY1" fmla="*/ 33257 h 51566"/>
                    <a:gd name="connsiteX2" fmla="*/ 3612 w 8096"/>
                    <a:gd name="connsiteY2" fmla="*/ 15943 h 51566"/>
                    <a:gd name="connsiteX3" fmla="*/ 8096 w 8096"/>
                    <a:gd name="connsiteY3" fmla="*/ 0 h 51566"/>
                  </a:gdLst>
                  <a:ahLst/>
                  <a:cxnLst>
                    <a:cxn ang="0">
                      <a:pos x="connsiteX0" y="connsiteY0"/>
                    </a:cxn>
                    <a:cxn ang="0">
                      <a:pos x="connsiteX1" y="connsiteY1"/>
                    </a:cxn>
                    <a:cxn ang="0">
                      <a:pos x="connsiteX2" y="connsiteY2"/>
                    </a:cxn>
                    <a:cxn ang="0">
                      <a:pos x="connsiteX3" y="connsiteY3"/>
                    </a:cxn>
                  </a:cxnLst>
                  <a:rect l="l" t="t" r="r" b="b"/>
                  <a:pathLst>
                    <a:path w="8096" h="51566">
                      <a:moveTo>
                        <a:pt x="0" y="51567"/>
                      </a:moveTo>
                      <a:cubicBezTo>
                        <a:pt x="3612" y="43969"/>
                        <a:pt x="4484" y="37616"/>
                        <a:pt x="4609" y="33257"/>
                      </a:cubicBezTo>
                      <a:cubicBezTo>
                        <a:pt x="4858" y="26282"/>
                        <a:pt x="3114" y="22919"/>
                        <a:pt x="3612" y="15943"/>
                      </a:cubicBezTo>
                      <a:cubicBezTo>
                        <a:pt x="4110" y="9093"/>
                        <a:pt x="6353"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3" name="Freeform 8247">
                  <a:extLst>
                    <a:ext uri="{FF2B5EF4-FFF2-40B4-BE49-F238E27FC236}">
                      <a16:creationId xmlns:a16="http://schemas.microsoft.com/office/drawing/2014/main" id="{87BBB184-155D-74F9-56E1-5AC3022D84C6}"/>
                    </a:ext>
                  </a:extLst>
                </p:cNvPr>
                <p:cNvSpPr/>
                <p:nvPr/>
              </p:nvSpPr>
              <p:spPr>
                <a:xfrm>
                  <a:off x="4363463" y="1822477"/>
                  <a:ext cx="8179" cy="51691"/>
                </a:xfrm>
                <a:custGeom>
                  <a:avLst/>
                  <a:gdLst>
                    <a:gd name="connsiteX0" fmla="*/ 7515 w 8179"/>
                    <a:gd name="connsiteY0" fmla="*/ 0 h 51691"/>
                    <a:gd name="connsiteX1" fmla="*/ 6767 w 8179"/>
                    <a:gd name="connsiteY1" fmla="*/ 18808 h 51691"/>
                    <a:gd name="connsiteX2" fmla="*/ 913 w 8179"/>
                    <a:gd name="connsiteY2" fmla="*/ 35250 h 51691"/>
                    <a:gd name="connsiteX3" fmla="*/ 78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15" y="0"/>
                      </a:moveTo>
                      <a:cubicBezTo>
                        <a:pt x="8885" y="8345"/>
                        <a:pt x="7888" y="14573"/>
                        <a:pt x="6767" y="18808"/>
                      </a:cubicBezTo>
                      <a:cubicBezTo>
                        <a:pt x="5024" y="25534"/>
                        <a:pt x="2408" y="28275"/>
                        <a:pt x="913" y="35250"/>
                      </a:cubicBezTo>
                      <a:cubicBezTo>
                        <a:pt x="-582" y="41976"/>
                        <a:pt x="41" y="47830"/>
                        <a:pt x="78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4" name="Freeform 8248">
                  <a:extLst>
                    <a:ext uri="{FF2B5EF4-FFF2-40B4-BE49-F238E27FC236}">
                      <a16:creationId xmlns:a16="http://schemas.microsoft.com/office/drawing/2014/main" id="{71637F78-1ABC-740E-14A8-2962CA89FA95}"/>
                    </a:ext>
                  </a:extLst>
                </p:cNvPr>
                <p:cNvSpPr/>
                <p:nvPr/>
              </p:nvSpPr>
              <p:spPr>
                <a:xfrm>
                  <a:off x="4353913" y="1863457"/>
                  <a:ext cx="26657" cy="26405"/>
                </a:xfrm>
                <a:custGeom>
                  <a:avLst/>
                  <a:gdLst>
                    <a:gd name="connsiteX0" fmla="*/ 124 w 26657"/>
                    <a:gd name="connsiteY0" fmla="*/ 11459 h 26405"/>
                    <a:gd name="connsiteX1" fmla="*/ 15196 w 26657"/>
                    <a:gd name="connsiteY1" fmla="*/ 124 h 26405"/>
                    <a:gd name="connsiteX2" fmla="*/ 26530 w 26657"/>
                    <a:gd name="connsiteY2" fmla="*/ 14947 h 26405"/>
                    <a:gd name="connsiteX3" fmla="*/ 11459 w 26657"/>
                    <a:gd name="connsiteY3" fmla="*/ 26281 h 26405"/>
                    <a:gd name="connsiteX4" fmla="*/ 124 w 26657"/>
                    <a:gd name="connsiteY4" fmla="*/ 11459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405">
                      <a:moveTo>
                        <a:pt x="124" y="11459"/>
                      </a:moveTo>
                      <a:cubicBezTo>
                        <a:pt x="1121" y="4235"/>
                        <a:pt x="7971" y="-872"/>
                        <a:pt x="15196" y="124"/>
                      </a:cubicBezTo>
                      <a:cubicBezTo>
                        <a:pt x="22544" y="1121"/>
                        <a:pt x="27527" y="7722"/>
                        <a:pt x="26530" y="14947"/>
                      </a:cubicBezTo>
                      <a:cubicBezTo>
                        <a:pt x="25534" y="22171"/>
                        <a:pt x="18683" y="27278"/>
                        <a:pt x="11459" y="26281"/>
                      </a:cubicBezTo>
                      <a:cubicBezTo>
                        <a:pt x="4235" y="25285"/>
                        <a:pt x="-872" y="18683"/>
                        <a:pt x="124"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5" name="Freeform 8249">
                  <a:extLst>
                    <a:ext uri="{FF2B5EF4-FFF2-40B4-BE49-F238E27FC236}">
                      <a16:creationId xmlns:a16="http://schemas.microsoft.com/office/drawing/2014/main" id="{CE13CF32-C3C7-5454-A92C-5E2C1FDBD88D}"/>
                    </a:ext>
                  </a:extLst>
                </p:cNvPr>
                <p:cNvSpPr/>
                <p:nvPr/>
              </p:nvSpPr>
              <p:spPr>
                <a:xfrm>
                  <a:off x="4371974" y="1761942"/>
                  <a:ext cx="8096" cy="51566"/>
                </a:xfrm>
                <a:custGeom>
                  <a:avLst/>
                  <a:gdLst>
                    <a:gd name="connsiteX0" fmla="*/ 8096 w 8096"/>
                    <a:gd name="connsiteY0" fmla="*/ 0 h 51566"/>
                    <a:gd name="connsiteX1" fmla="*/ 3488 w 8096"/>
                    <a:gd name="connsiteY1" fmla="*/ 18310 h 51566"/>
                    <a:gd name="connsiteX2" fmla="*/ 4484 w 8096"/>
                    <a:gd name="connsiteY2" fmla="*/ 35624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6" y="0"/>
                      </a:moveTo>
                      <a:cubicBezTo>
                        <a:pt x="4484" y="7598"/>
                        <a:pt x="3612" y="13950"/>
                        <a:pt x="3488" y="18310"/>
                      </a:cubicBezTo>
                      <a:cubicBezTo>
                        <a:pt x="3239" y="25285"/>
                        <a:pt x="4982" y="28648"/>
                        <a:pt x="4484" y="35624"/>
                      </a:cubicBezTo>
                      <a:cubicBezTo>
                        <a:pt x="3986"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6" name="Freeform 8250">
                  <a:extLst>
                    <a:ext uri="{FF2B5EF4-FFF2-40B4-BE49-F238E27FC236}">
                      <a16:creationId xmlns:a16="http://schemas.microsoft.com/office/drawing/2014/main" id="{AF7699A9-9693-1F5A-C376-136FBD40ADD3}"/>
                    </a:ext>
                  </a:extLst>
                </p:cNvPr>
                <p:cNvSpPr/>
                <p:nvPr/>
              </p:nvSpPr>
              <p:spPr>
                <a:xfrm>
                  <a:off x="4380402" y="1757956"/>
                  <a:ext cx="8191" cy="51691"/>
                </a:xfrm>
                <a:custGeom>
                  <a:avLst/>
                  <a:gdLst>
                    <a:gd name="connsiteX0" fmla="*/ 665 w 8191"/>
                    <a:gd name="connsiteY0" fmla="*/ 51691 h 51691"/>
                    <a:gd name="connsiteX1" fmla="*/ 1413 w 8191"/>
                    <a:gd name="connsiteY1" fmla="*/ 32883 h 51691"/>
                    <a:gd name="connsiteX2" fmla="*/ 7267 w 8191"/>
                    <a:gd name="connsiteY2" fmla="*/ 16442 h 51691"/>
                    <a:gd name="connsiteX3" fmla="*/ 7516 w 8191"/>
                    <a:gd name="connsiteY3" fmla="*/ 0 h 51691"/>
                  </a:gdLst>
                  <a:ahLst/>
                  <a:cxnLst>
                    <a:cxn ang="0">
                      <a:pos x="connsiteX0" y="connsiteY0"/>
                    </a:cxn>
                    <a:cxn ang="0">
                      <a:pos x="connsiteX1" y="connsiteY1"/>
                    </a:cxn>
                    <a:cxn ang="0">
                      <a:pos x="connsiteX2" y="connsiteY2"/>
                    </a:cxn>
                    <a:cxn ang="0">
                      <a:pos x="connsiteX3" y="connsiteY3"/>
                    </a:cxn>
                  </a:cxnLst>
                  <a:rect l="l" t="t" r="r" b="b"/>
                  <a:pathLst>
                    <a:path w="8190" h="51690">
                      <a:moveTo>
                        <a:pt x="665" y="51691"/>
                      </a:moveTo>
                      <a:cubicBezTo>
                        <a:pt x="-705" y="43346"/>
                        <a:pt x="292" y="37118"/>
                        <a:pt x="1413" y="32883"/>
                      </a:cubicBezTo>
                      <a:cubicBezTo>
                        <a:pt x="3156" y="26157"/>
                        <a:pt x="5772" y="23417"/>
                        <a:pt x="7267" y="16442"/>
                      </a:cubicBezTo>
                      <a:cubicBezTo>
                        <a:pt x="8761" y="9715"/>
                        <a:pt x="8138" y="3861"/>
                        <a:pt x="75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7" name="Freeform 8251">
                  <a:extLst>
                    <a:ext uri="{FF2B5EF4-FFF2-40B4-BE49-F238E27FC236}">
                      <a16:creationId xmlns:a16="http://schemas.microsoft.com/office/drawing/2014/main" id="{D65789E9-EDB7-6F73-56E0-C4A3D6E00A38}"/>
                    </a:ext>
                  </a:extLst>
                </p:cNvPr>
                <p:cNvSpPr/>
                <p:nvPr/>
              </p:nvSpPr>
              <p:spPr>
                <a:xfrm>
                  <a:off x="4371474" y="1742263"/>
                  <a:ext cx="26410" cy="26405"/>
                </a:xfrm>
                <a:custGeom>
                  <a:avLst/>
                  <a:gdLst>
                    <a:gd name="connsiteX0" fmla="*/ 26284 w 26410"/>
                    <a:gd name="connsiteY0" fmla="*/ 14947 h 26405"/>
                    <a:gd name="connsiteX1" fmla="*/ 11337 w 26410"/>
                    <a:gd name="connsiteY1" fmla="*/ 26281 h 26405"/>
                    <a:gd name="connsiteX2" fmla="*/ 127 w 26410"/>
                    <a:gd name="connsiteY2" fmla="*/ 11459 h 26405"/>
                    <a:gd name="connsiteX3" fmla="*/ 15074 w 26410"/>
                    <a:gd name="connsiteY3" fmla="*/ 124 h 26405"/>
                    <a:gd name="connsiteX4" fmla="*/ 26284 w 26410"/>
                    <a:gd name="connsiteY4" fmla="*/ 14947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405">
                      <a:moveTo>
                        <a:pt x="26284" y="14947"/>
                      </a:moveTo>
                      <a:cubicBezTo>
                        <a:pt x="25287" y="22171"/>
                        <a:pt x="18561" y="27278"/>
                        <a:pt x="11337" y="26281"/>
                      </a:cubicBezTo>
                      <a:cubicBezTo>
                        <a:pt x="4113" y="25285"/>
                        <a:pt x="-870" y="18683"/>
                        <a:pt x="127" y="11459"/>
                      </a:cubicBezTo>
                      <a:cubicBezTo>
                        <a:pt x="1123" y="4235"/>
                        <a:pt x="7849" y="-872"/>
                        <a:pt x="15074" y="124"/>
                      </a:cubicBezTo>
                      <a:cubicBezTo>
                        <a:pt x="22298" y="1121"/>
                        <a:pt x="27280" y="7722"/>
                        <a:pt x="26284" y="14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6" name="Graphic 2987">
                <a:extLst>
                  <a:ext uri="{FF2B5EF4-FFF2-40B4-BE49-F238E27FC236}">
                    <a16:creationId xmlns:a16="http://schemas.microsoft.com/office/drawing/2014/main" id="{9713FB51-92C6-96FC-4298-6428BDD0D723}"/>
                  </a:ext>
                </a:extLst>
              </p:cNvPr>
              <p:cNvGrpSpPr/>
              <p:nvPr/>
            </p:nvGrpSpPr>
            <p:grpSpPr>
              <a:xfrm>
                <a:off x="4324391" y="1738243"/>
                <a:ext cx="44347" cy="147758"/>
                <a:chOff x="4324391" y="1738243"/>
                <a:chExt cx="44347" cy="147758"/>
              </a:xfrm>
              <a:grpFill/>
            </p:grpSpPr>
            <p:sp>
              <p:nvSpPr>
                <p:cNvPr id="5976" name="Freeform 8253">
                  <a:extLst>
                    <a:ext uri="{FF2B5EF4-FFF2-40B4-BE49-F238E27FC236}">
                      <a16:creationId xmlns:a16="http://schemas.microsoft.com/office/drawing/2014/main" id="{98CE0053-EB81-8E66-3A44-7D2CDA39C19F}"/>
                    </a:ext>
                  </a:extLst>
                </p:cNvPr>
                <p:cNvSpPr/>
                <p:nvPr/>
              </p:nvSpPr>
              <p:spPr>
                <a:xfrm>
                  <a:off x="4342329" y="1814755"/>
                  <a:ext cx="8345" cy="51442"/>
                </a:xfrm>
                <a:custGeom>
                  <a:avLst/>
                  <a:gdLst>
                    <a:gd name="connsiteX0" fmla="*/ 0 w 8345"/>
                    <a:gd name="connsiteY0" fmla="*/ 51442 h 51442"/>
                    <a:gd name="connsiteX1" fmla="*/ 4733 w 8345"/>
                    <a:gd name="connsiteY1" fmla="*/ 33257 h 51442"/>
                    <a:gd name="connsiteX2" fmla="*/ 3861 w 8345"/>
                    <a:gd name="connsiteY2" fmla="*/ 15943 h 51442"/>
                    <a:gd name="connsiteX3" fmla="*/ 8346 w 8345"/>
                    <a:gd name="connsiteY3" fmla="*/ 0 h 51442"/>
                  </a:gdLst>
                  <a:ahLst/>
                  <a:cxnLst>
                    <a:cxn ang="0">
                      <a:pos x="connsiteX0" y="connsiteY0"/>
                    </a:cxn>
                    <a:cxn ang="0">
                      <a:pos x="connsiteX1" y="connsiteY1"/>
                    </a:cxn>
                    <a:cxn ang="0">
                      <a:pos x="connsiteX2" y="connsiteY2"/>
                    </a:cxn>
                    <a:cxn ang="0">
                      <a:pos x="connsiteX3" y="connsiteY3"/>
                    </a:cxn>
                  </a:cxnLst>
                  <a:rect l="l" t="t" r="r" b="b"/>
                  <a:pathLst>
                    <a:path w="8345" h="51442">
                      <a:moveTo>
                        <a:pt x="0" y="51442"/>
                      </a:moveTo>
                      <a:cubicBezTo>
                        <a:pt x="3612" y="43844"/>
                        <a:pt x="4484" y="37492"/>
                        <a:pt x="4733" y="33257"/>
                      </a:cubicBezTo>
                      <a:cubicBezTo>
                        <a:pt x="4982" y="26282"/>
                        <a:pt x="3239" y="22919"/>
                        <a:pt x="3861" y="15943"/>
                      </a:cubicBezTo>
                      <a:cubicBezTo>
                        <a:pt x="4360" y="9093"/>
                        <a:pt x="6602" y="3612"/>
                        <a:pt x="83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7" name="Freeform 8254">
                  <a:extLst>
                    <a:ext uri="{FF2B5EF4-FFF2-40B4-BE49-F238E27FC236}">
                      <a16:creationId xmlns:a16="http://schemas.microsoft.com/office/drawing/2014/main" id="{E866993C-4916-685F-DE14-9C9071A275C8}"/>
                    </a:ext>
                  </a:extLst>
                </p:cNvPr>
                <p:cNvSpPr/>
                <p:nvPr/>
              </p:nvSpPr>
              <p:spPr>
                <a:xfrm>
                  <a:off x="4334056" y="1818367"/>
                  <a:ext cx="8136" cy="51691"/>
                </a:xfrm>
                <a:custGeom>
                  <a:avLst/>
                  <a:gdLst>
                    <a:gd name="connsiteX0" fmla="*/ 7526 w 8136"/>
                    <a:gd name="connsiteY0" fmla="*/ 0 h 51691"/>
                    <a:gd name="connsiteX1" fmla="*/ 6779 w 8136"/>
                    <a:gd name="connsiteY1" fmla="*/ 18808 h 51691"/>
                    <a:gd name="connsiteX2" fmla="*/ 925 w 8136"/>
                    <a:gd name="connsiteY2" fmla="*/ 35125 h 51691"/>
                    <a:gd name="connsiteX3" fmla="*/ 676 w 813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36" h="51690">
                      <a:moveTo>
                        <a:pt x="7526" y="0"/>
                      </a:moveTo>
                      <a:cubicBezTo>
                        <a:pt x="8772" y="8345"/>
                        <a:pt x="7900" y="14573"/>
                        <a:pt x="6779" y="18808"/>
                      </a:cubicBezTo>
                      <a:cubicBezTo>
                        <a:pt x="5035" y="25534"/>
                        <a:pt x="2419" y="28275"/>
                        <a:pt x="925" y="35125"/>
                      </a:cubicBezTo>
                      <a:cubicBezTo>
                        <a:pt x="-570" y="41851"/>
                        <a:pt x="53" y="47706"/>
                        <a:pt x="6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8" name="Freeform 8255">
                  <a:extLst>
                    <a:ext uri="{FF2B5EF4-FFF2-40B4-BE49-F238E27FC236}">
                      <a16:creationId xmlns:a16="http://schemas.microsoft.com/office/drawing/2014/main" id="{32D660F7-97C1-7F40-2BCF-BF74B1DF10A7}"/>
                    </a:ext>
                  </a:extLst>
                </p:cNvPr>
                <p:cNvSpPr/>
                <p:nvPr/>
              </p:nvSpPr>
              <p:spPr>
                <a:xfrm>
                  <a:off x="4324391" y="1859405"/>
                  <a:ext cx="26657" cy="26596"/>
                </a:xfrm>
                <a:custGeom>
                  <a:avLst/>
                  <a:gdLst>
                    <a:gd name="connsiteX0" fmla="*/ 127 w 26657"/>
                    <a:gd name="connsiteY0" fmla="*/ 11152 h 26596"/>
                    <a:gd name="connsiteX1" fmla="*/ 15198 w 26657"/>
                    <a:gd name="connsiteY1" fmla="*/ 191 h 26596"/>
                    <a:gd name="connsiteX2" fmla="*/ 26533 w 26657"/>
                    <a:gd name="connsiteY2" fmla="*/ 15138 h 26596"/>
                    <a:gd name="connsiteX3" fmla="*/ 11337 w 26657"/>
                    <a:gd name="connsiteY3" fmla="*/ 26473 h 26596"/>
                    <a:gd name="connsiteX4" fmla="*/ 127 w 26657"/>
                    <a:gd name="connsiteY4" fmla="*/ 11152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5">
                      <a:moveTo>
                        <a:pt x="127" y="11152"/>
                      </a:moveTo>
                      <a:cubicBezTo>
                        <a:pt x="1248" y="3928"/>
                        <a:pt x="7974" y="-1055"/>
                        <a:pt x="15198" y="191"/>
                      </a:cubicBezTo>
                      <a:cubicBezTo>
                        <a:pt x="22423" y="1312"/>
                        <a:pt x="27530" y="7789"/>
                        <a:pt x="26533" y="15138"/>
                      </a:cubicBezTo>
                      <a:cubicBezTo>
                        <a:pt x="25537" y="22362"/>
                        <a:pt x="18686" y="27469"/>
                        <a:pt x="11337" y="26473"/>
                      </a:cubicBezTo>
                      <a:cubicBezTo>
                        <a:pt x="4113" y="25227"/>
                        <a:pt x="-870" y="18376"/>
                        <a:pt x="12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9" name="Freeform 8256">
                  <a:extLst>
                    <a:ext uri="{FF2B5EF4-FFF2-40B4-BE49-F238E27FC236}">
                      <a16:creationId xmlns:a16="http://schemas.microsoft.com/office/drawing/2014/main" id="{0E5AC276-3092-9B35-AAE7-38058243A5BE}"/>
                    </a:ext>
                  </a:extLst>
                </p:cNvPr>
                <p:cNvSpPr/>
                <p:nvPr/>
              </p:nvSpPr>
              <p:spPr>
                <a:xfrm>
                  <a:off x="4342703" y="1757956"/>
                  <a:ext cx="8220" cy="51442"/>
                </a:xfrm>
                <a:custGeom>
                  <a:avLst/>
                  <a:gdLst>
                    <a:gd name="connsiteX0" fmla="*/ 8221 w 8220"/>
                    <a:gd name="connsiteY0" fmla="*/ 0 h 51442"/>
                    <a:gd name="connsiteX1" fmla="*/ 3612 w 8220"/>
                    <a:gd name="connsiteY1" fmla="*/ 18185 h 51442"/>
                    <a:gd name="connsiteX2" fmla="*/ 4484 w 8220"/>
                    <a:gd name="connsiteY2" fmla="*/ 35624 h 51442"/>
                    <a:gd name="connsiteX3" fmla="*/ 0 w 8220"/>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220" h="51442">
                      <a:moveTo>
                        <a:pt x="8221" y="0"/>
                      </a:moveTo>
                      <a:cubicBezTo>
                        <a:pt x="4609" y="7598"/>
                        <a:pt x="3737" y="13826"/>
                        <a:pt x="3612" y="18185"/>
                      </a:cubicBezTo>
                      <a:cubicBezTo>
                        <a:pt x="3363" y="25161"/>
                        <a:pt x="4982" y="28524"/>
                        <a:pt x="4484" y="35624"/>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0" name="Freeform 8257">
                  <a:extLst>
                    <a:ext uri="{FF2B5EF4-FFF2-40B4-BE49-F238E27FC236}">
                      <a16:creationId xmlns:a16="http://schemas.microsoft.com/office/drawing/2014/main" id="{29FF2502-6D9E-C464-EE6E-0282A5116E3E}"/>
                    </a:ext>
                  </a:extLst>
                </p:cNvPr>
                <p:cNvSpPr/>
                <p:nvPr/>
              </p:nvSpPr>
              <p:spPr>
                <a:xfrm>
                  <a:off x="4351061" y="1754095"/>
                  <a:ext cx="8136" cy="51691"/>
                </a:xfrm>
                <a:custGeom>
                  <a:avLst/>
                  <a:gdLst>
                    <a:gd name="connsiteX0" fmla="*/ 610 w 8136"/>
                    <a:gd name="connsiteY0" fmla="*/ 51691 h 51691"/>
                    <a:gd name="connsiteX1" fmla="*/ 1357 w 8136"/>
                    <a:gd name="connsiteY1" fmla="*/ 32883 h 51691"/>
                    <a:gd name="connsiteX2" fmla="*/ 7211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1" y="16442"/>
                      </a:cubicBezTo>
                      <a:cubicBezTo>
                        <a:pt x="8706" y="9716"/>
                        <a:pt x="8083"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81" name="Freeform 8258">
                  <a:extLst>
                    <a:ext uri="{FF2B5EF4-FFF2-40B4-BE49-F238E27FC236}">
                      <a16:creationId xmlns:a16="http://schemas.microsoft.com/office/drawing/2014/main" id="{8428122A-705D-DAA8-4E5C-F6AD9ED61F16}"/>
                    </a:ext>
                  </a:extLst>
                </p:cNvPr>
                <p:cNvSpPr/>
                <p:nvPr/>
              </p:nvSpPr>
              <p:spPr>
                <a:xfrm>
                  <a:off x="4342421" y="1738243"/>
                  <a:ext cx="26316" cy="26563"/>
                </a:xfrm>
                <a:custGeom>
                  <a:avLst/>
                  <a:gdLst>
                    <a:gd name="connsiteX0" fmla="*/ 26190 w 26316"/>
                    <a:gd name="connsiteY0" fmla="*/ 15104 h 26563"/>
                    <a:gd name="connsiteX1" fmla="*/ 11243 w 26316"/>
                    <a:gd name="connsiteY1" fmla="*/ 26439 h 26563"/>
                    <a:gd name="connsiteX2" fmla="*/ 158 w 26316"/>
                    <a:gd name="connsiteY2" fmla="*/ 11243 h 26563"/>
                    <a:gd name="connsiteX3" fmla="*/ 15104 w 26316"/>
                    <a:gd name="connsiteY3" fmla="*/ 158 h 26563"/>
                    <a:gd name="connsiteX4" fmla="*/ 26190 w 26316"/>
                    <a:gd name="connsiteY4" fmla="*/ 15104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3">
                      <a:moveTo>
                        <a:pt x="26190" y="15104"/>
                      </a:moveTo>
                      <a:cubicBezTo>
                        <a:pt x="25193" y="22329"/>
                        <a:pt x="18467" y="27436"/>
                        <a:pt x="11243" y="26439"/>
                      </a:cubicBezTo>
                      <a:cubicBezTo>
                        <a:pt x="4019" y="25318"/>
                        <a:pt x="-964" y="18468"/>
                        <a:pt x="158" y="11243"/>
                      </a:cubicBezTo>
                      <a:cubicBezTo>
                        <a:pt x="1279" y="4019"/>
                        <a:pt x="7880" y="-963"/>
                        <a:pt x="15104" y="158"/>
                      </a:cubicBezTo>
                      <a:cubicBezTo>
                        <a:pt x="22204" y="1154"/>
                        <a:pt x="27186" y="7756"/>
                        <a:pt x="26190" y="151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7" name="Graphic 2987">
                <a:extLst>
                  <a:ext uri="{FF2B5EF4-FFF2-40B4-BE49-F238E27FC236}">
                    <a16:creationId xmlns:a16="http://schemas.microsoft.com/office/drawing/2014/main" id="{56BE8969-2C84-47BB-8FFD-E2F468D56278}"/>
                  </a:ext>
                </a:extLst>
              </p:cNvPr>
              <p:cNvGrpSpPr/>
              <p:nvPr/>
            </p:nvGrpSpPr>
            <p:grpSpPr>
              <a:xfrm>
                <a:off x="4294964" y="1733635"/>
                <a:ext cx="44533" cy="147575"/>
                <a:chOff x="4294964" y="1733635"/>
                <a:chExt cx="44533" cy="147575"/>
              </a:xfrm>
              <a:grpFill/>
            </p:grpSpPr>
            <p:sp>
              <p:nvSpPr>
                <p:cNvPr id="5970" name="Freeform 8260">
                  <a:extLst>
                    <a:ext uri="{FF2B5EF4-FFF2-40B4-BE49-F238E27FC236}">
                      <a16:creationId xmlns:a16="http://schemas.microsoft.com/office/drawing/2014/main" id="{3E025DCD-5F68-91A8-5E61-4C306CC93F27}"/>
                    </a:ext>
                  </a:extLst>
                </p:cNvPr>
                <p:cNvSpPr/>
                <p:nvPr/>
              </p:nvSpPr>
              <p:spPr>
                <a:xfrm>
                  <a:off x="4312934" y="1810022"/>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1" name="Freeform 8261">
                  <a:extLst>
                    <a:ext uri="{FF2B5EF4-FFF2-40B4-BE49-F238E27FC236}">
                      <a16:creationId xmlns:a16="http://schemas.microsoft.com/office/drawing/2014/main" id="{EA55C4DC-D054-DD18-2913-0520DC1F04BB}"/>
                    </a:ext>
                  </a:extLst>
                </p:cNvPr>
                <p:cNvSpPr/>
                <p:nvPr/>
              </p:nvSpPr>
              <p:spPr>
                <a:xfrm>
                  <a:off x="4304368" y="1813758"/>
                  <a:ext cx="8395" cy="51691"/>
                </a:xfrm>
                <a:custGeom>
                  <a:avLst/>
                  <a:gdLst>
                    <a:gd name="connsiteX0" fmla="*/ 7819 w 8395"/>
                    <a:gd name="connsiteY0" fmla="*/ 0 h 51691"/>
                    <a:gd name="connsiteX1" fmla="*/ 6947 w 8395"/>
                    <a:gd name="connsiteY1" fmla="*/ 18808 h 51691"/>
                    <a:gd name="connsiteX2" fmla="*/ 968 w 8395"/>
                    <a:gd name="connsiteY2" fmla="*/ 35125 h 51691"/>
                    <a:gd name="connsiteX3" fmla="*/ 719 w 839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395" h="51690">
                      <a:moveTo>
                        <a:pt x="7819" y="0"/>
                      </a:moveTo>
                      <a:cubicBezTo>
                        <a:pt x="9064" y="8345"/>
                        <a:pt x="8068" y="14573"/>
                        <a:pt x="6947" y="18808"/>
                      </a:cubicBezTo>
                      <a:cubicBezTo>
                        <a:pt x="5203" y="25534"/>
                        <a:pt x="2587" y="28275"/>
                        <a:pt x="968" y="35125"/>
                      </a:cubicBezTo>
                      <a:cubicBezTo>
                        <a:pt x="-527" y="41851"/>
                        <a:pt x="-29" y="47706"/>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2" name="Freeform 8262">
                  <a:extLst>
                    <a:ext uri="{FF2B5EF4-FFF2-40B4-BE49-F238E27FC236}">
                      <a16:creationId xmlns:a16="http://schemas.microsoft.com/office/drawing/2014/main" id="{869B754F-3B34-867D-A2CA-764C492A36A7}"/>
                    </a:ext>
                  </a:extLst>
                </p:cNvPr>
                <p:cNvSpPr/>
                <p:nvPr/>
              </p:nvSpPr>
              <p:spPr>
                <a:xfrm>
                  <a:off x="4294964" y="1854671"/>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9" y="3928"/>
                        <a:pt x="8005" y="-1055"/>
                        <a:pt x="15353" y="191"/>
                      </a:cubicBezTo>
                      <a:cubicBezTo>
                        <a:pt x="22578" y="1312"/>
                        <a:pt x="27685" y="8163"/>
                        <a:pt x="26564" y="15387"/>
                      </a:cubicBezTo>
                      <a:cubicBezTo>
                        <a:pt x="25443" y="22611"/>
                        <a:pt x="18717"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3" name="Freeform 8263">
                  <a:extLst>
                    <a:ext uri="{FF2B5EF4-FFF2-40B4-BE49-F238E27FC236}">
                      <a16:creationId xmlns:a16="http://schemas.microsoft.com/office/drawing/2014/main" id="{E2A97C8A-E34B-22CF-4481-9C0C0006A5D5}"/>
                    </a:ext>
                  </a:extLst>
                </p:cNvPr>
                <p:cNvSpPr/>
                <p:nvPr/>
              </p:nvSpPr>
              <p:spPr>
                <a:xfrm>
                  <a:off x="4313307" y="1753348"/>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858" y="7598"/>
                        <a:pt x="3861" y="13826"/>
                        <a:pt x="3737" y="18185"/>
                      </a:cubicBezTo>
                      <a:cubicBezTo>
                        <a:pt x="3488" y="25161"/>
                        <a:pt x="5107" y="28524"/>
                        <a:pt x="4609" y="35623"/>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4" name="Freeform 8264">
                  <a:extLst>
                    <a:ext uri="{FF2B5EF4-FFF2-40B4-BE49-F238E27FC236}">
                      <a16:creationId xmlns:a16="http://schemas.microsoft.com/office/drawing/2014/main" id="{488F4B39-4EE6-234D-EA74-85728CED9414}"/>
                    </a:ext>
                  </a:extLst>
                </p:cNvPr>
                <p:cNvSpPr/>
                <p:nvPr/>
              </p:nvSpPr>
              <p:spPr>
                <a:xfrm>
                  <a:off x="4321819" y="1749487"/>
                  <a:ext cx="8150" cy="51691"/>
                </a:xfrm>
                <a:custGeom>
                  <a:avLst/>
                  <a:gdLst>
                    <a:gd name="connsiteX0" fmla="*/ 581 w 8150"/>
                    <a:gd name="connsiteY0" fmla="*/ 51691 h 51691"/>
                    <a:gd name="connsiteX1" fmla="*/ 1328 w 8150"/>
                    <a:gd name="connsiteY1" fmla="*/ 32883 h 51691"/>
                    <a:gd name="connsiteX2" fmla="*/ 7183 w 8150"/>
                    <a:gd name="connsiteY2" fmla="*/ 16566 h 51691"/>
                    <a:gd name="connsiteX3" fmla="*/ 7432 w 8150"/>
                    <a:gd name="connsiteY3" fmla="*/ 0 h 51691"/>
                  </a:gdLst>
                  <a:ahLst/>
                  <a:cxnLst>
                    <a:cxn ang="0">
                      <a:pos x="connsiteX0" y="connsiteY0"/>
                    </a:cxn>
                    <a:cxn ang="0">
                      <a:pos x="connsiteX1" y="connsiteY1"/>
                    </a:cxn>
                    <a:cxn ang="0">
                      <a:pos x="connsiteX2" y="connsiteY2"/>
                    </a:cxn>
                    <a:cxn ang="0">
                      <a:pos x="connsiteX3" y="connsiteY3"/>
                    </a:cxn>
                  </a:cxnLst>
                  <a:rect l="l" t="t" r="r" b="b"/>
                  <a:pathLst>
                    <a:path w="8150" h="51690">
                      <a:moveTo>
                        <a:pt x="581" y="51691"/>
                      </a:moveTo>
                      <a:cubicBezTo>
                        <a:pt x="-664" y="43346"/>
                        <a:pt x="332" y="37118"/>
                        <a:pt x="1328" y="32883"/>
                      </a:cubicBezTo>
                      <a:cubicBezTo>
                        <a:pt x="3072" y="26157"/>
                        <a:pt x="5688" y="23417"/>
                        <a:pt x="7183" y="16566"/>
                      </a:cubicBezTo>
                      <a:cubicBezTo>
                        <a:pt x="8678" y="9840"/>
                        <a:pt x="8179" y="3986"/>
                        <a:pt x="74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75" name="Freeform 8265">
                  <a:extLst>
                    <a:ext uri="{FF2B5EF4-FFF2-40B4-BE49-F238E27FC236}">
                      <a16:creationId xmlns:a16="http://schemas.microsoft.com/office/drawing/2014/main" id="{3EEB07AE-1F46-2702-867F-20859843A1CA}"/>
                    </a:ext>
                  </a:extLst>
                </p:cNvPr>
                <p:cNvSpPr/>
                <p:nvPr/>
              </p:nvSpPr>
              <p:spPr>
                <a:xfrm>
                  <a:off x="4313150" y="1733635"/>
                  <a:ext cx="26347" cy="26596"/>
                </a:xfrm>
                <a:custGeom>
                  <a:avLst/>
                  <a:gdLst>
                    <a:gd name="connsiteX0" fmla="*/ 26190 w 26347"/>
                    <a:gd name="connsiteY0" fmla="*/ 15354 h 26596"/>
                    <a:gd name="connsiteX1" fmla="*/ 11243 w 26347"/>
                    <a:gd name="connsiteY1" fmla="*/ 26439 h 26596"/>
                    <a:gd name="connsiteX2" fmla="*/ 158 w 26347"/>
                    <a:gd name="connsiteY2" fmla="*/ 11243 h 26596"/>
                    <a:gd name="connsiteX3" fmla="*/ 15104 w 26347"/>
                    <a:gd name="connsiteY3" fmla="*/ 158 h 26596"/>
                    <a:gd name="connsiteX4" fmla="*/ 26190 w 26347"/>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95">
                      <a:moveTo>
                        <a:pt x="26190" y="15354"/>
                      </a:moveTo>
                      <a:cubicBezTo>
                        <a:pt x="25069" y="22578"/>
                        <a:pt x="18468" y="27560"/>
                        <a:pt x="11243" y="26439"/>
                      </a:cubicBezTo>
                      <a:cubicBezTo>
                        <a:pt x="4019" y="25318"/>
                        <a:pt x="-963" y="18468"/>
                        <a:pt x="158" y="11243"/>
                      </a:cubicBezTo>
                      <a:cubicBezTo>
                        <a:pt x="1279" y="4019"/>
                        <a:pt x="8005" y="-963"/>
                        <a:pt x="15104" y="158"/>
                      </a:cubicBezTo>
                      <a:cubicBezTo>
                        <a:pt x="22329" y="1279"/>
                        <a:pt x="27311" y="8129"/>
                        <a:pt x="26190"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8" name="Graphic 2987">
                <a:extLst>
                  <a:ext uri="{FF2B5EF4-FFF2-40B4-BE49-F238E27FC236}">
                    <a16:creationId xmlns:a16="http://schemas.microsoft.com/office/drawing/2014/main" id="{BED4BAFB-5152-5A3A-F825-B79A8DA8BC6D}"/>
                  </a:ext>
                </a:extLst>
              </p:cNvPr>
              <p:cNvGrpSpPr/>
              <p:nvPr/>
            </p:nvGrpSpPr>
            <p:grpSpPr>
              <a:xfrm>
                <a:off x="4265444" y="1728902"/>
                <a:ext cx="45003" cy="147700"/>
                <a:chOff x="4265444" y="1728902"/>
                <a:chExt cx="45003" cy="147700"/>
              </a:xfrm>
              <a:grpFill/>
            </p:grpSpPr>
            <p:sp>
              <p:nvSpPr>
                <p:cNvPr id="5964" name="Freeform 8267">
                  <a:extLst>
                    <a:ext uri="{FF2B5EF4-FFF2-40B4-BE49-F238E27FC236}">
                      <a16:creationId xmlns:a16="http://schemas.microsoft.com/office/drawing/2014/main" id="{D10FF366-FF20-221F-F202-1F9A8114EBF7}"/>
                    </a:ext>
                  </a:extLst>
                </p:cNvPr>
                <p:cNvSpPr/>
                <p:nvPr/>
              </p:nvSpPr>
              <p:spPr>
                <a:xfrm>
                  <a:off x="4283538" y="1805413"/>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4"/>
                        <a:pt x="4609" y="37616"/>
                        <a:pt x="4733" y="33257"/>
                      </a:cubicBezTo>
                      <a:cubicBezTo>
                        <a:pt x="4982" y="26282"/>
                        <a:pt x="3363" y="22919"/>
                        <a:pt x="3861" y="15819"/>
                      </a:cubicBezTo>
                      <a:cubicBezTo>
                        <a:pt x="4360"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5" name="Freeform 8268">
                  <a:extLst>
                    <a:ext uri="{FF2B5EF4-FFF2-40B4-BE49-F238E27FC236}">
                      <a16:creationId xmlns:a16="http://schemas.microsoft.com/office/drawing/2014/main" id="{8B499AA0-D8FE-183D-143B-27E648AB2158}"/>
                    </a:ext>
                  </a:extLst>
                </p:cNvPr>
                <p:cNvSpPr/>
                <p:nvPr/>
              </p:nvSpPr>
              <p:spPr>
                <a:xfrm>
                  <a:off x="4275083" y="1809025"/>
                  <a:ext cx="8409" cy="51691"/>
                </a:xfrm>
                <a:custGeom>
                  <a:avLst/>
                  <a:gdLst>
                    <a:gd name="connsiteX0" fmla="*/ 7832 w 8409"/>
                    <a:gd name="connsiteY0" fmla="*/ 0 h 51691"/>
                    <a:gd name="connsiteX1" fmla="*/ 6960 w 8409"/>
                    <a:gd name="connsiteY1" fmla="*/ 18808 h 51691"/>
                    <a:gd name="connsiteX2" fmla="*/ 981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601" y="28275"/>
                        <a:pt x="981"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6" name="Freeform 8269">
                  <a:extLst>
                    <a:ext uri="{FF2B5EF4-FFF2-40B4-BE49-F238E27FC236}">
                      <a16:creationId xmlns:a16="http://schemas.microsoft.com/office/drawing/2014/main" id="{30AFBF10-5669-E381-513A-6B119D6884D5}"/>
                    </a:ext>
                  </a:extLst>
                </p:cNvPr>
                <p:cNvSpPr/>
                <p:nvPr/>
              </p:nvSpPr>
              <p:spPr>
                <a:xfrm>
                  <a:off x="4265444" y="1850063"/>
                  <a:ext cx="26718" cy="26539"/>
                </a:xfrm>
                <a:custGeom>
                  <a:avLst/>
                  <a:gdLst>
                    <a:gd name="connsiteX0" fmla="*/ 157 w 26718"/>
                    <a:gd name="connsiteY0" fmla="*/ 11152 h 26539"/>
                    <a:gd name="connsiteX1" fmla="*/ 15353 w 26718"/>
                    <a:gd name="connsiteY1" fmla="*/ 191 h 26539"/>
                    <a:gd name="connsiteX2" fmla="*/ 26564 w 26718"/>
                    <a:gd name="connsiteY2" fmla="*/ 15387 h 26539"/>
                    <a:gd name="connsiteX3" fmla="*/ 11368 w 26718"/>
                    <a:gd name="connsiteY3" fmla="*/ 26348 h 26539"/>
                    <a:gd name="connsiteX4" fmla="*/ 157 w 26718"/>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157" y="11152"/>
                      </a:moveTo>
                      <a:cubicBezTo>
                        <a:pt x="1278" y="3928"/>
                        <a:pt x="8129" y="-1055"/>
                        <a:pt x="15353" y="191"/>
                      </a:cubicBezTo>
                      <a:cubicBezTo>
                        <a:pt x="22578" y="1437"/>
                        <a:pt x="27685" y="8163"/>
                        <a:pt x="26564" y="15387"/>
                      </a:cubicBezTo>
                      <a:cubicBezTo>
                        <a:pt x="25443" y="22611"/>
                        <a:pt x="18717" y="27594"/>
                        <a:pt x="11368" y="26348"/>
                      </a:cubicBezTo>
                      <a:cubicBezTo>
                        <a:pt x="4019" y="25103"/>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7" name="Freeform 8270">
                  <a:extLst>
                    <a:ext uri="{FF2B5EF4-FFF2-40B4-BE49-F238E27FC236}">
                      <a16:creationId xmlns:a16="http://schemas.microsoft.com/office/drawing/2014/main" id="{31C8578C-2D37-B5F9-8057-666757F2EE83}"/>
                    </a:ext>
                  </a:extLst>
                </p:cNvPr>
                <p:cNvSpPr/>
                <p:nvPr/>
              </p:nvSpPr>
              <p:spPr>
                <a:xfrm>
                  <a:off x="4284036" y="1748615"/>
                  <a:ext cx="8594" cy="51442"/>
                </a:xfrm>
                <a:custGeom>
                  <a:avLst/>
                  <a:gdLst>
                    <a:gd name="connsiteX0" fmla="*/ 8595 w 8594"/>
                    <a:gd name="connsiteY0" fmla="*/ 0 h 51442"/>
                    <a:gd name="connsiteX1" fmla="*/ 3861 w 8594"/>
                    <a:gd name="connsiteY1" fmla="*/ 18185 h 51442"/>
                    <a:gd name="connsiteX2" fmla="*/ 4609 w 8594"/>
                    <a:gd name="connsiteY2" fmla="*/ 35624 h 51442"/>
                    <a:gd name="connsiteX3" fmla="*/ 0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8595" y="0"/>
                      </a:moveTo>
                      <a:cubicBezTo>
                        <a:pt x="4982" y="7598"/>
                        <a:pt x="3986" y="13826"/>
                        <a:pt x="3861" y="18185"/>
                      </a:cubicBezTo>
                      <a:cubicBezTo>
                        <a:pt x="3612" y="25161"/>
                        <a:pt x="5231" y="28524"/>
                        <a:pt x="4609"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8" name="Freeform 8271">
                  <a:extLst>
                    <a:ext uri="{FF2B5EF4-FFF2-40B4-BE49-F238E27FC236}">
                      <a16:creationId xmlns:a16="http://schemas.microsoft.com/office/drawing/2014/main" id="{3792B103-1706-86CE-8087-D7793034EEA4}"/>
                    </a:ext>
                  </a:extLst>
                </p:cNvPr>
                <p:cNvSpPr/>
                <p:nvPr/>
              </p:nvSpPr>
              <p:spPr>
                <a:xfrm>
                  <a:off x="4292552" y="1744753"/>
                  <a:ext cx="8408" cy="51691"/>
                </a:xfrm>
                <a:custGeom>
                  <a:avLst/>
                  <a:gdLst>
                    <a:gd name="connsiteX0" fmla="*/ 577 w 8408"/>
                    <a:gd name="connsiteY0" fmla="*/ 51691 h 51691"/>
                    <a:gd name="connsiteX1" fmla="*/ 1448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8"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9" name="Freeform 8272">
                  <a:extLst>
                    <a:ext uri="{FF2B5EF4-FFF2-40B4-BE49-F238E27FC236}">
                      <a16:creationId xmlns:a16="http://schemas.microsoft.com/office/drawing/2014/main" id="{66A228DB-3EC4-A40B-572F-7CAC392DEB1D}"/>
                    </a:ext>
                  </a:extLst>
                </p:cNvPr>
                <p:cNvSpPr/>
                <p:nvPr/>
              </p:nvSpPr>
              <p:spPr>
                <a:xfrm>
                  <a:off x="4284031" y="1728902"/>
                  <a:ext cx="26415" cy="26596"/>
                </a:xfrm>
                <a:custGeom>
                  <a:avLst/>
                  <a:gdLst>
                    <a:gd name="connsiteX0" fmla="*/ 26286 w 26415"/>
                    <a:gd name="connsiteY0" fmla="*/ 15354 h 26596"/>
                    <a:gd name="connsiteX1" fmla="*/ 11215 w 26415"/>
                    <a:gd name="connsiteY1" fmla="*/ 26439 h 26596"/>
                    <a:gd name="connsiteX2" fmla="*/ 129 w 26415"/>
                    <a:gd name="connsiteY2" fmla="*/ 11243 h 26596"/>
                    <a:gd name="connsiteX3" fmla="*/ 15201 w 26415"/>
                    <a:gd name="connsiteY3" fmla="*/ 158 h 26596"/>
                    <a:gd name="connsiteX4" fmla="*/ 26286 w 26415"/>
                    <a:gd name="connsiteY4" fmla="*/ 15354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95">
                      <a:moveTo>
                        <a:pt x="26286" y="15354"/>
                      </a:moveTo>
                      <a:cubicBezTo>
                        <a:pt x="25165" y="22578"/>
                        <a:pt x="18439" y="27560"/>
                        <a:pt x="11215" y="26439"/>
                      </a:cubicBezTo>
                      <a:cubicBezTo>
                        <a:pt x="3991" y="25318"/>
                        <a:pt x="-867" y="18468"/>
                        <a:pt x="129" y="11243"/>
                      </a:cubicBezTo>
                      <a:cubicBezTo>
                        <a:pt x="1250" y="4019"/>
                        <a:pt x="7976" y="-963"/>
                        <a:pt x="15201" y="158"/>
                      </a:cubicBezTo>
                      <a:cubicBezTo>
                        <a:pt x="22425" y="1403"/>
                        <a:pt x="27283" y="8129"/>
                        <a:pt x="26286" y="153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39" name="Graphic 2987">
                <a:extLst>
                  <a:ext uri="{FF2B5EF4-FFF2-40B4-BE49-F238E27FC236}">
                    <a16:creationId xmlns:a16="http://schemas.microsoft.com/office/drawing/2014/main" id="{90567D85-E284-D30E-2C2E-F315A72763F1}"/>
                  </a:ext>
                </a:extLst>
              </p:cNvPr>
              <p:cNvGrpSpPr/>
              <p:nvPr/>
            </p:nvGrpSpPr>
            <p:grpSpPr>
              <a:xfrm>
                <a:off x="4236049" y="1724259"/>
                <a:ext cx="45283" cy="147609"/>
                <a:chOff x="4236049" y="1724259"/>
                <a:chExt cx="45283" cy="147609"/>
              </a:xfrm>
              <a:grpFill/>
            </p:grpSpPr>
            <p:sp>
              <p:nvSpPr>
                <p:cNvPr id="5958" name="Freeform 8274">
                  <a:extLst>
                    <a:ext uri="{FF2B5EF4-FFF2-40B4-BE49-F238E27FC236}">
                      <a16:creationId xmlns:a16="http://schemas.microsoft.com/office/drawing/2014/main" id="{392C2EDC-FCEC-BA58-7F73-A05942906F14}"/>
                    </a:ext>
                  </a:extLst>
                </p:cNvPr>
                <p:cNvSpPr/>
                <p:nvPr/>
              </p:nvSpPr>
              <p:spPr>
                <a:xfrm>
                  <a:off x="4254018" y="1800680"/>
                  <a:ext cx="8719" cy="51442"/>
                </a:xfrm>
                <a:custGeom>
                  <a:avLst/>
                  <a:gdLst>
                    <a:gd name="connsiteX0" fmla="*/ 0 w 8719"/>
                    <a:gd name="connsiteY0" fmla="*/ 51442 h 51442"/>
                    <a:gd name="connsiteX1" fmla="*/ 4858 w 8719"/>
                    <a:gd name="connsiteY1" fmla="*/ 33257 h 51442"/>
                    <a:gd name="connsiteX2" fmla="*/ 4110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4"/>
                        <a:pt x="4609" y="37616"/>
                        <a:pt x="4858" y="33257"/>
                      </a:cubicBezTo>
                      <a:cubicBezTo>
                        <a:pt x="5107" y="26282"/>
                        <a:pt x="3488" y="22919"/>
                        <a:pt x="4110"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9" name="Freeform 8275">
                  <a:extLst>
                    <a:ext uri="{FF2B5EF4-FFF2-40B4-BE49-F238E27FC236}">
                      <a16:creationId xmlns:a16="http://schemas.microsoft.com/office/drawing/2014/main" id="{CD6C1204-D1BF-0A12-5BF4-6227909D0084}"/>
                    </a:ext>
                  </a:extLst>
                </p:cNvPr>
                <p:cNvSpPr/>
                <p:nvPr/>
              </p:nvSpPr>
              <p:spPr>
                <a:xfrm>
                  <a:off x="4245812" y="1804417"/>
                  <a:ext cx="8409" cy="51691"/>
                </a:xfrm>
                <a:custGeom>
                  <a:avLst/>
                  <a:gdLst>
                    <a:gd name="connsiteX0" fmla="*/ 7832 w 8409"/>
                    <a:gd name="connsiteY0" fmla="*/ 0 h 51691"/>
                    <a:gd name="connsiteX1" fmla="*/ 6960 w 8409"/>
                    <a:gd name="connsiteY1" fmla="*/ 18808 h 51691"/>
                    <a:gd name="connsiteX2" fmla="*/ 982 w 8409"/>
                    <a:gd name="connsiteY2" fmla="*/ 35125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1" y="14573"/>
                        <a:pt x="6960" y="18808"/>
                      </a:cubicBezTo>
                      <a:cubicBezTo>
                        <a:pt x="5092" y="25534"/>
                        <a:pt x="2476" y="28275"/>
                        <a:pt x="982" y="35125"/>
                      </a:cubicBezTo>
                      <a:cubicBezTo>
                        <a:pt x="-513" y="41851"/>
                        <a:pt x="-15" y="47706"/>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0" name="Freeform 8276">
                  <a:extLst>
                    <a:ext uri="{FF2B5EF4-FFF2-40B4-BE49-F238E27FC236}">
                      <a16:creationId xmlns:a16="http://schemas.microsoft.com/office/drawing/2014/main" id="{36CBC0FA-DC7D-4EB4-6A94-B144D4CD0B81}"/>
                    </a:ext>
                  </a:extLst>
                </p:cNvPr>
                <p:cNvSpPr/>
                <p:nvPr/>
              </p:nvSpPr>
              <p:spPr>
                <a:xfrm>
                  <a:off x="4236049" y="1845330"/>
                  <a:ext cx="26690" cy="26539"/>
                </a:xfrm>
                <a:custGeom>
                  <a:avLst/>
                  <a:gdLst>
                    <a:gd name="connsiteX0" fmla="*/ 157 w 26690"/>
                    <a:gd name="connsiteY0" fmla="*/ 11152 h 26539"/>
                    <a:gd name="connsiteX1" fmla="*/ 15353 w 26690"/>
                    <a:gd name="connsiteY1" fmla="*/ 191 h 26539"/>
                    <a:gd name="connsiteX2" fmla="*/ 26564 w 26690"/>
                    <a:gd name="connsiteY2" fmla="*/ 15387 h 26539"/>
                    <a:gd name="connsiteX3" fmla="*/ 11368 w 26690"/>
                    <a:gd name="connsiteY3" fmla="*/ 26348 h 26539"/>
                    <a:gd name="connsiteX4" fmla="*/ 157 w 26690"/>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38">
                      <a:moveTo>
                        <a:pt x="157" y="11152"/>
                      </a:moveTo>
                      <a:cubicBezTo>
                        <a:pt x="1278" y="3928"/>
                        <a:pt x="8129" y="-1055"/>
                        <a:pt x="15353" y="191"/>
                      </a:cubicBezTo>
                      <a:cubicBezTo>
                        <a:pt x="22578" y="1437"/>
                        <a:pt x="27560" y="8163"/>
                        <a:pt x="26564" y="15387"/>
                      </a:cubicBezTo>
                      <a:cubicBezTo>
                        <a:pt x="25567" y="22611"/>
                        <a:pt x="18592" y="27594"/>
                        <a:pt x="11368" y="26348"/>
                      </a:cubicBezTo>
                      <a:cubicBezTo>
                        <a:pt x="4019" y="25227"/>
                        <a:pt x="-964" y="18376"/>
                        <a:pt x="157"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1" name="Freeform 8277">
                  <a:extLst>
                    <a:ext uri="{FF2B5EF4-FFF2-40B4-BE49-F238E27FC236}">
                      <a16:creationId xmlns:a16="http://schemas.microsoft.com/office/drawing/2014/main" id="{DBE41100-092F-6F64-091B-11B400683D11}"/>
                    </a:ext>
                  </a:extLst>
                </p:cNvPr>
                <p:cNvSpPr/>
                <p:nvPr/>
              </p:nvSpPr>
              <p:spPr>
                <a:xfrm>
                  <a:off x="4254765" y="1744006"/>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2" y="7598"/>
                        <a:pt x="4111" y="13826"/>
                        <a:pt x="3861" y="18185"/>
                      </a:cubicBezTo>
                      <a:cubicBezTo>
                        <a:pt x="3612" y="25161"/>
                        <a:pt x="5232" y="28524"/>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2" name="Freeform 8278">
                  <a:extLst>
                    <a:ext uri="{FF2B5EF4-FFF2-40B4-BE49-F238E27FC236}">
                      <a16:creationId xmlns:a16="http://schemas.microsoft.com/office/drawing/2014/main" id="{AEEAD5E0-CAA6-817B-6A94-C83C29A494F5}"/>
                    </a:ext>
                  </a:extLst>
                </p:cNvPr>
                <p:cNvSpPr/>
                <p:nvPr/>
              </p:nvSpPr>
              <p:spPr>
                <a:xfrm>
                  <a:off x="4263281" y="1740145"/>
                  <a:ext cx="8408" cy="51691"/>
                </a:xfrm>
                <a:custGeom>
                  <a:avLst/>
                  <a:gdLst>
                    <a:gd name="connsiteX0" fmla="*/ 577 w 8408"/>
                    <a:gd name="connsiteY0" fmla="*/ 51691 h 51691"/>
                    <a:gd name="connsiteX1" fmla="*/ 1449 w 8408"/>
                    <a:gd name="connsiteY1" fmla="*/ 32883 h 51691"/>
                    <a:gd name="connsiteX2" fmla="*/ 7427 w 8408"/>
                    <a:gd name="connsiteY2" fmla="*/ 16566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566"/>
                      </a:cubicBezTo>
                      <a:cubicBezTo>
                        <a:pt x="8922" y="9840"/>
                        <a:pt x="8424" y="3986"/>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63" name="Freeform 8279">
                  <a:extLst>
                    <a:ext uri="{FF2B5EF4-FFF2-40B4-BE49-F238E27FC236}">
                      <a16:creationId xmlns:a16="http://schemas.microsoft.com/office/drawing/2014/main" id="{2D391649-C02F-D384-638F-6B8A758DBBAF}"/>
                    </a:ext>
                  </a:extLst>
                </p:cNvPr>
                <p:cNvSpPr/>
                <p:nvPr/>
              </p:nvSpPr>
              <p:spPr>
                <a:xfrm>
                  <a:off x="4254978" y="1724259"/>
                  <a:ext cx="26353" cy="26539"/>
                </a:xfrm>
                <a:custGeom>
                  <a:avLst/>
                  <a:gdLst>
                    <a:gd name="connsiteX0" fmla="*/ 26193 w 26353"/>
                    <a:gd name="connsiteY0" fmla="*/ 15387 h 26539"/>
                    <a:gd name="connsiteX1" fmla="*/ 11122 w 26353"/>
                    <a:gd name="connsiteY1" fmla="*/ 26348 h 26539"/>
                    <a:gd name="connsiteX2" fmla="*/ 161 w 26353"/>
                    <a:gd name="connsiteY2" fmla="*/ 11152 h 26539"/>
                    <a:gd name="connsiteX3" fmla="*/ 15232 w 26353"/>
                    <a:gd name="connsiteY3" fmla="*/ 191 h 26539"/>
                    <a:gd name="connsiteX4" fmla="*/ 26193 w 26353"/>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538">
                      <a:moveTo>
                        <a:pt x="26193" y="15387"/>
                      </a:moveTo>
                      <a:cubicBezTo>
                        <a:pt x="25072" y="22611"/>
                        <a:pt x="18346" y="27594"/>
                        <a:pt x="11122" y="26348"/>
                      </a:cubicBezTo>
                      <a:cubicBezTo>
                        <a:pt x="3898" y="25227"/>
                        <a:pt x="-960" y="18376"/>
                        <a:pt x="161" y="11152"/>
                      </a:cubicBezTo>
                      <a:cubicBezTo>
                        <a:pt x="1282" y="3928"/>
                        <a:pt x="8008" y="-1055"/>
                        <a:pt x="15232" y="191"/>
                      </a:cubicBezTo>
                      <a:cubicBezTo>
                        <a:pt x="22457" y="1437"/>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0" name="Graphic 2987">
                <a:extLst>
                  <a:ext uri="{FF2B5EF4-FFF2-40B4-BE49-F238E27FC236}">
                    <a16:creationId xmlns:a16="http://schemas.microsoft.com/office/drawing/2014/main" id="{D7799FE7-FD6B-B34F-D231-068B052DDE81}"/>
                  </a:ext>
                </a:extLst>
              </p:cNvPr>
              <p:cNvGrpSpPr/>
              <p:nvPr/>
            </p:nvGrpSpPr>
            <p:grpSpPr>
              <a:xfrm>
                <a:off x="4206529" y="1719651"/>
                <a:ext cx="45657" cy="147484"/>
                <a:chOff x="4206529" y="1719651"/>
                <a:chExt cx="45657" cy="147484"/>
              </a:xfrm>
              <a:grpFill/>
            </p:grpSpPr>
            <p:sp>
              <p:nvSpPr>
                <p:cNvPr id="5952" name="Freeform 8281">
                  <a:extLst>
                    <a:ext uri="{FF2B5EF4-FFF2-40B4-BE49-F238E27FC236}">
                      <a16:creationId xmlns:a16="http://schemas.microsoft.com/office/drawing/2014/main" id="{D1784B76-6F59-F248-3879-12F65AF17348}"/>
                    </a:ext>
                  </a:extLst>
                </p:cNvPr>
                <p:cNvSpPr/>
                <p:nvPr/>
              </p:nvSpPr>
              <p:spPr>
                <a:xfrm>
                  <a:off x="4224622" y="1795947"/>
                  <a:ext cx="8843" cy="51442"/>
                </a:xfrm>
                <a:custGeom>
                  <a:avLst/>
                  <a:gdLst>
                    <a:gd name="connsiteX0" fmla="*/ 0 w 8843"/>
                    <a:gd name="connsiteY0" fmla="*/ 51442 h 51442"/>
                    <a:gd name="connsiteX1" fmla="*/ 4858 w 8843"/>
                    <a:gd name="connsiteY1" fmla="*/ 33257 h 51442"/>
                    <a:gd name="connsiteX2" fmla="*/ 4110 w 8843"/>
                    <a:gd name="connsiteY2" fmla="*/ 15819 h 51442"/>
                    <a:gd name="connsiteX3" fmla="*/ 8843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0" y="51442"/>
                      </a:moveTo>
                      <a:cubicBezTo>
                        <a:pt x="3737" y="43844"/>
                        <a:pt x="4733" y="37616"/>
                        <a:pt x="4858" y="33257"/>
                      </a:cubicBezTo>
                      <a:cubicBezTo>
                        <a:pt x="5231" y="26282"/>
                        <a:pt x="3488" y="22919"/>
                        <a:pt x="4110" y="15819"/>
                      </a:cubicBezTo>
                      <a:cubicBezTo>
                        <a:pt x="4733" y="8968"/>
                        <a:pt x="6975" y="3488"/>
                        <a:pt x="8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3" name="Freeform 8282">
                  <a:extLst>
                    <a:ext uri="{FF2B5EF4-FFF2-40B4-BE49-F238E27FC236}">
                      <a16:creationId xmlns:a16="http://schemas.microsoft.com/office/drawing/2014/main" id="{E4C8FA46-4DF0-7203-4B21-500F9C2C747E}"/>
                    </a:ext>
                  </a:extLst>
                </p:cNvPr>
                <p:cNvSpPr/>
                <p:nvPr/>
              </p:nvSpPr>
              <p:spPr>
                <a:xfrm>
                  <a:off x="4216074" y="1799683"/>
                  <a:ext cx="8721" cy="51566"/>
                </a:xfrm>
                <a:custGeom>
                  <a:avLst/>
                  <a:gdLst>
                    <a:gd name="connsiteX0" fmla="*/ 8175 w 8721"/>
                    <a:gd name="connsiteY0" fmla="*/ 0 h 51566"/>
                    <a:gd name="connsiteX1" fmla="*/ 7178 w 8721"/>
                    <a:gd name="connsiteY1" fmla="*/ 18808 h 51566"/>
                    <a:gd name="connsiteX2" fmla="*/ 1075 w 8721"/>
                    <a:gd name="connsiteY2" fmla="*/ 35125 h 51566"/>
                    <a:gd name="connsiteX3" fmla="*/ 701 w 87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721" h="51566">
                      <a:moveTo>
                        <a:pt x="8175" y="0"/>
                      </a:moveTo>
                      <a:cubicBezTo>
                        <a:pt x="9420" y="8345"/>
                        <a:pt x="8299" y="14573"/>
                        <a:pt x="7178" y="18808"/>
                      </a:cubicBezTo>
                      <a:cubicBezTo>
                        <a:pt x="5310" y="25534"/>
                        <a:pt x="2694" y="28275"/>
                        <a:pt x="1075" y="35125"/>
                      </a:cubicBezTo>
                      <a:cubicBezTo>
                        <a:pt x="-544" y="41851"/>
                        <a:pt x="-46" y="47706"/>
                        <a:pt x="7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4" name="Freeform 8283">
                  <a:extLst>
                    <a:ext uri="{FF2B5EF4-FFF2-40B4-BE49-F238E27FC236}">
                      <a16:creationId xmlns:a16="http://schemas.microsoft.com/office/drawing/2014/main" id="{3BC38142-DC55-7E33-68B1-4B98387FD636}"/>
                    </a:ext>
                  </a:extLst>
                </p:cNvPr>
                <p:cNvSpPr/>
                <p:nvPr/>
              </p:nvSpPr>
              <p:spPr>
                <a:xfrm>
                  <a:off x="4206529" y="1840596"/>
                  <a:ext cx="26596" cy="26539"/>
                </a:xfrm>
                <a:custGeom>
                  <a:avLst/>
                  <a:gdLst>
                    <a:gd name="connsiteX0" fmla="*/ 158 w 26596"/>
                    <a:gd name="connsiteY0" fmla="*/ 11152 h 26539"/>
                    <a:gd name="connsiteX1" fmla="*/ 15354 w 26596"/>
                    <a:gd name="connsiteY1" fmla="*/ 191 h 26539"/>
                    <a:gd name="connsiteX2" fmla="*/ 26439 w 26596"/>
                    <a:gd name="connsiteY2" fmla="*/ 15387 h 26539"/>
                    <a:gd name="connsiteX3" fmla="*/ 11243 w 26596"/>
                    <a:gd name="connsiteY3" fmla="*/ 26348 h 26539"/>
                    <a:gd name="connsiteX4" fmla="*/ 158 w 26596"/>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38">
                      <a:moveTo>
                        <a:pt x="158" y="11152"/>
                      </a:moveTo>
                      <a:cubicBezTo>
                        <a:pt x="1279" y="3928"/>
                        <a:pt x="8129" y="-1055"/>
                        <a:pt x="15354" y="191"/>
                      </a:cubicBezTo>
                      <a:cubicBezTo>
                        <a:pt x="22578" y="1437"/>
                        <a:pt x="27560" y="8163"/>
                        <a:pt x="26439" y="15387"/>
                      </a:cubicBezTo>
                      <a:cubicBezTo>
                        <a:pt x="25318" y="22611"/>
                        <a:pt x="18468" y="27594"/>
                        <a:pt x="11243" y="26348"/>
                      </a:cubicBezTo>
                      <a:cubicBezTo>
                        <a:pt x="4019" y="25103"/>
                        <a:pt x="-963" y="18376"/>
                        <a:pt x="158"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5" name="Freeform 8284">
                  <a:extLst>
                    <a:ext uri="{FF2B5EF4-FFF2-40B4-BE49-F238E27FC236}">
                      <a16:creationId xmlns:a16="http://schemas.microsoft.com/office/drawing/2014/main" id="{6C8F59CB-3C78-9689-9407-AEC736BFDECA}"/>
                    </a:ext>
                  </a:extLst>
                </p:cNvPr>
                <p:cNvSpPr/>
                <p:nvPr/>
              </p:nvSpPr>
              <p:spPr>
                <a:xfrm>
                  <a:off x="4225494" y="1739397"/>
                  <a:ext cx="8843" cy="51442"/>
                </a:xfrm>
                <a:custGeom>
                  <a:avLst/>
                  <a:gdLst>
                    <a:gd name="connsiteX0" fmla="*/ 8844 w 8843"/>
                    <a:gd name="connsiteY0" fmla="*/ 0 h 51442"/>
                    <a:gd name="connsiteX1" fmla="*/ 3986 w 8843"/>
                    <a:gd name="connsiteY1" fmla="*/ 18185 h 51442"/>
                    <a:gd name="connsiteX2" fmla="*/ 4733 w 8843"/>
                    <a:gd name="connsiteY2" fmla="*/ 35624 h 51442"/>
                    <a:gd name="connsiteX3" fmla="*/ 0 w 884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0"/>
                      </a:moveTo>
                      <a:cubicBezTo>
                        <a:pt x="5107" y="7598"/>
                        <a:pt x="4111" y="13826"/>
                        <a:pt x="3986" y="18185"/>
                      </a:cubicBezTo>
                      <a:cubicBezTo>
                        <a:pt x="3612" y="25161"/>
                        <a:pt x="5232" y="28524"/>
                        <a:pt x="4733" y="35624"/>
                      </a:cubicBezTo>
                      <a:cubicBezTo>
                        <a:pt x="4111" y="42474"/>
                        <a:pt x="1869"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6" name="Freeform 8285">
                  <a:extLst>
                    <a:ext uri="{FF2B5EF4-FFF2-40B4-BE49-F238E27FC236}">
                      <a16:creationId xmlns:a16="http://schemas.microsoft.com/office/drawing/2014/main" id="{AC2EBFF5-E7A5-5A4B-A77F-ECC8D5553D3D}"/>
                    </a:ext>
                  </a:extLst>
                </p:cNvPr>
                <p:cNvSpPr/>
                <p:nvPr/>
              </p:nvSpPr>
              <p:spPr>
                <a:xfrm>
                  <a:off x="4234040" y="1735536"/>
                  <a:ext cx="8596" cy="51566"/>
                </a:xfrm>
                <a:custGeom>
                  <a:avLst/>
                  <a:gdLst>
                    <a:gd name="connsiteX0" fmla="*/ 547 w 8596"/>
                    <a:gd name="connsiteY0" fmla="*/ 51567 h 51566"/>
                    <a:gd name="connsiteX1" fmla="*/ 1543 w 8596"/>
                    <a:gd name="connsiteY1" fmla="*/ 32759 h 51566"/>
                    <a:gd name="connsiteX2" fmla="*/ 7522 w 8596"/>
                    <a:gd name="connsiteY2" fmla="*/ 16442 h 51566"/>
                    <a:gd name="connsiteX3" fmla="*/ 7896 w 8596"/>
                    <a:gd name="connsiteY3" fmla="*/ 0 h 51566"/>
                  </a:gdLst>
                  <a:ahLst/>
                  <a:cxnLst>
                    <a:cxn ang="0">
                      <a:pos x="connsiteX0" y="connsiteY0"/>
                    </a:cxn>
                    <a:cxn ang="0">
                      <a:pos x="connsiteX1" y="connsiteY1"/>
                    </a:cxn>
                    <a:cxn ang="0">
                      <a:pos x="connsiteX2" y="connsiteY2"/>
                    </a:cxn>
                    <a:cxn ang="0">
                      <a:pos x="connsiteX3" y="connsiteY3"/>
                    </a:cxn>
                  </a:cxnLst>
                  <a:rect l="l" t="t" r="r" b="b"/>
                  <a:pathLst>
                    <a:path w="8596" h="51566">
                      <a:moveTo>
                        <a:pt x="547" y="51567"/>
                      </a:moveTo>
                      <a:cubicBezTo>
                        <a:pt x="-699" y="43221"/>
                        <a:pt x="422" y="36994"/>
                        <a:pt x="1543" y="32759"/>
                      </a:cubicBezTo>
                      <a:cubicBezTo>
                        <a:pt x="3412" y="26033"/>
                        <a:pt x="6027" y="23292"/>
                        <a:pt x="7522" y="16442"/>
                      </a:cubicBezTo>
                      <a:cubicBezTo>
                        <a:pt x="9141" y="9715"/>
                        <a:pt x="8643" y="3861"/>
                        <a:pt x="78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7" name="Freeform 8286">
                  <a:extLst>
                    <a:ext uri="{FF2B5EF4-FFF2-40B4-BE49-F238E27FC236}">
                      <a16:creationId xmlns:a16="http://schemas.microsoft.com/office/drawing/2014/main" id="{EAA06035-C9FF-A36C-ECB3-AF616D48DD98}"/>
                    </a:ext>
                  </a:extLst>
                </p:cNvPr>
                <p:cNvSpPr/>
                <p:nvPr/>
              </p:nvSpPr>
              <p:spPr>
                <a:xfrm>
                  <a:off x="4225832" y="1719651"/>
                  <a:ext cx="26354" cy="26539"/>
                </a:xfrm>
                <a:custGeom>
                  <a:avLst/>
                  <a:gdLst>
                    <a:gd name="connsiteX0" fmla="*/ 26193 w 26354"/>
                    <a:gd name="connsiteY0" fmla="*/ 15387 h 26539"/>
                    <a:gd name="connsiteX1" fmla="*/ 11122 w 26354"/>
                    <a:gd name="connsiteY1" fmla="*/ 26348 h 26539"/>
                    <a:gd name="connsiteX2" fmla="*/ 161 w 26354"/>
                    <a:gd name="connsiteY2" fmla="*/ 11152 h 26539"/>
                    <a:gd name="connsiteX3" fmla="*/ 15232 w 26354"/>
                    <a:gd name="connsiteY3" fmla="*/ 191 h 26539"/>
                    <a:gd name="connsiteX4" fmla="*/ 26193 w 26354"/>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26193" y="15387"/>
                      </a:moveTo>
                      <a:cubicBezTo>
                        <a:pt x="25072" y="22611"/>
                        <a:pt x="18346" y="27594"/>
                        <a:pt x="11122" y="26348"/>
                      </a:cubicBezTo>
                      <a:cubicBezTo>
                        <a:pt x="3897" y="25227"/>
                        <a:pt x="-960" y="18376"/>
                        <a:pt x="161" y="11152"/>
                      </a:cubicBezTo>
                      <a:cubicBezTo>
                        <a:pt x="1282" y="3928"/>
                        <a:pt x="8133" y="-1055"/>
                        <a:pt x="15232" y="191"/>
                      </a:cubicBezTo>
                      <a:cubicBezTo>
                        <a:pt x="22457" y="1312"/>
                        <a:pt x="27314" y="8163"/>
                        <a:pt x="26193"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1" name="Graphic 2987">
                <a:extLst>
                  <a:ext uri="{FF2B5EF4-FFF2-40B4-BE49-F238E27FC236}">
                    <a16:creationId xmlns:a16="http://schemas.microsoft.com/office/drawing/2014/main" id="{3D515917-D489-F14C-B490-05404E7E3220}"/>
                  </a:ext>
                </a:extLst>
              </p:cNvPr>
              <p:cNvGrpSpPr/>
              <p:nvPr/>
            </p:nvGrpSpPr>
            <p:grpSpPr>
              <a:xfrm>
                <a:off x="4177099" y="1715042"/>
                <a:ext cx="46064" cy="147360"/>
                <a:chOff x="4177099" y="1715042"/>
                <a:chExt cx="46064" cy="147360"/>
              </a:xfrm>
              <a:grpFill/>
            </p:grpSpPr>
            <p:sp>
              <p:nvSpPr>
                <p:cNvPr id="5946" name="Freeform 8288">
                  <a:extLst>
                    <a:ext uri="{FF2B5EF4-FFF2-40B4-BE49-F238E27FC236}">
                      <a16:creationId xmlns:a16="http://schemas.microsoft.com/office/drawing/2014/main" id="{09066439-0EF4-732B-F385-ACF17BE90094}"/>
                    </a:ext>
                  </a:extLst>
                </p:cNvPr>
                <p:cNvSpPr/>
                <p:nvPr/>
              </p:nvSpPr>
              <p:spPr>
                <a:xfrm>
                  <a:off x="4195102" y="1791338"/>
                  <a:ext cx="9092" cy="51442"/>
                </a:xfrm>
                <a:custGeom>
                  <a:avLst/>
                  <a:gdLst>
                    <a:gd name="connsiteX0" fmla="*/ 0 w 9092"/>
                    <a:gd name="connsiteY0" fmla="*/ 51442 h 51442"/>
                    <a:gd name="connsiteX1" fmla="*/ 4983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3" y="33257"/>
                      </a:cubicBezTo>
                      <a:cubicBezTo>
                        <a:pt x="5356" y="26282"/>
                        <a:pt x="3737" y="22919"/>
                        <a:pt x="4360" y="15819"/>
                      </a:cubicBezTo>
                      <a:cubicBezTo>
                        <a:pt x="4983" y="8968"/>
                        <a:pt x="7225"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7" name="Freeform 8289">
                  <a:extLst>
                    <a:ext uri="{FF2B5EF4-FFF2-40B4-BE49-F238E27FC236}">
                      <a16:creationId xmlns:a16="http://schemas.microsoft.com/office/drawing/2014/main" id="{540CF8D9-E2FA-914A-0819-6E2A57B0718E}"/>
                    </a:ext>
                  </a:extLst>
                </p:cNvPr>
                <p:cNvSpPr/>
                <p:nvPr/>
              </p:nvSpPr>
              <p:spPr>
                <a:xfrm>
                  <a:off x="4186788" y="1795075"/>
                  <a:ext cx="8681" cy="51566"/>
                </a:xfrm>
                <a:custGeom>
                  <a:avLst/>
                  <a:gdLst>
                    <a:gd name="connsiteX0" fmla="*/ 8190 w 8681"/>
                    <a:gd name="connsiteY0" fmla="*/ 0 h 51566"/>
                    <a:gd name="connsiteX1" fmla="*/ 7193 w 8681"/>
                    <a:gd name="connsiteY1" fmla="*/ 18808 h 51566"/>
                    <a:gd name="connsiteX2" fmla="*/ 1090 w 8681"/>
                    <a:gd name="connsiteY2" fmla="*/ 35125 h 51566"/>
                    <a:gd name="connsiteX3" fmla="*/ 592 w 868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0"/>
                      </a:moveTo>
                      <a:cubicBezTo>
                        <a:pt x="9311" y="8345"/>
                        <a:pt x="8314" y="14573"/>
                        <a:pt x="7193" y="18808"/>
                      </a:cubicBezTo>
                      <a:cubicBezTo>
                        <a:pt x="5325" y="25534"/>
                        <a:pt x="2709"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8" name="Freeform 8290">
                  <a:extLst>
                    <a:ext uri="{FF2B5EF4-FFF2-40B4-BE49-F238E27FC236}">
                      <a16:creationId xmlns:a16="http://schemas.microsoft.com/office/drawing/2014/main" id="{C590BDB7-C59D-2EE9-BCEC-0773C4A0CA3D}"/>
                    </a:ext>
                  </a:extLst>
                </p:cNvPr>
                <p:cNvSpPr/>
                <p:nvPr/>
              </p:nvSpPr>
              <p:spPr>
                <a:xfrm>
                  <a:off x="4177099" y="1835893"/>
                  <a:ext cx="26754" cy="26508"/>
                </a:xfrm>
                <a:custGeom>
                  <a:avLst/>
                  <a:gdLst>
                    <a:gd name="connsiteX0" fmla="*/ 191 w 26754"/>
                    <a:gd name="connsiteY0" fmla="*/ 11122 h 26508"/>
                    <a:gd name="connsiteX1" fmla="*/ 15512 w 26754"/>
                    <a:gd name="connsiteY1" fmla="*/ 161 h 26508"/>
                    <a:gd name="connsiteX2" fmla="*/ 26597 w 26754"/>
                    <a:gd name="connsiteY2" fmla="*/ 15357 h 26508"/>
                    <a:gd name="connsiteX3" fmla="*/ 11277 w 26754"/>
                    <a:gd name="connsiteY3" fmla="*/ 26318 h 26508"/>
                    <a:gd name="connsiteX4" fmla="*/ 191 w 26754"/>
                    <a:gd name="connsiteY4" fmla="*/ 1112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508">
                      <a:moveTo>
                        <a:pt x="191" y="11122"/>
                      </a:moveTo>
                      <a:cubicBezTo>
                        <a:pt x="1312" y="3897"/>
                        <a:pt x="8163" y="-960"/>
                        <a:pt x="15512" y="161"/>
                      </a:cubicBezTo>
                      <a:cubicBezTo>
                        <a:pt x="22736" y="1282"/>
                        <a:pt x="27718" y="8132"/>
                        <a:pt x="26597" y="15357"/>
                      </a:cubicBezTo>
                      <a:cubicBezTo>
                        <a:pt x="25476" y="22581"/>
                        <a:pt x="18626" y="27563"/>
                        <a:pt x="11277" y="26318"/>
                      </a:cubicBezTo>
                      <a:cubicBezTo>
                        <a:pt x="3928" y="25197"/>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9" name="Freeform 8291">
                  <a:extLst>
                    <a:ext uri="{FF2B5EF4-FFF2-40B4-BE49-F238E27FC236}">
                      <a16:creationId xmlns:a16="http://schemas.microsoft.com/office/drawing/2014/main" id="{BF15ACDC-20A3-4592-EB55-9DB57FC1A293}"/>
                    </a:ext>
                  </a:extLst>
                </p:cNvPr>
                <p:cNvSpPr/>
                <p:nvPr/>
              </p:nvSpPr>
              <p:spPr>
                <a:xfrm>
                  <a:off x="4196099" y="1734789"/>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0" name="Freeform 8292">
                  <a:extLst>
                    <a:ext uri="{FF2B5EF4-FFF2-40B4-BE49-F238E27FC236}">
                      <a16:creationId xmlns:a16="http://schemas.microsoft.com/office/drawing/2014/main" id="{E5C7B933-1064-61B5-4687-97F122F70930}"/>
                    </a:ext>
                  </a:extLst>
                </p:cNvPr>
                <p:cNvSpPr/>
                <p:nvPr/>
              </p:nvSpPr>
              <p:spPr>
                <a:xfrm>
                  <a:off x="4204824" y="1730927"/>
                  <a:ext cx="8681" cy="51566"/>
                </a:xfrm>
                <a:custGeom>
                  <a:avLst/>
                  <a:gdLst>
                    <a:gd name="connsiteX0" fmla="*/ 491 w 8681"/>
                    <a:gd name="connsiteY0" fmla="*/ 51567 h 51566"/>
                    <a:gd name="connsiteX1" fmla="*/ 1488 w 8681"/>
                    <a:gd name="connsiteY1" fmla="*/ 32759 h 51566"/>
                    <a:gd name="connsiteX2" fmla="*/ 7591 w 8681"/>
                    <a:gd name="connsiteY2" fmla="*/ 16442 h 51566"/>
                    <a:gd name="connsiteX3" fmla="*/ 8090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1" y="51567"/>
                      </a:moveTo>
                      <a:cubicBezTo>
                        <a:pt x="-630" y="43222"/>
                        <a:pt x="367" y="36994"/>
                        <a:pt x="1488" y="32759"/>
                      </a:cubicBezTo>
                      <a:cubicBezTo>
                        <a:pt x="3356" y="26033"/>
                        <a:pt x="5972" y="23292"/>
                        <a:pt x="7591" y="16442"/>
                      </a:cubicBezTo>
                      <a:cubicBezTo>
                        <a:pt x="9211" y="9716"/>
                        <a:pt x="8712" y="3861"/>
                        <a:pt x="80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51" name="Freeform 8293">
                  <a:extLst>
                    <a:ext uri="{FF2B5EF4-FFF2-40B4-BE49-F238E27FC236}">
                      <a16:creationId xmlns:a16="http://schemas.microsoft.com/office/drawing/2014/main" id="{B7B3D0FF-C4EE-2E9C-5344-D7C93D1D1167}"/>
                    </a:ext>
                  </a:extLst>
                </p:cNvPr>
                <p:cNvSpPr/>
                <p:nvPr/>
              </p:nvSpPr>
              <p:spPr>
                <a:xfrm>
                  <a:off x="4196685" y="1715042"/>
                  <a:ext cx="26478" cy="26539"/>
                </a:xfrm>
                <a:custGeom>
                  <a:avLst/>
                  <a:gdLst>
                    <a:gd name="connsiteX0" fmla="*/ 26318 w 26478"/>
                    <a:gd name="connsiteY0" fmla="*/ 15387 h 26539"/>
                    <a:gd name="connsiteX1" fmla="*/ 11122 w 26478"/>
                    <a:gd name="connsiteY1" fmla="*/ 26348 h 26539"/>
                    <a:gd name="connsiteX2" fmla="*/ 161 w 26478"/>
                    <a:gd name="connsiteY2" fmla="*/ 11152 h 26539"/>
                    <a:gd name="connsiteX3" fmla="*/ 15357 w 26478"/>
                    <a:gd name="connsiteY3" fmla="*/ 191 h 26539"/>
                    <a:gd name="connsiteX4" fmla="*/ 26318 w 26478"/>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7" h="26538">
                      <a:moveTo>
                        <a:pt x="26318" y="15387"/>
                      </a:moveTo>
                      <a:cubicBezTo>
                        <a:pt x="25197" y="22611"/>
                        <a:pt x="18346" y="27594"/>
                        <a:pt x="11122" y="26348"/>
                      </a:cubicBezTo>
                      <a:cubicBezTo>
                        <a:pt x="3897" y="25227"/>
                        <a:pt x="-960" y="18376"/>
                        <a:pt x="161" y="11152"/>
                      </a:cubicBezTo>
                      <a:cubicBezTo>
                        <a:pt x="1282" y="3928"/>
                        <a:pt x="8132" y="-1055"/>
                        <a:pt x="15357" y="191"/>
                      </a:cubicBezTo>
                      <a:cubicBezTo>
                        <a:pt x="22581" y="1312"/>
                        <a:pt x="27439" y="8163"/>
                        <a:pt x="2631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2" name="Graphic 2987">
                <a:extLst>
                  <a:ext uri="{FF2B5EF4-FFF2-40B4-BE49-F238E27FC236}">
                    <a16:creationId xmlns:a16="http://schemas.microsoft.com/office/drawing/2014/main" id="{5F7B073F-EF7B-8F8C-5AB0-ADAA4C90F627}"/>
                  </a:ext>
                </a:extLst>
              </p:cNvPr>
              <p:cNvGrpSpPr/>
              <p:nvPr/>
            </p:nvGrpSpPr>
            <p:grpSpPr>
              <a:xfrm>
                <a:off x="4147579" y="1710434"/>
                <a:ext cx="46441" cy="147329"/>
                <a:chOff x="4147579" y="1710434"/>
                <a:chExt cx="46441" cy="147329"/>
              </a:xfrm>
              <a:grpFill/>
            </p:grpSpPr>
            <p:sp>
              <p:nvSpPr>
                <p:cNvPr id="5940" name="Freeform 8295">
                  <a:extLst>
                    <a:ext uri="{FF2B5EF4-FFF2-40B4-BE49-F238E27FC236}">
                      <a16:creationId xmlns:a16="http://schemas.microsoft.com/office/drawing/2014/main" id="{C63F9D84-444F-17A0-345A-8DBD4D24E023}"/>
                    </a:ext>
                  </a:extLst>
                </p:cNvPr>
                <p:cNvSpPr/>
                <p:nvPr/>
              </p:nvSpPr>
              <p:spPr>
                <a:xfrm>
                  <a:off x="4165706" y="1786605"/>
                  <a:ext cx="9092" cy="51442"/>
                </a:xfrm>
                <a:custGeom>
                  <a:avLst/>
                  <a:gdLst>
                    <a:gd name="connsiteX0" fmla="*/ 0 w 9092"/>
                    <a:gd name="connsiteY0" fmla="*/ 51442 h 51442"/>
                    <a:gd name="connsiteX1" fmla="*/ 4982 w 9092"/>
                    <a:gd name="connsiteY1" fmla="*/ 33257 h 51442"/>
                    <a:gd name="connsiteX2" fmla="*/ 4360 w 9092"/>
                    <a:gd name="connsiteY2" fmla="*/ 15819 h 51442"/>
                    <a:gd name="connsiteX3" fmla="*/ 9093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4"/>
                        <a:pt x="4733" y="37616"/>
                        <a:pt x="4982" y="33257"/>
                      </a:cubicBezTo>
                      <a:cubicBezTo>
                        <a:pt x="5356" y="26282"/>
                        <a:pt x="3737" y="22919"/>
                        <a:pt x="4360" y="15819"/>
                      </a:cubicBezTo>
                      <a:cubicBezTo>
                        <a:pt x="4982" y="8968"/>
                        <a:pt x="7349" y="3488"/>
                        <a:pt x="90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1" name="Freeform 8296">
                  <a:extLst>
                    <a:ext uri="{FF2B5EF4-FFF2-40B4-BE49-F238E27FC236}">
                      <a16:creationId xmlns:a16="http://schemas.microsoft.com/office/drawing/2014/main" id="{B61A05B1-3F92-D739-D518-A01E8A55FDF1}"/>
                    </a:ext>
                  </a:extLst>
                </p:cNvPr>
                <p:cNvSpPr/>
                <p:nvPr/>
              </p:nvSpPr>
              <p:spPr>
                <a:xfrm>
                  <a:off x="4157268" y="1790341"/>
                  <a:ext cx="8926" cy="51566"/>
                </a:xfrm>
                <a:custGeom>
                  <a:avLst/>
                  <a:gdLst>
                    <a:gd name="connsiteX0" fmla="*/ 8439 w 8926"/>
                    <a:gd name="connsiteY0" fmla="*/ 0 h 51566"/>
                    <a:gd name="connsiteX1" fmla="*/ 7318 w 8926"/>
                    <a:gd name="connsiteY1" fmla="*/ 18808 h 51566"/>
                    <a:gd name="connsiteX2" fmla="*/ 1090 w 8926"/>
                    <a:gd name="connsiteY2" fmla="*/ 35125 h 51566"/>
                    <a:gd name="connsiteX3" fmla="*/ 592 w 892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26" h="51566">
                      <a:moveTo>
                        <a:pt x="8439" y="0"/>
                      </a:moveTo>
                      <a:cubicBezTo>
                        <a:pt x="9560" y="8345"/>
                        <a:pt x="8563" y="14573"/>
                        <a:pt x="7318" y="18808"/>
                      </a:cubicBezTo>
                      <a:cubicBezTo>
                        <a:pt x="5449" y="25534"/>
                        <a:pt x="2834" y="28275"/>
                        <a:pt x="1090" y="35125"/>
                      </a:cubicBezTo>
                      <a:cubicBezTo>
                        <a:pt x="-529" y="41851"/>
                        <a:pt x="-31" y="47706"/>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2" name="Freeform 8297">
                  <a:extLst>
                    <a:ext uri="{FF2B5EF4-FFF2-40B4-BE49-F238E27FC236}">
                      <a16:creationId xmlns:a16="http://schemas.microsoft.com/office/drawing/2014/main" id="{E78A8A84-3B7E-9F49-AB84-43460BD0BC33}"/>
                    </a:ext>
                  </a:extLst>
                </p:cNvPr>
                <p:cNvSpPr/>
                <p:nvPr/>
              </p:nvSpPr>
              <p:spPr>
                <a:xfrm>
                  <a:off x="4147579" y="1831285"/>
                  <a:ext cx="26754" cy="26478"/>
                </a:xfrm>
                <a:custGeom>
                  <a:avLst/>
                  <a:gdLst>
                    <a:gd name="connsiteX0" fmla="*/ 191 w 26754"/>
                    <a:gd name="connsiteY0" fmla="*/ 11122 h 26478"/>
                    <a:gd name="connsiteX1" fmla="*/ 15512 w 26754"/>
                    <a:gd name="connsiteY1" fmla="*/ 161 h 26478"/>
                    <a:gd name="connsiteX2" fmla="*/ 26597 w 26754"/>
                    <a:gd name="connsiteY2" fmla="*/ 15357 h 26478"/>
                    <a:gd name="connsiteX3" fmla="*/ 11277 w 26754"/>
                    <a:gd name="connsiteY3" fmla="*/ 26318 h 26478"/>
                    <a:gd name="connsiteX4" fmla="*/ 191 w 26754"/>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191" y="11122"/>
                      </a:moveTo>
                      <a:cubicBezTo>
                        <a:pt x="1437" y="3897"/>
                        <a:pt x="8287" y="-960"/>
                        <a:pt x="15512" y="161"/>
                      </a:cubicBezTo>
                      <a:cubicBezTo>
                        <a:pt x="22736" y="1282"/>
                        <a:pt x="27718" y="8132"/>
                        <a:pt x="26597" y="15357"/>
                      </a:cubicBezTo>
                      <a:cubicBezTo>
                        <a:pt x="25476" y="22581"/>
                        <a:pt x="18501" y="27439"/>
                        <a:pt x="11277" y="26318"/>
                      </a:cubicBezTo>
                      <a:cubicBezTo>
                        <a:pt x="3927" y="25072"/>
                        <a:pt x="-1055" y="18346"/>
                        <a:pt x="19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3" name="Freeform 8298">
                  <a:extLst>
                    <a:ext uri="{FF2B5EF4-FFF2-40B4-BE49-F238E27FC236}">
                      <a16:creationId xmlns:a16="http://schemas.microsoft.com/office/drawing/2014/main" id="{83B34598-6405-0B6B-8A9D-0F3A06937943}"/>
                    </a:ext>
                  </a:extLst>
                </p:cNvPr>
                <p:cNvSpPr/>
                <p:nvPr/>
              </p:nvSpPr>
              <p:spPr>
                <a:xfrm>
                  <a:off x="4166952" y="1730056"/>
                  <a:ext cx="9092" cy="51442"/>
                </a:xfrm>
                <a:custGeom>
                  <a:avLst/>
                  <a:gdLst>
                    <a:gd name="connsiteX0" fmla="*/ 9092 w 9092"/>
                    <a:gd name="connsiteY0" fmla="*/ 0 h 51442"/>
                    <a:gd name="connsiteX1" fmla="*/ 4110 w 9092"/>
                    <a:gd name="connsiteY1" fmla="*/ 18185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598"/>
                        <a:pt x="4360" y="13826"/>
                        <a:pt x="4110" y="18185"/>
                      </a:cubicBezTo>
                      <a:cubicBezTo>
                        <a:pt x="3737" y="25161"/>
                        <a:pt x="5356" y="28524"/>
                        <a:pt x="4733" y="35624"/>
                      </a:cubicBezTo>
                      <a:cubicBezTo>
                        <a:pt x="4110"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4" name="Freeform 8299">
                  <a:extLst>
                    <a:ext uri="{FF2B5EF4-FFF2-40B4-BE49-F238E27FC236}">
                      <a16:creationId xmlns:a16="http://schemas.microsoft.com/office/drawing/2014/main" id="{2080107C-A9FC-5BF0-25AE-1441D376BD7E}"/>
                    </a:ext>
                  </a:extLst>
                </p:cNvPr>
                <p:cNvSpPr/>
                <p:nvPr/>
              </p:nvSpPr>
              <p:spPr>
                <a:xfrm>
                  <a:off x="4175557" y="1726194"/>
                  <a:ext cx="8802" cy="51566"/>
                </a:xfrm>
                <a:custGeom>
                  <a:avLst/>
                  <a:gdLst>
                    <a:gd name="connsiteX0" fmla="*/ 488 w 8802"/>
                    <a:gd name="connsiteY0" fmla="*/ 51567 h 51566"/>
                    <a:gd name="connsiteX1" fmla="*/ 1609 w 8802"/>
                    <a:gd name="connsiteY1" fmla="*/ 32759 h 51566"/>
                    <a:gd name="connsiteX2" fmla="*/ 7712 w 8802"/>
                    <a:gd name="connsiteY2" fmla="*/ 16442 h 51566"/>
                    <a:gd name="connsiteX3" fmla="*/ 8211 w 8802"/>
                    <a:gd name="connsiteY3" fmla="*/ 0 h 51566"/>
                  </a:gdLst>
                  <a:ahLst/>
                  <a:cxnLst>
                    <a:cxn ang="0">
                      <a:pos x="connsiteX0" y="connsiteY0"/>
                    </a:cxn>
                    <a:cxn ang="0">
                      <a:pos x="connsiteX1" y="connsiteY1"/>
                    </a:cxn>
                    <a:cxn ang="0">
                      <a:pos x="connsiteX2" y="connsiteY2"/>
                    </a:cxn>
                    <a:cxn ang="0">
                      <a:pos x="connsiteX3" y="connsiteY3"/>
                    </a:cxn>
                  </a:cxnLst>
                  <a:rect l="l" t="t" r="r" b="b"/>
                  <a:pathLst>
                    <a:path w="8802" h="51566">
                      <a:moveTo>
                        <a:pt x="488" y="51567"/>
                      </a:moveTo>
                      <a:cubicBezTo>
                        <a:pt x="-633" y="43221"/>
                        <a:pt x="363" y="36994"/>
                        <a:pt x="1609" y="32759"/>
                      </a:cubicBezTo>
                      <a:cubicBezTo>
                        <a:pt x="3477" y="26033"/>
                        <a:pt x="6093" y="23292"/>
                        <a:pt x="7712" y="16442"/>
                      </a:cubicBezTo>
                      <a:cubicBezTo>
                        <a:pt x="9332" y="9715"/>
                        <a:pt x="8833" y="3861"/>
                        <a:pt x="82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45" name="Freeform 8300">
                  <a:extLst>
                    <a:ext uri="{FF2B5EF4-FFF2-40B4-BE49-F238E27FC236}">
                      <a16:creationId xmlns:a16="http://schemas.microsoft.com/office/drawing/2014/main" id="{318FC00A-4F9C-5D27-ED3B-6A6F2B9CF97E}"/>
                    </a:ext>
                  </a:extLst>
                </p:cNvPr>
                <p:cNvSpPr/>
                <p:nvPr/>
              </p:nvSpPr>
              <p:spPr>
                <a:xfrm>
                  <a:off x="4167629" y="1710434"/>
                  <a:ext cx="26391" cy="26539"/>
                </a:xfrm>
                <a:custGeom>
                  <a:avLst/>
                  <a:gdLst>
                    <a:gd name="connsiteX0" fmla="*/ 26228 w 26391"/>
                    <a:gd name="connsiteY0" fmla="*/ 15387 h 26539"/>
                    <a:gd name="connsiteX1" fmla="*/ 11032 w 26391"/>
                    <a:gd name="connsiteY1" fmla="*/ 26348 h 26539"/>
                    <a:gd name="connsiteX2" fmla="*/ 195 w 26391"/>
                    <a:gd name="connsiteY2" fmla="*/ 11152 h 26539"/>
                    <a:gd name="connsiteX3" fmla="*/ 15391 w 26391"/>
                    <a:gd name="connsiteY3" fmla="*/ 191 h 26539"/>
                    <a:gd name="connsiteX4" fmla="*/ 26228 w 26391"/>
                    <a:gd name="connsiteY4" fmla="*/ 15387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38">
                      <a:moveTo>
                        <a:pt x="26228" y="15387"/>
                      </a:moveTo>
                      <a:cubicBezTo>
                        <a:pt x="25106" y="22611"/>
                        <a:pt x="18256" y="27594"/>
                        <a:pt x="11032" y="26348"/>
                      </a:cubicBezTo>
                      <a:cubicBezTo>
                        <a:pt x="3807" y="25227"/>
                        <a:pt x="-1051" y="18376"/>
                        <a:pt x="195" y="11152"/>
                      </a:cubicBezTo>
                      <a:cubicBezTo>
                        <a:pt x="1440" y="3928"/>
                        <a:pt x="8167" y="-1055"/>
                        <a:pt x="15391" y="191"/>
                      </a:cubicBezTo>
                      <a:cubicBezTo>
                        <a:pt x="22615" y="1437"/>
                        <a:pt x="27349" y="8163"/>
                        <a:pt x="26228" y="153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3" name="Graphic 2987">
                <a:extLst>
                  <a:ext uri="{FF2B5EF4-FFF2-40B4-BE49-F238E27FC236}">
                    <a16:creationId xmlns:a16="http://schemas.microsoft.com/office/drawing/2014/main" id="{A0FF1DBA-B0AC-FC64-6FCC-FA4331DA6234}"/>
                  </a:ext>
                </a:extLst>
              </p:cNvPr>
              <p:cNvGrpSpPr/>
              <p:nvPr/>
            </p:nvGrpSpPr>
            <p:grpSpPr>
              <a:xfrm>
                <a:off x="4118089" y="1705731"/>
                <a:ext cx="46815" cy="147299"/>
                <a:chOff x="4118089" y="1705731"/>
                <a:chExt cx="46815" cy="147299"/>
              </a:xfrm>
              <a:grpFill/>
            </p:grpSpPr>
            <p:sp>
              <p:nvSpPr>
                <p:cNvPr id="5934" name="Freeform 8302">
                  <a:extLst>
                    <a:ext uri="{FF2B5EF4-FFF2-40B4-BE49-F238E27FC236}">
                      <a16:creationId xmlns:a16="http://schemas.microsoft.com/office/drawing/2014/main" id="{D3088AD1-D856-F8CA-D486-5C645E088432}"/>
                    </a:ext>
                  </a:extLst>
                </p:cNvPr>
                <p:cNvSpPr/>
                <p:nvPr/>
              </p:nvSpPr>
              <p:spPr>
                <a:xfrm>
                  <a:off x="4136311" y="1781872"/>
                  <a:ext cx="9217" cy="51442"/>
                </a:xfrm>
                <a:custGeom>
                  <a:avLst/>
                  <a:gdLst>
                    <a:gd name="connsiteX0" fmla="*/ 0 w 9217"/>
                    <a:gd name="connsiteY0" fmla="*/ 51442 h 51442"/>
                    <a:gd name="connsiteX1" fmla="*/ 4983 w 9217"/>
                    <a:gd name="connsiteY1" fmla="*/ 33257 h 51442"/>
                    <a:gd name="connsiteX2" fmla="*/ 4360 w 9217"/>
                    <a:gd name="connsiteY2" fmla="*/ 15819 h 51442"/>
                    <a:gd name="connsiteX3" fmla="*/ 9218 w 9217"/>
                    <a:gd name="connsiteY3" fmla="*/ 0 h 51442"/>
                  </a:gdLst>
                  <a:ahLst/>
                  <a:cxnLst>
                    <a:cxn ang="0">
                      <a:pos x="connsiteX0" y="connsiteY0"/>
                    </a:cxn>
                    <a:cxn ang="0">
                      <a:pos x="connsiteX1" y="connsiteY1"/>
                    </a:cxn>
                    <a:cxn ang="0">
                      <a:pos x="connsiteX2" y="connsiteY2"/>
                    </a:cxn>
                    <a:cxn ang="0">
                      <a:pos x="connsiteX3" y="connsiteY3"/>
                    </a:cxn>
                  </a:cxnLst>
                  <a:rect l="l" t="t" r="r" b="b"/>
                  <a:pathLst>
                    <a:path w="9217" h="51442">
                      <a:moveTo>
                        <a:pt x="0" y="51442"/>
                      </a:moveTo>
                      <a:cubicBezTo>
                        <a:pt x="3737" y="43844"/>
                        <a:pt x="4858" y="37616"/>
                        <a:pt x="4983" y="33257"/>
                      </a:cubicBezTo>
                      <a:cubicBezTo>
                        <a:pt x="5356" y="26282"/>
                        <a:pt x="3737" y="22919"/>
                        <a:pt x="4360" y="15819"/>
                      </a:cubicBezTo>
                      <a:cubicBezTo>
                        <a:pt x="4983" y="8968"/>
                        <a:pt x="7349" y="3488"/>
                        <a:pt x="92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5" name="Freeform 8303">
                  <a:extLst>
                    <a:ext uri="{FF2B5EF4-FFF2-40B4-BE49-F238E27FC236}">
                      <a16:creationId xmlns:a16="http://schemas.microsoft.com/office/drawing/2014/main" id="{DBABBA1A-BA26-7957-B4EF-CF87288F6975}"/>
                    </a:ext>
                  </a:extLst>
                </p:cNvPr>
                <p:cNvSpPr/>
                <p:nvPr/>
              </p:nvSpPr>
              <p:spPr>
                <a:xfrm>
                  <a:off x="4127932" y="1785733"/>
                  <a:ext cx="8968" cy="51566"/>
                </a:xfrm>
                <a:custGeom>
                  <a:avLst/>
                  <a:gdLst>
                    <a:gd name="connsiteX0" fmla="*/ 8504 w 8968"/>
                    <a:gd name="connsiteY0" fmla="*/ 0 h 51566"/>
                    <a:gd name="connsiteX1" fmla="*/ 7383 w 8968"/>
                    <a:gd name="connsiteY1" fmla="*/ 18808 h 51566"/>
                    <a:gd name="connsiteX2" fmla="*/ 1155 w 8968"/>
                    <a:gd name="connsiteY2" fmla="*/ 35125 h 51566"/>
                    <a:gd name="connsiteX3" fmla="*/ 532 w 896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0"/>
                      </a:moveTo>
                      <a:cubicBezTo>
                        <a:pt x="9625" y="8345"/>
                        <a:pt x="8504" y="14573"/>
                        <a:pt x="7383" y="18808"/>
                      </a:cubicBezTo>
                      <a:cubicBezTo>
                        <a:pt x="5514" y="25534"/>
                        <a:pt x="2899" y="28150"/>
                        <a:pt x="1155" y="35125"/>
                      </a:cubicBezTo>
                      <a:cubicBezTo>
                        <a:pt x="-464" y="41851"/>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6" name="Freeform 8304">
                  <a:extLst>
                    <a:ext uri="{FF2B5EF4-FFF2-40B4-BE49-F238E27FC236}">
                      <a16:creationId xmlns:a16="http://schemas.microsoft.com/office/drawing/2014/main" id="{D8703ECF-6D7A-BEBB-3F4C-6A9ED47962E8}"/>
                    </a:ext>
                  </a:extLst>
                </p:cNvPr>
                <p:cNvSpPr/>
                <p:nvPr/>
              </p:nvSpPr>
              <p:spPr>
                <a:xfrm>
                  <a:off x="4118089" y="1826552"/>
                  <a:ext cx="26633" cy="26478"/>
                </a:xfrm>
                <a:custGeom>
                  <a:avLst/>
                  <a:gdLst>
                    <a:gd name="connsiteX0" fmla="*/ 161 w 26633"/>
                    <a:gd name="connsiteY0" fmla="*/ 11122 h 26478"/>
                    <a:gd name="connsiteX1" fmla="*/ 15481 w 26633"/>
                    <a:gd name="connsiteY1" fmla="*/ 161 h 26478"/>
                    <a:gd name="connsiteX2" fmla="*/ 26442 w 26633"/>
                    <a:gd name="connsiteY2" fmla="*/ 15357 h 26478"/>
                    <a:gd name="connsiteX3" fmla="*/ 11122 w 26633"/>
                    <a:gd name="connsiteY3" fmla="*/ 26318 h 26478"/>
                    <a:gd name="connsiteX4" fmla="*/ 161 w 26633"/>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161" y="11122"/>
                      </a:moveTo>
                      <a:cubicBezTo>
                        <a:pt x="1406" y="3897"/>
                        <a:pt x="8257" y="-960"/>
                        <a:pt x="15481" y="161"/>
                      </a:cubicBezTo>
                      <a:cubicBezTo>
                        <a:pt x="22706" y="1282"/>
                        <a:pt x="27688" y="8132"/>
                        <a:pt x="26442" y="15357"/>
                      </a:cubicBezTo>
                      <a:cubicBezTo>
                        <a:pt x="25197" y="22581"/>
                        <a:pt x="18346" y="27439"/>
                        <a:pt x="11122" y="26318"/>
                      </a:cubicBezTo>
                      <a:cubicBezTo>
                        <a:pt x="3897" y="25197"/>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7" name="Freeform 8305">
                  <a:extLst>
                    <a:ext uri="{FF2B5EF4-FFF2-40B4-BE49-F238E27FC236}">
                      <a16:creationId xmlns:a16="http://schemas.microsoft.com/office/drawing/2014/main" id="{D5F098AD-DB9B-8CBC-8CBF-598AC66D4145}"/>
                    </a:ext>
                  </a:extLst>
                </p:cNvPr>
                <p:cNvSpPr/>
                <p:nvPr/>
              </p:nvSpPr>
              <p:spPr>
                <a:xfrm>
                  <a:off x="4137556" y="1725447"/>
                  <a:ext cx="9341" cy="51442"/>
                </a:xfrm>
                <a:custGeom>
                  <a:avLst/>
                  <a:gdLst>
                    <a:gd name="connsiteX0" fmla="*/ 9342 w 9341"/>
                    <a:gd name="connsiteY0" fmla="*/ 0 h 51442"/>
                    <a:gd name="connsiteX1" fmla="*/ 4360 w 9341"/>
                    <a:gd name="connsiteY1" fmla="*/ 18185 h 51442"/>
                    <a:gd name="connsiteX2" fmla="*/ 4858 w 9341"/>
                    <a:gd name="connsiteY2" fmla="*/ 35624 h 51442"/>
                    <a:gd name="connsiteX3" fmla="*/ 0 w 934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41" h="51442">
                      <a:moveTo>
                        <a:pt x="9342" y="0"/>
                      </a:moveTo>
                      <a:cubicBezTo>
                        <a:pt x="5605" y="7598"/>
                        <a:pt x="4484" y="13826"/>
                        <a:pt x="4360" y="18185"/>
                      </a:cubicBezTo>
                      <a:cubicBezTo>
                        <a:pt x="3986" y="25161"/>
                        <a:pt x="5605" y="28524"/>
                        <a:pt x="4858" y="35624"/>
                      </a:cubicBezTo>
                      <a:cubicBezTo>
                        <a:pt x="4235" y="42474"/>
                        <a:pt x="1868"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8" name="Freeform 8306">
                  <a:extLst>
                    <a:ext uri="{FF2B5EF4-FFF2-40B4-BE49-F238E27FC236}">
                      <a16:creationId xmlns:a16="http://schemas.microsoft.com/office/drawing/2014/main" id="{85C5099F-3A29-104D-9934-92B675E828BC}"/>
                    </a:ext>
                  </a:extLst>
                </p:cNvPr>
                <p:cNvSpPr/>
                <p:nvPr/>
              </p:nvSpPr>
              <p:spPr>
                <a:xfrm>
                  <a:off x="4146309" y="1721586"/>
                  <a:ext cx="8919" cy="51566"/>
                </a:xfrm>
                <a:custGeom>
                  <a:avLst/>
                  <a:gdLst>
                    <a:gd name="connsiteX0" fmla="*/ 464 w 8919"/>
                    <a:gd name="connsiteY0" fmla="*/ 51567 h 51566"/>
                    <a:gd name="connsiteX1" fmla="*/ 1585 w 8919"/>
                    <a:gd name="connsiteY1" fmla="*/ 32759 h 51566"/>
                    <a:gd name="connsiteX2" fmla="*/ 7813 w 8919"/>
                    <a:gd name="connsiteY2" fmla="*/ 16442 h 51566"/>
                    <a:gd name="connsiteX3" fmla="*/ 8436 w 8919"/>
                    <a:gd name="connsiteY3" fmla="*/ 0 h 51566"/>
                  </a:gdLst>
                  <a:ahLst/>
                  <a:cxnLst>
                    <a:cxn ang="0">
                      <a:pos x="connsiteX0" y="connsiteY0"/>
                    </a:cxn>
                    <a:cxn ang="0">
                      <a:pos x="connsiteX1" y="connsiteY1"/>
                    </a:cxn>
                    <a:cxn ang="0">
                      <a:pos x="connsiteX2" y="connsiteY2"/>
                    </a:cxn>
                    <a:cxn ang="0">
                      <a:pos x="connsiteX3" y="connsiteY3"/>
                    </a:cxn>
                  </a:cxnLst>
                  <a:rect l="l" t="t" r="r" b="b"/>
                  <a:pathLst>
                    <a:path w="8919" h="51566">
                      <a:moveTo>
                        <a:pt x="464" y="51567"/>
                      </a:moveTo>
                      <a:cubicBezTo>
                        <a:pt x="-657" y="43222"/>
                        <a:pt x="464" y="36994"/>
                        <a:pt x="1585" y="32759"/>
                      </a:cubicBezTo>
                      <a:cubicBezTo>
                        <a:pt x="3454" y="26033"/>
                        <a:pt x="6069" y="23292"/>
                        <a:pt x="7813" y="16442"/>
                      </a:cubicBezTo>
                      <a:cubicBezTo>
                        <a:pt x="9433" y="9716"/>
                        <a:pt x="8934"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9" name="Freeform 8307">
                  <a:extLst>
                    <a:ext uri="{FF2B5EF4-FFF2-40B4-BE49-F238E27FC236}">
                      <a16:creationId xmlns:a16="http://schemas.microsoft.com/office/drawing/2014/main" id="{D32565CC-4C10-28EE-9E73-D2D1699BD66F}"/>
                    </a:ext>
                  </a:extLst>
                </p:cNvPr>
                <p:cNvSpPr/>
                <p:nvPr/>
              </p:nvSpPr>
              <p:spPr>
                <a:xfrm>
                  <a:off x="4138483" y="1705731"/>
                  <a:ext cx="26422" cy="26508"/>
                </a:xfrm>
                <a:custGeom>
                  <a:avLst/>
                  <a:gdLst>
                    <a:gd name="connsiteX0" fmla="*/ 26227 w 26422"/>
                    <a:gd name="connsiteY0" fmla="*/ 15357 h 26508"/>
                    <a:gd name="connsiteX1" fmla="*/ 11032 w 26422"/>
                    <a:gd name="connsiteY1" fmla="*/ 26318 h 26508"/>
                    <a:gd name="connsiteX2" fmla="*/ 195 w 26422"/>
                    <a:gd name="connsiteY2" fmla="*/ 11122 h 26508"/>
                    <a:gd name="connsiteX3" fmla="*/ 15391 w 26422"/>
                    <a:gd name="connsiteY3" fmla="*/ 161 h 26508"/>
                    <a:gd name="connsiteX4" fmla="*/ 26227 w 26422"/>
                    <a:gd name="connsiteY4" fmla="*/ 15357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08">
                      <a:moveTo>
                        <a:pt x="26227" y="15357"/>
                      </a:moveTo>
                      <a:cubicBezTo>
                        <a:pt x="24982" y="22581"/>
                        <a:pt x="18256" y="27563"/>
                        <a:pt x="11032" y="26318"/>
                      </a:cubicBezTo>
                      <a:cubicBezTo>
                        <a:pt x="3807" y="25197"/>
                        <a:pt x="-1051" y="18346"/>
                        <a:pt x="195" y="11122"/>
                      </a:cubicBezTo>
                      <a:cubicBezTo>
                        <a:pt x="1440" y="3897"/>
                        <a:pt x="8167"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4" name="Graphic 2987">
                <a:extLst>
                  <a:ext uri="{FF2B5EF4-FFF2-40B4-BE49-F238E27FC236}">
                    <a16:creationId xmlns:a16="http://schemas.microsoft.com/office/drawing/2014/main" id="{76874579-0D7B-3266-68C0-A61D9B6ABD78}"/>
                  </a:ext>
                </a:extLst>
              </p:cNvPr>
              <p:cNvGrpSpPr/>
              <p:nvPr/>
            </p:nvGrpSpPr>
            <p:grpSpPr>
              <a:xfrm>
                <a:off x="4088660" y="1701122"/>
                <a:ext cx="47098" cy="147174"/>
                <a:chOff x="4088660" y="1701122"/>
                <a:chExt cx="47098" cy="147174"/>
              </a:xfrm>
              <a:grpFill/>
            </p:grpSpPr>
            <p:sp>
              <p:nvSpPr>
                <p:cNvPr id="5928" name="Freeform 8309">
                  <a:extLst>
                    <a:ext uri="{FF2B5EF4-FFF2-40B4-BE49-F238E27FC236}">
                      <a16:creationId xmlns:a16="http://schemas.microsoft.com/office/drawing/2014/main" id="{FF8B5B9D-5759-136F-3E31-F75D7094B5B8}"/>
                    </a:ext>
                  </a:extLst>
                </p:cNvPr>
                <p:cNvSpPr/>
                <p:nvPr/>
              </p:nvSpPr>
              <p:spPr>
                <a:xfrm>
                  <a:off x="4106791" y="1777263"/>
                  <a:ext cx="9466" cy="51442"/>
                </a:xfrm>
                <a:custGeom>
                  <a:avLst/>
                  <a:gdLst>
                    <a:gd name="connsiteX0" fmla="*/ 0 w 9466"/>
                    <a:gd name="connsiteY0" fmla="*/ 51442 h 51442"/>
                    <a:gd name="connsiteX1" fmla="*/ 5107 w 9466"/>
                    <a:gd name="connsiteY1" fmla="*/ 33257 h 51442"/>
                    <a:gd name="connsiteX2" fmla="*/ 4609 w 9466"/>
                    <a:gd name="connsiteY2" fmla="*/ 15819 h 51442"/>
                    <a:gd name="connsiteX3" fmla="*/ 9467 w 9466"/>
                    <a:gd name="connsiteY3" fmla="*/ 0 h 51442"/>
                  </a:gdLst>
                  <a:ahLst/>
                  <a:cxnLst>
                    <a:cxn ang="0">
                      <a:pos x="connsiteX0" y="connsiteY0"/>
                    </a:cxn>
                    <a:cxn ang="0">
                      <a:pos x="connsiteX1" y="connsiteY1"/>
                    </a:cxn>
                    <a:cxn ang="0">
                      <a:pos x="connsiteX2" y="connsiteY2"/>
                    </a:cxn>
                    <a:cxn ang="0">
                      <a:pos x="connsiteX3" y="connsiteY3"/>
                    </a:cxn>
                  </a:cxnLst>
                  <a:rect l="l" t="t" r="r" b="b"/>
                  <a:pathLst>
                    <a:path w="9466" h="51442">
                      <a:moveTo>
                        <a:pt x="0" y="51442"/>
                      </a:moveTo>
                      <a:cubicBezTo>
                        <a:pt x="3861" y="43969"/>
                        <a:pt x="4858" y="37616"/>
                        <a:pt x="5107" y="33257"/>
                      </a:cubicBezTo>
                      <a:cubicBezTo>
                        <a:pt x="5481" y="26282"/>
                        <a:pt x="3861" y="22919"/>
                        <a:pt x="4609" y="15819"/>
                      </a:cubicBezTo>
                      <a:cubicBezTo>
                        <a:pt x="5232" y="8968"/>
                        <a:pt x="7598" y="3488"/>
                        <a:pt x="94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9" name="Freeform 8310">
                  <a:extLst>
                    <a:ext uri="{FF2B5EF4-FFF2-40B4-BE49-F238E27FC236}">
                      <a16:creationId xmlns:a16="http://schemas.microsoft.com/office/drawing/2014/main" id="{0683C85D-9EED-0EA5-5896-6EAD410E5AB2}"/>
                    </a:ext>
                  </a:extLst>
                </p:cNvPr>
                <p:cNvSpPr/>
                <p:nvPr/>
              </p:nvSpPr>
              <p:spPr>
                <a:xfrm>
                  <a:off x="4098412" y="1781000"/>
                  <a:ext cx="9089" cy="51442"/>
                </a:xfrm>
                <a:custGeom>
                  <a:avLst/>
                  <a:gdLst>
                    <a:gd name="connsiteX0" fmla="*/ 8628 w 9089"/>
                    <a:gd name="connsiteY0" fmla="*/ 0 h 51442"/>
                    <a:gd name="connsiteX1" fmla="*/ 7383 w 9089"/>
                    <a:gd name="connsiteY1" fmla="*/ 18684 h 51442"/>
                    <a:gd name="connsiteX2" fmla="*/ 1155 w 9089"/>
                    <a:gd name="connsiteY2" fmla="*/ 35001 h 51442"/>
                    <a:gd name="connsiteX3" fmla="*/ 532 w 908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89" h="51442">
                      <a:moveTo>
                        <a:pt x="8628" y="0"/>
                      </a:moveTo>
                      <a:cubicBezTo>
                        <a:pt x="9749" y="8345"/>
                        <a:pt x="8628" y="14573"/>
                        <a:pt x="7383" y="18684"/>
                      </a:cubicBezTo>
                      <a:cubicBezTo>
                        <a:pt x="5390" y="25410"/>
                        <a:pt x="2774" y="28025"/>
                        <a:pt x="1155" y="35001"/>
                      </a:cubicBezTo>
                      <a:cubicBezTo>
                        <a:pt x="-464" y="41727"/>
                        <a:pt x="-91" y="47581"/>
                        <a:pt x="53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0" name="Freeform 8311">
                  <a:extLst>
                    <a:ext uri="{FF2B5EF4-FFF2-40B4-BE49-F238E27FC236}">
                      <a16:creationId xmlns:a16="http://schemas.microsoft.com/office/drawing/2014/main" id="{F329976C-ED45-4630-45EB-F942380E7694}"/>
                    </a:ext>
                  </a:extLst>
                </p:cNvPr>
                <p:cNvSpPr/>
                <p:nvPr/>
              </p:nvSpPr>
              <p:spPr>
                <a:xfrm>
                  <a:off x="4088660" y="1821818"/>
                  <a:ext cx="26792" cy="26478"/>
                </a:xfrm>
                <a:custGeom>
                  <a:avLst/>
                  <a:gdLst>
                    <a:gd name="connsiteX0" fmla="*/ 195 w 26792"/>
                    <a:gd name="connsiteY0" fmla="*/ 11122 h 26478"/>
                    <a:gd name="connsiteX1" fmla="*/ 15640 w 26792"/>
                    <a:gd name="connsiteY1" fmla="*/ 161 h 26478"/>
                    <a:gd name="connsiteX2" fmla="*/ 26601 w 26792"/>
                    <a:gd name="connsiteY2" fmla="*/ 15357 h 26478"/>
                    <a:gd name="connsiteX3" fmla="*/ 11156 w 26792"/>
                    <a:gd name="connsiteY3" fmla="*/ 26318 h 26478"/>
                    <a:gd name="connsiteX4" fmla="*/ 195 w 2679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77">
                      <a:moveTo>
                        <a:pt x="195" y="11122"/>
                      </a:moveTo>
                      <a:cubicBezTo>
                        <a:pt x="1440" y="3897"/>
                        <a:pt x="8291" y="-960"/>
                        <a:pt x="15640" y="161"/>
                      </a:cubicBezTo>
                      <a:cubicBezTo>
                        <a:pt x="22864" y="1282"/>
                        <a:pt x="27846" y="8132"/>
                        <a:pt x="26601" y="15357"/>
                      </a:cubicBezTo>
                      <a:cubicBezTo>
                        <a:pt x="25355" y="22581"/>
                        <a:pt x="18505" y="27439"/>
                        <a:pt x="11156" y="26318"/>
                      </a:cubicBezTo>
                      <a:cubicBezTo>
                        <a:pt x="3807" y="25197"/>
                        <a:pt x="-1051"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1" name="Freeform 8312">
                  <a:extLst>
                    <a:ext uri="{FF2B5EF4-FFF2-40B4-BE49-F238E27FC236}">
                      <a16:creationId xmlns:a16="http://schemas.microsoft.com/office/drawing/2014/main" id="{2631AEFC-F6A0-E9D6-2C57-563DF30D5F8E}"/>
                    </a:ext>
                  </a:extLst>
                </p:cNvPr>
                <p:cNvSpPr/>
                <p:nvPr/>
              </p:nvSpPr>
              <p:spPr>
                <a:xfrm>
                  <a:off x="4108410" y="1720838"/>
                  <a:ext cx="9466" cy="51317"/>
                </a:xfrm>
                <a:custGeom>
                  <a:avLst/>
                  <a:gdLst>
                    <a:gd name="connsiteX0" fmla="*/ 9467 w 9466"/>
                    <a:gd name="connsiteY0" fmla="*/ 0 h 51317"/>
                    <a:gd name="connsiteX1" fmla="*/ 4360 w 9466"/>
                    <a:gd name="connsiteY1" fmla="*/ 18185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30" y="7598"/>
                        <a:pt x="4609" y="13826"/>
                        <a:pt x="4360" y="18185"/>
                      </a:cubicBezTo>
                      <a:cubicBezTo>
                        <a:pt x="3986" y="25161"/>
                        <a:pt x="5605" y="28524"/>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2" name="Freeform 8313">
                  <a:extLst>
                    <a:ext uri="{FF2B5EF4-FFF2-40B4-BE49-F238E27FC236}">
                      <a16:creationId xmlns:a16="http://schemas.microsoft.com/office/drawing/2014/main" id="{470D8947-5E88-3805-63DB-2835DEBB3A99}"/>
                    </a:ext>
                  </a:extLst>
                </p:cNvPr>
                <p:cNvSpPr/>
                <p:nvPr/>
              </p:nvSpPr>
              <p:spPr>
                <a:xfrm>
                  <a:off x="4117041" y="1716852"/>
                  <a:ext cx="9089" cy="51566"/>
                </a:xfrm>
                <a:custGeom>
                  <a:avLst/>
                  <a:gdLst>
                    <a:gd name="connsiteX0" fmla="*/ 461 w 9089"/>
                    <a:gd name="connsiteY0" fmla="*/ 51567 h 51566"/>
                    <a:gd name="connsiteX1" fmla="*/ 1707 w 9089"/>
                    <a:gd name="connsiteY1" fmla="*/ 32759 h 51566"/>
                    <a:gd name="connsiteX2" fmla="*/ 7935 w 9089"/>
                    <a:gd name="connsiteY2" fmla="*/ 16442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1"/>
                        <a:pt x="461" y="36994"/>
                        <a:pt x="1707" y="32759"/>
                      </a:cubicBezTo>
                      <a:cubicBezTo>
                        <a:pt x="3699" y="26033"/>
                        <a:pt x="6191" y="23417"/>
                        <a:pt x="7935" y="16442"/>
                      </a:cubicBezTo>
                      <a:cubicBezTo>
                        <a:pt x="9554" y="9715"/>
                        <a:pt x="9180" y="3861"/>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33" name="Freeform 8314">
                  <a:extLst>
                    <a:ext uri="{FF2B5EF4-FFF2-40B4-BE49-F238E27FC236}">
                      <a16:creationId xmlns:a16="http://schemas.microsoft.com/office/drawing/2014/main" id="{B79FBD44-A8E3-0FCE-4E21-7B92B03A89F7}"/>
                    </a:ext>
                  </a:extLst>
                </p:cNvPr>
                <p:cNvSpPr/>
                <p:nvPr/>
              </p:nvSpPr>
              <p:spPr>
                <a:xfrm>
                  <a:off x="4109336" y="1701122"/>
                  <a:ext cx="26422" cy="26478"/>
                </a:xfrm>
                <a:custGeom>
                  <a:avLst/>
                  <a:gdLst>
                    <a:gd name="connsiteX0" fmla="*/ 26227 w 26422"/>
                    <a:gd name="connsiteY0" fmla="*/ 15357 h 26478"/>
                    <a:gd name="connsiteX1" fmla="*/ 11031 w 26422"/>
                    <a:gd name="connsiteY1" fmla="*/ 26318 h 26478"/>
                    <a:gd name="connsiteX2" fmla="*/ 195 w 26422"/>
                    <a:gd name="connsiteY2" fmla="*/ 11122 h 26478"/>
                    <a:gd name="connsiteX3" fmla="*/ 15391 w 26422"/>
                    <a:gd name="connsiteY3" fmla="*/ 161 h 26478"/>
                    <a:gd name="connsiteX4" fmla="*/ 26227 w 26422"/>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477">
                      <a:moveTo>
                        <a:pt x="26227" y="15357"/>
                      </a:moveTo>
                      <a:cubicBezTo>
                        <a:pt x="24982" y="22581"/>
                        <a:pt x="18131" y="27439"/>
                        <a:pt x="11031" y="26318"/>
                      </a:cubicBezTo>
                      <a:cubicBezTo>
                        <a:pt x="3807" y="25197"/>
                        <a:pt x="-1051" y="18346"/>
                        <a:pt x="195" y="11122"/>
                      </a:cubicBezTo>
                      <a:cubicBezTo>
                        <a:pt x="1440" y="3897"/>
                        <a:pt x="8291" y="-960"/>
                        <a:pt x="15391" y="161"/>
                      </a:cubicBezTo>
                      <a:cubicBezTo>
                        <a:pt x="22615" y="1406"/>
                        <a:pt x="27473" y="8132"/>
                        <a:pt x="26227"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5" name="Graphic 2987">
                <a:extLst>
                  <a:ext uri="{FF2B5EF4-FFF2-40B4-BE49-F238E27FC236}">
                    <a16:creationId xmlns:a16="http://schemas.microsoft.com/office/drawing/2014/main" id="{07813E32-773C-B253-5BC1-3A3385CB9DA5}"/>
                  </a:ext>
                </a:extLst>
              </p:cNvPr>
              <p:cNvGrpSpPr/>
              <p:nvPr/>
            </p:nvGrpSpPr>
            <p:grpSpPr>
              <a:xfrm>
                <a:off x="4059264" y="1696438"/>
                <a:ext cx="47472" cy="147067"/>
                <a:chOff x="4059264" y="1696438"/>
                <a:chExt cx="47472" cy="147067"/>
              </a:xfrm>
              <a:grpFill/>
            </p:grpSpPr>
            <p:sp>
              <p:nvSpPr>
                <p:cNvPr id="5922" name="Freeform 8316">
                  <a:extLst>
                    <a:ext uri="{FF2B5EF4-FFF2-40B4-BE49-F238E27FC236}">
                      <a16:creationId xmlns:a16="http://schemas.microsoft.com/office/drawing/2014/main" id="{AC1F579E-E34F-29B8-57E7-FF4E0E144D7B}"/>
                    </a:ext>
                  </a:extLst>
                </p:cNvPr>
                <p:cNvSpPr/>
                <p:nvPr/>
              </p:nvSpPr>
              <p:spPr>
                <a:xfrm>
                  <a:off x="4077395" y="1772654"/>
                  <a:ext cx="9466" cy="51193"/>
                </a:xfrm>
                <a:custGeom>
                  <a:avLst/>
                  <a:gdLst>
                    <a:gd name="connsiteX0" fmla="*/ 0 w 9466"/>
                    <a:gd name="connsiteY0" fmla="*/ 51193 h 51193"/>
                    <a:gd name="connsiteX1" fmla="*/ 5107 w 9466"/>
                    <a:gd name="connsiteY1" fmla="*/ 33132 h 51193"/>
                    <a:gd name="connsiteX2" fmla="*/ 4609 w 9466"/>
                    <a:gd name="connsiteY2" fmla="*/ 15694 h 51193"/>
                    <a:gd name="connsiteX3" fmla="*/ 9466 w 9466"/>
                    <a:gd name="connsiteY3" fmla="*/ 0 h 51193"/>
                  </a:gdLst>
                  <a:ahLst/>
                  <a:cxnLst>
                    <a:cxn ang="0">
                      <a:pos x="connsiteX0" y="connsiteY0"/>
                    </a:cxn>
                    <a:cxn ang="0">
                      <a:pos x="connsiteX1" y="connsiteY1"/>
                    </a:cxn>
                    <a:cxn ang="0">
                      <a:pos x="connsiteX2" y="connsiteY2"/>
                    </a:cxn>
                    <a:cxn ang="0">
                      <a:pos x="connsiteX3" y="connsiteY3"/>
                    </a:cxn>
                  </a:cxnLst>
                  <a:rect l="l" t="t" r="r" b="b"/>
                  <a:pathLst>
                    <a:path w="9466" h="51193">
                      <a:moveTo>
                        <a:pt x="0" y="51193"/>
                      </a:moveTo>
                      <a:cubicBezTo>
                        <a:pt x="3861" y="43720"/>
                        <a:pt x="4858" y="37492"/>
                        <a:pt x="5107" y="33132"/>
                      </a:cubicBezTo>
                      <a:cubicBezTo>
                        <a:pt x="5481" y="26157"/>
                        <a:pt x="3986" y="22794"/>
                        <a:pt x="4609" y="15694"/>
                      </a:cubicBezTo>
                      <a:cubicBezTo>
                        <a:pt x="5356" y="8844"/>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3" name="Freeform 8317">
                  <a:extLst>
                    <a:ext uri="{FF2B5EF4-FFF2-40B4-BE49-F238E27FC236}">
                      <a16:creationId xmlns:a16="http://schemas.microsoft.com/office/drawing/2014/main" id="{F14BF595-63A8-E627-BC61-A444C44C9860}"/>
                    </a:ext>
                  </a:extLst>
                </p:cNvPr>
                <p:cNvSpPr/>
                <p:nvPr/>
              </p:nvSpPr>
              <p:spPr>
                <a:xfrm>
                  <a:off x="4069016" y="1776017"/>
                  <a:ext cx="9213" cy="51566"/>
                </a:xfrm>
                <a:custGeom>
                  <a:avLst/>
                  <a:gdLst>
                    <a:gd name="connsiteX0" fmla="*/ 8753 w 9213"/>
                    <a:gd name="connsiteY0" fmla="*/ 0 h 51566"/>
                    <a:gd name="connsiteX1" fmla="*/ 7507 w 9213"/>
                    <a:gd name="connsiteY1" fmla="*/ 18808 h 51566"/>
                    <a:gd name="connsiteX2" fmla="*/ 1155 w 9213"/>
                    <a:gd name="connsiteY2" fmla="*/ 35001 h 51566"/>
                    <a:gd name="connsiteX3" fmla="*/ 532 w 921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213" h="51566">
                      <a:moveTo>
                        <a:pt x="8753" y="0"/>
                      </a:moveTo>
                      <a:cubicBezTo>
                        <a:pt x="9874" y="8345"/>
                        <a:pt x="8753" y="14573"/>
                        <a:pt x="7507" y="18808"/>
                      </a:cubicBezTo>
                      <a:cubicBezTo>
                        <a:pt x="5514" y="25534"/>
                        <a:pt x="2899" y="28150"/>
                        <a:pt x="1155"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4" name="Freeform 8318">
                  <a:extLst>
                    <a:ext uri="{FF2B5EF4-FFF2-40B4-BE49-F238E27FC236}">
                      <a16:creationId xmlns:a16="http://schemas.microsoft.com/office/drawing/2014/main" id="{604AC053-E954-B6D3-068C-2CF8D6EC1B47}"/>
                    </a:ext>
                  </a:extLst>
                </p:cNvPr>
                <p:cNvSpPr/>
                <p:nvPr/>
              </p:nvSpPr>
              <p:spPr>
                <a:xfrm>
                  <a:off x="4059264" y="1816885"/>
                  <a:ext cx="26671" cy="26620"/>
                </a:xfrm>
                <a:custGeom>
                  <a:avLst/>
                  <a:gdLst>
                    <a:gd name="connsiteX0" fmla="*/ 195 w 26671"/>
                    <a:gd name="connsiteY0" fmla="*/ 10823 h 26620"/>
                    <a:gd name="connsiteX1" fmla="*/ 15640 w 26671"/>
                    <a:gd name="connsiteY1" fmla="*/ 236 h 26620"/>
                    <a:gd name="connsiteX2" fmla="*/ 26476 w 26671"/>
                    <a:gd name="connsiteY2" fmla="*/ 15557 h 26620"/>
                    <a:gd name="connsiteX3" fmla="*/ 11031 w 26671"/>
                    <a:gd name="connsiteY3" fmla="*/ 26393 h 26620"/>
                    <a:gd name="connsiteX4" fmla="*/ 195 w 26671"/>
                    <a:gd name="connsiteY4" fmla="*/ 10823 h 26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620">
                      <a:moveTo>
                        <a:pt x="195" y="10823"/>
                      </a:moveTo>
                      <a:cubicBezTo>
                        <a:pt x="1440" y="3599"/>
                        <a:pt x="8291" y="-1134"/>
                        <a:pt x="15640" y="236"/>
                      </a:cubicBezTo>
                      <a:cubicBezTo>
                        <a:pt x="22864" y="1606"/>
                        <a:pt x="27722" y="8332"/>
                        <a:pt x="26476" y="15557"/>
                      </a:cubicBezTo>
                      <a:cubicBezTo>
                        <a:pt x="25231" y="22781"/>
                        <a:pt x="18255" y="27763"/>
                        <a:pt x="11031" y="26393"/>
                      </a:cubicBezTo>
                      <a:cubicBezTo>
                        <a:pt x="3807" y="25023"/>
                        <a:pt x="-1051" y="18048"/>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5" name="Freeform 8319">
                  <a:extLst>
                    <a:ext uri="{FF2B5EF4-FFF2-40B4-BE49-F238E27FC236}">
                      <a16:creationId xmlns:a16="http://schemas.microsoft.com/office/drawing/2014/main" id="{4990082D-D6BD-2F5B-ED92-48333AE4C9C8}"/>
                    </a:ext>
                  </a:extLst>
                </p:cNvPr>
                <p:cNvSpPr/>
                <p:nvPr/>
              </p:nvSpPr>
              <p:spPr>
                <a:xfrm>
                  <a:off x="4079014" y="1715856"/>
                  <a:ext cx="9715" cy="51193"/>
                </a:xfrm>
                <a:custGeom>
                  <a:avLst/>
                  <a:gdLst>
                    <a:gd name="connsiteX0" fmla="*/ 9715 w 9715"/>
                    <a:gd name="connsiteY0" fmla="*/ 0 h 51193"/>
                    <a:gd name="connsiteX1" fmla="*/ 4609 w 9715"/>
                    <a:gd name="connsiteY1" fmla="*/ 18061 h 51193"/>
                    <a:gd name="connsiteX2" fmla="*/ 4982 w 9715"/>
                    <a:gd name="connsiteY2" fmla="*/ 35499 h 51193"/>
                    <a:gd name="connsiteX3" fmla="*/ 0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9715" y="0"/>
                      </a:moveTo>
                      <a:cubicBezTo>
                        <a:pt x="5854" y="7473"/>
                        <a:pt x="4858" y="13701"/>
                        <a:pt x="4609" y="18061"/>
                      </a:cubicBezTo>
                      <a:cubicBezTo>
                        <a:pt x="4235"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6" name="Freeform 8320">
                  <a:extLst>
                    <a:ext uri="{FF2B5EF4-FFF2-40B4-BE49-F238E27FC236}">
                      <a16:creationId xmlns:a16="http://schemas.microsoft.com/office/drawing/2014/main" id="{693B93EF-EC34-6607-235F-5879D5C687B3}"/>
                    </a:ext>
                  </a:extLst>
                </p:cNvPr>
                <p:cNvSpPr/>
                <p:nvPr/>
              </p:nvSpPr>
              <p:spPr>
                <a:xfrm>
                  <a:off x="4087770" y="1712119"/>
                  <a:ext cx="9089" cy="51566"/>
                </a:xfrm>
                <a:custGeom>
                  <a:avLst/>
                  <a:gdLst>
                    <a:gd name="connsiteX0" fmla="*/ 461 w 9089"/>
                    <a:gd name="connsiteY0" fmla="*/ 51567 h 51566"/>
                    <a:gd name="connsiteX1" fmla="*/ 1707 w 9089"/>
                    <a:gd name="connsiteY1" fmla="*/ 32759 h 51566"/>
                    <a:gd name="connsiteX2" fmla="*/ 7935 w 9089"/>
                    <a:gd name="connsiteY2" fmla="*/ 16566 h 51566"/>
                    <a:gd name="connsiteX3" fmla="*/ 8557 w 9089"/>
                    <a:gd name="connsiteY3" fmla="*/ 0 h 51566"/>
                  </a:gdLst>
                  <a:ahLst/>
                  <a:cxnLst>
                    <a:cxn ang="0">
                      <a:pos x="connsiteX0" y="connsiteY0"/>
                    </a:cxn>
                    <a:cxn ang="0">
                      <a:pos x="connsiteX1" y="connsiteY1"/>
                    </a:cxn>
                    <a:cxn ang="0">
                      <a:pos x="connsiteX2" y="connsiteY2"/>
                    </a:cxn>
                    <a:cxn ang="0">
                      <a:pos x="connsiteX3" y="connsiteY3"/>
                    </a:cxn>
                  </a:cxnLst>
                  <a:rect l="l" t="t" r="r" b="b"/>
                  <a:pathLst>
                    <a:path w="9089" h="51566">
                      <a:moveTo>
                        <a:pt x="461" y="51567"/>
                      </a:moveTo>
                      <a:cubicBezTo>
                        <a:pt x="-660" y="43222"/>
                        <a:pt x="461" y="36994"/>
                        <a:pt x="1707" y="32759"/>
                      </a:cubicBezTo>
                      <a:cubicBezTo>
                        <a:pt x="3700" y="26033"/>
                        <a:pt x="6315" y="23417"/>
                        <a:pt x="7935" y="16566"/>
                      </a:cubicBezTo>
                      <a:cubicBezTo>
                        <a:pt x="9554" y="9840"/>
                        <a:pt x="9180" y="3986"/>
                        <a:pt x="85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7" name="Freeform 8321">
                  <a:extLst>
                    <a:ext uri="{FF2B5EF4-FFF2-40B4-BE49-F238E27FC236}">
                      <a16:creationId xmlns:a16="http://schemas.microsoft.com/office/drawing/2014/main" id="{A3427AE7-70BF-3CAF-B9AC-132F0A16BE5C}"/>
                    </a:ext>
                  </a:extLst>
                </p:cNvPr>
                <p:cNvSpPr/>
                <p:nvPr/>
              </p:nvSpPr>
              <p:spPr>
                <a:xfrm>
                  <a:off x="4080310" y="1696438"/>
                  <a:ext cx="26426" cy="26495"/>
                </a:xfrm>
                <a:custGeom>
                  <a:avLst/>
                  <a:gdLst>
                    <a:gd name="connsiteX0" fmla="*/ 26231 w 26426"/>
                    <a:gd name="connsiteY0" fmla="*/ 15432 h 26495"/>
                    <a:gd name="connsiteX1" fmla="*/ 10911 w 26426"/>
                    <a:gd name="connsiteY1" fmla="*/ 26269 h 26495"/>
                    <a:gd name="connsiteX2" fmla="*/ 199 w 26426"/>
                    <a:gd name="connsiteY2" fmla="*/ 10823 h 26495"/>
                    <a:gd name="connsiteX3" fmla="*/ 15395 w 26426"/>
                    <a:gd name="connsiteY3" fmla="*/ 236 h 26495"/>
                    <a:gd name="connsiteX4" fmla="*/ 26231 w 26426"/>
                    <a:gd name="connsiteY4" fmla="*/ 15432 h 2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6" h="26495">
                      <a:moveTo>
                        <a:pt x="26231" y="15432"/>
                      </a:moveTo>
                      <a:cubicBezTo>
                        <a:pt x="24986" y="22656"/>
                        <a:pt x="18135" y="27639"/>
                        <a:pt x="10911" y="26269"/>
                      </a:cubicBezTo>
                      <a:cubicBezTo>
                        <a:pt x="3686" y="24899"/>
                        <a:pt x="-1047" y="18048"/>
                        <a:pt x="199" y="10823"/>
                      </a:cubicBezTo>
                      <a:cubicBezTo>
                        <a:pt x="1444" y="3599"/>
                        <a:pt x="8295" y="-1134"/>
                        <a:pt x="15395" y="236"/>
                      </a:cubicBezTo>
                      <a:cubicBezTo>
                        <a:pt x="22619" y="1482"/>
                        <a:pt x="27477" y="8208"/>
                        <a:pt x="26231" y="154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6" name="Graphic 2987">
                <a:extLst>
                  <a:ext uri="{FF2B5EF4-FFF2-40B4-BE49-F238E27FC236}">
                    <a16:creationId xmlns:a16="http://schemas.microsoft.com/office/drawing/2014/main" id="{05B9DFC5-8F6D-B61D-D3FE-B94C969F571F}"/>
                  </a:ext>
                </a:extLst>
              </p:cNvPr>
              <p:cNvGrpSpPr/>
              <p:nvPr/>
            </p:nvGrpSpPr>
            <p:grpSpPr>
              <a:xfrm>
                <a:off x="4029868" y="1690958"/>
                <a:ext cx="47849" cy="147076"/>
                <a:chOff x="4029868" y="1690958"/>
                <a:chExt cx="47849" cy="147076"/>
              </a:xfrm>
              <a:grpFill/>
            </p:grpSpPr>
            <p:sp>
              <p:nvSpPr>
                <p:cNvPr id="5916" name="Freeform 8323">
                  <a:extLst>
                    <a:ext uri="{FF2B5EF4-FFF2-40B4-BE49-F238E27FC236}">
                      <a16:creationId xmlns:a16="http://schemas.microsoft.com/office/drawing/2014/main" id="{508A1455-E66F-DCB2-1E95-E33B7DC91DE3}"/>
                    </a:ext>
                  </a:extLst>
                </p:cNvPr>
                <p:cNvSpPr/>
                <p:nvPr/>
              </p:nvSpPr>
              <p:spPr>
                <a:xfrm>
                  <a:off x="4048124" y="1767298"/>
                  <a:ext cx="9840" cy="51193"/>
                </a:xfrm>
                <a:custGeom>
                  <a:avLst/>
                  <a:gdLst>
                    <a:gd name="connsiteX0" fmla="*/ 0 w 9840"/>
                    <a:gd name="connsiteY0" fmla="*/ 51193 h 51193"/>
                    <a:gd name="connsiteX1" fmla="*/ 5232 w 9840"/>
                    <a:gd name="connsiteY1" fmla="*/ 33132 h 51193"/>
                    <a:gd name="connsiteX2" fmla="*/ 4858 w 9840"/>
                    <a:gd name="connsiteY2" fmla="*/ 15694 h 51193"/>
                    <a:gd name="connsiteX3" fmla="*/ 984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982" y="37492"/>
                        <a:pt x="5232" y="33132"/>
                      </a:cubicBezTo>
                      <a:cubicBezTo>
                        <a:pt x="5730" y="26157"/>
                        <a:pt x="4110" y="22794"/>
                        <a:pt x="4858" y="15694"/>
                      </a:cubicBezTo>
                      <a:cubicBezTo>
                        <a:pt x="5605" y="8844"/>
                        <a:pt x="7972"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7" name="Freeform 8324">
                  <a:extLst>
                    <a:ext uri="{FF2B5EF4-FFF2-40B4-BE49-F238E27FC236}">
                      <a16:creationId xmlns:a16="http://schemas.microsoft.com/office/drawing/2014/main" id="{91B768DD-3E2B-E539-5CC4-12029155ACAF}"/>
                    </a:ext>
                  </a:extLst>
                </p:cNvPr>
                <p:cNvSpPr/>
                <p:nvPr/>
              </p:nvSpPr>
              <p:spPr>
                <a:xfrm>
                  <a:off x="4039683" y="1770661"/>
                  <a:ext cx="9322" cy="51566"/>
                </a:xfrm>
                <a:custGeom>
                  <a:avLst/>
                  <a:gdLst>
                    <a:gd name="connsiteX0" fmla="*/ 8940 w 9322"/>
                    <a:gd name="connsiteY0" fmla="*/ 0 h 51566"/>
                    <a:gd name="connsiteX1" fmla="*/ 7569 w 9322"/>
                    <a:gd name="connsiteY1" fmla="*/ 18808 h 51566"/>
                    <a:gd name="connsiteX2" fmla="*/ 1217 w 9322"/>
                    <a:gd name="connsiteY2" fmla="*/ 35001 h 51566"/>
                    <a:gd name="connsiteX3" fmla="*/ 470 w 93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322" h="51566">
                      <a:moveTo>
                        <a:pt x="8940" y="0"/>
                      </a:moveTo>
                      <a:cubicBezTo>
                        <a:pt x="9936" y="8345"/>
                        <a:pt x="8815" y="14573"/>
                        <a:pt x="7569" y="18808"/>
                      </a:cubicBezTo>
                      <a:cubicBezTo>
                        <a:pt x="5576" y="25534"/>
                        <a:pt x="2961" y="28150"/>
                        <a:pt x="1217" y="35001"/>
                      </a:cubicBezTo>
                      <a:cubicBezTo>
                        <a:pt x="-527" y="41727"/>
                        <a:pt x="-28" y="47581"/>
                        <a:pt x="47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8" name="Freeform 8325">
                  <a:extLst>
                    <a:ext uri="{FF2B5EF4-FFF2-40B4-BE49-F238E27FC236}">
                      <a16:creationId xmlns:a16="http://schemas.microsoft.com/office/drawing/2014/main" id="{9277AA15-68E5-66A0-3378-3D9E9E596A90}"/>
                    </a:ext>
                  </a:extLst>
                </p:cNvPr>
                <p:cNvSpPr/>
                <p:nvPr/>
              </p:nvSpPr>
              <p:spPr>
                <a:xfrm>
                  <a:off x="4029868" y="1811529"/>
                  <a:ext cx="26671" cy="26504"/>
                </a:xfrm>
                <a:custGeom>
                  <a:avLst/>
                  <a:gdLst>
                    <a:gd name="connsiteX0" fmla="*/ 195 w 26671"/>
                    <a:gd name="connsiteY0" fmla="*/ 10823 h 26504"/>
                    <a:gd name="connsiteX1" fmla="*/ 15640 w 26671"/>
                    <a:gd name="connsiteY1" fmla="*/ 236 h 26504"/>
                    <a:gd name="connsiteX2" fmla="*/ 26477 w 26671"/>
                    <a:gd name="connsiteY2" fmla="*/ 15681 h 26504"/>
                    <a:gd name="connsiteX3" fmla="*/ 11032 w 26671"/>
                    <a:gd name="connsiteY3" fmla="*/ 26269 h 26504"/>
                    <a:gd name="connsiteX4" fmla="*/ 195 w 26671"/>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04">
                      <a:moveTo>
                        <a:pt x="195" y="10823"/>
                      </a:moveTo>
                      <a:cubicBezTo>
                        <a:pt x="1440" y="3599"/>
                        <a:pt x="8416" y="-1134"/>
                        <a:pt x="15640" y="236"/>
                      </a:cubicBezTo>
                      <a:cubicBezTo>
                        <a:pt x="22864" y="1606"/>
                        <a:pt x="27722" y="8581"/>
                        <a:pt x="26477" y="15681"/>
                      </a:cubicBezTo>
                      <a:cubicBezTo>
                        <a:pt x="25231" y="22906"/>
                        <a:pt x="18256" y="27639"/>
                        <a:pt x="11032" y="26269"/>
                      </a:cubicBezTo>
                      <a:cubicBezTo>
                        <a:pt x="3807" y="24898"/>
                        <a:pt x="-1051" y="17923"/>
                        <a:pt x="195"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9" name="Freeform 8326">
                  <a:extLst>
                    <a:ext uri="{FF2B5EF4-FFF2-40B4-BE49-F238E27FC236}">
                      <a16:creationId xmlns:a16="http://schemas.microsoft.com/office/drawing/2014/main" id="{5AC5EE93-C997-ED0A-EEAA-6DE0438AAF9B}"/>
                    </a:ext>
                  </a:extLst>
                </p:cNvPr>
                <p:cNvSpPr/>
                <p:nvPr/>
              </p:nvSpPr>
              <p:spPr>
                <a:xfrm>
                  <a:off x="4049868" y="1710500"/>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982"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0" name="Freeform 8327">
                  <a:extLst>
                    <a:ext uri="{FF2B5EF4-FFF2-40B4-BE49-F238E27FC236}">
                      <a16:creationId xmlns:a16="http://schemas.microsoft.com/office/drawing/2014/main" id="{474873DA-C037-9F01-D4D1-C130AE618A5C}"/>
                    </a:ext>
                  </a:extLst>
                </p:cNvPr>
                <p:cNvSpPr/>
                <p:nvPr/>
              </p:nvSpPr>
              <p:spPr>
                <a:xfrm>
                  <a:off x="4058699" y="1706763"/>
                  <a:ext cx="9157" cy="51566"/>
                </a:xfrm>
                <a:custGeom>
                  <a:avLst/>
                  <a:gdLst>
                    <a:gd name="connsiteX0" fmla="*/ 386 w 9157"/>
                    <a:gd name="connsiteY0" fmla="*/ 51567 h 51566"/>
                    <a:gd name="connsiteX1" fmla="*/ 1631 w 9157"/>
                    <a:gd name="connsiteY1" fmla="*/ 32759 h 51566"/>
                    <a:gd name="connsiteX2" fmla="*/ 7984 w 9157"/>
                    <a:gd name="connsiteY2" fmla="*/ 16566 h 51566"/>
                    <a:gd name="connsiteX3" fmla="*/ 8731 w 9157"/>
                    <a:gd name="connsiteY3" fmla="*/ 0 h 51566"/>
                  </a:gdLst>
                  <a:ahLst/>
                  <a:cxnLst>
                    <a:cxn ang="0">
                      <a:pos x="connsiteX0" y="connsiteY0"/>
                    </a:cxn>
                    <a:cxn ang="0">
                      <a:pos x="connsiteX1" y="connsiteY1"/>
                    </a:cxn>
                    <a:cxn ang="0">
                      <a:pos x="connsiteX2" y="connsiteY2"/>
                    </a:cxn>
                    <a:cxn ang="0">
                      <a:pos x="connsiteX3" y="connsiteY3"/>
                    </a:cxn>
                  </a:cxnLst>
                  <a:rect l="l" t="t" r="r" b="b"/>
                  <a:pathLst>
                    <a:path w="9157" h="51566">
                      <a:moveTo>
                        <a:pt x="386" y="51567"/>
                      </a:moveTo>
                      <a:cubicBezTo>
                        <a:pt x="-611" y="43222"/>
                        <a:pt x="510" y="36994"/>
                        <a:pt x="1631" y="32759"/>
                      </a:cubicBezTo>
                      <a:cubicBezTo>
                        <a:pt x="3624" y="26033"/>
                        <a:pt x="6240" y="23417"/>
                        <a:pt x="7984" y="16566"/>
                      </a:cubicBezTo>
                      <a:cubicBezTo>
                        <a:pt x="9603" y="9840"/>
                        <a:pt x="9229" y="3986"/>
                        <a:pt x="87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21" name="Freeform 8328">
                  <a:extLst>
                    <a:ext uri="{FF2B5EF4-FFF2-40B4-BE49-F238E27FC236}">
                      <a16:creationId xmlns:a16="http://schemas.microsoft.com/office/drawing/2014/main" id="{F8D7271E-DC14-7A3F-C040-1D513AAB4F8B}"/>
                    </a:ext>
                  </a:extLst>
                </p:cNvPr>
                <p:cNvSpPr/>
                <p:nvPr/>
              </p:nvSpPr>
              <p:spPr>
                <a:xfrm>
                  <a:off x="4051288" y="1690958"/>
                  <a:ext cx="26429" cy="26504"/>
                </a:xfrm>
                <a:custGeom>
                  <a:avLst/>
                  <a:gdLst>
                    <a:gd name="connsiteX0" fmla="*/ 26231 w 26429"/>
                    <a:gd name="connsiteY0" fmla="*/ 15681 h 26504"/>
                    <a:gd name="connsiteX1" fmla="*/ 10911 w 26429"/>
                    <a:gd name="connsiteY1" fmla="*/ 26269 h 26504"/>
                    <a:gd name="connsiteX2" fmla="*/ 199 w 26429"/>
                    <a:gd name="connsiteY2" fmla="*/ 10823 h 26504"/>
                    <a:gd name="connsiteX3" fmla="*/ 15519 w 26429"/>
                    <a:gd name="connsiteY3" fmla="*/ 236 h 26504"/>
                    <a:gd name="connsiteX4" fmla="*/ 26231 w 2642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9" h="26504">
                      <a:moveTo>
                        <a:pt x="26231" y="15681"/>
                      </a:moveTo>
                      <a:cubicBezTo>
                        <a:pt x="24986" y="22906"/>
                        <a:pt x="18135" y="27639"/>
                        <a:pt x="10911" y="26269"/>
                      </a:cubicBezTo>
                      <a:cubicBezTo>
                        <a:pt x="3686" y="24898"/>
                        <a:pt x="-1047" y="18048"/>
                        <a:pt x="199" y="10823"/>
                      </a:cubicBezTo>
                      <a:cubicBezTo>
                        <a:pt x="1444" y="3599"/>
                        <a:pt x="8295" y="-1134"/>
                        <a:pt x="15519" y="236"/>
                      </a:cubicBezTo>
                      <a:cubicBezTo>
                        <a:pt x="22744" y="1606"/>
                        <a:pt x="27477" y="8457"/>
                        <a:pt x="26231"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7" name="Graphic 2987">
                <a:extLst>
                  <a:ext uri="{FF2B5EF4-FFF2-40B4-BE49-F238E27FC236}">
                    <a16:creationId xmlns:a16="http://schemas.microsoft.com/office/drawing/2014/main" id="{7B5DC61A-EC63-F013-E96D-2FADBEBBCB17}"/>
                  </a:ext>
                </a:extLst>
              </p:cNvPr>
              <p:cNvGrpSpPr/>
              <p:nvPr/>
            </p:nvGrpSpPr>
            <p:grpSpPr>
              <a:xfrm>
                <a:off x="4000561" y="1685477"/>
                <a:ext cx="48168" cy="147076"/>
                <a:chOff x="4000561" y="1685477"/>
                <a:chExt cx="48168" cy="147076"/>
              </a:xfrm>
              <a:grpFill/>
            </p:grpSpPr>
            <p:sp>
              <p:nvSpPr>
                <p:cNvPr id="5910" name="Freeform 8330">
                  <a:extLst>
                    <a:ext uri="{FF2B5EF4-FFF2-40B4-BE49-F238E27FC236}">
                      <a16:creationId xmlns:a16="http://schemas.microsoft.com/office/drawing/2014/main" id="{A69063CA-D9C0-B047-C06A-09325944EB73}"/>
                    </a:ext>
                  </a:extLst>
                </p:cNvPr>
                <p:cNvSpPr/>
                <p:nvPr/>
              </p:nvSpPr>
              <p:spPr>
                <a:xfrm>
                  <a:off x="4018729" y="1761818"/>
                  <a:ext cx="9839" cy="51193"/>
                </a:xfrm>
                <a:custGeom>
                  <a:avLst/>
                  <a:gdLst>
                    <a:gd name="connsiteX0" fmla="*/ 0 w 9839"/>
                    <a:gd name="connsiteY0" fmla="*/ 51193 h 51193"/>
                    <a:gd name="connsiteX1" fmla="*/ 5231 w 9839"/>
                    <a:gd name="connsiteY1" fmla="*/ 33132 h 51193"/>
                    <a:gd name="connsiteX2" fmla="*/ 4858 w 9839"/>
                    <a:gd name="connsiteY2" fmla="*/ 15694 h 51193"/>
                    <a:gd name="connsiteX3" fmla="*/ 9840 w 9839"/>
                    <a:gd name="connsiteY3" fmla="*/ 0 h 51193"/>
                  </a:gdLst>
                  <a:ahLst/>
                  <a:cxnLst>
                    <a:cxn ang="0">
                      <a:pos x="connsiteX0" y="connsiteY0"/>
                    </a:cxn>
                    <a:cxn ang="0">
                      <a:pos x="connsiteX1" y="connsiteY1"/>
                    </a:cxn>
                    <a:cxn ang="0">
                      <a:pos x="connsiteX2" y="connsiteY2"/>
                    </a:cxn>
                    <a:cxn ang="0">
                      <a:pos x="connsiteX3" y="connsiteY3"/>
                    </a:cxn>
                  </a:cxnLst>
                  <a:rect l="l" t="t" r="r" b="b"/>
                  <a:pathLst>
                    <a:path w="9839" h="51193">
                      <a:moveTo>
                        <a:pt x="0" y="51193"/>
                      </a:moveTo>
                      <a:cubicBezTo>
                        <a:pt x="3861" y="43720"/>
                        <a:pt x="4982" y="37492"/>
                        <a:pt x="5231" y="33132"/>
                      </a:cubicBezTo>
                      <a:cubicBezTo>
                        <a:pt x="5730" y="26157"/>
                        <a:pt x="4110" y="22794"/>
                        <a:pt x="4858" y="15694"/>
                      </a:cubicBezTo>
                      <a:cubicBezTo>
                        <a:pt x="5605" y="8844"/>
                        <a:pt x="7971" y="3488"/>
                        <a:pt x="98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1" name="Freeform 8331">
                  <a:extLst>
                    <a:ext uri="{FF2B5EF4-FFF2-40B4-BE49-F238E27FC236}">
                      <a16:creationId xmlns:a16="http://schemas.microsoft.com/office/drawing/2014/main" id="{E3118605-1D08-6CF7-C23F-092AD52E5476}"/>
                    </a:ext>
                  </a:extLst>
                </p:cNvPr>
                <p:cNvSpPr/>
                <p:nvPr/>
              </p:nvSpPr>
              <p:spPr>
                <a:xfrm>
                  <a:off x="4010486" y="1765181"/>
                  <a:ext cx="9372" cy="51442"/>
                </a:xfrm>
                <a:custGeom>
                  <a:avLst/>
                  <a:gdLst>
                    <a:gd name="connsiteX0" fmla="*/ 8990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0"/>
                      </a:moveTo>
                      <a:cubicBezTo>
                        <a:pt x="9986" y="8345"/>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2" name="Freeform 8332">
                  <a:extLst>
                    <a:ext uri="{FF2B5EF4-FFF2-40B4-BE49-F238E27FC236}">
                      <a16:creationId xmlns:a16="http://schemas.microsoft.com/office/drawing/2014/main" id="{218AF810-13C3-DC16-A2B3-6B11C270D953}"/>
                    </a:ext>
                  </a:extLst>
                </p:cNvPr>
                <p:cNvSpPr/>
                <p:nvPr/>
              </p:nvSpPr>
              <p:spPr>
                <a:xfrm>
                  <a:off x="4000561" y="1806049"/>
                  <a:ext cx="26707" cy="26504"/>
                </a:xfrm>
                <a:custGeom>
                  <a:avLst/>
                  <a:gdLst>
                    <a:gd name="connsiteX0" fmla="*/ 231 w 26707"/>
                    <a:gd name="connsiteY0" fmla="*/ 10823 h 26504"/>
                    <a:gd name="connsiteX1" fmla="*/ 15676 w 26707"/>
                    <a:gd name="connsiteY1" fmla="*/ 236 h 26504"/>
                    <a:gd name="connsiteX2" fmla="*/ 26513 w 26707"/>
                    <a:gd name="connsiteY2" fmla="*/ 15681 h 26504"/>
                    <a:gd name="connsiteX3" fmla="*/ 11068 w 26707"/>
                    <a:gd name="connsiteY3" fmla="*/ 26269 h 26504"/>
                    <a:gd name="connsiteX4" fmla="*/ 231 w 26707"/>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504">
                      <a:moveTo>
                        <a:pt x="231" y="10823"/>
                      </a:moveTo>
                      <a:cubicBezTo>
                        <a:pt x="1477" y="3599"/>
                        <a:pt x="8452" y="-1134"/>
                        <a:pt x="15676" y="236"/>
                      </a:cubicBezTo>
                      <a:cubicBezTo>
                        <a:pt x="22901" y="1606"/>
                        <a:pt x="27759" y="8581"/>
                        <a:pt x="26513" y="15681"/>
                      </a:cubicBezTo>
                      <a:cubicBezTo>
                        <a:pt x="25267" y="22906"/>
                        <a:pt x="18292" y="27639"/>
                        <a:pt x="11068" y="26269"/>
                      </a:cubicBezTo>
                      <a:cubicBezTo>
                        <a:pt x="3719" y="24898"/>
                        <a:pt x="-1139" y="17923"/>
                        <a:pt x="231"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3" name="Freeform 8333">
                  <a:extLst>
                    <a:ext uri="{FF2B5EF4-FFF2-40B4-BE49-F238E27FC236}">
                      <a16:creationId xmlns:a16="http://schemas.microsoft.com/office/drawing/2014/main" id="{8AAF4F48-61DA-7B07-69CA-68050EAA968B}"/>
                    </a:ext>
                  </a:extLst>
                </p:cNvPr>
                <p:cNvSpPr/>
                <p:nvPr/>
              </p:nvSpPr>
              <p:spPr>
                <a:xfrm>
                  <a:off x="4020971" y="1705144"/>
                  <a:ext cx="9839" cy="51193"/>
                </a:xfrm>
                <a:custGeom>
                  <a:avLst/>
                  <a:gdLst>
                    <a:gd name="connsiteX0" fmla="*/ 9840 w 9839"/>
                    <a:gd name="connsiteY0" fmla="*/ 0 h 51193"/>
                    <a:gd name="connsiteX1" fmla="*/ 4609 w 9839"/>
                    <a:gd name="connsiteY1" fmla="*/ 18061 h 51193"/>
                    <a:gd name="connsiteX2" fmla="*/ 4982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3"/>
                        <a:pt x="4858" y="13701"/>
                        <a:pt x="4609" y="18061"/>
                      </a:cubicBezTo>
                      <a:cubicBezTo>
                        <a:pt x="4110" y="25036"/>
                        <a:pt x="5730" y="28399"/>
                        <a:pt x="4982" y="35499"/>
                      </a:cubicBezTo>
                      <a:cubicBezTo>
                        <a:pt x="4235"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4" name="Freeform 8334">
                  <a:extLst>
                    <a:ext uri="{FF2B5EF4-FFF2-40B4-BE49-F238E27FC236}">
                      <a16:creationId xmlns:a16="http://schemas.microsoft.com/office/drawing/2014/main" id="{339EED3B-8BA3-92DA-4DAF-FF504833EED7}"/>
                    </a:ext>
                  </a:extLst>
                </p:cNvPr>
                <p:cNvSpPr/>
                <p:nvPr/>
              </p:nvSpPr>
              <p:spPr>
                <a:xfrm>
                  <a:off x="4029680" y="1701407"/>
                  <a:ext cx="9372" cy="51442"/>
                </a:xfrm>
                <a:custGeom>
                  <a:avLst/>
                  <a:gdLst>
                    <a:gd name="connsiteX0" fmla="*/ 383 w 9372"/>
                    <a:gd name="connsiteY0" fmla="*/ 51442 h 51442"/>
                    <a:gd name="connsiteX1" fmla="*/ 1754 w 9372"/>
                    <a:gd name="connsiteY1" fmla="*/ 32634 h 51442"/>
                    <a:gd name="connsiteX2" fmla="*/ 8106 w 9372"/>
                    <a:gd name="connsiteY2" fmla="*/ 16442 h 51442"/>
                    <a:gd name="connsiteX3" fmla="*/ 8853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383" y="51442"/>
                      </a:moveTo>
                      <a:cubicBezTo>
                        <a:pt x="-613" y="43097"/>
                        <a:pt x="508" y="36869"/>
                        <a:pt x="1754" y="32634"/>
                      </a:cubicBezTo>
                      <a:cubicBezTo>
                        <a:pt x="3746" y="25908"/>
                        <a:pt x="6362" y="23292"/>
                        <a:pt x="8106" y="16442"/>
                      </a:cubicBezTo>
                      <a:cubicBezTo>
                        <a:pt x="9850" y="9715"/>
                        <a:pt x="9476"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15" name="Freeform 8335">
                  <a:extLst>
                    <a:ext uri="{FF2B5EF4-FFF2-40B4-BE49-F238E27FC236}">
                      <a16:creationId xmlns:a16="http://schemas.microsoft.com/office/drawing/2014/main" id="{3B1ECDE3-9AB1-5594-AD1D-4F0E86EA6BB6}"/>
                    </a:ext>
                  </a:extLst>
                </p:cNvPr>
                <p:cNvSpPr/>
                <p:nvPr/>
              </p:nvSpPr>
              <p:spPr>
                <a:xfrm>
                  <a:off x="4022354" y="1685477"/>
                  <a:ext cx="26375" cy="26504"/>
                </a:xfrm>
                <a:custGeom>
                  <a:avLst/>
                  <a:gdLst>
                    <a:gd name="connsiteX0" fmla="*/ 26144 w 26375"/>
                    <a:gd name="connsiteY0" fmla="*/ 15681 h 26504"/>
                    <a:gd name="connsiteX1" fmla="*/ 10823 w 26375"/>
                    <a:gd name="connsiteY1" fmla="*/ 26269 h 26504"/>
                    <a:gd name="connsiteX2" fmla="*/ 236 w 26375"/>
                    <a:gd name="connsiteY2" fmla="*/ 10823 h 26504"/>
                    <a:gd name="connsiteX3" fmla="*/ 15556 w 26375"/>
                    <a:gd name="connsiteY3" fmla="*/ 236 h 26504"/>
                    <a:gd name="connsiteX4" fmla="*/ 26144 w 2637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504">
                      <a:moveTo>
                        <a:pt x="26144" y="15681"/>
                      </a:moveTo>
                      <a:cubicBezTo>
                        <a:pt x="24898" y="22906"/>
                        <a:pt x="18048" y="27639"/>
                        <a:pt x="10823" y="26269"/>
                      </a:cubicBezTo>
                      <a:cubicBezTo>
                        <a:pt x="3599" y="24898"/>
                        <a:pt x="-1134" y="18048"/>
                        <a:pt x="236" y="10823"/>
                      </a:cubicBezTo>
                      <a:cubicBezTo>
                        <a:pt x="1481" y="3599"/>
                        <a:pt x="8457" y="-1134"/>
                        <a:pt x="15556" y="236"/>
                      </a:cubicBezTo>
                      <a:cubicBezTo>
                        <a:pt x="22656" y="1606"/>
                        <a:pt x="27514" y="8581"/>
                        <a:pt x="26144"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8" name="Graphic 2987">
                <a:extLst>
                  <a:ext uri="{FF2B5EF4-FFF2-40B4-BE49-F238E27FC236}">
                    <a16:creationId xmlns:a16="http://schemas.microsoft.com/office/drawing/2014/main" id="{95D051C0-4479-88BD-A21C-409B1F2C2E85}"/>
                  </a:ext>
                </a:extLst>
              </p:cNvPr>
              <p:cNvGrpSpPr/>
              <p:nvPr/>
            </p:nvGrpSpPr>
            <p:grpSpPr>
              <a:xfrm>
                <a:off x="3971198" y="1680121"/>
                <a:ext cx="48601" cy="146951"/>
                <a:chOff x="3971198" y="1680121"/>
                <a:chExt cx="48601" cy="146951"/>
              </a:xfrm>
              <a:grpFill/>
            </p:grpSpPr>
            <p:sp>
              <p:nvSpPr>
                <p:cNvPr id="5904" name="Freeform 8337">
                  <a:extLst>
                    <a:ext uri="{FF2B5EF4-FFF2-40B4-BE49-F238E27FC236}">
                      <a16:creationId xmlns:a16="http://schemas.microsoft.com/office/drawing/2014/main" id="{D7AFE874-AB8D-634A-982E-A8B67392082D}"/>
                    </a:ext>
                  </a:extLst>
                </p:cNvPr>
                <p:cNvSpPr/>
                <p:nvPr/>
              </p:nvSpPr>
              <p:spPr>
                <a:xfrm>
                  <a:off x="3989457" y="175633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3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20"/>
                        <a:pt x="4982" y="37492"/>
                        <a:pt x="5356" y="33132"/>
                      </a:cubicBezTo>
                      <a:cubicBezTo>
                        <a:pt x="5854" y="26157"/>
                        <a:pt x="4235" y="22794"/>
                        <a:pt x="5107" y="15694"/>
                      </a:cubicBezTo>
                      <a:cubicBezTo>
                        <a:pt x="5854" y="8844"/>
                        <a:pt x="8221" y="3488"/>
                        <a:pt x="102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5" name="Freeform 8338">
                  <a:extLst>
                    <a:ext uri="{FF2B5EF4-FFF2-40B4-BE49-F238E27FC236}">
                      <a16:creationId xmlns:a16="http://schemas.microsoft.com/office/drawing/2014/main" id="{71EC3551-CD87-C6CF-6F78-A725067F39F5}"/>
                    </a:ext>
                  </a:extLst>
                </p:cNvPr>
                <p:cNvSpPr/>
                <p:nvPr/>
              </p:nvSpPr>
              <p:spPr>
                <a:xfrm>
                  <a:off x="3981195" y="1759700"/>
                  <a:ext cx="9517" cy="51442"/>
                </a:xfrm>
                <a:custGeom>
                  <a:avLst/>
                  <a:gdLst>
                    <a:gd name="connsiteX0" fmla="*/ 9134 w 9517"/>
                    <a:gd name="connsiteY0" fmla="*/ 0 h 51442"/>
                    <a:gd name="connsiteX1" fmla="*/ 7764 w 9517"/>
                    <a:gd name="connsiteY1" fmla="*/ 18808 h 51442"/>
                    <a:gd name="connsiteX2" fmla="*/ 1288 w 9517"/>
                    <a:gd name="connsiteY2" fmla="*/ 35001 h 51442"/>
                    <a:gd name="connsiteX3" fmla="*/ 416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9134" y="0"/>
                      </a:moveTo>
                      <a:cubicBezTo>
                        <a:pt x="10131" y="8345"/>
                        <a:pt x="9010" y="14573"/>
                        <a:pt x="7764" y="18808"/>
                      </a:cubicBezTo>
                      <a:cubicBezTo>
                        <a:pt x="5772" y="25534"/>
                        <a:pt x="3031" y="28150"/>
                        <a:pt x="1288" y="35001"/>
                      </a:cubicBezTo>
                      <a:cubicBezTo>
                        <a:pt x="-456" y="41727"/>
                        <a:pt x="-83" y="47581"/>
                        <a:pt x="41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6" name="Freeform 8339">
                  <a:extLst>
                    <a:ext uri="{FF2B5EF4-FFF2-40B4-BE49-F238E27FC236}">
                      <a16:creationId xmlns:a16="http://schemas.microsoft.com/office/drawing/2014/main" id="{99D46DA7-CF7A-1FC7-5EE2-D861F9A3F059}"/>
                    </a:ext>
                  </a:extLst>
                </p:cNvPr>
                <p:cNvSpPr/>
                <p:nvPr/>
              </p:nvSpPr>
              <p:spPr>
                <a:xfrm>
                  <a:off x="3971198" y="1800568"/>
                  <a:ext cx="26712" cy="26504"/>
                </a:xfrm>
                <a:custGeom>
                  <a:avLst/>
                  <a:gdLst>
                    <a:gd name="connsiteX0" fmla="*/ 199 w 26712"/>
                    <a:gd name="connsiteY0" fmla="*/ 10824 h 26504"/>
                    <a:gd name="connsiteX1" fmla="*/ 15768 w 26712"/>
                    <a:gd name="connsiteY1" fmla="*/ 236 h 26504"/>
                    <a:gd name="connsiteX2" fmla="*/ 26481 w 26712"/>
                    <a:gd name="connsiteY2" fmla="*/ 15681 h 26504"/>
                    <a:gd name="connsiteX3" fmla="*/ 10911 w 26712"/>
                    <a:gd name="connsiteY3" fmla="*/ 26269 h 26504"/>
                    <a:gd name="connsiteX4" fmla="*/ 199 w 26712"/>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2" h="26504">
                      <a:moveTo>
                        <a:pt x="199" y="10824"/>
                      </a:moveTo>
                      <a:cubicBezTo>
                        <a:pt x="1569" y="3599"/>
                        <a:pt x="8420" y="-1134"/>
                        <a:pt x="15768" y="236"/>
                      </a:cubicBezTo>
                      <a:cubicBezTo>
                        <a:pt x="22993" y="1606"/>
                        <a:pt x="27851" y="8457"/>
                        <a:pt x="26481" y="15681"/>
                      </a:cubicBezTo>
                      <a:cubicBezTo>
                        <a:pt x="25235" y="22906"/>
                        <a:pt x="18260" y="27639"/>
                        <a:pt x="10911" y="26269"/>
                      </a:cubicBezTo>
                      <a:cubicBezTo>
                        <a:pt x="3686" y="24898"/>
                        <a:pt x="-1047" y="18048"/>
                        <a:pt x="199"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7" name="Freeform 8340">
                  <a:extLst>
                    <a:ext uri="{FF2B5EF4-FFF2-40B4-BE49-F238E27FC236}">
                      <a16:creationId xmlns:a16="http://schemas.microsoft.com/office/drawing/2014/main" id="{3027D2A4-778B-1F4E-F706-8AF886E91D5F}"/>
                    </a:ext>
                  </a:extLst>
                </p:cNvPr>
                <p:cNvSpPr/>
                <p:nvPr/>
              </p:nvSpPr>
              <p:spPr>
                <a:xfrm>
                  <a:off x="3991575" y="1699663"/>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232" y="13701"/>
                        <a:pt x="4858" y="18061"/>
                      </a:cubicBezTo>
                      <a:cubicBezTo>
                        <a:pt x="4360" y="25036"/>
                        <a:pt x="5854" y="28399"/>
                        <a:pt x="5107" y="35499"/>
                      </a:cubicBezTo>
                      <a:cubicBezTo>
                        <a:pt x="4360"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8" name="Freeform 8341">
                  <a:extLst>
                    <a:ext uri="{FF2B5EF4-FFF2-40B4-BE49-F238E27FC236}">
                      <a16:creationId xmlns:a16="http://schemas.microsoft.com/office/drawing/2014/main" id="{ABC42D27-5DAC-2B1B-0AE6-8698C498E99C}"/>
                    </a:ext>
                  </a:extLst>
                </p:cNvPr>
                <p:cNvSpPr/>
                <p:nvPr/>
              </p:nvSpPr>
              <p:spPr>
                <a:xfrm>
                  <a:off x="4000533" y="1696051"/>
                  <a:ext cx="9517" cy="51442"/>
                </a:xfrm>
                <a:custGeom>
                  <a:avLst/>
                  <a:gdLst>
                    <a:gd name="connsiteX0" fmla="*/ 383 w 9517"/>
                    <a:gd name="connsiteY0" fmla="*/ 51442 h 51442"/>
                    <a:gd name="connsiteX1" fmla="*/ 1754 w 9517"/>
                    <a:gd name="connsiteY1" fmla="*/ 32634 h 51442"/>
                    <a:gd name="connsiteX2" fmla="*/ 8230 w 9517"/>
                    <a:gd name="connsiteY2" fmla="*/ 16442 h 51442"/>
                    <a:gd name="connsiteX3" fmla="*/ 9102 w 9517"/>
                    <a:gd name="connsiteY3" fmla="*/ 0 h 51442"/>
                  </a:gdLst>
                  <a:ahLst/>
                  <a:cxnLst>
                    <a:cxn ang="0">
                      <a:pos x="connsiteX0" y="connsiteY0"/>
                    </a:cxn>
                    <a:cxn ang="0">
                      <a:pos x="connsiteX1" y="connsiteY1"/>
                    </a:cxn>
                    <a:cxn ang="0">
                      <a:pos x="connsiteX2" y="connsiteY2"/>
                    </a:cxn>
                    <a:cxn ang="0">
                      <a:pos x="connsiteX3" y="connsiteY3"/>
                    </a:cxn>
                  </a:cxnLst>
                  <a:rect l="l" t="t" r="r" b="b"/>
                  <a:pathLst>
                    <a:path w="9517" h="51442">
                      <a:moveTo>
                        <a:pt x="383" y="51442"/>
                      </a:moveTo>
                      <a:cubicBezTo>
                        <a:pt x="-613" y="43097"/>
                        <a:pt x="508" y="36869"/>
                        <a:pt x="1754" y="32634"/>
                      </a:cubicBezTo>
                      <a:cubicBezTo>
                        <a:pt x="3746" y="25908"/>
                        <a:pt x="6362" y="23292"/>
                        <a:pt x="8230" y="16442"/>
                      </a:cubicBezTo>
                      <a:cubicBezTo>
                        <a:pt x="9974" y="9716"/>
                        <a:pt x="9601" y="3861"/>
                        <a:pt x="91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9" name="Freeform 8342">
                  <a:extLst>
                    <a:ext uri="{FF2B5EF4-FFF2-40B4-BE49-F238E27FC236}">
                      <a16:creationId xmlns:a16="http://schemas.microsoft.com/office/drawing/2014/main" id="{3926B740-52B8-C988-93C7-E53CBFD4D9E9}"/>
                    </a:ext>
                  </a:extLst>
                </p:cNvPr>
                <p:cNvSpPr/>
                <p:nvPr/>
              </p:nvSpPr>
              <p:spPr>
                <a:xfrm>
                  <a:off x="3993461" y="1680121"/>
                  <a:ext cx="26338" cy="26504"/>
                </a:xfrm>
                <a:custGeom>
                  <a:avLst/>
                  <a:gdLst>
                    <a:gd name="connsiteX0" fmla="*/ 26140 w 26338"/>
                    <a:gd name="connsiteY0" fmla="*/ 15681 h 26504"/>
                    <a:gd name="connsiteX1" fmla="*/ 10819 w 26338"/>
                    <a:gd name="connsiteY1" fmla="*/ 26269 h 26504"/>
                    <a:gd name="connsiteX2" fmla="*/ 232 w 26338"/>
                    <a:gd name="connsiteY2" fmla="*/ 10823 h 26504"/>
                    <a:gd name="connsiteX3" fmla="*/ 15552 w 26338"/>
                    <a:gd name="connsiteY3" fmla="*/ 236 h 26504"/>
                    <a:gd name="connsiteX4" fmla="*/ 26140 w 26338"/>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504">
                      <a:moveTo>
                        <a:pt x="26140" y="15681"/>
                      </a:moveTo>
                      <a:cubicBezTo>
                        <a:pt x="24894" y="22906"/>
                        <a:pt x="17919" y="27639"/>
                        <a:pt x="10819" y="26269"/>
                      </a:cubicBezTo>
                      <a:cubicBezTo>
                        <a:pt x="3719" y="24898"/>
                        <a:pt x="-1139" y="18048"/>
                        <a:pt x="232" y="10823"/>
                      </a:cubicBezTo>
                      <a:cubicBezTo>
                        <a:pt x="1602" y="3599"/>
                        <a:pt x="8453" y="-1134"/>
                        <a:pt x="15552" y="236"/>
                      </a:cubicBezTo>
                      <a:cubicBezTo>
                        <a:pt x="22652" y="1606"/>
                        <a:pt x="27385" y="8457"/>
                        <a:pt x="26140"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49" name="Graphic 2987">
                <a:extLst>
                  <a:ext uri="{FF2B5EF4-FFF2-40B4-BE49-F238E27FC236}">
                    <a16:creationId xmlns:a16="http://schemas.microsoft.com/office/drawing/2014/main" id="{2364E565-048F-6EC1-79F4-44FE6CA13AD7}"/>
                  </a:ext>
                </a:extLst>
              </p:cNvPr>
              <p:cNvGrpSpPr/>
              <p:nvPr/>
            </p:nvGrpSpPr>
            <p:grpSpPr>
              <a:xfrm>
                <a:off x="3941889" y="1674765"/>
                <a:ext cx="48924" cy="146827"/>
                <a:chOff x="3941889" y="1674765"/>
                <a:chExt cx="48924" cy="146827"/>
              </a:xfrm>
              <a:grpFill/>
            </p:grpSpPr>
            <p:sp>
              <p:nvSpPr>
                <p:cNvPr id="5898" name="Freeform 8344">
                  <a:extLst>
                    <a:ext uri="{FF2B5EF4-FFF2-40B4-BE49-F238E27FC236}">
                      <a16:creationId xmlns:a16="http://schemas.microsoft.com/office/drawing/2014/main" id="{B4763601-AC37-D52E-9D3C-102031C85917}"/>
                    </a:ext>
                  </a:extLst>
                </p:cNvPr>
                <p:cNvSpPr/>
                <p:nvPr/>
              </p:nvSpPr>
              <p:spPr>
                <a:xfrm>
                  <a:off x="3960062" y="1750857"/>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986" y="43720"/>
                        <a:pt x="5107" y="37492"/>
                        <a:pt x="5356" y="33132"/>
                      </a:cubicBezTo>
                      <a:cubicBezTo>
                        <a:pt x="5854" y="26157"/>
                        <a:pt x="4360" y="22794"/>
                        <a:pt x="5107" y="15694"/>
                      </a:cubicBezTo>
                      <a:cubicBezTo>
                        <a:pt x="5854" y="8844"/>
                        <a:pt x="8346"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9" name="Freeform 8345">
                  <a:extLst>
                    <a:ext uri="{FF2B5EF4-FFF2-40B4-BE49-F238E27FC236}">
                      <a16:creationId xmlns:a16="http://schemas.microsoft.com/office/drawing/2014/main" id="{02B5DB0A-804E-6128-98F8-574BFA0E9A9B}"/>
                    </a:ext>
                  </a:extLst>
                </p:cNvPr>
                <p:cNvSpPr/>
                <p:nvPr/>
              </p:nvSpPr>
              <p:spPr>
                <a:xfrm>
                  <a:off x="3951799" y="1754344"/>
                  <a:ext cx="9621" cy="51442"/>
                </a:xfrm>
                <a:custGeom>
                  <a:avLst/>
                  <a:gdLst>
                    <a:gd name="connsiteX0" fmla="*/ 9259 w 9621"/>
                    <a:gd name="connsiteY0" fmla="*/ 0 h 51442"/>
                    <a:gd name="connsiteX1" fmla="*/ 7765 w 9621"/>
                    <a:gd name="connsiteY1" fmla="*/ 18808 h 51442"/>
                    <a:gd name="connsiteX2" fmla="*/ 1287 w 9621"/>
                    <a:gd name="connsiteY2" fmla="*/ 35001 h 51442"/>
                    <a:gd name="connsiteX3" fmla="*/ 415 w 9621"/>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621" h="51442">
                      <a:moveTo>
                        <a:pt x="9259" y="0"/>
                      </a:moveTo>
                      <a:cubicBezTo>
                        <a:pt x="10256" y="8345"/>
                        <a:pt x="9010" y="14573"/>
                        <a:pt x="7765" y="18808"/>
                      </a:cubicBezTo>
                      <a:cubicBezTo>
                        <a:pt x="5772" y="25534"/>
                        <a:pt x="3031" y="28150"/>
                        <a:pt x="1287" y="35001"/>
                      </a:cubicBezTo>
                      <a:cubicBezTo>
                        <a:pt x="-456" y="41727"/>
                        <a:pt x="-83" y="47581"/>
                        <a:pt x="41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0" name="Freeform 8346">
                  <a:extLst>
                    <a:ext uri="{FF2B5EF4-FFF2-40B4-BE49-F238E27FC236}">
                      <a16:creationId xmlns:a16="http://schemas.microsoft.com/office/drawing/2014/main" id="{BD29150F-8115-1F47-106C-B1A58DFC3010}"/>
                    </a:ext>
                  </a:extLst>
                </p:cNvPr>
                <p:cNvSpPr/>
                <p:nvPr/>
              </p:nvSpPr>
              <p:spPr>
                <a:xfrm>
                  <a:off x="3941889" y="1795088"/>
                  <a:ext cx="26749" cy="26504"/>
                </a:xfrm>
                <a:custGeom>
                  <a:avLst/>
                  <a:gdLst>
                    <a:gd name="connsiteX0" fmla="*/ 236 w 26749"/>
                    <a:gd name="connsiteY0" fmla="*/ 10823 h 26504"/>
                    <a:gd name="connsiteX1" fmla="*/ 15806 w 26749"/>
                    <a:gd name="connsiteY1" fmla="*/ 236 h 26504"/>
                    <a:gd name="connsiteX2" fmla="*/ 26518 w 26749"/>
                    <a:gd name="connsiteY2" fmla="*/ 15681 h 26504"/>
                    <a:gd name="connsiteX3" fmla="*/ 10948 w 26749"/>
                    <a:gd name="connsiteY3" fmla="*/ 26269 h 26504"/>
                    <a:gd name="connsiteX4" fmla="*/ 236 w 26749"/>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504">
                      <a:moveTo>
                        <a:pt x="236" y="10823"/>
                      </a:moveTo>
                      <a:cubicBezTo>
                        <a:pt x="1606" y="3599"/>
                        <a:pt x="8581" y="-1134"/>
                        <a:pt x="15806" y="236"/>
                      </a:cubicBezTo>
                      <a:cubicBezTo>
                        <a:pt x="23030" y="1606"/>
                        <a:pt x="27888" y="8457"/>
                        <a:pt x="26518" y="15681"/>
                      </a:cubicBezTo>
                      <a:cubicBezTo>
                        <a:pt x="25147"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1" name="Freeform 8347">
                  <a:extLst>
                    <a:ext uri="{FF2B5EF4-FFF2-40B4-BE49-F238E27FC236}">
                      <a16:creationId xmlns:a16="http://schemas.microsoft.com/office/drawing/2014/main" id="{21CE6063-65CC-6640-DCC4-5D68CA1563E7}"/>
                    </a:ext>
                  </a:extLst>
                </p:cNvPr>
                <p:cNvSpPr/>
                <p:nvPr/>
              </p:nvSpPr>
              <p:spPr>
                <a:xfrm>
                  <a:off x="3962553" y="1694308"/>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3"/>
                        <a:pt x="5107" y="13701"/>
                        <a:pt x="4858" y="18061"/>
                      </a:cubicBezTo>
                      <a:cubicBezTo>
                        <a:pt x="4360" y="25036"/>
                        <a:pt x="5854" y="28399"/>
                        <a:pt x="5107" y="35499"/>
                      </a:cubicBezTo>
                      <a:cubicBezTo>
                        <a:pt x="4360" y="42350"/>
                        <a:pt x="1868"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2" name="Freeform 8348">
                  <a:extLst>
                    <a:ext uri="{FF2B5EF4-FFF2-40B4-BE49-F238E27FC236}">
                      <a16:creationId xmlns:a16="http://schemas.microsoft.com/office/drawing/2014/main" id="{9F511FA4-100F-1EC4-8742-5D91D111C72D}"/>
                    </a:ext>
                  </a:extLst>
                </p:cNvPr>
                <p:cNvSpPr/>
                <p:nvPr/>
              </p:nvSpPr>
              <p:spPr>
                <a:xfrm>
                  <a:off x="3971408" y="1690571"/>
                  <a:ext cx="9621" cy="51442"/>
                </a:xfrm>
                <a:custGeom>
                  <a:avLst/>
                  <a:gdLst>
                    <a:gd name="connsiteX0" fmla="*/ 362 w 9621"/>
                    <a:gd name="connsiteY0" fmla="*/ 51442 h 51442"/>
                    <a:gd name="connsiteX1" fmla="*/ 1857 w 9621"/>
                    <a:gd name="connsiteY1" fmla="*/ 32634 h 51442"/>
                    <a:gd name="connsiteX2" fmla="*/ 8334 w 9621"/>
                    <a:gd name="connsiteY2" fmla="*/ 16442 h 51442"/>
                    <a:gd name="connsiteX3" fmla="*/ 9205 w 9621"/>
                    <a:gd name="connsiteY3" fmla="*/ 0 h 51442"/>
                  </a:gdLst>
                  <a:ahLst/>
                  <a:cxnLst>
                    <a:cxn ang="0">
                      <a:pos x="connsiteX0" y="connsiteY0"/>
                    </a:cxn>
                    <a:cxn ang="0">
                      <a:pos x="connsiteX1" y="connsiteY1"/>
                    </a:cxn>
                    <a:cxn ang="0">
                      <a:pos x="connsiteX2" y="connsiteY2"/>
                    </a:cxn>
                    <a:cxn ang="0">
                      <a:pos x="connsiteX3" y="connsiteY3"/>
                    </a:cxn>
                  </a:cxnLst>
                  <a:rect l="l" t="t" r="r" b="b"/>
                  <a:pathLst>
                    <a:path w="9621" h="51442">
                      <a:moveTo>
                        <a:pt x="362" y="51442"/>
                      </a:moveTo>
                      <a:cubicBezTo>
                        <a:pt x="-634" y="43097"/>
                        <a:pt x="611" y="36869"/>
                        <a:pt x="1857" y="32634"/>
                      </a:cubicBezTo>
                      <a:cubicBezTo>
                        <a:pt x="3850" y="25908"/>
                        <a:pt x="6590" y="23292"/>
                        <a:pt x="8334" y="16442"/>
                      </a:cubicBezTo>
                      <a:cubicBezTo>
                        <a:pt x="10077" y="9715"/>
                        <a:pt x="9704" y="3861"/>
                        <a:pt x="9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903" name="Freeform 8349">
                  <a:extLst>
                    <a:ext uri="{FF2B5EF4-FFF2-40B4-BE49-F238E27FC236}">
                      <a16:creationId xmlns:a16="http://schemas.microsoft.com/office/drawing/2014/main" id="{4264A564-E55D-9D25-B956-0CD2AA565A5C}"/>
                    </a:ext>
                  </a:extLst>
                </p:cNvPr>
                <p:cNvSpPr/>
                <p:nvPr/>
              </p:nvSpPr>
              <p:spPr>
                <a:xfrm>
                  <a:off x="3964343" y="1674765"/>
                  <a:ext cx="26471" cy="26504"/>
                </a:xfrm>
                <a:custGeom>
                  <a:avLst/>
                  <a:gdLst>
                    <a:gd name="connsiteX0" fmla="*/ 26235 w 26471"/>
                    <a:gd name="connsiteY0" fmla="*/ 15681 h 26504"/>
                    <a:gd name="connsiteX1" fmla="*/ 10790 w 26471"/>
                    <a:gd name="connsiteY1" fmla="*/ 26269 h 26504"/>
                    <a:gd name="connsiteX2" fmla="*/ 203 w 26471"/>
                    <a:gd name="connsiteY2" fmla="*/ 10823 h 26504"/>
                    <a:gd name="connsiteX3" fmla="*/ 15648 w 26471"/>
                    <a:gd name="connsiteY3" fmla="*/ 236 h 26504"/>
                    <a:gd name="connsiteX4" fmla="*/ 26235 w 26471"/>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0" h="26504">
                      <a:moveTo>
                        <a:pt x="26235" y="15681"/>
                      </a:moveTo>
                      <a:cubicBezTo>
                        <a:pt x="24865" y="22906"/>
                        <a:pt x="18015" y="27639"/>
                        <a:pt x="10790" y="26269"/>
                      </a:cubicBezTo>
                      <a:cubicBezTo>
                        <a:pt x="3566" y="24898"/>
                        <a:pt x="-1043" y="18048"/>
                        <a:pt x="203" y="10823"/>
                      </a:cubicBezTo>
                      <a:cubicBezTo>
                        <a:pt x="1573" y="3599"/>
                        <a:pt x="8424" y="-1134"/>
                        <a:pt x="15648" y="236"/>
                      </a:cubicBezTo>
                      <a:cubicBezTo>
                        <a:pt x="22872" y="1482"/>
                        <a:pt x="27605" y="8457"/>
                        <a:pt x="26235"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0" name="Graphic 2987">
                <a:extLst>
                  <a:ext uri="{FF2B5EF4-FFF2-40B4-BE49-F238E27FC236}">
                    <a16:creationId xmlns:a16="http://schemas.microsoft.com/office/drawing/2014/main" id="{5570B1B1-7946-09D9-D066-23FDA74C2E3F}"/>
                  </a:ext>
                </a:extLst>
              </p:cNvPr>
              <p:cNvGrpSpPr/>
              <p:nvPr/>
            </p:nvGrpSpPr>
            <p:grpSpPr>
              <a:xfrm>
                <a:off x="3912494" y="1669284"/>
                <a:ext cx="49394" cy="146827"/>
                <a:chOff x="3912494" y="1669284"/>
                <a:chExt cx="49394" cy="146827"/>
              </a:xfrm>
              <a:grpFill/>
            </p:grpSpPr>
            <p:sp>
              <p:nvSpPr>
                <p:cNvPr id="5892" name="Freeform 8351">
                  <a:extLst>
                    <a:ext uri="{FF2B5EF4-FFF2-40B4-BE49-F238E27FC236}">
                      <a16:creationId xmlns:a16="http://schemas.microsoft.com/office/drawing/2014/main" id="{16984F72-46EB-5B2A-7466-E7037CE5CB20}"/>
                    </a:ext>
                  </a:extLst>
                </p:cNvPr>
                <p:cNvSpPr/>
                <p:nvPr/>
              </p:nvSpPr>
              <p:spPr>
                <a:xfrm>
                  <a:off x="3930791" y="1745376"/>
                  <a:ext cx="10338" cy="51193"/>
                </a:xfrm>
                <a:custGeom>
                  <a:avLst/>
                  <a:gdLst>
                    <a:gd name="connsiteX0" fmla="*/ 0 w 10338"/>
                    <a:gd name="connsiteY0" fmla="*/ 51193 h 51193"/>
                    <a:gd name="connsiteX1" fmla="*/ 5481 w 10338"/>
                    <a:gd name="connsiteY1" fmla="*/ 33132 h 51193"/>
                    <a:gd name="connsiteX2" fmla="*/ 5232 w 10338"/>
                    <a:gd name="connsiteY2" fmla="*/ 15694 h 51193"/>
                    <a:gd name="connsiteX3" fmla="*/ 10339 w 10338"/>
                    <a:gd name="connsiteY3" fmla="*/ 0 h 51193"/>
                  </a:gdLst>
                  <a:ahLst/>
                  <a:cxnLst>
                    <a:cxn ang="0">
                      <a:pos x="connsiteX0" y="connsiteY0"/>
                    </a:cxn>
                    <a:cxn ang="0">
                      <a:pos x="connsiteX1" y="connsiteY1"/>
                    </a:cxn>
                    <a:cxn ang="0">
                      <a:pos x="connsiteX2" y="connsiteY2"/>
                    </a:cxn>
                    <a:cxn ang="0">
                      <a:pos x="connsiteX3" y="connsiteY3"/>
                    </a:cxn>
                  </a:cxnLst>
                  <a:rect l="l" t="t" r="r" b="b"/>
                  <a:pathLst>
                    <a:path w="10338" h="51193">
                      <a:moveTo>
                        <a:pt x="0" y="51193"/>
                      </a:moveTo>
                      <a:cubicBezTo>
                        <a:pt x="3986" y="43720"/>
                        <a:pt x="5107" y="37492"/>
                        <a:pt x="5481" y="33132"/>
                      </a:cubicBezTo>
                      <a:cubicBezTo>
                        <a:pt x="5979" y="26157"/>
                        <a:pt x="4484" y="22794"/>
                        <a:pt x="5232" y="15694"/>
                      </a:cubicBezTo>
                      <a:cubicBezTo>
                        <a:pt x="5979" y="8844"/>
                        <a:pt x="8470" y="3488"/>
                        <a:pt x="103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3" name="Freeform 8352">
                  <a:extLst>
                    <a:ext uri="{FF2B5EF4-FFF2-40B4-BE49-F238E27FC236}">
                      <a16:creationId xmlns:a16="http://schemas.microsoft.com/office/drawing/2014/main" id="{B062E2AA-8D60-1B93-3E93-44780595CE3A}"/>
                    </a:ext>
                  </a:extLst>
                </p:cNvPr>
                <p:cNvSpPr/>
                <p:nvPr/>
              </p:nvSpPr>
              <p:spPr>
                <a:xfrm>
                  <a:off x="3922476" y="1748864"/>
                  <a:ext cx="9797" cy="51317"/>
                </a:xfrm>
                <a:custGeom>
                  <a:avLst/>
                  <a:gdLst>
                    <a:gd name="connsiteX0" fmla="*/ 9436 w 9797"/>
                    <a:gd name="connsiteY0" fmla="*/ 0 h 51317"/>
                    <a:gd name="connsiteX1" fmla="*/ 7941 w 9797"/>
                    <a:gd name="connsiteY1" fmla="*/ 18684 h 51317"/>
                    <a:gd name="connsiteX2" fmla="*/ 1339 w 9797"/>
                    <a:gd name="connsiteY2" fmla="*/ 34876 h 51317"/>
                    <a:gd name="connsiteX3" fmla="*/ 468 w 9797"/>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797" h="51317">
                      <a:moveTo>
                        <a:pt x="9436" y="0"/>
                      </a:moveTo>
                      <a:cubicBezTo>
                        <a:pt x="10432" y="8345"/>
                        <a:pt x="9186" y="14573"/>
                        <a:pt x="7941" y="18684"/>
                      </a:cubicBezTo>
                      <a:cubicBezTo>
                        <a:pt x="5823" y="25410"/>
                        <a:pt x="3208" y="28025"/>
                        <a:pt x="1339" y="34876"/>
                      </a:cubicBezTo>
                      <a:cubicBezTo>
                        <a:pt x="-404" y="41602"/>
                        <a:pt x="-155" y="47456"/>
                        <a:pt x="468"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4" name="Freeform 8353">
                  <a:extLst>
                    <a:ext uri="{FF2B5EF4-FFF2-40B4-BE49-F238E27FC236}">
                      <a16:creationId xmlns:a16="http://schemas.microsoft.com/office/drawing/2014/main" id="{1583433B-1598-5B82-2CB5-9C7A9B806F91}"/>
                    </a:ext>
                  </a:extLst>
                </p:cNvPr>
                <p:cNvSpPr/>
                <p:nvPr/>
              </p:nvSpPr>
              <p:spPr>
                <a:xfrm>
                  <a:off x="3912494" y="1789607"/>
                  <a:ext cx="26716" cy="26504"/>
                </a:xfrm>
                <a:custGeom>
                  <a:avLst/>
                  <a:gdLst>
                    <a:gd name="connsiteX0" fmla="*/ 236 w 26716"/>
                    <a:gd name="connsiteY0" fmla="*/ 10823 h 26504"/>
                    <a:gd name="connsiteX1" fmla="*/ 15806 w 26716"/>
                    <a:gd name="connsiteY1" fmla="*/ 236 h 26504"/>
                    <a:gd name="connsiteX2" fmla="*/ 26517 w 26716"/>
                    <a:gd name="connsiteY2" fmla="*/ 15681 h 26504"/>
                    <a:gd name="connsiteX3" fmla="*/ 10948 w 26716"/>
                    <a:gd name="connsiteY3" fmla="*/ 26269 h 26504"/>
                    <a:gd name="connsiteX4" fmla="*/ 236 w 26716"/>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4">
                      <a:moveTo>
                        <a:pt x="236" y="10823"/>
                      </a:moveTo>
                      <a:cubicBezTo>
                        <a:pt x="1606" y="3599"/>
                        <a:pt x="8581" y="-1134"/>
                        <a:pt x="15806" y="236"/>
                      </a:cubicBezTo>
                      <a:cubicBezTo>
                        <a:pt x="23030" y="1606"/>
                        <a:pt x="27763" y="8457"/>
                        <a:pt x="26517" y="15681"/>
                      </a:cubicBezTo>
                      <a:cubicBezTo>
                        <a:pt x="25272" y="22906"/>
                        <a:pt x="18172" y="27639"/>
                        <a:pt x="10948"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5" name="Freeform 8354">
                  <a:extLst>
                    <a:ext uri="{FF2B5EF4-FFF2-40B4-BE49-F238E27FC236}">
                      <a16:creationId xmlns:a16="http://schemas.microsoft.com/office/drawing/2014/main" id="{5C67C618-D81E-FD73-4604-B6B39E31B82A}"/>
                    </a:ext>
                  </a:extLst>
                </p:cNvPr>
                <p:cNvSpPr/>
                <p:nvPr/>
              </p:nvSpPr>
              <p:spPr>
                <a:xfrm>
                  <a:off x="3933157" y="1688952"/>
                  <a:ext cx="10587" cy="51193"/>
                </a:xfrm>
                <a:custGeom>
                  <a:avLst/>
                  <a:gdLst>
                    <a:gd name="connsiteX0" fmla="*/ 10587 w 10587"/>
                    <a:gd name="connsiteY0" fmla="*/ 0 h 51193"/>
                    <a:gd name="connsiteX1" fmla="*/ 5107 w 10587"/>
                    <a:gd name="connsiteY1" fmla="*/ 18061 h 51193"/>
                    <a:gd name="connsiteX2" fmla="*/ 5232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4" y="28399"/>
                        <a:pt x="5232" y="35499"/>
                      </a:cubicBezTo>
                      <a:cubicBezTo>
                        <a:pt x="4484"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6" name="Freeform 8355">
                  <a:extLst>
                    <a:ext uri="{FF2B5EF4-FFF2-40B4-BE49-F238E27FC236}">
                      <a16:creationId xmlns:a16="http://schemas.microsoft.com/office/drawing/2014/main" id="{9BBE24F8-2076-203B-1EB0-C504AC1C196F}"/>
                    </a:ext>
                  </a:extLst>
                </p:cNvPr>
                <p:cNvSpPr/>
                <p:nvPr/>
              </p:nvSpPr>
              <p:spPr>
                <a:xfrm>
                  <a:off x="3942262" y="1685339"/>
                  <a:ext cx="9673" cy="51317"/>
                </a:xfrm>
                <a:custGeom>
                  <a:avLst/>
                  <a:gdLst>
                    <a:gd name="connsiteX0" fmla="*/ 362 w 9673"/>
                    <a:gd name="connsiteY0" fmla="*/ 51318 h 51317"/>
                    <a:gd name="connsiteX1" fmla="*/ 1857 w 9673"/>
                    <a:gd name="connsiteY1" fmla="*/ 32634 h 51317"/>
                    <a:gd name="connsiteX2" fmla="*/ 8334 w 9673"/>
                    <a:gd name="connsiteY2" fmla="*/ 16442 h 51317"/>
                    <a:gd name="connsiteX3" fmla="*/ 9206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362" y="51318"/>
                      </a:moveTo>
                      <a:cubicBezTo>
                        <a:pt x="-634" y="42972"/>
                        <a:pt x="611" y="36745"/>
                        <a:pt x="1857" y="32634"/>
                      </a:cubicBezTo>
                      <a:cubicBezTo>
                        <a:pt x="3974" y="25908"/>
                        <a:pt x="6590" y="23292"/>
                        <a:pt x="8334" y="16442"/>
                      </a:cubicBezTo>
                      <a:cubicBezTo>
                        <a:pt x="10078" y="9716"/>
                        <a:pt x="9829"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7" name="Freeform 8356">
                  <a:extLst>
                    <a:ext uri="{FF2B5EF4-FFF2-40B4-BE49-F238E27FC236}">
                      <a16:creationId xmlns:a16="http://schemas.microsoft.com/office/drawing/2014/main" id="{C1FB69F5-9EFB-B5C9-53C1-F2B6D15EFE32}"/>
                    </a:ext>
                  </a:extLst>
                </p:cNvPr>
                <p:cNvSpPr/>
                <p:nvPr/>
              </p:nvSpPr>
              <p:spPr>
                <a:xfrm>
                  <a:off x="3935532" y="1669284"/>
                  <a:ext cx="26355" cy="26504"/>
                </a:xfrm>
                <a:custGeom>
                  <a:avLst/>
                  <a:gdLst>
                    <a:gd name="connsiteX0" fmla="*/ 26149 w 26355"/>
                    <a:gd name="connsiteY0" fmla="*/ 15681 h 26504"/>
                    <a:gd name="connsiteX1" fmla="*/ 10704 w 26355"/>
                    <a:gd name="connsiteY1" fmla="*/ 26269 h 26504"/>
                    <a:gd name="connsiteX2" fmla="*/ 241 w 26355"/>
                    <a:gd name="connsiteY2" fmla="*/ 10823 h 26504"/>
                    <a:gd name="connsiteX3" fmla="*/ 15686 w 26355"/>
                    <a:gd name="connsiteY3" fmla="*/ 236 h 26504"/>
                    <a:gd name="connsiteX4" fmla="*/ 26149 w 2635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504">
                      <a:moveTo>
                        <a:pt x="26149" y="15681"/>
                      </a:moveTo>
                      <a:cubicBezTo>
                        <a:pt x="24779" y="22906"/>
                        <a:pt x="17928" y="27639"/>
                        <a:pt x="10704" y="26269"/>
                      </a:cubicBezTo>
                      <a:cubicBezTo>
                        <a:pt x="3479" y="24898"/>
                        <a:pt x="-1129" y="18048"/>
                        <a:pt x="241" y="10823"/>
                      </a:cubicBezTo>
                      <a:cubicBezTo>
                        <a:pt x="1611" y="3599"/>
                        <a:pt x="8462" y="-1134"/>
                        <a:pt x="15686" y="236"/>
                      </a:cubicBezTo>
                      <a:cubicBezTo>
                        <a:pt x="22910" y="1606"/>
                        <a:pt x="27394" y="8581"/>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1" name="Graphic 2987">
                <a:extLst>
                  <a:ext uri="{FF2B5EF4-FFF2-40B4-BE49-F238E27FC236}">
                    <a16:creationId xmlns:a16="http://schemas.microsoft.com/office/drawing/2014/main" id="{DA5F9B38-089C-2745-CCA0-D6EC82EA6E9B}"/>
                  </a:ext>
                </a:extLst>
              </p:cNvPr>
              <p:cNvGrpSpPr/>
              <p:nvPr/>
            </p:nvGrpSpPr>
            <p:grpSpPr>
              <a:xfrm>
                <a:off x="3883188" y="1663929"/>
                <a:ext cx="49707" cy="146702"/>
                <a:chOff x="3883188" y="1663929"/>
                <a:chExt cx="49707" cy="146702"/>
              </a:xfrm>
              <a:grpFill/>
            </p:grpSpPr>
            <p:sp>
              <p:nvSpPr>
                <p:cNvPr id="5886" name="Freeform 8358">
                  <a:extLst>
                    <a:ext uri="{FF2B5EF4-FFF2-40B4-BE49-F238E27FC236}">
                      <a16:creationId xmlns:a16="http://schemas.microsoft.com/office/drawing/2014/main" id="{BB5E866A-331D-137C-DC3A-FE1770F82799}"/>
                    </a:ext>
                  </a:extLst>
                </p:cNvPr>
                <p:cNvSpPr/>
                <p:nvPr/>
              </p:nvSpPr>
              <p:spPr>
                <a:xfrm>
                  <a:off x="3901520" y="1739896"/>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986" y="43720"/>
                        <a:pt x="5107" y="37492"/>
                        <a:pt x="5481" y="33132"/>
                      </a:cubicBezTo>
                      <a:cubicBezTo>
                        <a:pt x="5979" y="26157"/>
                        <a:pt x="4484" y="22794"/>
                        <a:pt x="5356" y="15694"/>
                      </a:cubicBezTo>
                      <a:cubicBezTo>
                        <a:pt x="6228" y="8844"/>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7" name="Freeform 8359">
                  <a:extLst>
                    <a:ext uri="{FF2B5EF4-FFF2-40B4-BE49-F238E27FC236}">
                      <a16:creationId xmlns:a16="http://schemas.microsoft.com/office/drawing/2014/main" id="{A8D3F4E9-78B3-8D5E-1909-6AAC1919FC2A}"/>
                    </a:ext>
                  </a:extLst>
                </p:cNvPr>
                <p:cNvSpPr/>
                <p:nvPr/>
              </p:nvSpPr>
              <p:spPr>
                <a:xfrm>
                  <a:off x="3893181" y="1743383"/>
                  <a:ext cx="9891" cy="51317"/>
                </a:xfrm>
                <a:custGeom>
                  <a:avLst/>
                  <a:gdLst>
                    <a:gd name="connsiteX0" fmla="*/ 9584 w 9891"/>
                    <a:gd name="connsiteY0" fmla="*/ 0 h 51317"/>
                    <a:gd name="connsiteX1" fmla="*/ 7965 w 9891"/>
                    <a:gd name="connsiteY1" fmla="*/ 18684 h 51317"/>
                    <a:gd name="connsiteX2" fmla="*/ 1364 w 9891"/>
                    <a:gd name="connsiteY2" fmla="*/ 34876 h 51317"/>
                    <a:gd name="connsiteX3" fmla="*/ 367 w 989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891" h="51317">
                      <a:moveTo>
                        <a:pt x="9584" y="0"/>
                      </a:moveTo>
                      <a:cubicBezTo>
                        <a:pt x="10456" y="8345"/>
                        <a:pt x="9335" y="14573"/>
                        <a:pt x="7965" y="18684"/>
                      </a:cubicBezTo>
                      <a:cubicBezTo>
                        <a:pt x="5848" y="25410"/>
                        <a:pt x="3232" y="28025"/>
                        <a:pt x="1364" y="34876"/>
                      </a:cubicBezTo>
                      <a:cubicBezTo>
                        <a:pt x="-380" y="41602"/>
                        <a:pt x="-131" y="47456"/>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8" name="Freeform 8360">
                  <a:extLst>
                    <a:ext uri="{FF2B5EF4-FFF2-40B4-BE49-F238E27FC236}">
                      <a16:creationId xmlns:a16="http://schemas.microsoft.com/office/drawing/2014/main" id="{087D9E31-72B1-5245-F10D-40B79F488561}"/>
                    </a:ext>
                  </a:extLst>
                </p:cNvPr>
                <p:cNvSpPr/>
                <p:nvPr/>
              </p:nvSpPr>
              <p:spPr>
                <a:xfrm>
                  <a:off x="3883188" y="1784127"/>
                  <a:ext cx="26793" cy="26504"/>
                </a:xfrm>
                <a:custGeom>
                  <a:avLst/>
                  <a:gdLst>
                    <a:gd name="connsiteX0" fmla="*/ 271 w 26793"/>
                    <a:gd name="connsiteY0" fmla="*/ 10824 h 26504"/>
                    <a:gd name="connsiteX1" fmla="*/ 15965 w 26793"/>
                    <a:gd name="connsiteY1" fmla="*/ 236 h 26504"/>
                    <a:gd name="connsiteX2" fmla="*/ 26553 w 26793"/>
                    <a:gd name="connsiteY2" fmla="*/ 15681 h 26504"/>
                    <a:gd name="connsiteX3" fmla="*/ 10858 w 26793"/>
                    <a:gd name="connsiteY3" fmla="*/ 26269 h 26504"/>
                    <a:gd name="connsiteX4" fmla="*/ 271 w 26793"/>
                    <a:gd name="connsiteY4" fmla="*/ 1082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04">
                      <a:moveTo>
                        <a:pt x="271" y="10824"/>
                      </a:moveTo>
                      <a:cubicBezTo>
                        <a:pt x="1641" y="3599"/>
                        <a:pt x="8616" y="-1134"/>
                        <a:pt x="15965" y="236"/>
                      </a:cubicBezTo>
                      <a:cubicBezTo>
                        <a:pt x="23314" y="1606"/>
                        <a:pt x="27922" y="8457"/>
                        <a:pt x="26553" y="15681"/>
                      </a:cubicBezTo>
                      <a:cubicBezTo>
                        <a:pt x="25182" y="22906"/>
                        <a:pt x="18207" y="27639"/>
                        <a:pt x="10858" y="26269"/>
                      </a:cubicBezTo>
                      <a:cubicBezTo>
                        <a:pt x="3634" y="24898"/>
                        <a:pt x="-1224" y="18048"/>
                        <a:pt x="271"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9" name="Freeform 8361">
                  <a:extLst>
                    <a:ext uri="{FF2B5EF4-FFF2-40B4-BE49-F238E27FC236}">
                      <a16:creationId xmlns:a16="http://schemas.microsoft.com/office/drawing/2014/main" id="{6B76FFAE-DDC9-E475-D157-1C0B7CFBB16A}"/>
                    </a:ext>
                  </a:extLst>
                </p:cNvPr>
                <p:cNvSpPr/>
                <p:nvPr/>
              </p:nvSpPr>
              <p:spPr>
                <a:xfrm>
                  <a:off x="3904260" y="1683471"/>
                  <a:ext cx="10587" cy="51193"/>
                </a:xfrm>
                <a:custGeom>
                  <a:avLst/>
                  <a:gdLst>
                    <a:gd name="connsiteX0" fmla="*/ 10587 w 10587"/>
                    <a:gd name="connsiteY0" fmla="*/ 0 h 51193"/>
                    <a:gd name="connsiteX1" fmla="*/ 5107 w 10587"/>
                    <a:gd name="connsiteY1" fmla="*/ 18061 h 51193"/>
                    <a:gd name="connsiteX2" fmla="*/ 5231 w 10587"/>
                    <a:gd name="connsiteY2" fmla="*/ 35499 h 51193"/>
                    <a:gd name="connsiteX3" fmla="*/ 0 w 10587"/>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87" h="51193">
                      <a:moveTo>
                        <a:pt x="10587" y="0"/>
                      </a:moveTo>
                      <a:cubicBezTo>
                        <a:pt x="6602" y="7473"/>
                        <a:pt x="5481" y="13701"/>
                        <a:pt x="5107" y="18061"/>
                      </a:cubicBezTo>
                      <a:cubicBezTo>
                        <a:pt x="4609" y="25036"/>
                        <a:pt x="6103" y="28399"/>
                        <a:pt x="5231" y="35499"/>
                      </a:cubicBezTo>
                      <a:cubicBezTo>
                        <a:pt x="4359" y="42350"/>
                        <a:pt x="1993"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0" name="Freeform 8362">
                  <a:extLst>
                    <a:ext uri="{FF2B5EF4-FFF2-40B4-BE49-F238E27FC236}">
                      <a16:creationId xmlns:a16="http://schemas.microsoft.com/office/drawing/2014/main" id="{CE35ED80-23DA-B1E5-6BC0-88D7C452D47D}"/>
                    </a:ext>
                  </a:extLst>
                </p:cNvPr>
                <p:cNvSpPr/>
                <p:nvPr/>
              </p:nvSpPr>
              <p:spPr>
                <a:xfrm>
                  <a:off x="3913170" y="1679859"/>
                  <a:ext cx="9891" cy="51317"/>
                </a:xfrm>
                <a:custGeom>
                  <a:avLst/>
                  <a:gdLst>
                    <a:gd name="connsiteX0" fmla="*/ 308 w 9891"/>
                    <a:gd name="connsiteY0" fmla="*/ 51318 h 51317"/>
                    <a:gd name="connsiteX1" fmla="*/ 1927 w 9891"/>
                    <a:gd name="connsiteY1" fmla="*/ 32634 h 51317"/>
                    <a:gd name="connsiteX2" fmla="*/ 8529 w 9891"/>
                    <a:gd name="connsiteY2" fmla="*/ 16442 h 51317"/>
                    <a:gd name="connsiteX3" fmla="*/ 9525 w 9891"/>
                    <a:gd name="connsiteY3" fmla="*/ 0 h 51317"/>
                  </a:gdLst>
                  <a:ahLst/>
                  <a:cxnLst>
                    <a:cxn ang="0">
                      <a:pos x="connsiteX0" y="connsiteY0"/>
                    </a:cxn>
                    <a:cxn ang="0">
                      <a:pos x="connsiteX1" y="connsiteY1"/>
                    </a:cxn>
                    <a:cxn ang="0">
                      <a:pos x="connsiteX2" y="connsiteY2"/>
                    </a:cxn>
                    <a:cxn ang="0">
                      <a:pos x="connsiteX3" y="connsiteY3"/>
                    </a:cxn>
                  </a:cxnLst>
                  <a:rect l="l" t="t" r="r" b="b"/>
                  <a:pathLst>
                    <a:path w="9891" h="51317">
                      <a:moveTo>
                        <a:pt x="308" y="51318"/>
                      </a:moveTo>
                      <a:cubicBezTo>
                        <a:pt x="-564" y="42972"/>
                        <a:pt x="557" y="36745"/>
                        <a:pt x="1927" y="32634"/>
                      </a:cubicBezTo>
                      <a:cubicBezTo>
                        <a:pt x="4044" y="25908"/>
                        <a:pt x="6660" y="23292"/>
                        <a:pt x="8529" y="16442"/>
                      </a:cubicBezTo>
                      <a:cubicBezTo>
                        <a:pt x="10272" y="9715"/>
                        <a:pt x="10023" y="3861"/>
                        <a:pt x="95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91" name="Freeform 8363">
                  <a:extLst>
                    <a:ext uri="{FF2B5EF4-FFF2-40B4-BE49-F238E27FC236}">
                      <a16:creationId xmlns:a16="http://schemas.microsoft.com/office/drawing/2014/main" id="{C588A179-F7F6-DE33-4BEA-F861106E6AB4}"/>
                    </a:ext>
                  </a:extLst>
                </p:cNvPr>
                <p:cNvSpPr/>
                <p:nvPr/>
              </p:nvSpPr>
              <p:spPr>
                <a:xfrm>
                  <a:off x="3906510" y="1663929"/>
                  <a:ext cx="26385" cy="26504"/>
                </a:xfrm>
                <a:custGeom>
                  <a:avLst/>
                  <a:gdLst>
                    <a:gd name="connsiteX0" fmla="*/ 26149 w 26385"/>
                    <a:gd name="connsiteY0" fmla="*/ 15681 h 26504"/>
                    <a:gd name="connsiteX1" fmla="*/ 10704 w 26385"/>
                    <a:gd name="connsiteY1" fmla="*/ 26269 h 26504"/>
                    <a:gd name="connsiteX2" fmla="*/ 241 w 26385"/>
                    <a:gd name="connsiteY2" fmla="*/ 10823 h 26504"/>
                    <a:gd name="connsiteX3" fmla="*/ 15686 w 26385"/>
                    <a:gd name="connsiteY3" fmla="*/ 236 h 26504"/>
                    <a:gd name="connsiteX4" fmla="*/ 26149 w 26385"/>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4">
                      <a:moveTo>
                        <a:pt x="26149" y="15681"/>
                      </a:moveTo>
                      <a:cubicBezTo>
                        <a:pt x="24779" y="22906"/>
                        <a:pt x="17803" y="27639"/>
                        <a:pt x="10704" y="26269"/>
                      </a:cubicBezTo>
                      <a:cubicBezTo>
                        <a:pt x="3479" y="24898"/>
                        <a:pt x="-1129" y="18048"/>
                        <a:pt x="241" y="10823"/>
                      </a:cubicBezTo>
                      <a:cubicBezTo>
                        <a:pt x="1611" y="3599"/>
                        <a:pt x="8586" y="-1134"/>
                        <a:pt x="15686" y="236"/>
                      </a:cubicBezTo>
                      <a:cubicBezTo>
                        <a:pt x="22786" y="1606"/>
                        <a:pt x="27519" y="8457"/>
                        <a:pt x="26149"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2" name="Graphic 2987">
                <a:extLst>
                  <a:ext uri="{FF2B5EF4-FFF2-40B4-BE49-F238E27FC236}">
                    <a16:creationId xmlns:a16="http://schemas.microsoft.com/office/drawing/2014/main" id="{CE0ADBEB-01D9-2ED3-CBEC-FA5B7C562EAA}"/>
                  </a:ext>
                </a:extLst>
              </p:cNvPr>
              <p:cNvGrpSpPr/>
              <p:nvPr/>
            </p:nvGrpSpPr>
            <p:grpSpPr>
              <a:xfrm>
                <a:off x="3853827" y="1658573"/>
                <a:ext cx="50085" cy="146578"/>
                <a:chOff x="3853827" y="1658573"/>
                <a:chExt cx="50085" cy="146578"/>
              </a:xfrm>
              <a:grpFill/>
            </p:grpSpPr>
            <p:sp>
              <p:nvSpPr>
                <p:cNvPr id="5880" name="Freeform 8365">
                  <a:extLst>
                    <a:ext uri="{FF2B5EF4-FFF2-40B4-BE49-F238E27FC236}">
                      <a16:creationId xmlns:a16="http://schemas.microsoft.com/office/drawing/2014/main" id="{9DB4E783-CFBB-7DBE-EB85-D68506E51867}"/>
                    </a:ext>
                  </a:extLst>
                </p:cNvPr>
                <p:cNvSpPr/>
                <p:nvPr/>
              </p:nvSpPr>
              <p:spPr>
                <a:xfrm>
                  <a:off x="3872124" y="1734540"/>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232" y="37367"/>
                        <a:pt x="5481" y="33132"/>
                      </a:cubicBezTo>
                      <a:cubicBezTo>
                        <a:pt x="6103" y="26157"/>
                        <a:pt x="4484" y="22794"/>
                        <a:pt x="5356" y="15694"/>
                      </a:cubicBezTo>
                      <a:cubicBezTo>
                        <a:pt x="6228" y="8844"/>
                        <a:pt x="8719"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1" name="Freeform 8366">
                  <a:extLst>
                    <a:ext uri="{FF2B5EF4-FFF2-40B4-BE49-F238E27FC236}">
                      <a16:creationId xmlns:a16="http://schemas.microsoft.com/office/drawing/2014/main" id="{2319FA4E-6980-47A1-6FB2-07D09905BBB5}"/>
                    </a:ext>
                  </a:extLst>
                </p:cNvPr>
                <p:cNvSpPr/>
                <p:nvPr/>
              </p:nvSpPr>
              <p:spPr>
                <a:xfrm>
                  <a:off x="3863872" y="1738027"/>
                  <a:ext cx="10038" cy="51317"/>
                </a:xfrm>
                <a:custGeom>
                  <a:avLst/>
                  <a:gdLst>
                    <a:gd name="connsiteX0" fmla="*/ 9747 w 10038"/>
                    <a:gd name="connsiteY0" fmla="*/ 0 h 51317"/>
                    <a:gd name="connsiteX1" fmla="*/ 8128 w 10038"/>
                    <a:gd name="connsiteY1" fmla="*/ 18684 h 51317"/>
                    <a:gd name="connsiteX2" fmla="*/ 1402 w 10038"/>
                    <a:gd name="connsiteY2" fmla="*/ 34876 h 51317"/>
                    <a:gd name="connsiteX3" fmla="*/ 405 w 10038"/>
                    <a:gd name="connsiteY3" fmla="*/ 51318 h 51317"/>
                  </a:gdLst>
                  <a:ahLst/>
                  <a:cxnLst>
                    <a:cxn ang="0">
                      <a:pos x="connsiteX0" y="connsiteY0"/>
                    </a:cxn>
                    <a:cxn ang="0">
                      <a:pos x="connsiteX1" y="connsiteY1"/>
                    </a:cxn>
                    <a:cxn ang="0">
                      <a:pos x="connsiteX2" y="connsiteY2"/>
                    </a:cxn>
                    <a:cxn ang="0">
                      <a:pos x="connsiteX3" y="connsiteY3"/>
                    </a:cxn>
                  </a:cxnLst>
                  <a:rect l="l" t="t" r="r" b="b"/>
                  <a:pathLst>
                    <a:path w="10038" h="51317">
                      <a:moveTo>
                        <a:pt x="9747" y="0"/>
                      </a:moveTo>
                      <a:cubicBezTo>
                        <a:pt x="10619" y="8345"/>
                        <a:pt x="9373" y="14573"/>
                        <a:pt x="8128" y="18684"/>
                      </a:cubicBezTo>
                      <a:cubicBezTo>
                        <a:pt x="6010" y="25410"/>
                        <a:pt x="3270" y="27901"/>
                        <a:pt x="1402" y="34876"/>
                      </a:cubicBezTo>
                      <a:cubicBezTo>
                        <a:pt x="-467" y="41602"/>
                        <a:pt x="-93" y="47456"/>
                        <a:pt x="40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2" name="Freeform 8367">
                  <a:extLst>
                    <a:ext uri="{FF2B5EF4-FFF2-40B4-BE49-F238E27FC236}">
                      <a16:creationId xmlns:a16="http://schemas.microsoft.com/office/drawing/2014/main" id="{D85242C6-AF16-618C-7CD6-2983E4FDB767}"/>
                    </a:ext>
                  </a:extLst>
                </p:cNvPr>
                <p:cNvSpPr/>
                <p:nvPr/>
              </p:nvSpPr>
              <p:spPr>
                <a:xfrm>
                  <a:off x="3853827" y="1778646"/>
                  <a:ext cx="26753" cy="26504"/>
                </a:xfrm>
                <a:custGeom>
                  <a:avLst/>
                  <a:gdLst>
                    <a:gd name="connsiteX0" fmla="*/ 236 w 26753"/>
                    <a:gd name="connsiteY0" fmla="*/ 10823 h 26504"/>
                    <a:gd name="connsiteX1" fmla="*/ 15930 w 26753"/>
                    <a:gd name="connsiteY1" fmla="*/ 236 h 26504"/>
                    <a:gd name="connsiteX2" fmla="*/ 26518 w 26753"/>
                    <a:gd name="connsiteY2" fmla="*/ 15681 h 26504"/>
                    <a:gd name="connsiteX3" fmla="*/ 10823 w 26753"/>
                    <a:gd name="connsiteY3" fmla="*/ 26269 h 26504"/>
                    <a:gd name="connsiteX4" fmla="*/ 236 w 26753"/>
                    <a:gd name="connsiteY4" fmla="*/ 1082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823"/>
                      </a:moveTo>
                      <a:cubicBezTo>
                        <a:pt x="1606" y="3599"/>
                        <a:pt x="8706" y="-1134"/>
                        <a:pt x="15930" y="236"/>
                      </a:cubicBezTo>
                      <a:cubicBezTo>
                        <a:pt x="23155" y="1606"/>
                        <a:pt x="27888" y="8457"/>
                        <a:pt x="26518" y="15681"/>
                      </a:cubicBezTo>
                      <a:cubicBezTo>
                        <a:pt x="25148" y="22906"/>
                        <a:pt x="18048" y="27639"/>
                        <a:pt x="10823" y="26269"/>
                      </a:cubicBezTo>
                      <a:cubicBezTo>
                        <a:pt x="3599" y="24898"/>
                        <a:pt x="-1134" y="18048"/>
                        <a:pt x="236" y="108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3" name="Freeform 8368">
                  <a:extLst>
                    <a:ext uri="{FF2B5EF4-FFF2-40B4-BE49-F238E27FC236}">
                      <a16:creationId xmlns:a16="http://schemas.microsoft.com/office/drawing/2014/main" id="{110E70B2-A9B5-C920-9620-68477B79159F}"/>
                    </a:ext>
                  </a:extLst>
                </p:cNvPr>
                <p:cNvSpPr/>
                <p:nvPr/>
              </p:nvSpPr>
              <p:spPr>
                <a:xfrm>
                  <a:off x="3875238" y="1678115"/>
                  <a:ext cx="10587" cy="51068"/>
                </a:xfrm>
                <a:custGeom>
                  <a:avLst/>
                  <a:gdLst>
                    <a:gd name="connsiteX0" fmla="*/ 10587 w 10587"/>
                    <a:gd name="connsiteY0" fmla="*/ 0 h 51068"/>
                    <a:gd name="connsiteX1" fmla="*/ 5107 w 10587"/>
                    <a:gd name="connsiteY1" fmla="*/ 17936 h 51068"/>
                    <a:gd name="connsiteX2" fmla="*/ 5232 w 10587"/>
                    <a:gd name="connsiteY2" fmla="*/ 35374 h 51068"/>
                    <a:gd name="connsiteX3" fmla="*/ 0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0"/>
                      </a:moveTo>
                      <a:cubicBezTo>
                        <a:pt x="6602" y="7473"/>
                        <a:pt x="5356" y="13701"/>
                        <a:pt x="5107" y="17936"/>
                      </a:cubicBezTo>
                      <a:cubicBezTo>
                        <a:pt x="4484" y="24912"/>
                        <a:pt x="5979" y="28275"/>
                        <a:pt x="5232" y="35374"/>
                      </a:cubicBezTo>
                      <a:cubicBezTo>
                        <a:pt x="4360" y="42225"/>
                        <a:pt x="1868"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4" name="Freeform 8369">
                  <a:extLst>
                    <a:ext uri="{FF2B5EF4-FFF2-40B4-BE49-F238E27FC236}">
                      <a16:creationId xmlns:a16="http://schemas.microsoft.com/office/drawing/2014/main" id="{A723035D-48C1-D55B-62D4-E602D1AEAB77}"/>
                    </a:ext>
                  </a:extLst>
                </p:cNvPr>
                <p:cNvSpPr/>
                <p:nvPr/>
              </p:nvSpPr>
              <p:spPr>
                <a:xfrm>
                  <a:off x="3884039" y="1674378"/>
                  <a:ext cx="9875" cy="51317"/>
                </a:xfrm>
                <a:custGeom>
                  <a:avLst/>
                  <a:gdLst>
                    <a:gd name="connsiteX0" fmla="*/ 291 w 9875"/>
                    <a:gd name="connsiteY0" fmla="*/ 51318 h 51317"/>
                    <a:gd name="connsiteX1" fmla="*/ 1911 w 9875"/>
                    <a:gd name="connsiteY1" fmla="*/ 32634 h 51317"/>
                    <a:gd name="connsiteX2" fmla="*/ 8512 w 9875"/>
                    <a:gd name="connsiteY2" fmla="*/ 16442 h 51317"/>
                    <a:gd name="connsiteX3" fmla="*/ 9509 w 9875"/>
                    <a:gd name="connsiteY3" fmla="*/ 0 h 51317"/>
                  </a:gdLst>
                  <a:ahLst/>
                  <a:cxnLst>
                    <a:cxn ang="0">
                      <a:pos x="connsiteX0" y="connsiteY0"/>
                    </a:cxn>
                    <a:cxn ang="0">
                      <a:pos x="connsiteX1" y="connsiteY1"/>
                    </a:cxn>
                    <a:cxn ang="0">
                      <a:pos x="connsiteX2" y="connsiteY2"/>
                    </a:cxn>
                    <a:cxn ang="0">
                      <a:pos x="connsiteX3" y="connsiteY3"/>
                    </a:cxn>
                  </a:cxnLst>
                  <a:rect l="l" t="t" r="r" b="b"/>
                  <a:pathLst>
                    <a:path w="9875" h="51317">
                      <a:moveTo>
                        <a:pt x="291" y="51318"/>
                      </a:moveTo>
                      <a:cubicBezTo>
                        <a:pt x="-581" y="42972"/>
                        <a:pt x="665" y="36744"/>
                        <a:pt x="1911" y="32634"/>
                      </a:cubicBezTo>
                      <a:cubicBezTo>
                        <a:pt x="4028" y="25908"/>
                        <a:pt x="6644" y="23292"/>
                        <a:pt x="8512" y="16442"/>
                      </a:cubicBezTo>
                      <a:cubicBezTo>
                        <a:pt x="10256"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85" name="Freeform 8370">
                  <a:extLst>
                    <a:ext uri="{FF2B5EF4-FFF2-40B4-BE49-F238E27FC236}">
                      <a16:creationId xmlns:a16="http://schemas.microsoft.com/office/drawing/2014/main" id="{6AB2D165-A644-0A8C-67FF-D8BC0B541AE6}"/>
                    </a:ext>
                  </a:extLst>
                </p:cNvPr>
                <p:cNvSpPr/>
                <p:nvPr/>
              </p:nvSpPr>
              <p:spPr>
                <a:xfrm>
                  <a:off x="3877364" y="1658573"/>
                  <a:ext cx="26549" cy="26504"/>
                </a:xfrm>
                <a:custGeom>
                  <a:avLst/>
                  <a:gdLst>
                    <a:gd name="connsiteX0" fmla="*/ 26273 w 26549"/>
                    <a:gd name="connsiteY0" fmla="*/ 15681 h 26504"/>
                    <a:gd name="connsiteX1" fmla="*/ 10704 w 26549"/>
                    <a:gd name="connsiteY1" fmla="*/ 26269 h 26504"/>
                    <a:gd name="connsiteX2" fmla="*/ 241 w 26549"/>
                    <a:gd name="connsiteY2" fmla="*/ 10823 h 26504"/>
                    <a:gd name="connsiteX3" fmla="*/ 15810 w 26549"/>
                    <a:gd name="connsiteY3" fmla="*/ 236 h 26504"/>
                    <a:gd name="connsiteX4" fmla="*/ 26273 w 26549"/>
                    <a:gd name="connsiteY4" fmla="*/ 15681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504">
                      <a:moveTo>
                        <a:pt x="26273" y="15681"/>
                      </a:moveTo>
                      <a:cubicBezTo>
                        <a:pt x="24903" y="22906"/>
                        <a:pt x="17928" y="27639"/>
                        <a:pt x="10704" y="26269"/>
                      </a:cubicBezTo>
                      <a:cubicBezTo>
                        <a:pt x="3479" y="24898"/>
                        <a:pt x="-1129" y="18048"/>
                        <a:pt x="241" y="10823"/>
                      </a:cubicBezTo>
                      <a:cubicBezTo>
                        <a:pt x="1611" y="3599"/>
                        <a:pt x="8586" y="-1134"/>
                        <a:pt x="15810" y="236"/>
                      </a:cubicBezTo>
                      <a:cubicBezTo>
                        <a:pt x="23035" y="1606"/>
                        <a:pt x="27768" y="8457"/>
                        <a:pt x="26273" y="15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3" name="Graphic 2987">
                <a:extLst>
                  <a:ext uri="{FF2B5EF4-FFF2-40B4-BE49-F238E27FC236}">
                    <a16:creationId xmlns:a16="http://schemas.microsoft.com/office/drawing/2014/main" id="{021807DD-D59D-B0DE-4263-0C2CBEDF0C04}"/>
                  </a:ext>
                </a:extLst>
              </p:cNvPr>
              <p:cNvGrpSpPr/>
              <p:nvPr/>
            </p:nvGrpSpPr>
            <p:grpSpPr>
              <a:xfrm>
                <a:off x="3824431" y="1653129"/>
                <a:ext cx="50549" cy="146665"/>
                <a:chOff x="3824431" y="1653129"/>
                <a:chExt cx="50549" cy="146665"/>
              </a:xfrm>
              <a:grpFill/>
            </p:grpSpPr>
            <p:sp>
              <p:nvSpPr>
                <p:cNvPr id="5874" name="Freeform 8372">
                  <a:extLst>
                    <a:ext uri="{FF2B5EF4-FFF2-40B4-BE49-F238E27FC236}">
                      <a16:creationId xmlns:a16="http://schemas.microsoft.com/office/drawing/2014/main" id="{08D38087-9F64-1102-11E5-CDB042669709}"/>
                    </a:ext>
                  </a:extLst>
                </p:cNvPr>
                <p:cNvSpPr/>
                <p:nvPr/>
              </p:nvSpPr>
              <p:spPr>
                <a:xfrm>
                  <a:off x="3842853" y="1729059"/>
                  <a:ext cx="10961" cy="51068"/>
                </a:xfrm>
                <a:custGeom>
                  <a:avLst/>
                  <a:gdLst>
                    <a:gd name="connsiteX0" fmla="*/ 0 w 10961"/>
                    <a:gd name="connsiteY0" fmla="*/ 51069 h 51068"/>
                    <a:gd name="connsiteX1" fmla="*/ 5605 w 10961"/>
                    <a:gd name="connsiteY1" fmla="*/ 33132 h 51068"/>
                    <a:gd name="connsiteX2" fmla="*/ 5605 w 10961"/>
                    <a:gd name="connsiteY2" fmla="*/ 15694 h 51068"/>
                    <a:gd name="connsiteX3" fmla="*/ 10961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0" y="51069"/>
                      </a:moveTo>
                      <a:cubicBezTo>
                        <a:pt x="3986" y="43595"/>
                        <a:pt x="5232" y="37367"/>
                        <a:pt x="5605" y="33132"/>
                      </a:cubicBezTo>
                      <a:cubicBezTo>
                        <a:pt x="6228" y="26157"/>
                        <a:pt x="4733" y="22794"/>
                        <a:pt x="5605" y="15694"/>
                      </a:cubicBezTo>
                      <a:cubicBezTo>
                        <a:pt x="6477" y="8844"/>
                        <a:pt x="8968" y="3488"/>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5" name="Freeform 8373">
                  <a:extLst>
                    <a:ext uri="{FF2B5EF4-FFF2-40B4-BE49-F238E27FC236}">
                      <a16:creationId xmlns:a16="http://schemas.microsoft.com/office/drawing/2014/main" id="{CAE33801-DCDF-3ED3-84AE-0875423BF90C}"/>
                    </a:ext>
                  </a:extLst>
                </p:cNvPr>
                <p:cNvSpPr/>
                <p:nvPr/>
              </p:nvSpPr>
              <p:spPr>
                <a:xfrm>
                  <a:off x="3834398" y="1732547"/>
                  <a:ext cx="10239" cy="51193"/>
                </a:xfrm>
                <a:custGeom>
                  <a:avLst/>
                  <a:gdLst>
                    <a:gd name="connsiteX0" fmla="*/ 9950 w 10239"/>
                    <a:gd name="connsiteY0" fmla="*/ 0 h 51193"/>
                    <a:gd name="connsiteX1" fmla="*/ 8206 w 10239"/>
                    <a:gd name="connsiteY1" fmla="*/ 18684 h 51193"/>
                    <a:gd name="connsiteX2" fmla="*/ 1480 w 10239"/>
                    <a:gd name="connsiteY2" fmla="*/ 34752 h 51193"/>
                    <a:gd name="connsiteX3" fmla="*/ 359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0"/>
                      </a:moveTo>
                      <a:cubicBezTo>
                        <a:pt x="10822" y="8345"/>
                        <a:pt x="9576" y="14573"/>
                        <a:pt x="8206" y="18684"/>
                      </a:cubicBezTo>
                      <a:cubicBezTo>
                        <a:pt x="6088" y="25410"/>
                        <a:pt x="3348" y="27901"/>
                        <a:pt x="1480" y="34752"/>
                      </a:cubicBezTo>
                      <a:cubicBezTo>
                        <a:pt x="-389" y="41478"/>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6" name="Freeform 8374">
                  <a:extLst>
                    <a:ext uri="{FF2B5EF4-FFF2-40B4-BE49-F238E27FC236}">
                      <a16:creationId xmlns:a16="http://schemas.microsoft.com/office/drawing/2014/main" id="{4CA8449F-EE08-1CFE-5516-50E21FD55406}"/>
                    </a:ext>
                  </a:extLst>
                </p:cNvPr>
                <p:cNvSpPr/>
                <p:nvPr/>
              </p:nvSpPr>
              <p:spPr>
                <a:xfrm>
                  <a:off x="3824431" y="1773290"/>
                  <a:ext cx="26753" cy="26504"/>
                </a:xfrm>
                <a:custGeom>
                  <a:avLst/>
                  <a:gdLst>
                    <a:gd name="connsiteX0" fmla="*/ 236 w 26753"/>
                    <a:gd name="connsiteY0" fmla="*/ 10699 h 26504"/>
                    <a:gd name="connsiteX1" fmla="*/ 15930 w 26753"/>
                    <a:gd name="connsiteY1" fmla="*/ 236 h 26504"/>
                    <a:gd name="connsiteX2" fmla="*/ 26518 w 26753"/>
                    <a:gd name="connsiteY2" fmla="*/ 15681 h 26504"/>
                    <a:gd name="connsiteX3" fmla="*/ 10824 w 26753"/>
                    <a:gd name="connsiteY3" fmla="*/ 26269 h 26504"/>
                    <a:gd name="connsiteX4" fmla="*/ 236 w 26753"/>
                    <a:gd name="connsiteY4" fmla="*/ 10699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3" h="26504">
                      <a:moveTo>
                        <a:pt x="236" y="10699"/>
                      </a:moveTo>
                      <a:cubicBezTo>
                        <a:pt x="1606" y="3599"/>
                        <a:pt x="8706" y="-1134"/>
                        <a:pt x="15930" y="236"/>
                      </a:cubicBezTo>
                      <a:cubicBezTo>
                        <a:pt x="23155" y="1606"/>
                        <a:pt x="27888" y="8457"/>
                        <a:pt x="26518" y="15681"/>
                      </a:cubicBezTo>
                      <a:cubicBezTo>
                        <a:pt x="25148" y="22906"/>
                        <a:pt x="18048" y="27639"/>
                        <a:pt x="10824" y="26269"/>
                      </a:cubicBezTo>
                      <a:cubicBezTo>
                        <a:pt x="3599" y="24774"/>
                        <a:pt x="-1134" y="17923"/>
                        <a:pt x="236"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7" name="Freeform 8375">
                  <a:extLst>
                    <a:ext uri="{FF2B5EF4-FFF2-40B4-BE49-F238E27FC236}">
                      <a16:creationId xmlns:a16="http://schemas.microsoft.com/office/drawing/2014/main" id="{73208C7A-65EF-260F-9D19-176F58EBC606}"/>
                    </a:ext>
                  </a:extLst>
                </p:cNvPr>
                <p:cNvSpPr/>
                <p:nvPr/>
              </p:nvSpPr>
              <p:spPr>
                <a:xfrm>
                  <a:off x="3845842" y="1672635"/>
                  <a:ext cx="10961" cy="51068"/>
                </a:xfrm>
                <a:custGeom>
                  <a:avLst/>
                  <a:gdLst>
                    <a:gd name="connsiteX0" fmla="*/ 10961 w 10961"/>
                    <a:gd name="connsiteY0" fmla="*/ 0 h 51068"/>
                    <a:gd name="connsiteX1" fmla="*/ 5356 w 10961"/>
                    <a:gd name="connsiteY1" fmla="*/ 17936 h 51068"/>
                    <a:gd name="connsiteX2" fmla="*/ 5356 w 10961"/>
                    <a:gd name="connsiteY2" fmla="*/ 35374 h 51068"/>
                    <a:gd name="connsiteX3" fmla="*/ 0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0"/>
                      </a:moveTo>
                      <a:cubicBezTo>
                        <a:pt x="6975" y="7473"/>
                        <a:pt x="5730" y="13701"/>
                        <a:pt x="5356" y="17936"/>
                      </a:cubicBezTo>
                      <a:cubicBezTo>
                        <a:pt x="4733" y="24912"/>
                        <a:pt x="6228" y="28275"/>
                        <a:pt x="5356" y="35374"/>
                      </a:cubicBezTo>
                      <a:cubicBezTo>
                        <a:pt x="4484" y="42225"/>
                        <a:pt x="1993" y="47581"/>
                        <a:pt x="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8" name="Freeform 8376">
                  <a:extLst>
                    <a:ext uri="{FF2B5EF4-FFF2-40B4-BE49-F238E27FC236}">
                      <a16:creationId xmlns:a16="http://schemas.microsoft.com/office/drawing/2014/main" id="{E240CD8A-A54E-788A-3421-6427FD1C27D8}"/>
                    </a:ext>
                  </a:extLst>
                </p:cNvPr>
                <p:cNvSpPr/>
                <p:nvPr/>
              </p:nvSpPr>
              <p:spPr>
                <a:xfrm>
                  <a:off x="3854894" y="1669022"/>
                  <a:ext cx="10239" cy="51317"/>
                </a:xfrm>
                <a:custGeom>
                  <a:avLst/>
                  <a:gdLst>
                    <a:gd name="connsiteX0" fmla="*/ 290 w 10239"/>
                    <a:gd name="connsiteY0" fmla="*/ 51318 h 51317"/>
                    <a:gd name="connsiteX1" fmla="*/ 2033 w 10239"/>
                    <a:gd name="connsiteY1" fmla="*/ 32634 h 51317"/>
                    <a:gd name="connsiteX2" fmla="*/ 8760 w 10239"/>
                    <a:gd name="connsiteY2" fmla="*/ 16442 h 51317"/>
                    <a:gd name="connsiteX3" fmla="*/ 9881 w 10239"/>
                    <a:gd name="connsiteY3" fmla="*/ 0 h 51317"/>
                  </a:gdLst>
                  <a:ahLst/>
                  <a:cxnLst>
                    <a:cxn ang="0">
                      <a:pos x="connsiteX0" y="connsiteY0"/>
                    </a:cxn>
                    <a:cxn ang="0">
                      <a:pos x="connsiteX1" y="connsiteY1"/>
                    </a:cxn>
                    <a:cxn ang="0">
                      <a:pos x="connsiteX2" y="connsiteY2"/>
                    </a:cxn>
                    <a:cxn ang="0">
                      <a:pos x="connsiteX3" y="connsiteY3"/>
                    </a:cxn>
                  </a:cxnLst>
                  <a:rect l="l" t="t" r="r" b="b"/>
                  <a:pathLst>
                    <a:path w="10239" h="51317">
                      <a:moveTo>
                        <a:pt x="290" y="51318"/>
                      </a:moveTo>
                      <a:cubicBezTo>
                        <a:pt x="-582" y="42972"/>
                        <a:pt x="664" y="36745"/>
                        <a:pt x="2033" y="32634"/>
                      </a:cubicBezTo>
                      <a:cubicBezTo>
                        <a:pt x="4151" y="25908"/>
                        <a:pt x="6891" y="23417"/>
                        <a:pt x="8760" y="16442"/>
                      </a:cubicBezTo>
                      <a:cubicBezTo>
                        <a:pt x="10628" y="9715"/>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9" name="Freeform 8377">
                  <a:extLst>
                    <a:ext uri="{FF2B5EF4-FFF2-40B4-BE49-F238E27FC236}">
                      <a16:creationId xmlns:a16="http://schemas.microsoft.com/office/drawing/2014/main" id="{3024EE29-AA19-AE88-C836-138D8FDA1CD4}"/>
                    </a:ext>
                  </a:extLst>
                </p:cNvPr>
                <p:cNvSpPr/>
                <p:nvPr/>
              </p:nvSpPr>
              <p:spPr>
                <a:xfrm>
                  <a:off x="3848550" y="1653129"/>
                  <a:ext cx="26430" cy="26467"/>
                </a:xfrm>
                <a:custGeom>
                  <a:avLst/>
                  <a:gdLst>
                    <a:gd name="connsiteX0" fmla="*/ 26189 w 26430"/>
                    <a:gd name="connsiteY0" fmla="*/ 15644 h 26467"/>
                    <a:gd name="connsiteX1" fmla="*/ 10619 w 26430"/>
                    <a:gd name="connsiteY1" fmla="*/ 26231 h 26467"/>
                    <a:gd name="connsiteX2" fmla="*/ 281 w 26430"/>
                    <a:gd name="connsiteY2" fmla="*/ 10786 h 26467"/>
                    <a:gd name="connsiteX3" fmla="*/ 15851 w 26430"/>
                    <a:gd name="connsiteY3" fmla="*/ 199 h 26467"/>
                    <a:gd name="connsiteX4" fmla="*/ 26189 w 26430"/>
                    <a:gd name="connsiteY4" fmla="*/ 15644 h 26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67">
                      <a:moveTo>
                        <a:pt x="26189" y="15644"/>
                      </a:moveTo>
                      <a:cubicBezTo>
                        <a:pt x="24819" y="22868"/>
                        <a:pt x="17844" y="27602"/>
                        <a:pt x="10619" y="26231"/>
                      </a:cubicBezTo>
                      <a:cubicBezTo>
                        <a:pt x="3395" y="24861"/>
                        <a:pt x="-1213" y="18011"/>
                        <a:pt x="281" y="10786"/>
                      </a:cubicBezTo>
                      <a:cubicBezTo>
                        <a:pt x="1651" y="3687"/>
                        <a:pt x="8627" y="-1047"/>
                        <a:pt x="15851" y="199"/>
                      </a:cubicBezTo>
                      <a:cubicBezTo>
                        <a:pt x="22951" y="1569"/>
                        <a:pt x="27559" y="8544"/>
                        <a:pt x="2618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4" name="Graphic 2987">
                <a:extLst>
                  <a:ext uri="{FF2B5EF4-FFF2-40B4-BE49-F238E27FC236}">
                    <a16:creationId xmlns:a16="http://schemas.microsoft.com/office/drawing/2014/main" id="{40C70EF4-6AC1-036B-C895-FDF18777FD0A}"/>
                  </a:ext>
                </a:extLst>
              </p:cNvPr>
              <p:cNvGrpSpPr/>
              <p:nvPr/>
            </p:nvGrpSpPr>
            <p:grpSpPr>
              <a:xfrm>
                <a:off x="3795245" y="1647187"/>
                <a:ext cx="50754" cy="146680"/>
                <a:chOff x="3795245" y="1647187"/>
                <a:chExt cx="50754" cy="146680"/>
              </a:xfrm>
              <a:grpFill/>
            </p:grpSpPr>
            <p:sp>
              <p:nvSpPr>
                <p:cNvPr id="5868" name="Freeform 8379">
                  <a:extLst>
                    <a:ext uri="{FF2B5EF4-FFF2-40B4-BE49-F238E27FC236}">
                      <a16:creationId xmlns:a16="http://schemas.microsoft.com/office/drawing/2014/main" id="{18878051-B877-93C1-46D7-29BD58DFA6BC}"/>
                    </a:ext>
                  </a:extLst>
                </p:cNvPr>
                <p:cNvSpPr/>
                <p:nvPr/>
              </p:nvSpPr>
              <p:spPr>
                <a:xfrm>
                  <a:off x="3813582" y="1723329"/>
                  <a:ext cx="10960" cy="50944"/>
                </a:xfrm>
                <a:custGeom>
                  <a:avLst/>
                  <a:gdLst>
                    <a:gd name="connsiteX0" fmla="*/ 0 w 10960"/>
                    <a:gd name="connsiteY0" fmla="*/ 50944 h 50944"/>
                    <a:gd name="connsiteX1" fmla="*/ 5605 w 10960"/>
                    <a:gd name="connsiteY1" fmla="*/ 33008 h 50944"/>
                    <a:gd name="connsiteX2" fmla="*/ 5605 w 10960"/>
                    <a:gd name="connsiteY2" fmla="*/ 15570 h 50944"/>
                    <a:gd name="connsiteX3" fmla="*/ 10961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0" y="50944"/>
                      </a:moveTo>
                      <a:cubicBezTo>
                        <a:pt x="3986" y="43595"/>
                        <a:pt x="5231" y="37367"/>
                        <a:pt x="5605" y="33008"/>
                      </a:cubicBezTo>
                      <a:cubicBezTo>
                        <a:pt x="6228" y="26033"/>
                        <a:pt x="4733" y="22545"/>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9" name="Freeform 8380">
                  <a:extLst>
                    <a:ext uri="{FF2B5EF4-FFF2-40B4-BE49-F238E27FC236}">
                      <a16:creationId xmlns:a16="http://schemas.microsoft.com/office/drawing/2014/main" id="{9CD4E082-43CF-1E7C-0EAF-D8586989505B}"/>
                    </a:ext>
                  </a:extLst>
                </p:cNvPr>
                <p:cNvSpPr/>
                <p:nvPr/>
              </p:nvSpPr>
              <p:spPr>
                <a:xfrm>
                  <a:off x="3805376" y="1726568"/>
                  <a:ext cx="10224" cy="51193"/>
                </a:xfrm>
                <a:custGeom>
                  <a:avLst/>
                  <a:gdLst>
                    <a:gd name="connsiteX0" fmla="*/ 9950 w 10224"/>
                    <a:gd name="connsiteY0" fmla="*/ 0 h 51193"/>
                    <a:gd name="connsiteX1" fmla="*/ 8206 w 10224"/>
                    <a:gd name="connsiteY1" fmla="*/ 18684 h 51193"/>
                    <a:gd name="connsiteX2" fmla="*/ 1480 w 10224"/>
                    <a:gd name="connsiteY2" fmla="*/ 34752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2" y="8345"/>
                        <a:pt x="9451" y="14573"/>
                        <a:pt x="8206" y="18684"/>
                      </a:cubicBezTo>
                      <a:cubicBezTo>
                        <a:pt x="6088" y="25285"/>
                        <a:pt x="3348" y="27901"/>
                        <a:pt x="1480" y="34752"/>
                      </a:cubicBezTo>
                      <a:cubicBezTo>
                        <a:pt x="-389" y="41353"/>
                        <a:pt x="-140"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0" name="Freeform 8381">
                  <a:extLst>
                    <a:ext uri="{FF2B5EF4-FFF2-40B4-BE49-F238E27FC236}">
                      <a16:creationId xmlns:a16="http://schemas.microsoft.com/office/drawing/2014/main" id="{2BA732BF-A65B-8228-D4BB-58141867488E}"/>
                    </a:ext>
                  </a:extLst>
                </p:cNvPr>
                <p:cNvSpPr/>
                <p:nvPr/>
              </p:nvSpPr>
              <p:spPr>
                <a:xfrm>
                  <a:off x="3795245" y="1767261"/>
                  <a:ext cx="26673" cy="26606"/>
                </a:xfrm>
                <a:custGeom>
                  <a:avLst/>
                  <a:gdLst>
                    <a:gd name="connsiteX0" fmla="*/ 276 w 26673"/>
                    <a:gd name="connsiteY0" fmla="*/ 10501 h 26606"/>
                    <a:gd name="connsiteX1" fmla="*/ 15970 w 26673"/>
                    <a:gd name="connsiteY1" fmla="*/ 287 h 26606"/>
                    <a:gd name="connsiteX2" fmla="*/ 26433 w 26673"/>
                    <a:gd name="connsiteY2" fmla="*/ 16106 h 26606"/>
                    <a:gd name="connsiteX3" fmla="*/ 10739 w 26673"/>
                    <a:gd name="connsiteY3" fmla="*/ 26319 h 26606"/>
                    <a:gd name="connsiteX4" fmla="*/ 276 w 26673"/>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606">
                      <a:moveTo>
                        <a:pt x="276" y="10501"/>
                      </a:moveTo>
                      <a:cubicBezTo>
                        <a:pt x="1770" y="3276"/>
                        <a:pt x="8746" y="-1208"/>
                        <a:pt x="15970" y="287"/>
                      </a:cubicBezTo>
                      <a:cubicBezTo>
                        <a:pt x="23194" y="1782"/>
                        <a:pt x="27803" y="8881"/>
                        <a:pt x="26433" y="16106"/>
                      </a:cubicBezTo>
                      <a:cubicBezTo>
                        <a:pt x="25063" y="23330"/>
                        <a:pt x="17963" y="27814"/>
                        <a:pt x="10739" y="26319"/>
                      </a:cubicBezTo>
                      <a:cubicBezTo>
                        <a:pt x="3514" y="24700"/>
                        <a:pt x="-1219" y="17600"/>
                        <a:pt x="276"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1" name="Freeform 8382">
                  <a:extLst>
                    <a:ext uri="{FF2B5EF4-FFF2-40B4-BE49-F238E27FC236}">
                      <a16:creationId xmlns:a16="http://schemas.microsoft.com/office/drawing/2014/main" id="{B09CCC97-9A48-5D2F-1079-20FF0CFDE955}"/>
                    </a:ext>
                  </a:extLst>
                </p:cNvPr>
                <p:cNvSpPr/>
                <p:nvPr/>
              </p:nvSpPr>
              <p:spPr>
                <a:xfrm>
                  <a:off x="3816820" y="1666656"/>
                  <a:ext cx="11085" cy="50944"/>
                </a:xfrm>
                <a:custGeom>
                  <a:avLst/>
                  <a:gdLst>
                    <a:gd name="connsiteX0" fmla="*/ 11086 w 11085"/>
                    <a:gd name="connsiteY0" fmla="*/ 0 h 50944"/>
                    <a:gd name="connsiteX1" fmla="*/ 5481 w 11085"/>
                    <a:gd name="connsiteY1" fmla="*/ 17936 h 50944"/>
                    <a:gd name="connsiteX2" fmla="*/ 5356 w 11085"/>
                    <a:gd name="connsiteY2" fmla="*/ 35374 h 50944"/>
                    <a:gd name="connsiteX3" fmla="*/ 0 w 1108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085" h="50944">
                      <a:moveTo>
                        <a:pt x="11086" y="0"/>
                      </a:moveTo>
                      <a:cubicBezTo>
                        <a:pt x="7100" y="7349"/>
                        <a:pt x="5854" y="13577"/>
                        <a:pt x="5481" y="17936"/>
                      </a:cubicBezTo>
                      <a:cubicBezTo>
                        <a:pt x="4858" y="24912"/>
                        <a:pt x="6353" y="28399"/>
                        <a:pt x="5356"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2" name="Freeform 8383">
                  <a:extLst>
                    <a:ext uri="{FF2B5EF4-FFF2-40B4-BE49-F238E27FC236}">
                      <a16:creationId xmlns:a16="http://schemas.microsoft.com/office/drawing/2014/main" id="{0021DE6F-DB66-480B-80A7-AAE49CCBA1B2}"/>
                    </a:ext>
                  </a:extLst>
                </p:cNvPr>
                <p:cNvSpPr/>
                <p:nvPr/>
              </p:nvSpPr>
              <p:spPr>
                <a:xfrm>
                  <a:off x="3825887" y="1663293"/>
                  <a:ext cx="10224" cy="51193"/>
                </a:xfrm>
                <a:custGeom>
                  <a:avLst/>
                  <a:gdLst>
                    <a:gd name="connsiteX0" fmla="*/ 275 w 10224"/>
                    <a:gd name="connsiteY0" fmla="*/ 51193 h 51193"/>
                    <a:gd name="connsiteX1" fmla="*/ 2019 w 10224"/>
                    <a:gd name="connsiteY1" fmla="*/ 32510 h 51193"/>
                    <a:gd name="connsiteX2" fmla="*/ 8745 w 10224"/>
                    <a:gd name="connsiteY2" fmla="*/ 16442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8"/>
                        <a:pt x="773" y="36620"/>
                        <a:pt x="2019" y="32510"/>
                      </a:cubicBezTo>
                      <a:cubicBezTo>
                        <a:pt x="4136" y="25908"/>
                        <a:pt x="6877" y="23292"/>
                        <a:pt x="8745" y="16442"/>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73" name="Freeform 8384">
                  <a:extLst>
                    <a:ext uri="{FF2B5EF4-FFF2-40B4-BE49-F238E27FC236}">
                      <a16:creationId xmlns:a16="http://schemas.microsoft.com/office/drawing/2014/main" id="{5F301158-12D3-AF7A-D17C-AE02D71D9429}"/>
                    </a:ext>
                  </a:extLst>
                </p:cNvPr>
                <p:cNvSpPr/>
                <p:nvPr/>
              </p:nvSpPr>
              <p:spPr>
                <a:xfrm>
                  <a:off x="3819653" y="1647187"/>
                  <a:ext cx="26346" cy="26606"/>
                </a:xfrm>
                <a:custGeom>
                  <a:avLst/>
                  <a:gdLst>
                    <a:gd name="connsiteX0" fmla="*/ 26065 w 26346"/>
                    <a:gd name="connsiteY0" fmla="*/ 16106 h 26606"/>
                    <a:gd name="connsiteX1" fmla="*/ 10495 w 26346"/>
                    <a:gd name="connsiteY1" fmla="*/ 26319 h 26606"/>
                    <a:gd name="connsiteX2" fmla="*/ 282 w 26346"/>
                    <a:gd name="connsiteY2" fmla="*/ 10501 h 26606"/>
                    <a:gd name="connsiteX3" fmla="*/ 15851 w 26346"/>
                    <a:gd name="connsiteY3" fmla="*/ 287 h 26606"/>
                    <a:gd name="connsiteX4" fmla="*/ 26065 w 26346"/>
                    <a:gd name="connsiteY4" fmla="*/ 16106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606">
                      <a:moveTo>
                        <a:pt x="26065" y="16106"/>
                      </a:moveTo>
                      <a:cubicBezTo>
                        <a:pt x="24570" y="23330"/>
                        <a:pt x="17720" y="27814"/>
                        <a:pt x="10495" y="26319"/>
                      </a:cubicBezTo>
                      <a:cubicBezTo>
                        <a:pt x="3395" y="24825"/>
                        <a:pt x="-1213" y="17725"/>
                        <a:pt x="282" y="10501"/>
                      </a:cubicBezTo>
                      <a:cubicBezTo>
                        <a:pt x="1776" y="3276"/>
                        <a:pt x="8751" y="-1208"/>
                        <a:pt x="15851" y="287"/>
                      </a:cubicBezTo>
                      <a:cubicBezTo>
                        <a:pt x="22951" y="1782"/>
                        <a:pt x="27560" y="8881"/>
                        <a:pt x="26065" y="16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5" name="Graphic 2987">
                <a:extLst>
                  <a:ext uri="{FF2B5EF4-FFF2-40B4-BE49-F238E27FC236}">
                    <a16:creationId xmlns:a16="http://schemas.microsoft.com/office/drawing/2014/main" id="{531E9DAB-BED8-D497-DC7A-45E5357C59BC}"/>
                  </a:ext>
                </a:extLst>
              </p:cNvPr>
              <p:cNvGrpSpPr/>
              <p:nvPr/>
            </p:nvGrpSpPr>
            <p:grpSpPr>
              <a:xfrm>
                <a:off x="3766093" y="1641084"/>
                <a:ext cx="51133" cy="146430"/>
                <a:chOff x="3766093" y="1641084"/>
                <a:chExt cx="51133" cy="146430"/>
              </a:xfrm>
              <a:grpFill/>
            </p:grpSpPr>
            <p:sp>
              <p:nvSpPr>
                <p:cNvPr id="5862" name="Freeform 8386">
                  <a:extLst>
                    <a:ext uri="{FF2B5EF4-FFF2-40B4-BE49-F238E27FC236}">
                      <a16:creationId xmlns:a16="http://schemas.microsoft.com/office/drawing/2014/main" id="{BEAD0F5E-32E1-2AC3-8BEF-5E5B86B54E03}"/>
                    </a:ext>
                  </a:extLst>
                </p:cNvPr>
                <p:cNvSpPr/>
                <p:nvPr/>
              </p:nvSpPr>
              <p:spPr>
                <a:xfrm>
                  <a:off x="3784435" y="1717102"/>
                  <a:ext cx="11210" cy="50944"/>
                </a:xfrm>
                <a:custGeom>
                  <a:avLst/>
                  <a:gdLst>
                    <a:gd name="connsiteX0" fmla="*/ 0 w 11210"/>
                    <a:gd name="connsiteY0" fmla="*/ 50944 h 50944"/>
                    <a:gd name="connsiteX1" fmla="*/ 5730 w 11210"/>
                    <a:gd name="connsiteY1" fmla="*/ 33008 h 50944"/>
                    <a:gd name="connsiteX2" fmla="*/ 5854 w 11210"/>
                    <a:gd name="connsiteY2" fmla="*/ 15570 h 50944"/>
                    <a:gd name="connsiteX3" fmla="*/ 11210 w 11210"/>
                    <a:gd name="connsiteY3" fmla="*/ 0 h 50944"/>
                  </a:gdLst>
                  <a:ahLst/>
                  <a:cxnLst>
                    <a:cxn ang="0">
                      <a:pos x="connsiteX0" y="connsiteY0"/>
                    </a:cxn>
                    <a:cxn ang="0">
                      <a:pos x="connsiteX1" y="connsiteY1"/>
                    </a:cxn>
                    <a:cxn ang="0">
                      <a:pos x="connsiteX2" y="connsiteY2"/>
                    </a:cxn>
                    <a:cxn ang="0">
                      <a:pos x="connsiteX3" y="connsiteY3"/>
                    </a:cxn>
                  </a:cxnLst>
                  <a:rect l="l" t="t" r="r" b="b"/>
                  <a:pathLst>
                    <a:path w="11210" h="50944">
                      <a:moveTo>
                        <a:pt x="0" y="50944"/>
                      </a:moveTo>
                      <a:cubicBezTo>
                        <a:pt x="4111" y="43595"/>
                        <a:pt x="5356" y="37367"/>
                        <a:pt x="5730" y="33008"/>
                      </a:cubicBezTo>
                      <a:cubicBezTo>
                        <a:pt x="6353" y="26033"/>
                        <a:pt x="4858" y="22545"/>
                        <a:pt x="5854" y="15570"/>
                      </a:cubicBezTo>
                      <a:cubicBezTo>
                        <a:pt x="6726" y="8719"/>
                        <a:pt x="9342" y="3363"/>
                        <a:pt x="112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3" name="Freeform 8387">
                  <a:extLst>
                    <a:ext uri="{FF2B5EF4-FFF2-40B4-BE49-F238E27FC236}">
                      <a16:creationId xmlns:a16="http://schemas.microsoft.com/office/drawing/2014/main" id="{F05ED8D4-5AD2-9621-1492-F0CA761BF12A}"/>
                    </a:ext>
                  </a:extLst>
                </p:cNvPr>
                <p:cNvSpPr/>
                <p:nvPr/>
              </p:nvSpPr>
              <p:spPr>
                <a:xfrm>
                  <a:off x="3776076" y="1720340"/>
                  <a:ext cx="10451" cy="51193"/>
                </a:xfrm>
                <a:custGeom>
                  <a:avLst/>
                  <a:gdLst>
                    <a:gd name="connsiteX0" fmla="*/ 10228 w 10451"/>
                    <a:gd name="connsiteY0" fmla="*/ 0 h 51193"/>
                    <a:gd name="connsiteX1" fmla="*/ 8359 w 10451"/>
                    <a:gd name="connsiteY1" fmla="*/ 18684 h 51193"/>
                    <a:gd name="connsiteX2" fmla="*/ 1508 w 10451"/>
                    <a:gd name="connsiteY2" fmla="*/ 34752 h 51193"/>
                    <a:gd name="connsiteX3" fmla="*/ 263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10228" y="0"/>
                      </a:moveTo>
                      <a:cubicBezTo>
                        <a:pt x="10975" y="8345"/>
                        <a:pt x="9729" y="14573"/>
                        <a:pt x="8359" y="18684"/>
                      </a:cubicBezTo>
                      <a:cubicBezTo>
                        <a:pt x="6242" y="25285"/>
                        <a:pt x="3501"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4" name="Freeform 8388">
                  <a:extLst>
                    <a:ext uri="{FF2B5EF4-FFF2-40B4-BE49-F238E27FC236}">
                      <a16:creationId xmlns:a16="http://schemas.microsoft.com/office/drawing/2014/main" id="{96EBF637-2332-50DD-481F-7CA2D77ED4A5}"/>
                    </a:ext>
                  </a:extLst>
                </p:cNvPr>
                <p:cNvSpPr/>
                <p:nvPr/>
              </p:nvSpPr>
              <p:spPr>
                <a:xfrm>
                  <a:off x="3766093" y="1760908"/>
                  <a:ext cx="26589" cy="26606"/>
                </a:xfrm>
                <a:custGeom>
                  <a:avLst/>
                  <a:gdLst>
                    <a:gd name="connsiteX0" fmla="*/ 281 w 26589"/>
                    <a:gd name="connsiteY0" fmla="*/ 10501 h 26606"/>
                    <a:gd name="connsiteX1" fmla="*/ 15976 w 26589"/>
                    <a:gd name="connsiteY1" fmla="*/ 287 h 26606"/>
                    <a:gd name="connsiteX2" fmla="*/ 26314 w 26589"/>
                    <a:gd name="connsiteY2" fmla="*/ 16106 h 26606"/>
                    <a:gd name="connsiteX3" fmla="*/ 10619 w 26589"/>
                    <a:gd name="connsiteY3" fmla="*/ 26319 h 26606"/>
                    <a:gd name="connsiteX4" fmla="*/ 281 w 2658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8" h="26606">
                      <a:moveTo>
                        <a:pt x="281" y="10501"/>
                      </a:moveTo>
                      <a:cubicBezTo>
                        <a:pt x="1776" y="3276"/>
                        <a:pt x="8876" y="-1208"/>
                        <a:pt x="15976" y="287"/>
                      </a:cubicBezTo>
                      <a:cubicBezTo>
                        <a:pt x="23075" y="1782"/>
                        <a:pt x="27808" y="8881"/>
                        <a:pt x="26314" y="16106"/>
                      </a:cubicBezTo>
                      <a:cubicBezTo>
                        <a:pt x="24819" y="23330"/>
                        <a:pt x="17844" y="27814"/>
                        <a:pt x="10619" y="26319"/>
                      </a:cubicBezTo>
                      <a:cubicBezTo>
                        <a:pt x="3395" y="24825"/>
                        <a:pt x="-1213" y="17725"/>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5" name="Freeform 8389">
                  <a:extLst>
                    <a:ext uri="{FF2B5EF4-FFF2-40B4-BE49-F238E27FC236}">
                      <a16:creationId xmlns:a16="http://schemas.microsoft.com/office/drawing/2014/main" id="{DFDF8B03-F90A-26FD-396D-766E74DA7760}"/>
                    </a:ext>
                  </a:extLst>
                </p:cNvPr>
                <p:cNvSpPr/>
                <p:nvPr/>
              </p:nvSpPr>
              <p:spPr>
                <a:xfrm>
                  <a:off x="3787923" y="1660552"/>
                  <a:ext cx="11210" cy="50944"/>
                </a:xfrm>
                <a:custGeom>
                  <a:avLst/>
                  <a:gdLst>
                    <a:gd name="connsiteX0" fmla="*/ 11210 w 11210"/>
                    <a:gd name="connsiteY0" fmla="*/ 0 h 50944"/>
                    <a:gd name="connsiteX1" fmla="*/ 5481 w 11210"/>
                    <a:gd name="connsiteY1" fmla="*/ 17936 h 50944"/>
                    <a:gd name="connsiteX2" fmla="*/ 5356 w 11210"/>
                    <a:gd name="connsiteY2" fmla="*/ 35374 h 50944"/>
                    <a:gd name="connsiteX3" fmla="*/ 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11210" y="0"/>
                      </a:moveTo>
                      <a:cubicBezTo>
                        <a:pt x="7225" y="7349"/>
                        <a:pt x="5854" y="13577"/>
                        <a:pt x="5481" y="17936"/>
                      </a:cubicBezTo>
                      <a:cubicBezTo>
                        <a:pt x="4858" y="24912"/>
                        <a:pt x="6353" y="28399"/>
                        <a:pt x="5356" y="35374"/>
                      </a:cubicBezTo>
                      <a:cubicBezTo>
                        <a:pt x="4484"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6" name="Freeform 8390">
                  <a:extLst>
                    <a:ext uri="{FF2B5EF4-FFF2-40B4-BE49-F238E27FC236}">
                      <a16:creationId xmlns:a16="http://schemas.microsoft.com/office/drawing/2014/main" id="{F7255EB0-7BD9-E0ED-82EA-5A35F234E001}"/>
                    </a:ext>
                  </a:extLst>
                </p:cNvPr>
                <p:cNvSpPr/>
                <p:nvPr/>
              </p:nvSpPr>
              <p:spPr>
                <a:xfrm>
                  <a:off x="3796916" y="1657065"/>
                  <a:ext cx="10327" cy="51193"/>
                </a:xfrm>
                <a:custGeom>
                  <a:avLst/>
                  <a:gdLst>
                    <a:gd name="connsiteX0" fmla="*/ 224 w 10327"/>
                    <a:gd name="connsiteY0" fmla="*/ 51193 h 51193"/>
                    <a:gd name="connsiteX1" fmla="*/ 2093 w 10327"/>
                    <a:gd name="connsiteY1" fmla="*/ 32510 h 51193"/>
                    <a:gd name="connsiteX2" fmla="*/ 8819 w 10327"/>
                    <a:gd name="connsiteY2" fmla="*/ 16442 h 51193"/>
                    <a:gd name="connsiteX3" fmla="*/ 10065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224" y="51193"/>
                      </a:moveTo>
                      <a:cubicBezTo>
                        <a:pt x="-523" y="42848"/>
                        <a:pt x="723" y="36620"/>
                        <a:pt x="2093" y="32510"/>
                      </a:cubicBezTo>
                      <a:cubicBezTo>
                        <a:pt x="4210" y="25908"/>
                        <a:pt x="6951" y="23292"/>
                        <a:pt x="8819" y="16442"/>
                      </a:cubicBezTo>
                      <a:cubicBezTo>
                        <a:pt x="10687" y="9840"/>
                        <a:pt x="10438" y="3861"/>
                        <a:pt x="100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7" name="Freeform 8391">
                  <a:extLst>
                    <a:ext uri="{FF2B5EF4-FFF2-40B4-BE49-F238E27FC236}">
                      <a16:creationId xmlns:a16="http://schemas.microsoft.com/office/drawing/2014/main" id="{4994AFB9-D1BA-1CD2-DE9B-4A42EEE2EC8F}"/>
                    </a:ext>
                  </a:extLst>
                </p:cNvPr>
                <p:cNvSpPr/>
                <p:nvPr/>
              </p:nvSpPr>
              <p:spPr>
                <a:xfrm>
                  <a:off x="3790880" y="1641084"/>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881"/>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6" name="Graphic 2987">
                <a:extLst>
                  <a:ext uri="{FF2B5EF4-FFF2-40B4-BE49-F238E27FC236}">
                    <a16:creationId xmlns:a16="http://schemas.microsoft.com/office/drawing/2014/main" id="{1066299E-CD78-EB91-82F6-3828E33F440A}"/>
                  </a:ext>
                </a:extLst>
              </p:cNvPr>
              <p:cNvGrpSpPr/>
              <p:nvPr/>
            </p:nvGrpSpPr>
            <p:grpSpPr>
              <a:xfrm>
                <a:off x="3736822" y="1634980"/>
                <a:ext cx="51631" cy="146306"/>
                <a:chOff x="3736822" y="1634980"/>
                <a:chExt cx="51631" cy="146306"/>
              </a:xfrm>
              <a:grpFill/>
            </p:grpSpPr>
            <p:sp>
              <p:nvSpPr>
                <p:cNvPr id="5856" name="Freeform 8393">
                  <a:extLst>
                    <a:ext uri="{FF2B5EF4-FFF2-40B4-BE49-F238E27FC236}">
                      <a16:creationId xmlns:a16="http://schemas.microsoft.com/office/drawing/2014/main" id="{F56E81C6-42D5-FEBC-4983-F6B5223BF9DF}"/>
                    </a:ext>
                  </a:extLst>
                </p:cNvPr>
                <p:cNvSpPr/>
                <p:nvPr/>
              </p:nvSpPr>
              <p:spPr>
                <a:xfrm>
                  <a:off x="3755289" y="1710874"/>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5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4111" y="43595"/>
                        <a:pt x="5356" y="37367"/>
                        <a:pt x="5730" y="33008"/>
                      </a:cubicBezTo>
                      <a:cubicBezTo>
                        <a:pt x="6353" y="26033"/>
                        <a:pt x="4858" y="22545"/>
                        <a:pt x="5854" y="15570"/>
                      </a:cubicBezTo>
                      <a:cubicBezTo>
                        <a:pt x="6726" y="8719"/>
                        <a:pt x="9342" y="3363"/>
                        <a:pt x="11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7" name="Freeform 8394">
                  <a:extLst>
                    <a:ext uri="{FF2B5EF4-FFF2-40B4-BE49-F238E27FC236}">
                      <a16:creationId xmlns:a16="http://schemas.microsoft.com/office/drawing/2014/main" id="{B63D4A8D-785C-9C36-55DE-6A580FA07A27}"/>
                    </a:ext>
                  </a:extLst>
                </p:cNvPr>
                <p:cNvSpPr/>
                <p:nvPr/>
              </p:nvSpPr>
              <p:spPr>
                <a:xfrm>
                  <a:off x="3747000" y="1714112"/>
                  <a:ext cx="10506" cy="51068"/>
                </a:xfrm>
                <a:custGeom>
                  <a:avLst/>
                  <a:gdLst>
                    <a:gd name="connsiteX0" fmla="*/ 10282 w 10506"/>
                    <a:gd name="connsiteY0" fmla="*/ 0 h 51068"/>
                    <a:gd name="connsiteX1" fmla="*/ 8414 w 10506"/>
                    <a:gd name="connsiteY1" fmla="*/ 18684 h 51068"/>
                    <a:gd name="connsiteX2" fmla="*/ 1563 w 10506"/>
                    <a:gd name="connsiteY2" fmla="*/ 34627 h 51068"/>
                    <a:gd name="connsiteX3" fmla="*/ 318 w 10506"/>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06" h="51068">
                      <a:moveTo>
                        <a:pt x="10282" y="0"/>
                      </a:moveTo>
                      <a:cubicBezTo>
                        <a:pt x="11029" y="8345"/>
                        <a:pt x="9784" y="14573"/>
                        <a:pt x="8414" y="18684"/>
                      </a:cubicBezTo>
                      <a:cubicBezTo>
                        <a:pt x="6172"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8" name="Freeform 8395">
                  <a:extLst>
                    <a:ext uri="{FF2B5EF4-FFF2-40B4-BE49-F238E27FC236}">
                      <a16:creationId xmlns:a16="http://schemas.microsoft.com/office/drawing/2014/main" id="{DFC313CA-2E36-373E-9D11-B76F610FDD40}"/>
                    </a:ext>
                  </a:extLst>
                </p:cNvPr>
                <p:cNvSpPr/>
                <p:nvPr/>
              </p:nvSpPr>
              <p:spPr>
                <a:xfrm>
                  <a:off x="3736822" y="1754680"/>
                  <a:ext cx="26719" cy="26606"/>
                </a:xfrm>
                <a:custGeom>
                  <a:avLst/>
                  <a:gdLst>
                    <a:gd name="connsiteX0" fmla="*/ 281 w 26719"/>
                    <a:gd name="connsiteY0" fmla="*/ 10501 h 26606"/>
                    <a:gd name="connsiteX1" fmla="*/ 16100 w 26719"/>
                    <a:gd name="connsiteY1" fmla="*/ 287 h 26606"/>
                    <a:gd name="connsiteX2" fmla="*/ 26438 w 26719"/>
                    <a:gd name="connsiteY2" fmla="*/ 16106 h 26606"/>
                    <a:gd name="connsiteX3" fmla="*/ 10619 w 26719"/>
                    <a:gd name="connsiteY3" fmla="*/ 26319 h 26606"/>
                    <a:gd name="connsiteX4" fmla="*/ 281 w 26719"/>
                    <a:gd name="connsiteY4" fmla="*/ 10501 h 2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6">
                      <a:moveTo>
                        <a:pt x="281" y="10501"/>
                      </a:moveTo>
                      <a:cubicBezTo>
                        <a:pt x="1776" y="3276"/>
                        <a:pt x="8876" y="-1208"/>
                        <a:pt x="16100" y="287"/>
                      </a:cubicBezTo>
                      <a:cubicBezTo>
                        <a:pt x="23325" y="1782"/>
                        <a:pt x="27933" y="8881"/>
                        <a:pt x="26438" y="16106"/>
                      </a:cubicBezTo>
                      <a:cubicBezTo>
                        <a:pt x="24944" y="23330"/>
                        <a:pt x="17844" y="27814"/>
                        <a:pt x="10619" y="26319"/>
                      </a:cubicBezTo>
                      <a:cubicBezTo>
                        <a:pt x="3395" y="24825"/>
                        <a:pt x="-1213" y="17600"/>
                        <a:pt x="281" y="105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9" name="Freeform 8396">
                  <a:extLst>
                    <a:ext uri="{FF2B5EF4-FFF2-40B4-BE49-F238E27FC236}">
                      <a16:creationId xmlns:a16="http://schemas.microsoft.com/office/drawing/2014/main" id="{4ED4694A-3924-966A-DD33-60C8550F32F3}"/>
                    </a:ext>
                  </a:extLst>
                </p:cNvPr>
                <p:cNvSpPr/>
                <p:nvPr/>
              </p:nvSpPr>
              <p:spPr>
                <a:xfrm>
                  <a:off x="3759026" y="1654325"/>
                  <a:ext cx="11334" cy="50944"/>
                </a:xfrm>
                <a:custGeom>
                  <a:avLst/>
                  <a:gdLst>
                    <a:gd name="connsiteX0" fmla="*/ 11335 w 11334"/>
                    <a:gd name="connsiteY0" fmla="*/ 0 h 50944"/>
                    <a:gd name="connsiteX1" fmla="*/ 5605 w 11334"/>
                    <a:gd name="connsiteY1" fmla="*/ 17936 h 50944"/>
                    <a:gd name="connsiteX2" fmla="*/ 5481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0"/>
                      </a:moveTo>
                      <a:cubicBezTo>
                        <a:pt x="7224" y="7349"/>
                        <a:pt x="5979" y="13577"/>
                        <a:pt x="5605" y="17936"/>
                      </a:cubicBezTo>
                      <a:cubicBezTo>
                        <a:pt x="4982" y="24912"/>
                        <a:pt x="6352" y="28275"/>
                        <a:pt x="5481"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0" name="Freeform 8397">
                  <a:extLst>
                    <a:ext uri="{FF2B5EF4-FFF2-40B4-BE49-F238E27FC236}">
                      <a16:creationId xmlns:a16="http://schemas.microsoft.com/office/drawing/2014/main" id="{77DD3916-EAC1-9AF4-BA6E-0F61314D02E3}"/>
                    </a:ext>
                  </a:extLst>
                </p:cNvPr>
                <p:cNvSpPr/>
                <p:nvPr/>
              </p:nvSpPr>
              <p:spPr>
                <a:xfrm>
                  <a:off x="3768018" y="1650837"/>
                  <a:ext cx="10506" cy="51193"/>
                </a:xfrm>
                <a:custGeom>
                  <a:avLst/>
                  <a:gdLst>
                    <a:gd name="connsiteX0" fmla="*/ 224 w 10506"/>
                    <a:gd name="connsiteY0" fmla="*/ 51193 h 51193"/>
                    <a:gd name="connsiteX1" fmla="*/ 2093 w 10506"/>
                    <a:gd name="connsiteY1" fmla="*/ 32510 h 51193"/>
                    <a:gd name="connsiteX2" fmla="*/ 8944 w 10506"/>
                    <a:gd name="connsiteY2" fmla="*/ 16442 h 51193"/>
                    <a:gd name="connsiteX3" fmla="*/ 10189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224" y="51193"/>
                      </a:moveTo>
                      <a:cubicBezTo>
                        <a:pt x="-523" y="42848"/>
                        <a:pt x="723" y="36620"/>
                        <a:pt x="2093" y="32510"/>
                      </a:cubicBezTo>
                      <a:cubicBezTo>
                        <a:pt x="4335" y="25908"/>
                        <a:pt x="6951" y="23292"/>
                        <a:pt x="8944" y="16442"/>
                      </a:cubicBezTo>
                      <a:cubicBezTo>
                        <a:pt x="10812" y="9840"/>
                        <a:pt x="10687" y="3861"/>
                        <a:pt x="101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61" name="Freeform 8398">
                  <a:extLst>
                    <a:ext uri="{FF2B5EF4-FFF2-40B4-BE49-F238E27FC236}">
                      <a16:creationId xmlns:a16="http://schemas.microsoft.com/office/drawing/2014/main" id="{E5D66A7B-110B-FB38-71D4-953BEF52FF42}"/>
                    </a:ext>
                  </a:extLst>
                </p:cNvPr>
                <p:cNvSpPr/>
                <p:nvPr/>
              </p:nvSpPr>
              <p:spPr>
                <a:xfrm>
                  <a:off x="3762107" y="1634980"/>
                  <a:ext cx="26346" cy="26481"/>
                </a:xfrm>
                <a:custGeom>
                  <a:avLst/>
                  <a:gdLst>
                    <a:gd name="connsiteX0" fmla="*/ 26065 w 26346"/>
                    <a:gd name="connsiteY0" fmla="*/ 15981 h 26481"/>
                    <a:gd name="connsiteX1" fmla="*/ 10495 w 26346"/>
                    <a:gd name="connsiteY1" fmla="*/ 26195 h 26481"/>
                    <a:gd name="connsiteX2" fmla="*/ 282 w 26346"/>
                    <a:gd name="connsiteY2" fmla="*/ 10501 h 26481"/>
                    <a:gd name="connsiteX3" fmla="*/ 15851 w 26346"/>
                    <a:gd name="connsiteY3" fmla="*/ 287 h 26481"/>
                    <a:gd name="connsiteX4" fmla="*/ 26065 w 26346"/>
                    <a:gd name="connsiteY4" fmla="*/ 159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81">
                      <a:moveTo>
                        <a:pt x="26065" y="15981"/>
                      </a:moveTo>
                      <a:cubicBezTo>
                        <a:pt x="24570" y="23206"/>
                        <a:pt x="17595" y="27690"/>
                        <a:pt x="10495" y="26195"/>
                      </a:cubicBezTo>
                      <a:cubicBezTo>
                        <a:pt x="3395" y="24700"/>
                        <a:pt x="-1213" y="17600"/>
                        <a:pt x="282" y="10501"/>
                      </a:cubicBezTo>
                      <a:cubicBezTo>
                        <a:pt x="1776" y="3276"/>
                        <a:pt x="8751" y="-1208"/>
                        <a:pt x="15851" y="287"/>
                      </a:cubicBezTo>
                      <a:cubicBezTo>
                        <a:pt x="22951" y="1782"/>
                        <a:pt x="27560" y="8757"/>
                        <a:pt x="26065" y="159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7" name="Graphic 2987">
                <a:extLst>
                  <a:ext uri="{FF2B5EF4-FFF2-40B4-BE49-F238E27FC236}">
                    <a16:creationId xmlns:a16="http://schemas.microsoft.com/office/drawing/2014/main" id="{0F1228EA-93E7-EF35-4F69-E95CF9761BFC}"/>
                  </a:ext>
                </a:extLst>
              </p:cNvPr>
              <p:cNvGrpSpPr/>
              <p:nvPr/>
            </p:nvGrpSpPr>
            <p:grpSpPr>
              <a:xfrm>
                <a:off x="3707676" y="1628758"/>
                <a:ext cx="52010" cy="146300"/>
                <a:chOff x="3707676" y="1628758"/>
                <a:chExt cx="52010" cy="146300"/>
              </a:xfrm>
              <a:grpFill/>
            </p:grpSpPr>
            <p:sp>
              <p:nvSpPr>
                <p:cNvPr id="5850" name="Freeform 8400">
                  <a:extLst>
                    <a:ext uri="{FF2B5EF4-FFF2-40B4-BE49-F238E27FC236}">
                      <a16:creationId xmlns:a16="http://schemas.microsoft.com/office/drawing/2014/main" id="{FE1CDB55-2139-C5A6-EF1A-943735739121}"/>
                    </a:ext>
                  </a:extLst>
                </p:cNvPr>
                <p:cNvSpPr/>
                <p:nvPr/>
              </p:nvSpPr>
              <p:spPr>
                <a:xfrm>
                  <a:off x="3726018" y="1704646"/>
                  <a:ext cx="11583" cy="50944"/>
                </a:xfrm>
                <a:custGeom>
                  <a:avLst/>
                  <a:gdLst>
                    <a:gd name="connsiteX0" fmla="*/ 0 w 11583"/>
                    <a:gd name="connsiteY0" fmla="*/ 50944 h 50944"/>
                    <a:gd name="connsiteX1" fmla="*/ 5854 w 11583"/>
                    <a:gd name="connsiteY1" fmla="*/ 33008 h 50944"/>
                    <a:gd name="connsiteX2" fmla="*/ 6103 w 11583"/>
                    <a:gd name="connsiteY2" fmla="*/ 15570 h 50944"/>
                    <a:gd name="connsiteX3" fmla="*/ 11584 w 11583"/>
                    <a:gd name="connsiteY3" fmla="*/ 0 h 50944"/>
                  </a:gdLst>
                  <a:ahLst/>
                  <a:cxnLst>
                    <a:cxn ang="0">
                      <a:pos x="connsiteX0" y="connsiteY0"/>
                    </a:cxn>
                    <a:cxn ang="0">
                      <a:pos x="connsiteX1" y="connsiteY1"/>
                    </a:cxn>
                    <a:cxn ang="0">
                      <a:pos x="connsiteX2" y="connsiteY2"/>
                    </a:cxn>
                    <a:cxn ang="0">
                      <a:pos x="connsiteX3" y="connsiteY3"/>
                    </a:cxn>
                  </a:cxnLst>
                  <a:rect l="l" t="t" r="r" b="b"/>
                  <a:pathLst>
                    <a:path w="11583" h="50944">
                      <a:moveTo>
                        <a:pt x="0" y="50944"/>
                      </a:moveTo>
                      <a:cubicBezTo>
                        <a:pt x="4110" y="43595"/>
                        <a:pt x="5356" y="37367"/>
                        <a:pt x="5854" y="33008"/>
                      </a:cubicBezTo>
                      <a:cubicBezTo>
                        <a:pt x="6477" y="26033"/>
                        <a:pt x="5107" y="22669"/>
                        <a:pt x="6103" y="15570"/>
                      </a:cubicBezTo>
                      <a:cubicBezTo>
                        <a:pt x="7099"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1" name="Freeform 8401">
                  <a:extLst>
                    <a:ext uri="{FF2B5EF4-FFF2-40B4-BE49-F238E27FC236}">
                      <a16:creationId xmlns:a16="http://schemas.microsoft.com/office/drawing/2014/main" id="{3DE0A70B-9E97-77D6-850D-47A7202F3232}"/>
                    </a:ext>
                  </a:extLst>
                </p:cNvPr>
                <p:cNvSpPr/>
                <p:nvPr/>
              </p:nvSpPr>
              <p:spPr>
                <a:xfrm>
                  <a:off x="3717729" y="1707884"/>
                  <a:ext cx="10742" cy="51068"/>
                </a:xfrm>
                <a:custGeom>
                  <a:avLst/>
                  <a:gdLst>
                    <a:gd name="connsiteX0" fmla="*/ 10531 w 10742"/>
                    <a:gd name="connsiteY0" fmla="*/ 0 h 51068"/>
                    <a:gd name="connsiteX1" fmla="*/ 8538 w 10742"/>
                    <a:gd name="connsiteY1" fmla="*/ 18684 h 51068"/>
                    <a:gd name="connsiteX2" fmla="*/ 1563 w 10742"/>
                    <a:gd name="connsiteY2" fmla="*/ 34627 h 51068"/>
                    <a:gd name="connsiteX3" fmla="*/ 318 w 10742"/>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42" h="51068">
                      <a:moveTo>
                        <a:pt x="10531" y="0"/>
                      </a:moveTo>
                      <a:cubicBezTo>
                        <a:pt x="11279" y="8345"/>
                        <a:pt x="9908" y="14573"/>
                        <a:pt x="8538" y="18684"/>
                      </a:cubicBezTo>
                      <a:cubicBezTo>
                        <a:pt x="6296" y="25285"/>
                        <a:pt x="3556" y="27901"/>
                        <a:pt x="1563" y="34627"/>
                      </a:cubicBezTo>
                      <a:cubicBezTo>
                        <a:pt x="-305" y="41229"/>
                        <a:pt x="-181" y="47207"/>
                        <a:pt x="318"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2" name="Freeform 8402">
                  <a:extLst>
                    <a:ext uri="{FF2B5EF4-FFF2-40B4-BE49-F238E27FC236}">
                      <a16:creationId xmlns:a16="http://schemas.microsoft.com/office/drawing/2014/main" id="{7B749A08-6A9D-170C-03D5-8384899F8C7B}"/>
                    </a:ext>
                  </a:extLst>
                </p:cNvPr>
                <p:cNvSpPr/>
                <p:nvPr/>
              </p:nvSpPr>
              <p:spPr>
                <a:xfrm>
                  <a:off x="3707676" y="1748458"/>
                  <a:ext cx="26719" cy="26601"/>
                </a:xfrm>
                <a:custGeom>
                  <a:avLst/>
                  <a:gdLst>
                    <a:gd name="connsiteX0" fmla="*/ 281 w 26719"/>
                    <a:gd name="connsiteY0" fmla="*/ 10495 h 26601"/>
                    <a:gd name="connsiteX1" fmla="*/ 16100 w 26719"/>
                    <a:gd name="connsiteY1" fmla="*/ 282 h 26601"/>
                    <a:gd name="connsiteX2" fmla="*/ 26438 w 26719"/>
                    <a:gd name="connsiteY2" fmla="*/ 16100 h 26601"/>
                    <a:gd name="connsiteX3" fmla="*/ 10619 w 26719"/>
                    <a:gd name="connsiteY3" fmla="*/ 26314 h 26601"/>
                    <a:gd name="connsiteX4" fmla="*/ 281 w 26719"/>
                    <a:gd name="connsiteY4" fmla="*/ 10495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601">
                      <a:moveTo>
                        <a:pt x="281" y="10495"/>
                      </a:moveTo>
                      <a:cubicBezTo>
                        <a:pt x="1776" y="3395"/>
                        <a:pt x="8876" y="-1213"/>
                        <a:pt x="16100" y="282"/>
                      </a:cubicBezTo>
                      <a:cubicBezTo>
                        <a:pt x="23325" y="1776"/>
                        <a:pt x="27933" y="8876"/>
                        <a:pt x="26438" y="16100"/>
                      </a:cubicBezTo>
                      <a:cubicBezTo>
                        <a:pt x="24944" y="23325"/>
                        <a:pt x="17844" y="27809"/>
                        <a:pt x="10619" y="26314"/>
                      </a:cubicBezTo>
                      <a:cubicBezTo>
                        <a:pt x="3395" y="24819"/>
                        <a:pt x="-1213" y="17595"/>
                        <a:pt x="281"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3" name="Freeform 8403">
                  <a:extLst>
                    <a:ext uri="{FF2B5EF4-FFF2-40B4-BE49-F238E27FC236}">
                      <a16:creationId xmlns:a16="http://schemas.microsoft.com/office/drawing/2014/main" id="{097199E7-D7E6-C82A-7ECF-50DE04DE3388}"/>
                    </a:ext>
                  </a:extLst>
                </p:cNvPr>
                <p:cNvSpPr/>
                <p:nvPr/>
              </p:nvSpPr>
              <p:spPr>
                <a:xfrm>
                  <a:off x="3729879" y="1648097"/>
                  <a:ext cx="11583" cy="50944"/>
                </a:xfrm>
                <a:custGeom>
                  <a:avLst/>
                  <a:gdLst>
                    <a:gd name="connsiteX0" fmla="*/ 11584 w 11583"/>
                    <a:gd name="connsiteY0" fmla="*/ 0 h 50944"/>
                    <a:gd name="connsiteX1" fmla="*/ 5730 w 11583"/>
                    <a:gd name="connsiteY1" fmla="*/ 17936 h 50944"/>
                    <a:gd name="connsiteX2" fmla="*/ 5481 w 11583"/>
                    <a:gd name="connsiteY2" fmla="*/ 35374 h 50944"/>
                    <a:gd name="connsiteX3" fmla="*/ 0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11584" y="0"/>
                      </a:moveTo>
                      <a:cubicBezTo>
                        <a:pt x="7473" y="7349"/>
                        <a:pt x="6228" y="13577"/>
                        <a:pt x="5730" y="17936"/>
                      </a:cubicBezTo>
                      <a:cubicBezTo>
                        <a:pt x="4982" y="24912"/>
                        <a:pt x="6477" y="28275"/>
                        <a:pt x="5481" y="35374"/>
                      </a:cubicBezTo>
                      <a:cubicBezTo>
                        <a:pt x="4484"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4" name="Freeform 8404">
                  <a:extLst>
                    <a:ext uri="{FF2B5EF4-FFF2-40B4-BE49-F238E27FC236}">
                      <a16:creationId xmlns:a16="http://schemas.microsoft.com/office/drawing/2014/main" id="{66D22E7A-250E-E234-CCC1-F08A02DBCBD2}"/>
                    </a:ext>
                  </a:extLst>
                </p:cNvPr>
                <p:cNvSpPr/>
                <p:nvPr/>
              </p:nvSpPr>
              <p:spPr>
                <a:xfrm>
                  <a:off x="3739010" y="1644734"/>
                  <a:ext cx="10617" cy="51068"/>
                </a:xfrm>
                <a:custGeom>
                  <a:avLst/>
                  <a:gdLst>
                    <a:gd name="connsiteX0" fmla="*/ 211 w 10617"/>
                    <a:gd name="connsiteY0" fmla="*/ 51069 h 51068"/>
                    <a:gd name="connsiteX1" fmla="*/ 2204 w 10617"/>
                    <a:gd name="connsiteY1" fmla="*/ 32385 h 51068"/>
                    <a:gd name="connsiteX2" fmla="*/ 9055 w 10617"/>
                    <a:gd name="connsiteY2" fmla="*/ 16442 h 51068"/>
                    <a:gd name="connsiteX3" fmla="*/ 10300 w 10617"/>
                    <a:gd name="connsiteY3" fmla="*/ 0 h 51068"/>
                  </a:gdLst>
                  <a:ahLst/>
                  <a:cxnLst>
                    <a:cxn ang="0">
                      <a:pos x="connsiteX0" y="connsiteY0"/>
                    </a:cxn>
                    <a:cxn ang="0">
                      <a:pos x="connsiteX1" y="connsiteY1"/>
                    </a:cxn>
                    <a:cxn ang="0">
                      <a:pos x="connsiteX2" y="connsiteY2"/>
                    </a:cxn>
                    <a:cxn ang="0">
                      <a:pos x="connsiteX3" y="connsiteY3"/>
                    </a:cxn>
                  </a:cxnLst>
                  <a:rect l="l" t="t" r="r" b="b"/>
                  <a:pathLst>
                    <a:path w="10617" h="51068">
                      <a:moveTo>
                        <a:pt x="211" y="51069"/>
                      </a:moveTo>
                      <a:cubicBezTo>
                        <a:pt x="-536" y="42723"/>
                        <a:pt x="834" y="36495"/>
                        <a:pt x="2204" y="32385"/>
                      </a:cubicBezTo>
                      <a:cubicBezTo>
                        <a:pt x="4446" y="25783"/>
                        <a:pt x="7062" y="23168"/>
                        <a:pt x="9055" y="16442"/>
                      </a:cubicBezTo>
                      <a:cubicBezTo>
                        <a:pt x="10923" y="9840"/>
                        <a:pt x="10798"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55" name="Freeform 8405">
                  <a:extLst>
                    <a:ext uri="{FF2B5EF4-FFF2-40B4-BE49-F238E27FC236}">
                      <a16:creationId xmlns:a16="http://schemas.microsoft.com/office/drawing/2014/main" id="{5991E33B-14BB-9A8B-B5AB-0445B324450D}"/>
                    </a:ext>
                  </a:extLst>
                </p:cNvPr>
                <p:cNvSpPr/>
                <p:nvPr/>
              </p:nvSpPr>
              <p:spPr>
                <a:xfrm>
                  <a:off x="3733291" y="1628758"/>
                  <a:ext cx="26395" cy="26476"/>
                </a:xfrm>
                <a:custGeom>
                  <a:avLst/>
                  <a:gdLst>
                    <a:gd name="connsiteX0" fmla="*/ 26108 w 26395"/>
                    <a:gd name="connsiteY0" fmla="*/ 15976 h 26476"/>
                    <a:gd name="connsiteX1" fmla="*/ 10414 w 26395"/>
                    <a:gd name="connsiteY1" fmla="*/ 26190 h 26476"/>
                    <a:gd name="connsiteX2" fmla="*/ 325 w 26395"/>
                    <a:gd name="connsiteY2" fmla="*/ 10495 h 26476"/>
                    <a:gd name="connsiteX3" fmla="*/ 16019 w 26395"/>
                    <a:gd name="connsiteY3" fmla="*/ 282 h 26476"/>
                    <a:gd name="connsiteX4" fmla="*/ 26108 w 26395"/>
                    <a:gd name="connsiteY4" fmla="*/ 15976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5" h="26476">
                      <a:moveTo>
                        <a:pt x="26108" y="15976"/>
                      </a:moveTo>
                      <a:cubicBezTo>
                        <a:pt x="24613" y="23200"/>
                        <a:pt x="17638" y="27684"/>
                        <a:pt x="10414" y="26190"/>
                      </a:cubicBezTo>
                      <a:cubicBezTo>
                        <a:pt x="3314" y="24695"/>
                        <a:pt x="-1295" y="17595"/>
                        <a:pt x="325" y="10495"/>
                      </a:cubicBezTo>
                      <a:cubicBezTo>
                        <a:pt x="1819" y="3396"/>
                        <a:pt x="8919" y="-1213"/>
                        <a:pt x="16019" y="282"/>
                      </a:cubicBezTo>
                      <a:cubicBezTo>
                        <a:pt x="23118" y="1776"/>
                        <a:pt x="27603" y="8876"/>
                        <a:pt x="26108"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8" name="Graphic 2987">
                <a:extLst>
                  <a:ext uri="{FF2B5EF4-FFF2-40B4-BE49-F238E27FC236}">
                    <a16:creationId xmlns:a16="http://schemas.microsoft.com/office/drawing/2014/main" id="{F80A7DBB-97ED-B097-03F0-AD7E49DD0697}"/>
                  </a:ext>
                </a:extLst>
              </p:cNvPr>
              <p:cNvGrpSpPr/>
              <p:nvPr/>
            </p:nvGrpSpPr>
            <p:grpSpPr>
              <a:xfrm>
                <a:off x="3678486" y="1622530"/>
                <a:ext cx="52427" cy="146213"/>
                <a:chOff x="3678486" y="1622530"/>
                <a:chExt cx="52427" cy="146213"/>
              </a:xfrm>
              <a:grpFill/>
            </p:grpSpPr>
            <p:sp>
              <p:nvSpPr>
                <p:cNvPr id="5844" name="Freeform 8407">
                  <a:extLst>
                    <a:ext uri="{FF2B5EF4-FFF2-40B4-BE49-F238E27FC236}">
                      <a16:creationId xmlns:a16="http://schemas.microsoft.com/office/drawing/2014/main" id="{FC52D66E-B510-296E-9E3B-A31BADC6973C}"/>
                    </a:ext>
                  </a:extLst>
                </p:cNvPr>
                <p:cNvSpPr/>
                <p:nvPr/>
              </p:nvSpPr>
              <p:spPr>
                <a:xfrm>
                  <a:off x="3696871" y="1698418"/>
                  <a:ext cx="11708" cy="50819"/>
                </a:xfrm>
                <a:custGeom>
                  <a:avLst/>
                  <a:gdLst>
                    <a:gd name="connsiteX0" fmla="*/ 0 w 11708"/>
                    <a:gd name="connsiteY0" fmla="*/ 50820 h 50819"/>
                    <a:gd name="connsiteX1" fmla="*/ 5854 w 11708"/>
                    <a:gd name="connsiteY1" fmla="*/ 33008 h 50819"/>
                    <a:gd name="connsiteX2" fmla="*/ 6104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4" y="33008"/>
                      </a:cubicBezTo>
                      <a:cubicBezTo>
                        <a:pt x="6602" y="26033"/>
                        <a:pt x="5107" y="22669"/>
                        <a:pt x="6104" y="15570"/>
                      </a:cubicBezTo>
                      <a:cubicBezTo>
                        <a:pt x="7100" y="8719"/>
                        <a:pt x="9715"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5" name="Freeform 8408">
                  <a:extLst>
                    <a:ext uri="{FF2B5EF4-FFF2-40B4-BE49-F238E27FC236}">
                      <a16:creationId xmlns:a16="http://schemas.microsoft.com/office/drawing/2014/main" id="{4DC93527-B719-CAD2-BD70-9D10DE79A385}"/>
                    </a:ext>
                  </a:extLst>
                </p:cNvPr>
                <p:cNvSpPr/>
                <p:nvPr/>
              </p:nvSpPr>
              <p:spPr>
                <a:xfrm>
                  <a:off x="3688643" y="1701656"/>
                  <a:ext cx="10805" cy="51068"/>
                </a:xfrm>
                <a:custGeom>
                  <a:avLst/>
                  <a:gdLst>
                    <a:gd name="connsiteX0" fmla="*/ 10595 w 10805"/>
                    <a:gd name="connsiteY0" fmla="*/ 0 h 51068"/>
                    <a:gd name="connsiteX1" fmla="*/ 8602 w 10805"/>
                    <a:gd name="connsiteY1" fmla="*/ 18684 h 51068"/>
                    <a:gd name="connsiteX2" fmla="*/ 1626 w 10805"/>
                    <a:gd name="connsiteY2" fmla="*/ 34627 h 51068"/>
                    <a:gd name="connsiteX3" fmla="*/ 256 w 1080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805" h="51068">
                      <a:moveTo>
                        <a:pt x="10595" y="0"/>
                      </a:moveTo>
                      <a:cubicBezTo>
                        <a:pt x="11342" y="8345"/>
                        <a:pt x="9972" y="14573"/>
                        <a:pt x="8602" y="18684"/>
                      </a:cubicBezTo>
                      <a:cubicBezTo>
                        <a:pt x="6360" y="25285"/>
                        <a:pt x="3619" y="27901"/>
                        <a:pt x="1626" y="34627"/>
                      </a:cubicBezTo>
                      <a:cubicBezTo>
                        <a:pt x="-367" y="41229"/>
                        <a:pt x="-117" y="47207"/>
                        <a:pt x="25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6" name="Freeform 8409">
                  <a:extLst>
                    <a:ext uri="{FF2B5EF4-FFF2-40B4-BE49-F238E27FC236}">
                      <a16:creationId xmlns:a16="http://schemas.microsoft.com/office/drawing/2014/main" id="{709C53DA-5135-F0FF-19E4-00E2D7013BFA}"/>
                    </a:ext>
                  </a:extLst>
                </p:cNvPr>
                <p:cNvSpPr/>
                <p:nvPr/>
              </p:nvSpPr>
              <p:spPr>
                <a:xfrm>
                  <a:off x="3678486" y="1742187"/>
                  <a:ext cx="26680" cy="26556"/>
                </a:xfrm>
                <a:custGeom>
                  <a:avLst/>
                  <a:gdLst>
                    <a:gd name="connsiteX0" fmla="*/ 324 w 26680"/>
                    <a:gd name="connsiteY0" fmla="*/ 10414 h 26556"/>
                    <a:gd name="connsiteX1" fmla="*/ 16143 w 26680"/>
                    <a:gd name="connsiteY1" fmla="*/ 324 h 26556"/>
                    <a:gd name="connsiteX2" fmla="*/ 26357 w 26680"/>
                    <a:gd name="connsiteY2" fmla="*/ 16143 h 26556"/>
                    <a:gd name="connsiteX3" fmla="*/ 10538 w 26680"/>
                    <a:gd name="connsiteY3" fmla="*/ 26232 h 26556"/>
                    <a:gd name="connsiteX4" fmla="*/ 324 w 26680"/>
                    <a:gd name="connsiteY4" fmla="*/ 10414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56">
                      <a:moveTo>
                        <a:pt x="324" y="10414"/>
                      </a:moveTo>
                      <a:cubicBezTo>
                        <a:pt x="1944" y="3314"/>
                        <a:pt x="9043" y="-1295"/>
                        <a:pt x="16143" y="324"/>
                      </a:cubicBezTo>
                      <a:cubicBezTo>
                        <a:pt x="23367" y="1819"/>
                        <a:pt x="27976" y="8919"/>
                        <a:pt x="26357" y="16143"/>
                      </a:cubicBezTo>
                      <a:cubicBezTo>
                        <a:pt x="24862" y="23243"/>
                        <a:pt x="17762" y="27852"/>
                        <a:pt x="10538" y="26232"/>
                      </a:cubicBezTo>
                      <a:cubicBezTo>
                        <a:pt x="3313" y="24613"/>
                        <a:pt x="-1295" y="17638"/>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7" name="Freeform 8410">
                  <a:extLst>
                    <a:ext uri="{FF2B5EF4-FFF2-40B4-BE49-F238E27FC236}">
                      <a16:creationId xmlns:a16="http://schemas.microsoft.com/office/drawing/2014/main" id="{0EE1ADE2-4DBE-21CB-2FF2-767F7F3A38FC}"/>
                    </a:ext>
                  </a:extLst>
                </p:cNvPr>
                <p:cNvSpPr/>
                <p:nvPr/>
              </p:nvSpPr>
              <p:spPr>
                <a:xfrm>
                  <a:off x="3700982" y="1641993"/>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2"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8" name="Freeform 8411">
                  <a:extLst>
                    <a:ext uri="{FF2B5EF4-FFF2-40B4-BE49-F238E27FC236}">
                      <a16:creationId xmlns:a16="http://schemas.microsoft.com/office/drawing/2014/main" id="{3443DE8F-0350-E42E-00C5-58FE12863FC6}"/>
                    </a:ext>
                  </a:extLst>
                </p:cNvPr>
                <p:cNvSpPr/>
                <p:nvPr/>
              </p:nvSpPr>
              <p:spPr>
                <a:xfrm>
                  <a:off x="3709988" y="163850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6" y="25783"/>
                        <a:pt x="7187" y="23168"/>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9" name="Freeform 8412">
                  <a:extLst>
                    <a:ext uri="{FF2B5EF4-FFF2-40B4-BE49-F238E27FC236}">
                      <a16:creationId xmlns:a16="http://schemas.microsoft.com/office/drawing/2014/main" id="{FBC970AE-9E07-C273-985B-8AFA39D0B34D}"/>
                    </a:ext>
                  </a:extLst>
                </p:cNvPr>
                <p:cNvSpPr/>
                <p:nvPr/>
              </p:nvSpPr>
              <p:spPr>
                <a:xfrm>
                  <a:off x="3704556" y="1622530"/>
                  <a:ext cx="26357" cy="26471"/>
                </a:xfrm>
                <a:custGeom>
                  <a:avLst/>
                  <a:gdLst>
                    <a:gd name="connsiteX0" fmla="*/ 26071 w 26357"/>
                    <a:gd name="connsiteY0" fmla="*/ 15976 h 26471"/>
                    <a:gd name="connsiteX1" fmla="*/ 10376 w 26357"/>
                    <a:gd name="connsiteY1" fmla="*/ 26190 h 26471"/>
                    <a:gd name="connsiteX2" fmla="*/ 287 w 26357"/>
                    <a:gd name="connsiteY2" fmla="*/ 10495 h 26471"/>
                    <a:gd name="connsiteX3" fmla="*/ 15982 w 26357"/>
                    <a:gd name="connsiteY3" fmla="*/ 282 h 26471"/>
                    <a:gd name="connsiteX4" fmla="*/ 26071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6071" y="15976"/>
                      </a:moveTo>
                      <a:cubicBezTo>
                        <a:pt x="24576" y="23076"/>
                        <a:pt x="17476" y="27684"/>
                        <a:pt x="10376" y="26190"/>
                      </a:cubicBezTo>
                      <a:cubicBezTo>
                        <a:pt x="3276" y="24695"/>
                        <a:pt x="-1207" y="17595"/>
                        <a:pt x="287" y="10495"/>
                      </a:cubicBezTo>
                      <a:cubicBezTo>
                        <a:pt x="1906" y="3396"/>
                        <a:pt x="8882" y="-1213"/>
                        <a:pt x="15982" y="282"/>
                      </a:cubicBezTo>
                      <a:cubicBezTo>
                        <a:pt x="23081" y="1776"/>
                        <a:pt x="27565" y="8876"/>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59" name="Graphic 2987">
                <a:extLst>
                  <a:ext uri="{FF2B5EF4-FFF2-40B4-BE49-F238E27FC236}">
                    <a16:creationId xmlns:a16="http://schemas.microsoft.com/office/drawing/2014/main" id="{165D4A41-4B69-F964-2096-42FF08A0E314}"/>
                  </a:ext>
                </a:extLst>
              </p:cNvPr>
              <p:cNvGrpSpPr/>
              <p:nvPr/>
            </p:nvGrpSpPr>
            <p:grpSpPr>
              <a:xfrm>
                <a:off x="3649215" y="1616427"/>
                <a:ext cx="52844" cy="145964"/>
                <a:chOff x="3649215" y="1616427"/>
                <a:chExt cx="52844" cy="145964"/>
              </a:xfrm>
              <a:grpFill/>
            </p:grpSpPr>
            <p:sp>
              <p:nvSpPr>
                <p:cNvPr id="5838" name="Freeform 8414">
                  <a:extLst>
                    <a:ext uri="{FF2B5EF4-FFF2-40B4-BE49-F238E27FC236}">
                      <a16:creationId xmlns:a16="http://schemas.microsoft.com/office/drawing/2014/main" id="{C191EFD0-5B43-0F94-08E5-E44E2C4886EB}"/>
                    </a:ext>
                  </a:extLst>
                </p:cNvPr>
                <p:cNvSpPr/>
                <p:nvPr/>
              </p:nvSpPr>
              <p:spPr>
                <a:xfrm>
                  <a:off x="3667725" y="1692190"/>
                  <a:ext cx="11833" cy="50819"/>
                </a:xfrm>
                <a:custGeom>
                  <a:avLst/>
                  <a:gdLst>
                    <a:gd name="connsiteX0" fmla="*/ 0 w 11833"/>
                    <a:gd name="connsiteY0" fmla="*/ 50820 h 50819"/>
                    <a:gd name="connsiteX1" fmla="*/ 5979 w 11833"/>
                    <a:gd name="connsiteY1" fmla="*/ 33008 h 50819"/>
                    <a:gd name="connsiteX2" fmla="*/ 6228 w 11833"/>
                    <a:gd name="connsiteY2" fmla="*/ 15570 h 50819"/>
                    <a:gd name="connsiteX3" fmla="*/ 11833 w 11833"/>
                    <a:gd name="connsiteY3" fmla="*/ 0 h 50819"/>
                  </a:gdLst>
                  <a:ahLst/>
                  <a:cxnLst>
                    <a:cxn ang="0">
                      <a:pos x="connsiteX0" y="connsiteY0"/>
                    </a:cxn>
                    <a:cxn ang="0">
                      <a:pos x="connsiteX1" y="connsiteY1"/>
                    </a:cxn>
                    <a:cxn ang="0">
                      <a:pos x="connsiteX2" y="connsiteY2"/>
                    </a:cxn>
                    <a:cxn ang="0">
                      <a:pos x="connsiteX3" y="connsiteY3"/>
                    </a:cxn>
                  </a:cxnLst>
                  <a:rect l="l" t="t" r="r" b="b"/>
                  <a:pathLst>
                    <a:path w="11833" h="50818">
                      <a:moveTo>
                        <a:pt x="0" y="50820"/>
                      </a:moveTo>
                      <a:cubicBezTo>
                        <a:pt x="4111" y="43471"/>
                        <a:pt x="5481" y="37243"/>
                        <a:pt x="5979" y="33008"/>
                      </a:cubicBezTo>
                      <a:cubicBezTo>
                        <a:pt x="6726" y="26033"/>
                        <a:pt x="5232" y="22669"/>
                        <a:pt x="6228" y="15570"/>
                      </a:cubicBezTo>
                      <a:cubicBezTo>
                        <a:pt x="7225" y="8719"/>
                        <a:pt x="9840" y="3488"/>
                        <a:pt x="118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9" name="Freeform 8415">
                  <a:extLst>
                    <a:ext uri="{FF2B5EF4-FFF2-40B4-BE49-F238E27FC236}">
                      <a16:creationId xmlns:a16="http://schemas.microsoft.com/office/drawing/2014/main" id="{A675AB4B-328D-8383-C4D4-83257C6D4C56}"/>
                    </a:ext>
                  </a:extLst>
                </p:cNvPr>
                <p:cNvSpPr/>
                <p:nvPr/>
              </p:nvSpPr>
              <p:spPr>
                <a:xfrm>
                  <a:off x="3659442" y="1695429"/>
                  <a:ext cx="10984" cy="51068"/>
                </a:xfrm>
                <a:custGeom>
                  <a:avLst/>
                  <a:gdLst>
                    <a:gd name="connsiteX0" fmla="*/ 10774 w 10984"/>
                    <a:gd name="connsiteY0" fmla="*/ 0 h 51068"/>
                    <a:gd name="connsiteX1" fmla="*/ 8657 w 10984"/>
                    <a:gd name="connsiteY1" fmla="*/ 18684 h 51068"/>
                    <a:gd name="connsiteX2" fmla="*/ 1682 w 10984"/>
                    <a:gd name="connsiteY2" fmla="*/ 34627 h 51068"/>
                    <a:gd name="connsiteX3" fmla="*/ 312 w 10984"/>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84" h="51068">
                      <a:moveTo>
                        <a:pt x="10774" y="0"/>
                      </a:moveTo>
                      <a:cubicBezTo>
                        <a:pt x="11522" y="8345"/>
                        <a:pt x="10151" y="14573"/>
                        <a:pt x="8657" y="18684"/>
                      </a:cubicBezTo>
                      <a:cubicBezTo>
                        <a:pt x="6415" y="25285"/>
                        <a:pt x="3674" y="27776"/>
                        <a:pt x="1682" y="34627"/>
                      </a:cubicBezTo>
                      <a:cubicBezTo>
                        <a:pt x="-311" y="41229"/>
                        <a:pt x="-187" y="47083"/>
                        <a:pt x="31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0" name="Freeform 8416">
                  <a:extLst>
                    <a:ext uri="{FF2B5EF4-FFF2-40B4-BE49-F238E27FC236}">
                      <a16:creationId xmlns:a16="http://schemas.microsoft.com/office/drawing/2014/main" id="{3B935A76-7D1A-DD6C-0A92-2AD399B13136}"/>
                    </a:ext>
                  </a:extLst>
                </p:cNvPr>
                <p:cNvSpPr/>
                <p:nvPr/>
              </p:nvSpPr>
              <p:spPr>
                <a:xfrm>
                  <a:off x="3649215" y="1735959"/>
                  <a:ext cx="26805" cy="26432"/>
                </a:xfrm>
                <a:custGeom>
                  <a:avLst/>
                  <a:gdLst>
                    <a:gd name="connsiteX0" fmla="*/ 324 w 26805"/>
                    <a:gd name="connsiteY0" fmla="*/ 10414 h 26432"/>
                    <a:gd name="connsiteX1" fmla="*/ 16268 w 26805"/>
                    <a:gd name="connsiteY1" fmla="*/ 324 h 26432"/>
                    <a:gd name="connsiteX2" fmla="*/ 26481 w 26805"/>
                    <a:gd name="connsiteY2" fmla="*/ 16019 h 26432"/>
                    <a:gd name="connsiteX3" fmla="*/ 10538 w 26805"/>
                    <a:gd name="connsiteY3" fmla="*/ 26108 h 26432"/>
                    <a:gd name="connsiteX4" fmla="*/ 324 w 26805"/>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5" h="26431">
                      <a:moveTo>
                        <a:pt x="324" y="10414"/>
                      </a:moveTo>
                      <a:cubicBezTo>
                        <a:pt x="1944" y="3314"/>
                        <a:pt x="9043" y="-1295"/>
                        <a:pt x="16268" y="324"/>
                      </a:cubicBezTo>
                      <a:cubicBezTo>
                        <a:pt x="23492" y="1944"/>
                        <a:pt x="28101" y="8919"/>
                        <a:pt x="26481" y="16019"/>
                      </a:cubicBezTo>
                      <a:cubicBezTo>
                        <a:pt x="24862" y="23119"/>
                        <a:pt x="17762" y="27727"/>
                        <a:pt x="10538" y="26108"/>
                      </a:cubicBezTo>
                      <a:cubicBezTo>
                        <a:pt x="3313" y="24613"/>
                        <a:pt x="-1295" y="17513"/>
                        <a:pt x="324"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1" name="Freeform 8417">
                  <a:extLst>
                    <a:ext uri="{FF2B5EF4-FFF2-40B4-BE49-F238E27FC236}">
                      <a16:creationId xmlns:a16="http://schemas.microsoft.com/office/drawing/2014/main" id="{9594FC04-CF30-EA4F-40A4-13CF66084303}"/>
                    </a:ext>
                  </a:extLst>
                </p:cNvPr>
                <p:cNvSpPr/>
                <p:nvPr/>
              </p:nvSpPr>
              <p:spPr>
                <a:xfrm>
                  <a:off x="3671835" y="1635765"/>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577"/>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2" name="Freeform 8418">
                  <a:extLst>
                    <a:ext uri="{FF2B5EF4-FFF2-40B4-BE49-F238E27FC236}">
                      <a16:creationId xmlns:a16="http://schemas.microsoft.com/office/drawing/2014/main" id="{DD7EAADB-C7B8-3B41-777A-5FBA157BBD38}"/>
                    </a:ext>
                  </a:extLst>
                </p:cNvPr>
                <p:cNvSpPr/>
                <p:nvPr/>
              </p:nvSpPr>
              <p:spPr>
                <a:xfrm>
                  <a:off x="3681091" y="1632402"/>
                  <a:ext cx="10984" cy="51068"/>
                </a:xfrm>
                <a:custGeom>
                  <a:avLst/>
                  <a:gdLst>
                    <a:gd name="connsiteX0" fmla="*/ 210 w 10984"/>
                    <a:gd name="connsiteY0" fmla="*/ 51069 h 51068"/>
                    <a:gd name="connsiteX1" fmla="*/ 2328 w 10984"/>
                    <a:gd name="connsiteY1" fmla="*/ 32385 h 51068"/>
                    <a:gd name="connsiteX2" fmla="*/ 9303 w 10984"/>
                    <a:gd name="connsiteY2" fmla="*/ 16442 h 51068"/>
                    <a:gd name="connsiteX3" fmla="*/ 10674 w 10984"/>
                    <a:gd name="connsiteY3" fmla="*/ 0 h 51068"/>
                  </a:gdLst>
                  <a:ahLst/>
                  <a:cxnLst>
                    <a:cxn ang="0">
                      <a:pos x="connsiteX0" y="connsiteY0"/>
                    </a:cxn>
                    <a:cxn ang="0">
                      <a:pos x="connsiteX1" y="connsiteY1"/>
                    </a:cxn>
                    <a:cxn ang="0">
                      <a:pos x="connsiteX2" y="connsiteY2"/>
                    </a:cxn>
                    <a:cxn ang="0">
                      <a:pos x="connsiteX3" y="connsiteY3"/>
                    </a:cxn>
                  </a:cxnLst>
                  <a:rect l="l" t="t" r="r" b="b"/>
                  <a:pathLst>
                    <a:path w="10984" h="51068">
                      <a:moveTo>
                        <a:pt x="210" y="51069"/>
                      </a:moveTo>
                      <a:cubicBezTo>
                        <a:pt x="-537" y="42723"/>
                        <a:pt x="833" y="36495"/>
                        <a:pt x="2328" y="32385"/>
                      </a:cubicBezTo>
                      <a:cubicBezTo>
                        <a:pt x="4570" y="25783"/>
                        <a:pt x="7310" y="23168"/>
                        <a:pt x="9303" y="16442"/>
                      </a:cubicBezTo>
                      <a:cubicBezTo>
                        <a:pt x="11296" y="9840"/>
                        <a:pt x="11172" y="3986"/>
                        <a:pt x="106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43" name="Freeform 8419">
                  <a:extLst>
                    <a:ext uri="{FF2B5EF4-FFF2-40B4-BE49-F238E27FC236}">
                      <a16:creationId xmlns:a16="http://schemas.microsoft.com/office/drawing/2014/main" id="{506A34D2-FE33-56E7-EA37-138B6D63A078}"/>
                    </a:ext>
                  </a:extLst>
                </p:cNvPr>
                <p:cNvSpPr/>
                <p:nvPr/>
              </p:nvSpPr>
              <p:spPr>
                <a:xfrm>
                  <a:off x="3675658" y="1616427"/>
                  <a:ext cx="26401" cy="26471"/>
                </a:xfrm>
                <a:custGeom>
                  <a:avLst/>
                  <a:gdLst>
                    <a:gd name="connsiteX0" fmla="*/ 26071 w 26401"/>
                    <a:gd name="connsiteY0" fmla="*/ 15976 h 26471"/>
                    <a:gd name="connsiteX1" fmla="*/ 10376 w 26401"/>
                    <a:gd name="connsiteY1" fmla="*/ 26190 h 26471"/>
                    <a:gd name="connsiteX2" fmla="*/ 287 w 26401"/>
                    <a:gd name="connsiteY2" fmla="*/ 10495 h 26471"/>
                    <a:gd name="connsiteX3" fmla="*/ 15982 w 26401"/>
                    <a:gd name="connsiteY3" fmla="*/ 282 h 26471"/>
                    <a:gd name="connsiteX4" fmla="*/ 26071 w 26401"/>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70">
                      <a:moveTo>
                        <a:pt x="26071" y="15976"/>
                      </a:moveTo>
                      <a:cubicBezTo>
                        <a:pt x="24451" y="23076"/>
                        <a:pt x="17476" y="27684"/>
                        <a:pt x="10376" y="26190"/>
                      </a:cubicBezTo>
                      <a:cubicBezTo>
                        <a:pt x="3276" y="24695"/>
                        <a:pt x="-1207" y="17595"/>
                        <a:pt x="287" y="10495"/>
                      </a:cubicBezTo>
                      <a:cubicBezTo>
                        <a:pt x="1906" y="3396"/>
                        <a:pt x="8882" y="-1213"/>
                        <a:pt x="15982" y="282"/>
                      </a:cubicBezTo>
                      <a:cubicBezTo>
                        <a:pt x="23206" y="1776"/>
                        <a:pt x="27690" y="8751"/>
                        <a:pt x="26071"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0" name="Graphic 2987">
                <a:extLst>
                  <a:ext uri="{FF2B5EF4-FFF2-40B4-BE49-F238E27FC236}">
                    <a16:creationId xmlns:a16="http://schemas.microsoft.com/office/drawing/2014/main" id="{7279D064-B326-A7E5-3897-4472FBBF0ED7}"/>
                  </a:ext>
                </a:extLst>
              </p:cNvPr>
              <p:cNvGrpSpPr/>
              <p:nvPr/>
            </p:nvGrpSpPr>
            <p:grpSpPr>
              <a:xfrm>
                <a:off x="3620063" y="1610199"/>
                <a:ext cx="53224" cy="145964"/>
                <a:chOff x="3620063" y="1610199"/>
                <a:chExt cx="53224" cy="145964"/>
              </a:xfrm>
              <a:grpFill/>
            </p:grpSpPr>
            <p:sp>
              <p:nvSpPr>
                <p:cNvPr id="5832" name="Freeform 8421">
                  <a:extLst>
                    <a:ext uri="{FF2B5EF4-FFF2-40B4-BE49-F238E27FC236}">
                      <a16:creationId xmlns:a16="http://schemas.microsoft.com/office/drawing/2014/main" id="{B9F66F5B-4DEB-FBF3-A026-F9D37B46CF98}"/>
                    </a:ext>
                  </a:extLst>
                </p:cNvPr>
                <p:cNvSpPr/>
                <p:nvPr/>
              </p:nvSpPr>
              <p:spPr>
                <a:xfrm>
                  <a:off x="3638578" y="1685962"/>
                  <a:ext cx="12082" cy="50819"/>
                </a:xfrm>
                <a:custGeom>
                  <a:avLst/>
                  <a:gdLst>
                    <a:gd name="connsiteX0" fmla="*/ 0 w 12082"/>
                    <a:gd name="connsiteY0" fmla="*/ 50820 h 50819"/>
                    <a:gd name="connsiteX1" fmla="*/ 5979 w 12082"/>
                    <a:gd name="connsiteY1" fmla="*/ 33008 h 50819"/>
                    <a:gd name="connsiteX2" fmla="*/ 6353 w 12082"/>
                    <a:gd name="connsiteY2" fmla="*/ 15570 h 50819"/>
                    <a:gd name="connsiteX3" fmla="*/ 12082 w 12082"/>
                    <a:gd name="connsiteY3" fmla="*/ 0 h 50819"/>
                  </a:gdLst>
                  <a:ahLst/>
                  <a:cxnLst>
                    <a:cxn ang="0">
                      <a:pos x="connsiteX0" y="connsiteY0"/>
                    </a:cxn>
                    <a:cxn ang="0">
                      <a:pos x="connsiteX1" y="connsiteY1"/>
                    </a:cxn>
                    <a:cxn ang="0">
                      <a:pos x="connsiteX2" y="connsiteY2"/>
                    </a:cxn>
                    <a:cxn ang="0">
                      <a:pos x="connsiteX3" y="connsiteY3"/>
                    </a:cxn>
                  </a:cxnLst>
                  <a:rect l="l" t="t" r="r" b="b"/>
                  <a:pathLst>
                    <a:path w="12082" h="50818">
                      <a:moveTo>
                        <a:pt x="0" y="50820"/>
                      </a:moveTo>
                      <a:cubicBezTo>
                        <a:pt x="4235" y="43471"/>
                        <a:pt x="5605" y="37243"/>
                        <a:pt x="5979" y="33008"/>
                      </a:cubicBezTo>
                      <a:cubicBezTo>
                        <a:pt x="6726" y="26033"/>
                        <a:pt x="5356" y="22669"/>
                        <a:pt x="6353" y="15570"/>
                      </a:cubicBezTo>
                      <a:cubicBezTo>
                        <a:pt x="7349" y="8719"/>
                        <a:pt x="9965" y="3488"/>
                        <a:pt x="120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3" name="Freeform 8422">
                  <a:extLst>
                    <a:ext uri="{FF2B5EF4-FFF2-40B4-BE49-F238E27FC236}">
                      <a16:creationId xmlns:a16="http://schemas.microsoft.com/office/drawing/2014/main" id="{368128D3-2DB9-3087-8C68-593B2CE11924}"/>
                    </a:ext>
                  </a:extLst>
                </p:cNvPr>
                <p:cNvSpPr/>
                <p:nvPr/>
              </p:nvSpPr>
              <p:spPr>
                <a:xfrm>
                  <a:off x="3630261" y="1689201"/>
                  <a:ext cx="11087" cy="51068"/>
                </a:xfrm>
                <a:custGeom>
                  <a:avLst/>
                  <a:gdLst>
                    <a:gd name="connsiteX0" fmla="*/ 10933 w 11087"/>
                    <a:gd name="connsiteY0" fmla="*/ 0 h 51068"/>
                    <a:gd name="connsiteX1" fmla="*/ 8816 w 11087"/>
                    <a:gd name="connsiteY1" fmla="*/ 18684 h 51068"/>
                    <a:gd name="connsiteX2" fmla="*/ 1716 w 11087"/>
                    <a:gd name="connsiteY2" fmla="*/ 34627 h 51068"/>
                    <a:gd name="connsiteX3" fmla="*/ 221 w 110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7" h="51068">
                      <a:moveTo>
                        <a:pt x="10933" y="0"/>
                      </a:moveTo>
                      <a:cubicBezTo>
                        <a:pt x="11556" y="8345"/>
                        <a:pt x="10186" y="14573"/>
                        <a:pt x="8816" y="18684"/>
                      </a:cubicBezTo>
                      <a:cubicBezTo>
                        <a:pt x="6574" y="25285"/>
                        <a:pt x="3834"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4" name="Freeform 8423">
                  <a:extLst>
                    <a:ext uri="{FF2B5EF4-FFF2-40B4-BE49-F238E27FC236}">
                      <a16:creationId xmlns:a16="http://schemas.microsoft.com/office/drawing/2014/main" id="{36CCFF40-15B9-0B6A-E80F-F13625478E7A}"/>
                    </a:ext>
                  </a:extLst>
                </p:cNvPr>
                <p:cNvSpPr/>
                <p:nvPr/>
              </p:nvSpPr>
              <p:spPr>
                <a:xfrm>
                  <a:off x="3620063" y="1729731"/>
                  <a:ext cx="26774" cy="26432"/>
                </a:xfrm>
                <a:custGeom>
                  <a:avLst/>
                  <a:gdLst>
                    <a:gd name="connsiteX0" fmla="*/ 330 w 26774"/>
                    <a:gd name="connsiteY0" fmla="*/ 10414 h 26432"/>
                    <a:gd name="connsiteX1" fmla="*/ 16274 w 26774"/>
                    <a:gd name="connsiteY1" fmla="*/ 324 h 26432"/>
                    <a:gd name="connsiteX2" fmla="*/ 26487 w 26774"/>
                    <a:gd name="connsiteY2" fmla="*/ 16019 h 26432"/>
                    <a:gd name="connsiteX3" fmla="*/ 10544 w 26774"/>
                    <a:gd name="connsiteY3" fmla="*/ 26108 h 26432"/>
                    <a:gd name="connsiteX4" fmla="*/ 330 w 2677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4" h="26431">
                      <a:moveTo>
                        <a:pt x="330" y="10414"/>
                      </a:moveTo>
                      <a:cubicBezTo>
                        <a:pt x="1950" y="3314"/>
                        <a:pt x="9049" y="-1295"/>
                        <a:pt x="16274" y="324"/>
                      </a:cubicBezTo>
                      <a:cubicBezTo>
                        <a:pt x="23498" y="1944"/>
                        <a:pt x="27982" y="8919"/>
                        <a:pt x="26487" y="16019"/>
                      </a:cubicBezTo>
                      <a:cubicBezTo>
                        <a:pt x="24868" y="23119"/>
                        <a:pt x="17768" y="27727"/>
                        <a:pt x="10544" y="26108"/>
                      </a:cubicBezTo>
                      <a:cubicBezTo>
                        <a:pt x="3195" y="24613"/>
                        <a:pt x="-1289" y="17513"/>
                        <a:pt x="330"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5" name="Freeform 8424">
                  <a:extLst>
                    <a:ext uri="{FF2B5EF4-FFF2-40B4-BE49-F238E27FC236}">
                      <a16:creationId xmlns:a16="http://schemas.microsoft.com/office/drawing/2014/main" id="{E827D2C7-517B-8E01-321C-7716D1A3EFCF}"/>
                    </a:ext>
                  </a:extLst>
                </p:cNvPr>
                <p:cNvSpPr/>
                <p:nvPr/>
              </p:nvSpPr>
              <p:spPr>
                <a:xfrm>
                  <a:off x="3642938" y="1629538"/>
                  <a:ext cx="12082" cy="50819"/>
                </a:xfrm>
                <a:custGeom>
                  <a:avLst/>
                  <a:gdLst>
                    <a:gd name="connsiteX0" fmla="*/ 12082 w 12082"/>
                    <a:gd name="connsiteY0" fmla="*/ 0 h 50819"/>
                    <a:gd name="connsiteX1" fmla="*/ 6103 w 12082"/>
                    <a:gd name="connsiteY1" fmla="*/ 17812 h 50819"/>
                    <a:gd name="connsiteX2" fmla="*/ 5730 w 12082"/>
                    <a:gd name="connsiteY2" fmla="*/ 35250 h 50819"/>
                    <a:gd name="connsiteX3" fmla="*/ 0 w 12082"/>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082" h="50818">
                      <a:moveTo>
                        <a:pt x="12082" y="0"/>
                      </a:moveTo>
                      <a:cubicBezTo>
                        <a:pt x="7971" y="7349"/>
                        <a:pt x="6602" y="13577"/>
                        <a:pt x="6103" y="17812"/>
                      </a:cubicBezTo>
                      <a:cubicBezTo>
                        <a:pt x="5356" y="24787"/>
                        <a:pt x="6726" y="28150"/>
                        <a:pt x="5730" y="35250"/>
                      </a:cubicBezTo>
                      <a:cubicBezTo>
                        <a:pt x="4733" y="42101"/>
                        <a:pt x="2118"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6" name="Freeform 8425">
                  <a:extLst>
                    <a:ext uri="{FF2B5EF4-FFF2-40B4-BE49-F238E27FC236}">
                      <a16:creationId xmlns:a16="http://schemas.microsoft.com/office/drawing/2014/main" id="{68D9ADDD-7AA6-6D0E-8589-BD542E60E82B}"/>
                    </a:ext>
                  </a:extLst>
                </p:cNvPr>
                <p:cNvSpPr/>
                <p:nvPr/>
              </p:nvSpPr>
              <p:spPr>
                <a:xfrm>
                  <a:off x="3652125" y="1626174"/>
                  <a:ext cx="11087" cy="51068"/>
                </a:xfrm>
                <a:custGeom>
                  <a:avLst/>
                  <a:gdLst>
                    <a:gd name="connsiteX0" fmla="*/ 155 w 11087"/>
                    <a:gd name="connsiteY0" fmla="*/ 51069 h 51068"/>
                    <a:gd name="connsiteX1" fmla="*/ 2272 w 11087"/>
                    <a:gd name="connsiteY1" fmla="*/ 32385 h 51068"/>
                    <a:gd name="connsiteX2" fmla="*/ 9372 w 11087"/>
                    <a:gd name="connsiteY2" fmla="*/ 16442 h 51068"/>
                    <a:gd name="connsiteX3" fmla="*/ 10866 w 11087"/>
                    <a:gd name="connsiteY3" fmla="*/ 0 h 51068"/>
                  </a:gdLst>
                  <a:ahLst/>
                  <a:cxnLst>
                    <a:cxn ang="0">
                      <a:pos x="connsiteX0" y="connsiteY0"/>
                    </a:cxn>
                    <a:cxn ang="0">
                      <a:pos x="connsiteX1" y="connsiteY1"/>
                    </a:cxn>
                    <a:cxn ang="0">
                      <a:pos x="connsiteX2" y="connsiteY2"/>
                    </a:cxn>
                    <a:cxn ang="0">
                      <a:pos x="connsiteX3" y="connsiteY3"/>
                    </a:cxn>
                  </a:cxnLst>
                  <a:rect l="l" t="t" r="r" b="b"/>
                  <a:pathLst>
                    <a:path w="11087" h="51068">
                      <a:moveTo>
                        <a:pt x="155" y="51069"/>
                      </a:moveTo>
                      <a:cubicBezTo>
                        <a:pt x="-468" y="42723"/>
                        <a:pt x="902" y="36495"/>
                        <a:pt x="2272" y="32385"/>
                      </a:cubicBezTo>
                      <a:cubicBezTo>
                        <a:pt x="4514" y="25783"/>
                        <a:pt x="7254" y="23292"/>
                        <a:pt x="9372" y="16442"/>
                      </a:cubicBezTo>
                      <a:cubicBezTo>
                        <a:pt x="11365" y="9840"/>
                        <a:pt x="11240" y="3986"/>
                        <a:pt x="10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7" name="Freeform 8426">
                  <a:extLst>
                    <a:ext uri="{FF2B5EF4-FFF2-40B4-BE49-F238E27FC236}">
                      <a16:creationId xmlns:a16="http://schemas.microsoft.com/office/drawing/2014/main" id="{9D5384A7-1AC1-E556-3B4A-80E7639C1C33}"/>
                    </a:ext>
                  </a:extLst>
                </p:cNvPr>
                <p:cNvSpPr/>
                <p:nvPr/>
              </p:nvSpPr>
              <p:spPr>
                <a:xfrm>
                  <a:off x="3646842" y="1610199"/>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520" y="27684"/>
                        <a:pt x="10295" y="26190"/>
                      </a:cubicBezTo>
                      <a:cubicBezTo>
                        <a:pt x="3196" y="24695"/>
                        <a:pt x="-1288" y="17595"/>
                        <a:pt x="331" y="10495"/>
                      </a:cubicBezTo>
                      <a:cubicBezTo>
                        <a:pt x="1950" y="3396"/>
                        <a:pt x="9050" y="-1213"/>
                        <a:pt x="16150" y="282"/>
                      </a:cubicBezTo>
                      <a:cubicBezTo>
                        <a:pt x="23249" y="1776"/>
                        <a:pt x="27734" y="8876"/>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1" name="Graphic 2987">
                <a:extLst>
                  <a:ext uri="{FF2B5EF4-FFF2-40B4-BE49-F238E27FC236}">
                    <a16:creationId xmlns:a16="http://schemas.microsoft.com/office/drawing/2014/main" id="{D628A0A1-2564-43D0-75B9-B2D20FB8E76B}"/>
                  </a:ext>
                </a:extLst>
              </p:cNvPr>
              <p:cNvGrpSpPr/>
              <p:nvPr/>
            </p:nvGrpSpPr>
            <p:grpSpPr>
              <a:xfrm>
                <a:off x="3590791" y="1604095"/>
                <a:ext cx="53723" cy="145715"/>
                <a:chOff x="3590791" y="1604095"/>
                <a:chExt cx="53723" cy="145715"/>
              </a:xfrm>
              <a:grpFill/>
            </p:grpSpPr>
            <p:sp>
              <p:nvSpPr>
                <p:cNvPr id="5826" name="Freeform 8428">
                  <a:extLst>
                    <a:ext uri="{FF2B5EF4-FFF2-40B4-BE49-F238E27FC236}">
                      <a16:creationId xmlns:a16="http://schemas.microsoft.com/office/drawing/2014/main" id="{2A7D6734-51C7-9D37-79B8-52E89BFD9230}"/>
                    </a:ext>
                  </a:extLst>
                </p:cNvPr>
                <p:cNvSpPr/>
                <p:nvPr/>
              </p:nvSpPr>
              <p:spPr>
                <a:xfrm>
                  <a:off x="3609432" y="1679859"/>
                  <a:ext cx="12206" cy="50694"/>
                </a:xfrm>
                <a:custGeom>
                  <a:avLst/>
                  <a:gdLst>
                    <a:gd name="connsiteX0" fmla="*/ 0 w 12206"/>
                    <a:gd name="connsiteY0" fmla="*/ 50695 h 50694"/>
                    <a:gd name="connsiteX1" fmla="*/ 6103 w 12206"/>
                    <a:gd name="connsiteY1" fmla="*/ 32883 h 50694"/>
                    <a:gd name="connsiteX2" fmla="*/ 6477 w 12206"/>
                    <a:gd name="connsiteY2" fmla="*/ 15445 h 50694"/>
                    <a:gd name="connsiteX3" fmla="*/ 12207 w 12206"/>
                    <a:gd name="connsiteY3" fmla="*/ 0 h 50694"/>
                  </a:gdLst>
                  <a:ahLst/>
                  <a:cxnLst>
                    <a:cxn ang="0">
                      <a:pos x="connsiteX0" y="connsiteY0"/>
                    </a:cxn>
                    <a:cxn ang="0">
                      <a:pos x="connsiteX1" y="connsiteY1"/>
                    </a:cxn>
                    <a:cxn ang="0">
                      <a:pos x="connsiteX2" y="connsiteY2"/>
                    </a:cxn>
                    <a:cxn ang="0">
                      <a:pos x="connsiteX3" y="connsiteY3"/>
                    </a:cxn>
                  </a:cxnLst>
                  <a:rect l="l" t="t" r="r" b="b"/>
                  <a:pathLst>
                    <a:path w="12206" h="50694">
                      <a:moveTo>
                        <a:pt x="0" y="50695"/>
                      </a:moveTo>
                      <a:cubicBezTo>
                        <a:pt x="4235" y="43346"/>
                        <a:pt x="5605" y="37243"/>
                        <a:pt x="6103" y="32883"/>
                      </a:cubicBezTo>
                      <a:cubicBezTo>
                        <a:pt x="6851" y="25908"/>
                        <a:pt x="5481" y="22545"/>
                        <a:pt x="6477" y="15445"/>
                      </a:cubicBezTo>
                      <a:cubicBezTo>
                        <a:pt x="7474" y="8594"/>
                        <a:pt x="10214" y="3363"/>
                        <a:pt x="122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7" name="Freeform 8429">
                  <a:extLst>
                    <a:ext uri="{FF2B5EF4-FFF2-40B4-BE49-F238E27FC236}">
                      <a16:creationId xmlns:a16="http://schemas.microsoft.com/office/drawing/2014/main" id="{0B0369D2-D5E2-51CA-0096-7C1B04287B5D}"/>
                    </a:ext>
                  </a:extLst>
                </p:cNvPr>
                <p:cNvSpPr/>
                <p:nvPr/>
              </p:nvSpPr>
              <p:spPr>
                <a:xfrm>
                  <a:off x="3601114" y="1682973"/>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1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709" y="27776"/>
                        <a:pt x="1716" y="34627"/>
                      </a:cubicBezTo>
                      <a:cubicBezTo>
                        <a:pt x="-277" y="41229"/>
                        <a:pt x="-152" y="47083"/>
                        <a:pt x="22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8" name="Freeform 8430">
                  <a:extLst>
                    <a:ext uri="{FF2B5EF4-FFF2-40B4-BE49-F238E27FC236}">
                      <a16:creationId xmlns:a16="http://schemas.microsoft.com/office/drawing/2014/main" id="{092E88E3-4AF9-96B3-A6C4-D9260C34A2D0}"/>
                    </a:ext>
                  </a:extLst>
                </p:cNvPr>
                <p:cNvSpPr/>
                <p:nvPr/>
              </p:nvSpPr>
              <p:spPr>
                <a:xfrm>
                  <a:off x="3590791" y="1723379"/>
                  <a:ext cx="26693" cy="26432"/>
                </a:xfrm>
                <a:custGeom>
                  <a:avLst/>
                  <a:gdLst>
                    <a:gd name="connsiteX0" fmla="*/ 331 w 26693"/>
                    <a:gd name="connsiteY0" fmla="*/ 10414 h 26432"/>
                    <a:gd name="connsiteX1" fmla="*/ 16274 w 26693"/>
                    <a:gd name="connsiteY1" fmla="*/ 324 h 26432"/>
                    <a:gd name="connsiteX2" fmla="*/ 26363 w 26693"/>
                    <a:gd name="connsiteY2" fmla="*/ 16019 h 26432"/>
                    <a:gd name="connsiteX3" fmla="*/ 10420 w 26693"/>
                    <a:gd name="connsiteY3" fmla="*/ 26108 h 26432"/>
                    <a:gd name="connsiteX4" fmla="*/ 331 w 26693"/>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31">
                      <a:moveTo>
                        <a:pt x="331" y="10414"/>
                      </a:moveTo>
                      <a:cubicBezTo>
                        <a:pt x="1950" y="3314"/>
                        <a:pt x="9174" y="-1295"/>
                        <a:pt x="16274" y="324"/>
                      </a:cubicBezTo>
                      <a:cubicBezTo>
                        <a:pt x="23498" y="1819"/>
                        <a:pt x="27982" y="8919"/>
                        <a:pt x="26363" y="16019"/>
                      </a:cubicBezTo>
                      <a:cubicBezTo>
                        <a:pt x="24744" y="23119"/>
                        <a:pt x="17644" y="27727"/>
                        <a:pt x="10420" y="26108"/>
                      </a:cubicBezTo>
                      <a:cubicBezTo>
                        <a:pt x="3195" y="24489"/>
                        <a:pt x="-1289"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9" name="Freeform 8431">
                  <a:extLst>
                    <a:ext uri="{FF2B5EF4-FFF2-40B4-BE49-F238E27FC236}">
                      <a16:creationId xmlns:a16="http://schemas.microsoft.com/office/drawing/2014/main" id="{AB4E25DB-DB3D-C48A-65A5-199D43395C7B}"/>
                    </a:ext>
                  </a:extLst>
                </p:cNvPr>
                <p:cNvSpPr/>
                <p:nvPr/>
              </p:nvSpPr>
              <p:spPr>
                <a:xfrm>
                  <a:off x="3613916" y="1623434"/>
                  <a:ext cx="12331" cy="50570"/>
                </a:xfrm>
                <a:custGeom>
                  <a:avLst/>
                  <a:gdLst>
                    <a:gd name="connsiteX0" fmla="*/ 12331 w 12331"/>
                    <a:gd name="connsiteY0" fmla="*/ 0 h 50570"/>
                    <a:gd name="connsiteX1" fmla="*/ 6228 w 12331"/>
                    <a:gd name="connsiteY1" fmla="*/ 17812 h 50570"/>
                    <a:gd name="connsiteX2" fmla="*/ 5730 w 12331"/>
                    <a:gd name="connsiteY2" fmla="*/ 35125 h 50570"/>
                    <a:gd name="connsiteX3" fmla="*/ 0 w 12331"/>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331" h="50570">
                      <a:moveTo>
                        <a:pt x="12331" y="0"/>
                      </a:moveTo>
                      <a:cubicBezTo>
                        <a:pt x="8096" y="7349"/>
                        <a:pt x="6726" y="13452"/>
                        <a:pt x="6228" y="17812"/>
                      </a:cubicBezTo>
                      <a:cubicBezTo>
                        <a:pt x="5480" y="24787"/>
                        <a:pt x="6851" y="28150"/>
                        <a:pt x="5730"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0" name="Freeform 8432">
                  <a:extLst>
                    <a:ext uri="{FF2B5EF4-FFF2-40B4-BE49-F238E27FC236}">
                      <a16:creationId xmlns:a16="http://schemas.microsoft.com/office/drawing/2014/main" id="{CED3CB6F-F1D0-AA70-FE38-7C7850D8EEC4}"/>
                    </a:ext>
                  </a:extLst>
                </p:cNvPr>
                <p:cNvSpPr/>
                <p:nvPr/>
              </p:nvSpPr>
              <p:spPr>
                <a:xfrm>
                  <a:off x="3623104" y="1619947"/>
                  <a:ext cx="11211" cy="51068"/>
                </a:xfrm>
                <a:custGeom>
                  <a:avLst/>
                  <a:gdLst>
                    <a:gd name="connsiteX0" fmla="*/ 154 w 11211"/>
                    <a:gd name="connsiteY0" fmla="*/ 51069 h 51068"/>
                    <a:gd name="connsiteX1" fmla="*/ 2396 w 11211"/>
                    <a:gd name="connsiteY1" fmla="*/ 32385 h 51068"/>
                    <a:gd name="connsiteX2" fmla="*/ 9496 w 11211"/>
                    <a:gd name="connsiteY2" fmla="*/ 16442 h 51068"/>
                    <a:gd name="connsiteX3" fmla="*/ 1099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9"/>
                      </a:moveTo>
                      <a:cubicBezTo>
                        <a:pt x="-469" y="42723"/>
                        <a:pt x="901" y="36495"/>
                        <a:pt x="2396" y="32385"/>
                      </a:cubicBezTo>
                      <a:cubicBezTo>
                        <a:pt x="4638" y="25783"/>
                        <a:pt x="7503" y="23292"/>
                        <a:pt x="9496" y="16442"/>
                      </a:cubicBezTo>
                      <a:cubicBezTo>
                        <a:pt x="11489" y="9840"/>
                        <a:pt x="11364" y="3986"/>
                        <a:pt x="109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31" name="Freeform 8433">
                  <a:extLst>
                    <a:ext uri="{FF2B5EF4-FFF2-40B4-BE49-F238E27FC236}">
                      <a16:creationId xmlns:a16="http://schemas.microsoft.com/office/drawing/2014/main" id="{A060F644-8F02-B269-11CE-BF2ADD339967}"/>
                    </a:ext>
                  </a:extLst>
                </p:cNvPr>
                <p:cNvSpPr/>
                <p:nvPr/>
              </p:nvSpPr>
              <p:spPr>
                <a:xfrm>
                  <a:off x="3618069" y="1604095"/>
                  <a:ext cx="26445" cy="26471"/>
                </a:xfrm>
                <a:custGeom>
                  <a:avLst/>
                  <a:gdLst>
                    <a:gd name="connsiteX0" fmla="*/ 26114 w 26445"/>
                    <a:gd name="connsiteY0" fmla="*/ 15976 h 26471"/>
                    <a:gd name="connsiteX1" fmla="*/ 10295 w 26445"/>
                    <a:gd name="connsiteY1" fmla="*/ 26190 h 26471"/>
                    <a:gd name="connsiteX2" fmla="*/ 331 w 26445"/>
                    <a:gd name="connsiteY2" fmla="*/ 10495 h 26471"/>
                    <a:gd name="connsiteX3" fmla="*/ 16150 w 26445"/>
                    <a:gd name="connsiteY3" fmla="*/ 282 h 26471"/>
                    <a:gd name="connsiteX4" fmla="*/ 26114 w 26445"/>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470">
                      <a:moveTo>
                        <a:pt x="26114" y="15976"/>
                      </a:moveTo>
                      <a:cubicBezTo>
                        <a:pt x="24495" y="23076"/>
                        <a:pt x="17395" y="27684"/>
                        <a:pt x="10295" y="26190"/>
                      </a:cubicBezTo>
                      <a:cubicBezTo>
                        <a:pt x="3196" y="24695"/>
                        <a:pt x="-1288" y="17595"/>
                        <a:pt x="331" y="10495"/>
                      </a:cubicBezTo>
                      <a:cubicBezTo>
                        <a:pt x="1950" y="3396"/>
                        <a:pt x="9050" y="-1213"/>
                        <a:pt x="16150" y="282"/>
                      </a:cubicBezTo>
                      <a:cubicBezTo>
                        <a:pt x="23249" y="1776"/>
                        <a:pt x="27734" y="8751"/>
                        <a:pt x="26114"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2" name="Graphic 2987">
                <a:extLst>
                  <a:ext uri="{FF2B5EF4-FFF2-40B4-BE49-F238E27FC236}">
                    <a16:creationId xmlns:a16="http://schemas.microsoft.com/office/drawing/2014/main" id="{7F172B4B-E0F6-0462-6237-705233AA65FE}"/>
                  </a:ext>
                </a:extLst>
              </p:cNvPr>
              <p:cNvGrpSpPr/>
              <p:nvPr/>
            </p:nvGrpSpPr>
            <p:grpSpPr>
              <a:xfrm>
                <a:off x="3561770" y="1597562"/>
                <a:ext cx="53972" cy="146065"/>
                <a:chOff x="3561770" y="1597562"/>
                <a:chExt cx="53972" cy="146065"/>
              </a:xfrm>
              <a:grpFill/>
            </p:grpSpPr>
            <p:sp>
              <p:nvSpPr>
                <p:cNvPr id="5820" name="Freeform 8435">
                  <a:extLst>
                    <a:ext uri="{FF2B5EF4-FFF2-40B4-BE49-F238E27FC236}">
                      <a16:creationId xmlns:a16="http://schemas.microsoft.com/office/drawing/2014/main" id="{C7D31122-AE2F-ED95-044E-73C4FB470514}"/>
                    </a:ext>
                  </a:extLst>
                </p:cNvPr>
                <p:cNvSpPr/>
                <p:nvPr/>
              </p:nvSpPr>
              <p:spPr>
                <a:xfrm>
                  <a:off x="3580161" y="1673506"/>
                  <a:ext cx="12331" cy="50694"/>
                </a:xfrm>
                <a:custGeom>
                  <a:avLst/>
                  <a:gdLst>
                    <a:gd name="connsiteX0" fmla="*/ 0 w 12331"/>
                    <a:gd name="connsiteY0" fmla="*/ 50695 h 50694"/>
                    <a:gd name="connsiteX1" fmla="*/ 6104 w 12331"/>
                    <a:gd name="connsiteY1" fmla="*/ 32883 h 50694"/>
                    <a:gd name="connsiteX2" fmla="*/ 6602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471"/>
                        <a:pt x="5605" y="37243"/>
                        <a:pt x="6104" y="32883"/>
                      </a:cubicBezTo>
                      <a:cubicBezTo>
                        <a:pt x="6851" y="25908"/>
                        <a:pt x="5481" y="22420"/>
                        <a:pt x="6602" y="15445"/>
                      </a:cubicBezTo>
                      <a:cubicBezTo>
                        <a:pt x="7723" y="8594"/>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1" name="Freeform 8436">
                  <a:extLst>
                    <a:ext uri="{FF2B5EF4-FFF2-40B4-BE49-F238E27FC236}">
                      <a16:creationId xmlns:a16="http://schemas.microsoft.com/office/drawing/2014/main" id="{E2497420-11EA-525C-00DE-E70504C81E1F}"/>
                    </a:ext>
                  </a:extLst>
                </p:cNvPr>
                <p:cNvSpPr/>
                <p:nvPr/>
              </p:nvSpPr>
              <p:spPr>
                <a:xfrm>
                  <a:off x="3571998" y="1676371"/>
                  <a:ext cx="11422" cy="50944"/>
                </a:xfrm>
                <a:custGeom>
                  <a:avLst/>
                  <a:gdLst>
                    <a:gd name="connsiteX0" fmla="*/ 11277 w 11422"/>
                    <a:gd name="connsiteY0" fmla="*/ 0 h 50944"/>
                    <a:gd name="connsiteX1" fmla="*/ 9035 w 11422"/>
                    <a:gd name="connsiteY1" fmla="*/ 18684 h 50944"/>
                    <a:gd name="connsiteX2" fmla="*/ 1811 w 11422"/>
                    <a:gd name="connsiteY2" fmla="*/ 34502 h 50944"/>
                    <a:gd name="connsiteX3" fmla="*/ 192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1277" y="0"/>
                      </a:moveTo>
                      <a:cubicBezTo>
                        <a:pt x="11900" y="8470"/>
                        <a:pt x="10405" y="14573"/>
                        <a:pt x="9035" y="18684"/>
                      </a:cubicBezTo>
                      <a:cubicBezTo>
                        <a:pt x="6669" y="25285"/>
                        <a:pt x="3928" y="27776"/>
                        <a:pt x="1811" y="34502"/>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2" name="Freeform 8437">
                  <a:extLst>
                    <a:ext uri="{FF2B5EF4-FFF2-40B4-BE49-F238E27FC236}">
                      <a16:creationId xmlns:a16="http://schemas.microsoft.com/office/drawing/2014/main" id="{52115498-2010-4EBD-BCE6-B456CC54DB37}"/>
                    </a:ext>
                  </a:extLst>
                </p:cNvPr>
                <p:cNvSpPr/>
                <p:nvPr/>
              </p:nvSpPr>
              <p:spPr>
                <a:xfrm>
                  <a:off x="3561770" y="1716967"/>
                  <a:ext cx="26687" cy="26661"/>
                </a:xfrm>
                <a:custGeom>
                  <a:avLst/>
                  <a:gdLst>
                    <a:gd name="connsiteX0" fmla="*/ 331 w 26687"/>
                    <a:gd name="connsiteY0" fmla="*/ 10100 h 26661"/>
                    <a:gd name="connsiteX1" fmla="*/ 16274 w 26687"/>
                    <a:gd name="connsiteY1" fmla="*/ 384 h 26661"/>
                    <a:gd name="connsiteX2" fmla="*/ 26363 w 26687"/>
                    <a:gd name="connsiteY2" fmla="*/ 16328 h 26661"/>
                    <a:gd name="connsiteX3" fmla="*/ 10420 w 26687"/>
                    <a:gd name="connsiteY3" fmla="*/ 26292 h 26661"/>
                    <a:gd name="connsiteX4" fmla="*/ 331 w 26687"/>
                    <a:gd name="connsiteY4" fmla="*/ 10100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661">
                      <a:moveTo>
                        <a:pt x="331" y="10100"/>
                      </a:moveTo>
                      <a:cubicBezTo>
                        <a:pt x="1949" y="3000"/>
                        <a:pt x="9174" y="-1360"/>
                        <a:pt x="16274" y="384"/>
                      </a:cubicBezTo>
                      <a:cubicBezTo>
                        <a:pt x="23373" y="2252"/>
                        <a:pt x="27982" y="9103"/>
                        <a:pt x="26363" y="16328"/>
                      </a:cubicBezTo>
                      <a:cubicBezTo>
                        <a:pt x="24744" y="23427"/>
                        <a:pt x="17519" y="28036"/>
                        <a:pt x="10420" y="26292"/>
                      </a:cubicBezTo>
                      <a:cubicBezTo>
                        <a:pt x="3195" y="24424"/>
                        <a:pt x="-1289" y="17199"/>
                        <a:pt x="331"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3" name="Freeform 8438">
                  <a:extLst>
                    <a:ext uri="{FF2B5EF4-FFF2-40B4-BE49-F238E27FC236}">
                      <a16:creationId xmlns:a16="http://schemas.microsoft.com/office/drawing/2014/main" id="{FAA2D780-6326-5DF4-85D1-CD1C39CD636B}"/>
                    </a:ext>
                  </a:extLst>
                </p:cNvPr>
                <p:cNvSpPr/>
                <p:nvPr/>
              </p:nvSpPr>
              <p:spPr>
                <a:xfrm>
                  <a:off x="3585143" y="1616957"/>
                  <a:ext cx="12331" cy="50694"/>
                </a:xfrm>
                <a:custGeom>
                  <a:avLst/>
                  <a:gdLst>
                    <a:gd name="connsiteX0" fmla="*/ 12331 w 12331"/>
                    <a:gd name="connsiteY0" fmla="*/ 0 h 50694"/>
                    <a:gd name="connsiteX1" fmla="*/ 6228 w 12331"/>
                    <a:gd name="connsiteY1" fmla="*/ 17812 h 50694"/>
                    <a:gd name="connsiteX2" fmla="*/ 5730 w 12331"/>
                    <a:gd name="connsiteY2" fmla="*/ 35250 h 50694"/>
                    <a:gd name="connsiteX3" fmla="*/ 0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0"/>
                      </a:moveTo>
                      <a:cubicBezTo>
                        <a:pt x="8097" y="7224"/>
                        <a:pt x="6726" y="13452"/>
                        <a:pt x="6228" y="17812"/>
                      </a:cubicBezTo>
                      <a:cubicBezTo>
                        <a:pt x="5356"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4" name="Freeform 8439">
                  <a:extLst>
                    <a:ext uri="{FF2B5EF4-FFF2-40B4-BE49-F238E27FC236}">
                      <a16:creationId xmlns:a16="http://schemas.microsoft.com/office/drawing/2014/main" id="{0A7E80BF-007B-998D-7C4F-89D79D8C777B}"/>
                    </a:ext>
                  </a:extLst>
                </p:cNvPr>
                <p:cNvSpPr/>
                <p:nvPr/>
              </p:nvSpPr>
              <p:spPr>
                <a:xfrm>
                  <a:off x="3594215" y="1613719"/>
                  <a:ext cx="11298" cy="50944"/>
                </a:xfrm>
                <a:custGeom>
                  <a:avLst/>
                  <a:gdLst>
                    <a:gd name="connsiteX0" fmla="*/ 146 w 11298"/>
                    <a:gd name="connsiteY0" fmla="*/ 50944 h 50944"/>
                    <a:gd name="connsiteX1" fmla="*/ 2388 w 11298"/>
                    <a:gd name="connsiteY1" fmla="*/ 32260 h 50944"/>
                    <a:gd name="connsiteX2" fmla="*/ 9487 w 11298"/>
                    <a:gd name="connsiteY2" fmla="*/ 16442 h 50944"/>
                    <a:gd name="connsiteX3" fmla="*/ 11107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46" y="50944"/>
                      </a:moveTo>
                      <a:cubicBezTo>
                        <a:pt x="-477" y="42474"/>
                        <a:pt x="1018" y="36371"/>
                        <a:pt x="2388" y="32260"/>
                      </a:cubicBezTo>
                      <a:cubicBezTo>
                        <a:pt x="4754" y="25659"/>
                        <a:pt x="7494" y="23168"/>
                        <a:pt x="9487" y="16442"/>
                      </a:cubicBezTo>
                      <a:cubicBezTo>
                        <a:pt x="11480" y="9840"/>
                        <a:pt x="11480" y="3986"/>
                        <a:pt x="111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25" name="Freeform 8440">
                  <a:extLst>
                    <a:ext uri="{FF2B5EF4-FFF2-40B4-BE49-F238E27FC236}">
                      <a16:creationId xmlns:a16="http://schemas.microsoft.com/office/drawing/2014/main" id="{8DEB464A-C8DE-ADE4-7862-47E84775C681}"/>
                    </a:ext>
                  </a:extLst>
                </p:cNvPr>
                <p:cNvSpPr/>
                <p:nvPr/>
              </p:nvSpPr>
              <p:spPr>
                <a:xfrm>
                  <a:off x="3589414" y="1597562"/>
                  <a:ext cx="26327" cy="26654"/>
                </a:xfrm>
                <a:custGeom>
                  <a:avLst/>
                  <a:gdLst>
                    <a:gd name="connsiteX0" fmla="*/ 25996 w 26327"/>
                    <a:gd name="connsiteY0" fmla="*/ 16281 h 26654"/>
                    <a:gd name="connsiteX1" fmla="*/ 10177 w 26327"/>
                    <a:gd name="connsiteY1" fmla="*/ 26245 h 26654"/>
                    <a:gd name="connsiteX2" fmla="*/ 337 w 26327"/>
                    <a:gd name="connsiteY2" fmla="*/ 10177 h 26654"/>
                    <a:gd name="connsiteX3" fmla="*/ 16156 w 26327"/>
                    <a:gd name="connsiteY3" fmla="*/ 337 h 26654"/>
                    <a:gd name="connsiteX4" fmla="*/ 25996 w 26327"/>
                    <a:gd name="connsiteY4" fmla="*/ 16281 h 26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654">
                      <a:moveTo>
                        <a:pt x="25996" y="16281"/>
                      </a:moveTo>
                      <a:cubicBezTo>
                        <a:pt x="24377" y="23381"/>
                        <a:pt x="17277" y="28114"/>
                        <a:pt x="10177" y="26245"/>
                      </a:cubicBezTo>
                      <a:cubicBezTo>
                        <a:pt x="3078" y="24502"/>
                        <a:pt x="-1282" y="17277"/>
                        <a:pt x="337" y="10177"/>
                      </a:cubicBezTo>
                      <a:cubicBezTo>
                        <a:pt x="1956" y="3078"/>
                        <a:pt x="9056" y="-1282"/>
                        <a:pt x="16156" y="337"/>
                      </a:cubicBezTo>
                      <a:cubicBezTo>
                        <a:pt x="23131" y="2206"/>
                        <a:pt x="27616" y="9056"/>
                        <a:pt x="25996"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3" name="Graphic 2987">
                <a:extLst>
                  <a:ext uri="{FF2B5EF4-FFF2-40B4-BE49-F238E27FC236}">
                    <a16:creationId xmlns:a16="http://schemas.microsoft.com/office/drawing/2014/main" id="{DC4CE01D-1F28-9B68-1310-AF97D4D25BC9}"/>
                  </a:ext>
                </a:extLst>
              </p:cNvPr>
              <p:cNvGrpSpPr/>
              <p:nvPr/>
            </p:nvGrpSpPr>
            <p:grpSpPr>
              <a:xfrm>
                <a:off x="3532708" y="1590541"/>
                <a:ext cx="54391" cy="145877"/>
                <a:chOff x="3532708" y="1590541"/>
                <a:chExt cx="54391" cy="145877"/>
              </a:xfrm>
              <a:grpFill/>
            </p:grpSpPr>
            <p:sp>
              <p:nvSpPr>
                <p:cNvPr id="5814" name="Freeform 8442">
                  <a:extLst>
                    <a:ext uri="{FF2B5EF4-FFF2-40B4-BE49-F238E27FC236}">
                      <a16:creationId xmlns:a16="http://schemas.microsoft.com/office/drawing/2014/main" id="{3B76C3A6-A250-733F-9F69-3FF4DE2EF225}"/>
                    </a:ext>
                  </a:extLst>
                </p:cNvPr>
                <p:cNvSpPr/>
                <p:nvPr/>
              </p:nvSpPr>
              <p:spPr>
                <a:xfrm>
                  <a:off x="3551263" y="1666531"/>
                  <a:ext cx="12580" cy="50570"/>
                </a:xfrm>
                <a:custGeom>
                  <a:avLst/>
                  <a:gdLst>
                    <a:gd name="connsiteX0" fmla="*/ 0 w 12580"/>
                    <a:gd name="connsiteY0" fmla="*/ 50570 h 50570"/>
                    <a:gd name="connsiteX1" fmla="*/ 6228 w 12580"/>
                    <a:gd name="connsiteY1" fmla="*/ 32883 h 50570"/>
                    <a:gd name="connsiteX2" fmla="*/ 6726 w 12580"/>
                    <a:gd name="connsiteY2" fmla="*/ 15445 h 50570"/>
                    <a:gd name="connsiteX3" fmla="*/ 12580 w 12580"/>
                    <a:gd name="connsiteY3" fmla="*/ 0 h 50570"/>
                  </a:gdLst>
                  <a:ahLst/>
                  <a:cxnLst>
                    <a:cxn ang="0">
                      <a:pos x="connsiteX0" y="connsiteY0"/>
                    </a:cxn>
                    <a:cxn ang="0">
                      <a:pos x="connsiteX1" y="connsiteY1"/>
                    </a:cxn>
                    <a:cxn ang="0">
                      <a:pos x="connsiteX2" y="connsiteY2"/>
                    </a:cxn>
                    <a:cxn ang="0">
                      <a:pos x="connsiteX3" y="connsiteY3"/>
                    </a:cxn>
                  </a:cxnLst>
                  <a:rect l="l" t="t" r="r" b="b"/>
                  <a:pathLst>
                    <a:path w="12580" h="50570">
                      <a:moveTo>
                        <a:pt x="0" y="50570"/>
                      </a:moveTo>
                      <a:cubicBezTo>
                        <a:pt x="4235" y="43346"/>
                        <a:pt x="5730" y="37118"/>
                        <a:pt x="6228" y="32883"/>
                      </a:cubicBezTo>
                      <a:cubicBezTo>
                        <a:pt x="7100" y="25908"/>
                        <a:pt x="5605" y="22420"/>
                        <a:pt x="6726" y="15445"/>
                      </a:cubicBezTo>
                      <a:cubicBezTo>
                        <a:pt x="7847" y="8594"/>
                        <a:pt x="10463" y="3363"/>
                        <a:pt x="125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5" name="Freeform 8443">
                  <a:extLst>
                    <a:ext uri="{FF2B5EF4-FFF2-40B4-BE49-F238E27FC236}">
                      <a16:creationId xmlns:a16="http://schemas.microsoft.com/office/drawing/2014/main" id="{F73F1E5E-B147-C0CA-2C78-9508D36A72AA}"/>
                    </a:ext>
                  </a:extLst>
                </p:cNvPr>
                <p:cNvSpPr/>
                <p:nvPr/>
              </p:nvSpPr>
              <p:spPr>
                <a:xfrm>
                  <a:off x="3542950" y="1669396"/>
                  <a:ext cx="11572" cy="50944"/>
                </a:xfrm>
                <a:custGeom>
                  <a:avLst/>
                  <a:gdLst>
                    <a:gd name="connsiteX0" fmla="*/ 11427 w 11572"/>
                    <a:gd name="connsiteY0" fmla="*/ 0 h 50944"/>
                    <a:gd name="connsiteX1" fmla="*/ 9061 w 11572"/>
                    <a:gd name="connsiteY1" fmla="*/ 18684 h 50944"/>
                    <a:gd name="connsiteX2" fmla="*/ 1836 w 11572"/>
                    <a:gd name="connsiteY2" fmla="*/ 34502 h 50944"/>
                    <a:gd name="connsiteX3" fmla="*/ 217 w 1157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72" h="50944">
                      <a:moveTo>
                        <a:pt x="11427" y="0"/>
                      </a:moveTo>
                      <a:cubicBezTo>
                        <a:pt x="12050" y="8470"/>
                        <a:pt x="10555" y="14573"/>
                        <a:pt x="9061" y="18684"/>
                      </a:cubicBezTo>
                      <a:cubicBezTo>
                        <a:pt x="6694" y="25285"/>
                        <a:pt x="3954"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6" name="Freeform 8444">
                  <a:extLst>
                    <a:ext uri="{FF2B5EF4-FFF2-40B4-BE49-F238E27FC236}">
                      <a16:creationId xmlns:a16="http://schemas.microsoft.com/office/drawing/2014/main" id="{46474693-CB0D-24D5-747B-AC962974FFEE}"/>
                    </a:ext>
                  </a:extLst>
                </p:cNvPr>
                <p:cNvSpPr/>
                <p:nvPr/>
              </p:nvSpPr>
              <p:spPr>
                <a:xfrm>
                  <a:off x="3532708" y="1709867"/>
                  <a:ext cx="26608" cy="26551"/>
                </a:xfrm>
                <a:custGeom>
                  <a:avLst/>
                  <a:gdLst>
                    <a:gd name="connsiteX0" fmla="*/ 370 w 26608"/>
                    <a:gd name="connsiteY0" fmla="*/ 10100 h 26551"/>
                    <a:gd name="connsiteX1" fmla="*/ 16313 w 26608"/>
                    <a:gd name="connsiteY1" fmla="*/ 384 h 26551"/>
                    <a:gd name="connsiteX2" fmla="*/ 26278 w 26608"/>
                    <a:gd name="connsiteY2" fmla="*/ 16452 h 26551"/>
                    <a:gd name="connsiteX3" fmla="*/ 10334 w 26608"/>
                    <a:gd name="connsiteY3" fmla="*/ 26168 h 26551"/>
                    <a:gd name="connsiteX4" fmla="*/ 370 w 26608"/>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551">
                      <a:moveTo>
                        <a:pt x="370" y="10100"/>
                      </a:moveTo>
                      <a:cubicBezTo>
                        <a:pt x="1989" y="3000"/>
                        <a:pt x="9213" y="-1360"/>
                        <a:pt x="16313" y="384"/>
                      </a:cubicBezTo>
                      <a:cubicBezTo>
                        <a:pt x="23413" y="2128"/>
                        <a:pt x="27897" y="9352"/>
                        <a:pt x="26278" y="16452"/>
                      </a:cubicBezTo>
                      <a:cubicBezTo>
                        <a:pt x="24659" y="23552"/>
                        <a:pt x="17434" y="27911"/>
                        <a:pt x="10334" y="26168"/>
                      </a:cubicBezTo>
                      <a:cubicBezTo>
                        <a:pt x="3235" y="24424"/>
                        <a:pt x="-1374" y="17199"/>
                        <a:pt x="370"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7" name="Freeform 8445">
                  <a:extLst>
                    <a:ext uri="{FF2B5EF4-FFF2-40B4-BE49-F238E27FC236}">
                      <a16:creationId xmlns:a16="http://schemas.microsoft.com/office/drawing/2014/main" id="{A2D60D77-B9E6-CA33-5553-9025B589BF69}"/>
                    </a:ext>
                  </a:extLst>
                </p:cNvPr>
                <p:cNvSpPr/>
                <p:nvPr/>
              </p:nvSpPr>
              <p:spPr>
                <a:xfrm>
                  <a:off x="3556121" y="1609982"/>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7100" y="13452"/>
                        <a:pt x="6477" y="17687"/>
                      </a:cubicBezTo>
                      <a:cubicBezTo>
                        <a:pt x="5605" y="24662"/>
                        <a:pt x="6975" y="28150"/>
                        <a:pt x="5854" y="35125"/>
                      </a:cubicBezTo>
                      <a:cubicBezTo>
                        <a:pt x="4733"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8" name="Freeform 8446">
                  <a:extLst>
                    <a:ext uri="{FF2B5EF4-FFF2-40B4-BE49-F238E27FC236}">
                      <a16:creationId xmlns:a16="http://schemas.microsoft.com/office/drawing/2014/main" id="{6E2EAB77-C613-2D1D-E075-8F8B9CAC8520}"/>
                    </a:ext>
                  </a:extLst>
                </p:cNvPr>
                <p:cNvSpPr/>
                <p:nvPr/>
              </p:nvSpPr>
              <p:spPr>
                <a:xfrm>
                  <a:off x="3565443" y="1606743"/>
                  <a:ext cx="11546" cy="50944"/>
                </a:xfrm>
                <a:custGeom>
                  <a:avLst/>
                  <a:gdLst>
                    <a:gd name="connsiteX0" fmla="*/ 145 w 11546"/>
                    <a:gd name="connsiteY0" fmla="*/ 50944 h 50944"/>
                    <a:gd name="connsiteX1" fmla="*/ 2512 w 11546"/>
                    <a:gd name="connsiteY1" fmla="*/ 32260 h 50944"/>
                    <a:gd name="connsiteX2" fmla="*/ 9736 w 11546"/>
                    <a:gd name="connsiteY2" fmla="*/ 16442 h 50944"/>
                    <a:gd name="connsiteX3" fmla="*/ 11355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50944"/>
                      </a:moveTo>
                      <a:cubicBezTo>
                        <a:pt x="-478" y="42474"/>
                        <a:pt x="1017" y="36371"/>
                        <a:pt x="2512" y="32260"/>
                      </a:cubicBezTo>
                      <a:cubicBezTo>
                        <a:pt x="4878" y="25659"/>
                        <a:pt x="7618" y="23168"/>
                        <a:pt x="9736" y="16442"/>
                      </a:cubicBezTo>
                      <a:cubicBezTo>
                        <a:pt x="11729"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9" name="Freeform 8447">
                  <a:extLst>
                    <a:ext uri="{FF2B5EF4-FFF2-40B4-BE49-F238E27FC236}">
                      <a16:creationId xmlns:a16="http://schemas.microsoft.com/office/drawing/2014/main" id="{4CA34755-3FCB-8C56-581E-6E13117C5281}"/>
                    </a:ext>
                  </a:extLst>
                </p:cNvPr>
                <p:cNvSpPr/>
                <p:nvPr/>
              </p:nvSpPr>
              <p:spPr>
                <a:xfrm>
                  <a:off x="3560844" y="1590541"/>
                  <a:ext cx="26256" cy="26551"/>
                </a:xfrm>
                <a:custGeom>
                  <a:avLst/>
                  <a:gdLst>
                    <a:gd name="connsiteX0" fmla="*/ 25918 w 26256"/>
                    <a:gd name="connsiteY0" fmla="*/ 16452 h 26551"/>
                    <a:gd name="connsiteX1" fmla="*/ 10100 w 26256"/>
                    <a:gd name="connsiteY1" fmla="*/ 26168 h 26551"/>
                    <a:gd name="connsiteX2" fmla="*/ 384 w 26256"/>
                    <a:gd name="connsiteY2" fmla="*/ 10100 h 26551"/>
                    <a:gd name="connsiteX3" fmla="*/ 16203 w 26256"/>
                    <a:gd name="connsiteY3" fmla="*/ 384 h 26551"/>
                    <a:gd name="connsiteX4" fmla="*/ 25918 w 26256"/>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51">
                      <a:moveTo>
                        <a:pt x="25918" y="16452"/>
                      </a:moveTo>
                      <a:cubicBezTo>
                        <a:pt x="24299" y="23552"/>
                        <a:pt x="17200" y="27911"/>
                        <a:pt x="10100" y="26168"/>
                      </a:cubicBezTo>
                      <a:cubicBezTo>
                        <a:pt x="3000" y="24424"/>
                        <a:pt x="-1360" y="17199"/>
                        <a:pt x="384" y="10100"/>
                      </a:cubicBezTo>
                      <a:cubicBezTo>
                        <a:pt x="2003" y="3000"/>
                        <a:pt x="9103" y="-1360"/>
                        <a:pt x="16203" y="384"/>
                      </a:cubicBezTo>
                      <a:cubicBezTo>
                        <a:pt x="23178" y="2128"/>
                        <a:pt x="27538" y="9352"/>
                        <a:pt x="25918"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4" name="Graphic 2987">
                <a:extLst>
                  <a:ext uri="{FF2B5EF4-FFF2-40B4-BE49-F238E27FC236}">
                    <a16:creationId xmlns:a16="http://schemas.microsoft.com/office/drawing/2014/main" id="{22CE6B95-13F9-DE0D-F46E-BA0DBCC3D8B8}"/>
                  </a:ext>
                </a:extLst>
              </p:cNvPr>
              <p:cNvGrpSpPr/>
              <p:nvPr/>
            </p:nvGrpSpPr>
            <p:grpSpPr>
              <a:xfrm>
                <a:off x="3503680" y="1583565"/>
                <a:ext cx="54811" cy="145753"/>
                <a:chOff x="3503680" y="1583565"/>
                <a:chExt cx="54811" cy="145753"/>
              </a:xfrm>
              <a:grpFill/>
            </p:grpSpPr>
            <p:sp>
              <p:nvSpPr>
                <p:cNvPr id="5808" name="Freeform 8449">
                  <a:extLst>
                    <a:ext uri="{FF2B5EF4-FFF2-40B4-BE49-F238E27FC236}">
                      <a16:creationId xmlns:a16="http://schemas.microsoft.com/office/drawing/2014/main" id="{CF1264DF-1844-E163-8938-A51D16BEAB66}"/>
                    </a:ext>
                  </a:extLst>
                </p:cNvPr>
                <p:cNvSpPr/>
                <p:nvPr/>
              </p:nvSpPr>
              <p:spPr>
                <a:xfrm>
                  <a:off x="3522241" y="1659431"/>
                  <a:ext cx="12704" cy="50570"/>
                </a:xfrm>
                <a:custGeom>
                  <a:avLst/>
                  <a:gdLst>
                    <a:gd name="connsiteX0" fmla="*/ 0 w 12704"/>
                    <a:gd name="connsiteY0" fmla="*/ 50570 h 50570"/>
                    <a:gd name="connsiteX1" fmla="*/ 6228 w 12704"/>
                    <a:gd name="connsiteY1" fmla="*/ 32883 h 50570"/>
                    <a:gd name="connsiteX2" fmla="*/ 6851 w 12704"/>
                    <a:gd name="connsiteY2" fmla="*/ 15445 h 50570"/>
                    <a:gd name="connsiteX3" fmla="*/ 12705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0" y="50570"/>
                      </a:moveTo>
                      <a:cubicBezTo>
                        <a:pt x="4235" y="43346"/>
                        <a:pt x="5730" y="37118"/>
                        <a:pt x="6228" y="32883"/>
                      </a:cubicBezTo>
                      <a:cubicBezTo>
                        <a:pt x="7100" y="25908"/>
                        <a:pt x="5730" y="22420"/>
                        <a:pt x="6851" y="15445"/>
                      </a:cubicBezTo>
                      <a:cubicBezTo>
                        <a:pt x="7972" y="8594"/>
                        <a:pt x="10712"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9" name="Freeform 8450">
                  <a:extLst>
                    <a:ext uri="{FF2B5EF4-FFF2-40B4-BE49-F238E27FC236}">
                      <a16:creationId xmlns:a16="http://schemas.microsoft.com/office/drawing/2014/main" id="{3DF49DC6-6A8D-3768-D272-4E0934F76232}"/>
                    </a:ext>
                  </a:extLst>
                </p:cNvPr>
                <p:cNvSpPr/>
                <p:nvPr/>
              </p:nvSpPr>
              <p:spPr>
                <a:xfrm>
                  <a:off x="3514053" y="1662296"/>
                  <a:ext cx="11655" cy="50944"/>
                </a:xfrm>
                <a:custGeom>
                  <a:avLst/>
                  <a:gdLst>
                    <a:gd name="connsiteX0" fmla="*/ 11552 w 11655"/>
                    <a:gd name="connsiteY0" fmla="*/ 0 h 50944"/>
                    <a:gd name="connsiteX1" fmla="*/ 9185 w 11655"/>
                    <a:gd name="connsiteY1" fmla="*/ 18684 h 50944"/>
                    <a:gd name="connsiteX2" fmla="*/ 1836 w 11655"/>
                    <a:gd name="connsiteY2" fmla="*/ 34502 h 50944"/>
                    <a:gd name="connsiteX3" fmla="*/ 217 w 11655"/>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55" h="50944">
                      <a:moveTo>
                        <a:pt x="11552" y="0"/>
                      </a:moveTo>
                      <a:cubicBezTo>
                        <a:pt x="12050" y="8470"/>
                        <a:pt x="10680" y="14573"/>
                        <a:pt x="9185" y="18684"/>
                      </a:cubicBezTo>
                      <a:cubicBezTo>
                        <a:pt x="6819" y="25285"/>
                        <a:pt x="4078" y="27776"/>
                        <a:pt x="1836" y="34502"/>
                      </a:cubicBezTo>
                      <a:cubicBezTo>
                        <a:pt x="-281" y="41104"/>
                        <a:pt x="-157" y="46958"/>
                        <a:pt x="217"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0" name="Freeform 8451">
                  <a:extLst>
                    <a:ext uri="{FF2B5EF4-FFF2-40B4-BE49-F238E27FC236}">
                      <a16:creationId xmlns:a16="http://schemas.microsoft.com/office/drawing/2014/main" id="{9B4F55B6-E0EE-5DD2-E144-83687F4F440E}"/>
                    </a:ext>
                  </a:extLst>
                </p:cNvPr>
                <p:cNvSpPr/>
                <p:nvPr/>
              </p:nvSpPr>
              <p:spPr>
                <a:xfrm>
                  <a:off x="3503680" y="1702767"/>
                  <a:ext cx="26739" cy="26551"/>
                </a:xfrm>
                <a:custGeom>
                  <a:avLst/>
                  <a:gdLst>
                    <a:gd name="connsiteX0" fmla="*/ 376 w 26739"/>
                    <a:gd name="connsiteY0" fmla="*/ 10100 h 26551"/>
                    <a:gd name="connsiteX1" fmla="*/ 16444 w 26739"/>
                    <a:gd name="connsiteY1" fmla="*/ 384 h 26551"/>
                    <a:gd name="connsiteX2" fmla="*/ 26409 w 26739"/>
                    <a:gd name="connsiteY2" fmla="*/ 16452 h 26551"/>
                    <a:gd name="connsiteX3" fmla="*/ 10341 w 26739"/>
                    <a:gd name="connsiteY3" fmla="*/ 26168 h 26551"/>
                    <a:gd name="connsiteX4" fmla="*/ 376 w 2673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 h="26551">
                      <a:moveTo>
                        <a:pt x="376" y="10100"/>
                      </a:moveTo>
                      <a:cubicBezTo>
                        <a:pt x="2120" y="3000"/>
                        <a:pt x="9220" y="-1360"/>
                        <a:pt x="16444" y="384"/>
                      </a:cubicBezTo>
                      <a:cubicBezTo>
                        <a:pt x="23544" y="2128"/>
                        <a:pt x="28028" y="9352"/>
                        <a:pt x="26409" y="16452"/>
                      </a:cubicBezTo>
                      <a:cubicBezTo>
                        <a:pt x="24790" y="23552"/>
                        <a:pt x="17565" y="27911"/>
                        <a:pt x="10341" y="26168"/>
                      </a:cubicBezTo>
                      <a:cubicBezTo>
                        <a:pt x="3117" y="24424"/>
                        <a:pt x="-1368" y="17199"/>
                        <a:pt x="376"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1" name="Freeform 8452">
                  <a:extLst>
                    <a:ext uri="{FF2B5EF4-FFF2-40B4-BE49-F238E27FC236}">
                      <a16:creationId xmlns:a16="http://schemas.microsoft.com/office/drawing/2014/main" id="{206D15B4-2569-EB82-1AFD-7939C469D68E}"/>
                    </a:ext>
                  </a:extLst>
                </p:cNvPr>
                <p:cNvSpPr/>
                <p:nvPr/>
              </p:nvSpPr>
              <p:spPr>
                <a:xfrm>
                  <a:off x="3527473" y="1603007"/>
                  <a:ext cx="12704" cy="50570"/>
                </a:xfrm>
                <a:custGeom>
                  <a:avLst/>
                  <a:gdLst>
                    <a:gd name="connsiteX0" fmla="*/ 12705 w 12704"/>
                    <a:gd name="connsiteY0" fmla="*/ 0 h 50570"/>
                    <a:gd name="connsiteX1" fmla="*/ 6477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0"/>
                      </a:moveTo>
                      <a:cubicBezTo>
                        <a:pt x="8470" y="7224"/>
                        <a:pt x="6975" y="13452"/>
                        <a:pt x="6477" y="17687"/>
                      </a:cubicBezTo>
                      <a:cubicBezTo>
                        <a:pt x="5605" y="24662"/>
                        <a:pt x="6975" y="28150"/>
                        <a:pt x="5854" y="35125"/>
                      </a:cubicBezTo>
                      <a:cubicBezTo>
                        <a:pt x="4733" y="41976"/>
                        <a:pt x="1993"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2" name="Freeform 8453">
                  <a:extLst>
                    <a:ext uri="{FF2B5EF4-FFF2-40B4-BE49-F238E27FC236}">
                      <a16:creationId xmlns:a16="http://schemas.microsoft.com/office/drawing/2014/main" id="{AC3818E6-A38A-5429-BC4F-062E59CB2384}"/>
                    </a:ext>
                  </a:extLst>
                </p:cNvPr>
                <p:cNvSpPr/>
                <p:nvPr/>
              </p:nvSpPr>
              <p:spPr>
                <a:xfrm>
                  <a:off x="3536711" y="1599644"/>
                  <a:ext cx="11572" cy="50944"/>
                </a:xfrm>
                <a:custGeom>
                  <a:avLst/>
                  <a:gdLst>
                    <a:gd name="connsiteX0" fmla="*/ 104 w 11572"/>
                    <a:gd name="connsiteY0" fmla="*/ 50944 h 50944"/>
                    <a:gd name="connsiteX1" fmla="*/ 2471 w 11572"/>
                    <a:gd name="connsiteY1" fmla="*/ 32260 h 50944"/>
                    <a:gd name="connsiteX2" fmla="*/ 9695 w 11572"/>
                    <a:gd name="connsiteY2" fmla="*/ 16442 h 50944"/>
                    <a:gd name="connsiteX3" fmla="*/ 11439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04" y="50944"/>
                      </a:moveTo>
                      <a:cubicBezTo>
                        <a:pt x="-394" y="42474"/>
                        <a:pt x="976" y="36371"/>
                        <a:pt x="2471" y="32260"/>
                      </a:cubicBezTo>
                      <a:cubicBezTo>
                        <a:pt x="4837" y="25659"/>
                        <a:pt x="7577" y="23168"/>
                        <a:pt x="9695" y="16442"/>
                      </a:cubicBezTo>
                      <a:cubicBezTo>
                        <a:pt x="11813" y="9840"/>
                        <a:pt x="11688" y="3986"/>
                        <a:pt x="114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13" name="Freeform 8454">
                  <a:extLst>
                    <a:ext uri="{FF2B5EF4-FFF2-40B4-BE49-F238E27FC236}">
                      <a16:creationId xmlns:a16="http://schemas.microsoft.com/office/drawing/2014/main" id="{2D99A427-2B5C-52B7-2201-5ED45CEEC2DB}"/>
                    </a:ext>
                  </a:extLst>
                </p:cNvPr>
                <p:cNvSpPr/>
                <p:nvPr/>
              </p:nvSpPr>
              <p:spPr>
                <a:xfrm>
                  <a:off x="3532196" y="1583565"/>
                  <a:ext cx="26295" cy="26551"/>
                </a:xfrm>
                <a:custGeom>
                  <a:avLst/>
                  <a:gdLst>
                    <a:gd name="connsiteX0" fmla="*/ 25919 w 26295"/>
                    <a:gd name="connsiteY0" fmla="*/ 16452 h 26551"/>
                    <a:gd name="connsiteX1" fmla="*/ 10100 w 26295"/>
                    <a:gd name="connsiteY1" fmla="*/ 26168 h 26551"/>
                    <a:gd name="connsiteX2" fmla="*/ 384 w 26295"/>
                    <a:gd name="connsiteY2" fmla="*/ 10100 h 26551"/>
                    <a:gd name="connsiteX3" fmla="*/ 16203 w 26295"/>
                    <a:gd name="connsiteY3" fmla="*/ 384 h 26551"/>
                    <a:gd name="connsiteX4" fmla="*/ 25919 w 26295"/>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51">
                      <a:moveTo>
                        <a:pt x="25919" y="16452"/>
                      </a:moveTo>
                      <a:cubicBezTo>
                        <a:pt x="24299" y="23552"/>
                        <a:pt x="17199" y="27911"/>
                        <a:pt x="10100" y="26168"/>
                      </a:cubicBezTo>
                      <a:cubicBezTo>
                        <a:pt x="3000" y="24424"/>
                        <a:pt x="-1360" y="17324"/>
                        <a:pt x="384" y="10100"/>
                      </a:cubicBezTo>
                      <a:cubicBezTo>
                        <a:pt x="2128" y="3000"/>
                        <a:pt x="9228" y="-1360"/>
                        <a:pt x="16203" y="384"/>
                      </a:cubicBezTo>
                      <a:cubicBezTo>
                        <a:pt x="23178" y="2128"/>
                        <a:pt x="27662" y="9352"/>
                        <a:pt x="25919"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5" name="Graphic 2987">
                <a:extLst>
                  <a:ext uri="{FF2B5EF4-FFF2-40B4-BE49-F238E27FC236}">
                    <a16:creationId xmlns:a16="http://schemas.microsoft.com/office/drawing/2014/main" id="{834FB417-993C-4E26-83D9-FD794B3FCE38}"/>
                  </a:ext>
                </a:extLst>
              </p:cNvPr>
              <p:cNvGrpSpPr/>
              <p:nvPr/>
            </p:nvGrpSpPr>
            <p:grpSpPr>
              <a:xfrm>
                <a:off x="3474657" y="1576590"/>
                <a:ext cx="55277" cy="145628"/>
                <a:chOff x="3474657" y="1576590"/>
                <a:chExt cx="55277" cy="145628"/>
              </a:xfrm>
              <a:grpFill/>
            </p:grpSpPr>
            <p:sp>
              <p:nvSpPr>
                <p:cNvPr id="5802" name="Freeform 8456">
                  <a:extLst>
                    <a:ext uri="{FF2B5EF4-FFF2-40B4-BE49-F238E27FC236}">
                      <a16:creationId xmlns:a16="http://schemas.microsoft.com/office/drawing/2014/main" id="{60C3265B-64EF-7EB4-D186-CB8800E351B5}"/>
                    </a:ext>
                  </a:extLst>
                </p:cNvPr>
                <p:cNvSpPr/>
                <p:nvPr/>
              </p:nvSpPr>
              <p:spPr>
                <a:xfrm>
                  <a:off x="3493220" y="1652332"/>
                  <a:ext cx="12953" cy="50570"/>
                </a:xfrm>
                <a:custGeom>
                  <a:avLst/>
                  <a:gdLst>
                    <a:gd name="connsiteX0" fmla="*/ 0 w 12953"/>
                    <a:gd name="connsiteY0" fmla="*/ 50570 h 50570"/>
                    <a:gd name="connsiteX1" fmla="*/ 6352 w 12953"/>
                    <a:gd name="connsiteY1" fmla="*/ 32883 h 50570"/>
                    <a:gd name="connsiteX2" fmla="*/ 6975 w 12953"/>
                    <a:gd name="connsiteY2" fmla="*/ 15445 h 50570"/>
                    <a:gd name="connsiteX3" fmla="*/ 12954 w 12953"/>
                    <a:gd name="connsiteY3" fmla="*/ 0 h 50570"/>
                  </a:gdLst>
                  <a:ahLst/>
                  <a:cxnLst>
                    <a:cxn ang="0">
                      <a:pos x="connsiteX0" y="connsiteY0"/>
                    </a:cxn>
                    <a:cxn ang="0">
                      <a:pos x="connsiteX1" y="connsiteY1"/>
                    </a:cxn>
                    <a:cxn ang="0">
                      <a:pos x="connsiteX2" y="connsiteY2"/>
                    </a:cxn>
                    <a:cxn ang="0">
                      <a:pos x="connsiteX3" y="connsiteY3"/>
                    </a:cxn>
                  </a:cxnLst>
                  <a:rect l="l" t="t" r="r" b="b"/>
                  <a:pathLst>
                    <a:path w="12952" h="50570">
                      <a:moveTo>
                        <a:pt x="0" y="50570"/>
                      </a:moveTo>
                      <a:cubicBezTo>
                        <a:pt x="4359" y="43346"/>
                        <a:pt x="5730" y="37118"/>
                        <a:pt x="6352" y="32883"/>
                      </a:cubicBezTo>
                      <a:cubicBezTo>
                        <a:pt x="7224" y="25908"/>
                        <a:pt x="5854" y="22420"/>
                        <a:pt x="6975" y="15445"/>
                      </a:cubicBezTo>
                      <a:cubicBezTo>
                        <a:pt x="8096" y="8594"/>
                        <a:pt x="10836" y="3363"/>
                        <a:pt x="129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3" name="Freeform 8457">
                  <a:extLst>
                    <a:ext uri="{FF2B5EF4-FFF2-40B4-BE49-F238E27FC236}">
                      <a16:creationId xmlns:a16="http://schemas.microsoft.com/office/drawing/2014/main" id="{42D04FD1-B4D1-F2B6-1F3C-66F7F9C00C64}"/>
                    </a:ext>
                  </a:extLst>
                </p:cNvPr>
                <p:cNvSpPr/>
                <p:nvPr/>
              </p:nvSpPr>
              <p:spPr>
                <a:xfrm>
                  <a:off x="3484935" y="1655321"/>
                  <a:ext cx="11870" cy="50944"/>
                </a:xfrm>
                <a:custGeom>
                  <a:avLst/>
                  <a:gdLst>
                    <a:gd name="connsiteX0" fmla="*/ 11773 w 11870"/>
                    <a:gd name="connsiteY0" fmla="*/ 0 h 50944"/>
                    <a:gd name="connsiteX1" fmla="*/ 9281 w 11870"/>
                    <a:gd name="connsiteY1" fmla="*/ 18684 h 50944"/>
                    <a:gd name="connsiteX2" fmla="*/ 1932 w 11870"/>
                    <a:gd name="connsiteY2" fmla="*/ 34502 h 50944"/>
                    <a:gd name="connsiteX3" fmla="*/ 188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3" y="0"/>
                      </a:moveTo>
                      <a:cubicBezTo>
                        <a:pt x="12270" y="8345"/>
                        <a:pt x="10776" y="14573"/>
                        <a:pt x="9281" y="18684"/>
                      </a:cubicBezTo>
                      <a:cubicBezTo>
                        <a:pt x="6915" y="25285"/>
                        <a:pt x="4050"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4" name="Freeform 8458">
                  <a:extLst>
                    <a:ext uri="{FF2B5EF4-FFF2-40B4-BE49-F238E27FC236}">
                      <a16:creationId xmlns:a16="http://schemas.microsoft.com/office/drawing/2014/main" id="{8EB43007-5B28-45C3-FF66-4BB00546379E}"/>
                    </a:ext>
                  </a:extLst>
                </p:cNvPr>
                <p:cNvSpPr/>
                <p:nvPr/>
              </p:nvSpPr>
              <p:spPr>
                <a:xfrm>
                  <a:off x="3474657" y="1695667"/>
                  <a:ext cx="26661" cy="26551"/>
                </a:xfrm>
                <a:custGeom>
                  <a:avLst/>
                  <a:gdLst>
                    <a:gd name="connsiteX0" fmla="*/ 377 w 26661"/>
                    <a:gd name="connsiteY0" fmla="*/ 10100 h 26551"/>
                    <a:gd name="connsiteX1" fmla="*/ 16445 w 26661"/>
                    <a:gd name="connsiteY1" fmla="*/ 384 h 26551"/>
                    <a:gd name="connsiteX2" fmla="*/ 26285 w 26661"/>
                    <a:gd name="connsiteY2" fmla="*/ 16452 h 26551"/>
                    <a:gd name="connsiteX3" fmla="*/ 10217 w 26661"/>
                    <a:gd name="connsiteY3" fmla="*/ 26168 h 26551"/>
                    <a:gd name="connsiteX4" fmla="*/ 377 w 26661"/>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551">
                      <a:moveTo>
                        <a:pt x="377" y="10100"/>
                      </a:moveTo>
                      <a:cubicBezTo>
                        <a:pt x="2121" y="3000"/>
                        <a:pt x="9345" y="-1360"/>
                        <a:pt x="16445" y="384"/>
                      </a:cubicBezTo>
                      <a:cubicBezTo>
                        <a:pt x="23545" y="2128"/>
                        <a:pt x="28029" y="9352"/>
                        <a:pt x="26285" y="16452"/>
                      </a:cubicBezTo>
                      <a:cubicBezTo>
                        <a:pt x="24541" y="23552"/>
                        <a:pt x="17317" y="27911"/>
                        <a:pt x="10217" y="26168"/>
                      </a:cubicBezTo>
                      <a:cubicBezTo>
                        <a:pt x="3117" y="24424"/>
                        <a:pt x="-1367" y="17199"/>
                        <a:pt x="377"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5" name="Freeform 8459">
                  <a:extLst>
                    <a:ext uri="{FF2B5EF4-FFF2-40B4-BE49-F238E27FC236}">
                      <a16:creationId xmlns:a16="http://schemas.microsoft.com/office/drawing/2014/main" id="{12CF683A-27F6-C786-BBD4-FF360C9006C5}"/>
                    </a:ext>
                  </a:extLst>
                </p:cNvPr>
                <p:cNvSpPr/>
                <p:nvPr/>
              </p:nvSpPr>
              <p:spPr>
                <a:xfrm>
                  <a:off x="3498451" y="1595907"/>
                  <a:ext cx="13078" cy="50570"/>
                </a:xfrm>
                <a:custGeom>
                  <a:avLst/>
                  <a:gdLst>
                    <a:gd name="connsiteX0" fmla="*/ 13079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9" y="0"/>
                      </a:moveTo>
                      <a:cubicBezTo>
                        <a:pt x="8843" y="7224"/>
                        <a:pt x="7349" y="13452"/>
                        <a:pt x="6726" y="17687"/>
                      </a:cubicBezTo>
                      <a:cubicBezTo>
                        <a:pt x="5854" y="24662"/>
                        <a:pt x="7225" y="28150"/>
                        <a:pt x="5979" y="35125"/>
                      </a:cubicBezTo>
                      <a:cubicBezTo>
                        <a:pt x="4858" y="41976"/>
                        <a:pt x="2118"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6" name="Freeform 8460">
                  <a:extLst>
                    <a:ext uri="{FF2B5EF4-FFF2-40B4-BE49-F238E27FC236}">
                      <a16:creationId xmlns:a16="http://schemas.microsoft.com/office/drawing/2014/main" id="{2B67D7D5-D49E-909F-F2C5-93CDC02C3D4C}"/>
                    </a:ext>
                  </a:extLst>
                </p:cNvPr>
                <p:cNvSpPr/>
                <p:nvPr/>
              </p:nvSpPr>
              <p:spPr>
                <a:xfrm>
                  <a:off x="3507944" y="1592668"/>
                  <a:ext cx="11869" cy="50944"/>
                </a:xfrm>
                <a:custGeom>
                  <a:avLst/>
                  <a:gdLst>
                    <a:gd name="connsiteX0" fmla="*/ 98 w 11869"/>
                    <a:gd name="connsiteY0" fmla="*/ 50944 h 50944"/>
                    <a:gd name="connsiteX1" fmla="*/ 2589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9" y="32260"/>
                      </a:cubicBezTo>
                      <a:cubicBezTo>
                        <a:pt x="4955" y="25659"/>
                        <a:pt x="7696"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7" name="Freeform 8461">
                  <a:extLst>
                    <a:ext uri="{FF2B5EF4-FFF2-40B4-BE49-F238E27FC236}">
                      <a16:creationId xmlns:a16="http://schemas.microsoft.com/office/drawing/2014/main" id="{FB37E267-8FF3-75CC-152F-BB5A0119D0B5}"/>
                    </a:ext>
                  </a:extLst>
                </p:cNvPr>
                <p:cNvSpPr/>
                <p:nvPr/>
              </p:nvSpPr>
              <p:spPr>
                <a:xfrm>
                  <a:off x="3503547" y="1576590"/>
                  <a:ext cx="26387" cy="26551"/>
                </a:xfrm>
                <a:custGeom>
                  <a:avLst/>
                  <a:gdLst>
                    <a:gd name="connsiteX0" fmla="*/ 26043 w 26387"/>
                    <a:gd name="connsiteY0" fmla="*/ 16452 h 26551"/>
                    <a:gd name="connsiteX1" fmla="*/ 10100 w 26387"/>
                    <a:gd name="connsiteY1" fmla="*/ 26168 h 26551"/>
                    <a:gd name="connsiteX2" fmla="*/ 384 w 26387"/>
                    <a:gd name="connsiteY2" fmla="*/ 10100 h 26551"/>
                    <a:gd name="connsiteX3" fmla="*/ 16327 w 26387"/>
                    <a:gd name="connsiteY3" fmla="*/ 384 h 26551"/>
                    <a:gd name="connsiteX4" fmla="*/ 26043 w 26387"/>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7" h="26551">
                      <a:moveTo>
                        <a:pt x="26043" y="16452"/>
                      </a:moveTo>
                      <a:cubicBezTo>
                        <a:pt x="24299" y="23552"/>
                        <a:pt x="17199" y="27911"/>
                        <a:pt x="10100" y="26168"/>
                      </a:cubicBezTo>
                      <a:cubicBezTo>
                        <a:pt x="3000" y="24424"/>
                        <a:pt x="-1360" y="17324"/>
                        <a:pt x="384" y="10100"/>
                      </a:cubicBezTo>
                      <a:cubicBezTo>
                        <a:pt x="2128" y="3000"/>
                        <a:pt x="9228" y="-1360"/>
                        <a:pt x="16327" y="384"/>
                      </a:cubicBezTo>
                      <a:cubicBezTo>
                        <a:pt x="23427" y="2128"/>
                        <a:pt x="27662" y="9352"/>
                        <a:pt x="26043"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6" name="Graphic 2987">
                <a:extLst>
                  <a:ext uri="{FF2B5EF4-FFF2-40B4-BE49-F238E27FC236}">
                    <a16:creationId xmlns:a16="http://schemas.microsoft.com/office/drawing/2014/main" id="{CEB06CF9-33F4-CD31-8AEB-F80DC8264EBD}"/>
                  </a:ext>
                </a:extLst>
              </p:cNvPr>
              <p:cNvGrpSpPr/>
              <p:nvPr/>
            </p:nvGrpSpPr>
            <p:grpSpPr>
              <a:xfrm>
                <a:off x="3445628" y="1569739"/>
                <a:ext cx="55705" cy="145379"/>
                <a:chOff x="3445628" y="1569739"/>
                <a:chExt cx="55705" cy="145379"/>
              </a:xfrm>
              <a:grpFill/>
            </p:grpSpPr>
            <p:sp>
              <p:nvSpPr>
                <p:cNvPr id="5796" name="Freeform 8463">
                  <a:extLst>
                    <a:ext uri="{FF2B5EF4-FFF2-40B4-BE49-F238E27FC236}">
                      <a16:creationId xmlns:a16="http://schemas.microsoft.com/office/drawing/2014/main" id="{2FBBEE7C-190C-D561-0F2F-7F719B986621}"/>
                    </a:ext>
                  </a:extLst>
                </p:cNvPr>
                <p:cNvSpPr/>
                <p:nvPr/>
              </p:nvSpPr>
              <p:spPr>
                <a:xfrm>
                  <a:off x="3464198" y="1645356"/>
                  <a:ext cx="13078" cy="50445"/>
                </a:xfrm>
                <a:custGeom>
                  <a:avLst/>
                  <a:gdLst>
                    <a:gd name="connsiteX0" fmla="*/ 0 w 13078"/>
                    <a:gd name="connsiteY0" fmla="*/ 50446 h 50445"/>
                    <a:gd name="connsiteX1" fmla="*/ 6353 w 13078"/>
                    <a:gd name="connsiteY1" fmla="*/ 32759 h 50445"/>
                    <a:gd name="connsiteX2" fmla="*/ 7100 w 13078"/>
                    <a:gd name="connsiteY2" fmla="*/ 15321 h 50445"/>
                    <a:gd name="connsiteX3" fmla="*/ 13079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0" y="50446"/>
                      </a:moveTo>
                      <a:cubicBezTo>
                        <a:pt x="4360" y="43222"/>
                        <a:pt x="5854" y="37118"/>
                        <a:pt x="6353" y="32759"/>
                      </a:cubicBezTo>
                      <a:cubicBezTo>
                        <a:pt x="7225" y="25783"/>
                        <a:pt x="5854" y="22296"/>
                        <a:pt x="7100" y="15321"/>
                      </a:cubicBezTo>
                      <a:cubicBezTo>
                        <a:pt x="8221" y="8470"/>
                        <a:pt x="10961" y="3239"/>
                        <a:pt x="130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7" name="Freeform 8464">
                  <a:extLst>
                    <a:ext uri="{FF2B5EF4-FFF2-40B4-BE49-F238E27FC236}">
                      <a16:creationId xmlns:a16="http://schemas.microsoft.com/office/drawing/2014/main" id="{66736CF5-969B-CEFB-1634-CCCAD798FDAB}"/>
                    </a:ext>
                  </a:extLst>
                </p:cNvPr>
                <p:cNvSpPr/>
                <p:nvPr/>
              </p:nvSpPr>
              <p:spPr>
                <a:xfrm>
                  <a:off x="3456038" y="1648221"/>
                  <a:ext cx="11994" cy="50944"/>
                </a:xfrm>
                <a:custGeom>
                  <a:avLst/>
                  <a:gdLst>
                    <a:gd name="connsiteX0" fmla="*/ 11897 w 11994"/>
                    <a:gd name="connsiteY0" fmla="*/ 0 h 50944"/>
                    <a:gd name="connsiteX1" fmla="*/ 9406 w 11994"/>
                    <a:gd name="connsiteY1" fmla="*/ 18684 h 50944"/>
                    <a:gd name="connsiteX2" fmla="*/ 1932 w 11994"/>
                    <a:gd name="connsiteY2" fmla="*/ 34502 h 50944"/>
                    <a:gd name="connsiteX3" fmla="*/ 188 w 1199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94" h="50944">
                      <a:moveTo>
                        <a:pt x="11897" y="0"/>
                      </a:moveTo>
                      <a:cubicBezTo>
                        <a:pt x="12395" y="8345"/>
                        <a:pt x="10900" y="14573"/>
                        <a:pt x="9406" y="18684"/>
                      </a:cubicBezTo>
                      <a:cubicBezTo>
                        <a:pt x="7039" y="25285"/>
                        <a:pt x="4174" y="27652"/>
                        <a:pt x="1932" y="34502"/>
                      </a:cubicBezTo>
                      <a:cubicBezTo>
                        <a:pt x="-185" y="41104"/>
                        <a:pt x="-185" y="46958"/>
                        <a:pt x="188"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8" name="Freeform 8465">
                  <a:extLst>
                    <a:ext uri="{FF2B5EF4-FFF2-40B4-BE49-F238E27FC236}">
                      <a16:creationId xmlns:a16="http://schemas.microsoft.com/office/drawing/2014/main" id="{FA0E795E-C496-2CBA-776C-603ED9443BF2}"/>
                    </a:ext>
                  </a:extLst>
                </p:cNvPr>
                <p:cNvSpPr/>
                <p:nvPr/>
              </p:nvSpPr>
              <p:spPr>
                <a:xfrm>
                  <a:off x="3445628" y="1688567"/>
                  <a:ext cx="26793" cy="26551"/>
                </a:xfrm>
                <a:custGeom>
                  <a:avLst/>
                  <a:gdLst>
                    <a:gd name="connsiteX0" fmla="*/ 384 w 26793"/>
                    <a:gd name="connsiteY0" fmla="*/ 10100 h 26551"/>
                    <a:gd name="connsiteX1" fmla="*/ 16576 w 26793"/>
                    <a:gd name="connsiteY1" fmla="*/ 384 h 26551"/>
                    <a:gd name="connsiteX2" fmla="*/ 26416 w 26793"/>
                    <a:gd name="connsiteY2" fmla="*/ 16452 h 26551"/>
                    <a:gd name="connsiteX3" fmla="*/ 10224 w 26793"/>
                    <a:gd name="connsiteY3" fmla="*/ 26168 h 26551"/>
                    <a:gd name="connsiteX4" fmla="*/ 384 w 26793"/>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551">
                      <a:moveTo>
                        <a:pt x="384" y="10100"/>
                      </a:moveTo>
                      <a:cubicBezTo>
                        <a:pt x="2127" y="3000"/>
                        <a:pt x="9352" y="-1360"/>
                        <a:pt x="16576" y="384"/>
                      </a:cubicBezTo>
                      <a:cubicBezTo>
                        <a:pt x="23676" y="2128"/>
                        <a:pt x="28160" y="9352"/>
                        <a:pt x="26416" y="16452"/>
                      </a:cubicBezTo>
                      <a:cubicBezTo>
                        <a:pt x="24672" y="23552"/>
                        <a:pt x="17448" y="27911"/>
                        <a:pt x="10224" y="26168"/>
                      </a:cubicBezTo>
                      <a:cubicBezTo>
                        <a:pt x="2999"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9" name="Freeform 8466">
                  <a:extLst>
                    <a:ext uri="{FF2B5EF4-FFF2-40B4-BE49-F238E27FC236}">
                      <a16:creationId xmlns:a16="http://schemas.microsoft.com/office/drawing/2014/main" id="{9A8C24E8-EC1D-E60F-FD1D-B928CE0BEA63}"/>
                    </a:ext>
                  </a:extLst>
                </p:cNvPr>
                <p:cNvSpPr/>
                <p:nvPr/>
              </p:nvSpPr>
              <p:spPr>
                <a:xfrm>
                  <a:off x="3469803" y="1588932"/>
                  <a:ext cx="13078" cy="50445"/>
                </a:xfrm>
                <a:custGeom>
                  <a:avLst/>
                  <a:gdLst>
                    <a:gd name="connsiteX0" fmla="*/ 13078 w 13078"/>
                    <a:gd name="connsiteY0" fmla="*/ 0 h 50445"/>
                    <a:gd name="connsiteX1" fmla="*/ 6726 w 13078"/>
                    <a:gd name="connsiteY1" fmla="*/ 17687 h 50445"/>
                    <a:gd name="connsiteX2" fmla="*/ 5979 w 13078"/>
                    <a:gd name="connsiteY2" fmla="*/ 35125 h 50445"/>
                    <a:gd name="connsiteX3" fmla="*/ 0 w 1307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78" h="50445">
                      <a:moveTo>
                        <a:pt x="13078" y="0"/>
                      </a:moveTo>
                      <a:cubicBezTo>
                        <a:pt x="8719" y="7224"/>
                        <a:pt x="7224" y="13328"/>
                        <a:pt x="6726" y="17687"/>
                      </a:cubicBezTo>
                      <a:cubicBezTo>
                        <a:pt x="5854" y="24662"/>
                        <a:pt x="7100" y="28150"/>
                        <a:pt x="5979" y="35125"/>
                      </a:cubicBezTo>
                      <a:cubicBezTo>
                        <a:pt x="4858" y="41976"/>
                        <a:pt x="2117"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0" name="Freeform 8467">
                  <a:extLst>
                    <a:ext uri="{FF2B5EF4-FFF2-40B4-BE49-F238E27FC236}">
                      <a16:creationId xmlns:a16="http://schemas.microsoft.com/office/drawing/2014/main" id="{AE46A9BE-F692-296D-FEDF-0A1686F1B592}"/>
                    </a:ext>
                  </a:extLst>
                </p:cNvPr>
                <p:cNvSpPr/>
                <p:nvPr/>
              </p:nvSpPr>
              <p:spPr>
                <a:xfrm>
                  <a:off x="3479171" y="1585569"/>
                  <a:ext cx="11870" cy="50944"/>
                </a:xfrm>
                <a:custGeom>
                  <a:avLst/>
                  <a:gdLst>
                    <a:gd name="connsiteX0" fmla="*/ 98 w 11870"/>
                    <a:gd name="connsiteY0" fmla="*/ 50944 h 50944"/>
                    <a:gd name="connsiteX1" fmla="*/ 2589 w 11870"/>
                    <a:gd name="connsiteY1" fmla="*/ 32260 h 50944"/>
                    <a:gd name="connsiteX2" fmla="*/ 9938 w 11870"/>
                    <a:gd name="connsiteY2" fmla="*/ 16442 h 50944"/>
                    <a:gd name="connsiteX3" fmla="*/ 11682 w 11870"/>
                    <a:gd name="connsiteY3" fmla="*/ 0 h 50944"/>
                  </a:gdLst>
                  <a:ahLst/>
                  <a:cxnLst>
                    <a:cxn ang="0">
                      <a:pos x="connsiteX0" y="connsiteY0"/>
                    </a:cxn>
                    <a:cxn ang="0">
                      <a:pos x="connsiteX1" y="connsiteY1"/>
                    </a:cxn>
                    <a:cxn ang="0">
                      <a:pos x="connsiteX2" y="connsiteY2"/>
                    </a:cxn>
                    <a:cxn ang="0">
                      <a:pos x="connsiteX3" y="connsiteY3"/>
                    </a:cxn>
                  </a:cxnLst>
                  <a:rect l="l" t="t" r="r" b="b"/>
                  <a:pathLst>
                    <a:path w="11870" h="50944">
                      <a:moveTo>
                        <a:pt x="98" y="50944"/>
                      </a:moveTo>
                      <a:cubicBezTo>
                        <a:pt x="-400" y="42599"/>
                        <a:pt x="1094" y="36371"/>
                        <a:pt x="2589" y="32260"/>
                      </a:cubicBezTo>
                      <a:cubicBezTo>
                        <a:pt x="4956" y="25659"/>
                        <a:pt x="7821" y="23292"/>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801" name="Freeform 8468">
                  <a:extLst>
                    <a:ext uri="{FF2B5EF4-FFF2-40B4-BE49-F238E27FC236}">
                      <a16:creationId xmlns:a16="http://schemas.microsoft.com/office/drawing/2014/main" id="{F8502645-949D-09D0-BA88-D03B003B2F2E}"/>
                    </a:ext>
                  </a:extLst>
                </p:cNvPr>
                <p:cNvSpPr/>
                <p:nvPr/>
              </p:nvSpPr>
              <p:spPr>
                <a:xfrm>
                  <a:off x="3475016" y="1569739"/>
                  <a:ext cx="26317" cy="26427"/>
                </a:xfrm>
                <a:custGeom>
                  <a:avLst/>
                  <a:gdLst>
                    <a:gd name="connsiteX0" fmla="*/ 25926 w 26317"/>
                    <a:gd name="connsiteY0" fmla="*/ 16327 h 26427"/>
                    <a:gd name="connsiteX1" fmla="*/ 9983 w 26317"/>
                    <a:gd name="connsiteY1" fmla="*/ 26043 h 26427"/>
                    <a:gd name="connsiteX2" fmla="*/ 392 w 26317"/>
                    <a:gd name="connsiteY2" fmla="*/ 10100 h 26427"/>
                    <a:gd name="connsiteX3" fmla="*/ 16335 w 26317"/>
                    <a:gd name="connsiteY3" fmla="*/ 384 h 26427"/>
                    <a:gd name="connsiteX4" fmla="*/ 25926 w 26317"/>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27">
                      <a:moveTo>
                        <a:pt x="25926" y="16327"/>
                      </a:moveTo>
                      <a:cubicBezTo>
                        <a:pt x="24182" y="23427"/>
                        <a:pt x="17082" y="27787"/>
                        <a:pt x="9983" y="26043"/>
                      </a:cubicBezTo>
                      <a:cubicBezTo>
                        <a:pt x="2883" y="24299"/>
                        <a:pt x="-1352" y="17199"/>
                        <a:pt x="392" y="10100"/>
                      </a:cubicBezTo>
                      <a:cubicBezTo>
                        <a:pt x="2136" y="3000"/>
                        <a:pt x="9236" y="-1360"/>
                        <a:pt x="16335" y="384"/>
                      </a:cubicBezTo>
                      <a:cubicBezTo>
                        <a:pt x="23435" y="2128"/>
                        <a:pt x="27670" y="9228"/>
                        <a:pt x="25926"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7" name="Graphic 2987">
                <a:extLst>
                  <a:ext uri="{FF2B5EF4-FFF2-40B4-BE49-F238E27FC236}">
                    <a16:creationId xmlns:a16="http://schemas.microsoft.com/office/drawing/2014/main" id="{CA9D3BC3-90A5-F6B1-2525-69D1307B942E}"/>
                  </a:ext>
                </a:extLst>
              </p:cNvPr>
              <p:cNvGrpSpPr/>
              <p:nvPr/>
            </p:nvGrpSpPr>
            <p:grpSpPr>
              <a:xfrm>
                <a:off x="3416606" y="1562764"/>
                <a:ext cx="56079" cy="145255"/>
                <a:chOff x="3416606" y="1562764"/>
                <a:chExt cx="56079" cy="145255"/>
              </a:xfrm>
              <a:grpFill/>
            </p:grpSpPr>
            <p:sp>
              <p:nvSpPr>
                <p:cNvPr id="5790" name="Freeform 8470">
                  <a:extLst>
                    <a:ext uri="{FF2B5EF4-FFF2-40B4-BE49-F238E27FC236}">
                      <a16:creationId xmlns:a16="http://schemas.microsoft.com/office/drawing/2014/main" id="{62A1F6E2-D904-BC11-89A3-BCFAE5366A13}"/>
                    </a:ext>
                  </a:extLst>
                </p:cNvPr>
                <p:cNvSpPr/>
                <p:nvPr/>
              </p:nvSpPr>
              <p:spPr>
                <a:xfrm>
                  <a:off x="3435176" y="1638257"/>
                  <a:ext cx="13327" cy="50445"/>
                </a:xfrm>
                <a:custGeom>
                  <a:avLst/>
                  <a:gdLst>
                    <a:gd name="connsiteX0" fmla="*/ 0 w 13327"/>
                    <a:gd name="connsiteY0" fmla="*/ 50446 h 50445"/>
                    <a:gd name="connsiteX1" fmla="*/ 6477 w 13327"/>
                    <a:gd name="connsiteY1" fmla="*/ 32759 h 50445"/>
                    <a:gd name="connsiteX2" fmla="*/ 7224 w 13327"/>
                    <a:gd name="connsiteY2" fmla="*/ 15321 h 50445"/>
                    <a:gd name="connsiteX3" fmla="*/ 13327 w 13327"/>
                    <a:gd name="connsiteY3" fmla="*/ 0 h 50445"/>
                  </a:gdLst>
                  <a:ahLst/>
                  <a:cxnLst>
                    <a:cxn ang="0">
                      <a:pos x="connsiteX0" y="connsiteY0"/>
                    </a:cxn>
                    <a:cxn ang="0">
                      <a:pos x="connsiteX1" y="connsiteY1"/>
                    </a:cxn>
                    <a:cxn ang="0">
                      <a:pos x="connsiteX2" y="connsiteY2"/>
                    </a:cxn>
                    <a:cxn ang="0">
                      <a:pos x="connsiteX3" y="connsiteY3"/>
                    </a:cxn>
                  </a:cxnLst>
                  <a:rect l="l" t="t" r="r" b="b"/>
                  <a:pathLst>
                    <a:path w="13327" h="50445">
                      <a:moveTo>
                        <a:pt x="0" y="50446"/>
                      </a:moveTo>
                      <a:cubicBezTo>
                        <a:pt x="4360" y="43222"/>
                        <a:pt x="5854" y="37118"/>
                        <a:pt x="6477" y="32759"/>
                      </a:cubicBezTo>
                      <a:cubicBezTo>
                        <a:pt x="7349" y="25783"/>
                        <a:pt x="6103" y="22420"/>
                        <a:pt x="7224" y="15321"/>
                      </a:cubicBezTo>
                      <a:cubicBezTo>
                        <a:pt x="8345" y="8470"/>
                        <a:pt x="11210" y="3239"/>
                        <a:pt x="133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1" name="Freeform 8471">
                  <a:extLst>
                    <a:ext uri="{FF2B5EF4-FFF2-40B4-BE49-F238E27FC236}">
                      <a16:creationId xmlns:a16="http://schemas.microsoft.com/office/drawing/2014/main" id="{819BE5DB-EA97-F974-A9E0-84E8780F8C3E}"/>
                    </a:ext>
                  </a:extLst>
                </p:cNvPr>
                <p:cNvSpPr/>
                <p:nvPr/>
              </p:nvSpPr>
              <p:spPr>
                <a:xfrm>
                  <a:off x="3426968" y="1641121"/>
                  <a:ext cx="12160" cy="50819"/>
                </a:xfrm>
                <a:custGeom>
                  <a:avLst/>
                  <a:gdLst>
                    <a:gd name="connsiteX0" fmla="*/ 12069 w 12160"/>
                    <a:gd name="connsiteY0" fmla="*/ 0 h 50819"/>
                    <a:gd name="connsiteX1" fmla="*/ 9453 w 12160"/>
                    <a:gd name="connsiteY1" fmla="*/ 18559 h 50819"/>
                    <a:gd name="connsiteX2" fmla="*/ 1979 w 12160"/>
                    <a:gd name="connsiteY2" fmla="*/ 34378 h 50819"/>
                    <a:gd name="connsiteX3" fmla="*/ 111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0"/>
                      </a:moveTo>
                      <a:cubicBezTo>
                        <a:pt x="12567" y="8345"/>
                        <a:pt x="10948" y="14573"/>
                        <a:pt x="9453" y="18559"/>
                      </a:cubicBezTo>
                      <a:cubicBezTo>
                        <a:pt x="6962" y="25161"/>
                        <a:pt x="4221" y="27527"/>
                        <a:pt x="1979" y="34378"/>
                      </a:cubicBezTo>
                      <a:cubicBezTo>
                        <a:pt x="-138" y="40979"/>
                        <a:pt x="-138" y="46834"/>
                        <a:pt x="111"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2" name="Freeform 8472">
                  <a:extLst>
                    <a:ext uri="{FF2B5EF4-FFF2-40B4-BE49-F238E27FC236}">
                      <a16:creationId xmlns:a16="http://schemas.microsoft.com/office/drawing/2014/main" id="{43B02D88-05AE-2D19-FDAD-81271DCADDF8}"/>
                    </a:ext>
                  </a:extLst>
                </p:cNvPr>
                <p:cNvSpPr/>
                <p:nvPr/>
              </p:nvSpPr>
              <p:spPr>
                <a:xfrm>
                  <a:off x="3416606" y="1681468"/>
                  <a:ext cx="26800" cy="26551"/>
                </a:xfrm>
                <a:custGeom>
                  <a:avLst/>
                  <a:gdLst>
                    <a:gd name="connsiteX0" fmla="*/ 384 w 26800"/>
                    <a:gd name="connsiteY0" fmla="*/ 10100 h 26551"/>
                    <a:gd name="connsiteX1" fmla="*/ 16576 w 26800"/>
                    <a:gd name="connsiteY1" fmla="*/ 384 h 26551"/>
                    <a:gd name="connsiteX2" fmla="*/ 26417 w 26800"/>
                    <a:gd name="connsiteY2" fmla="*/ 16452 h 26551"/>
                    <a:gd name="connsiteX3" fmla="*/ 10224 w 26800"/>
                    <a:gd name="connsiteY3" fmla="*/ 26168 h 26551"/>
                    <a:gd name="connsiteX4" fmla="*/ 384 w 26800"/>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9" h="26551">
                      <a:moveTo>
                        <a:pt x="384" y="10100"/>
                      </a:moveTo>
                      <a:cubicBezTo>
                        <a:pt x="2128" y="3000"/>
                        <a:pt x="9352" y="-1360"/>
                        <a:pt x="16576" y="384"/>
                      </a:cubicBezTo>
                      <a:cubicBezTo>
                        <a:pt x="23801" y="2128"/>
                        <a:pt x="28160" y="9352"/>
                        <a:pt x="26417" y="16452"/>
                      </a:cubicBezTo>
                      <a:cubicBezTo>
                        <a:pt x="24673" y="23552"/>
                        <a:pt x="17448" y="27911"/>
                        <a:pt x="10224" y="26168"/>
                      </a:cubicBezTo>
                      <a:cubicBezTo>
                        <a:pt x="3000" y="24424"/>
                        <a:pt x="-1360" y="17199"/>
                        <a:pt x="384"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3" name="Freeform 8473">
                  <a:extLst>
                    <a:ext uri="{FF2B5EF4-FFF2-40B4-BE49-F238E27FC236}">
                      <a16:creationId xmlns:a16="http://schemas.microsoft.com/office/drawing/2014/main" id="{934ECD2D-F9FA-488C-08F7-B5D6B654F51D}"/>
                    </a:ext>
                  </a:extLst>
                </p:cNvPr>
                <p:cNvSpPr/>
                <p:nvPr/>
              </p:nvSpPr>
              <p:spPr>
                <a:xfrm>
                  <a:off x="3440905" y="1581956"/>
                  <a:ext cx="13452" cy="50445"/>
                </a:xfrm>
                <a:custGeom>
                  <a:avLst/>
                  <a:gdLst>
                    <a:gd name="connsiteX0" fmla="*/ 13452 w 13452"/>
                    <a:gd name="connsiteY0" fmla="*/ 0 h 50445"/>
                    <a:gd name="connsiteX1" fmla="*/ 6975 w 13452"/>
                    <a:gd name="connsiteY1" fmla="*/ 17687 h 50445"/>
                    <a:gd name="connsiteX2" fmla="*/ 6103 w 13452"/>
                    <a:gd name="connsiteY2" fmla="*/ 35125 h 50445"/>
                    <a:gd name="connsiteX3" fmla="*/ 0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0"/>
                      </a:moveTo>
                      <a:cubicBezTo>
                        <a:pt x="9093" y="7224"/>
                        <a:pt x="7598" y="13328"/>
                        <a:pt x="6975" y="17687"/>
                      </a:cubicBezTo>
                      <a:cubicBezTo>
                        <a:pt x="6103" y="24662"/>
                        <a:pt x="7349" y="28025"/>
                        <a:pt x="6103" y="35125"/>
                      </a:cubicBezTo>
                      <a:cubicBezTo>
                        <a:pt x="4858" y="41976"/>
                        <a:pt x="2118" y="47207"/>
                        <a:pt x="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4" name="Freeform 8474">
                  <a:extLst>
                    <a:ext uri="{FF2B5EF4-FFF2-40B4-BE49-F238E27FC236}">
                      <a16:creationId xmlns:a16="http://schemas.microsoft.com/office/drawing/2014/main" id="{C695E2E9-8C07-47AD-5342-A8CA6B614C96}"/>
                    </a:ext>
                  </a:extLst>
                </p:cNvPr>
                <p:cNvSpPr/>
                <p:nvPr/>
              </p:nvSpPr>
              <p:spPr>
                <a:xfrm>
                  <a:off x="3450280" y="1578718"/>
                  <a:ext cx="12160" cy="50819"/>
                </a:xfrm>
                <a:custGeom>
                  <a:avLst/>
                  <a:gdLst>
                    <a:gd name="connsiteX0" fmla="*/ 92 w 12160"/>
                    <a:gd name="connsiteY0" fmla="*/ 50820 h 50819"/>
                    <a:gd name="connsiteX1" fmla="*/ 2708 w 12160"/>
                    <a:gd name="connsiteY1" fmla="*/ 32260 h 50819"/>
                    <a:gd name="connsiteX2" fmla="*/ 10181 w 12160"/>
                    <a:gd name="connsiteY2" fmla="*/ 16442 h 50819"/>
                    <a:gd name="connsiteX3" fmla="*/ 12049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50820"/>
                      </a:moveTo>
                      <a:cubicBezTo>
                        <a:pt x="-406" y="42474"/>
                        <a:pt x="1213" y="36246"/>
                        <a:pt x="2708" y="32260"/>
                      </a:cubicBezTo>
                      <a:cubicBezTo>
                        <a:pt x="5199" y="25659"/>
                        <a:pt x="7939" y="23292"/>
                        <a:pt x="10181" y="16442"/>
                      </a:cubicBezTo>
                      <a:cubicBezTo>
                        <a:pt x="12298" y="9840"/>
                        <a:pt x="12298"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95" name="Freeform 8475">
                  <a:extLst>
                    <a:ext uri="{FF2B5EF4-FFF2-40B4-BE49-F238E27FC236}">
                      <a16:creationId xmlns:a16="http://schemas.microsoft.com/office/drawing/2014/main" id="{B6868FCC-D7DF-4731-103B-445A0DDAF207}"/>
                    </a:ext>
                  </a:extLst>
                </p:cNvPr>
                <p:cNvSpPr/>
                <p:nvPr/>
              </p:nvSpPr>
              <p:spPr>
                <a:xfrm>
                  <a:off x="3446375" y="1562764"/>
                  <a:ext cx="26310" cy="26427"/>
                </a:xfrm>
                <a:custGeom>
                  <a:avLst/>
                  <a:gdLst>
                    <a:gd name="connsiteX0" fmla="*/ 25919 w 26310"/>
                    <a:gd name="connsiteY0" fmla="*/ 16327 h 26427"/>
                    <a:gd name="connsiteX1" fmla="*/ 9975 w 26310"/>
                    <a:gd name="connsiteY1" fmla="*/ 26043 h 26427"/>
                    <a:gd name="connsiteX2" fmla="*/ 385 w 26310"/>
                    <a:gd name="connsiteY2" fmla="*/ 10100 h 26427"/>
                    <a:gd name="connsiteX3" fmla="*/ 16328 w 26310"/>
                    <a:gd name="connsiteY3" fmla="*/ 384 h 26427"/>
                    <a:gd name="connsiteX4" fmla="*/ 25919 w 26310"/>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27">
                      <a:moveTo>
                        <a:pt x="25919" y="16327"/>
                      </a:moveTo>
                      <a:cubicBezTo>
                        <a:pt x="24175" y="23427"/>
                        <a:pt x="16951" y="27787"/>
                        <a:pt x="9975" y="26043"/>
                      </a:cubicBezTo>
                      <a:cubicBezTo>
                        <a:pt x="3000" y="24299"/>
                        <a:pt x="-1359" y="17199"/>
                        <a:pt x="385" y="10100"/>
                      </a:cubicBezTo>
                      <a:cubicBezTo>
                        <a:pt x="2128" y="3000"/>
                        <a:pt x="9353" y="-1360"/>
                        <a:pt x="16328" y="384"/>
                      </a:cubicBezTo>
                      <a:cubicBezTo>
                        <a:pt x="23428" y="2003"/>
                        <a:pt x="27663" y="9228"/>
                        <a:pt x="25919"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8" name="Graphic 2987">
                <a:extLst>
                  <a:ext uri="{FF2B5EF4-FFF2-40B4-BE49-F238E27FC236}">
                    <a16:creationId xmlns:a16="http://schemas.microsoft.com/office/drawing/2014/main" id="{5AED342E-0BE8-91E6-2222-E273438592C0}"/>
                  </a:ext>
                </a:extLst>
              </p:cNvPr>
              <p:cNvGrpSpPr/>
              <p:nvPr/>
            </p:nvGrpSpPr>
            <p:grpSpPr>
              <a:xfrm>
                <a:off x="3387536" y="1555789"/>
                <a:ext cx="56626" cy="145130"/>
                <a:chOff x="3387536" y="1555789"/>
                <a:chExt cx="56626" cy="145130"/>
              </a:xfrm>
              <a:grpFill/>
            </p:grpSpPr>
            <p:sp>
              <p:nvSpPr>
                <p:cNvPr id="5784" name="Freeform 8477">
                  <a:extLst>
                    <a:ext uri="{FF2B5EF4-FFF2-40B4-BE49-F238E27FC236}">
                      <a16:creationId xmlns:a16="http://schemas.microsoft.com/office/drawing/2014/main" id="{B437FD63-CC3E-14E1-90BB-5CA457903D6C}"/>
                    </a:ext>
                  </a:extLst>
                </p:cNvPr>
                <p:cNvSpPr/>
                <p:nvPr/>
              </p:nvSpPr>
              <p:spPr>
                <a:xfrm>
                  <a:off x="3406278" y="1631157"/>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979" y="37118"/>
                        <a:pt x="6477" y="32759"/>
                      </a:cubicBezTo>
                      <a:cubicBezTo>
                        <a:pt x="7474" y="25783"/>
                        <a:pt x="6103" y="22420"/>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5" name="Freeform 8478">
                  <a:extLst>
                    <a:ext uri="{FF2B5EF4-FFF2-40B4-BE49-F238E27FC236}">
                      <a16:creationId xmlns:a16="http://schemas.microsoft.com/office/drawing/2014/main" id="{743F9E37-02D0-8CA9-7D58-2C16C7BA00CB}"/>
                    </a:ext>
                  </a:extLst>
                </p:cNvPr>
                <p:cNvSpPr/>
                <p:nvPr/>
              </p:nvSpPr>
              <p:spPr>
                <a:xfrm>
                  <a:off x="3398142" y="1634146"/>
                  <a:ext cx="12213" cy="50570"/>
                </a:xfrm>
                <a:custGeom>
                  <a:avLst/>
                  <a:gdLst>
                    <a:gd name="connsiteX0" fmla="*/ 12122 w 12213"/>
                    <a:gd name="connsiteY0" fmla="*/ 0 h 50570"/>
                    <a:gd name="connsiteX1" fmla="*/ 9506 w 12213"/>
                    <a:gd name="connsiteY1" fmla="*/ 18559 h 50570"/>
                    <a:gd name="connsiteX2" fmla="*/ 2033 w 12213"/>
                    <a:gd name="connsiteY2" fmla="*/ 34253 h 50570"/>
                    <a:gd name="connsiteX3" fmla="*/ 164 w 12213"/>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213" h="50570">
                      <a:moveTo>
                        <a:pt x="12122" y="0"/>
                      </a:moveTo>
                      <a:cubicBezTo>
                        <a:pt x="12620" y="8345"/>
                        <a:pt x="11001" y="14573"/>
                        <a:pt x="9506" y="18559"/>
                      </a:cubicBezTo>
                      <a:cubicBezTo>
                        <a:pt x="7015" y="25161"/>
                        <a:pt x="4150" y="27527"/>
                        <a:pt x="2033" y="34253"/>
                      </a:cubicBezTo>
                      <a:cubicBezTo>
                        <a:pt x="-85" y="40855"/>
                        <a:pt x="-209" y="46709"/>
                        <a:pt x="164"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6" name="Freeform 8479">
                  <a:extLst>
                    <a:ext uri="{FF2B5EF4-FFF2-40B4-BE49-F238E27FC236}">
                      <a16:creationId xmlns:a16="http://schemas.microsoft.com/office/drawing/2014/main" id="{F3927D17-4E9C-B613-5F69-CB9554BA384B}"/>
                    </a:ext>
                  </a:extLst>
                </p:cNvPr>
                <p:cNvSpPr/>
                <p:nvPr/>
              </p:nvSpPr>
              <p:spPr>
                <a:xfrm>
                  <a:off x="3387536" y="1674368"/>
                  <a:ext cx="26724" cy="26551"/>
                </a:xfrm>
                <a:custGeom>
                  <a:avLst/>
                  <a:gdLst>
                    <a:gd name="connsiteX0" fmla="*/ 432 w 26724"/>
                    <a:gd name="connsiteY0" fmla="*/ 10100 h 26551"/>
                    <a:gd name="connsiteX1" fmla="*/ 16625 w 26724"/>
                    <a:gd name="connsiteY1" fmla="*/ 384 h 26551"/>
                    <a:gd name="connsiteX2" fmla="*/ 26340 w 26724"/>
                    <a:gd name="connsiteY2" fmla="*/ 16452 h 26551"/>
                    <a:gd name="connsiteX3" fmla="*/ 10148 w 26724"/>
                    <a:gd name="connsiteY3" fmla="*/ 26168 h 26551"/>
                    <a:gd name="connsiteX4" fmla="*/ 432 w 26724"/>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551">
                      <a:moveTo>
                        <a:pt x="432" y="10100"/>
                      </a:moveTo>
                      <a:cubicBezTo>
                        <a:pt x="2301" y="3000"/>
                        <a:pt x="9525" y="-1360"/>
                        <a:pt x="16625" y="384"/>
                      </a:cubicBezTo>
                      <a:cubicBezTo>
                        <a:pt x="23725" y="2128"/>
                        <a:pt x="28084" y="9352"/>
                        <a:pt x="26340" y="16452"/>
                      </a:cubicBezTo>
                      <a:cubicBezTo>
                        <a:pt x="24597" y="23552"/>
                        <a:pt x="17248" y="27911"/>
                        <a:pt x="10148" y="26168"/>
                      </a:cubicBezTo>
                      <a:cubicBezTo>
                        <a:pt x="2924" y="24299"/>
                        <a:pt x="-1436" y="17199"/>
                        <a:pt x="432"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7" name="Freeform 8480">
                  <a:extLst>
                    <a:ext uri="{FF2B5EF4-FFF2-40B4-BE49-F238E27FC236}">
                      <a16:creationId xmlns:a16="http://schemas.microsoft.com/office/drawing/2014/main" id="{FE7D7C35-057C-6168-2EEE-1A905FFCEA31}"/>
                    </a:ext>
                  </a:extLst>
                </p:cNvPr>
                <p:cNvSpPr/>
                <p:nvPr/>
              </p:nvSpPr>
              <p:spPr>
                <a:xfrm>
                  <a:off x="3412257" y="1574981"/>
                  <a:ext cx="13452" cy="50321"/>
                </a:xfrm>
                <a:custGeom>
                  <a:avLst/>
                  <a:gdLst>
                    <a:gd name="connsiteX0" fmla="*/ 13452 w 13452"/>
                    <a:gd name="connsiteY0" fmla="*/ 0 h 50321"/>
                    <a:gd name="connsiteX1" fmla="*/ 6975 w 13452"/>
                    <a:gd name="connsiteY1" fmla="*/ 17687 h 50321"/>
                    <a:gd name="connsiteX2" fmla="*/ 6103 w 13452"/>
                    <a:gd name="connsiteY2" fmla="*/ 35001 h 50321"/>
                    <a:gd name="connsiteX3" fmla="*/ 0 w 1345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8"/>
                        <a:pt x="6975" y="17687"/>
                      </a:cubicBezTo>
                      <a:cubicBezTo>
                        <a:pt x="5979" y="24662"/>
                        <a:pt x="7349" y="28025"/>
                        <a:pt x="6103" y="35001"/>
                      </a:cubicBezTo>
                      <a:cubicBezTo>
                        <a:pt x="4858"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8" name="Freeform 8481">
                  <a:extLst>
                    <a:ext uri="{FF2B5EF4-FFF2-40B4-BE49-F238E27FC236}">
                      <a16:creationId xmlns:a16="http://schemas.microsoft.com/office/drawing/2014/main" id="{A2865DCA-9C8F-3450-290A-CAB09935630B}"/>
                    </a:ext>
                  </a:extLst>
                </p:cNvPr>
                <p:cNvSpPr/>
                <p:nvPr/>
              </p:nvSpPr>
              <p:spPr>
                <a:xfrm>
                  <a:off x="3421507" y="1571867"/>
                  <a:ext cx="12213" cy="50570"/>
                </a:xfrm>
                <a:custGeom>
                  <a:avLst/>
                  <a:gdLst>
                    <a:gd name="connsiteX0" fmla="*/ 92 w 12213"/>
                    <a:gd name="connsiteY0" fmla="*/ 50570 h 50570"/>
                    <a:gd name="connsiteX1" fmla="*/ 2708 w 12213"/>
                    <a:gd name="connsiteY1" fmla="*/ 32011 h 50570"/>
                    <a:gd name="connsiteX2" fmla="*/ 10181 w 12213"/>
                    <a:gd name="connsiteY2" fmla="*/ 16317 h 50570"/>
                    <a:gd name="connsiteX3" fmla="*/ 12049 w 12213"/>
                    <a:gd name="connsiteY3" fmla="*/ 0 h 50570"/>
                  </a:gdLst>
                  <a:ahLst/>
                  <a:cxnLst>
                    <a:cxn ang="0">
                      <a:pos x="connsiteX0" y="connsiteY0"/>
                    </a:cxn>
                    <a:cxn ang="0">
                      <a:pos x="connsiteX1" y="connsiteY1"/>
                    </a:cxn>
                    <a:cxn ang="0">
                      <a:pos x="connsiteX2" y="connsiteY2"/>
                    </a:cxn>
                    <a:cxn ang="0">
                      <a:pos x="connsiteX3" y="connsiteY3"/>
                    </a:cxn>
                  </a:cxnLst>
                  <a:rect l="l" t="t" r="r" b="b"/>
                  <a:pathLst>
                    <a:path w="12213" h="50570">
                      <a:moveTo>
                        <a:pt x="92" y="50570"/>
                      </a:moveTo>
                      <a:cubicBezTo>
                        <a:pt x="-406" y="42225"/>
                        <a:pt x="1213" y="35997"/>
                        <a:pt x="2708" y="32011"/>
                      </a:cubicBezTo>
                      <a:cubicBezTo>
                        <a:pt x="5199" y="25410"/>
                        <a:pt x="7939" y="23043"/>
                        <a:pt x="10181" y="16317"/>
                      </a:cubicBezTo>
                      <a:cubicBezTo>
                        <a:pt x="12298" y="9716"/>
                        <a:pt x="12423" y="3861"/>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9" name="Freeform 8482">
                  <a:extLst>
                    <a:ext uri="{FF2B5EF4-FFF2-40B4-BE49-F238E27FC236}">
                      <a16:creationId xmlns:a16="http://schemas.microsoft.com/office/drawing/2014/main" id="{C4E5C20F-0485-14B9-6180-F2DFA2264796}"/>
                    </a:ext>
                  </a:extLst>
                </p:cNvPr>
                <p:cNvSpPr/>
                <p:nvPr/>
              </p:nvSpPr>
              <p:spPr>
                <a:xfrm>
                  <a:off x="3417720" y="1555789"/>
                  <a:ext cx="26442" cy="26427"/>
                </a:xfrm>
                <a:custGeom>
                  <a:avLst/>
                  <a:gdLst>
                    <a:gd name="connsiteX0" fmla="*/ 26051 w 26442"/>
                    <a:gd name="connsiteY0" fmla="*/ 16327 h 26427"/>
                    <a:gd name="connsiteX1" fmla="*/ 9983 w 26442"/>
                    <a:gd name="connsiteY1" fmla="*/ 26043 h 26427"/>
                    <a:gd name="connsiteX2" fmla="*/ 392 w 26442"/>
                    <a:gd name="connsiteY2" fmla="*/ 10100 h 26427"/>
                    <a:gd name="connsiteX3" fmla="*/ 16459 w 26442"/>
                    <a:gd name="connsiteY3" fmla="*/ 384 h 26427"/>
                    <a:gd name="connsiteX4" fmla="*/ 26051 w 26442"/>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427">
                      <a:moveTo>
                        <a:pt x="26051" y="16327"/>
                      </a:moveTo>
                      <a:cubicBezTo>
                        <a:pt x="24307" y="23427"/>
                        <a:pt x="17082" y="27787"/>
                        <a:pt x="9983" y="26043"/>
                      </a:cubicBezTo>
                      <a:cubicBezTo>
                        <a:pt x="2883" y="24299"/>
                        <a:pt x="-1352" y="17199"/>
                        <a:pt x="392" y="10100"/>
                      </a:cubicBezTo>
                      <a:cubicBezTo>
                        <a:pt x="2135" y="3000"/>
                        <a:pt x="9360" y="-1360"/>
                        <a:pt x="16459" y="384"/>
                      </a:cubicBezTo>
                      <a:cubicBezTo>
                        <a:pt x="23559" y="2003"/>
                        <a:pt x="27794" y="9228"/>
                        <a:pt x="26051"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69" name="Graphic 2987">
                <a:extLst>
                  <a:ext uri="{FF2B5EF4-FFF2-40B4-BE49-F238E27FC236}">
                    <a16:creationId xmlns:a16="http://schemas.microsoft.com/office/drawing/2014/main" id="{4D39D7D2-DF55-31AB-9DCD-B27828FDD2CC}"/>
                  </a:ext>
                </a:extLst>
              </p:cNvPr>
              <p:cNvGrpSpPr/>
              <p:nvPr/>
            </p:nvGrpSpPr>
            <p:grpSpPr>
              <a:xfrm>
                <a:off x="3358514" y="1548814"/>
                <a:ext cx="57041" cy="145005"/>
                <a:chOff x="3358514" y="1548814"/>
                <a:chExt cx="57041" cy="145005"/>
              </a:xfrm>
              <a:grpFill/>
            </p:grpSpPr>
            <p:sp>
              <p:nvSpPr>
                <p:cNvPr id="5778" name="Freeform 8484">
                  <a:extLst>
                    <a:ext uri="{FF2B5EF4-FFF2-40B4-BE49-F238E27FC236}">
                      <a16:creationId xmlns:a16="http://schemas.microsoft.com/office/drawing/2014/main" id="{97EC6E39-716C-D6B2-A4C7-E2B714066FC1}"/>
                    </a:ext>
                  </a:extLst>
                </p:cNvPr>
                <p:cNvSpPr/>
                <p:nvPr/>
              </p:nvSpPr>
              <p:spPr>
                <a:xfrm>
                  <a:off x="3377257" y="1624182"/>
                  <a:ext cx="13576" cy="50321"/>
                </a:xfrm>
                <a:custGeom>
                  <a:avLst/>
                  <a:gdLst>
                    <a:gd name="connsiteX0" fmla="*/ 0 w 13576"/>
                    <a:gd name="connsiteY0" fmla="*/ 50321 h 50321"/>
                    <a:gd name="connsiteX1" fmla="*/ 6602 w 13576"/>
                    <a:gd name="connsiteY1" fmla="*/ 32634 h 50321"/>
                    <a:gd name="connsiteX2" fmla="*/ 7473 w 13576"/>
                    <a:gd name="connsiteY2" fmla="*/ 15321 h 50321"/>
                    <a:gd name="connsiteX3" fmla="*/ 13577 w 13576"/>
                    <a:gd name="connsiteY3" fmla="*/ 0 h 50321"/>
                  </a:gdLst>
                  <a:ahLst/>
                  <a:cxnLst>
                    <a:cxn ang="0">
                      <a:pos x="connsiteX0" y="connsiteY0"/>
                    </a:cxn>
                    <a:cxn ang="0">
                      <a:pos x="connsiteX1" y="connsiteY1"/>
                    </a:cxn>
                    <a:cxn ang="0">
                      <a:pos x="connsiteX2" y="connsiteY2"/>
                    </a:cxn>
                    <a:cxn ang="0">
                      <a:pos x="connsiteX3" y="connsiteY3"/>
                    </a:cxn>
                  </a:cxnLst>
                  <a:rect l="l" t="t" r="r" b="b"/>
                  <a:pathLst>
                    <a:path w="13576" h="50321">
                      <a:moveTo>
                        <a:pt x="0" y="50321"/>
                      </a:moveTo>
                      <a:cubicBezTo>
                        <a:pt x="4359" y="43097"/>
                        <a:pt x="5979" y="36994"/>
                        <a:pt x="6602" y="32634"/>
                      </a:cubicBezTo>
                      <a:cubicBezTo>
                        <a:pt x="7598" y="25659"/>
                        <a:pt x="6228" y="22296"/>
                        <a:pt x="7473" y="15321"/>
                      </a:cubicBezTo>
                      <a:cubicBezTo>
                        <a:pt x="8719" y="8470"/>
                        <a:pt x="11459" y="3363"/>
                        <a:pt x="13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9" name="Freeform 8485">
                  <a:extLst>
                    <a:ext uri="{FF2B5EF4-FFF2-40B4-BE49-F238E27FC236}">
                      <a16:creationId xmlns:a16="http://schemas.microsoft.com/office/drawing/2014/main" id="{4EF3B82A-D165-E76A-06F0-4EBED9B9D0D9}"/>
                    </a:ext>
                  </a:extLst>
                </p:cNvPr>
                <p:cNvSpPr/>
                <p:nvPr/>
              </p:nvSpPr>
              <p:spPr>
                <a:xfrm>
                  <a:off x="3368927" y="1627046"/>
                  <a:ext cx="12498" cy="50570"/>
                </a:xfrm>
                <a:custGeom>
                  <a:avLst/>
                  <a:gdLst>
                    <a:gd name="connsiteX0" fmla="*/ 12440 w 12498"/>
                    <a:gd name="connsiteY0" fmla="*/ 0 h 50570"/>
                    <a:gd name="connsiteX1" fmla="*/ 9700 w 12498"/>
                    <a:gd name="connsiteY1" fmla="*/ 18559 h 50570"/>
                    <a:gd name="connsiteX2" fmla="*/ 2102 w 12498"/>
                    <a:gd name="connsiteY2" fmla="*/ 34253 h 50570"/>
                    <a:gd name="connsiteX3" fmla="*/ 109 w 1249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498" h="50570">
                      <a:moveTo>
                        <a:pt x="12440" y="0"/>
                      </a:moveTo>
                      <a:cubicBezTo>
                        <a:pt x="12814" y="8345"/>
                        <a:pt x="11319" y="14573"/>
                        <a:pt x="9700" y="18559"/>
                      </a:cubicBezTo>
                      <a:cubicBezTo>
                        <a:pt x="7209" y="25161"/>
                        <a:pt x="4344" y="27527"/>
                        <a:pt x="2102" y="34253"/>
                      </a:cubicBezTo>
                      <a:cubicBezTo>
                        <a:pt x="-140" y="40855"/>
                        <a:pt x="-140" y="46709"/>
                        <a:pt x="10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0" name="Freeform 8486">
                  <a:extLst>
                    <a:ext uri="{FF2B5EF4-FFF2-40B4-BE49-F238E27FC236}">
                      <a16:creationId xmlns:a16="http://schemas.microsoft.com/office/drawing/2014/main" id="{AA3AC1D7-306A-651A-EB62-E826ED4B6E78}"/>
                    </a:ext>
                  </a:extLst>
                </p:cNvPr>
                <p:cNvSpPr/>
                <p:nvPr/>
              </p:nvSpPr>
              <p:spPr>
                <a:xfrm>
                  <a:off x="3358514" y="1667268"/>
                  <a:ext cx="26849" cy="26551"/>
                </a:xfrm>
                <a:custGeom>
                  <a:avLst/>
                  <a:gdLst>
                    <a:gd name="connsiteX0" fmla="*/ 433 w 26849"/>
                    <a:gd name="connsiteY0" fmla="*/ 10100 h 26551"/>
                    <a:gd name="connsiteX1" fmla="*/ 16750 w 26849"/>
                    <a:gd name="connsiteY1" fmla="*/ 384 h 26551"/>
                    <a:gd name="connsiteX2" fmla="*/ 26465 w 26849"/>
                    <a:gd name="connsiteY2" fmla="*/ 16452 h 26551"/>
                    <a:gd name="connsiteX3" fmla="*/ 10148 w 26849"/>
                    <a:gd name="connsiteY3" fmla="*/ 26168 h 26551"/>
                    <a:gd name="connsiteX4" fmla="*/ 433 w 26849"/>
                    <a:gd name="connsiteY4" fmla="*/ 10100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9" h="26551">
                      <a:moveTo>
                        <a:pt x="433" y="10100"/>
                      </a:moveTo>
                      <a:cubicBezTo>
                        <a:pt x="2301" y="3000"/>
                        <a:pt x="9525" y="-1360"/>
                        <a:pt x="16750" y="384"/>
                      </a:cubicBezTo>
                      <a:cubicBezTo>
                        <a:pt x="23849" y="2128"/>
                        <a:pt x="28209" y="9352"/>
                        <a:pt x="26465" y="16452"/>
                      </a:cubicBezTo>
                      <a:cubicBezTo>
                        <a:pt x="24721" y="23552"/>
                        <a:pt x="17372" y="27911"/>
                        <a:pt x="10148" y="26168"/>
                      </a:cubicBezTo>
                      <a:cubicBezTo>
                        <a:pt x="2924" y="24424"/>
                        <a:pt x="-1436" y="17199"/>
                        <a:pt x="433" y="101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1" name="Freeform 8487">
                  <a:extLst>
                    <a:ext uri="{FF2B5EF4-FFF2-40B4-BE49-F238E27FC236}">
                      <a16:creationId xmlns:a16="http://schemas.microsoft.com/office/drawing/2014/main" id="{B62064FF-5526-21EB-EA02-F821688EE546}"/>
                    </a:ext>
                  </a:extLst>
                </p:cNvPr>
                <p:cNvSpPr/>
                <p:nvPr/>
              </p:nvSpPr>
              <p:spPr>
                <a:xfrm>
                  <a:off x="3383235" y="1568006"/>
                  <a:ext cx="13826" cy="50321"/>
                </a:xfrm>
                <a:custGeom>
                  <a:avLst/>
                  <a:gdLst>
                    <a:gd name="connsiteX0" fmla="*/ 13826 w 13826"/>
                    <a:gd name="connsiteY0" fmla="*/ 0 h 50321"/>
                    <a:gd name="connsiteX1" fmla="*/ 7225 w 13826"/>
                    <a:gd name="connsiteY1" fmla="*/ 17687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224"/>
                        <a:pt x="7847" y="13328"/>
                        <a:pt x="7225" y="17687"/>
                      </a:cubicBezTo>
                      <a:cubicBezTo>
                        <a:pt x="6228" y="24662"/>
                        <a:pt x="7598" y="28025"/>
                        <a:pt x="6228" y="35001"/>
                      </a:cubicBezTo>
                      <a:cubicBezTo>
                        <a:pt x="4982" y="41851"/>
                        <a:pt x="2242"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2" name="Freeform 8488">
                  <a:extLst>
                    <a:ext uri="{FF2B5EF4-FFF2-40B4-BE49-F238E27FC236}">
                      <a16:creationId xmlns:a16="http://schemas.microsoft.com/office/drawing/2014/main" id="{6D7A9A4D-C26A-4DB1-E4D7-0AA95BD9D0E3}"/>
                    </a:ext>
                  </a:extLst>
                </p:cNvPr>
                <p:cNvSpPr/>
                <p:nvPr/>
              </p:nvSpPr>
              <p:spPr>
                <a:xfrm>
                  <a:off x="3392768" y="1564892"/>
                  <a:ext cx="12498" cy="50570"/>
                </a:xfrm>
                <a:custGeom>
                  <a:avLst/>
                  <a:gdLst>
                    <a:gd name="connsiteX0" fmla="*/ 58 w 12498"/>
                    <a:gd name="connsiteY0" fmla="*/ 50570 h 50570"/>
                    <a:gd name="connsiteX1" fmla="*/ 2798 w 12498"/>
                    <a:gd name="connsiteY1" fmla="*/ 32011 h 50570"/>
                    <a:gd name="connsiteX2" fmla="*/ 10396 w 12498"/>
                    <a:gd name="connsiteY2" fmla="*/ 16317 h 50570"/>
                    <a:gd name="connsiteX3" fmla="*/ 12389 w 12498"/>
                    <a:gd name="connsiteY3" fmla="*/ 0 h 50570"/>
                  </a:gdLst>
                  <a:ahLst/>
                  <a:cxnLst>
                    <a:cxn ang="0">
                      <a:pos x="connsiteX0" y="connsiteY0"/>
                    </a:cxn>
                    <a:cxn ang="0">
                      <a:pos x="connsiteX1" y="connsiteY1"/>
                    </a:cxn>
                    <a:cxn ang="0">
                      <a:pos x="connsiteX2" y="connsiteY2"/>
                    </a:cxn>
                    <a:cxn ang="0">
                      <a:pos x="connsiteX3" y="connsiteY3"/>
                    </a:cxn>
                  </a:cxnLst>
                  <a:rect l="l" t="t" r="r" b="b"/>
                  <a:pathLst>
                    <a:path w="12498" h="50570">
                      <a:moveTo>
                        <a:pt x="58" y="50570"/>
                      </a:moveTo>
                      <a:cubicBezTo>
                        <a:pt x="-316" y="42225"/>
                        <a:pt x="1179" y="35997"/>
                        <a:pt x="2798" y="32011"/>
                      </a:cubicBezTo>
                      <a:cubicBezTo>
                        <a:pt x="5289" y="25410"/>
                        <a:pt x="8154" y="23043"/>
                        <a:pt x="10396" y="16317"/>
                      </a:cubicBezTo>
                      <a:cubicBezTo>
                        <a:pt x="12638" y="9715"/>
                        <a:pt x="12638" y="3861"/>
                        <a:pt x="123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83" name="Freeform 8489">
                  <a:extLst>
                    <a:ext uri="{FF2B5EF4-FFF2-40B4-BE49-F238E27FC236}">
                      <a16:creationId xmlns:a16="http://schemas.microsoft.com/office/drawing/2014/main" id="{C29EFB9D-CD7D-9E6F-8E65-DC302CF27E3F}"/>
                    </a:ext>
                  </a:extLst>
                </p:cNvPr>
                <p:cNvSpPr/>
                <p:nvPr/>
              </p:nvSpPr>
              <p:spPr>
                <a:xfrm>
                  <a:off x="3389146" y="1548814"/>
                  <a:ext cx="26408" cy="26427"/>
                </a:xfrm>
                <a:custGeom>
                  <a:avLst/>
                  <a:gdLst>
                    <a:gd name="connsiteX0" fmla="*/ 25975 w 26408"/>
                    <a:gd name="connsiteY0" fmla="*/ 16327 h 26427"/>
                    <a:gd name="connsiteX1" fmla="*/ 9908 w 26408"/>
                    <a:gd name="connsiteY1" fmla="*/ 26043 h 26427"/>
                    <a:gd name="connsiteX2" fmla="*/ 441 w 26408"/>
                    <a:gd name="connsiteY2" fmla="*/ 10100 h 26427"/>
                    <a:gd name="connsiteX3" fmla="*/ 16509 w 26408"/>
                    <a:gd name="connsiteY3" fmla="*/ 384 h 26427"/>
                    <a:gd name="connsiteX4" fmla="*/ 25975 w 26408"/>
                    <a:gd name="connsiteY4" fmla="*/ 16327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427">
                      <a:moveTo>
                        <a:pt x="25975" y="16327"/>
                      </a:moveTo>
                      <a:cubicBezTo>
                        <a:pt x="24232" y="23427"/>
                        <a:pt x="17007" y="27787"/>
                        <a:pt x="9908" y="26043"/>
                      </a:cubicBezTo>
                      <a:cubicBezTo>
                        <a:pt x="2808" y="24299"/>
                        <a:pt x="-1427" y="17199"/>
                        <a:pt x="441" y="10100"/>
                      </a:cubicBezTo>
                      <a:cubicBezTo>
                        <a:pt x="2310" y="3000"/>
                        <a:pt x="9534" y="-1360"/>
                        <a:pt x="16509" y="384"/>
                      </a:cubicBezTo>
                      <a:cubicBezTo>
                        <a:pt x="23485" y="2128"/>
                        <a:pt x="27844" y="9228"/>
                        <a:pt x="25975" y="163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0" name="Graphic 2987">
                <a:extLst>
                  <a:ext uri="{FF2B5EF4-FFF2-40B4-BE49-F238E27FC236}">
                    <a16:creationId xmlns:a16="http://schemas.microsoft.com/office/drawing/2014/main" id="{1283C87E-54BE-8619-5CA5-43742F533FAC}"/>
                  </a:ext>
                </a:extLst>
              </p:cNvPr>
              <p:cNvGrpSpPr/>
              <p:nvPr/>
            </p:nvGrpSpPr>
            <p:grpSpPr>
              <a:xfrm>
                <a:off x="3329608" y="1541648"/>
                <a:ext cx="57383" cy="144996"/>
                <a:chOff x="3329608" y="1541648"/>
                <a:chExt cx="57383" cy="144996"/>
              </a:xfrm>
              <a:grpFill/>
            </p:grpSpPr>
            <p:sp>
              <p:nvSpPr>
                <p:cNvPr id="5772" name="Freeform 8491">
                  <a:extLst>
                    <a:ext uri="{FF2B5EF4-FFF2-40B4-BE49-F238E27FC236}">
                      <a16:creationId xmlns:a16="http://schemas.microsoft.com/office/drawing/2014/main" id="{0BC7BCF3-8727-4AF9-CC2B-8E5605308DC1}"/>
                    </a:ext>
                  </a:extLst>
                </p:cNvPr>
                <p:cNvSpPr/>
                <p:nvPr/>
              </p:nvSpPr>
              <p:spPr>
                <a:xfrm>
                  <a:off x="3348234" y="1617082"/>
                  <a:ext cx="13826" cy="50321"/>
                </a:xfrm>
                <a:custGeom>
                  <a:avLst/>
                  <a:gdLst>
                    <a:gd name="connsiteX0" fmla="*/ 0 w 13826"/>
                    <a:gd name="connsiteY0" fmla="*/ 50321 h 50321"/>
                    <a:gd name="connsiteX1" fmla="*/ 6602 w 13826"/>
                    <a:gd name="connsiteY1" fmla="*/ 32634 h 50321"/>
                    <a:gd name="connsiteX2" fmla="*/ 7598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484" y="43097"/>
                        <a:pt x="5979" y="36994"/>
                        <a:pt x="6602" y="32634"/>
                      </a:cubicBezTo>
                      <a:cubicBezTo>
                        <a:pt x="7598" y="25659"/>
                        <a:pt x="6228" y="22296"/>
                        <a:pt x="7598" y="15321"/>
                      </a:cubicBezTo>
                      <a:cubicBezTo>
                        <a:pt x="8843"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3" name="Freeform 8492">
                  <a:extLst>
                    <a:ext uri="{FF2B5EF4-FFF2-40B4-BE49-F238E27FC236}">
                      <a16:creationId xmlns:a16="http://schemas.microsoft.com/office/drawing/2014/main" id="{A42DC1AB-1BCB-82AC-A07F-A67BB116FF37}"/>
                    </a:ext>
                  </a:extLst>
                </p:cNvPr>
                <p:cNvSpPr/>
                <p:nvPr/>
              </p:nvSpPr>
              <p:spPr>
                <a:xfrm>
                  <a:off x="3339976" y="1619822"/>
                  <a:ext cx="12672" cy="50694"/>
                </a:xfrm>
                <a:custGeom>
                  <a:avLst/>
                  <a:gdLst>
                    <a:gd name="connsiteX0" fmla="*/ 12618 w 12672"/>
                    <a:gd name="connsiteY0" fmla="*/ 0 h 50694"/>
                    <a:gd name="connsiteX1" fmla="*/ 9753 w 12672"/>
                    <a:gd name="connsiteY1" fmla="*/ 18684 h 50694"/>
                    <a:gd name="connsiteX2" fmla="*/ 2155 w 12672"/>
                    <a:gd name="connsiteY2" fmla="*/ 34253 h 50694"/>
                    <a:gd name="connsiteX3" fmla="*/ 162 w 12672"/>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672" h="50694">
                      <a:moveTo>
                        <a:pt x="12618" y="0"/>
                      </a:moveTo>
                      <a:cubicBezTo>
                        <a:pt x="12991" y="8470"/>
                        <a:pt x="11372" y="14573"/>
                        <a:pt x="9753" y="18684"/>
                      </a:cubicBezTo>
                      <a:cubicBezTo>
                        <a:pt x="7262" y="25161"/>
                        <a:pt x="4397" y="27527"/>
                        <a:pt x="2155" y="34253"/>
                      </a:cubicBezTo>
                      <a:cubicBezTo>
                        <a:pt x="-87" y="40730"/>
                        <a:pt x="-212" y="46709"/>
                        <a:pt x="162"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4" name="Freeform 8493">
                  <a:extLst>
                    <a:ext uri="{FF2B5EF4-FFF2-40B4-BE49-F238E27FC236}">
                      <a16:creationId xmlns:a16="http://schemas.microsoft.com/office/drawing/2014/main" id="{8AAB71E8-528F-8A62-2F3B-E7D49245DFB9}"/>
                    </a:ext>
                  </a:extLst>
                </p:cNvPr>
                <p:cNvSpPr/>
                <p:nvPr/>
              </p:nvSpPr>
              <p:spPr>
                <a:xfrm>
                  <a:off x="3329608" y="1660050"/>
                  <a:ext cx="26657" cy="26594"/>
                </a:xfrm>
                <a:custGeom>
                  <a:avLst/>
                  <a:gdLst>
                    <a:gd name="connsiteX0" fmla="*/ 441 w 26657"/>
                    <a:gd name="connsiteY0" fmla="*/ 9720 h 26594"/>
                    <a:gd name="connsiteX1" fmla="*/ 16634 w 26657"/>
                    <a:gd name="connsiteY1" fmla="*/ 503 h 26594"/>
                    <a:gd name="connsiteX2" fmla="*/ 26225 w 26657"/>
                    <a:gd name="connsiteY2" fmla="*/ 16570 h 26594"/>
                    <a:gd name="connsiteX3" fmla="*/ 9907 w 26657"/>
                    <a:gd name="connsiteY3" fmla="*/ 26161 h 26594"/>
                    <a:gd name="connsiteX4" fmla="*/ 441 w 26657"/>
                    <a:gd name="connsiteY4" fmla="*/ 9720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94">
                      <a:moveTo>
                        <a:pt x="441" y="9720"/>
                      </a:moveTo>
                      <a:cubicBezTo>
                        <a:pt x="2310" y="2620"/>
                        <a:pt x="9534" y="-1490"/>
                        <a:pt x="16634" y="503"/>
                      </a:cubicBezTo>
                      <a:cubicBezTo>
                        <a:pt x="23734" y="2371"/>
                        <a:pt x="28093" y="9471"/>
                        <a:pt x="26225" y="16570"/>
                      </a:cubicBezTo>
                      <a:cubicBezTo>
                        <a:pt x="24356" y="23670"/>
                        <a:pt x="17132" y="28030"/>
                        <a:pt x="9907" y="26161"/>
                      </a:cubicBezTo>
                      <a:cubicBezTo>
                        <a:pt x="2808" y="24168"/>
                        <a:pt x="-1427" y="16820"/>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5" name="Freeform 8494">
                  <a:extLst>
                    <a:ext uri="{FF2B5EF4-FFF2-40B4-BE49-F238E27FC236}">
                      <a16:creationId xmlns:a16="http://schemas.microsoft.com/office/drawing/2014/main" id="{589AD1AC-2BD8-3AFC-F4D5-3CF72ED44D28}"/>
                    </a:ext>
                  </a:extLst>
                </p:cNvPr>
                <p:cNvSpPr/>
                <p:nvPr/>
              </p:nvSpPr>
              <p:spPr>
                <a:xfrm>
                  <a:off x="3354711" y="1560782"/>
                  <a:ext cx="13826" cy="50321"/>
                </a:xfrm>
                <a:custGeom>
                  <a:avLst/>
                  <a:gdLst>
                    <a:gd name="connsiteX0" fmla="*/ 13826 w 13826"/>
                    <a:gd name="connsiteY0" fmla="*/ 0 h 50321"/>
                    <a:gd name="connsiteX1" fmla="*/ 7225 w 13826"/>
                    <a:gd name="connsiteY1" fmla="*/ 17563 h 50321"/>
                    <a:gd name="connsiteX2" fmla="*/ 6228 w 13826"/>
                    <a:gd name="connsiteY2" fmla="*/ 35001 h 50321"/>
                    <a:gd name="connsiteX3" fmla="*/ 0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0"/>
                      </a:moveTo>
                      <a:cubicBezTo>
                        <a:pt x="9467" y="7100"/>
                        <a:pt x="7847" y="13203"/>
                        <a:pt x="7225" y="17563"/>
                      </a:cubicBezTo>
                      <a:cubicBezTo>
                        <a:pt x="6228" y="24538"/>
                        <a:pt x="7474" y="28025"/>
                        <a:pt x="6228" y="35001"/>
                      </a:cubicBezTo>
                      <a:cubicBezTo>
                        <a:pt x="4983" y="41851"/>
                        <a:pt x="2118"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6" name="Freeform 8495">
                  <a:extLst>
                    <a:ext uri="{FF2B5EF4-FFF2-40B4-BE49-F238E27FC236}">
                      <a16:creationId xmlns:a16="http://schemas.microsoft.com/office/drawing/2014/main" id="{BF041135-F53A-47E8-CACB-61BC9616E582}"/>
                    </a:ext>
                  </a:extLst>
                </p:cNvPr>
                <p:cNvSpPr/>
                <p:nvPr/>
              </p:nvSpPr>
              <p:spPr>
                <a:xfrm>
                  <a:off x="3363999" y="1557792"/>
                  <a:ext cx="12494" cy="50570"/>
                </a:xfrm>
                <a:custGeom>
                  <a:avLst/>
                  <a:gdLst>
                    <a:gd name="connsiteX0" fmla="*/ 54 w 12494"/>
                    <a:gd name="connsiteY0" fmla="*/ 50570 h 50570"/>
                    <a:gd name="connsiteX1" fmla="*/ 2795 w 12494"/>
                    <a:gd name="connsiteY1" fmla="*/ 32011 h 50570"/>
                    <a:gd name="connsiteX2" fmla="*/ 10393 w 12494"/>
                    <a:gd name="connsiteY2" fmla="*/ 16317 h 50570"/>
                    <a:gd name="connsiteX3" fmla="*/ 12386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54" y="50570"/>
                      </a:moveTo>
                      <a:cubicBezTo>
                        <a:pt x="-319" y="42225"/>
                        <a:pt x="1300" y="36122"/>
                        <a:pt x="2795" y="32011"/>
                      </a:cubicBezTo>
                      <a:cubicBezTo>
                        <a:pt x="5286" y="25410"/>
                        <a:pt x="8151" y="23043"/>
                        <a:pt x="10393" y="16317"/>
                      </a:cubicBezTo>
                      <a:cubicBezTo>
                        <a:pt x="12635" y="9715"/>
                        <a:pt x="12635" y="3861"/>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7" name="Freeform 8496">
                  <a:extLst>
                    <a:ext uri="{FF2B5EF4-FFF2-40B4-BE49-F238E27FC236}">
                      <a16:creationId xmlns:a16="http://schemas.microsoft.com/office/drawing/2014/main" id="{DEDBB044-A003-F694-A67B-691144464099}"/>
                    </a:ext>
                  </a:extLst>
                </p:cNvPr>
                <p:cNvSpPr/>
                <p:nvPr/>
              </p:nvSpPr>
              <p:spPr>
                <a:xfrm>
                  <a:off x="3360747" y="1541648"/>
                  <a:ext cx="26244" cy="26493"/>
                </a:xfrm>
                <a:custGeom>
                  <a:avLst/>
                  <a:gdLst>
                    <a:gd name="connsiteX0" fmla="*/ 25852 w 26244"/>
                    <a:gd name="connsiteY0" fmla="*/ 16393 h 26493"/>
                    <a:gd name="connsiteX1" fmla="*/ 9784 w 26244"/>
                    <a:gd name="connsiteY1" fmla="*/ 26109 h 26493"/>
                    <a:gd name="connsiteX2" fmla="*/ 442 w 26244"/>
                    <a:gd name="connsiteY2" fmla="*/ 9792 h 26493"/>
                    <a:gd name="connsiteX3" fmla="*/ 16510 w 26244"/>
                    <a:gd name="connsiteY3" fmla="*/ 450 h 26493"/>
                    <a:gd name="connsiteX4" fmla="*/ 25852 w 26244"/>
                    <a:gd name="connsiteY4" fmla="*/ 16393 h 2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4" h="26493">
                      <a:moveTo>
                        <a:pt x="25852" y="16393"/>
                      </a:moveTo>
                      <a:cubicBezTo>
                        <a:pt x="23983" y="23493"/>
                        <a:pt x="16759" y="27853"/>
                        <a:pt x="9784" y="26109"/>
                      </a:cubicBezTo>
                      <a:cubicBezTo>
                        <a:pt x="2808" y="24116"/>
                        <a:pt x="-1426" y="16892"/>
                        <a:pt x="442" y="9792"/>
                      </a:cubicBezTo>
                      <a:cubicBezTo>
                        <a:pt x="2310" y="2692"/>
                        <a:pt x="9534" y="-1418"/>
                        <a:pt x="16510" y="450"/>
                      </a:cubicBezTo>
                      <a:cubicBezTo>
                        <a:pt x="23360" y="2318"/>
                        <a:pt x="27595" y="9294"/>
                        <a:pt x="25852" y="163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1" name="Graphic 2987">
                <a:extLst>
                  <a:ext uri="{FF2B5EF4-FFF2-40B4-BE49-F238E27FC236}">
                    <a16:creationId xmlns:a16="http://schemas.microsoft.com/office/drawing/2014/main" id="{F3C2FBC9-0E21-70D9-4B6A-01F06AF96049}"/>
                  </a:ext>
                </a:extLst>
              </p:cNvPr>
              <p:cNvGrpSpPr/>
              <p:nvPr/>
            </p:nvGrpSpPr>
            <p:grpSpPr>
              <a:xfrm>
                <a:off x="3300702" y="1533801"/>
                <a:ext cx="57814" cy="144941"/>
                <a:chOff x="3300702" y="1533801"/>
                <a:chExt cx="57814" cy="144941"/>
              </a:xfrm>
              <a:grpFill/>
            </p:grpSpPr>
            <p:sp>
              <p:nvSpPr>
                <p:cNvPr id="5766" name="Freeform 8498">
                  <a:extLst>
                    <a:ext uri="{FF2B5EF4-FFF2-40B4-BE49-F238E27FC236}">
                      <a16:creationId xmlns:a16="http://schemas.microsoft.com/office/drawing/2014/main" id="{686E32D2-5745-1740-86EF-BFAC13EEA547}"/>
                    </a:ext>
                  </a:extLst>
                </p:cNvPr>
                <p:cNvSpPr/>
                <p:nvPr/>
              </p:nvSpPr>
              <p:spPr>
                <a:xfrm>
                  <a:off x="3319462" y="1609359"/>
                  <a:ext cx="13950" cy="50196"/>
                </a:xfrm>
                <a:custGeom>
                  <a:avLst/>
                  <a:gdLst>
                    <a:gd name="connsiteX0" fmla="*/ 0 w 13950"/>
                    <a:gd name="connsiteY0" fmla="*/ 50197 h 50196"/>
                    <a:gd name="connsiteX1" fmla="*/ 6726 w 13950"/>
                    <a:gd name="connsiteY1" fmla="*/ 32634 h 50196"/>
                    <a:gd name="connsiteX2" fmla="*/ 7723 w 13950"/>
                    <a:gd name="connsiteY2" fmla="*/ 15196 h 50196"/>
                    <a:gd name="connsiteX3" fmla="*/ 13950 w 13950"/>
                    <a:gd name="connsiteY3" fmla="*/ 0 h 50196"/>
                  </a:gdLst>
                  <a:ahLst/>
                  <a:cxnLst>
                    <a:cxn ang="0">
                      <a:pos x="connsiteX0" y="connsiteY0"/>
                    </a:cxn>
                    <a:cxn ang="0">
                      <a:pos x="connsiteX1" y="connsiteY1"/>
                    </a:cxn>
                    <a:cxn ang="0">
                      <a:pos x="connsiteX2" y="connsiteY2"/>
                    </a:cxn>
                    <a:cxn ang="0">
                      <a:pos x="connsiteX3" y="connsiteY3"/>
                    </a:cxn>
                  </a:cxnLst>
                  <a:rect l="l" t="t" r="r" b="b"/>
                  <a:pathLst>
                    <a:path w="13950" h="50196">
                      <a:moveTo>
                        <a:pt x="0" y="50197"/>
                      </a:moveTo>
                      <a:cubicBezTo>
                        <a:pt x="4484" y="43097"/>
                        <a:pt x="6103" y="36994"/>
                        <a:pt x="6726" y="32634"/>
                      </a:cubicBezTo>
                      <a:cubicBezTo>
                        <a:pt x="7723" y="25659"/>
                        <a:pt x="6477" y="22171"/>
                        <a:pt x="7723" y="15196"/>
                      </a:cubicBezTo>
                      <a:cubicBezTo>
                        <a:pt x="8968" y="8345"/>
                        <a:pt x="11833" y="3239"/>
                        <a:pt x="139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7" name="Freeform 8499">
                  <a:extLst>
                    <a:ext uri="{FF2B5EF4-FFF2-40B4-BE49-F238E27FC236}">
                      <a16:creationId xmlns:a16="http://schemas.microsoft.com/office/drawing/2014/main" id="{68DE7A61-714F-62B4-9002-14EDCE334BAB}"/>
                    </a:ext>
                  </a:extLst>
                </p:cNvPr>
                <p:cNvSpPr/>
                <p:nvPr/>
              </p:nvSpPr>
              <p:spPr>
                <a:xfrm>
                  <a:off x="3311149" y="1611975"/>
                  <a:ext cx="12850" cy="50570"/>
                </a:xfrm>
                <a:custGeom>
                  <a:avLst/>
                  <a:gdLst>
                    <a:gd name="connsiteX0" fmla="*/ 12796 w 12850"/>
                    <a:gd name="connsiteY0" fmla="*/ 0 h 50570"/>
                    <a:gd name="connsiteX1" fmla="*/ 9932 w 12850"/>
                    <a:gd name="connsiteY1" fmla="*/ 18559 h 50570"/>
                    <a:gd name="connsiteX2" fmla="*/ 2209 w 12850"/>
                    <a:gd name="connsiteY2" fmla="*/ 34129 h 50570"/>
                    <a:gd name="connsiteX3" fmla="*/ 92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12796" y="0"/>
                      </a:moveTo>
                      <a:cubicBezTo>
                        <a:pt x="13170" y="8470"/>
                        <a:pt x="11551" y="14573"/>
                        <a:pt x="9932" y="18559"/>
                      </a:cubicBezTo>
                      <a:cubicBezTo>
                        <a:pt x="7440" y="25036"/>
                        <a:pt x="4576" y="27403"/>
                        <a:pt x="2209" y="34129"/>
                      </a:cubicBezTo>
                      <a:cubicBezTo>
                        <a:pt x="-33" y="40606"/>
                        <a:pt x="-157"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8" name="Freeform 8500">
                  <a:extLst>
                    <a:ext uri="{FF2B5EF4-FFF2-40B4-BE49-F238E27FC236}">
                      <a16:creationId xmlns:a16="http://schemas.microsoft.com/office/drawing/2014/main" id="{69E0268D-8C24-DCD5-7F6D-D187821B74EB}"/>
                    </a:ext>
                  </a:extLst>
                </p:cNvPr>
                <p:cNvSpPr/>
                <p:nvPr/>
              </p:nvSpPr>
              <p:spPr>
                <a:xfrm>
                  <a:off x="3300702" y="1652203"/>
                  <a:ext cx="26674" cy="26539"/>
                </a:xfrm>
                <a:custGeom>
                  <a:avLst/>
                  <a:gdLst>
                    <a:gd name="connsiteX0" fmla="*/ 449 w 26674"/>
                    <a:gd name="connsiteY0" fmla="*/ 9720 h 26539"/>
                    <a:gd name="connsiteX1" fmla="*/ 16766 w 26674"/>
                    <a:gd name="connsiteY1" fmla="*/ 503 h 26539"/>
                    <a:gd name="connsiteX2" fmla="*/ 26233 w 26674"/>
                    <a:gd name="connsiteY2" fmla="*/ 16820 h 26539"/>
                    <a:gd name="connsiteX3" fmla="*/ 9916 w 26674"/>
                    <a:gd name="connsiteY3" fmla="*/ 26037 h 26539"/>
                    <a:gd name="connsiteX4" fmla="*/ 449 w 26674"/>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38">
                      <a:moveTo>
                        <a:pt x="449" y="9720"/>
                      </a:moveTo>
                      <a:cubicBezTo>
                        <a:pt x="2318" y="2620"/>
                        <a:pt x="9667" y="-1490"/>
                        <a:pt x="16766" y="503"/>
                      </a:cubicBezTo>
                      <a:cubicBezTo>
                        <a:pt x="23866" y="2495"/>
                        <a:pt x="28101" y="9844"/>
                        <a:pt x="26233" y="16820"/>
                      </a:cubicBezTo>
                      <a:cubicBezTo>
                        <a:pt x="24365" y="23919"/>
                        <a:pt x="17140" y="28030"/>
                        <a:pt x="9916" y="26037"/>
                      </a:cubicBezTo>
                      <a:cubicBezTo>
                        <a:pt x="2691" y="24044"/>
                        <a:pt x="-1419" y="16695"/>
                        <a:pt x="44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9" name="Freeform 8501">
                  <a:extLst>
                    <a:ext uri="{FF2B5EF4-FFF2-40B4-BE49-F238E27FC236}">
                      <a16:creationId xmlns:a16="http://schemas.microsoft.com/office/drawing/2014/main" id="{12B4CF13-05CC-AE84-2D64-36A60550D403}"/>
                    </a:ext>
                  </a:extLst>
                </p:cNvPr>
                <p:cNvSpPr/>
                <p:nvPr/>
              </p:nvSpPr>
              <p:spPr>
                <a:xfrm>
                  <a:off x="3326063" y="1552935"/>
                  <a:ext cx="14075" cy="50196"/>
                </a:xfrm>
                <a:custGeom>
                  <a:avLst/>
                  <a:gdLst>
                    <a:gd name="connsiteX0" fmla="*/ 14075 w 14075"/>
                    <a:gd name="connsiteY0" fmla="*/ 0 h 50196"/>
                    <a:gd name="connsiteX1" fmla="*/ 7349 w 14075"/>
                    <a:gd name="connsiteY1" fmla="*/ 17563 h 50196"/>
                    <a:gd name="connsiteX2" fmla="*/ 6228 w 14075"/>
                    <a:gd name="connsiteY2" fmla="*/ 35001 h 50196"/>
                    <a:gd name="connsiteX3" fmla="*/ 0 w 1407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75" h="50196">
                      <a:moveTo>
                        <a:pt x="14075" y="0"/>
                      </a:moveTo>
                      <a:cubicBezTo>
                        <a:pt x="9591" y="7100"/>
                        <a:pt x="7972" y="13203"/>
                        <a:pt x="7349" y="17563"/>
                      </a:cubicBezTo>
                      <a:cubicBezTo>
                        <a:pt x="6353" y="24538"/>
                        <a:pt x="7598" y="28025"/>
                        <a:pt x="6228" y="35001"/>
                      </a:cubicBezTo>
                      <a:cubicBezTo>
                        <a:pt x="4982" y="41851"/>
                        <a:pt x="2118"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0" name="Freeform 8502">
                  <a:extLst>
                    <a:ext uri="{FF2B5EF4-FFF2-40B4-BE49-F238E27FC236}">
                      <a16:creationId xmlns:a16="http://schemas.microsoft.com/office/drawing/2014/main" id="{65F048DD-2B80-5834-47CA-5B437777E1B4}"/>
                    </a:ext>
                  </a:extLst>
                </p:cNvPr>
                <p:cNvSpPr/>
                <p:nvPr/>
              </p:nvSpPr>
              <p:spPr>
                <a:xfrm>
                  <a:off x="3335475" y="1549945"/>
                  <a:ext cx="12726" cy="50570"/>
                </a:xfrm>
                <a:custGeom>
                  <a:avLst/>
                  <a:gdLst>
                    <a:gd name="connsiteX0" fmla="*/ 54 w 12726"/>
                    <a:gd name="connsiteY0" fmla="*/ 50570 h 50570"/>
                    <a:gd name="connsiteX1" fmla="*/ 2919 w 12726"/>
                    <a:gd name="connsiteY1" fmla="*/ 32011 h 50570"/>
                    <a:gd name="connsiteX2" fmla="*/ 10517 w 12726"/>
                    <a:gd name="connsiteY2" fmla="*/ 16442 h 50570"/>
                    <a:gd name="connsiteX3" fmla="*/ 12634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54" y="50570"/>
                      </a:moveTo>
                      <a:cubicBezTo>
                        <a:pt x="-319" y="42101"/>
                        <a:pt x="1300" y="35997"/>
                        <a:pt x="2919" y="32011"/>
                      </a:cubicBezTo>
                      <a:cubicBezTo>
                        <a:pt x="5410" y="25534"/>
                        <a:pt x="8275" y="23168"/>
                        <a:pt x="10517" y="16442"/>
                      </a:cubicBezTo>
                      <a:cubicBezTo>
                        <a:pt x="12759" y="9965"/>
                        <a:pt x="12884" y="3986"/>
                        <a:pt x="126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71" name="Freeform 8503">
                  <a:extLst>
                    <a:ext uri="{FF2B5EF4-FFF2-40B4-BE49-F238E27FC236}">
                      <a16:creationId xmlns:a16="http://schemas.microsoft.com/office/drawing/2014/main" id="{CBB763DD-4128-C767-8E36-6ABA4C8A846D}"/>
                    </a:ext>
                  </a:extLst>
                </p:cNvPr>
                <p:cNvSpPr/>
                <p:nvPr/>
              </p:nvSpPr>
              <p:spPr>
                <a:xfrm>
                  <a:off x="3332223" y="1533801"/>
                  <a:ext cx="26293" cy="26558"/>
                </a:xfrm>
                <a:custGeom>
                  <a:avLst/>
                  <a:gdLst>
                    <a:gd name="connsiteX0" fmla="*/ 25852 w 26293"/>
                    <a:gd name="connsiteY0" fmla="*/ 16767 h 26558"/>
                    <a:gd name="connsiteX1" fmla="*/ 9784 w 26293"/>
                    <a:gd name="connsiteY1" fmla="*/ 26109 h 26558"/>
                    <a:gd name="connsiteX2" fmla="*/ 442 w 26293"/>
                    <a:gd name="connsiteY2" fmla="*/ 9792 h 26558"/>
                    <a:gd name="connsiteX3" fmla="*/ 16510 w 26293"/>
                    <a:gd name="connsiteY3" fmla="*/ 450 h 26558"/>
                    <a:gd name="connsiteX4" fmla="*/ 25852 w 26293"/>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58">
                      <a:moveTo>
                        <a:pt x="25852" y="16767"/>
                      </a:moveTo>
                      <a:cubicBezTo>
                        <a:pt x="23983" y="23867"/>
                        <a:pt x="16759" y="27977"/>
                        <a:pt x="9784" y="26109"/>
                      </a:cubicBezTo>
                      <a:cubicBezTo>
                        <a:pt x="2808" y="24241"/>
                        <a:pt x="-1426" y="16892"/>
                        <a:pt x="442" y="9792"/>
                      </a:cubicBezTo>
                      <a:cubicBezTo>
                        <a:pt x="2310" y="2692"/>
                        <a:pt x="9535" y="-1418"/>
                        <a:pt x="16510" y="450"/>
                      </a:cubicBezTo>
                      <a:cubicBezTo>
                        <a:pt x="23485" y="2318"/>
                        <a:pt x="27720" y="9667"/>
                        <a:pt x="25852"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2" name="Graphic 2987">
                <a:extLst>
                  <a:ext uri="{FF2B5EF4-FFF2-40B4-BE49-F238E27FC236}">
                    <a16:creationId xmlns:a16="http://schemas.microsoft.com/office/drawing/2014/main" id="{5DBA8088-820A-BEEE-38CA-83012888AE97}"/>
                  </a:ext>
                </a:extLst>
              </p:cNvPr>
              <p:cNvGrpSpPr/>
              <p:nvPr/>
            </p:nvGrpSpPr>
            <p:grpSpPr>
              <a:xfrm>
                <a:off x="3271937" y="1525954"/>
                <a:ext cx="58231" cy="144816"/>
                <a:chOff x="3271937" y="1525954"/>
                <a:chExt cx="58231" cy="144816"/>
              </a:xfrm>
              <a:grpFill/>
            </p:grpSpPr>
            <p:sp>
              <p:nvSpPr>
                <p:cNvPr id="5760" name="Freeform 8505">
                  <a:extLst>
                    <a:ext uri="{FF2B5EF4-FFF2-40B4-BE49-F238E27FC236}">
                      <a16:creationId xmlns:a16="http://schemas.microsoft.com/office/drawing/2014/main" id="{0D5D945D-063E-9EDF-FCC4-3B6E78D6FCB8}"/>
                    </a:ext>
                  </a:extLst>
                </p:cNvPr>
                <p:cNvSpPr/>
                <p:nvPr/>
              </p:nvSpPr>
              <p:spPr>
                <a:xfrm>
                  <a:off x="3290689" y="1601387"/>
                  <a:ext cx="14199" cy="50196"/>
                </a:xfrm>
                <a:custGeom>
                  <a:avLst/>
                  <a:gdLst>
                    <a:gd name="connsiteX0" fmla="*/ 0 w 14199"/>
                    <a:gd name="connsiteY0" fmla="*/ 50197 h 50196"/>
                    <a:gd name="connsiteX1" fmla="*/ 6726 w 14199"/>
                    <a:gd name="connsiteY1" fmla="*/ 32634 h 50196"/>
                    <a:gd name="connsiteX2" fmla="*/ 7847 w 14199"/>
                    <a:gd name="connsiteY2" fmla="*/ 15196 h 50196"/>
                    <a:gd name="connsiteX3" fmla="*/ 14199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994"/>
                        <a:pt x="6726" y="32634"/>
                      </a:cubicBezTo>
                      <a:cubicBezTo>
                        <a:pt x="7723" y="25659"/>
                        <a:pt x="6477" y="22171"/>
                        <a:pt x="7847" y="15196"/>
                      </a:cubicBezTo>
                      <a:cubicBezTo>
                        <a:pt x="9217" y="8470"/>
                        <a:pt x="11957" y="3239"/>
                        <a:pt x="141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1" name="Freeform 8506">
                  <a:extLst>
                    <a:ext uri="{FF2B5EF4-FFF2-40B4-BE49-F238E27FC236}">
                      <a16:creationId xmlns:a16="http://schemas.microsoft.com/office/drawing/2014/main" id="{FD343C51-12AD-B861-2072-9E2DCB730A23}"/>
                    </a:ext>
                  </a:extLst>
                </p:cNvPr>
                <p:cNvSpPr/>
                <p:nvPr/>
              </p:nvSpPr>
              <p:spPr>
                <a:xfrm>
                  <a:off x="3282501" y="1604003"/>
                  <a:ext cx="12946" cy="50570"/>
                </a:xfrm>
                <a:custGeom>
                  <a:avLst/>
                  <a:gdLst>
                    <a:gd name="connsiteX0" fmla="*/ 12921 w 12946"/>
                    <a:gd name="connsiteY0" fmla="*/ 0 h 50570"/>
                    <a:gd name="connsiteX1" fmla="*/ 9931 w 12946"/>
                    <a:gd name="connsiteY1" fmla="*/ 18559 h 50570"/>
                    <a:gd name="connsiteX2" fmla="*/ 2209 w 12946"/>
                    <a:gd name="connsiteY2" fmla="*/ 34129 h 50570"/>
                    <a:gd name="connsiteX3" fmla="*/ 92 w 1294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945" h="50570">
                      <a:moveTo>
                        <a:pt x="12921" y="0"/>
                      </a:moveTo>
                      <a:cubicBezTo>
                        <a:pt x="13170" y="8470"/>
                        <a:pt x="11551" y="14573"/>
                        <a:pt x="9931" y="18559"/>
                      </a:cubicBezTo>
                      <a:cubicBezTo>
                        <a:pt x="7316" y="25036"/>
                        <a:pt x="4576" y="27403"/>
                        <a:pt x="2209" y="34129"/>
                      </a:cubicBezTo>
                      <a:cubicBezTo>
                        <a:pt x="-33" y="40606"/>
                        <a:pt x="-158" y="46585"/>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2" name="Freeform 8507">
                  <a:extLst>
                    <a:ext uri="{FF2B5EF4-FFF2-40B4-BE49-F238E27FC236}">
                      <a16:creationId xmlns:a16="http://schemas.microsoft.com/office/drawing/2014/main" id="{77A7AEB2-2409-87A6-1B9C-AF8EB04C3299}"/>
                    </a:ext>
                  </a:extLst>
                </p:cNvPr>
                <p:cNvSpPr/>
                <p:nvPr/>
              </p:nvSpPr>
              <p:spPr>
                <a:xfrm>
                  <a:off x="3271937" y="1644231"/>
                  <a:ext cx="26666" cy="26539"/>
                </a:xfrm>
                <a:custGeom>
                  <a:avLst/>
                  <a:gdLst>
                    <a:gd name="connsiteX0" fmla="*/ 441 w 26666"/>
                    <a:gd name="connsiteY0" fmla="*/ 9720 h 26539"/>
                    <a:gd name="connsiteX1" fmla="*/ 16758 w 26666"/>
                    <a:gd name="connsiteY1" fmla="*/ 503 h 26539"/>
                    <a:gd name="connsiteX2" fmla="*/ 26225 w 26666"/>
                    <a:gd name="connsiteY2" fmla="*/ 16820 h 26539"/>
                    <a:gd name="connsiteX3" fmla="*/ 9908 w 26666"/>
                    <a:gd name="connsiteY3" fmla="*/ 26037 h 26539"/>
                    <a:gd name="connsiteX4" fmla="*/ 441 w 2666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38">
                      <a:moveTo>
                        <a:pt x="441" y="9720"/>
                      </a:moveTo>
                      <a:cubicBezTo>
                        <a:pt x="2310" y="2620"/>
                        <a:pt x="9658" y="-1490"/>
                        <a:pt x="16758" y="503"/>
                      </a:cubicBezTo>
                      <a:cubicBezTo>
                        <a:pt x="23858" y="2495"/>
                        <a:pt x="28093" y="9844"/>
                        <a:pt x="26225" y="16820"/>
                      </a:cubicBezTo>
                      <a:cubicBezTo>
                        <a:pt x="24357" y="23919"/>
                        <a:pt x="17007" y="28030"/>
                        <a:pt x="9908" y="26037"/>
                      </a:cubicBezTo>
                      <a:cubicBezTo>
                        <a:pt x="2808" y="24044"/>
                        <a:pt x="-1427" y="16695"/>
                        <a:pt x="44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3" name="Freeform 8508">
                  <a:extLst>
                    <a:ext uri="{FF2B5EF4-FFF2-40B4-BE49-F238E27FC236}">
                      <a16:creationId xmlns:a16="http://schemas.microsoft.com/office/drawing/2014/main" id="{C8021AF8-A29B-A030-D49F-B7B485E54EED}"/>
                    </a:ext>
                  </a:extLst>
                </p:cNvPr>
                <p:cNvSpPr/>
                <p:nvPr/>
              </p:nvSpPr>
              <p:spPr>
                <a:xfrm>
                  <a:off x="3297539" y="1545087"/>
                  <a:ext cx="14199" cy="50196"/>
                </a:xfrm>
                <a:custGeom>
                  <a:avLst/>
                  <a:gdLst>
                    <a:gd name="connsiteX0" fmla="*/ 14200 w 14199"/>
                    <a:gd name="connsiteY0" fmla="*/ 0 h 50196"/>
                    <a:gd name="connsiteX1" fmla="*/ 7474 w 14199"/>
                    <a:gd name="connsiteY1" fmla="*/ 17563 h 50196"/>
                    <a:gd name="connsiteX2" fmla="*/ 6353 w 14199"/>
                    <a:gd name="connsiteY2" fmla="*/ 35001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5" y="7100"/>
                        <a:pt x="8097" y="13203"/>
                        <a:pt x="7474" y="17563"/>
                      </a:cubicBezTo>
                      <a:cubicBezTo>
                        <a:pt x="6353" y="24538"/>
                        <a:pt x="7723" y="28025"/>
                        <a:pt x="6353" y="35001"/>
                      </a:cubicBezTo>
                      <a:cubicBezTo>
                        <a:pt x="4983" y="41727"/>
                        <a:pt x="2242"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4" name="Freeform 8509">
                  <a:extLst>
                    <a:ext uri="{FF2B5EF4-FFF2-40B4-BE49-F238E27FC236}">
                      <a16:creationId xmlns:a16="http://schemas.microsoft.com/office/drawing/2014/main" id="{294BFFAB-1AD8-F4CF-CE37-B509921F36D1}"/>
                    </a:ext>
                  </a:extLst>
                </p:cNvPr>
                <p:cNvSpPr/>
                <p:nvPr/>
              </p:nvSpPr>
              <p:spPr>
                <a:xfrm>
                  <a:off x="3306856" y="1542223"/>
                  <a:ext cx="12946" cy="50445"/>
                </a:xfrm>
                <a:custGeom>
                  <a:avLst/>
                  <a:gdLst>
                    <a:gd name="connsiteX0" fmla="*/ 25 w 12946"/>
                    <a:gd name="connsiteY0" fmla="*/ 50446 h 50445"/>
                    <a:gd name="connsiteX1" fmla="*/ 3015 w 12946"/>
                    <a:gd name="connsiteY1" fmla="*/ 31887 h 50445"/>
                    <a:gd name="connsiteX2" fmla="*/ 10738 w 12946"/>
                    <a:gd name="connsiteY2" fmla="*/ 16317 h 50445"/>
                    <a:gd name="connsiteX3" fmla="*/ 12855 w 12946"/>
                    <a:gd name="connsiteY3" fmla="*/ 0 h 50445"/>
                  </a:gdLst>
                  <a:ahLst/>
                  <a:cxnLst>
                    <a:cxn ang="0">
                      <a:pos x="connsiteX0" y="connsiteY0"/>
                    </a:cxn>
                    <a:cxn ang="0">
                      <a:pos x="connsiteX1" y="connsiteY1"/>
                    </a:cxn>
                    <a:cxn ang="0">
                      <a:pos x="connsiteX2" y="connsiteY2"/>
                    </a:cxn>
                    <a:cxn ang="0">
                      <a:pos x="connsiteX3" y="connsiteY3"/>
                    </a:cxn>
                  </a:cxnLst>
                  <a:rect l="l" t="t" r="r" b="b"/>
                  <a:pathLst>
                    <a:path w="12945" h="50445">
                      <a:moveTo>
                        <a:pt x="25" y="50446"/>
                      </a:moveTo>
                      <a:cubicBezTo>
                        <a:pt x="-224" y="41976"/>
                        <a:pt x="1396" y="35873"/>
                        <a:pt x="3015" y="31887"/>
                      </a:cubicBezTo>
                      <a:cubicBezTo>
                        <a:pt x="5506" y="25410"/>
                        <a:pt x="8371" y="23043"/>
                        <a:pt x="10738" y="16317"/>
                      </a:cubicBezTo>
                      <a:cubicBezTo>
                        <a:pt x="12980" y="9840"/>
                        <a:pt x="13104" y="3861"/>
                        <a:pt x="128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65" name="Freeform 8510">
                  <a:extLst>
                    <a:ext uri="{FF2B5EF4-FFF2-40B4-BE49-F238E27FC236}">
                      <a16:creationId xmlns:a16="http://schemas.microsoft.com/office/drawing/2014/main" id="{F6621C1C-2A13-6147-8C91-69DE1EF92983}"/>
                    </a:ext>
                  </a:extLst>
                </p:cNvPr>
                <p:cNvSpPr/>
                <p:nvPr/>
              </p:nvSpPr>
              <p:spPr>
                <a:xfrm>
                  <a:off x="3303897" y="1525954"/>
                  <a:ext cx="26272" cy="26558"/>
                </a:xfrm>
                <a:custGeom>
                  <a:avLst/>
                  <a:gdLst>
                    <a:gd name="connsiteX0" fmla="*/ 25779 w 26272"/>
                    <a:gd name="connsiteY0" fmla="*/ 16767 h 26558"/>
                    <a:gd name="connsiteX1" fmla="*/ 9711 w 26272"/>
                    <a:gd name="connsiteY1" fmla="*/ 26109 h 26558"/>
                    <a:gd name="connsiteX2" fmla="*/ 494 w 26272"/>
                    <a:gd name="connsiteY2" fmla="*/ 9792 h 26558"/>
                    <a:gd name="connsiteX3" fmla="*/ 16561 w 26272"/>
                    <a:gd name="connsiteY3" fmla="*/ 450 h 26558"/>
                    <a:gd name="connsiteX4" fmla="*/ 25779 w 26272"/>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558">
                      <a:moveTo>
                        <a:pt x="25779" y="16767"/>
                      </a:moveTo>
                      <a:cubicBezTo>
                        <a:pt x="23911" y="23867"/>
                        <a:pt x="16686" y="27977"/>
                        <a:pt x="9711" y="26109"/>
                      </a:cubicBezTo>
                      <a:cubicBezTo>
                        <a:pt x="2736" y="24116"/>
                        <a:pt x="-1499" y="16892"/>
                        <a:pt x="494" y="9792"/>
                      </a:cubicBezTo>
                      <a:cubicBezTo>
                        <a:pt x="2362" y="2692"/>
                        <a:pt x="9586" y="-1418"/>
                        <a:pt x="16561" y="450"/>
                      </a:cubicBezTo>
                      <a:cubicBezTo>
                        <a:pt x="23537" y="2318"/>
                        <a:pt x="27772" y="9792"/>
                        <a:pt x="25779"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3" name="Graphic 2987">
                <a:extLst>
                  <a:ext uri="{FF2B5EF4-FFF2-40B4-BE49-F238E27FC236}">
                    <a16:creationId xmlns:a16="http://schemas.microsoft.com/office/drawing/2014/main" id="{A9592EF3-D41E-4CFD-647D-F6D06C047A90}"/>
                  </a:ext>
                </a:extLst>
              </p:cNvPr>
              <p:cNvGrpSpPr/>
              <p:nvPr/>
            </p:nvGrpSpPr>
            <p:grpSpPr>
              <a:xfrm>
                <a:off x="3243114" y="1518107"/>
                <a:ext cx="58737" cy="144692"/>
                <a:chOff x="3243114" y="1518107"/>
                <a:chExt cx="58737" cy="144692"/>
              </a:xfrm>
              <a:grpFill/>
            </p:grpSpPr>
            <p:sp>
              <p:nvSpPr>
                <p:cNvPr id="5754" name="Freeform 8512">
                  <a:extLst>
                    <a:ext uri="{FF2B5EF4-FFF2-40B4-BE49-F238E27FC236}">
                      <a16:creationId xmlns:a16="http://schemas.microsoft.com/office/drawing/2014/main" id="{C14FA404-269E-DC6E-DF36-A278E4C25FC1}"/>
                    </a:ext>
                  </a:extLst>
                </p:cNvPr>
                <p:cNvSpPr/>
                <p:nvPr/>
              </p:nvSpPr>
              <p:spPr>
                <a:xfrm>
                  <a:off x="3261916" y="1593416"/>
                  <a:ext cx="14324" cy="50196"/>
                </a:xfrm>
                <a:custGeom>
                  <a:avLst/>
                  <a:gdLst>
                    <a:gd name="connsiteX0" fmla="*/ 0 w 14324"/>
                    <a:gd name="connsiteY0" fmla="*/ 50197 h 50196"/>
                    <a:gd name="connsiteX1" fmla="*/ 6851 w 14324"/>
                    <a:gd name="connsiteY1" fmla="*/ 32634 h 50196"/>
                    <a:gd name="connsiteX2" fmla="*/ 7971 w 14324"/>
                    <a:gd name="connsiteY2" fmla="*/ 15196 h 50196"/>
                    <a:gd name="connsiteX3" fmla="*/ 14324 w 14324"/>
                    <a:gd name="connsiteY3" fmla="*/ 0 h 50196"/>
                  </a:gdLst>
                  <a:ahLst/>
                  <a:cxnLst>
                    <a:cxn ang="0">
                      <a:pos x="connsiteX0" y="connsiteY0"/>
                    </a:cxn>
                    <a:cxn ang="0">
                      <a:pos x="connsiteX1" y="connsiteY1"/>
                    </a:cxn>
                    <a:cxn ang="0">
                      <a:pos x="connsiteX2" y="connsiteY2"/>
                    </a:cxn>
                    <a:cxn ang="0">
                      <a:pos x="connsiteX3" y="connsiteY3"/>
                    </a:cxn>
                  </a:cxnLst>
                  <a:rect l="l" t="t" r="r" b="b"/>
                  <a:pathLst>
                    <a:path w="14324" h="50196">
                      <a:moveTo>
                        <a:pt x="0" y="50197"/>
                      </a:moveTo>
                      <a:cubicBezTo>
                        <a:pt x="4484" y="43097"/>
                        <a:pt x="6103" y="36994"/>
                        <a:pt x="6851" y="32634"/>
                      </a:cubicBezTo>
                      <a:cubicBezTo>
                        <a:pt x="7971" y="25659"/>
                        <a:pt x="6602" y="22171"/>
                        <a:pt x="7971" y="15196"/>
                      </a:cubicBezTo>
                      <a:cubicBezTo>
                        <a:pt x="9342" y="8470"/>
                        <a:pt x="12206" y="3239"/>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5" name="Freeform 8513">
                  <a:extLst>
                    <a:ext uri="{FF2B5EF4-FFF2-40B4-BE49-F238E27FC236}">
                      <a16:creationId xmlns:a16="http://schemas.microsoft.com/office/drawing/2014/main" id="{8D5F387C-0D93-7506-DBE1-579BD18855DC}"/>
                    </a:ext>
                  </a:extLst>
                </p:cNvPr>
                <p:cNvSpPr/>
                <p:nvPr/>
              </p:nvSpPr>
              <p:spPr>
                <a:xfrm>
                  <a:off x="3253617" y="1596156"/>
                  <a:ext cx="13181" cy="50445"/>
                </a:xfrm>
                <a:custGeom>
                  <a:avLst/>
                  <a:gdLst>
                    <a:gd name="connsiteX0" fmla="*/ 13156 w 13181"/>
                    <a:gd name="connsiteY0" fmla="*/ 0 h 50445"/>
                    <a:gd name="connsiteX1" fmla="*/ 10167 w 13181"/>
                    <a:gd name="connsiteY1" fmla="*/ 18559 h 50445"/>
                    <a:gd name="connsiteX2" fmla="*/ 2320 w 13181"/>
                    <a:gd name="connsiteY2" fmla="*/ 34129 h 50445"/>
                    <a:gd name="connsiteX3" fmla="*/ 78 w 13181"/>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181" h="50445">
                      <a:moveTo>
                        <a:pt x="13156" y="0"/>
                      </a:moveTo>
                      <a:cubicBezTo>
                        <a:pt x="13406" y="8470"/>
                        <a:pt x="11786" y="14573"/>
                        <a:pt x="10167" y="18559"/>
                      </a:cubicBezTo>
                      <a:cubicBezTo>
                        <a:pt x="7551" y="25036"/>
                        <a:pt x="4686" y="27403"/>
                        <a:pt x="2320" y="34129"/>
                      </a:cubicBezTo>
                      <a:cubicBezTo>
                        <a:pt x="78" y="40606"/>
                        <a:pt x="-171" y="46585"/>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6" name="Freeform 8514">
                  <a:extLst>
                    <a:ext uri="{FF2B5EF4-FFF2-40B4-BE49-F238E27FC236}">
                      <a16:creationId xmlns:a16="http://schemas.microsoft.com/office/drawing/2014/main" id="{5FD8F3E7-7CA8-F55C-1CFD-2AB88284B7A6}"/>
                    </a:ext>
                  </a:extLst>
                </p:cNvPr>
                <p:cNvSpPr/>
                <p:nvPr/>
              </p:nvSpPr>
              <p:spPr>
                <a:xfrm>
                  <a:off x="3243114" y="1636259"/>
                  <a:ext cx="26841" cy="26539"/>
                </a:xfrm>
                <a:custGeom>
                  <a:avLst/>
                  <a:gdLst>
                    <a:gd name="connsiteX0" fmla="*/ 492 w 26841"/>
                    <a:gd name="connsiteY0" fmla="*/ 9720 h 26539"/>
                    <a:gd name="connsiteX1" fmla="*/ 16934 w 26841"/>
                    <a:gd name="connsiteY1" fmla="*/ 503 h 26539"/>
                    <a:gd name="connsiteX2" fmla="*/ 26400 w 26841"/>
                    <a:gd name="connsiteY2" fmla="*/ 16820 h 26539"/>
                    <a:gd name="connsiteX3" fmla="*/ 9959 w 26841"/>
                    <a:gd name="connsiteY3" fmla="*/ 26037 h 26539"/>
                    <a:gd name="connsiteX4" fmla="*/ 492 w 2684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38">
                      <a:moveTo>
                        <a:pt x="492" y="9720"/>
                      </a:moveTo>
                      <a:cubicBezTo>
                        <a:pt x="2485" y="2620"/>
                        <a:pt x="9710" y="-1490"/>
                        <a:pt x="16934" y="503"/>
                      </a:cubicBezTo>
                      <a:cubicBezTo>
                        <a:pt x="24034" y="2495"/>
                        <a:pt x="28269" y="9844"/>
                        <a:pt x="26400" y="16820"/>
                      </a:cubicBezTo>
                      <a:cubicBezTo>
                        <a:pt x="24532" y="23919"/>
                        <a:pt x="17183" y="28030"/>
                        <a:pt x="9959" y="26037"/>
                      </a:cubicBezTo>
                      <a:cubicBezTo>
                        <a:pt x="2734" y="24044"/>
                        <a:pt x="-1500" y="16695"/>
                        <a:pt x="492"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7" name="Freeform 8515">
                  <a:extLst>
                    <a:ext uri="{FF2B5EF4-FFF2-40B4-BE49-F238E27FC236}">
                      <a16:creationId xmlns:a16="http://schemas.microsoft.com/office/drawing/2014/main" id="{75A6D9CF-D83A-8FAD-C1D5-4E9798B590B2}"/>
                    </a:ext>
                  </a:extLst>
                </p:cNvPr>
                <p:cNvSpPr/>
                <p:nvPr/>
              </p:nvSpPr>
              <p:spPr>
                <a:xfrm>
                  <a:off x="3268891" y="1537240"/>
                  <a:ext cx="14448" cy="50196"/>
                </a:xfrm>
                <a:custGeom>
                  <a:avLst/>
                  <a:gdLst>
                    <a:gd name="connsiteX0" fmla="*/ 14449 w 14448"/>
                    <a:gd name="connsiteY0" fmla="*/ 0 h 50196"/>
                    <a:gd name="connsiteX1" fmla="*/ 7598 w 14448"/>
                    <a:gd name="connsiteY1" fmla="*/ 17563 h 50196"/>
                    <a:gd name="connsiteX2" fmla="*/ 6353 w 14448"/>
                    <a:gd name="connsiteY2" fmla="*/ 35001 h 50196"/>
                    <a:gd name="connsiteX3" fmla="*/ 0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14449" y="0"/>
                      </a:moveTo>
                      <a:cubicBezTo>
                        <a:pt x="9964" y="7100"/>
                        <a:pt x="8345" y="13203"/>
                        <a:pt x="7598" y="17563"/>
                      </a:cubicBezTo>
                      <a:cubicBezTo>
                        <a:pt x="6477" y="24538"/>
                        <a:pt x="7723" y="28025"/>
                        <a:pt x="6353" y="35001"/>
                      </a:cubicBezTo>
                      <a:cubicBezTo>
                        <a:pt x="4982" y="41727"/>
                        <a:pt x="2117" y="46958"/>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8" name="Freeform 8516">
                  <a:extLst>
                    <a:ext uri="{FF2B5EF4-FFF2-40B4-BE49-F238E27FC236}">
                      <a16:creationId xmlns:a16="http://schemas.microsoft.com/office/drawing/2014/main" id="{40F9BF8B-3948-B7B4-14E7-5F53B768421B}"/>
                    </a:ext>
                  </a:extLst>
                </p:cNvPr>
                <p:cNvSpPr/>
                <p:nvPr/>
              </p:nvSpPr>
              <p:spPr>
                <a:xfrm>
                  <a:off x="3278332" y="1534375"/>
                  <a:ext cx="13057" cy="50445"/>
                </a:xfrm>
                <a:custGeom>
                  <a:avLst/>
                  <a:gdLst>
                    <a:gd name="connsiteX0" fmla="*/ 26 w 13057"/>
                    <a:gd name="connsiteY0" fmla="*/ 50446 h 50445"/>
                    <a:gd name="connsiteX1" fmla="*/ 3015 w 13057"/>
                    <a:gd name="connsiteY1" fmla="*/ 31887 h 50445"/>
                    <a:gd name="connsiteX2" fmla="*/ 10737 w 13057"/>
                    <a:gd name="connsiteY2" fmla="*/ 16317 h 50445"/>
                    <a:gd name="connsiteX3" fmla="*/ 12979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26" y="50446"/>
                      </a:moveTo>
                      <a:cubicBezTo>
                        <a:pt x="-224" y="41976"/>
                        <a:pt x="1395" y="35873"/>
                        <a:pt x="3015" y="31887"/>
                      </a:cubicBezTo>
                      <a:cubicBezTo>
                        <a:pt x="5630" y="25410"/>
                        <a:pt x="8495" y="23043"/>
                        <a:pt x="10737" y="16317"/>
                      </a:cubicBezTo>
                      <a:cubicBezTo>
                        <a:pt x="12979" y="9840"/>
                        <a:pt x="13229" y="3861"/>
                        <a:pt x="129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9" name="Freeform 8517">
                  <a:extLst>
                    <a:ext uri="{FF2B5EF4-FFF2-40B4-BE49-F238E27FC236}">
                      <a16:creationId xmlns:a16="http://schemas.microsoft.com/office/drawing/2014/main" id="{9F2F5A19-274A-EC4C-4C31-A1ED1A6EC111}"/>
                    </a:ext>
                  </a:extLst>
                </p:cNvPr>
                <p:cNvSpPr/>
                <p:nvPr/>
              </p:nvSpPr>
              <p:spPr>
                <a:xfrm>
                  <a:off x="3275540" y="1518107"/>
                  <a:ext cx="26310" cy="26558"/>
                </a:xfrm>
                <a:custGeom>
                  <a:avLst/>
                  <a:gdLst>
                    <a:gd name="connsiteX0" fmla="*/ 25860 w 26310"/>
                    <a:gd name="connsiteY0" fmla="*/ 16767 h 26558"/>
                    <a:gd name="connsiteX1" fmla="*/ 9668 w 26310"/>
                    <a:gd name="connsiteY1" fmla="*/ 26109 h 26558"/>
                    <a:gd name="connsiteX2" fmla="*/ 451 w 26310"/>
                    <a:gd name="connsiteY2" fmla="*/ 9792 h 26558"/>
                    <a:gd name="connsiteX3" fmla="*/ 16643 w 26310"/>
                    <a:gd name="connsiteY3" fmla="*/ 450 h 26558"/>
                    <a:gd name="connsiteX4" fmla="*/ 25860 w 26310"/>
                    <a:gd name="connsiteY4" fmla="*/ 1676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8">
                      <a:moveTo>
                        <a:pt x="25860" y="16767"/>
                      </a:moveTo>
                      <a:cubicBezTo>
                        <a:pt x="23992" y="23867"/>
                        <a:pt x="16768" y="27977"/>
                        <a:pt x="9668" y="26109"/>
                      </a:cubicBezTo>
                      <a:cubicBezTo>
                        <a:pt x="2693" y="24116"/>
                        <a:pt x="-1418" y="16892"/>
                        <a:pt x="451" y="9792"/>
                      </a:cubicBezTo>
                      <a:cubicBezTo>
                        <a:pt x="2444" y="2692"/>
                        <a:pt x="9668" y="-1418"/>
                        <a:pt x="16643" y="450"/>
                      </a:cubicBezTo>
                      <a:cubicBezTo>
                        <a:pt x="23618" y="2443"/>
                        <a:pt x="27729" y="9792"/>
                        <a:pt x="25860" y="1676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4" name="Graphic 2987">
                <a:extLst>
                  <a:ext uri="{FF2B5EF4-FFF2-40B4-BE49-F238E27FC236}">
                    <a16:creationId xmlns:a16="http://schemas.microsoft.com/office/drawing/2014/main" id="{E81A55C0-1D16-27A2-4D08-D3C3F83BC4FA}"/>
                  </a:ext>
                </a:extLst>
              </p:cNvPr>
              <p:cNvGrpSpPr/>
              <p:nvPr/>
            </p:nvGrpSpPr>
            <p:grpSpPr>
              <a:xfrm>
                <a:off x="3214259" y="1510332"/>
                <a:ext cx="59246" cy="144495"/>
                <a:chOff x="3214259" y="1510332"/>
                <a:chExt cx="59246" cy="144495"/>
              </a:xfrm>
              <a:grpFill/>
            </p:grpSpPr>
            <p:sp>
              <p:nvSpPr>
                <p:cNvPr id="5748" name="Freeform 8519">
                  <a:extLst>
                    <a:ext uri="{FF2B5EF4-FFF2-40B4-BE49-F238E27FC236}">
                      <a16:creationId xmlns:a16="http://schemas.microsoft.com/office/drawing/2014/main" id="{543A4198-2602-18BB-6F52-298A9A615247}"/>
                    </a:ext>
                  </a:extLst>
                </p:cNvPr>
                <p:cNvSpPr/>
                <p:nvPr/>
              </p:nvSpPr>
              <p:spPr>
                <a:xfrm>
                  <a:off x="3233019" y="1585693"/>
                  <a:ext cx="14573" cy="50072"/>
                </a:xfrm>
                <a:custGeom>
                  <a:avLst/>
                  <a:gdLst>
                    <a:gd name="connsiteX0" fmla="*/ 0 w 14573"/>
                    <a:gd name="connsiteY0" fmla="*/ 50072 h 50072"/>
                    <a:gd name="connsiteX1" fmla="*/ 6851 w 14573"/>
                    <a:gd name="connsiteY1" fmla="*/ 32634 h 50072"/>
                    <a:gd name="connsiteX2" fmla="*/ 8096 w 14573"/>
                    <a:gd name="connsiteY2" fmla="*/ 15196 h 50072"/>
                    <a:gd name="connsiteX3" fmla="*/ 14573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0" y="50072"/>
                      </a:moveTo>
                      <a:cubicBezTo>
                        <a:pt x="4609" y="42972"/>
                        <a:pt x="6228" y="36869"/>
                        <a:pt x="6851" y="32634"/>
                      </a:cubicBezTo>
                      <a:cubicBezTo>
                        <a:pt x="7972" y="25659"/>
                        <a:pt x="6726" y="22171"/>
                        <a:pt x="8096" y="15196"/>
                      </a:cubicBezTo>
                      <a:cubicBezTo>
                        <a:pt x="9467" y="8470"/>
                        <a:pt x="12331" y="3239"/>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9" name="Freeform 8520">
                  <a:extLst>
                    <a:ext uri="{FF2B5EF4-FFF2-40B4-BE49-F238E27FC236}">
                      <a16:creationId xmlns:a16="http://schemas.microsoft.com/office/drawing/2014/main" id="{4954B214-256F-0CA4-A92A-AF1BC42DB3D2}"/>
                    </a:ext>
                  </a:extLst>
                </p:cNvPr>
                <p:cNvSpPr/>
                <p:nvPr/>
              </p:nvSpPr>
              <p:spPr>
                <a:xfrm>
                  <a:off x="3224832" y="1588184"/>
                  <a:ext cx="13317" cy="50445"/>
                </a:xfrm>
                <a:custGeom>
                  <a:avLst/>
                  <a:gdLst>
                    <a:gd name="connsiteX0" fmla="*/ 13293 w 13317"/>
                    <a:gd name="connsiteY0" fmla="*/ 0 h 50445"/>
                    <a:gd name="connsiteX1" fmla="*/ 10179 w 13317"/>
                    <a:gd name="connsiteY1" fmla="*/ 18559 h 50445"/>
                    <a:gd name="connsiteX2" fmla="*/ 2332 w 13317"/>
                    <a:gd name="connsiteY2" fmla="*/ 34129 h 50445"/>
                    <a:gd name="connsiteX3" fmla="*/ 90 w 1331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0"/>
                      </a:moveTo>
                      <a:cubicBezTo>
                        <a:pt x="13542" y="8470"/>
                        <a:pt x="11799" y="14573"/>
                        <a:pt x="10179" y="18559"/>
                      </a:cubicBezTo>
                      <a:cubicBezTo>
                        <a:pt x="7564" y="25036"/>
                        <a:pt x="4699" y="27403"/>
                        <a:pt x="2332" y="34129"/>
                      </a:cubicBezTo>
                      <a:cubicBezTo>
                        <a:pt x="-34" y="40606"/>
                        <a:pt x="-159" y="46585"/>
                        <a:pt x="9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0" name="Freeform 8521">
                  <a:extLst>
                    <a:ext uri="{FF2B5EF4-FFF2-40B4-BE49-F238E27FC236}">
                      <a16:creationId xmlns:a16="http://schemas.microsoft.com/office/drawing/2014/main" id="{EDE5E968-55C2-AB1B-F4BF-E18CD676F35D}"/>
                    </a:ext>
                  </a:extLst>
                </p:cNvPr>
                <p:cNvSpPr/>
                <p:nvPr/>
              </p:nvSpPr>
              <p:spPr>
                <a:xfrm>
                  <a:off x="3214259" y="1628288"/>
                  <a:ext cx="26726" cy="26539"/>
                </a:xfrm>
                <a:custGeom>
                  <a:avLst/>
                  <a:gdLst>
                    <a:gd name="connsiteX0" fmla="*/ 450 w 26726"/>
                    <a:gd name="connsiteY0" fmla="*/ 9720 h 26539"/>
                    <a:gd name="connsiteX1" fmla="*/ 16892 w 26726"/>
                    <a:gd name="connsiteY1" fmla="*/ 503 h 26539"/>
                    <a:gd name="connsiteX2" fmla="*/ 26234 w 26726"/>
                    <a:gd name="connsiteY2" fmla="*/ 16820 h 26539"/>
                    <a:gd name="connsiteX3" fmla="*/ 9792 w 26726"/>
                    <a:gd name="connsiteY3" fmla="*/ 26037 h 26539"/>
                    <a:gd name="connsiteX4" fmla="*/ 450 w 26726"/>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38">
                      <a:moveTo>
                        <a:pt x="450" y="9720"/>
                      </a:moveTo>
                      <a:cubicBezTo>
                        <a:pt x="2443" y="2620"/>
                        <a:pt x="9792" y="-1490"/>
                        <a:pt x="16892" y="503"/>
                      </a:cubicBezTo>
                      <a:cubicBezTo>
                        <a:pt x="23992" y="2495"/>
                        <a:pt x="28227" y="9720"/>
                        <a:pt x="26234" y="16820"/>
                      </a:cubicBezTo>
                      <a:cubicBezTo>
                        <a:pt x="24241" y="23919"/>
                        <a:pt x="16892" y="28030"/>
                        <a:pt x="9792" y="26037"/>
                      </a:cubicBezTo>
                      <a:cubicBezTo>
                        <a:pt x="2692" y="24044"/>
                        <a:pt x="-1418" y="16820"/>
                        <a:pt x="450"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1" name="Freeform 8522">
                  <a:extLst>
                    <a:ext uri="{FF2B5EF4-FFF2-40B4-BE49-F238E27FC236}">
                      <a16:creationId xmlns:a16="http://schemas.microsoft.com/office/drawing/2014/main" id="{06760354-3140-AA11-87D4-6D5690F3C423}"/>
                    </a:ext>
                  </a:extLst>
                </p:cNvPr>
                <p:cNvSpPr/>
                <p:nvPr/>
              </p:nvSpPr>
              <p:spPr>
                <a:xfrm>
                  <a:off x="3240367" y="1529393"/>
                  <a:ext cx="14573" cy="49947"/>
                </a:xfrm>
                <a:custGeom>
                  <a:avLst/>
                  <a:gdLst>
                    <a:gd name="connsiteX0" fmla="*/ 14573 w 14573"/>
                    <a:gd name="connsiteY0" fmla="*/ 0 h 49947"/>
                    <a:gd name="connsiteX1" fmla="*/ 7723 w 14573"/>
                    <a:gd name="connsiteY1" fmla="*/ 17438 h 49947"/>
                    <a:gd name="connsiteX2" fmla="*/ 6477 w 14573"/>
                    <a:gd name="connsiteY2" fmla="*/ 34752 h 49947"/>
                    <a:gd name="connsiteX3" fmla="*/ 0 w 14573"/>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573" h="49947">
                      <a:moveTo>
                        <a:pt x="14573" y="0"/>
                      </a:moveTo>
                      <a:cubicBezTo>
                        <a:pt x="10089" y="7100"/>
                        <a:pt x="8346" y="13203"/>
                        <a:pt x="7723" y="17438"/>
                      </a:cubicBezTo>
                      <a:cubicBezTo>
                        <a:pt x="6602" y="24289"/>
                        <a:pt x="7847" y="27901"/>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2" name="Freeform 8523">
                  <a:extLst>
                    <a:ext uri="{FF2B5EF4-FFF2-40B4-BE49-F238E27FC236}">
                      <a16:creationId xmlns:a16="http://schemas.microsoft.com/office/drawing/2014/main" id="{0441DCAB-5D51-6A0F-6083-DE94318DF5E0}"/>
                    </a:ext>
                  </a:extLst>
                </p:cNvPr>
                <p:cNvSpPr/>
                <p:nvPr/>
              </p:nvSpPr>
              <p:spPr>
                <a:xfrm>
                  <a:off x="3249810" y="1526404"/>
                  <a:ext cx="13317" cy="50445"/>
                </a:xfrm>
                <a:custGeom>
                  <a:avLst/>
                  <a:gdLst>
                    <a:gd name="connsiteX0" fmla="*/ 24 w 13317"/>
                    <a:gd name="connsiteY0" fmla="*/ 50446 h 50445"/>
                    <a:gd name="connsiteX1" fmla="*/ 3138 w 13317"/>
                    <a:gd name="connsiteY1" fmla="*/ 31887 h 50445"/>
                    <a:gd name="connsiteX2" fmla="*/ 10985 w 13317"/>
                    <a:gd name="connsiteY2" fmla="*/ 16317 h 50445"/>
                    <a:gd name="connsiteX3" fmla="*/ 13227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24" y="50446"/>
                      </a:moveTo>
                      <a:cubicBezTo>
                        <a:pt x="-225" y="41976"/>
                        <a:pt x="1519" y="35873"/>
                        <a:pt x="3138" y="31887"/>
                      </a:cubicBezTo>
                      <a:cubicBezTo>
                        <a:pt x="5753" y="25410"/>
                        <a:pt x="8618" y="23043"/>
                        <a:pt x="10985" y="16317"/>
                      </a:cubicBezTo>
                      <a:cubicBezTo>
                        <a:pt x="13352" y="9840"/>
                        <a:pt x="13476" y="3861"/>
                        <a:pt x="132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53" name="Freeform 8524">
                  <a:extLst>
                    <a:ext uri="{FF2B5EF4-FFF2-40B4-BE49-F238E27FC236}">
                      <a16:creationId xmlns:a16="http://schemas.microsoft.com/office/drawing/2014/main" id="{A9AA43F4-5FB5-6DFD-4FA3-99941CD4355A}"/>
                    </a:ext>
                  </a:extLst>
                </p:cNvPr>
                <p:cNvSpPr/>
                <p:nvPr/>
              </p:nvSpPr>
              <p:spPr>
                <a:xfrm>
                  <a:off x="3247213" y="1510332"/>
                  <a:ext cx="26291" cy="26539"/>
                </a:xfrm>
                <a:custGeom>
                  <a:avLst/>
                  <a:gdLst>
                    <a:gd name="connsiteX0" fmla="*/ 25788 w 26291"/>
                    <a:gd name="connsiteY0" fmla="*/ 16820 h 26539"/>
                    <a:gd name="connsiteX1" fmla="*/ 9596 w 26291"/>
                    <a:gd name="connsiteY1" fmla="*/ 26037 h 26539"/>
                    <a:gd name="connsiteX2" fmla="*/ 503 w 26291"/>
                    <a:gd name="connsiteY2" fmla="*/ 9720 h 26539"/>
                    <a:gd name="connsiteX3" fmla="*/ 16696 w 26291"/>
                    <a:gd name="connsiteY3" fmla="*/ 503 h 26539"/>
                    <a:gd name="connsiteX4" fmla="*/ 25788 w 2629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8">
                      <a:moveTo>
                        <a:pt x="25788" y="16820"/>
                      </a:moveTo>
                      <a:cubicBezTo>
                        <a:pt x="23795" y="23919"/>
                        <a:pt x="16571" y="28030"/>
                        <a:pt x="9596" y="26037"/>
                      </a:cubicBezTo>
                      <a:cubicBezTo>
                        <a:pt x="2621" y="24044"/>
                        <a:pt x="-1490" y="16820"/>
                        <a:pt x="503" y="9720"/>
                      </a:cubicBezTo>
                      <a:cubicBezTo>
                        <a:pt x="2496" y="2620"/>
                        <a:pt x="9721" y="-1490"/>
                        <a:pt x="16696" y="503"/>
                      </a:cubicBezTo>
                      <a:cubicBezTo>
                        <a:pt x="23671" y="2371"/>
                        <a:pt x="27781" y="9720"/>
                        <a:pt x="25788"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5" name="Graphic 2987">
                <a:extLst>
                  <a:ext uri="{FF2B5EF4-FFF2-40B4-BE49-F238E27FC236}">
                    <a16:creationId xmlns:a16="http://schemas.microsoft.com/office/drawing/2014/main" id="{A31784D1-C29E-3462-431C-71AA8C62079E}"/>
                  </a:ext>
                </a:extLst>
              </p:cNvPr>
              <p:cNvGrpSpPr/>
              <p:nvPr/>
            </p:nvGrpSpPr>
            <p:grpSpPr>
              <a:xfrm>
                <a:off x="3185443" y="1502484"/>
                <a:ext cx="59662" cy="144370"/>
                <a:chOff x="3185443" y="1502484"/>
                <a:chExt cx="59662" cy="144370"/>
              </a:xfrm>
              <a:grpFill/>
            </p:grpSpPr>
            <p:sp>
              <p:nvSpPr>
                <p:cNvPr id="5742" name="Freeform 8526">
                  <a:extLst>
                    <a:ext uri="{FF2B5EF4-FFF2-40B4-BE49-F238E27FC236}">
                      <a16:creationId xmlns:a16="http://schemas.microsoft.com/office/drawing/2014/main" id="{2F11E11B-DDB5-7DD2-C6BE-9BA59049D074}"/>
                    </a:ext>
                  </a:extLst>
                </p:cNvPr>
                <p:cNvSpPr/>
                <p:nvPr/>
              </p:nvSpPr>
              <p:spPr>
                <a:xfrm>
                  <a:off x="3204246" y="1577846"/>
                  <a:ext cx="14697" cy="49947"/>
                </a:xfrm>
                <a:custGeom>
                  <a:avLst/>
                  <a:gdLst>
                    <a:gd name="connsiteX0" fmla="*/ 0 w 14697"/>
                    <a:gd name="connsiteY0" fmla="*/ 49948 h 49947"/>
                    <a:gd name="connsiteX1" fmla="*/ 6975 w 14697"/>
                    <a:gd name="connsiteY1" fmla="*/ 32510 h 49947"/>
                    <a:gd name="connsiteX2" fmla="*/ 8221 w 14697"/>
                    <a:gd name="connsiteY2" fmla="*/ 15196 h 49947"/>
                    <a:gd name="connsiteX3" fmla="*/ 14698 w 14697"/>
                    <a:gd name="connsiteY3" fmla="*/ 0 h 49947"/>
                  </a:gdLst>
                  <a:ahLst/>
                  <a:cxnLst>
                    <a:cxn ang="0">
                      <a:pos x="connsiteX0" y="connsiteY0"/>
                    </a:cxn>
                    <a:cxn ang="0">
                      <a:pos x="connsiteX1" y="connsiteY1"/>
                    </a:cxn>
                    <a:cxn ang="0">
                      <a:pos x="connsiteX2" y="connsiteY2"/>
                    </a:cxn>
                    <a:cxn ang="0">
                      <a:pos x="connsiteX3" y="connsiteY3"/>
                    </a:cxn>
                  </a:cxnLst>
                  <a:rect l="l" t="t" r="r" b="b"/>
                  <a:pathLst>
                    <a:path w="14697" h="49947">
                      <a:moveTo>
                        <a:pt x="0" y="49948"/>
                      </a:moveTo>
                      <a:cubicBezTo>
                        <a:pt x="4609" y="42848"/>
                        <a:pt x="6228" y="36745"/>
                        <a:pt x="6975" y="32510"/>
                      </a:cubicBezTo>
                      <a:cubicBezTo>
                        <a:pt x="8096" y="25659"/>
                        <a:pt x="6851" y="22047"/>
                        <a:pt x="8221" y="15196"/>
                      </a:cubicBezTo>
                      <a:cubicBezTo>
                        <a:pt x="9591" y="8470"/>
                        <a:pt x="12456" y="3239"/>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3" name="Freeform 8527">
                  <a:extLst>
                    <a:ext uri="{FF2B5EF4-FFF2-40B4-BE49-F238E27FC236}">
                      <a16:creationId xmlns:a16="http://schemas.microsoft.com/office/drawing/2014/main" id="{A0455DA3-61FB-9CC3-0372-6861D6A49D26}"/>
                    </a:ext>
                  </a:extLst>
                </p:cNvPr>
                <p:cNvSpPr/>
                <p:nvPr/>
              </p:nvSpPr>
              <p:spPr>
                <a:xfrm>
                  <a:off x="3196117" y="1580337"/>
                  <a:ext cx="13508" cy="50445"/>
                </a:xfrm>
                <a:custGeom>
                  <a:avLst/>
                  <a:gdLst>
                    <a:gd name="connsiteX0" fmla="*/ 13485 w 13508"/>
                    <a:gd name="connsiteY0" fmla="*/ 0 h 50445"/>
                    <a:gd name="connsiteX1" fmla="*/ 10371 w 13508"/>
                    <a:gd name="connsiteY1" fmla="*/ 18559 h 50445"/>
                    <a:gd name="connsiteX2" fmla="*/ 2399 w 13508"/>
                    <a:gd name="connsiteY2" fmla="*/ 34129 h 50445"/>
                    <a:gd name="connsiteX3" fmla="*/ 33 w 13508"/>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508" h="50445">
                      <a:moveTo>
                        <a:pt x="13485" y="0"/>
                      </a:moveTo>
                      <a:cubicBezTo>
                        <a:pt x="13734" y="8345"/>
                        <a:pt x="11990" y="14449"/>
                        <a:pt x="10371" y="18559"/>
                      </a:cubicBezTo>
                      <a:cubicBezTo>
                        <a:pt x="7755" y="25036"/>
                        <a:pt x="4890" y="27403"/>
                        <a:pt x="2399" y="34129"/>
                      </a:cubicBezTo>
                      <a:cubicBezTo>
                        <a:pt x="33" y="40606"/>
                        <a:pt x="-92" y="46460"/>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4" name="Freeform 8528">
                  <a:extLst>
                    <a:ext uri="{FF2B5EF4-FFF2-40B4-BE49-F238E27FC236}">
                      <a16:creationId xmlns:a16="http://schemas.microsoft.com/office/drawing/2014/main" id="{823FFCD8-9FFE-1E1C-C82E-8A9A17078C56}"/>
                    </a:ext>
                  </a:extLst>
                </p:cNvPr>
                <p:cNvSpPr/>
                <p:nvPr/>
              </p:nvSpPr>
              <p:spPr>
                <a:xfrm>
                  <a:off x="3185443" y="1620316"/>
                  <a:ext cx="26769" cy="26539"/>
                </a:xfrm>
                <a:custGeom>
                  <a:avLst/>
                  <a:gdLst>
                    <a:gd name="connsiteX0" fmla="*/ 493 w 26769"/>
                    <a:gd name="connsiteY0" fmla="*/ 9720 h 26539"/>
                    <a:gd name="connsiteX1" fmla="*/ 16935 w 26769"/>
                    <a:gd name="connsiteY1" fmla="*/ 503 h 26539"/>
                    <a:gd name="connsiteX2" fmla="*/ 26277 w 26769"/>
                    <a:gd name="connsiteY2" fmla="*/ 16820 h 26539"/>
                    <a:gd name="connsiteX3" fmla="*/ 9835 w 26769"/>
                    <a:gd name="connsiteY3" fmla="*/ 26037 h 26539"/>
                    <a:gd name="connsiteX4" fmla="*/ 493 w 26769"/>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538">
                      <a:moveTo>
                        <a:pt x="493" y="9720"/>
                      </a:moveTo>
                      <a:cubicBezTo>
                        <a:pt x="2486" y="2620"/>
                        <a:pt x="9835" y="-1490"/>
                        <a:pt x="16935" y="503"/>
                      </a:cubicBezTo>
                      <a:cubicBezTo>
                        <a:pt x="24035" y="2496"/>
                        <a:pt x="28270" y="9720"/>
                        <a:pt x="26277" y="16820"/>
                      </a:cubicBezTo>
                      <a:cubicBezTo>
                        <a:pt x="24284" y="23919"/>
                        <a:pt x="16935" y="28030"/>
                        <a:pt x="9835" y="26037"/>
                      </a:cubicBezTo>
                      <a:cubicBezTo>
                        <a:pt x="2735" y="24044"/>
                        <a:pt x="-1500" y="16820"/>
                        <a:pt x="493"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5" name="Freeform 8529">
                  <a:extLst>
                    <a:ext uri="{FF2B5EF4-FFF2-40B4-BE49-F238E27FC236}">
                      <a16:creationId xmlns:a16="http://schemas.microsoft.com/office/drawing/2014/main" id="{78E83E4E-8775-6453-E014-B8F70CC801B7}"/>
                    </a:ext>
                  </a:extLst>
                </p:cNvPr>
                <p:cNvSpPr/>
                <p:nvPr/>
              </p:nvSpPr>
              <p:spPr>
                <a:xfrm>
                  <a:off x="3211719" y="1521546"/>
                  <a:ext cx="14822" cy="49947"/>
                </a:xfrm>
                <a:custGeom>
                  <a:avLst/>
                  <a:gdLst>
                    <a:gd name="connsiteX0" fmla="*/ 14822 w 14822"/>
                    <a:gd name="connsiteY0" fmla="*/ 0 h 49947"/>
                    <a:gd name="connsiteX1" fmla="*/ 7847 w 14822"/>
                    <a:gd name="connsiteY1" fmla="*/ 17438 h 49947"/>
                    <a:gd name="connsiteX2" fmla="*/ 6477 w 14822"/>
                    <a:gd name="connsiteY2" fmla="*/ 34752 h 49947"/>
                    <a:gd name="connsiteX3" fmla="*/ 0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0"/>
                      </a:moveTo>
                      <a:cubicBezTo>
                        <a:pt x="10214" y="7100"/>
                        <a:pt x="8595" y="13203"/>
                        <a:pt x="7847" y="17438"/>
                      </a:cubicBezTo>
                      <a:cubicBezTo>
                        <a:pt x="6726" y="24289"/>
                        <a:pt x="7971" y="27776"/>
                        <a:pt x="6477" y="34752"/>
                      </a:cubicBezTo>
                      <a:cubicBezTo>
                        <a:pt x="5107" y="41478"/>
                        <a:pt x="2242" y="46709"/>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6" name="Freeform 8530">
                  <a:extLst>
                    <a:ext uri="{FF2B5EF4-FFF2-40B4-BE49-F238E27FC236}">
                      <a16:creationId xmlns:a16="http://schemas.microsoft.com/office/drawing/2014/main" id="{7371F145-BA2C-E782-34F7-AA61EE270C41}"/>
                    </a:ext>
                  </a:extLst>
                </p:cNvPr>
                <p:cNvSpPr/>
                <p:nvPr/>
              </p:nvSpPr>
              <p:spPr>
                <a:xfrm>
                  <a:off x="3221286" y="151855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2101"/>
                        <a:pt x="1519" y="35997"/>
                        <a:pt x="3138" y="31887"/>
                      </a:cubicBezTo>
                      <a:cubicBezTo>
                        <a:pt x="5753" y="25410"/>
                        <a:pt x="8618" y="23043"/>
                        <a:pt x="10985" y="16317"/>
                      </a:cubicBezTo>
                      <a:cubicBezTo>
                        <a:pt x="13352" y="9840"/>
                        <a:pt x="13476" y="3986"/>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7" name="Freeform 8531">
                  <a:extLst>
                    <a:ext uri="{FF2B5EF4-FFF2-40B4-BE49-F238E27FC236}">
                      <a16:creationId xmlns:a16="http://schemas.microsoft.com/office/drawing/2014/main" id="{B8869538-456D-D9D0-2909-488B56774312}"/>
                    </a:ext>
                  </a:extLst>
                </p:cNvPr>
                <p:cNvSpPr/>
                <p:nvPr/>
              </p:nvSpPr>
              <p:spPr>
                <a:xfrm>
                  <a:off x="3218690" y="1502484"/>
                  <a:ext cx="26415" cy="26539"/>
                </a:xfrm>
                <a:custGeom>
                  <a:avLst/>
                  <a:gdLst>
                    <a:gd name="connsiteX0" fmla="*/ 25913 w 26415"/>
                    <a:gd name="connsiteY0" fmla="*/ 16820 h 26539"/>
                    <a:gd name="connsiteX1" fmla="*/ 9596 w 26415"/>
                    <a:gd name="connsiteY1" fmla="*/ 26037 h 26539"/>
                    <a:gd name="connsiteX2" fmla="*/ 503 w 26415"/>
                    <a:gd name="connsiteY2" fmla="*/ 9720 h 26539"/>
                    <a:gd name="connsiteX3" fmla="*/ 16820 w 26415"/>
                    <a:gd name="connsiteY3" fmla="*/ 503 h 26539"/>
                    <a:gd name="connsiteX4" fmla="*/ 25913 w 2641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8">
                      <a:moveTo>
                        <a:pt x="25913" y="16820"/>
                      </a:moveTo>
                      <a:cubicBezTo>
                        <a:pt x="23920" y="23919"/>
                        <a:pt x="16696" y="28030"/>
                        <a:pt x="9596" y="26037"/>
                      </a:cubicBezTo>
                      <a:cubicBezTo>
                        <a:pt x="2620" y="24044"/>
                        <a:pt x="-1490" y="16820"/>
                        <a:pt x="503" y="9720"/>
                      </a:cubicBezTo>
                      <a:cubicBezTo>
                        <a:pt x="2496" y="2620"/>
                        <a:pt x="9845" y="-1490"/>
                        <a:pt x="16820" y="503"/>
                      </a:cubicBezTo>
                      <a:cubicBezTo>
                        <a:pt x="23795" y="2495"/>
                        <a:pt x="27906" y="9720"/>
                        <a:pt x="259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6" name="Graphic 2987">
                <a:extLst>
                  <a:ext uri="{FF2B5EF4-FFF2-40B4-BE49-F238E27FC236}">
                    <a16:creationId xmlns:a16="http://schemas.microsoft.com/office/drawing/2014/main" id="{99C33B60-5A06-13D7-812D-103E77210E0B}"/>
                  </a:ext>
                </a:extLst>
              </p:cNvPr>
              <p:cNvGrpSpPr/>
              <p:nvPr/>
            </p:nvGrpSpPr>
            <p:grpSpPr>
              <a:xfrm>
                <a:off x="3156660" y="1494771"/>
                <a:ext cx="60170" cy="144112"/>
                <a:chOff x="3156660" y="1494771"/>
                <a:chExt cx="60170" cy="144112"/>
              </a:xfrm>
              <a:grpFill/>
            </p:grpSpPr>
            <p:sp>
              <p:nvSpPr>
                <p:cNvPr id="5736" name="Freeform 8533">
                  <a:extLst>
                    <a:ext uri="{FF2B5EF4-FFF2-40B4-BE49-F238E27FC236}">
                      <a16:creationId xmlns:a16="http://schemas.microsoft.com/office/drawing/2014/main" id="{A787164D-1757-C98B-490A-69A78DCC1404}"/>
                    </a:ext>
                  </a:extLst>
                </p:cNvPr>
                <p:cNvSpPr/>
                <p:nvPr/>
              </p:nvSpPr>
              <p:spPr>
                <a:xfrm>
                  <a:off x="3175473" y="1569874"/>
                  <a:ext cx="14947" cy="49947"/>
                </a:xfrm>
                <a:custGeom>
                  <a:avLst/>
                  <a:gdLst>
                    <a:gd name="connsiteX0" fmla="*/ 0 w 14947"/>
                    <a:gd name="connsiteY0" fmla="*/ 49948 h 49947"/>
                    <a:gd name="connsiteX1" fmla="*/ 6975 w 14947"/>
                    <a:gd name="connsiteY1" fmla="*/ 32510 h 49947"/>
                    <a:gd name="connsiteX2" fmla="*/ 8345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2" y="36745"/>
                        <a:pt x="6975" y="32510"/>
                      </a:cubicBezTo>
                      <a:cubicBezTo>
                        <a:pt x="8096" y="25659"/>
                        <a:pt x="6851" y="22171"/>
                        <a:pt x="8345" y="15196"/>
                      </a:cubicBezTo>
                      <a:cubicBezTo>
                        <a:pt x="9715"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7" name="Freeform 8534">
                  <a:extLst>
                    <a:ext uri="{FF2B5EF4-FFF2-40B4-BE49-F238E27FC236}">
                      <a16:creationId xmlns:a16="http://schemas.microsoft.com/office/drawing/2014/main" id="{2D09E1FF-3944-4332-4638-5E1E2FAD7AEF}"/>
                    </a:ext>
                  </a:extLst>
                </p:cNvPr>
                <p:cNvSpPr/>
                <p:nvPr/>
              </p:nvSpPr>
              <p:spPr>
                <a:xfrm>
                  <a:off x="3167300" y="1572366"/>
                  <a:ext cx="13660" cy="50445"/>
                </a:xfrm>
                <a:custGeom>
                  <a:avLst/>
                  <a:gdLst>
                    <a:gd name="connsiteX0" fmla="*/ 13654 w 13660"/>
                    <a:gd name="connsiteY0" fmla="*/ 0 h 50445"/>
                    <a:gd name="connsiteX1" fmla="*/ 10415 w 13660"/>
                    <a:gd name="connsiteY1" fmla="*/ 18559 h 50445"/>
                    <a:gd name="connsiteX2" fmla="*/ 2444 w 13660"/>
                    <a:gd name="connsiteY2" fmla="*/ 34129 h 50445"/>
                    <a:gd name="connsiteX3" fmla="*/ 77 w 13660"/>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660" h="50445">
                      <a:moveTo>
                        <a:pt x="13654" y="0"/>
                      </a:moveTo>
                      <a:cubicBezTo>
                        <a:pt x="13778" y="8345"/>
                        <a:pt x="12035" y="14449"/>
                        <a:pt x="10415" y="18559"/>
                      </a:cubicBezTo>
                      <a:cubicBezTo>
                        <a:pt x="7800" y="25036"/>
                        <a:pt x="4810" y="27403"/>
                        <a:pt x="2444" y="34129"/>
                      </a:cubicBezTo>
                      <a:cubicBezTo>
                        <a:pt x="77" y="40606"/>
                        <a:pt x="-172" y="46460"/>
                        <a:pt x="7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8" name="Freeform 8535">
                  <a:extLst>
                    <a:ext uri="{FF2B5EF4-FFF2-40B4-BE49-F238E27FC236}">
                      <a16:creationId xmlns:a16="http://schemas.microsoft.com/office/drawing/2014/main" id="{62284613-0AA9-5F46-85BF-0120EEB0C9B6}"/>
                    </a:ext>
                  </a:extLst>
                </p:cNvPr>
                <p:cNvSpPr/>
                <p:nvPr/>
              </p:nvSpPr>
              <p:spPr>
                <a:xfrm>
                  <a:off x="3156660" y="1612396"/>
                  <a:ext cx="26788" cy="26487"/>
                </a:xfrm>
                <a:custGeom>
                  <a:avLst/>
                  <a:gdLst>
                    <a:gd name="connsiteX0" fmla="*/ 503 w 26788"/>
                    <a:gd name="connsiteY0" fmla="*/ 9668 h 26487"/>
                    <a:gd name="connsiteX1" fmla="*/ 17069 w 26788"/>
                    <a:gd name="connsiteY1" fmla="*/ 451 h 26487"/>
                    <a:gd name="connsiteX2" fmla="*/ 26286 w 26788"/>
                    <a:gd name="connsiteY2" fmla="*/ 16768 h 26487"/>
                    <a:gd name="connsiteX3" fmla="*/ 9720 w 26788"/>
                    <a:gd name="connsiteY3" fmla="*/ 25985 h 26487"/>
                    <a:gd name="connsiteX4" fmla="*/ 503 w 26788"/>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87">
                      <a:moveTo>
                        <a:pt x="503" y="9668"/>
                      </a:moveTo>
                      <a:cubicBezTo>
                        <a:pt x="2496" y="2693"/>
                        <a:pt x="9969" y="-1418"/>
                        <a:pt x="17069" y="451"/>
                      </a:cubicBezTo>
                      <a:cubicBezTo>
                        <a:pt x="24168" y="2443"/>
                        <a:pt x="28279" y="9668"/>
                        <a:pt x="26286" y="16768"/>
                      </a:cubicBezTo>
                      <a:cubicBezTo>
                        <a:pt x="24293" y="23867"/>
                        <a:pt x="16944" y="27978"/>
                        <a:pt x="9720" y="25985"/>
                      </a:cubicBezTo>
                      <a:cubicBezTo>
                        <a:pt x="2620" y="23992"/>
                        <a:pt x="-1490" y="16768"/>
                        <a:pt x="503"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9" name="Freeform 8536">
                  <a:extLst>
                    <a:ext uri="{FF2B5EF4-FFF2-40B4-BE49-F238E27FC236}">
                      <a16:creationId xmlns:a16="http://schemas.microsoft.com/office/drawing/2014/main" id="{F0351746-A0A7-E9D1-D539-64BD1DBDE1FC}"/>
                    </a:ext>
                  </a:extLst>
                </p:cNvPr>
                <p:cNvSpPr/>
                <p:nvPr/>
              </p:nvSpPr>
              <p:spPr>
                <a:xfrm>
                  <a:off x="3183195" y="1513823"/>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7972" y="27776"/>
                        <a:pt x="6602" y="34752"/>
                      </a:cubicBezTo>
                      <a:cubicBezTo>
                        <a:pt x="5231"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0" name="Freeform 8537">
                  <a:extLst>
                    <a:ext uri="{FF2B5EF4-FFF2-40B4-BE49-F238E27FC236}">
                      <a16:creationId xmlns:a16="http://schemas.microsoft.com/office/drawing/2014/main" id="{9286D337-9EC0-EFF4-F0AC-D731B33DE6D4}"/>
                    </a:ext>
                  </a:extLst>
                </p:cNvPr>
                <p:cNvSpPr/>
                <p:nvPr/>
              </p:nvSpPr>
              <p:spPr>
                <a:xfrm>
                  <a:off x="3192639" y="1510710"/>
                  <a:ext cx="13676" cy="50445"/>
                </a:xfrm>
                <a:custGeom>
                  <a:avLst/>
                  <a:gdLst>
                    <a:gd name="connsiteX0" fmla="*/ 23 w 13676"/>
                    <a:gd name="connsiteY0" fmla="*/ 50446 h 50445"/>
                    <a:gd name="connsiteX1" fmla="*/ 3261 w 13676"/>
                    <a:gd name="connsiteY1" fmla="*/ 31887 h 50445"/>
                    <a:gd name="connsiteX2" fmla="*/ 11233 w 13676"/>
                    <a:gd name="connsiteY2" fmla="*/ 16317 h 50445"/>
                    <a:gd name="connsiteX3" fmla="*/ 13599 w 13676"/>
                    <a:gd name="connsiteY3" fmla="*/ 0 h 50445"/>
                  </a:gdLst>
                  <a:ahLst/>
                  <a:cxnLst>
                    <a:cxn ang="0">
                      <a:pos x="connsiteX0" y="connsiteY0"/>
                    </a:cxn>
                    <a:cxn ang="0">
                      <a:pos x="connsiteX1" y="connsiteY1"/>
                    </a:cxn>
                    <a:cxn ang="0">
                      <a:pos x="connsiteX2" y="connsiteY2"/>
                    </a:cxn>
                    <a:cxn ang="0">
                      <a:pos x="connsiteX3" y="connsiteY3"/>
                    </a:cxn>
                  </a:cxnLst>
                  <a:rect l="l" t="t" r="r" b="b"/>
                  <a:pathLst>
                    <a:path w="13676" h="50445">
                      <a:moveTo>
                        <a:pt x="23" y="50446"/>
                      </a:moveTo>
                      <a:cubicBezTo>
                        <a:pt x="-227" y="42100"/>
                        <a:pt x="1642" y="35997"/>
                        <a:pt x="3261" y="31887"/>
                      </a:cubicBezTo>
                      <a:cubicBezTo>
                        <a:pt x="5877" y="25410"/>
                        <a:pt x="8741" y="23043"/>
                        <a:pt x="11233" y="16317"/>
                      </a:cubicBezTo>
                      <a:cubicBezTo>
                        <a:pt x="13599" y="9840"/>
                        <a:pt x="13848" y="3986"/>
                        <a:pt x="135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41" name="Freeform 8538">
                  <a:extLst>
                    <a:ext uri="{FF2B5EF4-FFF2-40B4-BE49-F238E27FC236}">
                      <a16:creationId xmlns:a16="http://schemas.microsoft.com/office/drawing/2014/main" id="{B8399014-A637-F8C6-1C78-F67EEAB488D4}"/>
                    </a:ext>
                  </a:extLst>
                </p:cNvPr>
                <p:cNvSpPr/>
                <p:nvPr/>
              </p:nvSpPr>
              <p:spPr>
                <a:xfrm>
                  <a:off x="3190415" y="1494771"/>
                  <a:ext cx="26416" cy="26405"/>
                </a:xfrm>
                <a:custGeom>
                  <a:avLst/>
                  <a:gdLst>
                    <a:gd name="connsiteX0" fmla="*/ 25913 w 26416"/>
                    <a:gd name="connsiteY0" fmla="*/ 16686 h 26405"/>
                    <a:gd name="connsiteX1" fmla="*/ 9596 w 26416"/>
                    <a:gd name="connsiteY1" fmla="*/ 25903 h 26405"/>
                    <a:gd name="connsiteX2" fmla="*/ 503 w 26416"/>
                    <a:gd name="connsiteY2" fmla="*/ 9711 h 26405"/>
                    <a:gd name="connsiteX3" fmla="*/ 16820 w 26416"/>
                    <a:gd name="connsiteY3" fmla="*/ 494 h 26405"/>
                    <a:gd name="connsiteX4" fmla="*/ 25913 w 26416"/>
                    <a:gd name="connsiteY4" fmla="*/ 16686 h 2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05">
                      <a:moveTo>
                        <a:pt x="25913" y="16686"/>
                      </a:moveTo>
                      <a:cubicBezTo>
                        <a:pt x="23920" y="23786"/>
                        <a:pt x="16571" y="27896"/>
                        <a:pt x="9596" y="25903"/>
                      </a:cubicBezTo>
                      <a:cubicBezTo>
                        <a:pt x="2621" y="23910"/>
                        <a:pt x="-1490" y="16686"/>
                        <a:pt x="503" y="9711"/>
                      </a:cubicBezTo>
                      <a:cubicBezTo>
                        <a:pt x="2496" y="2736"/>
                        <a:pt x="9845" y="-1499"/>
                        <a:pt x="16820" y="494"/>
                      </a:cubicBezTo>
                      <a:cubicBezTo>
                        <a:pt x="23795" y="2362"/>
                        <a:pt x="27906" y="9586"/>
                        <a:pt x="2591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7" name="Graphic 2987">
                <a:extLst>
                  <a:ext uri="{FF2B5EF4-FFF2-40B4-BE49-F238E27FC236}">
                    <a16:creationId xmlns:a16="http://schemas.microsoft.com/office/drawing/2014/main" id="{327F55EA-E2C7-0D33-2145-30E63A076F22}"/>
                  </a:ext>
                </a:extLst>
              </p:cNvPr>
              <p:cNvGrpSpPr/>
              <p:nvPr/>
            </p:nvGrpSpPr>
            <p:grpSpPr>
              <a:xfrm>
                <a:off x="3127763" y="1486924"/>
                <a:ext cx="60678" cy="143936"/>
                <a:chOff x="3127763" y="1486924"/>
                <a:chExt cx="60678" cy="143936"/>
              </a:xfrm>
              <a:grpFill/>
            </p:grpSpPr>
            <p:sp>
              <p:nvSpPr>
                <p:cNvPr id="5730" name="Freeform 8540">
                  <a:extLst>
                    <a:ext uri="{FF2B5EF4-FFF2-40B4-BE49-F238E27FC236}">
                      <a16:creationId xmlns:a16="http://schemas.microsoft.com/office/drawing/2014/main" id="{46E4F751-27A4-80E8-52CB-0318F0E20213}"/>
                    </a:ext>
                  </a:extLst>
                </p:cNvPr>
                <p:cNvSpPr/>
                <p:nvPr/>
              </p:nvSpPr>
              <p:spPr>
                <a:xfrm>
                  <a:off x="3146700" y="1561903"/>
                  <a:ext cx="15071" cy="49947"/>
                </a:xfrm>
                <a:custGeom>
                  <a:avLst/>
                  <a:gdLst>
                    <a:gd name="connsiteX0" fmla="*/ 0 w 15071"/>
                    <a:gd name="connsiteY0" fmla="*/ 49948 h 49947"/>
                    <a:gd name="connsiteX1" fmla="*/ 7100 w 15071"/>
                    <a:gd name="connsiteY1" fmla="*/ 32510 h 49947"/>
                    <a:gd name="connsiteX2" fmla="*/ 8470 w 15071"/>
                    <a:gd name="connsiteY2" fmla="*/ 15196 h 49947"/>
                    <a:gd name="connsiteX3" fmla="*/ 15071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0" y="49948"/>
                      </a:moveTo>
                      <a:cubicBezTo>
                        <a:pt x="4609" y="42848"/>
                        <a:pt x="6352" y="36745"/>
                        <a:pt x="7100" y="32510"/>
                      </a:cubicBezTo>
                      <a:cubicBezTo>
                        <a:pt x="8221" y="25659"/>
                        <a:pt x="7100" y="22171"/>
                        <a:pt x="8470" y="15196"/>
                      </a:cubicBezTo>
                      <a:cubicBezTo>
                        <a:pt x="9964" y="8470"/>
                        <a:pt x="12829" y="3363"/>
                        <a:pt x="1507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1" name="Freeform 8541">
                  <a:extLst>
                    <a:ext uri="{FF2B5EF4-FFF2-40B4-BE49-F238E27FC236}">
                      <a16:creationId xmlns:a16="http://schemas.microsoft.com/office/drawing/2014/main" id="{AC32612F-1B68-B426-BA25-A0224636E2B9}"/>
                    </a:ext>
                  </a:extLst>
                </p:cNvPr>
                <p:cNvSpPr/>
                <p:nvPr/>
              </p:nvSpPr>
              <p:spPr>
                <a:xfrm>
                  <a:off x="3138454" y="1564518"/>
                  <a:ext cx="13857" cy="50196"/>
                </a:xfrm>
                <a:custGeom>
                  <a:avLst/>
                  <a:gdLst>
                    <a:gd name="connsiteX0" fmla="*/ 13852 w 13857"/>
                    <a:gd name="connsiteY0" fmla="*/ 0 h 50196"/>
                    <a:gd name="connsiteX1" fmla="*/ 10613 w 13857"/>
                    <a:gd name="connsiteY1" fmla="*/ 18435 h 50196"/>
                    <a:gd name="connsiteX2" fmla="*/ 2517 w 13857"/>
                    <a:gd name="connsiteY2" fmla="*/ 33880 h 50196"/>
                    <a:gd name="connsiteX3" fmla="*/ 26 w 13857"/>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3857" h="50196">
                      <a:moveTo>
                        <a:pt x="13852" y="0"/>
                      </a:moveTo>
                      <a:cubicBezTo>
                        <a:pt x="13976" y="8345"/>
                        <a:pt x="12232" y="14449"/>
                        <a:pt x="10613" y="18435"/>
                      </a:cubicBezTo>
                      <a:cubicBezTo>
                        <a:pt x="7873" y="24912"/>
                        <a:pt x="5008" y="27278"/>
                        <a:pt x="2517"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2" name="Freeform 8542">
                  <a:extLst>
                    <a:ext uri="{FF2B5EF4-FFF2-40B4-BE49-F238E27FC236}">
                      <a16:creationId xmlns:a16="http://schemas.microsoft.com/office/drawing/2014/main" id="{0660BE72-36E8-8F59-E7AC-6967E1456C85}"/>
                    </a:ext>
                  </a:extLst>
                </p:cNvPr>
                <p:cNvSpPr/>
                <p:nvPr/>
              </p:nvSpPr>
              <p:spPr>
                <a:xfrm>
                  <a:off x="3127763" y="1604425"/>
                  <a:ext cx="26788" cy="26435"/>
                </a:xfrm>
                <a:custGeom>
                  <a:avLst/>
                  <a:gdLst>
                    <a:gd name="connsiteX0" fmla="*/ 502 w 26788"/>
                    <a:gd name="connsiteY0" fmla="*/ 9668 h 26435"/>
                    <a:gd name="connsiteX1" fmla="*/ 17069 w 26788"/>
                    <a:gd name="connsiteY1" fmla="*/ 451 h 26435"/>
                    <a:gd name="connsiteX2" fmla="*/ 26286 w 26788"/>
                    <a:gd name="connsiteY2" fmla="*/ 16768 h 26435"/>
                    <a:gd name="connsiteX3" fmla="*/ 9720 w 26788"/>
                    <a:gd name="connsiteY3" fmla="*/ 25985 h 26435"/>
                    <a:gd name="connsiteX4" fmla="*/ 502 w 26788"/>
                    <a:gd name="connsiteY4" fmla="*/ 9668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435">
                      <a:moveTo>
                        <a:pt x="502" y="9668"/>
                      </a:moveTo>
                      <a:cubicBezTo>
                        <a:pt x="2495" y="2693"/>
                        <a:pt x="9969" y="-1418"/>
                        <a:pt x="17069" y="451"/>
                      </a:cubicBezTo>
                      <a:cubicBezTo>
                        <a:pt x="24169" y="2443"/>
                        <a:pt x="28279" y="9668"/>
                        <a:pt x="26286" y="16768"/>
                      </a:cubicBezTo>
                      <a:cubicBezTo>
                        <a:pt x="24293" y="23743"/>
                        <a:pt x="16820" y="27853"/>
                        <a:pt x="9720" y="25985"/>
                      </a:cubicBezTo>
                      <a:cubicBezTo>
                        <a:pt x="2620" y="23992"/>
                        <a:pt x="-1490" y="16768"/>
                        <a:pt x="502"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3" name="Freeform 8543">
                  <a:extLst>
                    <a:ext uri="{FF2B5EF4-FFF2-40B4-BE49-F238E27FC236}">
                      <a16:creationId xmlns:a16="http://schemas.microsoft.com/office/drawing/2014/main" id="{F25BE73C-548D-89A2-3077-3E706FF3FB0E}"/>
                    </a:ext>
                  </a:extLst>
                </p:cNvPr>
                <p:cNvSpPr/>
                <p:nvPr/>
              </p:nvSpPr>
              <p:spPr>
                <a:xfrm>
                  <a:off x="3154547" y="1505976"/>
                  <a:ext cx="15196" cy="49947"/>
                </a:xfrm>
                <a:custGeom>
                  <a:avLst/>
                  <a:gdLst>
                    <a:gd name="connsiteX0" fmla="*/ 15196 w 15196"/>
                    <a:gd name="connsiteY0" fmla="*/ 0 h 49947"/>
                    <a:gd name="connsiteX1" fmla="*/ 8096 w 15196"/>
                    <a:gd name="connsiteY1" fmla="*/ 17438 h 49947"/>
                    <a:gd name="connsiteX2" fmla="*/ 6602 w 15196"/>
                    <a:gd name="connsiteY2" fmla="*/ 34752 h 49947"/>
                    <a:gd name="connsiteX3" fmla="*/ 0 w 15196"/>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0"/>
                      </a:moveTo>
                      <a:cubicBezTo>
                        <a:pt x="10587" y="7100"/>
                        <a:pt x="8844" y="13203"/>
                        <a:pt x="8096" y="17438"/>
                      </a:cubicBezTo>
                      <a:cubicBezTo>
                        <a:pt x="6851" y="24289"/>
                        <a:pt x="8096" y="27776"/>
                        <a:pt x="6602" y="34752"/>
                      </a:cubicBezTo>
                      <a:cubicBezTo>
                        <a:pt x="5107" y="41478"/>
                        <a:pt x="2242"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4" name="Freeform 8544">
                  <a:extLst>
                    <a:ext uri="{FF2B5EF4-FFF2-40B4-BE49-F238E27FC236}">
                      <a16:creationId xmlns:a16="http://schemas.microsoft.com/office/drawing/2014/main" id="{E71B6914-0A73-9863-83A5-12633087D929}"/>
                    </a:ext>
                  </a:extLst>
                </p:cNvPr>
                <p:cNvSpPr/>
                <p:nvPr/>
              </p:nvSpPr>
              <p:spPr>
                <a:xfrm>
                  <a:off x="3164132" y="1502987"/>
                  <a:ext cx="13733" cy="50196"/>
                </a:xfrm>
                <a:custGeom>
                  <a:avLst/>
                  <a:gdLst>
                    <a:gd name="connsiteX0" fmla="*/ 6 w 13733"/>
                    <a:gd name="connsiteY0" fmla="*/ 50197 h 50196"/>
                    <a:gd name="connsiteX1" fmla="*/ 3245 w 13733"/>
                    <a:gd name="connsiteY1" fmla="*/ 31762 h 50196"/>
                    <a:gd name="connsiteX2" fmla="*/ 11216 w 13733"/>
                    <a:gd name="connsiteY2" fmla="*/ 16317 h 50196"/>
                    <a:gd name="connsiteX3" fmla="*/ 13708 w 13733"/>
                    <a:gd name="connsiteY3" fmla="*/ 0 h 50196"/>
                  </a:gdLst>
                  <a:ahLst/>
                  <a:cxnLst>
                    <a:cxn ang="0">
                      <a:pos x="connsiteX0" y="connsiteY0"/>
                    </a:cxn>
                    <a:cxn ang="0">
                      <a:pos x="connsiteX1" y="connsiteY1"/>
                    </a:cxn>
                    <a:cxn ang="0">
                      <a:pos x="connsiteX2" y="connsiteY2"/>
                    </a:cxn>
                    <a:cxn ang="0">
                      <a:pos x="connsiteX3" y="connsiteY3"/>
                    </a:cxn>
                  </a:cxnLst>
                  <a:rect l="l" t="t" r="r" b="b"/>
                  <a:pathLst>
                    <a:path w="13733" h="50196">
                      <a:moveTo>
                        <a:pt x="6" y="50197"/>
                      </a:moveTo>
                      <a:cubicBezTo>
                        <a:pt x="-118" y="41851"/>
                        <a:pt x="1626" y="35748"/>
                        <a:pt x="3245" y="31762"/>
                      </a:cubicBezTo>
                      <a:cubicBezTo>
                        <a:pt x="5985" y="25285"/>
                        <a:pt x="8850" y="22919"/>
                        <a:pt x="11216" y="16317"/>
                      </a:cubicBezTo>
                      <a:cubicBezTo>
                        <a:pt x="13583" y="9840"/>
                        <a:pt x="13832" y="3986"/>
                        <a:pt x="13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35" name="Freeform 8545">
                  <a:extLst>
                    <a:ext uri="{FF2B5EF4-FFF2-40B4-BE49-F238E27FC236}">
                      <a16:creationId xmlns:a16="http://schemas.microsoft.com/office/drawing/2014/main" id="{257F092F-83FE-20C5-374A-3025E238E2A4}"/>
                    </a:ext>
                  </a:extLst>
                </p:cNvPr>
                <p:cNvSpPr/>
                <p:nvPr/>
              </p:nvSpPr>
              <p:spPr>
                <a:xfrm>
                  <a:off x="3162086" y="1486924"/>
                  <a:ext cx="26355" cy="26397"/>
                </a:xfrm>
                <a:custGeom>
                  <a:avLst/>
                  <a:gdLst>
                    <a:gd name="connsiteX0" fmla="*/ 25843 w 26355"/>
                    <a:gd name="connsiteY0" fmla="*/ 16686 h 26397"/>
                    <a:gd name="connsiteX1" fmla="*/ 9526 w 26355"/>
                    <a:gd name="connsiteY1" fmla="*/ 25903 h 26397"/>
                    <a:gd name="connsiteX2" fmla="*/ 558 w 26355"/>
                    <a:gd name="connsiteY2" fmla="*/ 9711 h 26397"/>
                    <a:gd name="connsiteX3" fmla="*/ 16875 w 26355"/>
                    <a:gd name="connsiteY3" fmla="*/ 494 h 26397"/>
                    <a:gd name="connsiteX4" fmla="*/ 25843 w 26355"/>
                    <a:gd name="connsiteY4" fmla="*/ 16686 h 26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5" h="26397">
                      <a:moveTo>
                        <a:pt x="25843" y="16686"/>
                      </a:moveTo>
                      <a:cubicBezTo>
                        <a:pt x="23850" y="23661"/>
                        <a:pt x="16501" y="27896"/>
                        <a:pt x="9526" y="25903"/>
                      </a:cubicBezTo>
                      <a:cubicBezTo>
                        <a:pt x="2551" y="23910"/>
                        <a:pt x="-1560" y="16686"/>
                        <a:pt x="558" y="9711"/>
                      </a:cubicBezTo>
                      <a:cubicBezTo>
                        <a:pt x="2551" y="2736"/>
                        <a:pt x="9900" y="-1499"/>
                        <a:pt x="16875" y="494"/>
                      </a:cubicBezTo>
                      <a:cubicBezTo>
                        <a:pt x="23850" y="2362"/>
                        <a:pt x="27836" y="9586"/>
                        <a:pt x="25843" y="1668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8" name="Graphic 2987">
                <a:extLst>
                  <a:ext uri="{FF2B5EF4-FFF2-40B4-BE49-F238E27FC236}">
                    <a16:creationId xmlns:a16="http://schemas.microsoft.com/office/drawing/2014/main" id="{3B82D6CB-0354-9FFB-02E2-0A1FD930D2AF}"/>
                  </a:ext>
                </a:extLst>
              </p:cNvPr>
              <p:cNvGrpSpPr/>
              <p:nvPr/>
            </p:nvGrpSpPr>
            <p:grpSpPr>
              <a:xfrm>
                <a:off x="3099105" y="1478877"/>
                <a:ext cx="60982" cy="144108"/>
                <a:chOff x="3099105" y="1478877"/>
                <a:chExt cx="60982" cy="144108"/>
              </a:xfrm>
              <a:grpFill/>
            </p:grpSpPr>
            <p:sp>
              <p:nvSpPr>
                <p:cNvPr id="5724" name="Freeform 8547">
                  <a:extLst>
                    <a:ext uri="{FF2B5EF4-FFF2-40B4-BE49-F238E27FC236}">
                      <a16:creationId xmlns:a16="http://schemas.microsoft.com/office/drawing/2014/main" id="{4427571B-E4EC-05CD-C486-7F2560E3C03C}"/>
                    </a:ext>
                  </a:extLst>
                </p:cNvPr>
                <p:cNvSpPr/>
                <p:nvPr/>
              </p:nvSpPr>
              <p:spPr>
                <a:xfrm>
                  <a:off x="3117927" y="1554056"/>
                  <a:ext cx="15445" cy="49823"/>
                </a:xfrm>
                <a:custGeom>
                  <a:avLst/>
                  <a:gdLst>
                    <a:gd name="connsiteX0" fmla="*/ 0 w 15445"/>
                    <a:gd name="connsiteY0" fmla="*/ 49823 h 49823"/>
                    <a:gd name="connsiteX1" fmla="*/ 7224 w 15445"/>
                    <a:gd name="connsiteY1" fmla="*/ 32385 h 49823"/>
                    <a:gd name="connsiteX2" fmla="*/ 8719 w 15445"/>
                    <a:gd name="connsiteY2" fmla="*/ 15071 h 49823"/>
                    <a:gd name="connsiteX3" fmla="*/ 15445 w 15445"/>
                    <a:gd name="connsiteY3" fmla="*/ 0 h 49823"/>
                  </a:gdLst>
                  <a:ahLst/>
                  <a:cxnLst>
                    <a:cxn ang="0">
                      <a:pos x="connsiteX0" y="connsiteY0"/>
                    </a:cxn>
                    <a:cxn ang="0">
                      <a:pos x="connsiteX1" y="connsiteY1"/>
                    </a:cxn>
                    <a:cxn ang="0">
                      <a:pos x="connsiteX2" y="connsiteY2"/>
                    </a:cxn>
                    <a:cxn ang="0">
                      <a:pos x="connsiteX3" y="connsiteY3"/>
                    </a:cxn>
                  </a:cxnLst>
                  <a:rect l="l" t="t" r="r" b="b"/>
                  <a:pathLst>
                    <a:path w="15445" h="49823">
                      <a:moveTo>
                        <a:pt x="0" y="49823"/>
                      </a:moveTo>
                      <a:cubicBezTo>
                        <a:pt x="4609" y="42723"/>
                        <a:pt x="6477" y="36745"/>
                        <a:pt x="7224" y="32385"/>
                      </a:cubicBezTo>
                      <a:cubicBezTo>
                        <a:pt x="8470" y="25534"/>
                        <a:pt x="7224" y="22047"/>
                        <a:pt x="8719" y="15071"/>
                      </a:cubicBezTo>
                      <a:cubicBezTo>
                        <a:pt x="10214" y="8345"/>
                        <a:pt x="13078" y="3239"/>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5" name="Freeform 8548">
                  <a:extLst>
                    <a:ext uri="{FF2B5EF4-FFF2-40B4-BE49-F238E27FC236}">
                      <a16:creationId xmlns:a16="http://schemas.microsoft.com/office/drawing/2014/main" id="{9AA17411-F89A-C39A-93CB-D62287DF7783}"/>
                    </a:ext>
                  </a:extLst>
                </p:cNvPr>
                <p:cNvSpPr/>
                <p:nvPr/>
              </p:nvSpPr>
              <p:spPr>
                <a:xfrm>
                  <a:off x="3109765" y="1556422"/>
                  <a:ext cx="14022" cy="50196"/>
                </a:xfrm>
                <a:custGeom>
                  <a:avLst/>
                  <a:gdLst>
                    <a:gd name="connsiteX0" fmla="*/ 14017 w 14022"/>
                    <a:gd name="connsiteY0" fmla="*/ 0 h 50196"/>
                    <a:gd name="connsiteX1" fmla="*/ 10654 w 14022"/>
                    <a:gd name="connsiteY1" fmla="*/ 18559 h 50196"/>
                    <a:gd name="connsiteX2" fmla="*/ 2557 w 14022"/>
                    <a:gd name="connsiteY2" fmla="*/ 33880 h 50196"/>
                    <a:gd name="connsiteX3" fmla="*/ 66 w 1402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022" h="50196">
                      <a:moveTo>
                        <a:pt x="14017" y="0"/>
                      </a:moveTo>
                      <a:cubicBezTo>
                        <a:pt x="14141" y="8470"/>
                        <a:pt x="12273" y="14573"/>
                        <a:pt x="10654" y="18559"/>
                      </a:cubicBezTo>
                      <a:cubicBezTo>
                        <a:pt x="7914" y="25036"/>
                        <a:pt x="5049" y="27278"/>
                        <a:pt x="2557" y="33880"/>
                      </a:cubicBezTo>
                      <a:cubicBezTo>
                        <a:pt x="191" y="40357"/>
                        <a:pt x="-183" y="46211"/>
                        <a:pt x="6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6" name="Freeform 8549">
                  <a:extLst>
                    <a:ext uri="{FF2B5EF4-FFF2-40B4-BE49-F238E27FC236}">
                      <a16:creationId xmlns:a16="http://schemas.microsoft.com/office/drawing/2014/main" id="{645CF9D7-6302-8A2A-F96F-6BE009553448}"/>
                    </a:ext>
                  </a:extLst>
                </p:cNvPr>
                <p:cNvSpPr/>
                <p:nvPr/>
              </p:nvSpPr>
              <p:spPr>
                <a:xfrm>
                  <a:off x="3099105" y="1596278"/>
                  <a:ext cx="26728" cy="26707"/>
                </a:xfrm>
                <a:custGeom>
                  <a:avLst/>
                  <a:gdLst>
                    <a:gd name="connsiteX0" fmla="*/ 512 w 26728"/>
                    <a:gd name="connsiteY0" fmla="*/ 9345 h 26707"/>
                    <a:gd name="connsiteX1" fmla="*/ 17078 w 26728"/>
                    <a:gd name="connsiteY1" fmla="*/ 626 h 26707"/>
                    <a:gd name="connsiteX2" fmla="*/ 26171 w 26728"/>
                    <a:gd name="connsiteY2" fmla="*/ 17067 h 26707"/>
                    <a:gd name="connsiteX3" fmla="*/ 9605 w 26728"/>
                    <a:gd name="connsiteY3" fmla="*/ 26160 h 26707"/>
                    <a:gd name="connsiteX4" fmla="*/ 512 w 26728"/>
                    <a:gd name="connsiteY4" fmla="*/ 9345 h 26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 h="26706">
                      <a:moveTo>
                        <a:pt x="512" y="9345"/>
                      </a:moveTo>
                      <a:cubicBezTo>
                        <a:pt x="2630" y="2370"/>
                        <a:pt x="9979" y="-1616"/>
                        <a:pt x="17078" y="626"/>
                      </a:cubicBezTo>
                      <a:cubicBezTo>
                        <a:pt x="24178" y="2868"/>
                        <a:pt x="28289" y="9968"/>
                        <a:pt x="26171" y="17067"/>
                      </a:cubicBezTo>
                      <a:cubicBezTo>
                        <a:pt x="24178" y="24043"/>
                        <a:pt x="16705" y="28278"/>
                        <a:pt x="9605" y="26160"/>
                      </a:cubicBezTo>
                      <a:cubicBezTo>
                        <a:pt x="2505" y="23793"/>
                        <a:pt x="-1481" y="16320"/>
                        <a:pt x="51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7" name="Freeform 8550">
                  <a:extLst>
                    <a:ext uri="{FF2B5EF4-FFF2-40B4-BE49-F238E27FC236}">
                      <a16:creationId xmlns:a16="http://schemas.microsoft.com/office/drawing/2014/main" id="{72078CB1-026B-578A-E2A9-C33EDA2DEFAE}"/>
                    </a:ext>
                  </a:extLst>
                </p:cNvPr>
                <p:cNvSpPr/>
                <p:nvPr/>
              </p:nvSpPr>
              <p:spPr>
                <a:xfrm>
                  <a:off x="3126024" y="1497880"/>
                  <a:ext cx="15445" cy="49823"/>
                </a:xfrm>
                <a:custGeom>
                  <a:avLst/>
                  <a:gdLst>
                    <a:gd name="connsiteX0" fmla="*/ 15445 w 15445"/>
                    <a:gd name="connsiteY0" fmla="*/ 0 h 49823"/>
                    <a:gd name="connsiteX1" fmla="*/ 8345 w 15445"/>
                    <a:gd name="connsiteY1" fmla="*/ 17314 h 49823"/>
                    <a:gd name="connsiteX2" fmla="*/ 6726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836" y="6975"/>
                        <a:pt x="9093" y="13079"/>
                        <a:pt x="8345" y="17314"/>
                      </a:cubicBezTo>
                      <a:cubicBezTo>
                        <a:pt x="7100" y="24164"/>
                        <a:pt x="8345"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8" name="Freeform 8551">
                  <a:extLst>
                    <a:ext uri="{FF2B5EF4-FFF2-40B4-BE49-F238E27FC236}">
                      <a16:creationId xmlns:a16="http://schemas.microsoft.com/office/drawing/2014/main" id="{C6ECAFDF-2F03-F438-9898-CB1E48C9F4D9}"/>
                    </a:ext>
                  </a:extLst>
                </p:cNvPr>
                <p:cNvSpPr/>
                <p:nvPr/>
              </p:nvSpPr>
              <p:spPr>
                <a:xfrm>
                  <a:off x="3135609" y="1495015"/>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9" y="41851"/>
                        <a:pt x="1750" y="35748"/>
                        <a:pt x="3369" y="31762"/>
                      </a:cubicBezTo>
                      <a:cubicBezTo>
                        <a:pt x="6109" y="25285"/>
                        <a:pt x="8974" y="23043"/>
                        <a:pt x="11465" y="16317"/>
                      </a:cubicBezTo>
                      <a:cubicBezTo>
                        <a:pt x="13832" y="9840"/>
                        <a:pt x="14081" y="3986"/>
                        <a:pt x="139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9" name="Freeform 8552">
                  <a:extLst>
                    <a:ext uri="{FF2B5EF4-FFF2-40B4-BE49-F238E27FC236}">
                      <a16:creationId xmlns:a16="http://schemas.microsoft.com/office/drawing/2014/main" id="{6EB701EC-72A3-186E-ECA5-252B5A92B234}"/>
                    </a:ext>
                  </a:extLst>
                </p:cNvPr>
                <p:cNvSpPr/>
                <p:nvPr/>
              </p:nvSpPr>
              <p:spPr>
                <a:xfrm>
                  <a:off x="3133676" y="1478877"/>
                  <a:ext cx="26411" cy="26525"/>
                </a:xfrm>
                <a:custGeom>
                  <a:avLst/>
                  <a:gdLst>
                    <a:gd name="connsiteX0" fmla="*/ 25854 w 26411"/>
                    <a:gd name="connsiteY0" fmla="*/ 16885 h 26525"/>
                    <a:gd name="connsiteX1" fmla="*/ 9412 w 26411"/>
                    <a:gd name="connsiteY1" fmla="*/ 25978 h 26525"/>
                    <a:gd name="connsiteX2" fmla="*/ 568 w 26411"/>
                    <a:gd name="connsiteY2" fmla="*/ 9412 h 26525"/>
                    <a:gd name="connsiteX3" fmla="*/ 16885 w 26411"/>
                    <a:gd name="connsiteY3" fmla="*/ 568 h 26525"/>
                    <a:gd name="connsiteX4" fmla="*/ 25854 w 26411"/>
                    <a:gd name="connsiteY4" fmla="*/ 16885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1" h="26524">
                      <a:moveTo>
                        <a:pt x="25854" y="16885"/>
                      </a:moveTo>
                      <a:cubicBezTo>
                        <a:pt x="23861" y="23861"/>
                        <a:pt x="16387" y="28096"/>
                        <a:pt x="9412" y="25978"/>
                      </a:cubicBezTo>
                      <a:cubicBezTo>
                        <a:pt x="2437" y="23861"/>
                        <a:pt x="-1549" y="16387"/>
                        <a:pt x="568" y="9412"/>
                      </a:cubicBezTo>
                      <a:cubicBezTo>
                        <a:pt x="2686" y="2437"/>
                        <a:pt x="9910" y="-1549"/>
                        <a:pt x="16885" y="568"/>
                      </a:cubicBezTo>
                      <a:cubicBezTo>
                        <a:pt x="23861" y="2686"/>
                        <a:pt x="27971" y="9786"/>
                        <a:pt x="25854" y="16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79" name="Graphic 2987">
                <a:extLst>
                  <a:ext uri="{FF2B5EF4-FFF2-40B4-BE49-F238E27FC236}">
                    <a16:creationId xmlns:a16="http://schemas.microsoft.com/office/drawing/2014/main" id="{2613E2C1-01A3-D780-3C99-E1FC669EBBEE}"/>
                  </a:ext>
                </a:extLst>
              </p:cNvPr>
              <p:cNvGrpSpPr/>
              <p:nvPr/>
            </p:nvGrpSpPr>
            <p:grpSpPr>
              <a:xfrm>
                <a:off x="3070526" y="1470158"/>
                <a:ext cx="61422" cy="143937"/>
                <a:chOff x="3070526" y="1470158"/>
                <a:chExt cx="61422" cy="143937"/>
              </a:xfrm>
              <a:grpFill/>
            </p:grpSpPr>
            <p:sp>
              <p:nvSpPr>
                <p:cNvPr id="5718" name="Freeform 8554">
                  <a:extLst>
                    <a:ext uri="{FF2B5EF4-FFF2-40B4-BE49-F238E27FC236}">
                      <a16:creationId xmlns:a16="http://schemas.microsoft.com/office/drawing/2014/main" id="{4D83204B-89AE-C017-30B6-78DDB3C503F9}"/>
                    </a:ext>
                  </a:extLst>
                </p:cNvPr>
                <p:cNvSpPr/>
                <p:nvPr/>
              </p:nvSpPr>
              <p:spPr>
                <a:xfrm>
                  <a:off x="3089404" y="1545212"/>
                  <a:ext cx="15569" cy="49823"/>
                </a:xfrm>
                <a:custGeom>
                  <a:avLst/>
                  <a:gdLst>
                    <a:gd name="connsiteX0" fmla="*/ 0 w 15569"/>
                    <a:gd name="connsiteY0" fmla="*/ 49823 h 49823"/>
                    <a:gd name="connsiteX1" fmla="*/ 7224 w 15569"/>
                    <a:gd name="connsiteY1" fmla="*/ 32510 h 49823"/>
                    <a:gd name="connsiteX2" fmla="*/ 8844 w 15569"/>
                    <a:gd name="connsiteY2" fmla="*/ 15071 h 49823"/>
                    <a:gd name="connsiteX3" fmla="*/ 15570 w 15569"/>
                    <a:gd name="connsiteY3" fmla="*/ 0 h 49823"/>
                  </a:gdLst>
                  <a:ahLst/>
                  <a:cxnLst>
                    <a:cxn ang="0">
                      <a:pos x="connsiteX0" y="connsiteY0"/>
                    </a:cxn>
                    <a:cxn ang="0">
                      <a:pos x="connsiteX1" y="connsiteY1"/>
                    </a:cxn>
                    <a:cxn ang="0">
                      <a:pos x="connsiteX2" y="connsiteY2"/>
                    </a:cxn>
                    <a:cxn ang="0">
                      <a:pos x="connsiteX3" y="connsiteY3"/>
                    </a:cxn>
                  </a:cxnLst>
                  <a:rect l="l" t="t" r="r" b="b"/>
                  <a:pathLst>
                    <a:path w="15569" h="49823">
                      <a:moveTo>
                        <a:pt x="0" y="49823"/>
                      </a:moveTo>
                      <a:cubicBezTo>
                        <a:pt x="4733" y="42848"/>
                        <a:pt x="6477" y="36745"/>
                        <a:pt x="7224" y="32510"/>
                      </a:cubicBezTo>
                      <a:cubicBezTo>
                        <a:pt x="8470" y="25659"/>
                        <a:pt x="7224" y="22047"/>
                        <a:pt x="8844" y="15071"/>
                      </a:cubicBezTo>
                      <a:cubicBezTo>
                        <a:pt x="10338" y="8345"/>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9" name="Freeform 8555">
                  <a:extLst>
                    <a:ext uri="{FF2B5EF4-FFF2-40B4-BE49-F238E27FC236}">
                      <a16:creationId xmlns:a16="http://schemas.microsoft.com/office/drawing/2014/main" id="{7137F681-B155-B883-943D-07414538DE0F}"/>
                    </a:ext>
                  </a:extLst>
                </p:cNvPr>
                <p:cNvSpPr/>
                <p:nvPr/>
              </p:nvSpPr>
              <p:spPr>
                <a:xfrm>
                  <a:off x="3081033" y="1547579"/>
                  <a:ext cx="14355" cy="50196"/>
                </a:xfrm>
                <a:custGeom>
                  <a:avLst/>
                  <a:gdLst>
                    <a:gd name="connsiteX0" fmla="*/ 14350 w 14355"/>
                    <a:gd name="connsiteY0" fmla="*/ 0 h 50196"/>
                    <a:gd name="connsiteX1" fmla="*/ 10862 w 14355"/>
                    <a:gd name="connsiteY1" fmla="*/ 18559 h 50196"/>
                    <a:gd name="connsiteX2" fmla="*/ 2641 w 14355"/>
                    <a:gd name="connsiteY2" fmla="*/ 33880 h 50196"/>
                    <a:gd name="connsiteX3" fmla="*/ 26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14350" y="0"/>
                      </a:moveTo>
                      <a:cubicBezTo>
                        <a:pt x="14474" y="8470"/>
                        <a:pt x="12606" y="14573"/>
                        <a:pt x="10862" y="18559"/>
                      </a:cubicBezTo>
                      <a:cubicBezTo>
                        <a:pt x="8122" y="25036"/>
                        <a:pt x="5257" y="27278"/>
                        <a:pt x="2641" y="33880"/>
                      </a:cubicBezTo>
                      <a:cubicBezTo>
                        <a:pt x="150" y="40357"/>
                        <a:pt x="-99" y="46211"/>
                        <a:pt x="26"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0" name="Freeform 8556">
                  <a:extLst>
                    <a:ext uri="{FF2B5EF4-FFF2-40B4-BE49-F238E27FC236}">
                      <a16:creationId xmlns:a16="http://schemas.microsoft.com/office/drawing/2014/main" id="{CF5F0107-19F7-AA62-AE14-49E99F7F132B}"/>
                    </a:ext>
                  </a:extLst>
                </p:cNvPr>
                <p:cNvSpPr/>
                <p:nvPr/>
              </p:nvSpPr>
              <p:spPr>
                <a:xfrm>
                  <a:off x="3070526" y="1587434"/>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034" y="-1616"/>
                        <a:pt x="17134" y="626"/>
                      </a:cubicBezTo>
                      <a:cubicBezTo>
                        <a:pt x="24234" y="2868"/>
                        <a:pt x="28219" y="10217"/>
                        <a:pt x="26102" y="17316"/>
                      </a:cubicBezTo>
                      <a:cubicBezTo>
                        <a:pt x="23985" y="24292"/>
                        <a:pt x="16636" y="28277"/>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1" name="Freeform 8557">
                  <a:extLst>
                    <a:ext uri="{FF2B5EF4-FFF2-40B4-BE49-F238E27FC236}">
                      <a16:creationId xmlns:a16="http://schemas.microsoft.com/office/drawing/2014/main" id="{C87C8137-8B4F-41E7-C3D9-2C9D2AB08966}"/>
                    </a:ext>
                  </a:extLst>
                </p:cNvPr>
                <p:cNvSpPr/>
                <p:nvPr/>
              </p:nvSpPr>
              <p:spPr>
                <a:xfrm>
                  <a:off x="3097749" y="1489161"/>
                  <a:ext cx="15569" cy="49823"/>
                </a:xfrm>
                <a:custGeom>
                  <a:avLst/>
                  <a:gdLst>
                    <a:gd name="connsiteX0" fmla="*/ 15570 w 15569"/>
                    <a:gd name="connsiteY0" fmla="*/ 0 h 49823"/>
                    <a:gd name="connsiteX1" fmla="*/ 8345 w 15569"/>
                    <a:gd name="connsiteY1" fmla="*/ 17314 h 49823"/>
                    <a:gd name="connsiteX2" fmla="*/ 6726 w 15569"/>
                    <a:gd name="connsiteY2" fmla="*/ 34752 h 49823"/>
                    <a:gd name="connsiteX3" fmla="*/ 0 w 15569"/>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69" h="49823">
                      <a:moveTo>
                        <a:pt x="15570" y="0"/>
                      </a:moveTo>
                      <a:cubicBezTo>
                        <a:pt x="10961" y="6975"/>
                        <a:pt x="9093" y="13079"/>
                        <a:pt x="8345" y="17314"/>
                      </a:cubicBezTo>
                      <a:cubicBezTo>
                        <a:pt x="7100" y="24164"/>
                        <a:pt x="8221" y="27776"/>
                        <a:pt x="6726" y="34752"/>
                      </a:cubicBezTo>
                      <a:cubicBezTo>
                        <a:pt x="5231" y="41478"/>
                        <a:pt x="2242" y="46585"/>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2" name="Freeform 8558">
                  <a:extLst>
                    <a:ext uri="{FF2B5EF4-FFF2-40B4-BE49-F238E27FC236}">
                      <a16:creationId xmlns:a16="http://schemas.microsoft.com/office/drawing/2014/main" id="{8FAE5370-36AA-55B7-3796-E684FC878D2C}"/>
                    </a:ext>
                  </a:extLst>
                </p:cNvPr>
                <p:cNvSpPr/>
                <p:nvPr/>
              </p:nvSpPr>
              <p:spPr>
                <a:xfrm>
                  <a:off x="3107209" y="1486421"/>
                  <a:ext cx="14231" cy="50196"/>
                </a:xfrm>
                <a:custGeom>
                  <a:avLst/>
                  <a:gdLst>
                    <a:gd name="connsiteX0" fmla="*/ 6 w 14231"/>
                    <a:gd name="connsiteY0" fmla="*/ 50197 h 50196"/>
                    <a:gd name="connsiteX1" fmla="*/ 3494 w 14231"/>
                    <a:gd name="connsiteY1" fmla="*/ 31638 h 50196"/>
                    <a:gd name="connsiteX2" fmla="*/ 11590 w 14231"/>
                    <a:gd name="connsiteY2" fmla="*/ 16317 h 50196"/>
                    <a:gd name="connsiteX3" fmla="*/ 14205 w 14231"/>
                    <a:gd name="connsiteY3" fmla="*/ 0 h 50196"/>
                  </a:gdLst>
                  <a:ahLst/>
                  <a:cxnLst>
                    <a:cxn ang="0">
                      <a:pos x="connsiteX0" y="connsiteY0"/>
                    </a:cxn>
                    <a:cxn ang="0">
                      <a:pos x="connsiteX1" y="connsiteY1"/>
                    </a:cxn>
                    <a:cxn ang="0">
                      <a:pos x="connsiteX2" y="connsiteY2"/>
                    </a:cxn>
                    <a:cxn ang="0">
                      <a:pos x="connsiteX3" y="connsiteY3"/>
                    </a:cxn>
                  </a:cxnLst>
                  <a:rect l="l" t="t" r="r" b="b"/>
                  <a:pathLst>
                    <a:path w="14231" h="50196">
                      <a:moveTo>
                        <a:pt x="6" y="50197"/>
                      </a:moveTo>
                      <a:cubicBezTo>
                        <a:pt x="-119" y="41727"/>
                        <a:pt x="1750" y="35624"/>
                        <a:pt x="3494" y="31638"/>
                      </a:cubicBezTo>
                      <a:cubicBezTo>
                        <a:pt x="6234" y="25161"/>
                        <a:pt x="9099" y="22919"/>
                        <a:pt x="11590" y="16317"/>
                      </a:cubicBezTo>
                      <a:cubicBezTo>
                        <a:pt x="14081" y="9840"/>
                        <a:pt x="14330" y="3986"/>
                        <a:pt x="142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23" name="Freeform 8559">
                  <a:extLst>
                    <a:ext uri="{FF2B5EF4-FFF2-40B4-BE49-F238E27FC236}">
                      <a16:creationId xmlns:a16="http://schemas.microsoft.com/office/drawing/2014/main" id="{59F2182F-ECE0-06E5-1807-496C710049E0}"/>
                    </a:ext>
                  </a:extLst>
                </p:cNvPr>
                <p:cNvSpPr/>
                <p:nvPr/>
              </p:nvSpPr>
              <p:spPr>
                <a:xfrm>
                  <a:off x="3105764" y="1470158"/>
                  <a:ext cx="26184" cy="26546"/>
                </a:xfrm>
                <a:custGeom>
                  <a:avLst/>
                  <a:gdLst>
                    <a:gd name="connsiteX0" fmla="*/ 25615 w 26184"/>
                    <a:gd name="connsiteY0" fmla="*/ 17135 h 26546"/>
                    <a:gd name="connsiteX1" fmla="*/ 9298 w 26184"/>
                    <a:gd name="connsiteY1" fmla="*/ 25978 h 26546"/>
                    <a:gd name="connsiteX2" fmla="*/ 579 w 26184"/>
                    <a:gd name="connsiteY2" fmla="*/ 9412 h 26546"/>
                    <a:gd name="connsiteX3" fmla="*/ 16896 w 26184"/>
                    <a:gd name="connsiteY3" fmla="*/ 568 h 26546"/>
                    <a:gd name="connsiteX4" fmla="*/ 25615 w 26184"/>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545">
                      <a:moveTo>
                        <a:pt x="25615" y="17135"/>
                      </a:moveTo>
                      <a:cubicBezTo>
                        <a:pt x="23498" y="24110"/>
                        <a:pt x="16274" y="28096"/>
                        <a:pt x="9298" y="25978"/>
                      </a:cubicBezTo>
                      <a:cubicBezTo>
                        <a:pt x="2323" y="23861"/>
                        <a:pt x="-1538" y="16387"/>
                        <a:pt x="579" y="9412"/>
                      </a:cubicBezTo>
                      <a:cubicBezTo>
                        <a:pt x="2697" y="2437"/>
                        <a:pt x="10046" y="-1549"/>
                        <a:pt x="16896" y="568"/>
                      </a:cubicBezTo>
                      <a:cubicBezTo>
                        <a:pt x="23747" y="2686"/>
                        <a:pt x="27733" y="10159"/>
                        <a:pt x="25615"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0" name="Graphic 2987">
                <a:extLst>
                  <a:ext uri="{FF2B5EF4-FFF2-40B4-BE49-F238E27FC236}">
                    <a16:creationId xmlns:a16="http://schemas.microsoft.com/office/drawing/2014/main" id="{19C68C07-1C06-58D7-1F36-80CB2D6F8D4E}"/>
                  </a:ext>
                </a:extLst>
              </p:cNvPr>
              <p:cNvGrpSpPr/>
              <p:nvPr/>
            </p:nvGrpSpPr>
            <p:grpSpPr>
              <a:xfrm>
                <a:off x="3041878" y="1461439"/>
                <a:ext cx="62045" cy="143812"/>
                <a:chOff x="3041878" y="1461439"/>
                <a:chExt cx="62045" cy="143812"/>
              </a:xfrm>
              <a:grpFill/>
            </p:grpSpPr>
            <p:sp>
              <p:nvSpPr>
                <p:cNvPr id="5712" name="Freeform 8561">
                  <a:extLst>
                    <a:ext uri="{FF2B5EF4-FFF2-40B4-BE49-F238E27FC236}">
                      <a16:creationId xmlns:a16="http://schemas.microsoft.com/office/drawing/2014/main" id="{BBFB7E70-A80E-8F04-6F0E-157E58A36E1D}"/>
                    </a:ext>
                  </a:extLst>
                </p:cNvPr>
                <p:cNvSpPr/>
                <p:nvPr/>
              </p:nvSpPr>
              <p:spPr>
                <a:xfrm>
                  <a:off x="3060880" y="1536493"/>
                  <a:ext cx="15818" cy="49698"/>
                </a:xfrm>
                <a:custGeom>
                  <a:avLst/>
                  <a:gdLst>
                    <a:gd name="connsiteX0" fmla="*/ 0 w 15818"/>
                    <a:gd name="connsiteY0" fmla="*/ 49699 h 49698"/>
                    <a:gd name="connsiteX1" fmla="*/ 7349 w 15818"/>
                    <a:gd name="connsiteY1" fmla="*/ 32385 h 49698"/>
                    <a:gd name="connsiteX2" fmla="*/ 8968 w 15818"/>
                    <a:gd name="connsiteY2" fmla="*/ 15071 h 49698"/>
                    <a:gd name="connsiteX3" fmla="*/ 15819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0" y="49699"/>
                      </a:moveTo>
                      <a:cubicBezTo>
                        <a:pt x="4733" y="42723"/>
                        <a:pt x="6477" y="36620"/>
                        <a:pt x="7349" y="32385"/>
                      </a:cubicBezTo>
                      <a:cubicBezTo>
                        <a:pt x="8594" y="25534"/>
                        <a:pt x="7473" y="21922"/>
                        <a:pt x="8968" y="15071"/>
                      </a:cubicBezTo>
                      <a:cubicBezTo>
                        <a:pt x="10463" y="8345"/>
                        <a:pt x="13452" y="3239"/>
                        <a:pt x="158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3" name="Freeform 8562">
                  <a:extLst>
                    <a:ext uri="{FF2B5EF4-FFF2-40B4-BE49-F238E27FC236}">
                      <a16:creationId xmlns:a16="http://schemas.microsoft.com/office/drawing/2014/main" id="{AC76E36E-DC8E-FFA7-FC4B-8AF753FF0991}"/>
                    </a:ext>
                  </a:extLst>
                </p:cNvPr>
                <p:cNvSpPr/>
                <p:nvPr/>
              </p:nvSpPr>
              <p:spPr>
                <a:xfrm>
                  <a:off x="3052758" y="1538735"/>
                  <a:ext cx="14349" cy="50072"/>
                </a:xfrm>
                <a:custGeom>
                  <a:avLst/>
                  <a:gdLst>
                    <a:gd name="connsiteX0" fmla="*/ 14350 w 14349"/>
                    <a:gd name="connsiteY0" fmla="*/ 0 h 50072"/>
                    <a:gd name="connsiteX1" fmla="*/ 10862 w 14349"/>
                    <a:gd name="connsiteY1" fmla="*/ 18435 h 50072"/>
                    <a:gd name="connsiteX2" fmla="*/ 2641 w 14349"/>
                    <a:gd name="connsiteY2" fmla="*/ 33755 h 50072"/>
                    <a:gd name="connsiteX3" fmla="*/ 26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14350" y="0"/>
                      </a:moveTo>
                      <a:cubicBezTo>
                        <a:pt x="14350" y="8470"/>
                        <a:pt x="12481" y="14449"/>
                        <a:pt x="10862" y="18435"/>
                      </a:cubicBezTo>
                      <a:cubicBezTo>
                        <a:pt x="8122" y="24912"/>
                        <a:pt x="5132" y="27154"/>
                        <a:pt x="2641" y="33755"/>
                      </a:cubicBezTo>
                      <a:cubicBezTo>
                        <a:pt x="150" y="40232"/>
                        <a:pt x="-99" y="46086"/>
                        <a:pt x="26"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4" name="Freeform 8563">
                  <a:extLst>
                    <a:ext uri="{FF2B5EF4-FFF2-40B4-BE49-F238E27FC236}">
                      <a16:creationId xmlns:a16="http://schemas.microsoft.com/office/drawing/2014/main" id="{B727034B-C513-36E5-EC37-45E025C7C60B}"/>
                    </a:ext>
                  </a:extLst>
                </p:cNvPr>
                <p:cNvSpPr/>
                <p:nvPr/>
              </p:nvSpPr>
              <p:spPr>
                <a:xfrm>
                  <a:off x="3041878" y="1578591"/>
                  <a:ext cx="26669" cy="26661"/>
                </a:xfrm>
                <a:custGeom>
                  <a:avLst/>
                  <a:gdLst>
                    <a:gd name="connsiteX0" fmla="*/ 568 w 26669"/>
                    <a:gd name="connsiteY0" fmla="*/ 9345 h 26661"/>
                    <a:gd name="connsiteX1" fmla="*/ 17134 w 26669"/>
                    <a:gd name="connsiteY1" fmla="*/ 626 h 26661"/>
                    <a:gd name="connsiteX2" fmla="*/ 26102 w 26669"/>
                    <a:gd name="connsiteY2" fmla="*/ 17316 h 26661"/>
                    <a:gd name="connsiteX3" fmla="*/ 9536 w 26669"/>
                    <a:gd name="connsiteY3" fmla="*/ 26035 h 26661"/>
                    <a:gd name="connsiteX4" fmla="*/ 568 w 26669"/>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61">
                      <a:moveTo>
                        <a:pt x="568" y="9345"/>
                      </a:moveTo>
                      <a:cubicBezTo>
                        <a:pt x="2685" y="2370"/>
                        <a:pt x="10159" y="-1616"/>
                        <a:pt x="17134" y="626"/>
                      </a:cubicBezTo>
                      <a:cubicBezTo>
                        <a:pt x="24234" y="2868"/>
                        <a:pt x="28219" y="10217"/>
                        <a:pt x="26102" y="17316"/>
                      </a:cubicBezTo>
                      <a:cubicBezTo>
                        <a:pt x="23985" y="24292"/>
                        <a:pt x="16511" y="28278"/>
                        <a:pt x="9536" y="26035"/>
                      </a:cubicBezTo>
                      <a:cubicBezTo>
                        <a:pt x="2436" y="23793"/>
                        <a:pt x="-1550" y="16320"/>
                        <a:pt x="56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5" name="Freeform 8564">
                  <a:extLst>
                    <a:ext uri="{FF2B5EF4-FFF2-40B4-BE49-F238E27FC236}">
                      <a16:creationId xmlns:a16="http://schemas.microsoft.com/office/drawing/2014/main" id="{C59AC49F-BCCD-DA6A-3DE6-194BE79A4455}"/>
                    </a:ext>
                  </a:extLst>
                </p:cNvPr>
                <p:cNvSpPr/>
                <p:nvPr/>
              </p:nvSpPr>
              <p:spPr>
                <a:xfrm>
                  <a:off x="3069350" y="1480442"/>
                  <a:ext cx="15943" cy="49698"/>
                </a:xfrm>
                <a:custGeom>
                  <a:avLst/>
                  <a:gdLst>
                    <a:gd name="connsiteX0" fmla="*/ 15943 w 15943"/>
                    <a:gd name="connsiteY0" fmla="*/ 0 h 49698"/>
                    <a:gd name="connsiteX1" fmla="*/ 8595 w 15943"/>
                    <a:gd name="connsiteY1" fmla="*/ 17314 h 49698"/>
                    <a:gd name="connsiteX2" fmla="*/ 6851 w 15943"/>
                    <a:gd name="connsiteY2" fmla="*/ 34627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1210" y="6975"/>
                        <a:pt x="9466" y="13079"/>
                        <a:pt x="8595" y="17314"/>
                      </a:cubicBezTo>
                      <a:cubicBezTo>
                        <a:pt x="7349" y="24164"/>
                        <a:pt x="8470" y="27776"/>
                        <a:pt x="6851" y="34627"/>
                      </a:cubicBezTo>
                      <a:cubicBezTo>
                        <a:pt x="5356" y="41353"/>
                        <a:pt x="2367" y="46460"/>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6" name="Freeform 8565">
                  <a:extLst>
                    <a:ext uri="{FF2B5EF4-FFF2-40B4-BE49-F238E27FC236}">
                      <a16:creationId xmlns:a16="http://schemas.microsoft.com/office/drawing/2014/main" id="{04693F95-8A78-B64E-392F-E999ECA8206E}"/>
                    </a:ext>
                  </a:extLst>
                </p:cNvPr>
                <p:cNvSpPr/>
                <p:nvPr/>
              </p:nvSpPr>
              <p:spPr>
                <a:xfrm>
                  <a:off x="3078941" y="1477702"/>
                  <a:ext cx="14448" cy="50072"/>
                </a:xfrm>
                <a:custGeom>
                  <a:avLst/>
                  <a:gdLst>
                    <a:gd name="connsiteX0" fmla="*/ 0 w 14448"/>
                    <a:gd name="connsiteY0" fmla="*/ 50072 h 50072"/>
                    <a:gd name="connsiteX1" fmla="*/ 3488 w 14448"/>
                    <a:gd name="connsiteY1" fmla="*/ 31638 h 50072"/>
                    <a:gd name="connsiteX2" fmla="*/ 11708 w 14448"/>
                    <a:gd name="connsiteY2" fmla="*/ 16317 h 50072"/>
                    <a:gd name="connsiteX3" fmla="*/ 14449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0" y="41602"/>
                        <a:pt x="1868" y="35624"/>
                        <a:pt x="3488" y="31638"/>
                      </a:cubicBezTo>
                      <a:cubicBezTo>
                        <a:pt x="6228" y="25161"/>
                        <a:pt x="9093" y="22919"/>
                        <a:pt x="11708" y="16317"/>
                      </a:cubicBezTo>
                      <a:cubicBezTo>
                        <a:pt x="14200" y="9840"/>
                        <a:pt x="14449" y="3986"/>
                        <a:pt x="144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7" name="Freeform 8566">
                  <a:extLst>
                    <a:ext uri="{FF2B5EF4-FFF2-40B4-BE49-F238E27FC236}">
                      <a16:creationId xmlns:a16="http://schemas.microsoft.com/office/drawing/2014/main" id="{68B685E7-8983-320E-75E9-B05CB9E00497}"/>
                    </a:ext>
                  </a:extLst>
                </p:cNvPr>
                <p:cNvSpPr/>
                <p:nvPr/>
              </p:nvSpPr>
              <p:spPr>
                <a:xfrm>
                  <a:off x="3077614" y="1461439"/>
                  <a:ext cx="26309" cy="26546"/>
                </a:xfrm>
                <a:custGeom>
                  <a:avLst/>
                  <a:gdLst>
                    <a:gd name="connsiteX0" fmla="*/ 25740 w 26309"/>
                    <a:gd name="connsiteY0" fmla="*/ 17135 h 26546"/>
                    <a:gd name="connsiteX1" fmla="*/ 9298 w 26309"/>
                    <a:gd name="connsiteY1" fmla="*/ 25978 h 26546"/>
                    <a:gd name="connsiteX2" fmla="*/ 579 w 26309"/>
                    <a:gd name="connsiteY2" fmla="*/ 9412 h 26546"/>
                    <a:gd name="connsiteX3" fmla="*/ 17021 w 26309"/>
                    <a:gd name="connsiteY3" fmla="*/ 568 h 26546"/>
                    <a:gd name="connsiteX4" fmla="*/ 25740 w 26309"/>
                    <a:gd name="connsiteY4" fmla="*/ 1713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45">
                      <a:moveTo>
                        <a:pt x="25740" y="17135"/>
                      </a:moveTo>
                      <a:cubicBezTo>
                        <a:pt x="23623" y="24110"/>
                        <a:pt x="16274" y="28096"/>
                        <a:pt x="9298" y="25978"/>
                      </a:cubicBezTo>
                      <a:cubicBezTo>
                        <a:pt x="2323" y="23861"/>
                        <a:pt x="-1538" y="16387"/>
                        <a:pt x="579" y="9412"/>
                      </a:cubicBezTo>
                      <a:cubicBezTo>
                        <a:pt x="2697" y="2437"/>
                        <a:pt x="10046" y="-1549"/>
                        <a:pt x="17021" y="568"/>
                      </a:cubicBezTo>
                      <a:cubicBezTo>
                        <a:pt x="23872" y="2686"/>
                        <a:pt x="27858" y="10159"/>
                        <a:pt x="25740" y="171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1" name="Graphic 2987">
                <a:extLst>
                  <a:ext uri="{FF2B5EF4-FFF2-40B4-BE49-F238E27FC236}">
                    <a16:creationId xmlns:a16="http://schemas.microsoft.com/office/drawing/2014/main" id="{8174940F-14CE-C873-BEC3-32BB16D1ABC8}"/>
                  </a:ext>
                </a:extLst>
              </p:cNvPr>
              <p:cNvGrpSpPr/>
              <p:nvPr/>
            </p:nvGrpSpPr>
            <p:grpSpPr>
              <a:xfrm>
                <a:off x="3013353" y="1452663"/>
                <a:ext cx="62419" cy="143699"/>
                <a:chOff x="3013353" y="1452663"/>
                <a:chExt cx="62419" cy="143699"/>
              </a:xfrm>
              <a:grpFill/>
            </p:grpSpPr>
            <p:sp>
              <p:nvSpPr>
                <p:cNvPr id="5706" name="Freeform 8568">
                  <a:extLst>
                    <a:ext uri="{FF2B5EF4-FFF2-40B4-BE49-F238E27FC236}">
                      <a16:creationId xmlns:a16="http://schemas.microsoft.com/office/drawing/2014/main" id="{CE65F021-3AE2-D7E5-FB93-97414EC09F78}"/>
                    </a:ext>
                  </a:extLst>
                </p:cNvPr>
                <p:cNvSpPr/>
                <p:nvPr/>
              </p:nvSpPr>
              <p:spPr>
                <a:xfrm>
                  <a:off x="3032356" y="1527774"/>
                  <a:ext cx="15943" cy="49573"/>
                </a:xfrm>
                <a:custGeom>
                  <a:avLst/>
                  <a:gdLst>
                    <a:gd name="connsiteX0" fmla="*/ 0 w 15943"/>
                    <a:gd name="connsiteY0" fmla="*/ 49574 h 49573"/>
                    <a:gd name="connsiteX1" fmla="*/ 7349 w 15943"/>
                    <a:gd name="connsiteY1" fmla="*/ 32260 h 49573"/>
                    <a:gd name="connsiteX2" fmla="*/ 9093 w 15943"/>
                    <a:gd name="connsiteY2" fmla="*/ 14947 h 49573"/>
                    <a:gd name="connsiteX3" fmla="*/ 15943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0" y="49574"/>
                      </a:moveTo>
                      <a:cubicBezTo>
                        <a:pt x="4733" y="42599"/>
                        <a:pt x="6602" y="36620"/>
                        <a:pt x="7349" y="32260"/>
                      </a:cubicBezTo>
                      <a:cubicBezTo>
                        <a:pt x="8595" y="25410"/>
                        <a:pt x="7474" y="21798"/>
                        <a:pt x="9093" y="14947"/>
                      </a:cubicBezTo>
                      <a:cubicBezTo>
                        <a:pt x="10587" y="8221"/>
                        <a:pt x="13701" y="3114"/>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7" name="Freeform 8569">
                  <a:extLst>
                    <a:ext uri="{FF2B5EF4-FFF2-40B4-BE49-F238E27FC236}">
                      <a16:creationId xmlns:a16="http://schemas.microsoft.com/office/drawing/2014/main" id="{07D62BA6-DCEE-EC12-7AE6-E16C3D0629B7}"/>
                    </a:ext>
                  </a:extLst>
                </p:cNvPr>
                <p:cNvSpPr/>
                <p:nvPr/>
              </p:nvSpPr>
              <p:spPr>
                <a:xfrm>
                  <a:off x="3023990" y="1530016"/>
                  <a:ext cx="14718" cy="50072"/>
                </a:xfrm>
                <a:custGeom>
                  <a:avLst/>
                  <a:gdLst>
                    <a:gd name="connsiteX0" fmla="*/ 14719 w 14718"/>
                    <a:gd name="connsiteY0" fmla="*/ 0 h 50072"/>
                    <a:gd name="connsiteX1" fmla="*/ 11106 w 14718"/>
                    <a:gd name="connsiteY1" fmla="*/ 18435 h 50072"/>
                    <a:gd name="connsiteX2" fmla="*/ 2761 w 14718"/>
                    <a:gd name="connsiteY2" fmla="*/ 33755 h 50072"/>
                    <a:gd name="connsiteX3" fmla="*/ 21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0"/>
                      </a:moveTo>
                      <a:cubicBezTo>
                        <a:pt x="14719" y="8470"/>
                        <a:pt x="12850" y="14449"/>
                        <a:pt x="11106" y="18435"/>
                      </a:cubicBezTo>
                      <a:cubicBezTo>
                        <a:pt x="8366" y="24912"/>
                        <a:pt x="5377" y="27154"/>
                        <a:pt x="2761" y="33755"/>
                      </a:cubicBezTo>
                      <a:cubicBezTo>
                        <a:pt x="270" y="40232"/>
                        <a:pt x="-104"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8" name="Freeform 8570">
                  <a:extLst>
                    <a:ext uri="{FF2B5EF4-FFF2-40B4-BE49-F238E27FC236}">
                      <a16:creationId xmlns:a16="http://schemas.microsoft.com/office/drawing/2014/main" id="{61CC0317-7B5E-126A-D1A1-2CA30CA54DFA}"/>
                    </a:ext>
                  </a:extLst>
                </p:cNvPr>
                <p:cNvSpPr/>
                <p:nvPr/>
              </p:nvSpPr>
              <p:spPr>
                <a:xfrm>
                  <a:off x="3013353" y="1569793"/>
                  <a:ext cx="26727" cy="26568"/>
                </a:xfrm>
                <a:custGeom>
                  <a:avLst/>
                  <a:gdLst>
                    <a:gd name="connsiteX0" fmla="*/ 568 w 26727"/>
                    <a:gd name="connsiteY0" fmla="*/ 9298 h 26568"/>
                    <a:gd name="connsiteX1" fmla="*/ 17259 w 26727"/>
                    <a:gd name="connsiteY1" fmla="*/ 579 h 26568"/>
                    <a:gd name="connsiteX2" fmla="*/ 26103 w 26727"/>
                    <a:gd name="connsiteY2" fmla="*/ 17270 h 26568"/>
                    <a:gd name="connsiteX3" fmla="*/ 9412 w 26727"/>
                    <a:gd name="connsiteY3" fmla="*/ 25989 h 26568"/>
                    <a:gd name="connsiteX4" fmla="*/ 568 w 26727"/>
                    <a:gd name="connsiteY4" fmla="*/ 9298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 h="26567">
                      <a:moveTo>
                        <a:pt x="568" y="9298"/>
                      </a:moveTo>
                      <a:cubicBezTo>
                        <a:pt x="2686" y="2323"/>
                        <a:pt x="10159" y="-1538"/>
                        <a:pt x="17259" y="579"/>
                      </a:cubicBezTo>
                      <a:cubicBezTo>
                        <a:pt x="24359" y="2697"/>
                        <a:pt x="28345" y="10170"/>
                        <a:pt x="26103" y="17270"/>
                      </a:cubicBezTo>
                      <a:cubicBezTo>
                        <a:pt x="23985" y="24245"/>
                        <a:pt x="16512" y="28107"/>
                        <a:pt x="9412" y="25989"/>
                      </a:cubicBezTo>
                      <a:cubicBezTo>
                        <a:pt x="2437" y="23623"/>
                        <a:pt x="-1549" y="16274"/>
                        <a:pt x="568"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9" name="Freeform 8571">
                  <a:extLst>
                    <a:ext uri="{FF2B5EF4-FFF2-40B4-BE49-F238E27FC236}">
                      <a16:creationId xmlns:a16="http://schemas.microsoft.com/office/drawing/2014/main" id="{C56644E2-0BB5-ADA1-539E-F719859817CD}"/>
                    </a:ext>
                  </a:extLst>
                </p:cNvPr>
                <p:cNvSpPr/>
                <p:nvPr/>
              </p:nvSpPr>
              <p:spPr>
                <a:xfrm>
                  <a:off x="3041200" y="1471723"/>
                  <a:ext cx="15943" cy="49573"/>
                </a:xfrm>
                <a:custGeom>
                  <a:avLst/>
                  <a:gdLst>
                    <a:gd name="connsiteX0" fmla="*/ 15943 w 15943"/>
                    <a:gd name="connsiteY0" fmla="*/ 0 h 49573"/>
                    <a:gd name="connsiteX1" fmla="*/ 8595 w 15943"/>
                    <a:gd name="connsiteY1" fmla="*/ 17314 h 49573"/>
                    <a:gd name="connsiteX2" fmla="*/ 6851 w 15943"/>
                    <a:gd name="connsiteY2" fmla="*/ 34627 h 49573"/>
                    <a:gd name="connsiteX3" fmla="*/ 0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0"/>
                      </a:moveTo>
                      <a:cubicBezTo>
                        <a:pt x="11210" y="6975"/>
                        <a:pt x="9342" y="13079"/>
                        <a:pt x="8595" y="17314"/>
                      </a:cubicBezTo>
                      <a:cubicBezTo>
                        <a:pt x="7224" y="24164"/>
                        <a:pt x="8470" y="27776"/>
                        <a:pt x="6851" y="34627"/>
                      </a:cubicBezTo>
                      <a:cubicBezTo>
                        <a:pt x="5356"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0" name="Freeform 8572">
                  <a:extLst>
                    <a:ext uri="{FF2B5EF4-FFF2-40B4-BE49-F238E27FC236}">
                      <a16:creationId xmlns:a16="http://schemas.microsoft.com/office/drawing/2014/main" id="{495EA5B2-C6D1-3408-7FCB-D94E1714BF84}"/>
                    </a:ext>
                  </a:extLst>
                </p:cNvPr>
                <p:cNvSpPr/>
                <p:nvPr/>
              </p:nvSpPr>
              <p:spPr>
                <a:xfrm>
                  <a:off x="3050666" y="1468983"/>
                  <a:ext cx="14594" cy="50072"/>
                </a:xfrm>
                <a:custGeom>
                  <a:avLst/>
                  <a:gdLst>
                    <a:gd name="connsiteX0" fmla="*/ 0 w 14594"/>
                    <a:gd name="connsiteY0" fmla="*/ 50072 h 50072"/>
                    <a:gd name="connsiteX1" fmla="*/ 3612 w 14594"/>
                    <a:gd name="connsiteY1" fmla="*/ 31638 h 50072"/>
                    <a:gd name="connsiteX2" fmla="*/ 11833 w 14594"/>
                    <a:gd name="connsiteY2" fmla="*/ 16317 h 50072"/>
                    <a:gd name="connsiteX3" fmla="*/ 14573 w 14594"/>
                    <a:gd name="connsiteY3" fmla="*/ 0 h 50072"/>
                  </a:gdLst>
                  <a:ahLst/>
                  <a:cxnLst>
                    <a:cxn ang="0">
                      <a:pos x="connsiteX0" y="connsiteY0"/>
                    </a:cxn>
                    <a:cxn ang="0">
                      <a:pos x="connsiteX1" y="connsiteY1"/>
                    </a:cxn>
                    <a:cxn ang="0">
                      <a:pos x="connsiteX2" y="connsiteY2"/>
                    </a:cxn>
                    <a:cxn ang="0">
                      <a:pos x="connsiteX3" y="connsiteY3"/>
                    </a:cxn>
                  </a:cxnLst>
                  <a:rect l="l" t="t" r="r" b="b"/>
                  <a:pathLst>
                    <a:path w="14594" h="50072">
                      <a:moveTo>
                        <a:pt x="0" y="50072"/>
                      </a:moveTo>
                      <a:cubicBezTo>
                        <a:pt x="0" y="41602"/>
                        <a:pt x="1868" y="35624"/>
                        <a:pt x="3612" y="31638"/>
                      </a:cubicBezTo>
                      <a:cubicBezTo>
                        <a:pt x="6352" y="25161"/>
                        <a:pt x="9342" y="22919"/>
                        <a:pt x="11833" y="16317"/>
                      </a:cubicBezTo>
                      <a:cubicBezTo>
                        <a:pt x="14324" y="9840"/>
                        <a:pt x="14698" y="3986"/>
                        <a:pt x="145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11" name="Freeform 8573">
                  <a:extLst>
                    <a:ext uri="{FF2B5EF4-FFF2-40B4-BE49-F238E27FC236}">
                      <a16:creationId xmlns:a16="http://schemas.microsoft.com/office/drawing/2014/main" id="{6A70AB1C-DC4E-9634-6D3A-59C77E23DC17}"/>
                    </a:ext>
                  </a:extLst>
                </p:cNvPr>
                <p:cNvSpPr/>
                <p:nvPr/>
              </p:nvSpPr>
              <p:spPr>
                <a:xfrm>
                  <a:off x="3049464" y="1452663"/>
                  <a:ext cx="26309" cy="26536"/>
                </a:xfrm>
                <a:custGeom>
                  <a:avLst/>
                  <a:gdLst>
                    <a:gd name="connsiteX0" fmla="*/ 25740 w 26309"/>
                    <a:gd name="connsiteY0" fmla="*/ 17192 h 26536"/>
                    <a:gd name="connsiteX1" fmla="*/ 9299 w 26309"/>
                    <a:gd name="connsiteY1" fmla="*/ 25911 h 26536"/>
                    <a:gd name="connsiteX2" fmla="*/ 579 w 26309"/>
                    <a:gd name="connsiteY2" fmla="*/ 9345 h 26536"/>
                    <a:gd name="connsiteX3" fmla="*/ 17021 w 26309"/>
                    <a:gd name="connsiteY3" fmla="*/ 626 h 26536"/>
                    <a:gd name="connsiteX4" fmla="*/ 25740 w 26309"/>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36">
                      <a:moveTo>
                        <a:pt x="25740" y="17192"/>
                      </a:moveTo>
                      <a:cubicBezTo>
                        <a:pt x="23623" y="24167"/>
                        <a:pt x="16274" y="28153"/>
                        <a:pt x="9299" y="25911"/>
                      </a:cubicBezTo>
                      <a:cubicBezTo>
                        <a:pt x="2323" y="23669"/>
                        <a:pt x="-1538" y="16320"/>
                        <a:pt x="579" y="9345"/>
                      </a:cubicBezTo>
                      <a:cubicBezTo>
                        <a:pt x="2697" y="2370"/>
                        <a:pt x="10170" y="-1616"/>
                        <a:pt x="17021" y="626"/>
                      </a:cubicBezTo>
                      <a:cubicBezTo>
                        <a:pt x="23872" y="2868"/>
                        <a:pt x="27858" y="10217"/>
                        <a:pt x="25740"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2" name="Graphic 2987">
                <a:extLst>
                  <a:ext uri="{FF2B5EF4-FFF2-40B4-BE49-F238E27FC236}">
                    <a16:creationId xmlns:a16="http://schemas.microsoft.com/office/drawing/2014/main" id="{BE0E73A9-228E-238B-6550-E6A84F5D2FD7}"/>
                  </a:ext>
                </a:extLst>
              </p:cNvPr>
              <p:cNvGrpSpPr/>
              <p:nvPr/>
            </p:nvGrpSpPr>
            <p:grpSpPr>
              <a:xfrm>
                <a:off x="2984773" y="1443944"/>
                <a:ext cx="62985" cy="143325"/>
                <a:chOff x="2984773" y="1443944"/>
                <a:chExt cx="62985" cy="143325"/>
              </a:xfrm>
              <a:grpFill/>
            </p:grpSpPr>
            <p:sp>
              <p:nvSpPr>
                <p:cNvPr id="5700" name="Freeform 8575">
                  <a:extLst>
                    <a:ext uri="{FF2B5EF4-FFF2-40B4-BE49-F238E27FC236}">
                      <a16:creationId xmlns:a16="http://schemas.microsoft.com/office/drawing/2014/main" id="{285598C0-248F-DC0F-336D-1FBAA7C95E71}"/>
                    </a:ext>
                  </a:extLst>
                </p:cNvPr>
                <p:cNvSpPr/>
                <p:nvPr/>
              </p:nvSpPr>
              <p:spPr>
                <a:xfrm>
                  <a:off x="3003708" y="1518930"/>
                  <a:ext cx="16192" cy="49573"/>
                </a:xfrm>
                <a:custGeom>
                  <a:avLst/>
                  <a:gdLst>
                    <a:gd name="connsiteX0" fmla="*/ 0 w 16192"/>
                    <a:gd name="connsiteY0" fmla="*/ 49574 h 49573"/>
                    <a:gd name="connsiteX1" fmla="*/ 7474 w 16192"/>
                    <a:gd name="connsiteY1" fmla="*/ 32260 h 49573"/>
                    <a:gd name="connsiteX2" fmla="*/ 9217 w 16192"/>
                    <a:gd name="connsiteY2" fmla="*/ 14947 h 49573"/>
                    <a:gd name="connsiteX3" fmla="*/ 16193 w 16192"/>
                    <a:gd name="connsiteY3" fmla="*/ 0 h 49573"/>
                  </a:gdLst>
                  <a:ahLst/>
                  <a:cxnLst>
                    <a:cxn ang="0">
                      <a:pos x="connsiteX0" y="connsiteY0"/>
                    </a:cxn>
                    <a:cxn ang="0">
                      <a:pos x="connsiteX1" y="connsiteY1"/>
                    </a:cxn>
                    <a:cxn ang="0">
                      <a:pos x="connsiteX2" y="connsiteY2"/>
                    </a:cxn>
                    <a:cxn ang="0">
                      <a:pos x="connsiteX3" y="connsiteY3"/>
                    </a:cxn>
                  </a:cxnLst>
                  <a:rect l="l" t="t" r="r" b="b"/>
                  <a:pathLst>
                    <a:path w="16192" h="49573">
                      <a:moveTo>
                        <a:pt x="0" y="49574"/>
                      </a:moveTo>
                      <a:cubicBezTo>
                        <a:pt x="4733" y="42599"/>
                        <a:pt x="6602" y="36620"/>
                        <a:pt x="7474" y="32260"/>
                      </a:cubicBezTo>
                      <a:cubicBezTo>
                        <a:pt x="8844" y="25410"/>
                        <a:pt x="7598" y="21798"/>
                        <a:pt x="9217" y="14947"/>
                      </a:cubicBezTo>
                      <a:cubicBezTo>
                        <a:pt x="10837" y="8221"/>
                        <a:pt x="13826" y="3114"/>
                        <a:pt x="161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1" name="Freeform 8576">
                  <a:extLst>
                    <a:ext uri="{FF2B5EF4-FFF2-40B4-BE49-F238E27FC236}">
                      <a16:creationId xmlns:a16="http://schemas.microsoft.com/office/drawing/2014/main" id="{FC9E84F6-8667-5F9B-2F92-D01CA10E10FF}"/>
                    </a:ext>
                  </a:extLst>
                </p:cNvPr>
                <p:cNvSpPr/>
                <p:nvPr/>
              </p:nvSpPr>
              <p:spPr>
                <a:xfrm>
                  <a:off x="2995362" y="1521172"/>
                  <a:ext cx="14946" cy="50072"/>
                </a:xfrm>
                <a:custGeom>
                  <a:avLst/>
                  <a:gdLst>
                    <a:gd name="connsiteX0" fmla="*/ 14947 w 14946"/>
                    <a:gd name="connsiteY0" fmla="*/ 0 h 50072"/>
                    <a:gd name="connsiteX1" fmla="*/ 11210 w 14946"/>
                    <a:gd name="connsiteY1" fmla="*/ 18435 h 50072"/>
                    <a:gd name="connsiteX2" fmla="*/ 2865 w 14946"/>
                    <a:gd name="connsiteY2" fmla="*/ 33755 h 50072"/>
                    <a:gd name="connsiteX3" fmla="*/ 0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14947" y="0"/>
                      </a:moveTo>
                      <a:cubicBezTo>
                        <a:pt x="14947" y="8470"/>
                        <a:pt x="13079" y="14449"/>
                        <a:pt x="11210" y="18435"/>
                      </a:cubicBezTo>
                      <a:cubicBezTo>
                        <a:pt x="8345" y="24787"/>
                        <a:pt x="5481" y="27154"/>
                        <a:pt x="2865" y="33755"/>
                      </a:cubicBezTo>
                      <a:cubicBezTo>
                        <a:pt x="374"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2" name="Freeform 8577">
                  <a:extLst>
                    <a:ext uri="{FF2B5EF4-FFF2-40B4-BE49-F238E27FC236}">
                      <a16:creationId xmlns:a16="http://schemas.microsoft.com/office/drawing/2014/main" id="{FB924570-B7EC-12C2-5313-970000613525}"/>
                    </a:ext>
                  </a:extLst>
                </p:cNvPr>
                <p:cNvSpPr/>
                <p:nvPr/>
              </p:nvSpPr>
              <p:spPr>
                <a:xfrm>
                  <a:off x="2984773" y="1560825"/>
                  <a:ext cx="26737" cy="26444"/>
                </a:xfrm>
                <a:custGeom>
                  <a:avLst/>
                  <a:gdLst>
                    <a:gd name="connsiteX0" fmla="*/ 625 w 26737"/>
                    <a:gd name="connsiteY0" fmla="*/ 9299 h 26444"/>
                    <a:gd name="connsiteX1" fmla="*/ 17316 w 26737"/>
                    <a:gd name="connsiteY1" fmla="*/ 579 h 26444"/>
                    <a:gd name="connsiteX2" fmla="*/ 26159 w 26737"/>
                    <a:gd name="connsiteY2" fmla="*/ 17146 h 26444"/>
                    <a:gd name="connsiteX3" fmla="*/ 9468 w 26737"/>
                    <a:gd name="connsiteY3" fmla="*/ 25865 h 26444"/>
                    <a:gd name="connsiteX4" fmla="*/ 625 w 26737"/>
                    <a:gd name="connsiteY4" fmla="*/ 929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7" h="26444">
                      <a:moveTo>
                        <a:pt x="625" y="9299"/>
                      </a:moveTo>
                      <a:cubicBezTo>
                        <a:pt x="2867" y="2323"/>
                        <a:pt x="10340" y="-1538"/>
                        <a:pt x="17316" y="579"/>
                      </a:cubicBezTo>
                      <a:cubicBezTo>
                        <a:pt x="24415" y="2822"/>
                        <a:pt x="28277" y="10170"/>
                        <a:pt x="26159" y="17146"/>
                      </a:cubicBezTo>
                      <a:cubicBezTo>
                        <a:pt x="24042" y="24121"/>
                        <a:pt x="16444" y="27982"/>
                        <a:pt x="9468" y="25865"/>
                      </a:cubicBezTo>
                      <a:cubicBezTo>
                        <a:pt x="2369" y="23747"/>
                        <a:pt x="-1617" y="16274"/>
                        <a:pt x="625"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3" name="Freeform 8578">
                  <a:extLst>
                    <a:ext uri="{FF2B5EF4-FFF2-40B4-BE49-F238E27FC236}">
                      <a16:creationId xmlns:a16="http://schemas.microsoft.com/office/drawing/2014/main" id="{2F43A7D1-CF5A-7B13-9B71-C2445CC7D335}"/>
                    </a:ext>
                  </a:extLst>
                </p:cNvPr>
                <p:cNvSpPr/>
                <p:nvPr/>
              </p:nvSpPr>
              <p:spPr>
                <a:xfrm>
                  <a:off x="3012676" y="1463004"/>
                  <a:ext cx="16317" cy="49573"/>
                </a:xfrm>
                <a:custGeom>
                  <a:avLst/>
                  <a:gdLst>
                    <a:gd name="connsiteX0" fmla="*/ 16317 w 16317"/>
                    <a:gd name="connsiteY0" fmla="*/ 0 h 49573"/>
                    <a:gd name="connsiteX1" fmla="*/ 8844 w 16317"/>
                    <a:gd name="connsiteY1" fmla="*/ 17314 h 49573"/>
                    <a:gd name="connsiteX2" fmla="*/ 6975 w 16317"/>
                    <a:gd name="connsiteY2" fmla="*/ 34627 h 49573"/>
                    <a:gd name="connsiteX3" fmla="*/ 0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0"/>
                      </a:moveTo>
                      <a:cubicBezTo>
                        <a:pt x="11584" y="6975"/>
                        <a:pt x="9715" y="12954"/>
                        <a:pt x="8844" y="17314"/>
                      </a:cubicBezTo>
                      <a:cubicBezTo>
                        <a:pt x="7474" y="24164"/>
                        <a:pt x="8595" y="27776"/>
                        <a:pt x="6975" y="34627"/>
                      </a:cubicBezTo>
                      <a:cubicBezTo>
                        <a:pt x="5356" y="41353"/>
                        <a:pt x="2367"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4" name="Freeform 8579">
                  <a:extLst>
                    <a:ext uri="{FF2B5EF4-FFF2-40B4-BE49-F238E27FC236}">
                      <a16:creationId xmlns:a16="http://schemas.microsoft.com/office/drawing/2014/main" id="{4270232F-A437-093F-2413-A2B0BF7EAC77}"/>
                    </a:ext>
                  </a:extLst>
                </p:cNvPr>
                <p:cNvSpPr/>
                <p:nvPr/>
              </p:nvSpPr>
              <p:spPr>
                <a:xfrm>
                  <a:off x="3022391" y="1460139"/>
                  <a:ext cx="14947" cy="50072"/>
                </a:xfrm>
                <a:custGeom>
                  <a:avLst/>
                  <a:gdLst>
                    <a:gd name="connsiteX0" fmla="*/ 0 w 14947"/>
                    <a:gd name="connsiteY0" fmla="*/ 50072 h 50072"/>
                    <a:gd name="connsiteX1" fmla="*/ 3737 w 14947"/>
                    <a:gd name="connsiteY1" fmla="*/ 31638 h 50072"/>
                    <a:gd name="connsiteX2" fmla="*/ 12082 w 14947"/>
                    <a:gd name="connsiteY2" fmla="*/ 16317 h 50072"/>
                    <a:gd name="connsiteX3" fmla="*/ 14947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0" y="50072"/>
                      </a:moveTo>
                      <a:cubicBezTo>
                        <a:pt x="0" y="41602"/>
                        <a:pt x="1868" y="35623"/>
                        <a:pt x="3737" y="31638"/>
                      </a:cubicBezTo>
                      <a:cubicBezTo>
                        <a:pt x="6602" y="25285"/>
                        <a:pt x="9467" y="22919"/>
                        <a:pt x="12082" y="16317"/>
                      </a:cubicBezTo>
                      <a:cubicBezTo>
                        <a:pt x="14573" y="9840"/>
                        <a:pt x="14947" y="3986"/>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705" name="Freeform 8580">
                  <a:extLst>
                    <a:ext uri="{FF2B5EF4-FFF2-40B4-BE49-F238E27FC236}">
                      <a16:creationId xmlns:a16="http://schemas.microsoft.com/office/drawing/2014/main" id="{060CEA07-C2B7-BEF8-AF82-3F31E67CEAD8}"/>
                    </a:ext>
                  </a:extLst>
                </p:cNvPr>
                <p:cNvSpPr/>
                <p:nvPr/>
              </p:nvSpPr>
              <p:spPr>
                <a:xfrm>
                  <a:off x="3021380" y="1443944"/>
                  <a:ext cx="26378" cy="26536"/>
                </a:xfrm>
                <a:custGeom>
                  <a:avLst/>
                  <a:gdLst>
                    <a:gd name="connsiteX0" fmla="*/ 25798 w 26378"/>
                    <a:gd name="connsiteY0" fmla="*/ 17192 h 26536"/>
                    <a:gd name="connsiteX1" fmla="*/ 9232 w 26378"/>
                    <a:gd name="connsiteY1" fmla="*/ 25911 h 26536"/>
                    <a:gd name="connsiteX2" fmla="*/ 638 w 26378"/>
                    <a:gd name="connsiteY2" fmla="*/ 9345 h 26536"/>
                    <a:gd name="connsiteX3" fmla="*/ 17204 w 26378"/>
                    <a:gd name="connsiteY3" fmla="*/ 626 h 26536"/>
                    <a:gd name="connsiteX4" fmla="*/ 25798 w 26378"/>
                    <a:gd name="connsiteY4" fmla="*/ 17192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36">
                      <a:moveTo>
                        <a:pt x="25798" y="17192"/>
                      </a:moveTo>
                      <a:cubicBezTo>
                        <a:pt x="23681" y="24167"/>
                        <a:pt x="16207" y="28153"/>
                        <a:pt x="9232" y="25911"/>
                      </a:cubicBezTo>
                      <a:cubicBezTo>
                        <a:pt x="2257" y="23793"/>
                        <a:pt x="-1604" y="16320"/>
                        <a:pt x="638" y="9345"/>
                      </a:cubicBezTo>
                      <a:cubicBezTo>
                        <a:pt x="2880" y="2370"/>
                        <a:pt x="10229" y="-1616"/>
                        <a:pt x="17204" y="626"/>
                      </a:cubicBezTo>
                      <a:cubicBezTo>
                        <a:pt x="24054" y="2868"/>
                        <a:pt x="27916" y="10217"/>
                        <a:pt x="25798" y="171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3" name="Graphic 2987">
                <a:extLst>
                  <a:ext uri="{FF2B5EF4-FFF2-40B4-BE49-F238E27FC236}">
                    <a16:creationId xmlns:a16="http://schemas.microsoft.com/office/drawing/2014/main" id="{A4BAA6A9-2FD8-089D-EC57-6FB67280653A}"/>
                  </a:ext>
                </a:extLst>
              </p:cNvPr>
              <p:cNvGrpSpPr/>
              <p:nvPr/>
            </p:nvGrpSpPr>
            <p:grpSpPr>
              <a:xfrm>
                <a:off x="2956125" y="1435271"/>
                <a:ext cx="63541" cy="143154"/>
                <a:chOff x="2956125" y="1435271"/>
                <a:chExt cx="63541" cy="143154"/>
              </a:xfrm>
              <a:grpFill/>
            </p:grpSpPr>
            <p:sp>
              <p:nvSpPr>
                <p:cNvPr id="5694" name="Freeform 8582">
                  <a:extLst>
                    <a:ext uri="{FF2B5EF4-FFF2-40B4-BE49-F238E27FC236}">
                      <a16:creationId xmlns:a16="http://schemas.microsoft.com/office/drawing/2014/main" id="{7CE6C04A-AE20-7774-34FF-CC77A43BD93C}"/>
                    </a:ext>
                  </a:extLst>
                </p:cNvPr>
                <p:cNvSpPr/>
                <p:nvPr/>
              </p:nvSpPr>
              <p:spPr>
                <a:xfrm>
                  <a:off x="2975184" y="1510087"/>
                  <a:ext cx="16441" cy="49449"/>
                </a:xfrm>
                <a:custGeom>
                  <a:avLst/>
                  <a:gdLst>
                    <a:gd name="connsiteX0" fmla="*/ 0 w 16441"/>
                    <a:gd name="connsiteY0" fmla="*/ 49449 h 49449"/>
                    <a:gd name="connsiteX1" fmla="*/ 7598 w 16441"/>
                    <a:gd name="connsiteY1" fmla="*/ 32260 h 49449"/>
                    <a:gd name="connsiteX2" fmla="*/ 9466 w 16441"/>
                    <a:gd name="connsiteY2" fmla="*/ 14947 h 49449"/>
                    <a:gd name="connsiteX3" fmla="*/ 16442 w 16441"/>
                    <a:gd name="connsiteY3" fmla="*/ 0 h 49449"/>
                  </a:gdLst>
                  <a:ahLst/>
                  <a:cxnLst>
                    <a:cxn ang="0">
                      <a:pos x="connsiteX0" y="connsiteY0"/>
                    </a:cxn>
                    <a:cxn ang="0">
                      <a:pos x="connsiteX1" y="connsiteY1"/>
                    </a:cxn>
                    <a:cxn ang="0">
                      <a:pos x="connsiteX2" y="connsiteY2"/>
                    </a:cxn>
                    <a:cxn ang="0">
                      <a:pos x="connsiteX3" y="connsiteY3"/>
                    </a:cxn>
                  </a:cxnLst>
                  <a:rect l="l" t="t" r="r" b="b"/>
                  <a:pathLst>
                    <a:path w="16441" h="49449">
                      <a:moveTo>
                        <a:pt x="0" y="49449"/>
                      </a:moveTo>
                      <a:cubicBezTo>
                        <a:pt x="4858" y="42474"/>
                        <a:pt x="6726" y="36495"/>
                        <a:pt x="7598" y="32260"/>
                      </a:cubicBezTo>
                      <a:cubicBezTo>
                        <a:pt x="8968" y="25410"/>
                        <a:pt x="7847" y="21798"/>
                        <a:pt x="9466" y="14947"/>
                      </a:cubicBezTo>
                      <a:cubicBezTo>
                        <a:pt x="11086" y="8221"/>
                        <a:pt x="14200" y="3239"/>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5" name="Freeform 8583">
                  <a:extLst>
                    <a:ext uri="{FF2B5EF4-FFF2-40B4-BE49-F238E27FC236}">
                      <a16:creationId xmlns:a16="http://schemas.microsoft.com/office/drawing/2014/main" id="{844B14D7-A12D-AD31-812F-F2AD423CB80B}"/>
                    </a:ext>
                  </a:extLst>
                </p:cNvPr>
                <p:cNvSpPr/>
                <p:nvPr/>
              </p:nvSpPr>
              <p:spPr>
                <a:xfrm>
                  <a:off x="2966943" y="1512329"/>
                  <a:ext cx="15092" cy="49947"/>
                </a:xfrm>
                <a:custGeom>
                  <a:avLst/>
                  <a:gdLst>
                    <a:gd name="connsiteX0" fmla="*/ 15092 w 15092"/>
                    <a:gd name="connsiteY0" fmla="*/ 0 h 49947"/>
                    <a:gd name="connsiteX1" fmla="*/ 11356 w 15092"/>
                    <a:gd name="connsiteY1" fmla="*/ 18435 h 49947"/>
                    <a:gd name="connsiteX2" fmla="*/ 2885 w 15092"/>
                    <a:gd name="connsiteY2" fmla="*/ 33755 h 49947"/>
                    <a:gd name="connsiteX3" fmla="*/ 21 w 1509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92" h="49947">
                      <a:moveTo>
                        <a:pt x="15092" y="0"/>
                      </a:moveTo>
                      <a:cubicBezTo>
                        <a:pt x="15092" y="8345"/>
                        <a:pt x="13099" y="14449"/>
                        <a:pt x="11356" y="18435"/>
                      </a:cubicBezTo>
                      <a:cubicBezTo>
                        <a:pt x="8491" y="24787"/>
                        <a:pt x="5501" y="27154"/>
                        <a:pt x="2885" y="33755"/>
                      </a:cubicBezTo>
                      <a:cubicBezTo>
                        <a:pt x="270" y="40232"/>
                        <a:pt x="-104" y="46086"/>
                        <a:pt x="2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6" name="Freeform 8584">
                  <a:extLst>
                    <a:ext uri="{FF2B5EF4-FFF2-40B4-BE49-F238E27FC236}">
                      <a16:creationId xmlns:a16="http://schemas.microsoft.com/office/drawing/2014/main" id="{6B73A8C6-E52B-A63D-1EF9-97F03BC7D1C8}"/>
                    </a:ext>
                  </a:extLst>
                </p:cNvPr>
                <p:cNvSpPr/>
                <p:nvPr/>
              </p:nvSpPr>
              <p:spPr>
                <a:xfrm>
                  <a:off x="2956125" y="1551981"/>
                  <a:ext cx="26862" cy="26444"/>
                </a:xfrm>
                <a:custGeom>
                  <a:avLst/>
                  <a:gdLst>
                    <a:gd name="connsiteX0" fmla="*/ 625 w 26862"/>
                    <a:gd name="connsiteY0" fmla="*/ 9298 h 26444"/>
                    <a:gd name="connsiteX1" fmla="*/ 17440 w 26862"/>
                    <a:gd name="connsiteY1" fmla="*/ 579 h 26444"/>
                    <a:gd name="connsiteX2" fmla="*/ 26284 w 26862"/>
                    <a:gd name="connsiteY2" fmla="*/ 17146 h 26444"/>
                    <a:gd name="connsiteX3" fmla="*/ 9468 w 26862"/>
                    <a:gd name="connsiteY3" fmla="*/ 25865 h 26444"/>
                    <a:gd name="connsiteX4" fmla="*/ 625 w 26862"/>
                    <a:gd name="connsiteY4" fmla="*/ 9298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625" y="9298"/>
                      </a:moveTo>
                      <a:cubicBezTo>
                        <a:pt x="2867" y="2323"/>
                        <a:pt x="10340" y="-1538"/>
                        <a:pt x="17440" y="579"/>
                      </a:cubicBezTo>
                      <a:cubicBezTo>
                        <a:pt x="24540" y="2822"/>
                        <a:pt x="28401" y="10170"/>
                        <a:pt x="26284" y="17146"/>
                      </a:cubicBezTo>
                      <a:cubicBezTo>
                        <a:pt x="24042" y="24121"/>
                        <a:pt x="16568" y="27982"/>
                        <a:pt x="9468" y="25865"/>
                      </a:cubicBezTo>
                      <a:cubicBezTo>
                        <a:pt x="2369" y="23747"/>
                        <a:pt x="-1617" y="16274"/>
                        <a:pt x="62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7" name="Freeform 8585">
                  <a:extLst>
                    <a:ext uri="{FF2B5EF4-FFF2-40B4-BE49-F238E27FC236}">
                      <a16:creationId xmlns:a16="http://schemas.microsoft.com/office/drawing/2014/main" id="{0C7628F3-56DB-150E-0FE9-6D9C0795F2EB}"/>
                    </a:ext>
                  </a:extLst>
                </p:cNvPr>
                <p:cNvSpPr/>
                <p:nvPr/>
              </p:nvSpPr>
              <p:spPr>
                <a:xfrm>
                  <a:off x="2984526" y="1454285"/>
                  <a:ext cx="16441" cy="49449"/>
                </a:xfrm>
                <a:custGeom>
                  <a:avLst/>
                  <a:gdLst>
                    <a:gd name="connsiteX0" fmla="*/ 16442 w 16441"/>
                    <a:gd name="connsiteY0" fmla="*/ 0 h 49449"/>
                    <a:gd name="connsiteX1" fmla="*/ 8844 w 16441"/>
                    <a:gd name="connsiteY1" fmla="*/ 17189 h 49449"/>
                    <a:gd name="connsiteX2" fmla="*/ 6975 w 16441"/>
                    <a:gd name="connsiteY2" fmla="*/ 34502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1708" y="6975"/>
                        <a:pt x="9715" y="12954"/>
                        <a:pt x="8844" y="17189"/>
                      </a:cubicBezTo>
                      <a:cubicBezTo>
                        <a:pt x="7474" y="24040"/>
                        <a:pt x="8595" y="27527"/>
                        <a:pt x="6975" y="34502"/>
                      </a:cubicBezTo>
                      <a:cubicBezTo>
                        <a:pt x="5356" y="41229"/>
                        <a:pt x="2242"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8" name="Freeform 8586">
                  <a:extLst>
                    <a:ext uri="{FF2B5EF4-FFF2-40B4-BE49-F238E27FC236}">
                      <a16:creationId xmlns:a16="http://schemas.microsoft.com/office/drawing/2014/main" id="{7C21335F-3AB3-112C-55F0-927EA6DD9274}"/>
                    </a:ext>
                  </a:extLst>
                </p:cNvPr>
                <p:cNvSpPr/>
                <p:nvPr/>
              </p:nvSpPr>
              <p:spPr>
                <a:xfrm>
                  <a:off x="2994117" y="1451545"/>
                  <a:ext cx="14964" cy="49947"/>
                </a:xfrm>
                <a:custGeom>
                  <a:avLst/>
                  <a:gdLst>
                    <a:gd name="connsiteX0" fmla="*/ 0 w 14964"/>
                    <a:gd name="connsiteY0" fmla="*/ 49948 h 49947"/>
                    <a:gd name="connsiteX1" fmla="*/ 3737 w 14964"/>
                    <a:gd name="connsiteY1" fmla="*/ 31513 h 49947"/>
                    <a:gd name="connsiteX2" fmla="*/ 12082 w 14964"/>
                    <a:gd name="connsiteY2" fmla="*/ 16192 h 49947"/>
                    <a:gd name="connsiteX3" fmla="*/ 14947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0" y="49948"/>
                      </a:moveTo>
                      <a:cubicBezTo>
                        <a:pt x="0" y="41602"/>
                        <a:pt x="1993" y="35499"/>
                        <a:pt x="3737" y="31513"/>
                      </a:cubicBezTo>
                      <a:cubicBezTo>
                        <a:pt x="6602" y="25161"/>
                        <a:pt x="9466" y="22794"/>
                        <a:pt x="12082" y="16192"/>
                      </a:cubicBezTo>
                      <a:cubicBezTo>
                        <a:pt x="14573" y="9716"/>
                        <a:pt x="15071" y="3861"/>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9" name="Freeform 8587">
                  <a:extLst>
                    <a:ext uri="{FF2B5EF4-FFF2-40B4-BE49-F238E27FC236}">
                      <a16:creationId xmlns:a16="http://schemas.microsoft.com/office/drawing/2014/main" id="{147A8AB9-3252-8242-1C9B-141584D01BBF}"/>
                    </a:ext>
                  </a:extLst>
                </p:cNvPr>
                <p:cNvSpPr/>
                <p:nvPr/>
              </p:nvSpPr>
              <p:spPr>
                <a:xfrm>
                  <a:off x="2993230" y="1435271"/>
                  <a:ext cx="26435" cy="26444"/>
                </a:xfrm>
                <a:custGeom>
                  <a:avLst/>
                  <a:gdLst>
                    <a:gd name="connsiteX0" fmla="*/ 25798 w 26435"/>
                    <a:gd name="connsiteY0" fmla="*/ 17146 h 26444"/>
                    <a:gd name="connsiteX1" fmla="*/ 9232 w 26435"/>
                    <a:gd name="connsiteY1" fmla="*/ 25865 h 26444"/>
                    <a:gd name="connsiteX2" fmla="*/ 638 w 26435"/>
                    <a:gd name="connsiteY2" fmla="*/ 9299 h 26444"/>
                    <a:gd name="connsiteX3" fmla="*/ 17204 w 26435"/>
                    <a:gd name="connsiteY3" fmla="*/ 579 h 26444"/>
                    <a:gd name="connsiteX4" fmla="*/ 25798 w 26435"/>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44">
                      <a:moveTo>
                        <a:pt x="25798" y="17146"/>
                      </a:moveTo>
                      <a:cubicBezTo>
                        <a:pt x="23556" y="24121"/>
                        <a:pt x="16207" y="27982"/>
                        <a:pt x="9232" y="25865"/>
                      </a:cubicBezTo>
                      <a:cubicBezTo>
                        <a:pt x="2257" y="23747"/>
                        <a:pt x="-1605" y="16274"/>
                        <a:pt x="638" y="9299"/>
                      </a:cubicBezTo>
                      <a:cubicBezTo>
                        <a:pt x="2880" y="2323"/>
                        <a:pt x="10229" y="-1538"/>
                        <a:pt x="17204" y="579"/>
                      </a:cubicBezTo>
                      <a:cubicBezTo>
                        <a:pt x="24179" y="2822"/>
                        <a:pt x="28040" y="10170"/>
                        <a:pt x="2579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4" name="Graphic 2987">
                <a:extLst>
                  <a:ext uri="{FF2B5EF4-FFF2-40B4-BE49-F238E27FC236}">
                    <a16:creationId xmlns:a16="http://schemas.microsoft.com/office/drawing/2014/main" id="{E7210C93-5A2E-93BD-0BA9-E9E902FAF377}"/>
                  </a:ext>
                </a:extLst>
              </p:cNvPr>
              <p:cNvGrpSpPr/>
              <p:nvPr/>
            </p:nvGrpSpPr>
            <p:grpSpPr>
              <a:xfrm>
                <a:off x="2927589" y="1426552"/>
                <a:ext cx="64052" cy="143088"/>
                <a:chOff x="2927589" y="1426552"/>
                <a:chExt cx="64052" cy="143088"/>
              </a:xfrm>
              <a:grpFill/>
            </p:grpSpPr>
            <p:sp>
              <p:nvSpPr>
                <p:cNvPr id="5688" name="Freeform 8589">
                  <a:extLst>
                    <a:ext uri="{FF2B5EF4-FFF2-40B4-BE49-F238E27FC236}">
                      <a16:creationId xmlns:a16="http://schemas.microsoft.com/office/drawing/2014/main" id="{C57D523F-FF9A-183A-4232-A0B40EE96454}"/>
                    </a:ext>
                  </a:extLst>
                </p:cNvPr>
                <p:cNvSpPr/>
                <p:nvPr/>
              </p:nvSpPr>
              <p:spPr>
                <a:xfrm>
                  <a:off x="2946661" y="1501243"/>
                  <a:ext cx="16690" cy="49449"/>
                </a:xfrm>
                <a:custGeom>
                  <a:avLst/>
                  <a:gdLst>
                    <a:gd name="connsiteX0" fmla="*/ 0 w 16690"/>
                    <a:gd name="connsiteY0" fmla="*/ 49449 h 49449"/>
                    <a:gd name="connsiteX1" fmla="*/ 7598 w 16690"/>
                    <a:gd name="connsiteY1" fmla="*/ 32260 h 49449"/>
                    <a:gd name="connsiteX2" fmla="*/ 9591 w 16690"/>
                    <a:gd name="connsiteY2" fmla="*/ 14947 h 49449"/>
                    <a:gd name="connsiteX3" fmla="*/ 16691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0" y="49449"/>
                      </a:moveTo>
                      <a:cubicBezTo>
                        <a:pt x="4858" y="42474"/>
                        <a:pt x="6726" y="36495"/>
                        <a:pt x="7598" y="32260"/>
                      </a:cubicBezTo>
                      <a:cubicBezTo>
                        <a:pt x="8968" y="25410"/>
                        <a:pt x="7847" y="21922"/>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9" name="Freeform 8590">
                  <a:extLst>
                    <a:ext uri="{FF2B5EF4-FFF2-40B4-BE49-F238E27FC236}">
                      <a16:creationId xmlns:a16="http://schemas.microsoft.com/office/drawing/2014/main" id="{6B9FBC46-EB33-B787-1892-ED4151E0B999}"/>
                    </a:ext>
                  </a:extLst>
                </p:cNvPr>
                <p:cNvSpPr/>
                <p:nvPr/>
              </p:nvSpPr>
              <p:spPr>
                <a:xfrm>
                  <a:off x="2938315" y="1503610"/>
                  <a:ext cx="15320" cy="49823"/>
                </a:xfrm>
                <a:custGeom>
                  <a:avLst/>
                  <a:gdLst>
                    <a:gd name="connsiteX0" fmla="*/ 15321 w 15320"/>
                    <a:gd name="connsiteY0" fmla="*/ 0 h 49823"/>
                    <a:gd name="connsiteX1" fmla="*/ 11459 w 15320"/>
                    <a:gd name="connsiteY1" fmla="*/ 18435 h 49823"/>
                    <a:gd name="connsiteX2" fmla="*/ 2989 w 15320"/>
                    <a:gd name="connsiteY2" fmla="*/ 33631 h 49823"/>
                    <a:gd name="connsiteX3" fmla="*/ 0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0"/>
                      </a:moveTo>
                      <a:cubicBezTo>
                        <a:pt x="15196" y="8345"/>
                        <a:pt x="13328" y="14449"/>
                        <a:pt x="11459" y="18435"/>
                      </a:cubicBezTo>
                      <a:cubicBezTo>
                        <a:pt x="8595" y="24787"/>
                        <a:pt x="5605" y="27029"/>
                        <a:pt x="2989" y="33631"/>
                      </a:cubicBezTo>
                      <a:cubicBezTo>
                        <a:pt x="374"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0" name="Freeform 8591">
                  <a:extLst>
                    <a:ext uri="{FF2B5EF4-FFF2-40B4-BE49-F238E27FC236}">
                      <a16:creationId xmlns:a16="http://schemas.microsoft.com/office/drawing/2014/main" id="{99638A8C-CAC9-9900-8B08-6927D261667C}"/>
                    </a:ext>
                  </a:extLst>
                </p:cNvPr>
                <p:cNvSpPr/>
                <p:nvPr/>
              </p:nvSpPr>
              <p:spPr>
                <a:xfrm>
                  <a:off x="2927589" y="1543204"/>
                  <a:ext cx="26796" cy="26435"/>
                </a:xfrm>
                <a:custGeom>
                  <a:avLst/>
                  <a:gdLst>
                    <a:gd name="connsiteX0" fmla="*/ 637 w 26796"/>
                    <a:gd name="connsiteY0" fmla="*/ 9232 h 26435"/>
                    <a:gd name="connsiteX1" fmla="*/ 17452 w 26796"/>
                    <a:gd name="connsiteY1" fmla="*/ 638 h 26435"/>
                    <a:gd name="connsiteX2" fmla="*/ 26171 w 26796"/>
                    <a:gd name="connsiteY2" fmla="*/ 17204 h 26435"/>
                    <a:gd name="connsiteX3" fmla="*/ 9356 w 26796"/>
                    <a:gd name="connsiteY3" fmla="*/ 25798 h 26435"/>
                    <a:gd name="connsiteX4" fmla="*/ 637 w 26796"/>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6" h="26435">
                      <a:moveTo>
                        <a:pt x="637" y="9232"/>
                      </a:moveTo>
                      <a:cubicBezTo>
                        <a:pt x="2879" y="2257"/>
                        <a:pt x="10477" y="-1604"/>
                        <a:pt x="17452" y="638"/>
                      </a:cubicBezTo>
                      <a:cubicBezTo>
                        <a:pt x="24427" y="2880"/>
                        <a:pt x="28413" y="10229"/>
                        <a:pt x="26171" y="17204"/>
                      </a:cubicBezTo>
                      <a:cubicBezTo>
                        <a:pt x="23929" y="24179"/>
                        <a:pt x="16456" y="28040"/>
                        <a:pt x="9356" y="25798"/>
                      </a:cubicBezTo>
                      <a:cubicBezTo>
                        <a:pt x="2256" y="23556"/>
                        <a:pt x="-1605" y="16207"/>
                        <a:pt x="637"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1" name="Freeform 8592">
                  <a:extLst>
                    <a:ext uri="{FF2B5EF4-FFF2-40B4-BE49-F238E27FC236}">
                      <a16:creationId xmlns:a16="http://schemas.microsoft.com/office/drawing/2014/main" id="{EB2FF9CF-8530-D6D7-13C4-F646DE8C1649}"/>
                    </a:ext>
                  </a:extLst>
                </p:cNvPr>
                <p:cNvSpPr/>
                <p:nvPr/>
              </p:nvSpPr>
              <p:spPr>
                <a:xfrm>
                  <a:off x="2956127" y="1445566"/>
                  <a:ext cx="16690" cy="49449"/>
                </a:xfrm>
                <a:custGeom>
                  <a:avLst/>
                  <a:gdLst>
                    <a:gd name="connsiteX0" fmla="*/ 16691 w 16690"/>
                    <a:gd name="connsiteY0" fmla="*/ 0 h 49449"/>
                    <a:gd name="connsiteX1" fmla="*/ 9093 w 16690"/>
                    <a:gd name="connsiteY1" fmla="*/ 17189 h 49449"/>
                    <a:gd name="connsiteX2" fmla="*/ 7100 w 16690"/>
                    <a:gd name="connsiteY2" fmla="*/ 34502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1833" y="6975"/>
                        <a:pt x="9965" y="12954"/>
                        <a:pt x="9093" y="17189"/>
                      </a:cubicBezTo>
                      <a:cubicBezTo>
                        <a:pt x="7723" y="24040"/>
                        <a:pt x="8843" y="27527"/>
                        <a:pt x="7100" y="34502"/>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2" name="Freeform 8593">
                  <a:extLst>
                    <a:ext uri="{FF2B5EF4-FFF2-40B4-BE49-F238E27FC236}">
                      <a16:creationId xmlns:a16="http://schemas.microsoft.com/office/drawing/2014/main" id="{FEB591F4-E8A6-CE5F-4123-E16E06EA0906}"/>
                    </a:ext>
                  </a:extLst>
                </p:cNvPr>
                <p:cNvSpPr/>
                <p:nvPr/>
              </p:nvSpPr>
              <p:spPr>
                <a:xfrm>
                  <a:off x="2965842" y="1442826"/>
                  <a:ext cx="15320" cy="49823"/>
                </a:xfrm>
                <a:custGeom>
                  <a:avLst/>
                  <a:gdLst>
                    <a:gd name="connsiteX0" fmla="*/ 0 w 15320"/>
                    <a:gd name="connsiteY0" fmla="*/ 49823 h 49823"/>
                    <a:gd name="connsiteX1" fmla="*/ 3861 w 15320"/>
                    <a:gd name="connsiteY1" fmla="*/ 31389 h 49823"/>
                    <a:gd name="connsiteX2" fmla="*/ 12331 w 15320"/>
                    <a:gd name="connsiteY2" fmla="*/ 16193 h 49823"/>
                    <a:gd name="connsiteX3" fmla="*/ 15321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0" y="49823"/>
                      </a:moveTo>
                      <a:cubicBezTo>
                        <a:pt x="124" y="41478"/>
                        <a:pt x="1993" y="35374"/>
                        <a:pt x="3861" y="31389"/>
                      </a:cubicBezTo>
                      <a:cubicBezTo>
                        <a:pt x="6726" y="25036"/>
                        <a:pt x="9715" y="22670"/>
                        <a:pt x="12331" y="16193"/>
                      </a:cubicBezTo>
                      <a:cubicBezTo>
                        <a:pt x="14947" y="9840"/>
                        <a:pt x="15321" y="3861"/>
                        <a:pt x="153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93" name="Freeform 8594">
                  <a:extLst>
                    <a:ext uri="{FF2B5EF4-FFF2-40B4-BE49-F238E27FC236}">
                      <a16:creationId xmlns:a16="http://schemas.microsoft.com/office/drawing/2014/main" id="{FEA8BA81-3287-D543-B2FC-08BFE3F7C066}"/>
                    </a:ext>
                  </a:extLst>
                </p:cNvPr>
                <p:cNvSpPr/>
                <p:nvPr/>
              </p:nvSpPr>
              <p:spPr>
                <a:xfrm>
                  <a:off x="2965317" y="1426552"/>
                  <a:ext cx="26324" cy="26444"/>
                </a:xfrm>
                <a:custGeom>
                  <a:avLst/>
                  <a:gdLst>
                    <a:gd name="connsiteX0" fmla="*/ 25686 w 26324"/>
                    <a:gd name="connsiteY0" fmla="*/ 17146 h 26444"/>
                    <a:gd name="connsiteX1" fmla="*/ 9120 w 26324"/>
                    <a:gd name="connsiteY1" fmla="*/ 25865 h 26444"/>
                    <a:gd name="connsiteX2" fmla="*/ 650 w 26324"/>
                    <a:gd name="connsiteY2" fmla="*/ 9298 h 26444"/>
                    <a:gd name="connsiteX3" fmla="*/ 17216 w 26324"/>
                    <a:gd name="connsiteY3" fmla="*/ 579 h 26444"/>
                    <a:gd name="connsiteX4" fmla="*/ 25686 w 26324"/>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444">
                      <a:moveTo>
                        <a:pt x="25686" y="17146"/>
                      </a:moveTo>
                      <a:cubicBezTo>
                        <a:pt x="23444" y="24121"/>
                        <a:pt x="15971" y="27982"/>
                        <a:pt x="9120" y="25865"/>
                      </a:cubicBezTo>
                      <a:cubicBezTo>
                        <a:pt x="2145" y="23747"/>
                        <a:pt x="-1592" y="16274"/>
                        <a:pt x="650" y="9298"/>
                      </a:cubicBezTo>
                      <a:cubicBezTo>
                        <a:pt x="2892" y="2323"/>
                        <a:pt x="10365" y="-1538"/>
                        <a:pt x="17216" y="579"/>
                      </a:cubicBezTo>
                      <a:cubicBezTo>
                        <a:pt x="24067" y="2697"/>
                        <a:pt x="27928" y="10170"/>
                        <a:pt x="25686"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5" name="Graphic 2987">
                <a:extLst>
                  <a:ext uri="{FF2B5EF4-FFF2-40B4-BE49-F238E27FC236}">
                    <a16:creationId xmlns:a16="http://schemas.microsoft.com/office/drawing/2014/main" id="{04677987-7F2B-CC60-C8FD-8E9F3C5B48C9}"/>
                  </a:ext>
                </a:extLst>
              </p:cNvPr>
              <p:cNvGrpSpPr/>
              <p:nvPr/>
            </p:nvGrpSpPr>
            <p:grpSpPr>
              <a:xfrm>
                <a:off x="2899018" y="1417957"/>
                <a:ext cx="64597" cy="142839"/>
                <a:chOff x="2899018" y="1417957"/>
                <a:chExt cx="64597" cy="142839"/>
              </a:xfrm>
              <a:grpFill/>
            </p:grpSpPr>
            <p:sp>
              <p:nvSpPr>
                <p:cNvPr id="5682" name="Freeform 8596">
                  <a:extLst>
                    <a:ext uri="{FF2B5EF4-FFF2-40B4-BE49-F238E27FC236}">
                      <a16:creationId xmlns:a16="http://schemas.microsoft.com/office/drawing/2014/main" id="{9DCF6EF9-6466-EFE4-1BFE-0C6FE8123727}"/>
                    </a:ext>
                  </a:extLst>
                </p:cNvPr>
                <p:cNvSpPr/>
                <p:nvPr/>
              </p:nvSpPr>
              <p:spPr>
                <a:xfrm>
                  <a:off x="2918137" y="1492400"/>
                  <a:ext cx="16815" cy="49449"/>
                </a:xfrm>
                <a:custGeom>
                  <a:avLst/>
                  <a:gdLst>
                    <a:gd name="connsiteX0" fmla="*/ 0 w 16815"/>
                    <a:gd name="connsiteY0" fmla="*/ 49449 h 49449"/>
                    <a:gd name="connsiteX1" fmla="*/ 7723 w 16815"/>
                    <a:gd name="connsiteY1" fmla="*/ 32260 h 49449"/>
                    <a:gd name="connsiteX2" fmla="*/ 9715 w 16815"/>
                    <a:gd name="connsiteY2" fmla="*/ 14947 h 49449"/>
                    <a:gd name="connsiteX3" fmla="*/ 16815 w 16815"/>
                    <a:gd name="connsiteY3" fmla="*/ 0 h 49449"/>
                  </a:gdLst>
                  <a:ahLst/>
                  <a:cxnLst>
                    <a:cxn ang="0">
                      <a:pos x="connsiteX0" y="connsiteY0"/>
                    </a:cxn>
                    <a:cxn ang="0">
                      <a:pos x="connsiteX1" y="connsiteY1"/>
                    </a:cxn>
                    <a:cxn ang="0">
                      <a:pos x="connsiteX2" y="connsiteY2"/>
                    </a:cxn>
                    <a:cxn ang="0">
                      <a:pos x="connsiteX3" y="connsiteY3"/>
                    </a:cxn>
                  </a:cxnLst>
                  <a:rect l="l" t="t" r="r" b="b"/>
                  <a:pathLst>
                    <a:path w="16815" h="49449">
                      <a:moveTo>
                        <a:pt x="0" y="49449"/>
                      </a:moveTo>
                      <a:cubicBezTo>
                        <a:pt x="4858" y="42599"/>
                        <a:pt x="6851" y="36495"/>
                        <a:pt x="7723" y="32260"/>
                      </a:cubicBezTo>
                      <a:cubicBezTo>
                        <a:pt x="9093" y="25410"/>
                        <a:pt x="7972" y="21922"/>
                        <a:pt x="9715" y="14947"/>
                      </a:cubicBezTo>
                      <a:cubicBezTo>
                        <a:pt x="11335" y="8221"/>
                        <a:pt x="14449" y="3239"/>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3" name="Freeform 8597">
                  <a:extLst>
                    <a:ext uri="{FF2B5EF4-FFF2-40B4-BE49-F238E27FC236}">
                      <a16:creationId xmlns:a16="http://schemas.microsoft.com/office/drawing/2014/main" id="{96C1514B-D515-BE89-4A9F-D9523F217407}"/>
                    </a:ext>
                  </a:extLst>
                </p:cNvPr>
                <p:cNvSpPr/>
                <p:nvPr/>
              </p:nvSpPr>
              <p:spPr>
                <a:xfrm>
                  <a:off x="2909791" y="1494766"/>
                  <a:ext cx="15445" cy="49698"/>
                </a:xfrm>
                <a:custGeom>
                  <a:avLst/>
                  <a:gdLst>
                    <a:gd name="connsiteX0" fmla="*/ 15445 w 15445"/>
                    <a:gd name="connsiteY0" fmla="*/ 0 h 49698"/>
                    <a:gd name="connsiteX1" fmla="*/ 11584 w 15445"/>
                    <a:gd name="connsiteY1" fmla="*/ 18310 h 49698"/>
                    <a:gd name="connsiteX2" fmla="*/ 2989 w 15445"/>
                    <a:gd name="connsiteY2" fmla="*/ 33506 h 49698"/>
                    <a:gd name="connsiteX3" fmla="*/ 0 w 15445"/>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0"/>
                      </a:moveTo>
                      <a:cubicBezTo>
                        <a:pt x="15321" y="8345"/>
                        <a:pt x="13328" y="14449"/>
                        <a:pt x="11584" y="18310"/>
                      </a:cubicBezTo>
                      <a:cubicBezTo>
                        <a:pt x="8719" y="24662"/>
                        <a:pt x="5730" y="26904"/>
                        <a:pt x="2989" y="33506"/>
                      </a:cubicBezTo>
                      <a:cubicBezTo>
                        <a:pt x="374"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4" name="Freeform 8598">
                  <a:extLst>
                    <a:ext uri="{FF2B5EF4-FFF2-40B4-BE49-F238E27FC236}">
                      <a16:creationId xmlns:a16="http://schemas.microsoft.com/office/drawing/2014/main" id="{8F8C4690-FDF0-BDB2-B9E5-57D120DE876A}"/>
                    </a:ext>
                  </a:extLst>
                </p:cNvPr>
                <p:cNvSpPr/>
                <p:nvPr/>
              </p:nvSpPr>
              <p:spPr>
                <a:xfrm>
                  <a:off x="2899018" y="1534361"/>
                  <a:ext cx="26979" cy="26435"/>
                </a:xfrm>
                <a:custGeom>
                  <a:avLst/>
                  <a:gdLst>
                    <a:gd name="connsiteX0" fmla="*/ 684 w 26979"/>
                    <a:gd name="connsiteY0" fmla="*/ 9232 h 26435"/>
                    <a:gd name="connsiteX1" fmla="*/ 17624 w 26979"/>
                    <a:gd name="connsiteY1" fmla="*/ 638 h 26435"/>
                    <a:gd name="connsiteX2" fmla="*/ 26343 w 26979"/>
                    <a:gd name="connsiteY2" fmla="*/ 17204 h 26435"/>
                    <a:gd name="connsiteX3" fmla="*/ 9403 w 26979"/>
                    <a:gd name="connsiteY3" fmla="*/ 25798 h 26435"/>
                    <a:gd name="connsiteX4" fmla="*/ 684 w 26979"/>
                    <a:gd name="connsiteY4" fmla="*/ 9232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78" h="26435">
                      <a:moveTo>
                        <a:pt x="684" y="9232"/>
                      </a:moveTo>
                      <a:cubicBezTo>
                        <a:pt x="2926" y="2257"/>
                        <a:pt x="10524" y="-1604"/>
                        <a:pt x="17624" y="638"/>
                      </a:cubicBezTo>
                      <a:cubicBezTo>
                        <a:pt x="24723" y="2880"/>
                        <a:pt x="28585" y="10229"/>
                        <a:pt x="26343" y="17204"/>
                      </a:cubicBezTo>
                      <a:cubicBezTo>
                        <a:pt x="24101" y="24179"/>
                        <a:pt x="16503" y="28040"/>
                        <a:pt x="9403" y="25798"/>
                      </a:cubicBezTo>
                      <a:cubicBezTo>
                        <a:pt x="2303" y="23556"/>
                        <a:pt x="-1683" y="16207"/>
                        <a:pt x="684" y="9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5" name="Freeform 8599">
                  <a:extLst>
                    <a:ext uri="{FF2B5EF4-FFF2-40B4-BE49-F238E27FC236}">
                      <a16:creationId xmlns:a16="http://schemas.microsoft.com/office/drawing/2014/main" id="{46B43068-D0C6-5D54-096C-AC8EAD4EF988}"/>
                    </a:ext>
                  </a:extLst>
                </p:cNvPr>
                <p:cNvSpPr/>
                <p:nvPr/>
              </p:nvSpPr>
              <p:spPr>
                <a:xfrm>
                  <a:off x="2927852" y="1436847"/>
                  <a:ext cx="16815" cy="49324"/>
                </a:xfrm>
                <a:custGeom>
                  <a:avLst/>
                  <a:gdLst>
                    <a:gd name="connsiteX0" fmla="*/ 16815 w 16815"/>
                    <a:gd name="connsiteY0" fmla="*/ 0 h 49324"/>
                    <a:gd name="connsiteX1" fmla="*/ 9093 w 16815"/>
                    <a:gd name="connsiteY1" fmla="*/ 17189 h 49324"/>
                    <a:gd name="connsiteX2" fmla="*/ 7100 w 16815"/>
                    <a:gd name="connsiteY2" fmla="*/ 34378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1958" y="6975"/>
                        <a:pt x="9965" y="12954"/>
                        <a:pt x="9093" y="17189"/>
                      </a:cubicBezTo>
                      <a:cubicBezTo>
                        <a:pt x="7723" y="24040"/>
                        <a:pt x="8719" y="27527"/>
                        <a:pt x="7100" y="34378"/>
                      </a:cubicBezTo>
                      <a:cubicBezTo>
                        <a:pt x="5481" y="41104"/>
                        <a:pt x="2367" y="46086"/>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6" name="Freeform 8600">
                  <a:extLst>
                    <a:ext uri="{FF2B5EF4-FFF2-40B4-BE49-F238E27FC236}">
                      <a16:creationId xmlns:a16="http://schemas.microsoft.com/office/drawing/2014/main" id="{CDCB8BFB-28E1-E2B3-90DD-AD273AD5768B}"/>
                    </a:ext>
                  </a:extLst>
                </p:cNvPr>
                <p:cNvSpPr/>
                <p:nvPr/>
              </p:nvSpPr>
              <p:spPr>
                <a:xfrm>
                  <a:off x="2937443" y="1434231"/>
                  <a:ext cx="15445" cy="49698"/>
                </a:xfrm>
                <a:custGeom>
                  <a:avLst/>
                  <a:gdLst>
                    <a:gd name="connsiteX0" fmla="*/ 0 w 15445"/>
                    <a:gd name="connsiteY0" fmla="*/ 49699 h 49698"/>
                    <a:gd name="connsiteX1" fmla="*/ 3861 w 15445"/>
                    <a:gd name="connsiteY1" fmla="*/ 31389 h 49698"/>
                    <a:gd name="connsiteX2" fmla="*/ 12456 w 15445"/>
                    <a:gd name="connsiteY2" fmla="*/ 16192 h 49698"/>
                    <a:gd name="connsiteX3" fmla="*/ 15445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0" y="49699"/>
                      </a:moveTo>
                      <a:cubicBezTo>
                        <a:pt x="124" y="41353"/>
                        <a:pt x="2117" y="35250"/>
                        <a:pt x="3861" y="31389"/>
                      </a:cubicBezTo>
                      <a:cubicBezTo>
                        <a:pt x="6726" y="25036"/>
                        <a:pt x="9715" y="22794"/>
                        <a:pt x="12456" y="16192"/>
                      </a:cubicBezTo>
                      <a:cubicBezTo>
                        <a:pt x="15071" y="9840"/>
                        <a:pt x="15445" y="3986"/>
                        <a:pt x="1544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7" name="Freeform 8601">
                  <a:extLst>
                    <a:ext uri="{FF2B5EF4-FFF2-40B4-BE49-F238E27FC236}">
                      <a16:creationId xmlns:a16="http://schemas.microsoft.com/office/drawing/2014/main" id="{164DFE81-8F6D-EE10-EAF2-D3A945995EC7}"/>
                    </a:ext>
                  </a:extLst>
                </p:cNvPr>
                <p:cNvSpPr/>
                <p:nvPr/>
              </p:nvSpPr>
              <p:spPr>
                <a:xfrm>
                  <a:off x="2937167" y="1417957"/>
                  <a:ext cx="26449" cy="26319"/>
                </a:xfrm>
                <a:custGeom>
                  <a:avLst/>
                  <a:gdLst>
                    <a:gd name="connsiteX0" fmla="*/ 25811 w 26449"/>
                    <a:gd name="connsiteY0" fmla="*/ 17021 h 26319"/>
                    <a:gd name="connsiteX1" fmla="*/ 9120 w 26449"/>
                    <a:gd name="connsiteY1" fmla="*/ 25740 h 26319"/>
                    <a:gd name="connsiteX2" fmla="*/ 650 w 26449"/>
                    <a:gd name="connsiteY2" fmla="*/ 9298 h 26319"/>
                    <a:gd name="connsiteX3" fmla="*/ 17341 w 26449"/>
                    <a:gd name="connsiteY3" fmla="*/ 579 h 26319"/>
                    <a:gd name="connsiteX4" fmla="*/ 25811 w 26449"/>
                    <a:gd name="connsiteY4" fmla="*/ 17021 h 2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9" h="26319">
                      <a:moveTo>
                        <a:pt x="25811" y="17021"/>
                      </a:moveTo>
                      <a:cubicBezTo>
                        <a:pt x="23569" y="23996"/>
                        <a:pt x="16095" y="27858"/>
                        <a:pt x="9120" y="25740"/>
                      </a:cubicBezTo>
                      <a:cubicBezTo>
                        <a:pt x="2145" y="23623"/>
                        <a:pt x="-1592" y="16149"/>
                        <a:pt x="650" y="9298"/>
                      </a:cubicBezTo>
                      <a:cubicBezTo>
                        <a:pt x="2892" y="2323"/>
                        <a:pt x="10365" y="-1538"/>
                        <a:pt x="17341" y="579"/>
                      </a:cubicBezTo>
                      <a:cubicBezTo>
                        <a:pt x="24191" y="2697"/>
                        <a:pt x="28053" y="10170"/>
                        <a:pt x="25811" y="1702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6" name="Graphic 2987">
                <a:extLst>
                  <a:ext uri="{FF2B5EF4-FFF2-40B4-BE49-F238E27FC236}">
                    <a16:creationId xmlns:a16="http://schemas.microsoft.com/office/drawing/2014/main" id="{1BE55F5B-DDAE-47B5-7665-1D37B5CD03DC}"/>
                  </a:ext>
                </a:extLst>
              </p:cNvPr>
              <p:cNvGrpSpPr/>
              <p:nvPr/>
            </p:nvGrpSpPr>
            <p:grpSpPr>
              <a:xfrm>
                <a:off x="2870653" y="1408595"/>
                <a:ext cx="64886" cy="142946"/>
                <a:chOff x="2870653" y="1408595"/>
                <a:chExt cx="64886" cy="142946"/>
              </a:xfrm>
              <a:grpFill/>
            </p:grpSpPr>
            <p:sp>
              <p:nvSpPr>
                <p:cNvPr id="5676" name="Freeform 8603">
                  <a:extLst>
                    <a:ext uri="{FF2B5EF4-FFF2-40B4-BE49-F238E27FC236}">
                      <a16:creationId xmlns:a16="http://schemas.microsoft.com/office/drawing/2014/main" id="{9D52238E-CCA2-356B-9890-42BCCEEB66AB}"/>
                    </a:ext>
                  </a:extLst>
                </p:cNvPr>
                <p:cNvSpPr/>
                <p:nvPr/>
              </p:nvSpPr>
              <p:spPr>
                <a:xfrm>
                  <a:off x="2889738" y="1483431"/>
                  <a:ext cx="17064" cy="49200"/>
                </a:xfrm>
                <a:custGeom>
                  <a:avLst/>
                  <a:gdLst>
                    <a:gd name="connsiteX0" fmla="*/ 0 w 17064"/>
                    <a:gd name="connsiteY0" fmla="*/ 49200 h 49200"/>
                    <a:gd name="connsiteX1" fmla="*/ 7723 w 17064"/>
                    <a:gd name="connsiteY1" fmla="*/ 32136 h 49200"/>
                    <a:gd name="connsiteX2" fmla="*/ 9840 w 17064"/>
                    <a:gd name="connsiteY2" fmla="*/ 14822 h 49200"/>
                    <a:gd name="connsiteX3" fmla="*/ 17064 w 17064"/>
                    <a:gd name="connsiteY3" fmla="*/ 0 h 49200"/>
                  </a:gdLst>
                  <a:ahLst/>
                  <a:cxnLst>
                    <a:cxn ang="0">
                      <a:pos x="connsiteX0" y="connsiteY0"/>
                    </a:cxn>
                    <a:cxn ang="0">
                      <a:pos x="connsiteX1" y="connsiteY1"/>
                    </a:cxn>
                    <a:cxn ang="0">
                      <a:pos x="connsiteX2" y="connsiteY2"/>
                    </a:cxn>
                    <a:cxn ang="0">
                      <a:pos x="connsiteX3" y="connsiteY3"/>
                    </a:cxn>
                  </a:cxnLst>
                  <a:rect l="l" t="t" r="r" b="b"/>
                  <a:pathLst>
                    <a:path w="17064" h="49200">
                      <a:moveTo>
                        <a:pt x="0" y="49200"/>
                      </a:moveTo>
                      <a:cubicBezTo>
                        <a:pt x="4858" y="42350"/>
                        <a:pt x="6851" y="36371"/>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7" name="Freeform 8604">
                  <a:extLst>
                    <a:ext uri="{FF2B5EF4-FFF2-40B4-BE49-F238E27FC236}">
                      <a16:creationId xmlns:a16="http://schemas.microsoft.com/office/drawing/2014/main" id="{59F01E98-7EAC-6980-870D-9AD3FCF960B7}"/>
                    </a:ext>
                  </a:extLst>
                </p:cNvPr>
                <p:cNvSpPr/>
                <p:nvPr/>
              </p:nvSpPr>
              <p:spPr>
                <a:xfrm>
                  <a:off x="2881392" y="1485424"/>
                  <a:ext cx="15694" cy="49698"/>
                </a:xfrm>
                <a:custGeom>
                  <a:avLst/>
                  <a:gdLst>
                    <a:gd name="connsiteX0" fmla="*/ 15694 w 15694"/>
                    <a:gd name="connsiteY0" fmla="*/ 0 h 49698"/>
                    <a:gd name="connsiteX1" fmla="*/ 11708 w 15694"/>
                    <a:gd name="connsiteY1" fmla="*/ 18435 h 49698"/>
                    <a:gd name="connsiteX2" fmla="*/ 3114 w 15694"/>
                    <a:gd name="connsiteY2" fmla="*/ 33506 h 49698"/>
                    <a:gd name="connsiteX3" fmla="*/ 0 w 15694"/>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0"/>
                      </a:moveTo>
                      <a:cubicBezTo>
                        <a:pt x="15570" y="8470"/>
                        <a:pt x="13452" y="14449"/>
                        <a:pt x="11708" y="18435"/>
                      </a:cubicBezTo>
                      <a:cubicBezTo>
                        <a:pt x="8843" y="24787"/>
                        <a:pt x="5854" y="27029"/>
                        <a:pt x="3114" y="33506"/>
                      </a:cubicBezTo>
                      <a:cubicBezTo>
                        <a:pt x="498" y="39858"/>
                        <a:pt x="0" y="45837"/>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8" name="Freeform 8605">
                  <a:extLst>
                    <a:ext uri="{FF2B5EF4-FFF2-40B4-BE49-F238E27FC236}">
                      <a16:creationId xmlns:a16="http://schemas.microsoft.com/office/drawing/2014/main" id="{932A714B-728E-05C5-8093-848F32AEB83A}"/>
                    </a:ext>
                  </a:extLst>
                </p:cNvPr>
                <p:cNvSpPr/>
                <p:nvPr/>
              </p:nvSpPr>
              <p:spPr>
                <a:xfrm>
                  <a:off x="2870653" y="1524932"/>
                  <a:ext cx="26632" cy="26609"/>
                </a:xfrm>
                <a:custGeom>
                  <a:avLst/>
                  <a:gdLst>
                    <a:gd name="connsiteX0" fmla="*/ 650 w 26632"/>
                    <a:gd name="connsiteY0" fmla="*/ 8945 h 26609"/>
                    <a:gd name="connsiteX1" fmla="*/ 17465 w 26632"/>
                    <a:gd name="connsiteY1" fmla="*/ 724 h 26609"/>
                    <a:gd name="connsiteX2" fmla="*/ 25935 w 26632"/>
                    <a:gd name="connsiteY2" fmla="*/ 17664 h 26609"/>
                    <a:gd name="connsiteX3" fmla="*/ 9120 w 26632"/>
                    <a:gd name="connsiteY3" fmla="*/ 25885 h 26609"/>
                    <a:gd name="connsiteX4" fmla="*/ 650 w 26632"/>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609">
                      <a:moveTo>
                        <a:pt x="650" y="8945"/>
                      </a:moveTo>
                      <a:cubicBezTo>
                        <a:pt x="3017" y="1970"/>
                        <a:pt x="10490" y="-1642"/>
                        <a:pt x="17465" y="724"/>
                      </a:cubicBezTo>
                      <a:cubicBezTo>
                        <a:pt x="24440" y="3091"/>
                        <a:pt x="28302" y="10689"/>
                        <a:pt x="25935" y="17664"/>
                      </a:cubicBezTo>
                      <a:cubicBezTo>
                        <a:pt x="23693" y="24639"/>
                        <a:pt x="16095" y="28252"/>
                        <a:pt x="9120" y="25885"/>
                      </a:cubicBezTo>
                      <a:cubicBezTo>
                        <a:pt x="2145" y="23394"/>
                        <a:pt x="-1592" y="15796"/>
                        <a:pt x="65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9" name="Freeform 8606">
                  <a:extLst>
                    <a:ext uri="{FF2B5EF4-FFF2-40B4-BE49-F238E27FC236}">
                      <a16:creationId xmlns:a16="http://schemas.microsoft.com/office/drawing/2014/main" id="{2A8AE00C-3215-B347-0692-8137BA108C83}"/>
                    </a:ext>
                  </a:extLst>
                </p:cNvPr>
                <p:cNvSpPr/>
                <p:nvPr/>
              </p:nvSpPr>
              <p:spPr>
                <a:xfrm>
                  <a:off x="2899702" y="1427505"/>
                  <a:ext cx="17064" cy="49200"/>
                </a:xfrm>
                <a:custGeom>
                  <a:avLst/>
                  <a:gdLst>
                    <a:gd name="connsiteX0" fmla="*/ 17064 w 17064"/>
                    <a:gd name="connsiteY0" fmla="*/ 0 h 49200"/>
                    <a:gd name="connsiteX1" fmla="*/ 9342 w 17064"/>
                    <a:gd name="connsiteY1" fmla="*/ 17064 h 49200"/>
                    <a:gd name="connsiteX2" fmla="*/ 7224 w 17064"/>
                    <a:gd name="connsiteY2" fmla="*/ 34378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2207"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0" name="Freeform 8607">
                  <a:extLst>
                    <a:ext uri="{FF2B5EF4-FFF2-40B4-BE49-F238E27FC236}">
                      <a16:creationId xmlns:a16="http://schemas.microsoft.com/office/drawing/2014/main" id="{7AF7463A-D159-5415-7D02-565E7F37065C}"/>
                    </a:ext>
                  </a:extLst>
                </p:cNvPr>
                <p:cNvSpPr/>
                <p:nvPr/>
              </p:nvSpPr>
              <p:spPr>
                <a:xfrm>
                  <a:off x="2909293" y="1425138"/>
                  <a:ext cx="15694" cy="49698"/>
                </a:xfrm>
                <a:custGeom>
                  <a:avLst/>
                  <a:gdLst>
                    <a:gd name="connsiteX0" fmla="*/ 0 w 15694"/>
                    <a:gd name="connsiteY0" fmla="*/ 49699 h 49698"/>
                    <a:gd name="connsiteX1" fmla="*/ 3986 w 15694"/>
                    <a:gd name="connsiteY1" fmla="*/ 31264 h 49698"/>
                    <a:gd name="connsiteX2" fmla="*/ 12580 w 15694"/>
                    <a:gd name="connsiteY2" fmla="*/ 16193 h 49698"/>
                    <a:gd name="connsiteX3" fmla="*/ 15694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0" y="49699"/>
                      </a:moveTo>
                      <a:cubicBezTo>
                        <a:pt x="124" y="41229"/>
                        <a:pt x="2242" y="35250"/>
                        <a:pt x="3986" y="31264"/>
                      </a:cubicBezTo>
                      <a:cubicBezTo>
                        <a:pt x="6851" y="24912"/>
                        <a:pt x="9840" y="22670"/>
                        <a:pt x="12580" y="16193"/>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81" name="Freeform 8608">
                  <a:extLst>
                    <a:ext uri="{FF2B5EF4-FFF2-40B4-BE49-F238E27FC236}">
                      <a16:creationId xmlns:a16="http://schemas.microsoft.com/office/drawing/2014/main" id="{C2DE7C58-AA68-3017-28BE-7C95EAB7C410}"/>
                    </a:ext>
                  </a:extLst>
                </p:cNvPr>
                <p:cNvSpPr/>
                <p:nvPr/>
              </p:nvSpPr>
              <p:spPr>
                <a:xfrm>
                  <a:off x="2909329" y="1408595"/>
                  <a:ext cx="26210" cy="26658"/>
                </a:xfrm>
                <a:custGeom>
                  <a:avLst/>
                  <a:gdLst>
                    <a:gd name="connsiteX0" fmla="*/ 25499 w 26210"/>
                    <a:gd name="connsiteY0" fmla="*/ 17664 h 26658"/>
                    <a:gd name="connsiteX1" fmla="*/ 8932 w 26210"/>
                    <a:gd name="connsiteY1" fmla="*/ 25885 h 26658"/>
                    <a:gd name="connsiteX2" fmla="*/ 712 w 26210"/>
                    <a:gd name="connsiteY2" fmla="*/ 8945 h 26658"/>
                    <a:gd name="connsiteX3" fmla="*/ 17278 w 26210"/>
                    <a:gd name="connsiteY3" fmla="*/ 724 h 26658"/>
                    <a:gd name="connsiteX4" fmla="*/ 25499 w 26210"/>
                    <a:gd name="connsiteY4" fmla="*/ 17664 h 26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658">
                      <a:moveTo>
                        <a:pt x="25499" y="17664"/>
                      </a:moveTo>
                      <a:cubicBezTo>
                        <a:pt x="23257" y="24639"/>
                        <a:pt x="15783" y="28376"/>
                        <a:pt x="8932" y="25885"/>
                      </a:cubicBezTo>
                      <a:cubicBezTo>
                        <a:pt x="2082" y="23518"/>
                        <a:pt x="-1655" y="15920"/>
                        <a:pt x="712" y="8945"/>
                      </a:cubicBezTo>
                      <a:cubicBezTo>
                        <a:pt x="3078" y="1970"/>
                        <a:pt x="10427" y="-1642"/>
                        <a:pt x="17278" y="724"/>
                      </a:cubicBezTo>
                      <a:cubicBezTo>
                        <a:pt x="24128" y="3215"/>
                        <a:pt x="27865" y="10813"/>
                        <a:pt x="25499"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7" name="Graphic 2987">
                <a:extLst>
                  <a:ext uri="{FF2B5EF4-FFF2-40B4-BE49-F238E27FC236}">
                    <a16:creationId xmlns:a16="http://schemas.microsoft.com/office/drawing/2014/main" id="{384449BB-5E86-86D7-6F37-A64E53247246}"/>
                  </a:ext>
                </a:extLst>
              </p:cNvPr>
              <p:cNvGrpSpPr/>
              <p:nvPr/>
            </p:nvGrpSpPr>
            <p:grpSpPr>
              <a:xfrm>
                <a:off x="2842319" y="1399004"/>
                <a:ext cx="65444" cy="142697"/>
                <a:chOff x="2842319" y="1399004"/>
                <a:chExt cx="65444" cy="142697"/>
              </a:xfrm>
              <a:grpFill/>
            </p:grpSpPr>
            <p:sp>
              <p:nvSpPr>
                <p:cNvPr id="5670" name="Freeform 8610">
                  <a:extLst>
                    <a:ext uri="{FF2B5EF4-FFF2-40B4-BE49-F238E27FC236}">
                      <a16:creationId xmlns:a16="http://schemas.microsoft.com/office/drawing/2014/main" id="{4028D628-A9D7-D85D-8367-5798EBAE117C}"/>
                    </a:ext>
                  </a:extLst>
                </p:cNvPr>
                <p:cNvSpPr/>
                <p:nvPr/>
              </p:nvSpPr>
              <p:spPr>
                <a:xfrm>
                  <a:off x="2861463" y="1473716"/>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982" y="42350"/>
                        <a:pt x="6975" y="36371"/>
                        <a:pt x="7847" y="32136"/>
                      </a:cubicBezTo>
                      <a:cubicBezTo>
                        <a:pt x="9342" y="25285"/>
                        <a:pt x="8221" y="21673"/>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1" name="Freeform 8611">
                  <a:extLst>
                    <a:ext uri="{FF2B5EF4-FFF2-40B4-BE49-F238E27FC236}">
                      <a16:creationId xmlns:a16="http://schemas.microsoft.com/office/drawing/2014/main" id="{B38BE1D4-080E-F4E7-A31A-051DC926A701}"/>
                    </a:ext>
                  </a:extLst>
                </p:cNvPr>
                <p:cNvSpPr/>
                <p:nvPr/>
              </p:nvSpPr>
              <p:spPr>
                <a:xfrm>
                  <a:off x="2853118" y="1475709"/>
                  <a:ext cx="15943" cy="49698"/>
                </a:xfrm>
                <a:custGeom>
                  <a:avLst/>
                  <a:gdLst>
                    <a:gd name="connsiteX0" fmla="*/ 15943 w 15943"/>
                    <a:gd name="connsiteY0" fmla="*/ 0 h 49698"/>
                    <a:gd name="connsiteX1" fmla="*/ 11833 w 15943"/>
                    <a:gd name="connsiteY1" fmla="*/ 18435 h 49698"/>
                    <a:gd name="connsiteX2" fmla="*/ 3114 w 15943"/>
                    <a:gd name="connsiteY2" fmla="*/ 33506 h 49698"/>
                    <a:gd name="connsiteX3" fmla="*/ 0 w 15943"/>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943" h="49698">
                      <a:moveTo>
                        <a:pt x="15943" y="0"/>
                      </a:moveTo>
                      <a:cubicBezTo>
                        <a:pt x="15694" y="8470"/>
                        <a:pt x="13701" y="14449"/>
                        <a:pt x="11833" y="18435"/>
                      </a:cubicBezTo>
                      <a:cubicBezTo>
                        <a:pt x="8844" y="24787"/>
                        <a:pt x="5854" y="26904"/>
                        <a:pt x="3114" y="33506"/>
                      </a:cubicBezTo>
                      <a:cubicBezTo>
                        <a:pt x="498" y="39858"/>
                        <a:pt x="0" y="45713"/>
                        <a:pt x="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2" name="Freeform 8612">
                  <a:extLst>
                    <a:ext uri="{FF2B5EF4-FFF2-40B4-BE49-F238E27FC236}">
                      <a16:creationId xmlns:a16="http://schemas.microsoft.com/office/drawing/2014/main" id="{42B30BD2-E3E1-DD66-8BB7-6AF5B467BFB0}"/>
                    </a:ext>
                  </a:extLst>
                </p:cNvPr>
                <p:cNvSpPr/>
                <p:nvPr/>
              </p:nvSpPr>
              <p:spPr>
                <a:xfrm>
                  <a:off x="2842319" y="1515092"/>
                  <a:ext cx="26769" cy="26609"/>
                </a:xfrm>
                <a:custGeom>
                  <a:avLst/>
                  <a:gdLst>
                    <a:gd name="connsiteX0" fmla="*/ 710 w 26769"/>
                    <a:gd name="connsiteY0" fmla="*/ 8945 h 26609"/>
                    <a:gd name="connsiteX1" fmla="*/ 17650 w 26769"/>
                    <a:gd name="connsiteY1" fmla="*/ 724 h 26609"/>
                    <a:gd name="connsiteX2" fmla="*/ 26119 w 26769"/>
                    <a:gd name="connsiteY2" fmla="*/ 17664 h 26609"/>
                    <a:gd name="connsiteX3" fmla="*/ 9179 w 26769"/>
                    <a:gd name="connsiteY3" fmla="*/ 25885 h 26609"/>
                    <a:gd name="connsiteX4" fmla="*/ 710 w 26769"/>
                    <a:gd name="connsiteY4" fmla="*/ 8945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9" h="26609">
                      <a:moveTo>
                        <a:pt x="710" y="8945"/>
                      </a:moveTo>
                      <a:cubicBezTo>
                        <a:pt x="3076" y="1970"/>
                        <a:pt x="10674" y="-1642"/>
                        <a:pt x="17650" y="724"/>
                      </a:cubicBezTo>
                      <a:cubicBezTo>
                        <a:pt x="24625" y="3091"/>
                        <a:pt x="28361" y="10689"/>
                        <a:pt x="26119" y="17664"/>
                      </a:cubicBezTo>
                      <a:cubicBezTo>
                        <a:pt x="23877" y="24639"/>
                        <a:pt x="16279" y="28252"/>
                        <a:pt x="9179" y="25885"/>
                      </a:cubicBezTo>
                      <a:cubicBezTo>
                        <a:pt x="2080" y="23518"/>
                        <a:pt x="-1657" y="15796"/>
                        <a:pt x="710" y="8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3" name="Freeform 8613">
                  <a:extLst>
                    <a:ext uri="{FF2B5EF4-FFF2-40B4-BE49-F238E27FC236}">
                      <a16:creationId xmlns:a16="http://schemas.microsoft.com/office/drawing/2014/main" id="{EED597EB-366D-BC5C-6763-FB39C8E145BA}"/>
                    </a:ext>
                  </a:extLst>
                </p:cNvPr>
                <p:cNvSpPr/>
                <p:nvPr/>
              </p:nvSpPr>
              <p:spPr>
                <a:xfrm>
                  <a:off x="2871677" y="1417914"/>
                  <a:ext cx="17313" cy="49200"/>
                </a:xfrm>
                <a:custGeom>
                  <a:avLst/>
                  <a:gdLst>
                    <a:gd name="connsiteX0" fmla="*/ 17314 w 17313"/>
                    <a:gd name="connsiteY0" fmla="*/ 0 h 49200"/>
                    <a:gd name="connsiteX1" fmla="*/ 9466 w 17313"/>
                    <a:gd name="connsiteY1" fmla="*/ 17064 h 49200"/>
                    <a:gd name="connsiteX2" fmla="*/ 7224 w 17313"/>
                    <a:gd name="connsiteY2" fmla="*/ 34378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2456" y="6851"/>
                        <a:pt x="10463" y="12829"/>
                        <a:pt x="9466" y="17064"/>
                      </a:cubicBezTo>
                      <a:cubicBezTo>
                        <a:pt x="7972"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4" name="Freeform 8614">
                  <a:extLst>
                    <a:ext uri="{FF2B5EF4-FFF2-40B4-BE49-F238E27FC236}">
                      <a16:creationId xmlns:a16="http://schemas.microsoft.com/office/drawing/2014/main" id="{8606027A-FB02-7ACC-D183-9A1F0E70D945}"/>
                    </a:ext>
                  </a:extLst>
                </p:cNvPr>
                <p:cNvSpPr/>
                <p:nvPr/>
              </p:nvSpPr>
              <p:spPr>
                <a:xfrm>
                  <a:off x="2881268" y="1415423"/>
                  <a:ext cx="15943" cy="49698"/>
                </a:xfrm>
                <a:custGeom>
                  <a:avLst/>
                  <a:gdLst>
                    <a:gd name="connsiteX0" fmla="*/ 0 w 15943"/>
                    <a:gd name="connsiteY0" fmla="*/ 49699 h 49698"/>
                    <a:gd name="connsiteX1" fmla="*/ 4110 w 15943"/>
                    <a:gd name="connsiteY1" fmla="*/ 31264 h 49698"/>
                    <a:gd name="connsiteX2" fmla="*/ 12705 w 15943"/>
                    <a:gd name="connsiteY2" fmla="*/ 16192 h 49698"/>
                    <a:gd name="connsiteX3" fmla="*/ 15943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9"/>
                      </a:moveTo>
                      <a:cubicBezTo>
                        <a:pt x="249" y="41229"/>
                        <a:pt x="2242" y="35250"/>
                        <a:pt x="4110" y="31264"/>
                      </a:cubicBezTo>
                      <a:cubicBezTo>
                        <a:pt x="7100" y="24912"/>
                        <a:pt x="10089" y="22794"/>
                        <a:pt x="12705" y="16192"/>
                      </a:cubicBezTo>
                      <a:cubicBezTo>
                        <a:pt x="15321" y="9840"/>
                        <a:pt x="15819" y="3986"/>
                        <a:pt x="159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75" name="Freeform 8615">
                  <a:extLst>
                    <a:ext uri="{FF2B5EF4-FFF2-40B4-BE49-F238E27FC236}">
                      <a16:creationId xmlns:a16="http://schemas.microsoft.com/office/drawing/2014/main" id="{DA93C296-B6D9-8CD6-60BA-07CE59BA60CF}"/>
                    </a:ext>
                  </a:extLst>
                </p:cNvPr>
                <p:cNvSpPr/>
                <p:nvPr/>
              </p:nvSpPr>
              <p:spPr>
                <a:xfrm>
                  <a:off x="2881428" y="1399004"/>
                  <a:ext cx="26335" cy="26609"/>
                </a:xfrm>
                <a:custGeom>
                  <a:avLst/>
                  <a:gdLst>
                    <a:gd name="connsiteX0" fmla="*/ 25623 w 26335"/>
                    <a:gd name="connsiteY0" fmla="*/ 17664 h 26609"/>
                    <a:gd name="connsiteX1" fmla="*/ 8933 w 26335"/>
                    <a:gd name="connsiteY1" fmla="*/ 25885 h 26609"/>
                    <a:gd name="connsiteX2" fmla="*/ 712 w 26335"/>
                    <a:gd name="connsiteY2" fmla="*/ 8945 h 26609"/>
                    <a:gd name="connsiteX3" fmla="*/ 17402 w 26335"/>
                    <a:gd name="connsiteY3" fmla="*/ 724 h 26609"/>
                    <a:gd name="connsiteX4" fmla="*/ 25623 w 26335"/>
                    <a:gd name="connsiteY4" fmla="*/ 17664 h 2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609">
                      <a:moveTo>
                        <a:pt x="25623" y="17664"/>
                      </a:moveTo>
                      <a:cubicBezTo>
                        <a:pt x="23257" y="24639"/>
                        <a:pt x="15908" y="28252"/>
                        <a:pt x="8933" y="25885"/>
                      </a:cubicBezTo>
                      <a:cubicBezTo>
                        <a:pt x="2082" y="23518"/>
                        <a:pt x="-1655" y="15920"/>
                        <a:pt x="712" y="8945"/>
                      </a:cubicBezTo>
                      <a:cubicBezTo>
                        <a:pt x="3078" y="1970"/>
                        <a:pt x="10552" y="-1642"/>
                        <a:pt x="17402" y="724"/>
                      </a:cubicBezTo>
                      <a:cubicBezTo>
                        <a:pt x="24253" y="3091"/>
                        <a:pt x="27990" y="10689"/>
                        <a:pt x="25623" y="176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8" name="Graphic 2987">
                <a:extLst>
                  <a:ext uri="{FF2B5EF4-FFF2-40B4-BE49-F238E27FC236}">
                    <a16:creationId xmlns:a16="http://schemas.microsoft.com/office/drawing/2014/main" id="{75859072-BCB8-2986-6CC7-9E0239A21EEC}"/>
                  </a:ext>
                </a:extLst>
              </p:cNvPr>
              <p:cNvGrpSpPr/>
              <p:nvPr/>
            </p:nvGrpSpPr>
            <p:grpSpPr>
              <a:xfrm>
                <a:off x="2814043" y="1389538"/>
                <a:ext cx="66081" cy="142386"/>
                <a:chOff x="2814043" y="1389538"/>
                <a:chExt cx="66081" cy="142386"/>
              </a:xfrm>
              <a:grpFill/>
            </p:grpSpPr>
            <p:sp>
              <p:nvSpPr>
                <p:cNvPr id="5664" name="Freeform 8617">
                  <a:extLst>
                    <a:ext uri="{FF2B5EF4-FFF2-40B4-BE49-F238E27FC236}">
                      <a16:creationId xmlns:a16="http://schemas.microsoft.com/office/drawing/2014/main" id="{A18817F9-7AB3-0E5C-8CC6-CFAC28F01588}"/>
                    </a:ext>
                  </a:extLst>
                </p:cNvPr>
                <p:cNvSpPr/>
                <p:nvPr/>
              </p:nvSpPr>
              <p:spPr>
                <a:xfrm>
                  <a:off x="2833189" y="1463876"/>
                  <a:ext cx="17562" cy="49200"/>
                </a:xfrm>
                <a:custGeom>
                  <a:avLst/>
                  <a:gdLst>
                    <a:gd name="connsiteX0" fmla="*/ 0 w 17562"/>
                    <a:gd name="connsiteY0" fmla="*/ 49200 h 49200"/>
                    <a:gd name="connsiteX1" fmla="*/ 7972 w 17562"/>
                    <a:gd name="connsiteY1" fmla="*/ 32136 h 49200"/>
                    <a:gd name="connsiteX2" fmla="*/ 10214 w 17562"/>
                    <a:gd name="connsiteY2" fmla="*/ 14822 h 49200"/>
                    <a:gd name="connsiteX3" fmla="*/ 17562 w 17562"/>
                    <a:gd name="connsiteY3" fmla="*/ 0 h 49200"/>
                  </a:gdLst>
                  <a:ahLst/>
                  <a:cxnLst>
                    <a:cxn ang="0">
                      <a:pos x="connsiteX0" y="connsiteY0"/>
                    </a:cxn>
                    <a:cxn ang="0">
                      <a:pos x="connsiteX1" y="connsiteY1"/>
                    </a:cxn>
                    <a:cxn ang="0">
                      <a:pos x="connsiteX2" y="connsiteY2"/>
                    </a:cxn>
                    <a:cxn ang="0">
                      <a:pos x="connsiteX3" y="connsiteY3"/>
                    </a:cxn>
                  </a:cxnLst>
                  <a:rect l="l" t="t" r="r" b="b"/>
                  <a:pathLst>
                    <a:path w="17562" h="49200">
                      <a:moveTo>
                        <a:pt x="0" y="49200"/>
                      </a:moveTo>
                      <a:cubicBezTo>
                        <a:pt x="4982" y="42350"/>
                        <a:pt x="6975" y="36371"/>
                        <a:pt x="7972" y="32136"/>
                      </a:cubicBezTo>
                      <a:cubicBezTo>
                        <a:pt x="9466" y="25285"/>
                        <a:pt x="8470" y="21673"/>
                        <a:pt x="10214" y="14822"/>
                      </a:cubicBezTo>
                      <a:cubicBezTo>
                        <a:pt x="11957" y="8096"/>
                        <a:pt x="15196" y="3239"/>
                        <a:pt x="175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5" name="Freeform 8618">
                  <a:extLst>
                    <a:ext uri="{FF2B5EF4-FFF2-40B4-BE49-F238E27FC236}">
                      <a16:creationId xmlns:a16="http://schemas.microsoft.com/office/drawing/2014/main" id="{DBEB9EA7-11FA-4764-668C-A9342B5851B4}"/>
                    </a:ext>
                  </a:extLst>
                </p:cNvPr>
                <p:cNvSpPr/>
                <p:nvPr/>
              </p:nvSpPr>
              <p:spPr>
                <a:xfrm>
                  <a:off x="2824843" y="1465869"/>
                  <a:ext cx="16192" cy="49573"/>
                </a:xfrm>
                <a:custGeom>
                  <a:avLst/>
                  <a:gdLst>
                    <a:gd name="connsiteX0" fmla="*/ 16193 w 16192"/>
                    <a:gd name="connsiteY0" fmla="*/ 0 h 49573"/>
                    <a:gd name="connsiteX1" fmla="*/ 11958 w 16192"/>
                    <a:gd name="connsiteY1" fmla="*/ 18310 h 49573"/>
                    <a:gd name="connsiteX2" fmla="*/ 3239 w 16192"/>
                    <a:gd name="connsiteY2" fmla="*/ 33381 h 49573"/>
                    <a:gd name="connsiteX3" fmla="*/ 0 w 16192"/>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192" h="49573">
                      <a:moveTo>
                        <a:pt x="16193" y="0"/>
                      </a:moveTo>
                      <a:cubicBezTo>
                        <a:pt x="15944" y="8470"/>
                        <a:pt x="13826" y="14449"/>
                        <a:pt x="11958" y="18310"/>
                      </a:cubicBezTo>
                      <a:cubicBezTo>
                        <a:pt x="8968" y="24662"/>
                        <a:pt x="5979" y="26780"/>
                        <a:pt x="3239" y="33381"/>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6" name="Freeform 8619">
                  <a:extLst>
                    <a:ext uri="{FF2B5EF4-FFF2-40B4-BE49-F238E27FC236}">
                      <a16:creationId xmlns:a16="http://schemas.microsoft.com/office/drawing/2014/main" id="{79FE34F1-88E6-DBE8-8617-07F7FAA6C474}"/>
                    </a:ext>
                  </a:extLst>
                </p:cNvPr>
                <p:cNvSpPr/>
                <p:nvPr/>
              </p:nvSpPr>
              <p:spPr>
                <a:xfrm>
                  <a:off x="2814043" y="1505313"/>
                  <a:ext cx="26706" cy="26611"/>
                </a:xfrm>
                <a:custGeom>
                  <a:avLst/>
                  <a:gdLst>
                    <a:gd name="connsiteX0" fmla="*/ 711 w 26706"/>
                    <a:gd name="connsiteY0" fmla="*/ 8884 h 26611"/>
                    <a:gd name="connsiteX1" fmla="*/ 17651 w 26706"/>
                    <a:gd name="connsiteY1" fmla="*/ 788 h 26611"/>
                    <a:gd name="connsiteX2" fmla="*/ 25996 w 26706"/>
                    <a:gd name="connsiteY2" fmla="*/ 17728 h 26611"/>
                    <a:gd name="connsiteX3" fmla="*/ 9056 w 26706"/>
                    <a:gd name="connsiteY3" fmla="*/ 25824 h 26611"/>
                    <a:gd name="connsiteX4" fmla="*/ 711 w 26706"/>
                    <a:gd name="connsiteY4" fmla="*/ 8884 h 2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6" h="26611">
                      <a:moveTo>
                        <a:pt x="711" y="8884"/>
                      </a:moveTo>
                      <a:cubicBezTo>
                        <a:pt x="3077" y="1909"/>
                        <a:pt x="10675" y="-1703"/>
                        <a:pt x="17651" y="788"/>
                      </a:cubicBezTo>
                      <a:cubicBezTo>
                        <a:pt x="24626" y="3154"/>
                        <a:pt x="28363" y="10752"/>
                        <a:pt x="25996" y="17728"/>
                      </a:cubicBezTo>
                      <a:cubicBezTo>
                        <a:pt x="23629" y="24703"/>
                        <a:pt x="16031" y="28315"/>
                        <a:pt x="9056" y="25824"/>
                      </a:cubicBezTo>
                      <a:cubicBezTo>
                        <a:pt x="2081" y="23333"/>
                        <a:pt x="-1656" y="15735"/>
                        <a:pt x="711" y="88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7" name="Freeform 8620">
                  <a:extLst>
                    <a:ext uri="{FF2B5EF4-FFF2-40B4-BE49-F238E27FC236}">
                      <a16:creationId xmlns:a16="http://schemas.microsoft.com/office/drawing/2014/main" id="{442079C6-2F2A-129A-C602-4622A61274F9}"/>
                    </a:ext>
                  </a:extLst>
                </p:cNvPr>
                <p:cNvSpPr/>
                <p:nvPr/>
              </p:nvSpPr>
              <p:spPr>
                <a:xfrm>
                  <a:off x="2843527" y="1408199"/>
                  <a:ext cx="17687" cy="49200"/>
                </a:xfrm>
                <a:custGeom>
                  <a:avLst/>
                  <a:gdLst>
                    <a:gd name="connsiteX0" fmla="*/ 17687 w 17687"/>
                    <a:gd name="connsiteY0" fmla="*/ 0 h 49200"/>
                    <a:gd name="connsiteX1" fmla="*/ 9716 w 17687"/>
                    <a:gd name="connsiteY1" fmla="*/ 17064 h 49200"/>
                    <a:gd name="connsiteX2" fmla="*/ 7349 w 17687"/>
                    <a:gd name="connsiteY2" fmla="*/ 34378 h 49200"/>
                    <a:gd name="connsiteX3" fmla="*/ 0 w 17687"/>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687" h="49200">
                      <a:moveTo>
                        <a:pt x="17687" y="0"/>
                      </a:moveTo>
                      <a:cubicBezTo>
                        <a:pt x="12705" y="6851"/>
                        <a:pt x="10712" y="12829"/>
                        <a:pt x="9716" y="17064"/>
                      </a:cubicBezTo>
                      <a:cubicBezTo>
                        <a:pt x="8221" y="23915"/>
                        <a:pt x="9217" y="27527"/>
                        <a:pt x="7349" y="34378"/>
                      </a:cubicBezTo>
                      <a:cubicBezTo>
                        <a:pt x="5605" y="41104"/>
                        <a:pt x="2367" y="45962"/>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8" name="Freeform 8621">
                  <a:extLst>
                    <a:ext uri="{FF2B5EF4-FFF2-40B4-BE49-F238E27FC236}">
                      <a16:creationId xmlns:a16="http://schemas.microsoft.com/office/drawing/2014/main" id="{B7565A62-1885-F7F3-B208-1AEE43C342CF}"/>
                    </a:ext>
                  </a:extLst>
                </p:cNvPr>
                <p:cNvSpPr/>
                <p:nvPr/>
              </p:nvSpPr>
              <p:spPr>
                <a:xfrm>
                  <a:off x="2853367" y="1405832"/>
                  <a:ext cx="16067" cy="49573"/>
                </a:xfrm>
                <a:custGeom>
                  <a:avLst/>
                  <a:gdLst>
                    <a:gd name="connsiteX0" fmla="*/ 0 w 16067"/>
                    <a:gd name="connsiteY0" fmla="*/ 49574 h 49573"/>
                    <a:gd name="connsiteX1" fmla="*/ 4110 w 16067"/>
                    <a:gd name="connsiteY1" fmla="*/ 31264 h 49573"/>
                    <a:gd name="connsiteX2" fmla="*/ 12829 w 16067"/>
                    <a:gd name="connsiteY2" fmla="*/ 16192 h 49573"/>
                    <a:gd name="connsiteX3" fmla="*/ 16068 w 16067"/>
                    <a:gd name="connsiteY3" fmla="*/ 0 h 49573"/>
                  </a:gdLst>
                  <a:ahLst/>
                  <a:cxnLst>
                    <a:cxn ang="0">
                      <a:pos x="connsiteX0" y="connsiteY0"/>
                    </a:cxn>
                    <a:cxn ang="0">
                      <a:pos x="connsiteX1" y="connsiteY1"/>
                    </a:cxn>
                    <a:cxn ang="0">
                      <a:pos x="connsiteX2" y="connsiteY2"/>
                    </a:cxn>
                    <a:cxn ang="0">
                      <a:pos x="connsiteX3" y="connsiteY3"/>
                    </a:cxn>
                  </a:cxnLst>
                  <a:rect l="l" t="t" r="r" b="b"/>
                  <a:pathLst>
                    <a:path w="16067" h="49573">
                      <a:moveTo>
                        <a:pt x="0" y="49574"/>
                      </a:moveTo>
                      <a:cubicBezTo>
                        <a:pt x="249" y="41104"/>
                        <a:pt x="2367" y="35125"/>
                        <a:pt x="4110" y="31264"/>
                      </a:cubicBezTo>
                      <a:cubicBezTo>
                        <a:pt x="7100" y="24912"/>
                        <a:pt x="10089" y="22794"/>
                        <a:pt x="12829" y="16192"/>
                      </a:cubicBezTo>
                      <a:cubicBezTo>
                        <a:pt x="15570" y="9840"/>
                        <a:pt x="16068" y="3986"/>
                        <a:pt x="160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9" name="Freeform 8622">
                  <a:extLst>
                    <a:ext uri="{FF2B5EF4-FFF2-40B4-BE49-F238E27FC236}">
                      <a16:creationId xmlns:a16="http://schemas.microsoft.com/office/drawing/2014/main" id="{737244AC-1B07-51BE-B99D-D3A62CB82A1B}"/>
                    </a:ext>
                  </a:extLst>
                </p:cNvPr>
                <p:cNvSpPr/>
                <p:nvPr/>
              </p:nvSpPr>
              <p:spPr>
                <a:xfrm>
                  <a:off x="2853887" y="1389538"/>
                  <a:ext cx="26237" cy="26484"/>
                </a:xfrm>
                <a:custGeom>
                  <a:avLst/>
                  <a:gdLst>
                    <a:gd name="connsiteX0" fmla="*/ 25512 w 26237"/>
                    <a:gd name="connsiteY0" fmla="*/ 17540 h 26484"/>
                    <a:gd name="connsiteX1" fmla="*/ 8822 w 26237"/>
                    <a:gd name="connsiteY1" fmla="*/ 25760 h 26484"/>
                    <a:gd name="connsiteX2" fmla="*/ 725 w 26237"/>
                    <a:gd name="connsiteY2" fmla="*/ 8945 h 26484"/>
                    <a:gd name="connsiteX3" fmla="*/ 17416 w 26237"/>
                    <a:gd name="connsiteY3" fmla="*/ 724 h 26484"/>
                    <a:gd name="connsiteX4" fmla="*/ 25512 w 26237"/>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84">
                      <a:moveTo>
                        <a:pt x="25512" y="17540"/>
                      </a:moveTo>
                      <a:cubicBezTo>
                        <a:pt x="23146" y="24515"/>
                        <a:pt x="15672" y="28127"/>
                        <a:pt x="8822" y="25760"/>
                      </a:cubicBezTo>
                      <a:cubicBezTo>
                        <a:pt x="1971" y="23394"/>
                        <a:pt x="-1641" y="15796"/>
                        <a:pt x="725" y="8945"/>
                      </a:cubicBezTo>
                      <a:cubicBezTo>
                        <a:pt x="3092" y="1970"/>
                        <a:pt x="10566" y="-1642"/>
                        <a:pt x="17416" y="724"/>
                      </a:cubicBezTo>
                      <a:cubicBezTo>
                        <a:pt x="24267" y="3091"/>
                        <a:pt x="27879" y="10564"/>
                        <a:pt x="25512"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89" name="Graphic 2987">
                <a:extLst>
                  <a:ext uri="{FF2B5EF4-FFF2-40B4-BE49-F238E27FC236}">
                    <a16:creationId xmlns:a16="http://schemas.microsoft.com/office/drawing/2014/main" id="{AEBBE580-6D0E-5728-CCD8-680D02AD15F3}"/>
                  </a:ext>
                </a:extLst>
              </p:cNvPr>
              <p:cNvGrpSpPr/>
              <p:nvPr/>
            </p:nvGrpSpPr>
            <p:grpSpPr>
              <a:xfrm>
                <a:off x="2785756" y="1379835"/>
                <a:ext cx="66592" cy="142249"/>
                <a:chOff x="2785756" y="1379835"/>
                <a:chExt cx="66592" cy="142249"/>
              </a:xfrm>
              <a:grpFill/>
            </p:grpSpPr>
            <p:sp>
              <p:nvSpPr>
                <p:cNvPr id="5658" name="Freeform 8624">
                  <a:extLst>
                    <a:ext uri="{FF2B5EF4-FFF2-40B4-BE49-F238E27FC236}">
                      <a16:creationId xmlns:a16="http://schemas.microsoft.com/office/drawing/2014/main" id="{A9610C36-6E7F-217E-C344-4A8A744F4E0C}"/>
                    </a:ext>
                  </a:extLst>
                </p:cNvPr>
                <p:cNvSpPr/>
                <p:nvPr/>
              </p:nvSpPr>
              <p:spPr>
                <a:xfrm>
                  <a:off x="2804914" y="1454160"/>
                  <a:ext cx="17687" cy="49075"/>
                </a:xfrm>
                <a:custGeom>
                  <a:avLst/>
                  <a:gdLst>
                    <a:gd name="connsiteX0" fmla="*/ 0 w 17687"/>
                    <a:gd name="connsiteY0" fmla="*/ 49076 h 49075"/>
                    <a:gd name="connsiteX1" fmla="*/ 7972 w 17687"/>
                    <a:gd name="connsiteY1" fmla="*/ 32011 h 49075"/>
                    <a:gd name="connsiteX2" fmla="*/ 10338 w 17687"/>
                    <a:gd name="connsiteY2" fmla="*/ 14698 h 49075"/>
                    <a:gd name="connsiteX3" fmla="*/ 17687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2" y="42350"/>
                        <a:pt x="7100" y="36246"/>
                        <a:pt x="7972" y="32011"/>
                      </a:cubicBezTo>
                      <a:cubicBezTo>
                        <a:pt x="9466" y="25161"/>
                        <a:pt x="8470" y="21548"/>
                        <a:pt x="10338" y="14698"/>
                      </a:cubicBezTo>
                      <a:cubicBezTo>
                        <a:pt x="12082" y="7972"/>
                        <a:pt x="15321" y="3114"/>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9" name="Freeform 8625">
                  <a:extLst>
                    <a:ext uri="{FF2B5EF4-FFF2-40B4-BE49-F238E27FC236}">
                      <a16:creationId xmlns:a16="http://schemas.microsoft.com/office/drawing/2014/main" id="{8FEF4EDD-1F65-733D-3F79-41F51C276816}"/>
                    </a:ext>
                  </a:extLst>
                </p:cNvPr>
                <p:cNvSpPr/>
                <p:nvPr/>
              </p:nvSpPr>
              <p:spPr>
                <a:xfrm>
                  <a:off x="2796569" y="1456153"/>
                  <a:ext cx="16441" cy="49449"/>
                </a:xfrm>
                <a:custGeom>
                  <a:avLst/>
                  <a:gdLst>
                    <a:gd name="connsiteX0" fmla="*/ 16442 w 16441"/>
                    <a:gd name="connsiteY0" fmla="*/ 0 h 49449"/>
                    <a:gd name="connsiteX1" fmla="*/ 12207 w 16441"/>
                    <a:gd name="connsiteY1" fmla="*/ 18310 h 49449"/>
                    <a:gd name="connsiteX2" fmla="*/ 3363 w 16441"/>
                    <a:gd name="connsiteY2" fmla="*/ 33257 h 49449"/>
                    <a:gd name="connsiteX3" fmla="*/ 0 w 1644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441" h="49449">
                      <a:moveTo>
                        <a:pt x="16442" y="0"/>
                      </a:moveTo>
                      <a:cubicBezTo>
                        <a:pt x="16193" y="8470"/>
                        <a:pt x="14075" y="14449"/>
                        <a:pt x="12207" y="18310"/>
                      </a:cubicBezTo>
                      <a:cubicBezTo>
                        <a:pt x="9217" y="24662"/>
                        <a:pt x="6103" y="26780"/>
                        <a:pt x="3363" y="33257"/>
                      </a:cubicBezTo>
                      <a:cubicBezTo>
                        <a:pt x="623" y="39609"/>
                        <a:pt x="124"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0" name="Freeform 8626">
                  <a:extLst>
                    <a:ext uri="{FF2B5EF4-FFF2-40B4-BE49-F238E27FC236}">
                      <a16:creationId xmlns:a16="http://schemas.microsoft.com/office/drawing/2014/main" id="{6018963B-D99B-C3CB-C1BF-CB467207736A}"/>
                    </a:ext>
                  </a:extLst>
                </p:cNvPr>
                <p:cNvSpPr/>
                <p:nvPr/>
              </p:nvSpPr>
              <p:spPr>
                <a:xfrm>
                  <a:off x="2785756" y="1495486"/>
                  <a:ext cx="26719" cy="26598"/>
                </a:xfrm>
                <a:custGeom>
                  <a:avLst/>
                  <a:gdLst>
                    <a:gd name="connsiteX0" fmla="*/ 723 w 26719"/>
                    <a:gd name="connsiteY0" fmla="*/ 8871 h 26598"/>
                    <a:gd name="connsiteX1" fmla="*/ 17663 w 26719"/>
                    <a:gd name="connsiteY1" fmla="*/ 774 h 26598"/>
                    <a:gd name="connsiteX2" fmla="*/ 26008 w 26719"/>
                    <a:gd name="connsiteY2" fmla="*/ 17714 h 26598"/>
                    <a:gd name="connsiteX3" fmla="*/ 9069 w 26719"/>
                    <a:gd name="connsiteY3" fmla="*/ 25810 h 26598"/>
                    <a:gd name="connsiteX4" fmla="*/ 723 w 26719"/>
                    <a:gd name="connsiteY4" fmla="*/ 8871 h 2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98">
                      <a:moveTo>
                        <a:pt x="723" y="8871"/>
                      </a:moveTo>
                      <a:cubicBezTo>
                        <a:pt x="3090" y="2020"/>
                        <a:pt x="10688" y="-1717"/>
                        <a:pt x="17663" y="774"/>
                      </a:cubicBezTo>
                      <a:cubicBezTo>
                        <a:pt x="24638" y="3266"/>
                        <a:pt x="28375" y="10739"/>
                        <a:pt x="26008" y="17714"/>
                      </a:cubicBezTo>
                      <a:cubicBezTo>
                        <a:pt x="23642" y="24689"/>
                        <a:pt x="16044" y="28302"/>
                        <a:pt x="9069" y="25810"/>
                      </a:cubicBezTo>
                      <a:cubicBezTo>
                        <a:pt x="1969" y="23319"/>
                        <a:pt x="-1643" y="15721"/>
                        <a:pt x="72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1" name="Freeform 8627">
                  <a:extLst>
                    <a:ext uri="{FF2B5EF4-FFF2-40B4-BE49-F238E27FC236}">
                      <a16:creationId xmlns:a16="http://schemas.microsoft.com/office/drawing/2014/main" id="{6FE105BF-4100-AAEE-F4F5-69CF32D9C498}"/>
                    </a:ext>
                  </a:extLst>
                </p:cNvPr>
                <p:cNvSpPr/>
                <p:nvPr/>
              </p:nvSpPr>
              <p:spPr>
                <a:xfrm>
                  <a:off x="2815750" y="1398608"/>
                  <a:ext cx="17687" cy="49075"/>
                </a:xfrm>
                <a:custGeom>
                  <a:avLst/>
                  <a:gdLst>
                    <a:gd name="connsiteX0" fmla="*/ 17687 w 17687"/>
                    <a:gd name="connsiteY0" fmla="*/ 0 h 49075"/>
                    <a:gd name="connsiteX1" fmla="*/ 9715 w 17687"/>
                    <a:gd name="connsiteY1" fmla="*/ 17064 h 49075"/>
                    <a:gd name="connsiteX2" fmla="*/ 7349 w 17687"/>
                    <a:gd name="connsiteY2" fmla="*/ 34378 h 49075"/>
                    <a:gd name="connsiteX3" fmla="*/ 0 w 17687"/>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687" h="49075">
                      <a:moveTo>
                        <a:pt x="17687" y="0"/>
                      </a:moveTo>
                      <a:cubicBezTo>
                        <a:pt x="12705" y="6851"/>
                        <a:pt x="10712" y="12829"/>
                        <a:pt x="9715" y="17064"/>
                      </a:cubicBezTo>
                      <a:cubicBezTo>
                        <a:pt x="8221" y="23915"/>
                        <a:pt x="9217" y="27403"/>
                        <a:pt x="7349" y="34378"/>
                      </a:cubicBezTo>
                      <a:cubicBezTo>
                        <a:pt x="5605" y="41104"/>
                        <a:pt x="2367" y="45962"/>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2" name="Freeform 8628">
                  <a:extLst>
                    <a:ext uri="{FF2B5EF4-FFF2-40B4-BE49-F238E27FC236}">
                      <a16:creationId xmlns:a16="http://schemas.microsoft.com/office/drawing/2014/main" id="{D115CC17-B574-221C-784D-9A9DE1D0558E}"/>
                    </a:ext>
                  </a:extLst>
                </p:cNvPr>
                <p:cNvSpPr/>
                <p:nvPr/>
              </p:nvSpPr>
              <p:spPr>
                <a:xfrm>
                  <a:off x="2825341" y="1396116"/>
                  <a:ext cx="16441" cy="49573"/>
                </a:xfrm>
                <a:custGeom>
                  <a:avLst/>
                  <a:gdLst>
                    <a:gd name="connsiteX0" fmla="*/ 0 w 16441"/>
                    <a:gd name="connsiteY0" fmla="*/ 49574 h 49573"/>
                    <a:gd name="connsiteX1" fmla="*/ 4235 w 16441"/>
                    <a:gd name="connsiteY1" fmla="*/ 31264 h 49573"/>
                    <a:gd name="connsiteX2" fmla="*/ 13079 w 16441"/>
                    <a:gd name="connsiteY2" fmla="*/ 16193 h 49573"/>
                    <a:gd name="connsiteX3" fmla="*/ 16442 w 16441"/>
                    <a:gd name="connsiteY3" fmla="*/ 0 h 49573"/>
                  </a:gdLst>
                  <a:ahLst/>
                  <a:cxnLst>
                    <a:cxn ang="0">
                      <a:pos x="connsiteX0" y="connsiteY0"/>
                    </a:cxn>
                    <a:cxn ang="0">
                      <a:pos x="connsiteX1" y="connsiteY1"/>
                    </a:cxn>
                    <a:cxn ang="0">
                      <a:pos x="connsiteX2" y="connsiteY2"/>
                    </a:cxn>
                    <a:cxn ang="0">
                      <a:pos x="connsiteX3" y="connsiteY3"/>
                    </a:cxn>
                  </a:cxnLst>
                  <a:rect l="l" t="t" r="r" b="b"/>
                  <a:pathLst>
                    <a:path w="16441" h="49573">
                      <a:moveTo>
                        <a:pt x="0" y="49574"/>
                      </a:moveTo>
                      <a:cubicBezTo>
                        <a:pt x="249" y="41104"/>
                        <a:pt x="2367" y="35125"/>
                        <a:pt x="4235" y="31264"/>
                      </a:cubicBezTo>
                      <a:cubicBezTo>
                        <a:pt x="7224" y="24912"/>
                        <a:pt x="10214" y="22794"/>
                        <a:pt x="13079" y="16193"/>
                      </a:cubicBezTo>
                      <a:cubicBezTo>
                        <a:pt x="15819" y="9840"/>
                        <a:pt x="16317" y="3986"/>
                        <a:pt x="164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63" name="Freeform 8629">
                  <a:extLst>
                    <a:ext uri="{FF2B5EF4-FFF2-40B4-BE49-F238E27FC236}">
                      <a16:creationId xmlns:a16="http://schemas.microsoft.com/office/drawing/2014/main" id="{56216FA9-1F2B-69FC-C085-C4A6FB80E35E}"/>
                    </a:ext>
                  </a:extLst>
                </p:cNvPr>
                <p:cNvSpPr/>
                <p:nvPr/>
              </p:nvSpPr>
              <p:spPr>
                <a:xfrm>
                  <a:off x="2825973" y="1379835"/>
                  <a:ext cx="26375" cy="26472"/>
                </a:xfrm>
                <a:custGeom>
                  <a:avLst/>
                  <a:gdLst>
                    <a:gd name="connsiteX0" fmla="*/ 25650 w 26375"/>
                    <a:gd name="connsiteY0" fmla="*/ 17527 h 26472"/>
                    <a:gd name="connsiteX1" fmla="*/ 8835 w 26375"/>
                    <a:gd name="connsiteY1" fmla="*/ 25748 h 26472"/>
                    <a:gd name="connsiteX2" fmla="*/ 738 w 26375"/>
                    <a:gd name="connsiteY2" fmla="*/ 8933 h 26472"/>
                    <a:gd name="connsiteX3" fmla="*/ 17554 w 26375"/>
                    <a:gd name="connsiteY3" fmla="*/ 712 h 26472"/>
                    <a:gd name="connsiteX4" fmla="*/ 25650 w 26375"/>
                    <a:gd name="connsiteY4" fmla="*/ 17527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5" h="26472">
                      <a:moveTo>
                        <a:pt x="25650" y="17527"/>
                      </a:moveTo>
                      <a:cubicBezTo>
                        <a:pt x="23283" y="24502"/>
                        <a:pt x="15810" y="28114"/>
                        <a:pt x="8835" y="25748"/>
                      </a:cubicBezTo>
                      <a:cubicBezTo>
                        <a:pt x="1859" y="23381"/>
                        <a:pt x="-1628" y="15783"/>
                        <a:pt x="738" y="8933"/>
                      </a:cubicBezTo>
                      <a:cubicBezTo>
                        <a:pt x="3105" y="2082"/>
                        <a:pt x="10703" y="-1655"/>
                        <a:pt x="17554" y="712"/>
                      </a:cubicBezTo>
                      <a:cubicBezTo>
                        <a:pt x="24404" y="3078"/>
                        <a:pt x="28017" y="10676"/>
                        <a:pt x="25650"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0" name="Graphic 2987">
                <a:extLst>
                  <a:ext uri="{FF2B5EF4-FFF2-40B4-BE49-F238E27FC236}">
                    <a16:creationId xmlns:a16="http://schemas.microsoft.com/office/drawing/2014/main" id="{EE976CED-19AD-3C10-4B62-C53D9ECA9D88}"/>
                  </a:ext>
                </a:extLst>
              </p:cNvPr>
              <p:cNvGrpSpPr/>
              <p:nvPr/>
            </p:nvGrpSpPr>
            <p:grpSpPr>
              <a:xfrm>
                <a:off x="2757432" y="1370244"/>
                <a:ext cx="67203" cy="141987"/>
                <a:chOff x="2757432" y="1370244"/>
                <a:chExt cx="67203" cy="141987"/>
              </a:xfrm>
              <a:grpFill/>
            </p:grpSpPr>
            <p:sp>
              <p:nvSpPr>
                <p:cNvPr id="5652" name="Freeform 8631">
                  <a:extLst>
                    <a:ext uri="{FF2B5EF4-FFF2-40B4-BE49-F238E27FC236}">
                      <a16:creationId xmlns:a16="http://schemas.microsoft.com/office/drawing/2014/main" id="{827BFA42-B14F-E390-8E7E-477D31ECC22B}"/>
                    </a:ext>
                  </a:extLst>
                </p:cNvPr>
                <p:cNvSpPr/>
                <p:nvPr/>
              </p:nvSpPr>
              <p:spPr>
                <a:xfrm>
                  <a:off x="2776639" y="1444569"/>
                  <a:ext cx="17936" cy="48826"/>
                </a:xfrm>
                <a:custGeom>
                  <a:avLst/>
                  <a:gdLst>
                    <a:gd name="connsiteX0" fmla="*/ 0 w 17936"/>
                    <a:gd name="connsiteY0" fmla="*/ 48827 h 48826"/>
                    <a:gd name="connsiteX1" fmla="*/ 8096 w 17936"/>
                    <a:gd name="connsiteY1" fmla="*/ 31887 h 48826"/>
                    <a:gd name="connsiteX2" fmla="*/ 10463 w 17936"/>
                    <a:gd name="connsiteY2" fmla="*/ 14698 h 48826"/>
                    <a:gd name="connsiteX3" fmla="*/ 17936 w 17936"/>
                    <a:gd name="connsiteY3" fmla="*/ 0 h 48826"/>
                  </a:gdLst>
                  <a:ahLst/>
                  <a:cxnLst>
                    <a:cxn ang="0">
                      <a:pos x="connsiteX0" y="connsiteY0"/>
                    </a:cxn>
                    <a:cxn ang="0">
                      <a:pos x="connsiteX1" y="connsiteY1"/>
                    </a:cxn>
                    <a:cxn ang="0">
                      <a:pos x="connsiteX2" y="connsiteY2"/>
                    </a:cxn>
                    <a:cxn ang="0">
                      <a:pos x="connsiteX3" y="connsiteY3"/>
                    </a:cxn>
                  </a:cxnLst>
                  <a:rect l="l" t="t" r="r" b="b"/>
                  <a:pathLst>
                    <a:path w="17936" h="48826">
                      <a:moveTo>
                        <a:pt x="0" y="48827"/>
                      </a:moveTo>
                      <a:cubicBezTo>
                        <a:pt x="4982" y="42100"/>
                        <a:pt x="7100" y="36122"/>
                        <a:pt x="8096" y="31887"/>
                      </a:cubicBezTo>
                      <a:cubicBezTo>
                        <a:pt x="9715" y="25036"/>
                        <a:pt x="8595" y="21548"/>
                        <a:pt x="10463" y="14698"/>
                      </a:cubicBezTo>
                      <a:cubicBezTo>
                        <a:pt x="12331" y="8096"/>
                        <a:pt x="15445" y="3114"/>
                        <a:pt x="179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3" name="Freeform 8632">
                  <a:extLst>
                    <a:ext uri="{FF2B5EF4-FFF2-40B4-BE49-F238E27FC236}">
                      <a16:creationId xmlns:a16="http://schemas.microsoft.com/office/drawing/2014/main" id="{9EDEA5D4-9138-BDCB-62A5-5646C8B1175D}"/>
                    </a:ext>
                  </a:extLst>
                </p:cNvPr>
                <p:cNvSpPr/>
                <p:nvPr/>
              </p:nvSpPr>
              <p:spPr>
                <a:xfrm>
                  <a:off x="2768294" y="1446438"/>
                  <a:ext cx="16690" cy="49449"/>
                </a:xfrm>
                <a:custGeom>
                  <a:avLst/>
                  <a:gdLst>
                    <a:gd name="connsiteX0" fmla="*/ 16691 w 16690"/>
                    <a:gd name="connsiteY0" fmla="*/ 0 h 49449"/>
                    <a:gd name="connsiteX1" fmla="*/ 12331 w 16690"/>
                    <a:gd name="connsiteY1" fmla="*/ 18310 h 49449"/>
                    <a:gd name="connsiteX2" fmla="*/ 3363 w 16690"/>
                    <a:gd name="connsiteY2" fmla="*/ 33257 h 49449"/>
                    <a:gd name="connsiteX3" fmla="*/ 0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0"/>
                      </a:moveTo>
                      <a:cubicBezTo>
                        <a:pt x="16317" y="8345"/>
                        <a:pt x="14200" y="14324"/>
                        <a:pt x="12331" y="18310"/>
                      </a:cubicBezTo>
                      <a:cubicBezTo>
                        <a:pt x="9342" y="24662"/>
                        <a:pt x="6228" y="26780"/>
                        <a:pt x="3363" y="33257"/>
                      </a:cubicBezTo>
                      <a:cubicBezTo>
                        <a:pt x="623" y="39609"/>
                        <a:pt x="0" y="45464"/>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4" name="Freeform 8633">
                  <a:extLst>
                    <a:ext uri="{FF2B5EF4-FFF2-40B4-BE49-F238E27FC236}">
                      <a16:creationId xmlns:a16="http://schemas.microsoft.com/office/drawing/2014/main" id="{2093485A-3CC5-0FFE-533B-DF6AC19A858F}"/>
                    </a:ext>
                  </a:extLst>
                </p:cNvPr>
                <p:cNvSpPr/>
                <p:nvPr/>
              </p:nvSpPr>
              <p:spPr>
                <a:xfrm>
                  <a:off x="2757432" y="1485646"/>
                  <a:ext cx="26831" cy="26584"/>
                </a:xfrm>
                <a:custGeom>
                  <a:avLst/>
                  <a:gdLst>
                    <a:gd name="connsiteX0" fmla="*/ 773 w 26831"/>
                    <a:gd name="connsiteY0" fmla="*/ 8871 h 26584"/>
                    <a:gd name="connsiteX1" fmla="*/ 17838 w 26831"/>
                    <a:gd name="connsiteY1" fmla="*/ 774 h 26584"/>
                    <a:gd name="connsiteX2" fmla="*/ 26058 w 26831"/>
                    <a:gd name="connsiteY2" fmla="*/ 17714 h 26584"/>
                    <a:gd name="connsiteX3" fmla="*/ 8994 w 26831"/>
                    <a:gd name="connsiteY3" fmla="*/ 25810 h 26584"/>
                    <a:gd name="connsiteX4" fmla="*/ 773 w 26831"/>
                    <a:gd name="connsiteY4" fmla="*/ 8871 h 2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1" h="26584">
                      <a:moveTo>
                        <a:pt x="773" y="8871"/>
                      </a:moveTo>
                      <a:cubicBezTo>
                        <a:pt x="3264" y="2020"/>
                        <a:pt x="10862" y="-1717"/>
                        <a:pt x="17838" y="774"/>
                      </a:cubicBezTo>
                      <a:cubicBezTo>
                        <a:pt x="24813" y="3141"/>
                        <a:pt x="28549" y="10739"/>
                        <a:pt x="26058" y="17714"/>
                      </a:cubicBezTo>
                      <a:cubicBezTo>
                        <a:pt x="23692" y="24565"/>
                        <a:pt x="15969" y="28302"/>
                        <a:pt x="8994" y="25810"/>
                      </a:cubicBezTo>
                      <a:cubicBezTo>
                        <a:pt x="2019" y="23319"/>
                        <a:pt x="-1718" y="15721"/>
                        <a:pt x="773" y="88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5" name="Freeform 8634">
                  <a:extLst>
                    <a:ext uri="{FF2B5EF4-FFF2-40B4-BE49-F238E27FC236}">
                      <a16:creationId xmlns:a16="http://schemas.microsoft.com/office/drawing/2014/main" id="{34F4A11C-49F0-955F-A542-46612F3E48B9}"/>
                    </a:ext>
                  </a:extLst>
                </p:cNvPr>
                <p:cNvSpPr/>
                <p:nvPr/>
              </p:nvSpPr>
              <p:spPr>
                <a:xfrm>
                  <a:off x="2787600" y="1388892"/>
                  <a:ext cx="18060" cy="48826"/>
                </a:xfrm>
                <a:custGeom>
                  <a:avLst/>
                  <a:gdLst>
                    <a:gd name="connsiteX0" fmla="*/ 18061 w 18060"/>
                    <a:gd name="connsiteY0" fmla="*/ 0 h 48826"/>
                    <a:gd name="connsiteX1" fmla="*/ 9965 w 18060"/>
                    <a:gd name="connsiteY1" fmla="*/ 16940 h 48826"/>
                    <a:gd name="connsiteX2" fmla="*/ 7473 w 18060"/>
                    <a:gd name="connsiteY2" fmla="*/ 34129 h 48826"/>
                    <a:gd name="connsiteX3" fmla="*/ 0 w 18060"/>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060" h="48826">
                      <a:moveTo>
                        <a:pt x="18061" y="0"/>
                      </a:moveTo>
                      <a:cubicBezTo>
                        <a:pt x="13079" y="6726"/>
                        <a:pt x="10961" y="12705"/>
                        <a:pt x="9965" y="16940"/>
                      </a:cubicBezTo>
                      <a:cubicBezTo>
                        <a:pt x="8345" y="23791"/>
                        <a:pt x="9342" y="27278"/>
                        <a:pt x="7473" y="34129"/>
                      </a:cubicBezTo>
                      <a:cubicBezTo>
                        <a:pt x="5605" y="40730"/>
                        <a:pt x="2367"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6" name="Freeform 8635">
                  <a:extLst>
                    <a:ext uri="{FF2B5EF4-FFF2-40B4-BE49-F238E27FC236}">
                      <a16:creationId xmlns:a16="http://schemas.microsoft.com/office/drawing/2014/main" id="{8BD4A6F9-14E1-9B13-2637-92E995966AB4}"/>
                    </a:ext>
                  </a:extLst>
                </p:cNvPr>
                <p:cNvSpPr/>
                <p:nvPr/>
              </p:nvSpPr>
              <p:spPr>
                <a:xfrm>
                  <a:off x="2797316" y="1386401"/>
                  <a:ext cx="16566" cy="49449"/>
                </a:xfrm>
                <a:custGeom>
                  <a:avLst/>
                  <a:gdLst>
                    <a:gd name="connsiteX0" fmla="*/ 0 w 16566"/>
                    <a:gd name="connsiteY0" fmla="*/ 49449 h 49449"/>
                    <a:gd name="connsiteX1" fmla="*/ 4359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1104"/>
                        <a:pt x="2491" y="35125"/>
                        <a:pt x="4359" y="31139"/>
                      </a:cubicBezTo>
                      <a:cubicBezTo>
                        <a:pt x="7349" y="24787"/>
                        <a:pt x="10463" y="22669"/>
                        <a:pt x="13203" y="16192"/>
                      </a:cubicBezTo>
                      <a:cubicBezTo>
                        <a:pt x="15943"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7" name="Freeform 8636">
                  <a:extLst>
                    <a:ext uri="{FF2B5EF4-FFF2-40B4-BE49-F238E27FC236}">
                      <a16:creationId xmlns:a16="http://schemas.microsoft.com/office/drawing/2014/main" id="{F38DF01D-F4D2-C5A7-88FB-34112E2D0E88}"/>
                    </a:ext>
                  </a:extLst>
                </p:cNvPr>
                <p:cNvSpPr/>
                <p:nvPr/>
              </p:nvSpPr>
              <p:spPr>
                <a:xfrm>
                  <a:off x="2798271" y="1370244"/>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209" y="24378"/>
                        <a:pt x="15611" y="28114"/>
                        <a:pt x="8761" y="25748"/>
                      </a:cubicBezTo>
                      <a:cubicBezTo>
                        <a:pt x="1910" y="23381"/>
                        <a:pt x="-1702" y="15783"/>
                        <a:pt x="789" y="8933"/>
                      </a:cubicBezTo>
                      <a:cubicBezTo>
                        <a:pt x="3280" y="2082"/>
                        <a:pt x="10754" y="-1655"/>
                        <a:pt x="17604" y="712"/>
                      </a:cubicBezTo>
                      <a:cubicBezTo>
                        <a:pt x="24455" y="3078"/>
                        <a:pt x="28067" y="10552"/>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1" name="Graphic 2987">
                <a:extLst>
                  <a:ext uri="{FF2B5EF4-FFF2-40B4-BE49-F238E27FC236}">
                    <a16:creationId xmlns:a16="http://schemas.microsoft.com/office/drawing/2014/main" id="{73DC056C-68E7-F109-DBCE-0457138CBDEA}"/>
                  </a:ext>
                </a:extLst>
              </p:cNvPr>
              <p:cNvGrpSpPr/>
              <p:nvPr/>
            </p:nvGrpSpPr>
            <p:grpSpPr>
              <a:xfrm>
                <a:off x="2729157" y="1360529"/>
                <a:ext cx="67702" cy="141826"/>
                <a:chOff x="2729157" y="1360529"/>
                <a:chExt cx="67702" cy="141826"/>
              </a:xfrm>
              <a:grpFill/>
            </p:grpSpPr>
            <p:sp>
              <p:nvSpPr>
                <p:cNvPr id="5646" name="Freeform 8638">
                  <a:extLst>
                    <a:ext uri="{FF2B5EF4-FFF2-40B4-BE49-F238E27FC236}">
                      <a16:creationId xmlns:a16="http://schemas.microsoft.com/office/drawing/2014/main" id="{C534DDCB-2431-5B74-9F66-1692CB65DB68}"/>
                    </a:ext>
                  </a:extLst>
                </p:cNvPr>
                <p:cNvSpPr/>
                <p:nvPr/>
              </p:nvSpPr>
              <p:spPr>
                <a:xfrm>
                  <a:off x="2748365" y="1434854"/>
                  <a:ext cx="18185" cy="48826"/>
                </a:xfrm>
                <a:custGeom>
                  <a:avLst/>
                  <a:gdLst>
                    <a:gd name="connsiteX0" fmla="*/ 0 w 18185"/>
                    <a:gd name="connsiteY0" fmla="*/ 48827 h 48826"/>
                    <a:gd name="connsiteX1" fmla="*/ 8096 w 18185"/>
                    <a:gd name="connsiteY1" fmla="*/ 31887 h 48826"/>
                    <a:gd name="connsiteX2" fmla="*/ 10587 w 18185"/>
                    <a:gd name="connsiteY2" fmla="*/ 14698 h 48826"/>
                    <a:gd name="connsiteX3" fmla="*/ 18186 w 18185"/>
                    <a:gd name="connsiteY3" fmla="*/ 0 h 48826"/>
                  </a:gdLst>
                  <a:ahLst/>
                  <a:cxnLst>
                    <a:cxn ang="0">
                      <a:pos x="connsiteX0" y="connsiteY0"/>
                    </a:cxn>
                    <a:cxn ang="0">
                      <a:pos x="connsiteX1" y="connsiteY1"/>
                    </a:cxn>
                    <a:cxn ang="0">
                      <a:pos x="connsiteX2" y="connsiteY2"/>
                    </a:cxn>
                    <a:cxn ang="0">
                      <a:pos x="connsiteX3" y="connsiteY3"/>
                    </a:cxn>
                  </a:cxnLst>
                  <a:rect l="l" t="t" r="r" b="b"/>
                  <a:pathLst>
                    <a:path w="18185" h="48826">
                      <a:moveTo>
                        <a:pt x="0" y="48827"/>
                      </a:moveTo>
                      <a:cubicBezTo>
                        <a:pt x="5107" y="42101"/>
                        <a:pt x="7224" y="36122"/>
                        <a:pt x="8096" y="31887"/>
                      </a:cubicBezTo>
                      <a:cubicBezTo>
                        <a:pt x="9715" y="25036"/>
                        <a:pt x="8719" y="21548"/>
                        <a:pt x="10587" y="14698"/>
                      </a:cubicBezTo>
                      <a:cubicBezTo>
                        <a:pt x="12456" y="8096"/>
                        <a:pt x="15694" y="3114"/>
                        <a:pt x="181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7" name="Freeform 8639">
                  <a:extLst>
                    <a:ext uri="{FF2B5EF4-FFF2-40B4-BE49-F238E27FC236}">
                      <a16:creationId xmlns:a16="http://schemas.microsoft.com/office/drawing/2014/main" id="{CD715A38-8FE9-A583-0133-8D7C1D6AE765}"/>
                    </a:ext>
                  </a:extLst>
                </p:cNvPr>
                <p:cNvSpPr/>
                <p:nvPr/>
              </p:nvSpPr>
              <p:spPr>
                <a:xfrm>
                  <a:off x="2740019" y="1436722"/>
                  <a:ext cx="16815" cy="49324"/>
                </a:xfrm>
                <a:custGeom>
                  <a:avLst/>
                  <a:gdLst>
                    <a:gd name="connsiteX0" fmla="*/ 16815 w 16815"/>
                    <a:gd name="connsiteY0" fmla="*/ 0 h 49324"/>
                    <a:gd name="connsiteX1" fmla="*/ 12456 w 16815"/>
                    <a:gd name="connsiteY1" fmla="*/ 18310 h 49324"/>
                    <a:gd name="connsiteX2" fmla="*/ 3488 w 16815"/>
                    <a:gd name="connsiteY2" fmla="*/ 33257 h 49324"/>
                    <a:gd name="connsiteX3" fmla="*/ 0 w 16815"/>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815" h="49324">
                      <a:moveTo>
                        <a:pt x="16815" y="0"/>
                      </a:moveTo>
                      <a:cubicBezTo>
                        <a:pt x="16442" y="8345"/>
                        <a:pt x="14324" y="14324"/>
                        <a:pt x="12456" y="18310"/>
                      </a:cubicBezTo>
                      <a:cubicBezTo>
                        <a:pt x="9342" y="24662"/>
                        <a:pt x="6353" y="26780"/>
                        <a:pt x="3488" y="33257"/>
                      </a:cubicBezTo>
                      <a:cubicBezTo>
                        <a:pt x="747" y="39609"/>
                        <a:pt x="125" y="45464"/>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8" name="Freeform 8640">
                  <a:extLst>
                    <a:ext uri="{FF2B5EF4-FFF2-40B4-BE49-F238E27FC236}">
                      <a16:creationId xmlns:a16="http://schemas.microsoft.com/office/drawing/2014/main" id="{4D61065F-4531-CB67-4D7F-F09FC3431BA1}"/>
                    </a:ext>
                  </a:extLst>
                </p:cNvPr>
                <p:cNvSpPr/>
                <p:nvPr/>
              </p:nvSpPr>
              <p:spPr>
                <a:xfrm>
                  <a:off x="2729157" y="1475855"/>
                  <a:ext cx="26782" cy="26499"/>
                </a:xfrm>
                <a:custGeom>
                  <a:avLst/>
                  <a:gdLst>
                    <a:gd name="connsiteX0" fmla="*/ 773 w 26782"/>
                    <a:gd name="connsiteY0" fmla="*/ 8822 h 26499"/>
                    <a:gd name="connsiteX1" fmla="*/ 17837 w 26782"/>
                    <a:gd name="connsiteY1" fmla="*/ 725 h 26499"/>
                    <a:gd name="connsiteX2" fmla="*/ 26058 w 26782"/>
                    <a:gd name="connsiteY2" fmla="*/ 17665 h 26499"/>
                    <a:gd name="connsiteX3" fmla="*/ 8994 w 26782"/>
                    <a:gd name="connsiteY3" fmla="*/ 25762 h 26499"/>
                    <a:gd name="connsiteX4" fmla="*/ 773 w 26782"/>
                    <a:gd name="connsiteY4" fmla="*/ 8822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499">
                      <a:moveTo>
                        <a:pt x="773" y="8822"/>
                      </a:moveTo>
                      <a:cubicBezTo>
                        <a:pt x="3264" y="1971"/>
                        <a:pt x="10862" y="-1641"/>
                        <a:pt x="17837" y="725"/>
                      </a:cubicBezTo>
                      <a:cubicBezTo>
                        <a:pt x="24813" y="3092"/>
                        <a:pt x="28425" y="10690"/>
                        <a:pt x="26058" y="17665"/>
                      </a:cubicBezTo>
                      <a:cubicBezTo>
                        <a:pt x="23692" y="24640"/>
                        <a:pt x="15969" y="28128"/>
                        <a:pt x="8994" y="25762"/>
                      </a:cubicBezTo>
                      <a:cubicBezTo>
                        <a:pt x="2019" y="23395"/>
                        <a:pt x="-1718" y="15672"/>
                        <a:pt x="773"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9" name="Freeform 8641">
                  <a:extLst>
                    <a:ext uri="{FF2B5EF4-FFF2-40B4-BE49-F238E27FC236}">
                      <a16:creationId xmlns:a16="http://schemas.microsoft.com/office/drawing/2014/main" id="{E4348203-FCDE-8312-A33C-56FA7FE965E3}"/>
                    </a:ext>
                  </a:extLst>
                </p:cNvPr>
                <p:cNvSpPr/>
                <p:nvPr/>
              </p:nvSpPr>
              <p:spPr>
                <a:xfrm>
                  <a:off x="2759699" y="1379301"/>
                  <a:ext cx="18185" cy="48826"/>
                </a:xfrm>
                <a:custGeom>
                  <a:avLst/>
                  <a:gdLst>
                    <a:gd name="connsiteX0" fmla="*/ 18186 w 18185"/>
                    <a:gd name="connsiteY0" fmla="*/ 0 h 48826"/>
                    <a:gd name="connsiteX1" fmla="*/ 10089 w 18185"/>
                    <a:gd name="connsiteY1" fmla="*/ 16940 h 48826"/>
                    <a:gd name="connsiteX2" fmla="*/ 7598 w 18185"/>
                    <a:gd name="connsiteY2" fmla="*/ 34129 h 48826"/>
                    <a:gd name="connsiteX3" fmla="*/ 0 w 18185"/>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185" h="48826">
                      <a:moveTo>
                        <a:pt x="18186" y="0"/>
                      </a:moveTo>
                      <a:cubicBezTo>
                        <a:pt x="13203" y="6726"/>
                        <a:pt x="11086" y="12705"/>
                        <a:pt x="10089" y="16940"/>
                      </a:cubicBezTo>
                      <a:cubicBezTo>
                        <a:pt x="8470" y="23791"/>
                        <a:pt x="9467"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0" name="Freeform 8642">
                  <a:extLst>
                    <a:ext uri="{FF2B5EF4-FFF2-40B4-BE49-F238E27FC236}">
                      <a16:creationId xmlns:a16="http://schemas.microsoft.com/office/drawing/2014/main" id="{3D118ED4-496B-A1AB-9BDA-F6B46290E092}"/>
                    </a:ext>
                  </a:extLst>
                </p:cNvPr>
                <p:cNvSpPr/>
                <p:nvPr/>
              </p:nvSpPr>
              <p:spPr>
                <a:xfrm>
                  <a:off x="2769415" y="1376810"/>
                  <a:ext cx="16815" cy="49324"/>
                </a:xfrm>
                <a:custGeom>
                  <a:avLst/>
                  <a:gdLst>
                    <a:gd name="connsiteX0" fmla="*/ 0 w 16815"/>
                    <a:gd name="connsiteY0" fmla="*/ 49325 h 49324"/>
                    <a:gd name="connsiteX1" fmla="*/ 4360 w 16815"/>
                    <a:gd name="connsiteY1" fmla="*/ 31015 h 49324"/>
                    <a:gd name="connsiteX2" fmla="*/ 13328 w 16815"/>
                    <a:gd name="connsiteY2" fmla="*/ 16068 h 49324"/>
                    <a:gd name="connsiteX3" fmla="*/ 16815 w 16815"/>
                    <a:gd name="connsiteY3" fmla="*/ 0 h 49324"/>
                  </a:gdLst>
                  <a:ahLst/>
                  <a:cxnLst>
                    <a:cxn ang="0">
                      <a:pos x="connsiteX0" y="connsiteY0"/>
                    </a:cxn>
                    <a:cxn ang="0">
                      <a:pos x="connsiteX1" y="connsiteY1"/>
                    </a:cxn>
                    <a:cxn ang="0">
                      <a:pos x="connsiteX2" y="connsiteY2"/>
                    </a:cxn>
                    <a:cxn ang="0">
                      <a:pos x="connsiteX3" y="connsiteY3"/>
                    </a:cxn>
                  </a:cxnLst>
                  <a:rect l="l" t="t" r="r" b="b"/>
                  <a:pathLst>
                    <a:path w="16815" h="49324">
                      <a:moveTo>
                        <a:pt x="0" y="49325"/>
                      </a:moveTo>
                      <a:cubicBezTo>
                        <a:pt x="374" y="40979"/>
                        <a:pt x="2491" y="35001"/>
                        <a:pt x="4360" y="31015"/>
                      </a:cubicBezTo>
                      <a:cubicBezTo>
                        <a:pt x="7474" y="24662"/>
                        <a:pt x="10463" y="22545"/>
                        <a:pt x="13328" y="16068"/>
                      </a:cubicBezTo>
                      <a:cubicBezTo>
                        <a:pt x="16068" y="9715"/>
                        <a:pt x="16691" y="3861"/>
                        <a:pt x="168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51" name="Freeform 8643">
                  <a:extLst>
                    <a:ext uri="{FF2B5EF4-FFF2-40B4-BE49-F238E27FC236}">
                      <a16:creationId xmlns:a16="http://schemas.microsoft.com/office/drawing/2014/main" id="{3D170937-F2F7-B852-FED4-2993083E8A56}"/>
                    </a:ext>
                  </a:extLst>
                </p:cNvPr>
                <p:cNvSpPr/>
                <p:nvPr/>
              </p:nvSpPr>
              <p:spPr>
                <a:xfrm>
                  <a:off x="2770494" y="1360529"/>
                  <a:ext cx="26364" cy="26459"/>
                </a:xfrm>
                <a:custGeom>
                  <a:avLst/>
                  <a:gdLst>
                    <a:gd name="connsiteX0" fmla="*/ 25576 w 26364"/>
                    <a:gd name="connsiteY0" fmla="*/ 17527 h 26459"/>
                    <a:gd name="connsiteX1" fmla="*/ 8761 w 26364"/>
                    <a:gd name="connsiteY1" fmla="*/ 25748 h 26459"/>
                    <a:gd name="connsiteX2" fmla="*/ 789 w 26364"/>
                    <a:gd name="connsiteY2" fmla="*/ 8933 h 26459"/>
                    <a:gd name="connsiteX3" fmla="*/ 17604 w 26364"/>
                    <a:gd name="connsiteY3" fmla="*/ 712 h 26459"/>
                    <a:gd name="connsiteX4" fmla="*/ 25576 w 26364"/>
                    <a:gd name="connsiteY4" fmla="*/ 17527 h 2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3" h="26459">
                      <a:moveTo>
                        <a:pt x="25576" y="17527"/>
                      </a:moveTo>
                      <a:cubicBezTo>
                        <a:pt x="23085" y="24378"/>
                        <a:pt x="15611" y="28114"/>
                        <a:pt x="8761" y="25748"/>
                      </a:cubicBezTo>
                      <a:cubicBezTo>
                        <a:pt x="1910" y="23381"/>
                        <a:pt x="-1702" y="15783"/>
                        <a:pt x="789" y="8933"/>
                      </a:cubicBezTo>
                      <a:cubicBezTo>
                        <a:pt x="3280" y="2082"/>
                        <a:pt x="10878" y="-1655"/>
                        <a:pt x="17604" y="712"/>
                      </a:cubicBezTo>
                      <a:cubicBezTo>
                        <a:pt x="24455" y="3203"/>
                        <a:pt x="28067" y="10676"/>
                        <a:pt x="25576" y="175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2" name="Graphic 2987">
                <a:extLst>
                  <a:ext uri="{FF2B5EF4-FFF2-40B4-BE49-F238E27FC236}">
                    <a16:creationId xmlns:a16="http://schemas.microsoft.com/office/drawing/2014/main" id="{003CFA7A-3DDD-988E-2367-8954868D4788}"/>
                  </a:ext>
                </a:extLst>
              </p:cNvPr>
              <p:cNvGrpSpPr/>
              <p:nvPr/>
            </p:nvGrpSpPr>
            <p:grpSpPr>
              <a:xfrm>
                <a:off x="2700868" y="1350862"/>
                <a:ext cx="68340" cy="141515"/>
                <a:chOff x="2700868" y="1350862"/>
                <a:chExt cx="68340" cy="141515"/>
              </a:xfrm>
              <a:grpFill/>
            </p:grpSpPr>
            <p:sp>
              <p:nvSpPr>
                <p:cNvPr id="5640" name="Freeform 8645">
                  <a:extLst>
                    <a:ext uri="{FF2B5EF4-FFF2-40B4-BE49-F238E27FC236}">
                      <a16:creationId xmlns:a16="http://schemas.microsoft.com/office/drawing/2014/main" id="{E1DD3679-97B2-6C06-8845-D6AABD1333FB}"/>
                    </a:ext>
                  </a:extLst>
                </p:cNvPr>
                <p:cNvSpPr/>
                <p:nvPr/>
              </p:nvSpPr>
              <p:spPr>
                <a:xfrm>
                  <a:off x="2720090" y="1425014"/>
                  <a:ext cx="18434" cy="48826"/>
                </a:xfrm>
                <a:custGeom>
                  <a:avLst/>
                  <a:gdLst>
                    <a:gd name="connsiteX0" fmla="*/ 0 w 18434"/>
                    <a:gd name="connsiteY0" fmla="*/ 48827 h 48826"/>
                    <a:gd name="connsiteX1" fmla="*/ 8221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7"/>
                      </a:moveTo>
                      <a:cubicBezTo>
                        <a:pt x="5107" y="42100"/>
                        <a:pt x="7224" y="36122"/>
                        <a:pt x="8221" y="31887"/>
                      </a:cubicBezTo>
                      <a:cubicBezTo>
                        <a:pt x="9840" y="25036"/>
                        <a:pt x="8843" y="21548"/>
                        <a:pt x="10836" y="14698"/>
                      </a:cubicBezTo>
                      <a:cubicBezTo>
                        <a:pt x="12705"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1" name="Freeform 8646">
                  <a:extLst>
                    <a:ext uri="{FF2B5EF4-FFF2-40B4-BE49-F238E27FC236}">
                      <a16:creationId xmlns:a16="http://schemas.microsoft.com/office/drawing/2014/main" id="{01CF895D-21BC-5539-E64F-2F4C5D0A538C}"/>
                    </a:ext>
                  </a:extLst>
                </p:cNvPr>
                <p:cNvSpPr/>
                <p:nvPr/>
              </p:nvSpPr>
              <p:spPr>
                <a:xfrm>
                  <a:off x="2711745" y="1427007"/>
                  <a:ext cx="17064" cy="49200"/>
                </a:xfrm>
                <a:custGeom>
                  <a:avLst/>
                  <a:gdLst>
                    <a:gd name="connsiteX0" fmla="*/ 17064 w 17064"/>
                    <a:gd name="connsiteY0" fmla="*/ 0 h 49200"/>
                    <a:gd name="connsiteX1" fmla="*/ 12580 w 17064"/>
                    <a:gd name="connsiteY1" fmla="*/ 18185 h 49200"/>
                    <a:gd name="connsiteX2" fmla="*/ 3488 w 17064"/>
                    <a:gd name="connsiteY2" fmla="*/ 33132 h 49200"/>
                    <a:gd name="connsiteX3" fmla="*/ 0 w 17064"/>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064" h="49200">
                      <a:moveTo>
                        <a:pt x="17064" y="0"/>
                      </a:moveTo>
                      <a:cubicBezTo>
                        <a:pt x="16691" y="8345"/>
                        <a:pt x="14449" y="14324"/>
                        <a:pt x="12580" y="18185"/>
                      </a:cubicBezTo>
                      <a:cubicBezTo>
                        <a:pt x="9466" y="24413"/>
                        <a:pt x="6352" y="26655"/>
                        <a:pt x="3488" y="33132"/>
                      </a:cubicBezTo>
                      <a:cubicBezTo>
                        <a:pt x="623" y="39485"/>
                        <a:pt x="0"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2" name="Freeform 8647">
                  <a:extLst>
                    <a:ext uri="{FF2B5EF4-FFF2-40B4-BE49-F238E27FC236}">
                      <a16:creationId xmlns:a16="http://schemas.microsoft.com/office/drawing/2014/main" id="{A42B7D6C-D2B2-D49C-B475-911D070409FC}"/>
                    </a:ext>
                  </a:extLst>
                </p:cNvPr>
                <p:cNvSpPr/>
                <p:nvPr/>
              </p:nvSpPr>
              <p:spPr>
                <a:xfrm>
                  <a:off x="2700868" y="1466015"/>
                  <a:ext cx="26860" cy="26362"/>
                </a:xfrm>
                <a:custGeom>
                  <a:avLst/>
                  <a:gdLst>
                    <a:gd name="connsiteX0" fmla="*/ 788 w 26860"/>
                    <a:gd name="connsiteY0" fmla="*/ 8822 h 26362"/>
                    <a:gd name="connsiteX1" fmla="*/ 17977 w 26860"/>
                    <a:gd name="connsiteY1" fmla="*/ 725 h 26362"/>
                    <a:gd name="connsiteX2" fmla="*/ 26073 w 26860"/>
                    <a:gd name="connsiteY2" fmla="*/ 17541 h 26362"/>
                    <a:gd name="connsiteX3" fmla="*/ 8884 w 26860"/>
                    <a:gd name="connsiteY3" fmla="*/ 25637 h 26362"/>
                    <a:gd name="connsiteX4" fmla="*/ 788 w 26860"/>
                    <a:gd name="connsiteY4" fmla="*/ 8822 h 2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362">
                      <a:moveTo>
                        <a:pt x="788" y="8822"/>
                      </a:moveTo>
                      <a:cubicBezTo>
                        <a:pt x="3279" y="1971"/>
                        <a:pt x="11001" y="-1641"/>
                        <a:pt x="17977" y="725"/>
                      </a:cubicBezTo>
                      <a:cubicBezTo>
                        <a:pt x="24952" y="3092"/>
                        <a:pt x="28564" y="10690"/>
                        <a:pt x="26073" y="17541"/>
                      </a:cubicBezTo>
                      <a:cubicBezTo>
                        <a:pt x="23582" y="24391"/>
                        <a:pt x="15859" y="28004"/>
                        <a:pt x="8884" y="25637"/>
                      </a:cubicBezTo>
                      <a:cubicBezTo>
                        <a:pt x="1909" y="23270"/>
                        <a:pt x="-1703" y="15672"/>
                        <a:pt x="788" y="88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3" name="Freeform 8648">
                  <a:extLst>
                    <a:ext uri="{FF2B5EF4-FFF2-40B4-BE49-F238E27FC236}">
                      <a16:creationId xmlns:a16="http://schemas.microsoft.com/office/drawing/2014/main" id="{A0DEB447-A071-6BE7-B8B8-7FFEAB8EA000}"/>
                    </a:ext>
                  </a:extLst>
                </p:cNvPr>
                <p:cNvSpPr/>
                <p:nvPr/>
              </p:nvSpPr>
              <p:spPr>
                <a:xfrm>
                  <a:off x="2731674" y="1369586"/>
                  <a:ext cx="18434" cy="48826"/>
                </a:xfrm>
                <a:custGeom>
                  <a:avLst/>
                  <a:gdLst>
                    <a:gd name="connsiteX0" fmla="*/ 18434 w 18434"/>
                    <a:gd name="connsiteY0" fmla="*/ 0 h 48826"/>
                    <a:gd name="connsiteX1" fmla="*/ 10214 w 18434"/>
                    <a:gd name="connsiteY1" fmla="*/ 16940 h 48826"/>
                    <a:gd name="connsiteX2" fmla="*/ 7598 w 18434"/>
                    <a:gd name="connsiteY2" fmla="*/ 34129 h 48826"/>
                    <a:gd name="connsiteX3" fmla="*/ 0 w 18434"/>
                    <a:gd name="connsiteY3" fmla="*/ 48827 h 48826"/>
                  </a:gdLst>
                  <a:ahLst/>
                  <a:cxnLst>
                    <a:cxn ang="0">
                      <a:pos x="connsiteX0" y="connsiteY0"/>
                    </a:cxn>
                    <a:cxn ang="0">
                      <a:pos x="connsiteX1" y="connsiteY1"/>
                    </a:cxn>
                    <a:cxn ang="0">
                      <a:pos x="connsiteX2" y="connsiteY2"/>
                    </a:cxn>
                    <a:cxn ang="0">
                      <a:pos x="connsiteX3" y="connsiteY3"/>
                    </a:cxn>
                  </a:cxnLst>
                  <a:rect l="l" t="t" r="r" b="b"/>
                  <a:pathLst>
                    <a:path w="18434" h="48826">
                      <a:moveTo>
                        <a:pt x="18434" y="0"/>
                      </a:moveTo>
                      <a:cubicBezTo>
                        <a:pt x="13328" y="6726"/>
                        <a:pt x="11210" y="12705"/>
                        <a:pt x="10214" y="16940"/>
                      </a:cubicBezTo>
                      <a:cubicBezTo>
                        <a:pt x="8595" y="23791"/>
                        <a:pt x="9591" y="27278"/>
                        <a:pt x="7598" y="34129"/>
                      </a:cubicBezTo>
                      <a:cubicBezTo>
                        <a:pt x="5730" y="40730"/>
                        <a:pt x="2491" y="45713"/>
                        <a:pt x="0" y="4882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4" name="Freeform 8649">
                  <a:extLst>
                    <a:ext uri="{FF2B5EF4-FFF2-40B4-BE49-F238E27FC236}">
                      <a16:creationId xmlns:a16="http://schemas.microsoft.com/office/drawing/2014/main" id="{183900D7-3C46-4BCA-BF88-662F1829ED5F}"/>
                    </a:ext>
                  </a:extLst>
                </p:cNvPr>
                <p:cNvSpPr/>
                <p:nvPr/>
              </p:nvSpPr>
              <p:spPr>
                <a:xfrm>
                  <a:off x="2741389" y="1367219"/>
                  <a:ext cx="16939" cy="49200"/>
                </a:xfrm>
                <a:custGeom>
                  <a:avLst/>
                  <a:gdLst>
                    <a:gd name="connsiteX0" fmla="*/ 0 w 16939"/>
                    <a:gd name="connsiteY0" fmla="*/ 49200 h 49200"/>
                    <a:gd name="connsiteX1" fmla="*/ 4484 w 16939"/>
                    <a:gd name="connsiteY1" fmla="*/ 31015 h 49200"/>
                    <a:gd name="connsiteX2" fmla="*/ 13452 w 16939"/>
                    <a:gd name="connsiteY2" fmla="*/ 16068 h 49200"/>
                    <a:gd name="connsiteX3" fmla="*/ 16940 w 16939"/>
                    <a:gd name="connsiteY3" fmla="*/ 0 h 49200"/>
                  </a:gdLst>
                  <a:ahLst/>
                  <a:cxnLst>
                    <a:cxn ang="0">
                      <a:pos x="connsiteX0" y="connsiteY0"/>
                    </a:cxn>
                    <a:cxn ang="0">
                      <a:pos x="connsiteX1" y="connsiteY1"/>
                    </a:cxn>
                    <a:cxn ang="0">
                      <a:pos x="connsiteX2" y="connsiteY2"/>
                    </a:cxn>
                    <a:cxn ang="0">
                      <a:pos x="connsiteX3" y="connsiteY3"/>
                    </a:cxn>
                  </a:cxnLst>
                  <a:rect l="l" t="t" r="r" b="b"/>
                  <a:pathLst>
                    <a:path w="16939" h="49200">
                      <a:moveTo>
                        <a:pt x="0" y="49200"/>
                      </a:moveTo>
                      <a:cubicBezTo>
                        <a:pt x="374" y="40855"/>
                        <a:pt x="2616" y="34876"/>
                        <a:pt x="4484" y="31015"/>
                      </a:cubicBezTo>
                      <a:cubicBezTo>
                        <a:pt x="7598" y="24787"/>
                        <a:pt x="10587" y="22545"/>
                        <a:pt x="13452" y="16068"/>
                      </a:cubicBezTo>
                      <a:cubicBezTo>
                        <a:pt x="16193" y="9715"/>
                        <a:pt x="16940" y="3861"/>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45" name="Freeform 8650">
                  <a:extLst>
                    <a:ext uri="{FF2B5EF4-FFF2-40B4-BE49-F238E27FC236}">
                      <a16:creationId xmlns:a16="http://schemas.microsoft.com/office/drawing/2014/main" id="{647CCEDA-24FA-6D77-E1C6-CAC97073C6EA}"/>
                    </a:ext>
                  </a:extLst>
                </p:cNvPr>
                <p:cNvSpPr/>
                <p:nvPr/>
              </p:nvSpPr>
              <p:spPr>
                <a:xfrm>
                  <a:off x="2742778" y="1350862"/>
                  <a:ext cx="26431" cy="26473"/>
                </a:xfrm>
                <a:custGeom>
                  <a:avLst/>
                  <a:gdLst>
                    <a:gd name="connsiteX0" fmla="*/ 25641 w 26431"/>
                    <a:gd name="connsiteY0" fmla="*/ 17603 h 26473"/>
                    <a:gd name="connsiteX1" fmla="*/ 8701 w 26431"/>
                    <a:gd name="connsiteY1" fmla="*/ 25699 h 26473"/>
                    <a:gd name="connsiteX2" fmla="*/ 854 w 26431"/>
                    <a:gd name="connsiteY2" fmla="*/ 8884 h 26473"/>
                    <a:gd name="connsiteX3" fmla="*/ 17794 w 26431"/>
                    <a:gd name="connsiteY3" fmla="*/ 788 h 26473"/>
                    <a:gd name="connsiteX4" fmla="*/ 25641 w 26431"/>
                    <a:gd name="connsiteY4" fmla="*/ 17603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473">
                      <a:moveTo>
                        <a:pt x="25641" y="17603"/>
                      </a:moveTo>
                      <a:cubicBezTo>
                        <a:pt x="23150" y="24454"/>
                        <a:pt x="15552" y="28190"/>
                        <a:pt x="8701" y="25699"/>
                      </a:cubicBezTo>
                      <a:cubicBezTo>
                        <a:pt x="1850" y="23333"/>
                        <a:pt x="-1762" y="15859"/>
                        <a:pt x="854" y="8884"/>
                      </a:cubicBezTo>
                      <a:cubicBezTo>
                        <a:pt x="3470" y="1909"/>
                        <a:pt x="10943" y="-1704"/>
                        <a:pt x="17794" y="788"/>
                      </a:cubicBezTo>
                      <a:cubicBezTo>
                        <a:pt x="24520" y="3279"/>
                        <a:pt x="28132" y="10752"/>
                        <a:pt x="25641" y="176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3" name="Graphic 2987">
                <a:extLst>
                  <a:ext uri="{FF2B5EF4-FFF2-40B4-BE49-F238E27FC236}">
                    <a16:creationId xmlns:a16="http://schemas.microsoft.com/office/drawing/2014/main" id="{EAA4EFE5-641D-5E62-B6EE-0358B967B5E4}"/>
                  </a:ext>
                </a:extLst>
              </p:cNvPr>
              <p:cNvGrpSpPr/>
              <p:nvPr/>
            </p:nvGrpSpPr>
            <p:grpSpPr>
              <a:xfrm>
                <a:off x="2672703" y="1341189"/>
                <a:ext cx="68743" cy="141462"/>
                <a:chOff x="2672703" y="1341189"/>
                <a:chExt cx="68743" cy="141462"/>
              </a:xfrm>
              <a:grpFill/>
            </p:grpSpPr>
            <p:sp>
              <p:nvSpPr>
                <p:cNvPr id="5634" name="Freeform 8652">
                  <a:extLst>
                    <a:ext uri="{FF2B5EF4-FFF2-40B4-BE49-F238E27FC236}">
                      <a16:creationId xmlns:a16="http://schemas.microsoft.com/office/drawing/2014/main" id="{EF21D31F-0267-D521-1C99-A1D436920B75}"/>
                    </a:ext>
                  </a:extLst>
                </p:cNvPr>
                <p:cNvSpPr/>
                <p:nvPr/>
              </p:nvSpPr>
              <p:spPr>
                <a:xfrm>
                  <a:off x="2691940" y="1415174"/>
                  <a:ext cx="18683" cy="48826"/>
                </a:xfrm>
                <a:custGeom>
                  <a:avLst/>
                  <a:gdLst>
                    <a:gd name="connsiteX0" fmla="*/ 0 w 18683"/>
                    <a:gd name="connsiteY0" fmla="*/ 48827 h 48826"/>
                    <a:gd name="connsiteX1" fmla="*/ 8345 w 18683"/>
                    <a:gd name="connsiteY1" fmla="*/ 31887 h 48826"/>
                    <a:gd name="connsiteX2" fmla="*/ 10961 w 18683"/>
                    <a:gd name="connsiteY2" fmla="*/ 14698 h 48826"/>
                    <a:gd name="connsiteX3" fmla="*/ 18684 w 18683"/>
                    <a:gd name="connsiteY3" fmla="*/ 0 h 48826"/>
                  </a:gdLst>
                  <a:ahLst/>
                  <a:cxnLst>
                    <a:cxn ang="0">
                      <a:pos x="connsiteX0" y="connsiteY0"/>
                    </a:cxn>
                    <a:cxn ang="0">
                      <a:pos x="connsiteX1" y="connsiteY1"/>
                    </a:cxn>
                    <a:cxn ang="0">
                      <a:pos x="connsiteX2" y="connsiteY2"/>
                    </a:cxn>
                    <a:cxn ang="0">
                      <a:pos x="connsiteX3" y="connsiteY3"/>
                    </a:cxn>
                  </a:cxnLst>
                  <a:rect l="l" t="t" r="r" b="b"/>
                  <a:pathLst>
                    <a:path w="18683" h="48826">
                      <a:moveTo>
                        <a:pt x="0" y="48827"/>
                      </a:moveTo>
                      <a:cubicBezTo>
                        <a:pt x="5107" y="42101"/>
                        <a:pt x="7349" y="36122"/>
                        <a:pt x="8345" y="31887"/>
                      </a:cubicBezTo>
                      <a:cubicBezTo>
                        <a:pt x="9965" y="25036"/>
                        <a:pt x="8968" y="21548"/>
                        <a:pt x="10961" y="14698"/>
                      </a:cubicBezTo>
                      <a:cubicBezTo>
                        <a:pt x="12829" y="8096"/>
                        <a:pt x="16193" y="3114"/>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5" name="Freeform 8653">
                  <a:extLst>
                    <a:ext uri="{FF2B5EF4-FFF2-40B4-BE49-F238E27FC236}">
                      <a16:creationId xmlns:a16="http://schemas.microsoft.com/office/drawing/2014/main" id="{D572A5E1-1EEF-E7E8-BDF2-6B64386DAFBC}"/>
                    </a:ext>
                  </a:extLst>
                </p:cNvPr>
                <p:cNvSpPr/>
                <p:nvPr/>
              </p:nvSpPr>
              <p:spPr>
                <a:xfrm>
                  <a:off x="2683595" y="1417042"/>
                  <a:ext cx="17313" cy="49324"/>
                </a:xfrm>
                <a:custGeom>
                  <a:avLst/>
                  <a:gdLst>
                    <a:gd name="connsiteX0" fmla="*/ 17314 w 17313"/>
                    <a:gd name="connsiteY0" fmla="*/ 0 h 49324"/>
                    <a:gd name="connsiteX1" fmla="*/ 12705 w 17313"/>
                    <a:gd name="connsiteY1" fmla="*/ 18310 h 49324"/>
                    <a:gd name="connsiteX2" fmla="*/ 3612 w 17313"/>
                    <a:gd name="connsiteY2" fmla="*/ 33132 h 49324"/>
                    <a:gd name="connsiteX3" fmla="*/ 0 w 17313"/>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313" h="49324">
                      <a:moveTo>
                        <a:pt x="17314" y="0"/>
                      </a:moveTo>
                      <a:cubicBezTo>
                        <a:pt x="16815" y="8470"/>
                        <a:pt x="14698" y="14449"/>
                        <a:pt x="12705" y="18310"/>
                      </a:cubicBezTo>
                      <a:cubicBezTo>
                        <a:pt x="9591" y="24538"/>
                        <a:pt x="6477" y="26655"/>
                        <a:pt x="3612" y="33132"/>
                      </a:cubicBezTo>
                      <a:cubicBezTo>
                        <a:pt x="747" y="39360"/>
                        <a:pt x="125" y="45339"/>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6" name="Freeform 8654">
                  <a:extLst>
                    <a:ext uri="{FF2B5EF4-FFF2-40B4-BE49-F238E27FC236}">
                      <a16:creationId xmlns:a16="http://schemas.microsoft.com/office/drawing/2014/main" id="{E33469FD-25BB-635F-F3D6-BB25ACC82DF7}"/>
                    </a:ext>
                  </a:extLst>
                </p:cNvPr>
                <p:cNvSpPr/>
                <p:nvPr/>
              </p:nvSpPr>
              <p:spPr>
                <a:xfrm>
                  <a:off x="2672703" y="1456014"/>
                  <a:ext cx="26750" cy="26636"/>
                </a:xfrm>
                <a:custGeom>
                  <a:avLst/>
                  <a:gdLst>
                    <a:gd name="connsiteX0" fmla="*/ 803 w 26750"/>
                    <a:gd name="connsiteY0" fmla="*/ 8484 h 26636"/>
                    <a:gd name="connsiteX1" fmla="*/ 17867 w 26750"/>
                    <a:gd name="connsiteY1" fmla="*/ 886 h 26636"/>
                    <a:gd name="connsiteX2" fmla="*/ 25963 w 26750"/>
                    <a:gd name="connsiteY2" fmla="*/ 17826 h 26636"/>
                    <a:gd name="connsiteX3" fmla="*/ 8774 w 26750"/>
                    <a:gd name="connsiteY3" fmla="*/ 25798 h 26636"/>
                    <a:gd name="connsiteX4" fmla="*/ 803 w 26750"/>
                    <a:gd name="connsiteY4" fmla="*/ 8484 h 26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9" h="26636">
                      <a:moveTo>
                        <a:pt x="803" y="8484"/>
                      </a:moveTo>
                      <a:cubicBezTo>
                        <a:pt x="3294" y="1634"/>
                        <a:pt x="11016" y="-1729"/>
                        <a:pt x="17867" y="886"/>
                      </a:cubicBezTo>
                      <a:cubicBezTo>
                        <a:pt x="24842" y="3377"/>
                        <a:pt x="28454" y="10851"/>
                        <a:pt x="25963" y="17826"/>
                      </a:cubicBezTo>
                      <a:cubicBezTo>
                        <a:pt x="23472" y="24677"/>
                        <a:pt x="15749" y="28414"/>
                        <a:pt x="8774" y="25798"/>
                      </a:cubicBezTo>
                      <a:cubicBezTo>
                        <a:pt x="1799" y="23058"/>
                        <a:pt x="-1689" y="15335"/>
                        <a:pt x="803"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7" name="Freeform 8655">
                  <a:extLst>
                    <a:ext uri="{FF2B5EF4-FFF2-40B4-BE49-F238E27FC236}">
                      <a16:creationId xmlns:a16="http://schemas.microsoft.com/office/drawing/2014/main" id="{C258E2EC-9EE2-2F84-FF8D-9BB3E72F51FF}"/>
                    </a:ext>
                  </a:extLst>
                </p:cNvPr>
                <p:cNvSpPr/>
                <p:nvPr/>
              </p:nvSpPr>
              <p:spPr>
                <a:xfrm>
                  <a:off x="2703648" y="1359870"/>
                  <a:ext cx="18808" cy="48702"/>
                </a:xfrm>
                <a:custGeom>
                  <a:avLst/>
                  <a:gdLst>
                    <a:gd name="connsiteX0" fmla="*/ 18808 w 18808"/>
                    <a:gd name="connsiteY0" fmla="*/ 0 h 48702"/>
                    <a:gd name="connsiteX1" fmla="*/ 10463 w 18808"/>
                    <a:gd name="connsiteY1" fmla="*/ 16815 h 48702"/>
                    <a:gd name="connsiteX2" fmla="*/ 7723 w 18808"/>
                    <a:gd name="connsiteY2" fmla="*/ 34129 h 48702"/>
                    <a:gd name="connsiteX3" fmla="*/ 0 w 18808"/>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808" h="48702">
                      <a:moveTo>
                        <a:pt x="18808" y="0"/>
                      </a:moveTo>
                      <a:cubicBezTo>
                        <a:pt x="13701" y="6602"/>
                        <a:pt x="11584" y="12580"/>
                        <a:pt x="10463" y="16815"/>
                      </a:cubicBezTo>
                      <a:cubicBezTo>
                        <a:pt x="8719" y="23666"/>
                        <a:pt x="9715" y="27278"/>
                        <a:pt x="7723" y="34129"/>
                      </a:cubicBezTo>
                      <a:cubicBezTo>
                        <a:pt x="5854" y="40730"/>
                        <a:pt x="2491" y="45588"/>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8" name="Freeform 8656">
                  <a:extLst>
                    <a:ext uri="{FF2B5EF4-FFF2-40B4-BE49-F238E27FC236}">
                      <a16:creationId xmlns:a16="http://schemas.microsoft.com/office/drawing/2014/main" id="{AE9D60BF-A425-2351-FD22-68176A8530B5}"/>
                    </a:ext>
                  </a:extLst>
                </p:cNvPr>
                <p:cNvSpPr/>
                <p:nvPr/>
              </p:nvSpPr>
              <p:spPr>
                <a:xfrm>
                  <a:off x="2713364" y="1357504"/>
                  <a:ext cx="17313" cy="49200"/>
                </a:xfrm>
                <a:custGeom>
                  <a:avLst/>
                  <a:gdLst>
                    <a:gd name="connsiteX0" fmla="*/ 0 w 17313"/>
                    <a:gd name="connsiteY0" fmla="*/ 49200 h 49200"/>
                    <a:gd name="connsiteX1" fmla="*/ 4609 w 17313"/>
                    <a:gd name="connsiteY1" fmla="*/ 31015 h 49200"/>
                    <a:gd name="connsiteX2" fmla="*/ 13701 w 17313"/>
                    <a:gd name="connsiteY2" fmla="*/ 16068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374" y="40855"/>
                        <a:pt x="2616" y="34876"/>
                        <a:pt x="4609" y="31015"/>
                      </a:cubicBezTo>
                      <a:cubicBezTo>
                        <a:pt x="7723" y="24787"/>
                        <a:pt x="10837" y="22545"/>
                        <a:pt x="13701" y="16068"/>
                      </a:cubicBezTo>
                      <a:cubicBezTo>
                        <a:pt x="16566" y="9716"/>
                        <a:pt x="17189" y="3861"/>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9" name="Freeform 8657">
                  <a:extLst>
                    <a:ext uri="{FF2B5EF4-FFF2-40B4-BE49-F238E27FC236}">
                      <a16:creationId xmlns:a16="http://schemas.microsoft.com/office/drawing/2014/main" id="{B9DBDD22-B5B5-A3AD-D6D0-5AFB1DEA3238}"/>
                    </a:ext>
                  </a:extLst>
                </p:cNvPr>
                <p:cNvSpPr/>
                <p:nvPr/>
              </p:nvSpPr>
              <p:spPr>
                <a:xfrm>
                  <a:off x="2715174" y="1341189"/>
                  <a:ext cx="26271" cy="26555"/>
                </a:xfrm>
                <a:custGeom>
                  <a:avLst/>
                  <a:gdLst>
                    <a:gd name="connsiteX0" fmla="*/ 25468 w 26271"/>
                    <a:gd name="connsiteY0" fmla="*/ 17685 h 26555"/>
                    <a:gd name="connsiteX1" fmla="*/ 8528 w 26271"/>
                    <a:gd name="connsiteY1" fmla="*/ 25781 h 26555"/>
                    <a:gd name="connsiteX2" fmla="*/ 805 w 26271"/>
                    <a:gd name="connsiteY2" fmla="*/ 8592 h 26555"/>
                    <a:gd name="connsiteX3" fmla="*/ 17620 w 26271"/>
                    <a:gd name="connsiteY3" fmla="*/ 870 h 26555"/>
                    <a:gd name="connsiteX4" fmla="*/ 25468 w 26271"/>
                    <a:gd name="connsiteY4" fmla="*/ 17685 h 2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0" h="26555">
                      <a:moveTo>
                        <a:pt x="25468" y="17685"/>
                      </a:moveTo>
                      <a:cubicBezTo>
                        <a:pt x="22976" y="24536"/>
                        <a:pt x="15378" y="28273"/>
                        <a:pt x="8528" y="25781"/>
                      </a:cubicBezTo>
                      <a:cubicBezTo>
                        <a:pt x="1802" y="23166"/>
                        <a:pt x="-1686" y="15443"/>
                        <a:pt x="805" y="8592"/>
                      </a:cubicBezTo>
                      <a:cubicBezTo>
                        <a:pt x="3296" y="1742"/>
                        <a:pt x="10894" y="-1746"/>
                        <a:pt x="17620" y="870"/>
                      </a:cubicBezTo>
                      <a:cubicBezTo>
                        <a:pt x="24471" y="3361"/>
                        <a:pt x="27959" y="10710"/>
                        <a:pt x="25468" y="176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4" name="Graphic 2987">
                <a:extLst>
                  <a:ext uri="{FF2B5EF4-FFF2-40B4-BE49-F238E27FC236}">
                    <a16:creationId xmlns:a16="http://schemas.microsoft.com/office/drawing/2014/main" id="{50309A67-1D96-8198-4DA7-58C596556E33}"/>
                  </a:ext>
                </a:extLst>
              </p:cNvPr>
              <p:cNvGrpSpPr/>
              <p:nvPr/>
            </p:nvGrpSpPr>
            <p:grpSpPr>
              <a:xfrm>
                <a:off x="2644736" y="1330601"/>
                <a:ext cx="69199" cy="141260"/>
                <a:chOff x="2644736" y="1330601"/>
                <a:chExt cx="69199" cy="141260"/>
              </a:xfrm>
              <a:grpFill/>
            </p:grpSpPr>
            <p:sp>
              <p:nvSpPr>
                <p:cNvPr id="5628" name="Freeform 8659">
                  <a:extLst>
                    <a:ext uri="{FF2B5EF4-FFF2-40B4-BE49-F238E27FC236}">
                      <a16:creationId xmlns:a16="http://schemas.microsoft.com/office/drawing/2014/main" id="{06D9E911-7265-BD86-9650-AC6AB3BF23AD}"/>
                    </a:ext>
                  </a:extLst>
                </p:cNvPr>
                <p:cNvSpPr/>
                <p:nvPr/>
              </p:nvSpPr>
              <p:spPr>
                <a:xfrm>
                  <a:off x="2663914" y="1404711"/>
                  <a:ext cx="18808" cy="48577"/>
                </a:xfrm>
                <a:custGeom>
                  <a:avLst/>
                  <a:gdLst>
                    <a:gd name="connsiteX0" fmla="*/ 0 w 18808"/>
                    <a:gd name="connsiteY0" fmla="*/ 48577 h 48577"/>
                    <a:gd name="connsiteX1" fmla="*/ 8345 w 18808"/>
                    <a:gd name="connsiteY1" fmla="*/ 31762 h 48577"/>
                    <a:gd name="connsiteX2" fmla="*/ 11086 w 18808"/>
                    <a:gd name="connsiteY2" fmla="*/ 1457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5107" y="41976"/>
                        <a:pt x="7349" y="35997"/>
                        <a:pt x="8345" y="31762"/>
                      </a:cubicBezTo>
                      <a:cubicBezTo>
                        <a:pt x="10089" y="24912"/>
                        <a:pt x="9093" y="21299"/>
                        <a:pt x="11086" y="14573"/>
                      </a:cubicBezTo>
                      <a:cubicBezTo>
                        <a:pt x="13079" y="7972"/>
                        <a:pt x="16317" y="3114"/>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9" name="Freeform 8660">
                  <a:extLst>
                    <a:ext uri="{FF2B5EF4-FFF2-40B4-BE49-F238E27FC236}">
                      <a16:creationId xmlns:a16="http://schemas.microsoft.com/office/drawing/2014/main" id="{0AED4A86-7F91-45CB-441C-435CCAAF0112}"/>
                    </a:ext>
                  </a:extLst>
                </p:cNvPr>
                <p:cNvSpPr/>
                <p:nvPr/>
              </p:nvSpPr>
              <p:spPr>
                <a:xfrm>
                  <a:off x="2655445" y="1406330"/>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947" y="14324"/>
                        <a:pt x="12954" y="18185"/>
                      </a:cubicBezTo>
                      <a:cubicBezTo>
                        <a:pt x="9840" y="24413"/>
                        <a:pt x="6726" y="26531"/>
                        <a:pt x="3737" y="32883"/>
                      </a:cubicBezTo>
                      <a:cubicBezTo>
                        <a:pt x="872" y="39111"/>
                        <a:pt x="124" y="45090"/>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0" name="Freeform 8661">
                  <a:extLst>
                    <a:ext uri="{FF2B5EF4-FFF2-40B4-BE49-F238E27FC236}">
                      <a16:creationId xmlns:a16="http://schemas.microsoft.com/office/drawing/2014/main" id="{EB4920FA-6E45-978E-069A-84E6FC2A9627}"/>
                    </a:ext>
                  </a:extLst>
                </p:cNvPr>
                <p:cNvSpPr/>
                <p:nvPr/>
              </p:nvSpPr>
              <p:spPr>
                <a:xfrm>
                  <a:off x="2644736" y="1445178"/>
                  <a:ext cx="26758" cy="26684"/>
                </a:xfrm>
                <a:custGeom>
                  <a:avLst/>
                  <a:gdLst>
                    <a:gd name="connsiteX0" fmla="*/ 868 w 26758"/>
                    <a:gd name="connsiteY0" fmla="*/ 8484 h 26684"/>
                    <a:gd name="connsiteX1" fmla="*/ 18057 w 26758"/>
                    <a:gd name="connsiteY1" fmla="*/ 886 h 26684"/>
                    <a:gd name="connsiteX2" fmla="*/ 25905 w 26758"/>
                    <a:gd name="connsiteY2" fmla="*/ 18200 h 26684"/>
                    <a:gd name="connsiteX3" fmla="*/ 8716 w 26758"/>
                    <a:gd name="connsiteY3" fmla="*/ 25798 h 26684"/>
                    <a:gd name="connsiteX4" fmla="*/ 868 w 26758"/>
                    <a:gd name="connsiteY4" fmla="*/ 8484 h 2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8" h="26684">
                      <a:moveTo>
                        <a:pt x="868" y="8484"/>
                      </a:moveTo>
                      <a:cubicBezTo>
                        <a:pt x="3484" y="1634"/>
                        <a:pt x="11082" y="-1729"/>
                        <a:pt x="18057" y="886"/>
                      </a:cubicBezTo>
                      <a:cubicBezTo>
                        <a:pt x="24908" y="3502"/>
                        <a:pt x="28520" y="11349"/>
                        <a:pt x="25905" y="18200"/>
                      </a:cubicBezTo>
                      <a:cubicBezTo>
                        <a:pt x="23414" y="25051"/>
                        <a:pt x="15691" y="28414"/>
                        <a:pt x="8716" y="25798"/>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1" name="Freeform 8662">
                  <a:extLst>
                    <a:ext uri="{FF2B5EF4-FFF2-40B4-BE49-F238E27FC236}">
                      <a16:creationId xmlns:a16="http://schemas.microsoft.com/office/drawing/2014/main" id="{D4947D72-EFC3-4C0C-90A2-2E5DB11AD887}"/>
                    </a:ext>
                  </a:extLst>
                </p:cNvPr>
                <p:cNvSpPr/>
                <p:nvPr/>
              </p:nvSpPr>
              <p:spPr>
                <a:xfrm>
                  <a:off x="2676121" y="1349158"/>
                  <a:ext cx="18932" cy="48577"/>
                </a:xfrm>
                <a:custGeom>
                  <a:avLst/>
                  <a:gdLst>
                    <a:gd name="connsiteX0" fmla="*/ 18933 w 18932"/>
                    <a:gd name="connsiteY0" fmla="*/ 0 h 48577"/>
                    <a:gd name="connsiteX1" fmla="*/ 10587 w 18932"/>
                    <a:gd name="connsiteY1" fmla="*/ 16815 h 48577"/>
                    <a:gd name="connsiteX2" fmla="*/ 7723 w 18932"/>
                    <a:gd name="connsiteY2" fmla="*/ 34004 h 48577"/>
                    <a:gd name="connsiteX3" fmla="*/ 0 w 18932"/>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2" h="48577">
                      <a:moveTo>
                        <a:pt x="18933" y="0"/>
                      </a:moveTo>
                      <a:cubicBezTo>
                        <a:pt x="13826" y="6602"/>
                        <a:pt x="11584" y="12580"/>
                        <a:pt x="10587" y="16815"/>
                      </a:cubicBezTo>
                      <a:cubicBezTo>
                        <a:pt x="8843" y="23666"/>
                        <a:pt x="9840" y="27278"/>
                        <a:pt x="7723" y="34004"/>
                      </a:cubicBezTo>
                      <a:cubicBezTo>
                        <a:pt x="5730" y="40606"/>
                        <a:pt x="2491" y="45464"/>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2" name="Freeform 8663">
                  <a:extLst>
                    <a:ext uri="{FF2B5EF4-FFF2-40B4-BE49-F238E27FC236}">
                      <a16:creationId xmlns:a16="http://schemas.microsoft.com/office/drawing/2014/main" id="{D6FB88CC-D3CD-7FA0-8CF2-9AC885EA8B87}"/>
                    </a:ext>
                  </a:extLst>
                </p:cNvPr>
                <p:cNvSpPr/>
                <p:nvPr/>
              </p:nvSpPr>
              <p:spPr>
                <a:xfrm>
                  <a:off x="2685712" y="1347041"/>
                  <a:ext cx="17562" cy="49075"/>
                </a:xfrm>
                <a:custGeom>
                  <a:avLst/>
                  <a:gdLst>
                    <a:gd name="connsiteX0" fmla="*/ 0 w 17562"/>
                    <a:gd name="connsiteY0" fmla="*/ 49076 h 49075"/>
                    <a:gd name="connsiteX1" fmla="*/ 4733 w 17562"/>
                    <a:gd name="connsiteY1" fmla="*/ 30890 h 49075"/>
                    <a:gd name="connsiteX2" fmla="*/ 13826 w 17562"/>
                    <a:gd name="connsiteY2" fmla="*/ 16068 h 49075"/>
                    <a:gd name="connsiteX3" fmla="*/ 17563 w 17562"/>
                    <a:gd name="connsiteY3" fmla="*/ 0 h 49075"/>
                  </a:gdLst>
                  <a:ahLst/>
                  <a:cxnLst>
                    <a:cxn ang="0">
                      <a:pos x="connsiteX0" y="connsiteY0"/>
                    </a:cxn>
                    <a:cxn ang="0">
                      <a:pos x="connsiteX1" y="connsiteY1"/>
                    </a:cxn>
                    <a:cxn ang="0">
                      <a:pos x="connsiteX2" y="connsiteY2"/>
                    </a:cxn>
                    <a:cxn ang="0">
                      <a:pos x="connsiteX3" y="connsiteY3"/>
                    </a:cxn>
                  </a:cxnLst>
                  <a:rect l="l" t="t" r="r" b="b"/>
                  <a:pathLst>
                    <a:path w="17562" h="49075">
                      <a:moveTo>
                        <a:pt x="0" y="49076"/>
                      </a:moveTo>
                      <a:cubicBezTo>
                        <a:pt x="498" y="40606"/>
                        <a:pt x="2740" y="34752"/>
                        <a:pt x="4733" y="30890"/>
                      </a:cubicBezTo>
                      <a:cubicBezTo>
                        <a:pt x="7847" y="24662"/>
                        <a:pt x="10961" y="22545"/>
                        <a:pt x="13826" y="16068"/>
                      </a:cubicBezTo>
                      <a:cubicBezTo>
                        <a:pt x="16691" y="9840"/>
                        <a:pt x="17438" y="3861"/>
                        <a:pt x="175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33" name="Freeform 8664">
                  <a:extLst>
                    <a:ext uri="{FF2B5EF4-FFF2-40B4-BE49-F238E27FC236}">
                      <a16:creationId xmlns:a16="http://schemas.microsoft.com/office/drawing/2014/main" id="{79289D5B-7E67-8F98-C55A-AB21E55DF992}"/>
                    </a:ext>
                  </a:extLst>
                </p:cNvPr>
                <p:cNvSpPr/>
                <p:nvPr/>
              </p:nvSpPr>
              <p:spPr>
                <a:xfrm>
                  <a:off x="2687830" y="1330601"/>
                  <a:ext cx="26105" cy="26651"/>
                </a:xfrm>
                <a:custGeom>
                  <a:avLst/>
                  <a:gdLst>
                    <a:gd name="connsiteX0" fmla="*/ 25285 w 26105"/>
                    <a:gd name="connsiteY0" fmla="*/ 18059 h 26651"/>
                    <a:gd name="connsiteX1" fmla="*/ 8469 w 26105"/>
                    <a:gd name="connsiteY1" fmla="*/ 25781 h 26651"/>
                    <a:gd name="connsiteX2" fmla="*/ 871 w 26105"/>
                    <a:gd name="connsiteY2" fmla="*/ 8592 h 26651"/>
                    <a:gd name="connsiteX3" fmla="*/ 17687 w 26105"/>
                    <a:gd name="connsiteY3" fmla="*/ 870 h 26651"/>
                    <a:gd name="connsiteX4" fmla="*/ 25285 w 26105"/>
                    <a:gd name="connsiteY4" fmla="*/ 18059 h 2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5" h="26651">
                      <a:moveTo>
                        <a:pt x="25285" y="18059"/>
                      </a:moveTo>
                      <a:cubicBezTo>
                        <a:pt x="22793" y="24910"/>
                        <a:pt x="15195" y="28397"/>
                        <a:pt x="8469" y="25781"/>
                      </a:cubicBezTo>
                      <a:cubicBezTo>
                        <a:pt x="1743" y="23166"/>
                        <a:pt x="-1744" y="15443"/>
                        <a:pt x="871" y="8592"/>
                      </a:cubicBezTo>
                      <a:cubicBezTo>
                        <a:pt x="3487" y="1742"/>
                        <a:pt x="10961" y="-1746"/>
                        <a:pt x="17687" y="870"/>
                      </a:cubicBezTo>
                      <a:cubicBezTo>
                        <a:pt x="24413" y="3486"/>
                        <a:pt x="27776" y="11084"/>
                        <a:pt x="25285" y="180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5" name="Graphic 2987">
                <a:extLst>
                  <a:ext uri="{FF2B5EF4-FFF2-40B4-BE49-F238E27FC236}">
                    <a16:creationId xmlns:a16="http://schemas.microsoft.com/office/drawing/2014/main" id="{5176E483-A1F0-E77C-7E18-563A7F787129}"/>
                  </a:ext>
                </a:extLst>
              </p:cNvPr>
              <p:cNvGrpSpPr/>
              <p:nvPr/>
            </p:nvGrpSpPr>
            <p:grpSpPr>
              <a:xfrm>
                <a:off x="2616711" y="1319873"/>
                <a:ext cx="69946" cy="141028"/>
                <a:chOff x="2616711" y="1319873"/>
                <a:chExt cx="69946" cy="141028"/>
              </a:xfrm>
              <a:grpFill/>
            </p:grpSpPr>
            <p:sp>
              <p:nvSpPr>
                <p:cNvPr id="5622" name="Freeform 8666">
                  <a:extLst>
                    <a:ext uri="{FF2B5EF4-FFF2-40B4-BE49-F238E27FC236}">
                      <a16:creationId xmlns:a16="http://schemas.microsoft.com/office/drawing/2014/main" id="{E54151EB-C558-4A30-37D6-F9E3A4D0E72C}"/>
                    </a:ext>
                  </a:extLst>
                </p:cNvPr>
                <p:cNvSpPr/>
                <p:nvPr/>
              </p:nvSpPr>
              <p:spPr>
                <a:xfrm>
                  <a:off x="2636014" y="1393874"/>
                  <a:ext cx="19181" cy="48577"/>
                </a:xfrm>
                <a:custGeom>
                  <a:avLst/>
                  <a:gdLst>
                    <a:gd name="connsiteX0" fmla="*/ 0 w 19181"/>
                    <a:gd name="connsiteY0" fmla="*/ 48578 h 48577"/>
                    <a:gd name="connsiteX1" fmla="*/ 8470 w 19181"/>
                    <a:gd name="connsiteY1" fmla="*/ 31762 h 48577"/>
                    <a:gd name="connsiteX2" fmla="*/ 11335 w 19181"/>
                    <a:gd name="connsiteY2" fmla="*/ 14573 h 48577"/>
                    <a:gd name="connsiteX3" fmla="*/ 19182 w 19181"/>
                    <a:gd name="connsiteY3" fmla="*/ 0 h 48577"/>
                  </a:gdLst>
                  <a:ahLst/>
                  <a:cxnLst>
                    <a:cxn ang="0">
                      <a:pos x="connsiteX0" y="connsiteY0"/>
                    </a:cxn>
                    <a:cxn ang="0">
                      <a:pos x="connsiteX1" y="connsiteY1"/>
                    </a:cxn>
                    <a:cxn ang="0">
                      <a:pos x="connsiteX2" y="connsiteY2"/>
                    </a:cxn>
                    <a:cxn ang="0">
                      <a:pos x="connsiteX3" y="connsiteY3"/>
                    </a:cxn>
                  </a:cxnLst>
                  <a:rect l="l" t="t" r="r" b="b"/>
                  <a:pathLst>
                    <a:path w="19181" h="48577">
                      <a:moveTo>
                        <a:pt x="0" y="48578"/>
                      </a:moveTo>
                      <a:cubicBezTo>
                        <a:pt x="5231" y="41976"/>
                        <a:pt x="7349" y="35997"/>
                        <a:pt x="8470" y="31762"/>
                      </a:cubicBezTo>
                      <a:cubicBezTo>
                        <a:pt x="10214" y="24912"/>
                        <a:pt x="9217" y="21299"/>
                        <a:pt x="11335" y="14573"/>
                      </a:cubicBezTo>
                      <a:cubicBezTo>
                        <a:pt x="13328" y="7972"/>
                        <a:pt x="16691" y="3114"/>
                        <a:pt x="191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3" name="Freeform 8667">
                  <a:extLst>
                    <a:ext uri="{FF2B5EF4-FFF2-40B4-BE49-F238E27FC236}">
                      <a16:creationId xmlns:a16="http://schemas.microsoft.com/office/drawing/2014/main" id="{57049D17-F825-CDA8-F7A2-2C9B25D345C9}"/>
                    </a:ext>
                  </a:extLst>
                </p:cNvPr>
                <p:cNvSpPr/>
                <p:nvPr/>
              </p:nvSpPr>
              <p:spPr>
                <a:xfrm>
                  <a:off x="2627793" y="1395494"/>
                  <a:ext cx="17687" cy="48951"/>
                </a:xfrm>
                <a:custGeom>
                  <a:avLst/>
                  <a:gdLst>
                    <a:gd name="connsiteX0" fmla="*/ 17687 w 17687"/>
                    <a:gd name="connsiteY0" fmla="*/ 0 h 48951"/>
                    <a:gd name="connsiteX1" fmla="*/ 12954 w 17687"/>
                    <a:gd name="connsiteY1" fmla="*/ 18185 h 48951"/>
                    <a:gd name="connsiteX2" fmla="*/ 3737 w 17687"/>
                    <a:gd name="connsiteY2" fmla="*/ 32883 h 48951"/>
                    <a:gd name="connsiteX3" fmla="*/ 0 w 17687"/>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687" h="48951">
                      <a:moveTo>
                        <a:pt x="17687" y="0"/>
                      </a:moveTo>
                      <a:cubicBezTo>
                        <a:pt x="17189" y="8470"/>
                        <a:pt x="14822" y="14324"/>
                        <a:pt x="12954" y="18185"/>
                      </a:cubicBezTo>
                      <a:cubicBezTo>
                        <a:pt x="9715" y="24413"/>
                        <a:pt x="6726" y="26531"/>
                        <a:pt x="3737"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4" name="Freeform 8668">
                  <a:extLst>
                    <a:ext uri="{FF2B5EF4-FFF2-40B4-BE49-F238E27FC236}">
                      <a16:creationId xmlns:a16="http://schemas.microsoft.com/office/drawing/2014/main" id="{A6464C60-BD8C-E794-8934-7358F4A5ABF7}"/>
                    </a:ext>
                  </a:extLst>
                </p:cNvPr>
                <p:cNvSpPr/>
                <p:nvPr/>
              </p:nvSpPr>
              <p:spPr>
                <a:xfrm>
                  <a:off x="2616711" y="1434341"/>
                  <a:ext cx="26708" cy="26559"/>
                </a:xfrm>
                <a:custGeom>
                  <a:avLst/>
                  <a:gdLst>
                    <a:gd name="connsiteX0" fmla="*/ 868 w 26708"/>
                    <a:gd name="connsiteY0" fmla="*/ 8484 h 26559"/>
                    <a:gd name="connsiteX1" fmla="*/ 18057 w 26708"/>
                    <a:gd name="connsiteY1" fmla="*/ 886 h 26559"/>
                    <a:gd name="connsiteX2" fmla="*/ 25905 w 26708"/>
                    <a:gd name="connsiteY2" fmla="*/ 18075 h 26559"/>
                    <a:gd name="connsiteX3" fmla="*/ 8716 w 26708"/>
                    <a:gd name="connsiteY3" fmla="*/ 25673 h 26559"/>
                    <a:gd name="connsiteX4" fmla="*/ 868 w 26708"/>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559">
                      <a:moveTo>
                        <a:pt x="868" y="8484"/>
                      </a:moveTo>
                      <a:cubicBezTo>
                        <a:pt x="3484" y="1634"/>
                        <a:pt x="11207" y="-1729"/>
                        <a:pt x="18057" y="886"/>
                      </a:cubicBezTo>
                      <a:cubicBezTo>
                        <a:pt x="24908" y="3502"/>
                        <a:pt x="28396" y="11225"/>
                        <a:pt x="25905" y="18075"/>
                      </a:cubicBezTo>
                      <a:cubicBezTo>
                        <a:pt x="23414" y="24926"/>
                        <a:pt x="15566" y="28289"/>
                        <a:pt x="8716" y="25673"/>
                      </a:cubicBezTo>
                      <a:cubicBezTo>
                        <a:pt x="1740" y="23058"/>
                        <a:pt x="-1747" y="15335"/>
                        <a:pt x="868"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5" name="Freeform 8669">
                  <a:extLst>
                    <a:ext uri="{FF2B5EF4-FFF2-40B4-BE49-F238E27FC236}">
                      <a16:creationId xmlns:a16="http://schemas.microsoft.com/office/drawing/2014/main" id="{3A219D3F-C75B-E946-9138-3F085D032CA0}"/>
                    </a:ext>
                  </a:extLst>
                </p:cNvPr>
                <p:cNvSpPr/>
                <p:nvPr/>
              </p:nvSpPr>
              <p:spPr>
                <a:xfrm>
                  <a:off x="2648469" y="1338571"/>
                  <a:ext cx="19181" cy="48577"/>
                </a:xfrm>
                <a:custGeom>
                  <a:avLst/>
                  <a:gdLst>
                    <a:gd name="connsiteX0" fmla="*/ 19182 w 19181"/>
                    <a:gd name="connsiteY0" fmla="*/ 0 h 48577"/>
                    <a:gd name="connsiteX1" fmla="*/ 10712 w 19181"/>
                    <a:gd name="connsiteY1" fmla="*/ 16815 h 48577"/>
                    <a:gd name="connsiteX2" fmla="*/ 7847 w 19181"/>
                    <a:gd name="connsiteY2" fmla="*/ 34004 h 48577"/>
                    <a:gd name="connsiteX3" fmla="*/ 0 w 19181"/>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9181" h="48577">
                      <a:moveTo>
                        <a:pt x="19182" y="0"/>
                      </a:moveTo>
                      <a:cubicBezTo>
                        <a:pt x="14075" y="6602"/>
                        <a:pt x="11833" y="12580"/>
                        <a:pt x="10712" y="16815"/>
                      </a:cubicBezTo>
                      <a:cubicBezTo>
                        <a:pt x="8968" y="23541"/>
                        <a:pt x="9840" y="27154"/>
                        <a:pt x="7847" y="34004"/>
                      </a:cubicBezTo>
                      <a:cubicBezTo>
                        <a:pt x="5854" y="40606"/>
                        <a:pt x="2491" y="45464"/>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6" name="Freeform 8670">
                  <a:extLst>
                    <a:ext uri="{FF2B5EF4-FFF2-40B4-BE49-F238E27FC236}">
                      <a16:creationId xmlns:a16="http://schemas.microsoft.com/office/drawing/2014/main" id="{8C7EB813-5ABE-4397-4818-A86B2B8D5AEA}"/>
                    </a:ext>
                  </a:extLst>
                </p:cNvPr>
                <p:cNvSpPr/>
                <p:nvPr/>
              </p:nvSpPr>
              <p:spPr>
                <a:xfrm>
                  <a:off x="2658185" y="1336453"/>
                  <a:ext cx="17687" cy="48951"/>
                </a:xfrm>
                <a:custGeom>
                  <a:avLst/>
                  <a:gdLst>
                    <a:gd name="connsiteX0" fmla="*/ 0 w 17687"/>
                    <a:gd name="connsiteY0" fmla="*/ 48951 h 48951"/>
                    <a:gd name="connsiteX1" fmla="*/ 4733 w 17687"/>
                    <a:gd name="connsiteY1" fmla="*/ 30766 h 48951"/>
                    <a:gd name="connsiteX2" fmla="*/ 13950 w 17687"/>
                    <a:gd name="connsiteY2" fmla="*/ 16068 h 48951"/>
                    <a:gd name="connsiteX3" fmla="*/ 17687 w 17687"/>
                    <a:gd name="connsiteY3" fmla="*/ 0 h 48951"/>
                  </a:gdLst>
                  <a:ahLst/>
                  <a:cxnLst>
                    <a:cxn ang="0">
                      <a:pos x="connsiteX0" y="connsiteY0"/>
                    </a:cxn>
                    <a:cxn ang="0">
                      <a:pos x="connsiteX1" y="connsiteY1"/>
                    </a:cxn>
                    <a:cxn ang="0">
                      <a:pos x="connsiteX2" y="connsiteY2"/>
                    </a:cxn>
                    <a:cxn ang="0">
                      <a:pos x="connsiteX3" y="connsiteY3"/>
                    </a:cxn>
                  </a:cxnLst>
                  <a:rect l="l" t="t" r="r" b="b"/>
                  <a:pathLst>
                    <a:path w="17687" h="48951">
                      <a:moveTo>
                        <a:pt x="0" y="48951"/>
                      </a:moveTo>
                      <a:cubicBezTo>
                        <a:pt x="498" y="40481"/>
                        <a:pt x="2865" y="34627"/>
                        <a:pt x="4733" y="30766"/>
                      </a:cubicBezTo>
                      <a:cubicBezTo>
                        <a:pt x="7972" y="24538"/>
                        <a:pt x="10961" y="22420"/>
                        <a:pt x="13950" y="16068"/>
                      </a:cubicBezTo>
                      <a:cubicBezTo>
                        <a:pt x="16815" y="9840"/>
                        <a:pt x="17563"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7" name="Freeform 8671">
                  <a:extLst>
                    <a:ext uri="{FF2B5EF4-FFF2-40B4-BE49-F238E27FC236}">
                      <a16:creationId xmlns:a16="http://schemas.microsoft.com/office/drawing/2014/main" id="{B1DD6F57-C7A9-7082-1B6E-5B1E6210DAE1}"/>
                    </a:ext>
                  </a:extLst>
                </p:cNvPr>
                <p:cNvSpPr/>
                <p:nvPr/>
              </p:nvSpPr>
              <p:spPr>
                <a:xfrm>
                  <a:off x="2660428" y="1319873"/>
                  <a:ext cx="26230" cy="26559"/>
                </a:xfrm>
                <a:custGeom>
                  <a:avLst/>
                  <a:gdLst>
                    <a:gd name="connsiteX0" fmla="*/ 25409 w 26230"/>
                    <a:gd name="connsiteY0" fmla="*/ 18075 h 26559"/>
                    <a:gd name="connsiteX1" fmla="*/ 8469 w 26230"/>
                    <a:gd name="connsiteY1" fmla="*/ 25673 h 26559"/>
                    <a:gd name="connsiteX2" fmla="*/ 871 w 26230"/>
                    <a:gd name="connsiteY2" fmla="*/ 8484 h 26559"/>
                    <a:gd name="connsiteX3" fmla="*/ 17811 w 26230"/>
                    <a:gd name="connsiteY3" fmla="*/ 886 h 26559"/>
                    <a:gd name="connsiteX4" fmla="*/ 25409 w 26230"/>
                    <a:gd name="connsiteY4" fmla="*/ 18075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0" h="26559">
                      <a:moveTo>
                        <a:pt x="25409" y="18075"/>
                      </a:moveTo>
                      <a:cubicBezTo>
                        <a:pt x="22793" y="24926"/>
                        <a:pt x="15195" y="28289"/>
                        <a:pt x="8469" y="25673"/>
                      </a:cubicBezTo>
                      <a:cubicBezTo>
                        <a:pt x="1743" y="23058"/>
                        <a:pt x="-1744" y="15335"/>
                        <a:pt x="871" y="8484"/>
                      </a:cubicBezTo>
                      <a:cubicBezTo>
                        <a:pt x="3487" y="1634"/>
                        <a:pt x="11085" y="-1729"/>
                        <a:pt x="17811" y="886"/>
                      </a:cubicBezTo>
                      <a:cubicBezTo>
                        <a:pt x="24537" y="3627"/>
                        <a:pt x="27900" y="11225"/>
                        <a:pt x="25409" y="180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6" name="Graphic 2987">
                <a:extLst>
                  <a:ext uri="{FF2B5EF4-FFF2-40B4-BE49-F238E27FC236}">
                    <a16:creationId xmlns:a16="http://schemas.microsoft.com/office/drawing/2014/main" id="{8CCD1668-EFE3-7452-9BF5-FB262FA15B7E}"/>
                  </a:ext>
                </a:extLst>
              </p:cNvPr>
              <p:cNvGrpSpPr/>
              <p:nvPr/>
            </p:nvGrpSpPr>
            <p:grpSpPr>
              <a:xfrm>
                <a:off x="2588793" y="1309410"/>
                <a:ext cx="70528" cy="140722"/>
                <a:chOff x="2588793" y="1309410"/>
                <a:chExt cx="70528" cy="140722"/>
              </a:xfrm>
              <a:grpFill/>
            </p:grpSpPr>
            <p:sp>
              <p:nvSpPr>
                <p:cNvPr id="5616" name="Freeform 8673">
                  <a:extLst>
                    <a:ext uri="{FF2B5EF4-FFF2-40B4-BE49-F238E27FC236}">
                      <a16:creationId xmlns:a16="http://schemas.microsoft.com/office/drawing/2014/main" id="{9CAE83C2-1593-B6FF-0B24-F1044029AAE4}"/>
                    </a:ext>
                  </a:extLst>
                </p:cNvPr>
                <p:cNvSpPr/>
                <p:nvPr/>
              </p:nvSpPr>
              <p:spPr>
                <a:xfrm>
                  <a:off x="2608113" y="1383287"/>
                  <a:ext cx="19430" cy="48328"/>
                </a:xfrm>
                <a:custGeom>
                  <a:avLst/>
                  <a:gdLst>
                    <a:gd name="connsiteX0" fmla="*/ 0 w 19430"/>
                    <a:gd name="connsiteY0" fmla="*/ 48328 h 48328"/>
                    <a:gd name="connsiteX1" fmla="*/ 8595 w 19430"/>
                    <a:gd name="connsiteY1" fmla="*/ 31638 h 48328"/>
                    <a:gd name="connsiteX2" fmla="*/ 11584 w 19430"/>
                    <a:gd name="connsiteY2" fmla="*/ 14449 h 48328"/>
                    <a:gd name="connsiteX3" fmla="*/ 19431 w 19430"/>
                    <a:gd name="connsiteY3" fmla="*/ 0 h 48328"/>
                  </a:gdLst>
                  <a:ahLst/>
                  <a:cxnLst>
                    <a:cxn ang="0">
                      <a:pos x="connsiteX0" y="connsiteY0"/>
                    </a:cxn>
                    <a:cxn ang="0">
                      <a:pos x="connsiteX1" y="connsiteY1"/>
                    </a:cxn>
                    <a:cxn ang="0">
                      <a:pos x="connsiteX2" y="connsiteY2"/>
                    </a:cxn>
                    <a:cxn ang="0">
                      <a:pos x="connsiteX3" y="connsiteY3"/>
                    </a:cxn>
                  </a:cxnLst>
                  <a:rect l="l" t="t" r="r" b="b"/>
                  <a:pathLst>
                    <a:path w="19430" h="48328">
                      <a:moveTo>
                        <a:pt x="0" y="48328"/>
                      </a:moveTo>
                      <a:cubicBezTo>
                        <a:pt x="5231" y="41727"/>
                        <a:pt x="7474" y="35748"/>
                        <a:pt x="8595" y="31638"/>
                      </a:cubicBezTo>
                      <a:cubicBezTo>
                        <a:pt x="10338" y="24912"/>
                        <a:pt x="9466" y="21299"/>
                        <a:pt x="11584" y="14449"/>
                      </a:cubicBezTo>
                      <a:cubicBezTo>
                        <a:pt x="13577" y="7847"/>
                        <a:pt x="16940" y="2989"/>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7" name="Freeform 8674">
                  <a:extLst>
                    <a:ext uri="{FF2B5EF4-FFF2-40B4-BE49-F238E27FC236}">
                      <a16:creationId xmlns:a16="http://schemas.microsoft.com/office/drawing/2014/main" id="{EB85C536-E208-E670-D8BF-05F1FA8AD43A}"/>
                    </a:ext>
                  </a:extLst>
                </p:cNvPr>
                <p:cNvSpPr/>
                <p:nvPr/>
              </p:nvSpPr>
              <p:spPr>
                <a:xfrm>
                  <a:off x="2599767" y="1384782"/>
                  <a:ext cx="18060" cy="48951"/>
                </a:xfrm>
                <a:custGeom>
                  <a:avLst/>
                  <a:gdLst>
                    <a:gd name="connsiteX0" fmla="*/ 18061 w 18060"/>
                    <a:gd name="connsiteY0" fmla="*/ 0 h 48951"/>
                    <a:gd name="connsiteX1" fmla="*/ 13203 w 18060"/>
                    <a:gd name="connsiteY1" fmla="*/ 18185 h 48951"/>
                    <a:gd name="connsiteX2" fmla="*/ 3861 w 18060"/>
                    <a:gd name="connsiteY2" fmla="*/ 32883 h 48951"/>
                    <a:gd name="connsiteX3" fmla="*/ 0 w 18060"/>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060" h="48951">
                      <a:moveTo>
                        <a:pt x="18061" y="0"/>
                      </a:moveTo>
                      <a:cubicBezTo>
                        <a:pt x="17438" y="8345"/>
                        <a:pt x="15196" y="14324"/>
                        <a:pt x="13203" y="18185"/>
                      </a:cubicBezTo>
                      <a:cubicBezTo>
                        <a:pt x="9965" y="24413"/>
                        <a:pt x="6851" y="26406"/>
                        <a:pt x="3861" y="32883"/>
                      </a:cubicBezTo>
                      <a:cubicBezTo>
                        <a:pt x="872" y="39111"/>
                        <a:pt x="124"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8" name="Freeform 8675">
                  <a:extLst>
                    <a:ext uri="{FF2B5EF4-FFF2-40B4-BE49-F238E27FC236}">
                      <a16:creationId xmlns:a16="http://schemas.microsoft.com/office/drawing/2014/main" id="{43B282CC-D10C-E041-5AB8-8CF4786DE8E4}"/>
                    </a:ext>
                  </a:extLst>
                </p:cNvPr>
                <p:cNvSpPr/>
                <p:nvPr/>
              </p:nvSpPr>
              <p:spPr>
                <a:xfrm>
                  <a:off x="2588793" y="1423561"/>
                  <a:ext cx="26790" cy="26571"/>
                </a:xfrm>
                <a:custGeom>
                  <a:avLst/>
                  <a:gdLst>
                    <a:gd name="connsiteX0" fmla="*/ 885 w 26790"/>
                    <a:gd name="connsiteY0" fmla="*/ 8428 h 26571"/>
                    <a:gd name="connsiteX1" fmla="*/ 18198 w 26790"/>
                    <a:gd name="connsiteY1" fmla="*/ 955 h 26571"/>
                    <a:gd name="connsiteX2" fmla="*/ 25921 w 26790"/>
                    <a:gd name="connsiteY2" fmla="*/ 18144 h 26571"/>
                    <a:gd name="connsiteX3" fmla="*/ 8607 w 26790"/>
                    <a:gd name="connsiteY3" fmla="*/ 25617 h 26571"/>
                    <a:gd name="connsiteX4" fmla="*/ 885 w 26790"/>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0" h="26570">
                      <a:moveTo>
                        <a:pt x="885" y="8428"/>
                      </a:moveTo>
                      <a:cubicBezTo>
                        <a:pt x="3500" y="1577"/>
                        <a:pt x="11223" y="-1786"/>
                        <a:pt x="18198" y="955"/>
                      </a:cubicBezTo>
                      <a:cubicBezTo>
                        <a:pt x="25049" y="3570"/>
                        <a:pt x="28537" y="11293"/>
                        <a:pt x="25921" y="18144"/>
                      </a:cubicBezTo>
                      <a:cubicBezTo>
                        <a:pt x="23305" y="24994"/>
                        <a:pt x="15583" y="28357"/>
                        <a:pt x="8607" y="25617"/>
                      </a:cubicBezTo>
                      <a:cubicBezTo>
                        <a:pt x="1632" y="23001"/>
                        <a:pt x="-1731" y="15279"/>
                        <a:pt x="885"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9" name="Freeform 8676">
                  <a:extLst>
                    <a:ext uri="{FF2B5EF4-FFF2-40B4-BE49-F238E27FC236}">
                      <a16:creationId xmlns:a16="http://schemas.microsoft.com/office/drawing/2014/main" id="{59BC0425-0D98-B871-FF34-3B20D78A413A}"/>
                    </a:ext>
                  </a:extLst>
                </p:cNvPr>
                <p:cNvSpPr/>
                <p:nvPr/>
              </p:nvSpPr>
              <p:spPr>
                <a:xfrm>
                  <a:off x="2620818" y="1327983"/>
                  <a:ext cx="19430" cy="48328"/>
                </a:xfrm>
                <a:custGeom>
                  <a:avLst/>
                  <a:gdLst>
                    <a:gd name="connsiteX0" fmla="*/ 19431 w 19430"/>
                    <a:gd name="connsiteY0" fmla="*/ 0 h 48328"/>
                    <a:gd name="connsiteX1" fmla="*/ 10836 w 19430"/>
                    <a:gd name="connsiteY1" fmla="*/ 16691 h 48328"/>
                    <a:gd name="connsiteX2" fmla="*/ 7847 w 19430"/>
                    <a:gd name="connsiteY2" fmla="*/ 33880 h 48328"/>
                    <a:gd name="connsiteX3" fmla="*/ 0 w 1943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430" h="48328">
                      <a:moveTo>
                        <a:pt x="19431" y="0"/>
                      </a:moveTo>
                      <a:cubicBezTo>
                        <a:pt x="14200" y="6602"/>
                        <a:pt x="11957" y="12580"/>
                        <a:pt x="10836" y="16691"/>
                      </a:cubicBezTo>
                      <a:cubicBezTo>
                        <a:pt x="9093" y="23417"/>
                        <a:pt x="9965" y="27029"/>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0" name="Freeform 8677">
                  <a:extLst>
                    <a:ext uri="{FF2B5EF4-FFF2-40B4-BE49-F238E27FC236}">
                      <a16:creationId xmlns:a16="http://schemas.microsoft.com/office/drawing/2014/main" id="{ADBDDD4C-864C-ACF0-2894-01AB256C2439}"/>
                    </a:ext>
                  </a:extLst>
                </p:cNvPr>
                <p:cNvSpPr/>
                <p:nvPr/>
              </p:nvSpPr>
              <p:spPr>
                <a:xfrm>
                  <a:off x="2630533" y="1325741"/>
                  <a:ext cx="18060" cy="48951"/>
                </a:xfrm>
                <a:custGeom>
                  <a:avLst/>
                  <a:gdLst>
                    <a:gd name="connsiteX0" fmla="*/ 0 w 18060"/>
                    <a:gd name="connsiteY0" fmla="*/ 48951 h 48951"/>
                    <a:gd name="connsiteX1" fmla="*/ 4858 w 18060"/>
                    <a:gd name="connsiteY1" fmla="*/ 30766 h 48951"/>
                    <a:gd name="connsiteX2" fmla="*/ 14200 w 18060"/>
                    <a:gd name="connsiteY2" fmla="*/ 16068 h 48951"/>
                    <a:gd name="connsiteX3" fmla="*/ 18061 w 18060"/>
                    <a:gd name="connsiteY3" fmla="*/ 0 h 48951"/>
                  </a:gdLst>
                  <a:ahLst/>
                  <a:cxnLst>
                    <a:cxn ang="0">
                      <a:pos x="connsiteX0" y="connsiteY0"/>
                    </a:cxn>
                    <a:cxn ang="0">
                      <a:pos x="connsiteX1" y="connsiteY1"/>
                    </a:cxn>
                    <a:cxn ang="0">
                      <a:pos x="connsiteX2" y="connsiteY2"/>
                    </a:cxn>
                    <a:cxn ang="0">
                      <a:pos x="connsiteX3" y="connsiteY3"/>
                    </a:cxn>
                  </a:cxnLst>
                  <a:rect l="l" t="t" r="r" b="b"/>
                  <a:pathLst>
                    <a:path w="18060" h="48951">
                      <a:moveTo>
                        <a:pt x="0" y="48951"/>
                      </a:moveTo>
                      <a:cubicBezTo>
                        <a:pt x="623" y="40606"/>
                        <a:pt x="2865" y="34627"/>
                        <a:pt x="4858" y="30766"/>
                      </a:cubicBezTo>
                      <a:cubicBezTo>
                        <a:pt x="8096" y="24538"/>
                        <a:pt x="11210" y="22420"/>
                        <a:pt x="14200" y="16068"/>
                      </a:cubicBezTo>
                      <a:cubicBezTo>
                        <a:pt x="17064" y="9840"/>
                        <a:pt x="17936"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21" name="Freeform 8678">
                  <a:extLst>
                    <a:ext uri="{FF2B5EF4-FFF2-40B4-BE49-F238E27FC236}">
                      <a16:creationId xmlns:a16="http://schemas.microsoft.com/office/drawing/2014/main" id="{907FF8D2-D847-9661-32B4-EC35B1233716}"/>
                    </a:ext>
                  </a:extLst>
                </p:cNvPr>
                <p:cNvSpPr/>
                <p:nvPr/>
              </p:nvSpPr>
              <p:spPr>
                <a:xfrm>
                  <a:off x="2632993" y="1309410"/>
                  <a:ext cx="26328" cy="26435"/>
                </a:xfrm>
                <a:custGeom>
                  <a:avLst/>
                  <a:gdLst>
                    <a:gd name="connsiteX0" fmla="*/ 25441 w 26328"/>
                    <a:gd name="connsiteY0" fmla="*/ 17951 h 26435"/>
                    <a:gd name="connsiteX1" fmla="*/ 8377 w 26328"/>
                    <a:gd name="connsiteY1" fmla="*/ 25549 h 26435"/>
                    <a:gd name="connsiteX2" fmla="*/ 903 w 26328"/>
                    <a:gd name="connsiteY2" fmla="*/ 8484 h 26435"/>
                    <a:gd name="connsiteX3" fmla="*/ 17968 w 26328"/>
                    <a:gd name="connsiteY3" fmla="*/ 886 h 26435"/>
                    <a:gd name="connsiteX4" fmla="*/ 25441 w 26328"/>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435">
                      <a:moveTo>
                        <a:pt x="25441" y="17951"/>
                      </a:moveTo>
                      <a:cubicBezTo>
                        <a:pt x="22825" y="24801"/>
                        <a:pt x="15227" y="28164"/>
                        <a:pt x="8377" y="25549"/>
                      </a:cubicBezTo>
                      <a:cubicBezTo>
                        <a:pt x="1526" y="22933"/>
                        <a:pt x="-1712" y="15210"/>
                        <a:pt x="903" y="8484"/>
                      </a:cubicBezTo>
                      <a:cubicBezTo>
                        <a:pt x="3519" y="1634"/>
                        <a:pt x="11117" y="-1729"/>
                        <a:pt x="17968" y="886"/>
                      </a:cubicBezTo>
                      <a:cubicBezTo>
                        <a:pt x="24694" y="3502"/>
                        <a:pt x="28057" y="11100"/>
                        <a:pt x="25441"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7" name="Graphic 2987">
                <a:extLst>
                  <a:ext uri="{FF2B5EF4-FFF2-40B4-BE49-F238E27FC236}">
                    <a16:creationId xmlns:a16="http://schemas.microsoft.com/office/drawing/2014/main" id="{8D1D97D2-19BB-966E-3DEE-595667CCBD30}"/>
                  </a:ext>
                </a:extLst>
              </p:cNvPr>
              <p:cNvGrpSpPr/>
              <p:nvPr/>
            </p:nvGrpSpPr>
            <p:grpSpPr>
              <a:xfrm>
                <a:off x="2560841" y="1298822"/>
                <a:ext cx="71146" cy="140473"/>
                <a:chOff x="2560841" y="1298822"/>
                <a:chExt cx="71146" cy="140473"/>
              </a:xfrm>
              <a:grpFill/>
            </p:grpSpPr>
            <p:sp>
              <p:nvSpPr>
                <p:cNvPr id="5610" name="Freeform 8680">
                  <a:extLst>
                    <a:ext uri="{FF2B5EF4-FFF2-40B4-BE49-F238E27FC236}">
                      <a16:creationId xmlns:a16="http://schemas.microsoft.com/office/drawing/2014/main" id="{3B2A13A8-C12A-AE54-4683-D8CECE5F847B}"/>
                    </a:ext>
                  </a:extLst>
                </p:cNvPr>
                <p:cNvSpPr/>
                <p:nvPr/>
              </p:nvSpPr>
              <p:spPr>
                <a:xfrm>
                  <a:off x="2580212" y="1372450"/>
                  <a:ext cx="19680" cy="48328"/>
                </a:xfrm>
                <a:custGeom>
                  <a:avLst/>
                  <a:gdLst>
                    <a:gd name="connsiteX0" fmla="*/ 0 w 19680"/>
                    <a:gd name="connsiteY0" fmla="*/ 48328 h 48328"/>
                    <a:gd name="connsiteX1" fmla="*/ 8719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2" y="41727"/>
                        <a:pt x="7598" y="35873"/>
                        <a:pt x="8719" y="31638"/>
                      </a:cubicBezTo>
                      <a:cubicBezTo>
                        <a:pt x="10463" y="24912"/>
                        <a:pt x="9591" y="21299"/>
                        <a:pt x="11708" y="14449"/>
                      </a:cubicBezTo>
                      <a:cubicBezTo>
                        <a:pt x="13701" y="7847"/>
                        <a:pt x="17189" y="2989"/>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1" name="Freeform 8681">
                  <a:extLst>
                    <a:ext uri="{FF2B5EF4-FFF2-40B4-BE49-F238E27FC236}">
                      <a16:creationId xmlns:a16="http://schemas.microsoft.com/office/drawing/2014/main" id="{3FA4EB53-3628-AD89-0555-DF8F60733AD4}"/>
                    </a:ext>
                  </a:extLst>
                </p:cNvPr>
                <p:cNvSpPr/>
                <p:nvPr/>
              </p:nvSpPr>
              <p:spPr>
                <a:xfrm>
                  <a:off x="2571742" y="1374070"/>
                  <a:ext cx="18434" cy="48951"/>
                </a:xfrm>
                <a:custGeom>
                  <a:avLst/>
                  <a:gdLst>
                    <a:gd name="connsiteX0" fmla="*/ 18434 w 18434"/>
                    <a:gd name="connsiteY0" fmla="*/ 0 h 48951"/>
                    <a:gd name="connsiteX1" fmla="*/ 13452 w 18434"/>
                    <a:gd name="connsiteY1" fmla="*/ 18185 h 48951"/>
                    <a:gd name="connsiteX2" fmla="*/ 3986 w 18434"/>
                    <a:gd name="connsiteY2" fmla="*/ 32883 h 48951"/>
                    <a:gd name="connsiteX3" fmla="*/ 0 w 18434"/>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434" h="48951">
                      <a:moveTo>
                        <a:pt x="18434" y="0"/>
                      </a:moveTo>
                      <a:cubicBezTo>
                        <a:pt x="17812" y="8345"/>
                        <a:pt x="15445" y="14324"/>
                        <a:pt x="13452" y="18185"/>
                      </a:cubicBezTo>
                      <a:cubicBezTo>
                        <a:pt x="10214" y="24413"/>
                        <a:pt x="7100" y="26406"/>
                        <a:pt x="3986"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2" name="Freeform 8682">
                  <a:extLst>
                    <a:ext uri="{FF2B5EF4-FFF2-40B4-BE49-F238E27FC236}">
                      <a16:creationId xmlns:a16="http://schemas.microsoft.com/office/drawing/2014/main" id="{FC317C4E-ADD2-614D-1434-7724ED726BBC}"/>
                    </a:ext>
                  </a:extLst>
                </p:cNvPr>
                <p:cNvSpPr/>
                <p:nvPr/>
              </p:nvSpPr>
              <p:spPr>
                <a:xfrm>
                  <a:off x="2560841" y="1412724"/>
                  <a:ext cx="26841" cy="26571"/>
                </a:xfrm>
                <a:custGeom>
                  <a:avLst/>
                  <a:gdLst>
                    <a:gd name="connsiteX0" fmla="*/ 936 w 26841"/>
                    <a:gd name="connsiteY0" fmla="*/ 8428 h 26571"/>
                    <a:gd name="connsiteX1" fmla="*/ 18249 w 26841"/>
                    <a:gd name="connsiteY1" fmla="*/ 955 h 26571"/>
                    <a:gd name="connsiteX2" fmla="*/ 25972 w 26841"/>
                    <a:gd name="connsiteY2" fmla="*/ 18144 h 26571"/>
                    <a:gd name="connsiteX3" fmla="*/ 8658 w 26841"/>
                    <a:gd name="connsiteY3" fmla="*/ 25617 h 26571"/>
                    <a:gd name="connsiteX4" fmla="*/ 936 w 26841"/>
                    <a:gd name="connsiteY4" fmla="*/ 8428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570">
                      <a:moveTo>
                        <a:pt x="936" y="8428"/>
                      </a:moveTo>
                      <a:cubicBezTo>
                        <a:pt x="3676" y="1577"/>
                        <a:pt x="11399" y="-1786"/>
                        <a:pt x="18249" y="955"/>
                      </a:cubicBezTo>
                      <a:cubicBezTo>
                        <a:pt x="25100" y="3570"/>
                        <a:pt x="28588" y="11293"/>
                        <a:pt x="25972" y="18144"/>
                      </a:cubicBezTo>
                      <a:cubicBezTo>
                        <a:pt x="23356" y="24994"/>
                        <a:pt x="15509" y="28357"/>
                        <a:pt x="8658" y="25617"/>
                      </a:cubicBezTo>
                      <a:cubicBezTo>
                        <a:pt x="1683" y="23001"/>
                        <a:pt x="-1804" y="15279"/>
                        <a:pt x="936"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3" name="Freeform 8683">
                  <a:extLst>
                    <a:ext uri="{FF2B5EF4-FFF2-40B4-BE49-F238E27FC236}">
                      <a16:creationId xmlns:a16="http://schemas.microsoft.com/office/drawing/2014/main" id="{AD0827E7-78B3-6902-ED68-0386382CBD4C}"/>
                    </a:ext>
                  </a:extLst>
                </p:cNvPr>
                <p:cNvSpPr/>
                <p:nvPr/>
              </p:nvSpPr>
              <p:spPr>
                <a:xfrm>
                  <a:off x="2593041" y="1317271"/>
                  <a:ext cx="19804" cy="48328"/>
                </a:xfrm>
                <a:custGeom>
                  <a:avLst/>
                  <a:gdLst>
                    <a:gd name="connsiteX0" fmla="*/ 19805 w 19804"/>
                    <a:gd name="connsiteY0" fmla="*/ 0 h 48328"/>
                    <a:gd name="connsiteX1" fmla="*/ 11086 w 19804"/>
                    <a:gd name="connsiteY1" fmla="*/ 16691 h 48328"/>
                    <a:gd name="connsiteX2" fmla="*/ 7972 w 19804"/>
                    <a:gd name="connsiteY2" fmla="*/ 33880 h 48328"/>
                    <a:gd name="connsiteX3" fmla="*/ 0 w 19804"/>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4" h="48328">
                      <a:moveTo>
                        <a:pt x="19805" y="0"/>
                      </a:moveTo>
                      <a:cubicBezTo>
                        <a:pt x="14573" y="6602"/>
                        <a:pt x="12331" y="12456"/>
                        <a:pt x="11086"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4" name="Freeform 8684">
                  <a:extLst>
                    <a:ext uri="{FF2B5EF4-FFF2-40B4-BE49-F238E27FC236}">
                      <a16:creationId xmlns:a16="http://schemas.microsoft.com/office/drawing/2014/main" id="{F8D780BE-0147-40BC-12FD-CA025F74936C}"/>
                    </a:ext>
                  </a:extLst>
                </p:cNvPr>
                <p:cNvSpPr/>
                <p:nvPr/>
              </p:nvSpPr>
              <p:spPr>
                <a:xfrm>
                  <a:off x="2602881" y="1315029"/>
                  <a:ext cx="18309" cy="48951"/>
                </a:xfrm>
                <a:custGeom>
                  <a:avLst/>
                  <a:gdLst>
                    <a:gd name="connsiteX0" fmla="*/ 0 w 18309"/>
                    <a:gd name="connsiteY0" fmla="*/ 48951 h 48951"/>
                    <a:gd name="connsiteX1" fmla="*/ 4982 w 18309"/>
                    <a:gd name="connsiteY1" fmla="*/ 30766 h 48951"/>
                    <a:gd name="connsiteX2" fmla="*/ 14324 w 18309"/>
                    <a:gd name="connsiteY2" fmla="*/ 16068 h 48951"/>
                    <a:gd name="connsiteX3" fmla="*/ 18310 w 18309"/>
                    <a:gd name="connsiteY3" fmla="*/ 0 h 48951"/>
                  </a:gdLst>
                  <a:ahLst/>
                  <a:cxnLst>
                    <a:cxn ang="0">
                      <a:pos x="connsiteX0" y="connsiteY0"/>
                    </a:cxn>
                    <a:cxn ang="0">
                      <a:pos x="connsiteX1" y="connsiteY1"/>
                    </a:cxn>
                    <a:cxn ang="0">
                      <a:pos x="connsiteX2" y="connsiteY2"/>
                    </a:cxn>
                    <a:cxn ang="0">
                      <a:pos x="connsiteX3" y="connsiteY3"/>
                    </a:cxn>
                  </a:cxnLst>
                  <a:rect l="l" t="t" r="r" b="b"/>
                  <a:pathLst>
                    <a:path w="18309" h="48951">
                      <a:moveTo>
                        <a:pt x="0" y="48951"/>
                      </a:moveTo>
                      <a:cubicBezTo>
                        <a:pt x="623" y="40606"/>
                        <a:pt x="2989" y="34627"/>
                        <a:pt x="4982" y="30766"/>
                      </a:cubicBezTo>
                      <a:cubicBezTo>
                        <a:pt x="8221" y="24538"/>
                        <a:pt x="11335" y="22545"/>
                        <a:pt x="14324" y="16068"/>
                      </a:cubicBezTo>
                      <a:cubicBezTo>
                        <a:pt x="17314" y="9840"/>
                        <a:pt x="18061" y="3986"/>
                        <a:pt x="183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15" name="Freeform 8685">
                  <a:extLst>
                    <a:ext uri="{FF2B5EF4-FFF2-40B4-BE49-F238E27FC236}">
                      <a16:creationId xmlns:a16="http://schemas.microsoft.com/office/drawing/2014/main" id="{1D3FCC9F-8965-FCBB-78EE-71C2690B2DF1}"/>
                    </a:ext>
                  </a:extLst>
                </p:cNvPr>
                <p:cNvSpPr/>
                <p:nvPr/>
              </p:nvSpPr>
              <p:spPr>
                <a:xfrm>
                  <a:off x="2605662" y="1298822"/>
                  <a:ext cx="26325" cy="26435"/>
                </a:xfrm>
                <a:custGeom>
                  <a:avLst/>
                  <a:gdLst>
                    <a:gd name="connsiteX0" fmla="*/ 25370 w 26325"/>
                    <a:gd name="connsiteY0" fmla="*/ 17951 h 26435"/>
                    <a:gd name="connsiteX1" fmla="*/ 8305 w 26325"/>
                    <a:gd name="connsiteY1" fmla="*/ 25549 h 26435"/>
                    <a:gd name="connsiteX2" fmla="*/ 956 w 26325"/>
                    <a:gd name="connsiteY2" fmla="*/ 8484 h 26435"/>
                    <a:gd name="connsiteX3" fmla="*/ 18021 w 26325"/>
                    <a:gd name="connsiteY3" fmla="*/ 886 h 26435"/>
                    <a:gd name="connsiteX4" fmla="*/ 25370 w 26325"/>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5" h="26435">
                      <a:moveTo>
                        <a:pt x="25370" y="17951"/>
                      </a:moveTo>
                      <a:cubicBezTo>
                        <a:pt x="22754" y="24801"/>
                        <a:pt x="15031" y="28164"/>
                        <a:pt x="8305" y="25549"/>
                      </a:cubicBezTo>
                      <a:cubicBezTo>
                        <a:pt x="1579" y="22933"/>
                        <a:pt x="-1784" y="15210"/>
                        <a:pt x="956" y="8484"/>
                      </a:cubicBezTo>
                      <a:cubicBezTo>
                        <a:pt x="3697" y="1634"/>
                        <a:pt x="11295" y="-1729"/>
                        <a:pt x="18021" y="886"/>
                      </a:cubicBezTo>
                      <a:cubicBezTo>
                        <a:pt x="24747" y="3502"/>
                        <a:pt x="28110" y="11100"/>
                        <a:pt x="25370"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8" name="Graphic 2987">
                <a:extLst>
                  <a:ext uri="{FF2B5EF4-FFF2-40B4-BE49-F238E27FC236}">
                    <a16:creationId xmlns:a16="http://schemas.microsoft.com/office/drawing/2014/main" id="{92AAF3D7-400F-C647-1D17-A9F13347E91D}"/>
                  </a:ext>
                </a:extLst>
              </p:cNvPr>
              <p:cNvGrpSpPr/>
              <p:nvPr/>
            </p:nvGrpSpPr>
            <p:grpSpPr>
              <a:xfrm>
                <a:off x="2532814" y="1288235"/>
                <a:ext cx="71843" cy="140224"/>
                <a:chOff x="2532814" y="1288235"/>
                <a:chExt cx="71843" cy="140224"/>
              </a:xfrm>
              <a:grpFill/>
            </p:grpSpPr>
            <p:sp>
              <p:nvSpPr>
                <p:cNvPr id="5604" name="Freeform 8687">
                  <a:extLst>
                    <a:ext uri="{FF2B5EF4-FFF2-40B4-BE49-F238E27FC236}">
                      <a16:creationId xmlns:a16="http://schemas.microsoft.com/office/drawing/2014/main" id="{57233328-69F4-D3A2-D40A-AF6E139E532E}"/>
                    </a:ext>
                  </a:extLst>
                </p:cNvPr>
                <p:cNvSpPr/>
                <p:nvPr/>
              </p:nvSpPr>
              <p:spPr>
                <a:xfrm>
                  <a:off x="2552311" y="1361739"/>
                  <a:ext cx="19929" cy="48203"/>
                </a:xfrm>
                <a:custGeom>
                  <a:avLst/>
                  <a:gdLst>
                    <a:gd name="connsiteX0" fmla="*/ 0 w 19929"/>
                    <a:gd name="connsiteY0" fmla="*/ 48204 h 48203"/>
                    <a:gd name="connsiteX1" fmla="*/ 8719 w 19929"/>
                    <a:gd name="connsiteY1" fmla="*/ 31513 h 48203"/>
                    <a:gd name="connsiteX2" fmla="*/ 11833 w 19929"/>
                    <a:gd name="connsiteY2" fmla="*/ 14449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5356" y="41602"/>
                        <a:pt x="7598" y="35748"/>
                        <a:pt x="8719" y="31513"/>
                      </a:cubicBezTo>
                      <a:cubicBezTo>
                        <a:pt x="10587" y="24787"/>
                        <a:pt x="9715" y="21175"/>
                        <a:pt x="11833" y="14449"/>
                      </a:cubicBezTo>
                      <a:cubicBezTo>
                        <a:pt x="13950" y="7847"/>
                        <a:pt x="17314" y="2989"/>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5" name="Freeform 8688">
                  <a:extLst>
                    <a:ext uri="{FF2B5EF4-FFF2-40B4-BE49-F238E27FC236}">
                      <a16:creationId xmlns:a16="http://schemas.microsoft.com/office/drawing/2014/main" id="{08909324-CD35-5AED-949F-D172F278F1EB}"/>
                    </a:ext>
                  </a:extLst>
                </p:cNvPr>
                <p:cNvSpPr/>
                <p:nvPr/>
              </p:nvSpPr>
              <p:spPr>
                <a:xfrm>
                  <a:off x="2543841" y="1363358"/>
                  <a:ext cx="18559" cy="48577"/>
                </a:xfrm>
                <a:custGeom>
                  <a:avLst/>
                  <a:gdLst>
                    <a:gd name="connsiteX0" fmla="*/ 18559 w 18559"/>
                    <a:gd name="connsiteY0" fmla="*/ 0 h 48577"/>
                    <a:gd name="connsiteX1" fmla="*/ 13452 w 18559"/>
                    <a:gd name="connsiteY1" fmla="*/ 18061 h 48577"/>
                    <a:gd name="connsiteX2" fmla="*/ 3986 w 18559"/>
                    <a:gd name="connsiteY2" fmla="*/ 32634 h 48577"/>
                    <a:gd name="connsiteX3" fmla="*/ 0 w 18559"/>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559" h="48577">
                      <a:moveTo>
                        <a:pt x="18559" y="0"/>
                      </a:moveTo>
                      <a:cubicBezTo>
                        <a:pt x="17936" y="8345"/>
                        <a:pt x="15570" y="14200"/>
                        <a:pt x="13452" y="18061"/>
                      </a:cubicBezTo>
                      <a:cubicBezTo>
                        <a:pt x="10089" y="24289"/>
                        <a:pt x="6975" y="26282"/>
                        <a:pt x="3986" y="32634"/>
                      </a:cubicBezTo>
                      <a:cubicBezTo>
                        <a:pt x="996" y="38862"/>
                        <a:pt x="125"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6" name="Freeform 8689">
                  <a:extLst>
                    <a:ext uri="{FF2B5EF4-FFF2-40B4-BE49-F238E27FC236}">
                      <a16:creationId xmlns:a16="http://schemas.microsoft.com/office/drawing/2014/main" id="{A15D26BD-67F6-CBF5-DA70-F3E31F173E72}"/>
                    </a:ext>
                  </a:extLst>
                </p:cNvPr>
                <p:cNvSpPr/>
                <p:nvPr/>
              </p:nvSpPr>
              <p:spPr>
                <a:xfrm>
                  <a:off x="2532814" y="1401939"/>
                  <a:ext cx="26910" cy="26520"/>
                </a:xfrm>
                <a:custGeom>
                  <a:avLst/>
                  <a:gdLst>
                    <a:gd name="connsiteX0" fmla="*/ 937 w 26910"/>
                    <a:gd name="connsiteY0" fmla="*/ 8377 h 26520"/>
                    <a:gd name="connsiteX1" fmla="*/ 18376 w 26910"/>
                    <a:gd name="connsiteY1" fmla="*/ 903 h 26520"/>
                    <a:gd name="connsiteX2" fmla="*/ 25973 w 26910"/>
                    <a:gd name="connsiteY2" fmla="*/ 18092 h 26520"/>
                    <a:gd name="connsiteX3" fmla="*/ 8535 w 26910"/>
                    <a:gd name="connsiteY3" fmla="*/ 25566 h 26520"/>
                    <a:gd name="connsiteX4" fmla="*/ 937 w 26910"/>
                    <a:gd name="connsiteY4" fmla="*/ 8377 h 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520">
                      <a:moveTo>
                        <a:pt x="937" y="8377"/>
                      </a:moveTo>
                      <a:cubicBezTo>
                        <a:pt x="3678" y="1526"/>
                        <a:pt x="11400" y="-1712"/>
                        <a:pt x="18376" y="903"/>
                      </a:cubicBezTo>
                      <a:cubicBezTo>
                        <a:pt x="25226" y="3519"/>
                        <a:pt x="28714" y="11242"/>
                        <a:pt x="25973" y="18092"/>
                      </a:cubicBezTo>
                      <a:cubicBezTo>
                        <a:pt x="23233" y="24943"/>
                        <a:pt x="15511" y="28306"/>
                        <a:pt x="8535" y="25566"/>
                      </a:cubicBezTo>
                      <a:cubicBezTo>
                        <a:pt x="1685" y="22825"/>
                        <a:pt x="-1803" y="15227"/>
                        <a:pt x="937" y="83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7" name="Freeform 8690">
                  <a:extLst>
                    <a:ext uri="{FF2B5EF4-FFF2-40B4-BE49-F238E27FC236}">
                      <a16:creationId xmlns:a16="http://schemas.microsoft.com/office/drawing/2014/main" id="{8F5BD5C2-5E13-870A-C18D-7C111FAEB2B6}"/>
                    </a:ext>
                  </a:extLst>
                </p:cNvPr>
                <p:cNvSpPr/>
                <p:nvPr/>
              </p:nvSpPr>
              <p:spPr>
                <a:xfrm>
                  <a:off x="2565514" y="1306684"/>
                  <a:ext cx="19929" cy="48203"/>
                </a:xfrm>
                <a:custGeom>
                  <a:avLst/>
                  <a:gdLst>
                    <a:gd name="connsiteX0" fmla="*/ 19929 w 19929"/>
                    <a:gd name="connsiteY0" fmla="*/ 0 h 48203"/>
                    <a:gd name="connsiteX1" fmla="*/ 11210 w 19929"/>
                    <a:gd name="connsiteY1" fmla="*/ 16691 h 48203"/>
                    <a:gd name="connsiteX2" fmla="*/ 8096 w 19929"/>
                    <a:gd name="connsiteY2" fmla="*/ 33755 h 48203"/>
                    <a:gd name="connsiteX3" fmla="*/ 0 w 19929"/>
                    <a:gd name="connsiteY3" fmla="*/ 48204 h 48203"/>
                  </a:gdLst>
                  <a:ahLst/>
                  <a:cxnLst>
                    <a:cxn ang="0">
                      <a:pos x="connsiteX0" y="connsiteY0"/>
                    </a:cxn>
                    <a:cxn ang="0">
                      <a:pos x="connsiteX1" y="connsiteY1"/>
                    </a:cxn>
                    <a:cxn ang="0">
                      <a:pos x="connsiteX2" y="connsiteY2"/>
                    </a:cxn>
                    <a:cxn ang="0">
                      <a:pos x="connsiteX3" y="connsiteY3"/>
                    </a:cxn>
                  </a:cxnLst>
                  <a:rect l="l" t="t" r="r" b="b"/>
                  <a:pathLst>
                    <a:path w="19929" h="48203">
                      <a:moveTo>
                        <a:pt x="19929" y="0"/>
                      </a:moveTo>
                      <a:cubicBezTo>
                        <a:pt x="14698" y="6602"/>
                        <a:pt x="12331" y="12456"/>
                        <a:pt x="11210" y="16691"/>
                      </a:cubicBezTo>
                      <a:cubicBezTo>
                        <a:pt x="9342" y="23417"/>
                        <a:pt x="10214" y="27029"/>
                        <a:pt x="8096" y="33755"/>
                      </a:cubicBezTo>
                      <a:cubicBezTo>
                        <a:pt x="5979" y="40357"/>
                        <a:pt x="2616" y="45214"/>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8" name="Freeform 8691">
                  <a:extLst>
                    <a:ext uri="{FF2B5EF4-FFF2-40B4-BE49-F238E27FC236}">
                      <a16:creationId xmlns:a16="http://schemas.microsoft.com/office/drawing/2014/main" id="{76E455E8-F2C1-82BD-AB69-DEF9F2684CA5}"/>
                    </a:ext>
                  </a:extLst>
                </p:cNvPr>
                <p:cNvSpPr/>
                <p:nvPr/>
              </p:nvSpPr>
              <p:spPr>
                <a:xfrm>
                  <a:off x="2575229" y="1304567"/>
                  <a:ext cx="18559" cy="48702"/>
                </a:xfrm>
                <a:custGeom>
                  <a:avLst/>
                  <a:gdLst>
                    <a:gd name="connsiteX0" fmla="*/ 0 w 18559"/>
                    <a:gd name="connsiteY0" fmla="*/ 48702 h 48702"/>
                    <a:gd name="connsiteX1" fmla="*/ 5107 w 18559"/>
                    <a:gd name="connsiteY1" fmla="*/ 30641 h 48702"/>
                    <a:gd name="connsiteX2" fmla="*/ 14573 w 18559"/>
                    <a:gd name="connsiteY2" fmla="*/ 15943 h 48702"/>
                    <a:gd name="connsiteX3" fmla="*/ 18559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623" y="40357"/>
                        <a:pt x="2989" y="34502"/>
                        <a:pt x="5107" y="30641"/>
                      </a:cubicBezTo>
                      <a:cubicBezTo>
                        <a:pt x="8345" y="24413"/>
                        <a:pt x="11459" y="22420"/>
                        <a:pt x="14573" y="15943"/>
                      </a:cubicBezTo>
                      <a:cubicBezTo>
                        <a:pt x="17563" y="9715"/>
                        <a:pt x="18434" y="3861"/>
                        <a:pt x="18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9" name="Freeform 8692">
                  <a:extLst>
                    <a:ext uri="{FF2B5EF4-FFF2-40B4-BE49-F238E27FC236}">
                      <a16:creationId xmlns:a16="http://schemas.microsoft.com/office/drawing/2014/main" id="{94B4455D-BD5C-2C49-9AD1-6796E83FC540}"/>
                    </a:ext>
                  </a:extLst>
                </p:cNvPr>
                <p:cNvSpPr/>
                <p:nvPr/>
              </p:nvSpPr>
              <p:spPr>
                <a:xfrm>
                  <a:off x="2578259" y="1288235"/>
                  <a:ext cx="26399" cy="26435"/>
                </a:xfrm>
                <a:custGeom>
                  <a:avLst/>
                  <a:gdLst>
                    <a:gd name="connsiteX0" fmla="*/ 25494 w 26399"/>
                    <a:gd name="connsiteY0" fmla="*/ 17951 h 26435"/>
                    <a:gd name="connsiteX1" fmla="*/ 8305 w 26399"/>
                    <a:gd name="connsiteY1" fmla="*/ 25549 h 26435"/>
                    <a:gd name="connsiteX2" fmla="*/ 956 w 26399"/>
                    <a:gd name="connsiteY2" fmla="*/ 8484 h 26435"/>
                    <a:gd name="connsiteX3" fmla="*/ 18145 w 26399"/>
                    <a:gd name="connsiteY3" fmla="*/ 886 h 26435"/>
                    <a:gd name="connsiteX4" fmla="*/ 25494 w 26399"/>
                    <a:gd name="connsiteY4" fmla="*/ 17951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9" h="26435">
                      <a:moveTo>
                        <a:pt x="25494" y="17951"/>
                      </a:moveTo>
                      <a:cubicBezTo>
                        <a:pt x="22754" y="24801"/>
                        <a:pt x="15156" y="28164"/>
                        <a:pt x="8305" y="25549"/>
                      </a:cubicBezTo>
                      <a:cubicBezTo>
                        <a:pt x="1579" y="22933"/>
                        <a:pt x="-1784" y="15335"/>
                        <a:pt x="956" y="8484"/>
                      </a:cubicBezTo>
                      <a:cubicBezTo>
                        <a:pt x="3696" y="1634"/>
                        <a:pt x="11295" y="-1729"/>
                        <a:pt x="18145" y="886"/>
                      </a:cubicBezTo>
                      <a:cubicBezTo>
                        <a:pt x="24871" y="3502"/>
                        <a:pt x="28110" y="11100"/>
                        <a:pt x="25494" y="179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499" name="Graphic 2987">
                <a:extLst>
                  <a:ext uri="{FF2B5EF4-FFF2-40B4-BE49-F238E27FC236}">
                    <a16:creationId xmlns:a16="http://schemas.microsoft.com/office/drawing/2014/main" id="{01DF8710-68B5-1799-3762-C84C46C09A37}"/>
                  </a:ext>
                </a:extLst>
              </p:cNvPr>
              <p:cNvGrpSpPr/>
              <p:nvPr/>
            </p:nvGrpSpPr>
            <p:grpSpPr>
              <a:xfrm>
                <a:off x="2504898" y="1277663"/>
                <a:ext cx="72427" cy="139909"/>
                <a:chOff x="2504898" y="1277663"/>
                <a:chExt cx="72427" cy="139909"/>
              </a:xfrm>
              <a:grpFill/>
            </p:grpSpPr>
            <p:sp>
              <p:nvSpPr>
                <p:cNvPr id="5598" name="Freeform 8694">
                  <a:extLst>
                    <a:ext uri="{FF2B5EF4-FFF2-40B4-BE49-F238E27FC236}">
                      <a16:creationId xmlns:a16="http://schemas.microsoft.com/office/drawing/2014/main" id="{A535D771-04C9-1A26-4B60-86FB4D0F6787}"/>
                    </a:ext>
                  </a:extLst>
                </p:cNvPr>
                <p:cNvSpPr/>
                <p:nvPr/>
              </p:nvSpPr>
              <p:spPr>
                <a:xfrm>
                  <a:off x="2524410" y="1351027"/>
                  <a:ext cx="20053" cy="48079"/>
                </a:xfrm>
                <a:custGeom>
                  <a:avLst/>
                  <a:gdLst>
                    <a:gd name="connsiteX0" fmla="*/ 0 w 20053"/>
                    <a:gd name="connsiteY0" fmla="*/ 48079 h 48079"/>
                    <a:gd name="connsiteX1" fmla="*/ 8844 w 20053"/>
                    <a:gd name="connsiteY1" fmla="*/ 31513 h 48079"/>
                    <a:gd name="connsiteX2" fmla="*/ 11958 w 20053"/>
                    <a:gd name="connsiteY2" fmla="*/ 1444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5356" y="41478"/>
                        <a:pt x="7723" y="35623"/>
                        <a:pt x="8844" y="31513"/>
                      </a:cubicBezTo>
                      <a:cubicBezTo>
                        <a:pt x="10712" y="24787"/>
                        <a:pt x="9840" y="21175"/>
                        <a:pt x="11958" y="14449"/>
                      </a:cubicBezTo>
                      <a:cubicBezTo>
                        <a:pt x="14075" y="7847"/>
                        <a:pt x="17563"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9" name="Freeform 8695">
                  <a:extLst>
                    <a:ext uri="{FF2B5EF4-FFF2-40B4-BE49-F238E27FC236}">
                      <a16:creationId xmlns:a16="http://schemas.microsoft.com/office/drawing/2014/main" id="{36672680-39FC-5862-B465-15A4B72C0A92}"/>
                    </a:ext>
                  </a:extLst>
                </p:cNvPr>
                <p:cNvSpPr/>
                <p:nvPr/>
              </p:nvSpPr>
              <p:spPr>
                <a:xfrm>
                  <a:off x="2515940" y="1352521"/>
                  <a:ext cx="18808" cy="48577"/>
                </a:xfrm>
                <a:custGeom>
                  <a:avLst/>
                  <a:gdLst>
                    <a:gd name="connsiteX0" fmla="*/ 18808 w 18808"/>
                    <a:gd name="connsiteY0" fmla="*/ 0 h 48577"/>
                    <a:gd name="connsiteX1" fmla="*/ 13701 w 18808"/>
                    <a:gd name="connsiteY1" fmla="*/ 18061 h 48577"/>
                    <a:gd name="connsiteX2" fmla="*/ 4110 w 18808"/>
                    <a:gd name="connsiteY2" fmla="*/ 3263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8061" y="8345"/>
                        <a:pt x="15694" y="14200"/>
                        <a:pt x="13701" y="18061"/>
                      </a:cubicBezTo>
                      <a:cubicBezTo>
                        <a:pt x="10338" y="24289"/>
                        <a:pt x="7224" y="26282"/>
                        <a:pt x="4110" y="32634"/>
                      </a:cubicBezTo>
                      <a:cubicBezTo>
                        <a:pt x="1121" y="38862"/>
                        <a:pt x="249" y="44716"/>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0" name="Freeform 8696">
                  <a:extLst>
                    <a:ext uri="{FF2B5EF4-FFF2-40B4-BE49-F238E27FC236}">
                      <a16:creationId xmlns:a16="http://schemas.microsoft.com/office/drawing/2014/main" id="{2B700A2A-1327-9986-82F2-CA69A957307D}"/>
                    </a:ext>
                  </a:extLst>
                </p:cNvPr>
                <p:cNvSpPr/>
                <p:nvPr/>
              </p:nvSpPr>
              <p:spPr>
                <a:xfrm>
                  <a:off x="2504898" y="1391118"/>
                  <a:ext cx="26875" cy="26453"/>
                </a:xfrm>
                <a:custGeom>
                  <a:avLst/>
                  <a:gdLst>
                    <a:gd name="connsiteX0" fmla="*/ 953 w 26875"/>
                    <a:gd name="connsiteY0" fmla="*/ 8361 h 26453"/>
                    <a:gd name="connsiteX1" fmla="*/ 18391 w 26875"/>
                    <a:gd name="connsiteY1" fmla="*/ 888 h 26453"/>
                    <a:gd name="connsiteX2" fmla="*/ 25989 w 26875"/>
                    <a:gd name="connsiteY2" fmla="*/ 18077 h 26453"/>
                    <a:gd name="connsiteX3" fmla="*/ 8551 w 26875"/>
                    <a:gd name="connsiteY3" fmla="*/ 25550 h 26453"/>
                    <a:gd name="connsiteX4" fmla="*/ 953 w 26875"/>
                    <a:gd name="connsiteY4" fmla="*/ 8361 h 26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4" h="26452">
                      <a:moveTo>
                        <a:pt x="953" y="8361"/>
                      </a:moveTo>
                      <a:cubicBezTo>
                        <a:pt x="3693" y="1635"/>
                        <a:pt x="11540" y="-1728"/>
                        <a:pt x="18391" y="888"/>
                      </a:cubicBezTo>
                      <a:cubicBezTo>
                        <a:pt x="25242" y="3504"/>
                        <a:pt x="28605" y="11226"/>
                        <a:pt x="25989" y="18077"/>
                      </a:cubicBezTo>
                      <a:cubicBezTo>
                        <a:pt x="23249" y="24927"/>
                        <a:pt x="15402" y="28166"/>
                        <a:pt x="8551" y="25550"/>
                      </a:cubicBezTo>
                      <a:cubicBezTo>
                        <a:pt x="1576" y="22810"/>
                        <a:pt x="-1787" y="15087"/>
                        <a:pt x="953" y="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1" name="Freeform 8697">
                  <a:extLst>
                    <a:ext uri="{FF2B5EF4-FFF2-40B4-BE49-F238E27FC236}">
                      <a16:creationId xmlns:a16="http://schemas.microsoft.com/office/drawing/2014/main" id="{84821102-D3DD-351F-3C0D-A9DF9633F3C6}"/>
                    </a:ext>
                  </a:extLst>
                </p:cNvPr>
                <p:cNvSpPr/>
                <p:nvPr/>
              </p:nvSpPr>
              <p:spPr>
                <a:xfrm>
                  <a:off x="2537987" y="1296097"/>
                  <a:ext cx="20178" cy="48079"/>
                </a:xfrm>
                <a:custGeom>
                  <a:avLst/>
                  <a:gdLst>
                    <a:gd name="connsiteX0" fmla="*/ 20178 w 20178"/>
                    <a:gd name="connsiteY0" fmla="*/ 0 h 48079"/>
                    <a:gd name="connsiteX1" fmla="*/ 11335 w 20178"/>
                    <a:gd name="connsiteY1" fmla="*/ 16566 h 48079"/>
                    <a:gd name="connsiteX2" fmla="*/ 8096 w 20178"/>
                    <a:gd name="connsiteY2" fmla="*/ 33631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4822" y="6602"/>
                        <a:pt x="12456" y="12456"/>
                        <a:pt x="11335" y="16566"/>
                      </a:cubicBezTo>
                      <a:cubicBezTo>
                        <a:pt x="9467" y="23292"/>
                        <a:pt x="10338" y="26904"/>
                        <a:pt x="8096" y="33631"/>
                      </a:cubicBezTo>
                      <a:cubicBezTo>
                        <a:pt x="5979" y="40232"/>
                        <a:pt x="2491" y="44965"/>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2" name="Freeform 8698">
                  <a:extLst>
                    <a:ext uri="{FF2B5EF4-FFF2-40B4-BE49-F238E27FC236}">
                      <a16:creationId xmlns:a16="http://schemas.microsoft.com/office/drawing/2014/main" id="{AB867BD7-31E8-03CB-58F7-E75B9D58EC87}"/>
                    </a:ext>
                  </a:extLst>
                </p:cNvPr>
                <p:cNvSpPr/>
                <p:nvPr/>
              </p:nvSpPr>
              <p:spPr>
                <a:xfrm>
                  <a:off x="2547702" y="1293979"/>
                  <a:ext cx="18808" cy="48577"/>
                </a:xfrm>
                <a:custGeom>
                  <a:avLst/>
                  <a:gdLst>
                    <a:gd name="connsiteX0" fmla="*/ 0 w 18808"/>
                    <a:gd name="connsiteY0" fmla="*/ 48577 h 48577"/>
                    <a:gd name="connsiteX1" fmla="*/ 5107 w 18808"/>
                    <a:gd name="connsiteY1" fmla="*/ 30517 h 48577"/>
                    <a:gd name="connsiteX2" fmla="*/ 14698 w 18808"/>
                    <a:gd name="connsiteY2" fmla="*/ 15943 h 48577"/>
                    <a:gd name="connsiteX3" fmla="*/ 18808 w 18808"/>
                    <a:gd name="connsiteY3" fmla="*/ 0 h 48577"/>
                  </a:gdLst>
                  <a:ahLst/>
                  <a:cxnLst>
                    <a:cxn ang="0">
                      <a:pos x="connsiteX0" y="connsiteY0"/>
                    </a:cxn>
                    <a:cxn ang="0">
                      <a:pos x="connsiteX1" y="connsiteY1"/>
                    </a:cxn>
                    <a:cxn ang="0">
                      <a:pos x="connsiteX2" y="connsiteY2"/>
                    </a:cxn>
                    <a:cxn ang="0">
                      <a:pos x="connsiteX3" y="connsiteY3"/>
                    </a:cxn>
                  </a:cxnLst>
                  <a:rect l="l" t="t" r="r" b="b"/>
                  <a:pathLst>
                    <a:path w="18808" h="48577">
                      <a:moveTo>
                        <a:pt x="0" y="48577"/>
                      </a:moveTo>
                      <a:cubicBezTo>
                        <a:pt x="748" y="40232"/>
                        <a:pt x="3114" y="34378"/>
                        <a:pt x="5107" y="30517"/>
                      </a:cubicBezTo>
                      <a:cubicBezTo>
                        <a:pt x="8470" y="24289"/>
                        <a:pt x="11584" y="22296"/>
                        <a:pt x="14698" y="15943"/>
                      </a:cubicBezTo>
                      <a:cubicBezTo>
                        <a:pt x="17687" y="9716"/>
                        <a:pt x="18559" y="3861"/>
                        <a:pt x="188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603" name="Freeform 8699">
                  <a:extLst>
                    <a:ext uri="{FF2B5EF4-FFF2-40B4-BE49-F238E27FC236}">
                      <a16:creationId xmlns:a16="http://schemas.microsoft.com/office/drawing/2014/main" id="{F45460D4-7B0D-DA28-C30A-72B058204E41}"/>
                    </a:ext>
                  </a:extLst>
                </p:cNvPr>
                <p:cNvSpPr/>
                <p:nvPr/>
              </p:nvSpPr>
              <p:spPr>
                <a:xfrm>
                  <a:off x="2550911" y="1277663"/>
                  <a:ext cx="26413" cy="26420"/>
                </a:xfrm>
                <a:custGeom>
                  <a:avLst/>
                  <a:gdLst>
                    <a:gd name="connsiteX0" fmla="*/ 25440 w 26413"/>
                    <a:gd name="connsiteY0" fmla="*/ 17936 h 26420"/>
                    <a:gd name="connsiteX1" fmla="*/ 8251 w 26413"/>
                    <a:gd name="connsiteY1" fmla="*/ 25534 h 26420"/>
                    <a:gd name="connsiteX2" fmla="*/ 1026 w 26413"/>
                    <a:gd name="connsiteY2" fmla="*/ 8469 h 26420"/>
                    <a:gd name="connsiteX3" fmla="*/ 18215 w 26413"/>
                    <a:gd name="connsiteY3" fmla="*/ 871 h 26420"/>
                    <a:gd name="connsiteX4" fmla="*/ 25440 w 26413"/>
                    <a:gd name="connsiteY4" fmla="*/ 17936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3" h="26420">
                      <a:moveTo>
                        <a:pt x="25440" y="17936"/>
                      </a:moveTo>
                      <a:cubicBezTo>
                        <a:pt x="22699" y="24786"/>
                        <a:pt x="14977" y="28149"/>
                        <a:pt x="8251" y="25534"/>
                      </a:cubicBezTo>
                      <a:cubicBezTo>
                        <a:pt x="1525" y="22918"/>
                        <a:pt x="-1839" y="15320"/>
                        <a:pt x="1026" y="8469"/>
                      </a:cubicBezTo>
                      <a:cubicBezTo>
                        <a:pt x="3767" y="1743"/>
                        <a:pt x="11489" y="-1744"/>
                        <a:pt x="18215" y="871"/>
                      </a:cubicBezTo>
                      <a:cubicBezTo>
                        <a:pt x="24941" y="3487"/>
                        <a:pt x="28180" y="11085"/>
                        <a:pt x="25440" y="179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0" name="Graphic 2987">
                <a:extLst>
                  <a:ext uri="{FF2B5EF4-FFF2-40B4-BE49-F238E27FC236}">
                    <a16:creationId xmlns:a16="http://schemas.microsoft.com/office/drawing/2014/main" id="{BC989D84-6559-FE13-0938-2B6075522C7D}"/>
                  </a:ext>
                </a:extLst>
              </p:cNvPr>
              <p:cNvGrpSpPr/>
              <p:nvPr/>
            </p:nvGrpSpPr>
            <p:grpSpPr>
              <a:xfrm>
                <a:off x="2477033" y="1266812"/>
                <a:ext cx="72956" cy="139907"/>
                <a:chOff x="2477033" y="1266812"/>
                <a:chExt cx="72956" cy="139907"/>
              </a:xfrm>
              <a:grpFill/>
            </p:grpSpPr>
            <p:sp>
              <p:nvSpPr>
                <p:cNvPr id="5592" name="Freeform 8701">
                  <a:extLst>
                    <a:ext uri="{FF2B5EF4-FFF2-40B4-BE49-F238E27FC236}">
                      <a16:creationId xmlns:a16="http://schemas.microsoft.com/office/drawing/2014/main" id="{6DD4AAB2-13A5-47D9-DDDF-56700209D3F0}"/>
                    </a:ext>
                  </a:extLst>
                </p:cNvPr>
                <p:cNvSpPr/>
                <p:nvPr/>
              </p:nvSpPr>
              <p:spPr>
                <a:xfrm>
                  <a:off x="2496509" y="1340315"/>
                  <a:ext cx="20427" cy="47954"/>
                </a:xfrm>
                <a:custGeom>
                  <a:avLst/>
                  <a:gdLst>
                    <a:gd name="connsiteX0" fmla="*/ 0 w 20427"/>
                    <a:gd name="connsiteY0" fmla="*/ 47955 h 47954"/>
                    <a:gd name="connsiteX1" fmla="*/ 8968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478"/>
                        <a:pt x="7723" y="35499"/>
                        <a:pt x="8968" y="31389"/>
                      </a:cubicBezTo>
                      <a:cubicBezTo>
                        <a:pt x="10837" y="24662"/>
                        <a:pt x="9965" y="21050"/>
                        <a:pt x="12207" y="14324"/>
                      </a:cubicBezTo>
                      <a:cubicBezTo>
                        <a:pt x="14324" y="7723"/>
                        <a:pt x="17812" y="2989"/>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3" name="Freeform 8702">
                  <a:extLst>
                    <a:ext uri="{FF2B5EF4-FFF2-40B4-BE49-F238E27FC236}">
                      <a16:creationId xmlns:a16="http://schemas.microsoft.com/office/drawing/2014/main" id="{B34F39C3-1A80-AEC7-9F0D-4358545A244A}"/>
                    </a:ext>
                  </a:extLst>
                </p:cNvPr>
                <p:cNvSpPr/>
                <p:nvPr/>
              </p:nvSpPr>
              <p:spPr>
                <a:xfrm>
                  <a:off x="2488039" y="1341809"/>
                  <a:ext cx="19057" cy="48452"/>
                </a:xfrm>
                <a:custGeom>
                  <a:avLst/>
                  <a:gdLst>
                    <a:gd name="connsiteX0" fmla="*/ 19057 w 19057"/>
                    <a:gd name="connsiteY0" fmla="*/ 0 h 48452"/>
                    <a:gd name="connsiteX1" fmla="*/ 13826 w 19057"/>
                    <a:gd name="connsiteY1" fmla="*/ 18061 h 48452"/>
                    <a:gd name="connsiteX2" fmla="*/ 4235 w 19057"/>
                    <a:gd name="connsiteY2" fmla="*/ 32510 h 48452"/>
                    <a:gd name="connsiteX3" fmla="*/ 0 w 19057"/>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057" h="48452">
                      <a:moveTo>
                        <a:pt x="19057" y="0"/>
                      </a:moveTo>
                      <a:cubicBezTo>
                        <a:pt x="18310" y="8470"/>
                        <a:pt x="15819" y="14200"/>
                        <a:pt x="13826" y="18061"/>
                      </a:cubicBezTo>
                      <a:cubicBezTo>
                        <a:pt x="10463" y="24164"/>
                        <a:pt x="7349" y="26157"/>
                        <a:pt x="4235" y="32510"/>
                      </a:cubicBezTo>
                      <a:cubicBezTo>
                        <a:pt x="1121" y="38737"/>
                        <a:pt x="249" y="44592"/>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4" name="Freeform 8703">
                  <a:extLst>
                    <a:ext uri="{FF2B5EF4-FFF2-40B4-BE49-F238E27FC236}">
                      <a16:creationId xmlns:a16="http://schemas.microsoft.com/office/drawing/2014/main" id="{537F3944-7181-B705-147E-190FBCBE267A}"/>
                    </a:ext>
                  </a:extLst>
                </p:cNvPr>
                <p:cNvSpPr/>
                <p:nvPr/>
              </p:nvSpPr>
              <p:spPr>
                <a:xfrm>
                  <a:off x="2477033" y="1380211"/>
                  <a:ext cx="26907" cy="26508"/>
                </a:xfrm>
                <a:custGeom>
                  <a:avLst/>
                  <a:gdLst>
                    <a:gd name="connsiteX0" fmla="*/ 1041 w 26907"/>
                    <a:gd name="connsiteY0" fmla="*/ 8058 h 26508"/>
                    <a:gd name="connsiteX1" fmla="*/ 18480 w 26907"/>
                    <a:gd name="connsiteY1" fmla="*/ 1083 h 26508"/>
                    <a:gd name="connsiteX2" fmla="*/ 25953 w 26907"/>
                    <a:gd name="connsiteY2" fmla="*/ 18147 h 26508"/>
                    <a:gd name="connsiteX3" fmla="*/ 8390 w 26907"/>
                    <a:gd name="connsiteY3" fmla="*/ 25621 h 26508"/>
                    <a:gd name="connsiteX4" fmla="*/ 1041 w 26907"/>
                    <a:gd name="connsiteY4" fmla="*/ 8058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7" h="26508">
                      <a:moveTo>
                        <a:pt x="1041" y="8058"/>
                      </a:moveTo>
                      <a:cubicBezTo>
                        <a:pt x="3906" y="1207"/>
                        <a:pt x="11629" y="-1782"/>
                        <a:pt x="18480" y="1083"/>
                      </a:cubicBezTo>
                      <a:cubicBezTo>
                        <a:pt x="25330" y="3698"/>
                        <a:pt x="28693" y="11421"/>
                        <a:pt x="25953" y="18147"/>
                      </a:cubicBezTo>
                      <a:cubicBezTo>
                        <a:pt x="23213" y="24873"/>
                        <a:pt x="15366" y="28236"/>
                        <a:pt x="8390" y="25621"/>
                      </a:cubicBezTo>
                      <a:cubicBezTo>
                        <a:pt x="1415" y="22756"/>
                        <a:pt x="-1823" y="14784"/>
                        <a:pt x="1041" y="805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5" name="Freeform 8704">
                  <a:extLst>
                    <a:ext uri="{FF2B5EF4-FFF2-40B4-BE49-F238E27FC236}">
                      <a16:creationId xmlns:a16="http://schemas.microsoft.com/office/drawing/2014/main" id="{18F6CEE2-8E26-CB44-0A4E-738FD7CBB0C8}"/>
                    </a:ext>
                  </a:extLst>
                </p:cNvPr>
                <p:cNvSpPr/>
                <p:nvPr/>
              </p:nvSpPr>
              <p:spPr>
                <a:xfrm>
                  <a:off x="2510335" y="1285385"/>
                  <a:ext cx="20427" cy="48079"/>
                </a:xfrm>
                <a:custGeom>
                  <a:avLst/>
                  <a:gdLst>
                    <a:gd name="connsiteX0" fmla="*/ 20427 w 20427"/>
                    <a:gd name="connsiteY0" fmla="*/ 0 h 48079"/>
                    <a:gd name="connsiteX1" fmla="*/ 11584 w 20427"/>
                    <a:gd name="connsiteY1" fmla="*/ 16566 h 48079"/>
                    <a:gd name="connsiteX2" fmla="*/ 8221 w 20427"/>
                    <a:gd name="connsiteY2" fmla="*/ 33755 h 48079"/>
                    <a:gd name="connsiteX3" fmla="*/ 0 w 20427"/>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427" h="48079">
                      <a:moveTo>
                        <a:pt x="20427" y="0"/>
                      </a:moveTo>
                      <a:cubicBezTo>
                        <a:pt x="15072" y="6477"/>
                        <a:pt x="12705" y="12331"/>
                        <a:pt x="11584" y="16566"/>
                      </a:cubicBezTo>
                      <a:cubicBezTo>
                        <a:pt x="9591" y="23292"/>
                        <a:pt x="10463" y="27029"/>
                        <a:pt x="8221" y="33755"/>
                      </a:cubicBezTo>
                      <a:cubicBezTo>
                        <a:pt x="6103" y="40357"/>
                        <a:pt x="2616" y="45090"/>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6" name="Freeform 8705">
                  <a:extLst>
                    <a:ext uri="{FF2B5EF4-FFF2-40B4-BE49-F238E27FC236}">
                      <a16:creationId xmlns:a16="http://schemas.microsoft.com/office/drawing/2014/main" id="{2B6DC559-229E-61BC-B7AA-4540D9A4B788}"/>
                    </a:ext>
                  </a:extLst>
                </p:cNvPr>
                <p:cNvSpPr/>
                <p:nvPr/>
              </p:nvSpPr>
              <p:spPr>
                <a:xfrm>
                  <a:off x="2520051" y="1283267"/>
                  <a:ext cx="19057" cy="48577"/>
                </a:xfrm>
                <a:custGeom>
                  <a:avLst/>
                  <a:gdLst>
                    <a:gd name="connsiteX0" fmla="*/ 0 w 19057"/>
                    <a:gd name="connsiteY0" fmla="*/ 48577 h 48577"/>
                    <a:gd name="connsiteX1" fmla="*/ 5231 w 19057"/>
                    <a:gd name="connsiteY1" fmla="*/ 30517 h 48577"/>
                    <a:gd name="connsiteX2" fmla="*/ 14822 w 19057"/>
                    <a:gd name="connsiteY2" fmla="*/ 15943 h 48577"/>
                    <a:gd name="connsiteX3" fmla="*/ 19057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4" y="24413"/>
                        <a:pt x="11708" y="22296"/>
                        <a:pt x="14822" y="15943"/>
                      </a:cubicBezTo>
                      <a:cubicBezTo>
                        <a:pt x="17936" y="9715"/>
                        <a:pt x="18808" y="3986"/>
                        <a:pt x="190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7" name="Freeform 8706">
                  <a:extLst>
                    <a:ext uri="{FF2B5EF4-FFF2-40B4-BE49-F238E27FC236}">
                      <a16:creationId xmlns:a16="http://schemas.microsoft.com/office/drawing/2014/main" id="{716B3278-D0EE-FF5A-D159-B97F02F221B5}"/>
                    </a:ext>
                  </a:extLst>
                </p:cNvPr>
                <p:cNvSpPr/>
                <p:nvPr/>
              </p:nvSpPr>
              <p:spPr>
                <a:xfrm>
                  <a:off x="2523542" y="1266812"/>
                  <a:ext cx="26447" cy="26435"/>
                </a:xfrm>
                <a:custGeom>
                  <a:avLst/>
                  <a:gdLst>
                    <a:gd name="connsiteX0" fmla="*/ 25406 w 26447"/>
                    <a:gd name="connsiteY0" fmla="*/ 18074 h 26435"/>
                    <a:gd name="connsiteX1" fmla="*/ 8093 w 26447"/>
                    <a:gd name="connsiteY1" fmla="*/ 25548 h 26435"/>
                    <a:gd name="connsiteX2" fmla="*/ 993 w 26447"/>
                    <a:gd name="connsiteY2" fmla="*/ 8110 h 26435"/>
                    <a:gd name="connsiteX3" fmla="*/ 18057 w 26447"/>
                    <a:gd name="connsiteY3" fmla="*/ 1010 h 26435"/>
                    <a:gd name="connsiteX4" fmla="*/ 25406 w 26447"/>
                    <a:gd name="connsiteY4" fmla="*/ 18074 h 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 h="26435">
                      <a:moveTo>
                        <a:pt x="25406" y="18074"/>
                      </a:moveTo>
                      <a:cubicBezTo>
                        <a:pt x="22666" y="24801"/>
                        <a:pt x="14943" y="28164"/>
                        <a:pt x="8093" y="25548"/>
                      </a:cubicBezTo>
                      <a:cubicBezTo>
                        <a:pt x="1367" y="22808"/>
                        <a:pt x="-1747" y="14836"/>
                        <a:pt x="993" y="8110"/>
                      </a:cubicBezTo>
                      <a:cubicBezTo>
                        <a:pt x="3858" y="1259"/>
                        <a:pt x="11331" y="-1730"/>
                        <a:pt x="18057" y="1010"/>
                      </a:cubicBezTo>
                      <a:cubicBezTo>
                        <a:pt x="25033" y="3750"/>
                        <a:pt x="28271" y="11348"/>
                        <a:pt x="25406" y="18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1" name="Graphic 2987">
                <a:extLst>
                  <a:ext uri="{FF2B5EF4-FFF2-40B4-BE49-F238E27FC236}">
                    <a16:creationId xmlns:a16="http://schemas.microsoft.com/office/drawing/2014/main" id="{D8C1F631-69CB-03DC-91C8-82AFC37E81C4}"/>
                  </a:ext>
                </a:extLst>
              </p:cNvPr>
              <p:cNvGrpSpPr/>
              <p:nvPr/>
            </p:nvGrpSpPr>
            <p:grpSpPr>
              <a:xfrm>
                <a:off x="2449432" y="1255298"/>
                <a:ext cx="73481" cy="139714"/>
                <a:chOff x="2449432" y="1255298"/>
                <a:chExt cx="73481" cy="139714"/>
              </a:xfrm>
              <a:grpFill/>
            </p:grpSpPr>
            <p:sp>
              <p:nvSpPr>
                <p:cNvPr id="5586" name="Freeform 8708">
                  <a:extLst>
                    <a:ext uri="{FF2B5EF4-FFF2-40B4-BE49-F238E27FC236}">
                      <a16:creationId xmlns:a16="http://schemas.microsoft.com/office/drawing/2014/main" id="{8F7FC436-785D-90AA-B9C5-B39FDDCF9877}"/>
                    </a:ext>
                  </a:extLst>
                </p:cNvPr>
                <p:cNvSpPr/>
                <p:nvPr/>
              </p:nvSpPr>
              <p:spPr>
                <a:xfrm>
                  <a:off x="2468857" y="1328731"/>
                  <a:ext cx="20551" cy="47830"/>
                </a:xfrm>
                <a:custGeom>
                  <a:avLst/>
                  <a:gdLst>
                    <a:gd name="connsiteX0" fmla="*/ 0 w 20551"/>
                    <a:gd name="connsiteY0" fmla="*/ 47830 h 47830"/>
                    <a:gd name="connsiteX1" fmla="*/ 8968 w 20551"/>
                    <a:gd name="connsiteY1" fmla="*/ 31389 h 47830"/>
                    <a:gd name="connsiteX2" fmla="*/ 12331 w 20551"/>
                    <a:gd name="connsiteY2" fmla="*/ 14200 h 47830"/>
                    <a:gd name="connsiteX3" fmla="*/ 20552 w 20551"/>
                    <a:gd name="connsiteY3" fmla="*/ 0 h 47830"/>
                  </a:gdLst>
                  <a:ahLst/>
                  <a:cxnLst>
                    <a:cxn ang="0">
                      <a:pos x="connsiteX0" y="connsiteY0"/>
                    </a:cxn>
                    <a:cxn ang="0">
                      <a:pos x="connsiteX1" y="connsiteY1"/>
                    </a:cxn>
                    <a:cxn ang="0">
                      <a:pos x="connsiteX2" y="connsiteY2"/>
                    </a:cxn>
                    <a:cxn ang="0">
                      <a:pos x="connsiteX3" y="connsiteY3"/>
                    </a:cxn>
                  </a:cxnLst>
                  <a:rect l="l" t="t" r="r" b="b"/>
                  <a:pathLst>
                    <a:path w="20551" h="47830">
                      <a:moveTo>
                        <a:pt x="0" y="47830"/>
                      </a:moveTo>
                      <a:cubicBezTo>
                        <a:pt x="5356" y="41353"/>
                        <a:pt x="7847" y="35499"/>
                        <a:pt x="8968" y="31389"/>
                      </a:cubicBezTo>
                      <a:cubicBezTo>
                        <a:pt x="10961" y="24662"/>
                        <a:pt x="10089" y="20926"/>
                        <a:pt x="12331" y="14200"/>
                      </a:cubicBezTo>
                      <a:cubicBezTo>
                        <a:pt x="14573" y="7598"/>
                        <a:pt x="18061" y="2865"/>
                        <a:pt x="205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7" name="Freeform 8709">
                  <a:extLst>
                    <a:ext uri="{FF2B5EF4-FFF2-40B4-BE49-F238E27FC236}">
                      <a16:creationId xmlns:a16="http://schemas.microsoft.com/office/drawing/2014/main" id="{68F85FE0-9F31-365C-00AF-E2F783220B93}"/>
                    </a:ext>
                  </a:extLst>
                </p:cNvPr>
                <p:cNvSpPr/>
                <p:nvPr/>
              </p:nvSpPr>
              <p:spPr>
                <a:xfrm>
                  <a:off x="2460387" y="1329976"/>
                  <a:ext cx="19430" cy="48452"/>
                </a:xfrm>
                <a:custGeom>
                  <a:avLst/>
                  <a:gdLst>
                    <a:gd name="connsiteX0" fmla="*/ 19431 w 19430"/>
                    <a:gd name="connsiteY0" fmla="*/ 0 h 48452"/>
                    <a:gd name="connsiteX1" fmla="*/ 14075 w 19430"/>
                    <a:gd name="connsiteY1" fmla="*/ 18061 h 48452"/>
                    <a:gd name="connsiteX2" fmla="*/ 4360 w 19430"/>
                    <a:gd name="connsiteY2" fmla="*/ 32510 h 48452"/>
                    <a:gd name="connsiteX3" fmla="*/ 0 w 19430"/>
                    <a:gd name="connsiteY3" fmla="*/ 48453 h 48452"/>
                  </a:gdLst>
                  <a:ahLst/>
                  <a:cxnLst>
                    <a:cxn ang="0">
                      <a:pos x="connsiteX0" y="connsiteY0"/>
                    </a:cxn>
                    <a:cxn ang="0">
                      <a:pos x="connsiteX1" y="connsiteY1"/>
                    </a:cxn>
                    <a:cxn ang="0">
                      <a:pos x="connsiteX2" y="connsiteY2"/>
                    </a:cxn>
                    <a:cxn ang="0">
                      <a:pos x="connsiteX3" y="connsiteY3"/>
                    </a:cxn>
                  </a:cxnLst>
                  <a:rect l="l" t="t" r="r" b="b"/>
                  <a:pathLst>
                    <a:path w="19430" h="48452">
                      <a:moveTo>
                        <a:pt x="19431" y="0"/>
                      </a:moveTo>
                      <a:cubicBezTo>
                        <a:pt x="18559" y="8470"/>
                        <a:pt x="16193" y="14200"/>
                        <a:pt x="14075" y="18061"/>
                      </a:cubicBezTo>
                      <a:cubicBezTo>
                        <a:pt x="10712" y="24164"/>
                        <a:pt x="7598" y="26157"/>
                        <a:pt x="4360" y="32510"/>
                      </a:cubicBezTo>
                      <a:cubicBezTo>
                        <a:pt x="1246" y="38613"/>
                        <a:pt x="374"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8" name="Freeform 8710">
                  <a:extLst>
                    <a:ext uri="{FF2B5EF4-FFF2-40B4-BE49-F238E27FC236}">
                      <a16:creationId xmlns:a16="http://schemas.microsoft.com/office/drawing/2014/main" id="{F90DB8ED-3245-17B8-128E-A23698E01288}"/>
                    </a:ext>
                  </a:extLst>
                </p:cNvPr>
                <p:cNvSpPr/>
                <p:nvPr/>
              </p:nvSpPr>
              <p:spPr>
                <a:xfrm>
                  <a:off x="2449432" y="1368323"/>
                  <a:ext cx="26627" cy="26688"/>
                </a:xfrm>
                <a:custGeom>
                  <a:avLst/>
                  <a:gdLst>
                    <a:gd name="connsiteX0" fmla="*/ 991 w 26627"/>
                    <a:gd name="connsiteY0" fmla="*/ 7988 h 26688"/>
                    <a:gd name="connsiteX1" fmla="*/ 18429 w 26627"/>
                    <a:gd name="connsiteY1" fmla="*/ 1138 h 26688"/>
                    <a:gd name="connsiteX2" fmla="*/ 25654 w 26627"/>
                    <a:gd name="connsiteY2" fmla="*/ 18700 h 26688"/>
                    <a:gd name="connsiteX3" fmla="*/ 8215 w 26627"/>
                    <a:gd name="connsiteY3" fmla="*/ 25551 h 26688"/>
                    <a:gd name="connsiteX4" fmla="*/ 991 w 26627"/>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88">
                      <a:moveTo>
                        <a:pt x="991" y="7988"/>
                      </a:moveTo>
                      <a:cubicBezTo>
                        <a:pt x="3856" y="1262"/>
                        <a:pt x="11579" y="-1852"/>
                        <a:pt x="18429" y="1138"/>
                      </a:cubicBezTo>
                      <a:cubicBezTo>
                        <a:pt x="25155" y="4127"/>
                        <a:pt x="28394" y="11974"/>
                        <a:pt x="25654" y="18700"/>
                      </a:cubicBezTo>
                      <a:cubicBezTo>
                        <a:pt x="22913" y="25427"/>
                        <a:pt x="15066" y="28540"/>
                        <a:pt x="8215" y="25551"/>
                      </a:cubicBezTo>
                      <a:cubicBezTo>
                        <a:pt x="1365" y="22562"/>
                        <a:pt x="-1749" y="14715"/>
                        <a:pt x="991"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9" name="Freeform 8711">
                  <a:extLst>
                    <a:ext uri="{FF2B5EF4-FFF2-40B4-BE49-F238E27FC236}">
                      <a16:creationId xmlns:a16="http://schemas.microsoft.com/office/drawing/2014/main" id="{EFE36A44-1760-610E-2B21-9944FD371AF0}"/>
                    </a:ext>
                  </a:extLst>
                </p:cNvPr>
                <p:cNvSpPr/>
                <p:nvPr/>
              </p:nvSpPr>
              <p:spPr>
                <a:xfrm>
                  <a:off x="2483181" y="1273676"/>
                  <a:ext cx="20676" cy="47705"/>
                </a:xfrm>
                <a:custGeom>
                  <a:avLst/>
                  <a:gdLst>
                    <a:gd name="connsiteX0" fmla="*/ 20677 w 20676"/>
                    <a:gd name="connsiteY0" fmla="*/ 0 h 47705"/>
                    <a:gd name="connsiteX1" fmla="*/ 11708 w 20676"/>
                    <a:gd name="connsiteY1" fmla="*/ 16442 h 47705"/>
                    <a:gd name="connsiteX2" fmla="*/ 8221 w 20676"/>
                    <a:gd name="connsiteY2" fmla="*/ 33506 h 47705"/>
                    <a:gd name="connsiteX3" fmla="*/ 0 w 20676"/>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676" h="47705">
                      <a:moveTo>
                        <a:pt x="20677" y="0"/>
                      </a:moveTo>
                      <a:cubicBezTo>
                        <a:pt x="15321" y="6477"/>
                        <a:pt x="12954" y="12331"/>
                        <a:pt x="11708" y="16442"/>
                      </a:cubicBezTo>
                      <a:cubicBezTo>
                        <a:pt x="9715" y="23168"/>
                        <a:pt x="10463" y="26780"/>
                        <a:pt x="8221" y="33506"/>
                      </a:cubicBezTo>
                      <a:cubicBezTo>
                        <a:pt x="5979" y="40108"/>
                        <a:pt x="2491" y="44841"/>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0" name="Freeform 8712">
                  <a:extLst>
                    <a:ext uri="{FF2B5EF4-FFF2-40B4-BE49-F238E27FC236}">
                      <a16:creationId xmlns:a16="http://schemas.microsoft.com/office/drawing/2014/main" id="{A9EECA2F-DB4C-747F-F256-D11E39D664E3}"/>
                    </a:ext>
                  </a:extLst>
                </p:cNvPr>
                <p:cNvSpPr/>
                <p:nvPr/>
              </p:nvSpPr>
              <p:spPr>
                <a:xfrm>
                  <a:off x="2492772" y="1271808"/>
                  <a:ext cx="19430" cy="48452"/>
                </a:xfrm>
                <a:custGeom>
                  <a:avLst/>
                  <a:gdLst>
                    <a:gd name="connsiteX0" fmla="*/ 0 w 19430"/>
                    <a:gd name="connsiteY0" fmla="*/ 48453 h 48452"/>
                    <a:gd name="connsiteX1" fmla="*/ 5356 w 19430"/>
                    <a:gd name="connsiteY1" fmla="*/ 30392 h 48452"/>
                    <a:gd name="connsiteX2" fmla="*/ 15071 w 19430"/>
                    <a:gd name="connsiteY2" fmla="*/ 15943 h 48452"/>
                    <a:gd name="connsiteX3" fmla="*/ 19431 w 19430"/>
                    <a:gd name="connsiteY3" fmla="*/ 0 h 48452"/>
                  </a:gdLst>
                  <a:ahLst/>
                  <a:cxnLst>
                    <a:cxn ang="0">
                      <a:pos x="connsiteX0" y="connsiteY0"/>
                    </a:cxn>
                    <a:cxn ang="0">
                      <a:pos x="connsiteX1" y="connsiteY1"/>
                    </a:cxn>
                    <a:cxn ang="0">
                      <a:pos x="connsiteX2" y="connsiteY2"/>
                    </a:cxn>
                    <a:cxn ang="0">
                      <a:pos x="connsiteX3" y="connsiteY3"/>
                    </a:cxn>
                  </a:cxnLst>
                  <a:rect l="l" t="t" r="r" b="b"/>
                  <a:pathLst>
                    <a:path w="19430" h="48452">
                      <a:moveTo>
                        <a:pt x="0" y="48453"/>
                      </a:moveTo>
                      <a:cubicBezTo>
                        <a:pt x="872" y="39983"/>
                        <a:pt x="3238" y="34253"/>
                        <a:pt x="5356" y="30392"/>
                      </a:cubicBezTo>
                      <a:cubicBezTo>
                        <a:pt x="8719" y="24289"/>
                        <a:pt x="11833" y="22296"/>
                        <a:pt x="15071" y="15943"/>
                      </a:cubicBezTo>
                      <a:cubicBezTo>
                        <a:pt x="18185" y="9715"/>
                        <a:pt x="19057" y="3986"/>
                        <a:pt x="194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91" name="Freeform 8713">
                  <a:extLst>
                    <a:ext uri="{FF2B5EF4-FFF2-40B4-BE49-F238E27FC236}">
                      <a16:creationId xmlns:a16="http://schemas.microsoft.com/office/drawing/2014/main" id="{67497B49-893E-8ECA-06F0-A5F8D72E68C2}"/>
                    </a:ext>
                  </a:extLst>
                </p:cNvPr>
                <p:cNvSpPr/>
                <p:nvPr/>
              </p:nvSpPr>
              <p:spPr>
                <a:xfrm>
                  <a:off x="2496867" y="1255298"/>
                  <a:ext cx="26046" cy="26595"/>
                </a:xfrm>
                <a:custGeom>
                  <a:avLst/>
                  <a:gdLst>
                    <a:gd name="connsiteX0" fmla="*/ 25052 w 26046"/>
                    <a:gd name="connsiteY0" fmla="*/ 18503 h 26595"/>
                    <a:gd name="connsiteX1" fmla="*/ 7987 w 26046"/>
                    <a:gd name="connsiteY1" fmla="*/ 25478 h 26595"/>
                    <a:gd name="connsiteX2" fmla="*/ 1012 w 26046"/>
                    <a:gd name="connsiteY2" fmla="*/ 8040 h 26595"/>
                    <a:gd name="connsiteX3" fmla="*/ 18076 w 26046"/>
                    <a:gd name="connsiteY3" fmla="*/ 1065 h 26595"/>
                    <a:gd name="connsiteX4" fmla="*/ 25052 w 26046"/>
                    <a:gd name="connsiteY4" fmla="*/ 18503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5" h="26595">
                      <a:moveTo>
                        <a:pt x="25052" y="18503"/>
                      </a:moveTo>
                      <a:cubicBezTo>
                        <a:pt x="22311" y="25229"/>
                        <a:pt x="14589" y="28467"/>
                        <a:pt x="7987" y="25478"/>
                      </a:cubicBezTo>
                      <a:cubicBezTo>
                        <a:pt x="1261" y="22613"/>
                        <a:pt x="-1728" y="14766"/>
                        <a:pt x="1012" y="8040"/>
                      </a:cubicBezTo>
                      <a:cubicBezTo>
                        <a:pt x="3877" y="1314"/>
                        <a:pt x="11475" y="-1800"/>
                        <a:pt x="18076" y="1065"/>
                      </a:cubicBezTo>
                      <a:cubicBezTo>
                        <a:pt x="24678" y="3929"/>
                        <a:pt x="27792" y="11777"/>
                        <a:pt x="25052"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2" name="Graphic 2987">
                <a:extLst>
                  <a:ext uri="{FF2B5EF4-FFF2-40B4-BE49-F238E27FC236}">
                    <a16:creationId xmlns:a16="http://schemas.microsoft.com/office/drawing/2014/main" id="{1A53A601-2D78-3BAC-BB6F-109371F5C552}"/>
                  </a:ext>
                </a:extLst>
              </p:cNvPr>
              <p:cNvGrpSpPr/>
              <p:nvPr/>
            </p:nvGrpSpPr>
            <p:grpSpPr>
              <a:xfrm>
                <a:off x="2421850" y="1243714"/>
                <a:ext cx="74230" cy="139340"/>
                <a:chOff x="2421850" y="1243714"/>
                <a:chExt cx="74230" cy="139340"/>
              </a:xfrm>
              <a:grpFill/>
            </p:grpSpPr>
            <p:sp>
              <p:nvSpPr>
                <p:cNvPr id="5580" name="Freeform 8715">
                  <a:extLst>
                    <a:ext uri="{FF2B5EF4-FFF2-40B4-BE49-F238E27FC236}">
                      <a16:creationId xmlns:a16="http://schemas.microsoft.com/office/drawing/2014/main" id="{B2599941-5CF0-50DB-4437-12410DD319C1}"/>
                    </a:ext>
                  </a:extLst>
                </p:cNvPr>
                <p:cNvSpPr/>
                <p:nvPr/>
              </p:nvSpPr>
              <p:spPr>
                <a:xfrm>
                  <a:off x="2441454" y="1316898"/>
                  <a:ext cx="20925" cy="47705"/>
                </a:xfrm>
                <a:custGeom>
                  <a:avLst/>
                  <a:gdLst>
                    <a:gd name="connsiteX0" fmla="*/ 0 w 20925"/>
                    <a:gd name="connsiteY0" fmla="*/ 47706 h 47705"/>
                    <a:gd name="connsiteX1" fmla="*/ 9093 w 20925"/>
                    <a:gd name="connsiteY1" fmla="*/ 31264 h 47705"/>
                    <a:gd name="connsiteX2" fmla="*/ 12580 w 20925"/>
                    <a:gd name="connsiteY2" fmla="*/ 14200 h 47705"/>
                    <a:gd name="connsiteX3" fmla="*/ 20926 w 20925"/>
                    <a:gd name="connsiteY3" fmla="*/ 0 h 47705"/>
                  </a:gdLst>
                  <a:ahLst/>
                  <a:cxnLst>
                    <a:cxn ang="0">
                      <a:pos x="connsiteX0" y="connsiteY0"/>
                    </a:cxn>
                    <a:cxn ang="0">
                      <a:pos x="connsiteX1" y="connsiteY1"/>
                    </a:cxn>
                    <a:cxn ang="0">
                      <a:pos x="connsiteX2" y="connsiteY2"/>
                    </a:cxn>
                    <a:cxn ang="0">
                      <a:pos x="connsiteX3" y="connsiteY3"/>
                    </a:cxn>
                  </a:cxnLst>
                  <a:rect l="l" t="t" r="r" b="b"/>
                  <a:pathLst>
                    <a:path w="20925" h="47705">
                      <a:moveTo>
                        <a:pt x="0" y="47706"/>
                      </a:moveTo>
                      <a:cubicBezTo>
                        <a:pt x="5481" y="41353"/>
                        <a:pt x="7847" y="35499"/>
                        <a:pt x="9093" y="31264"/>
                      </a:cubicBezTo>
                      <a:cubicBezTo>
                        <a:pt x="11086" y="24538"/>
                        <a:pt x="10338" y="20926"/>
                        <a:pt x="12580" y="14200"/>
                      </a:cubicBezTo>
                      <a:cubicBezTo>
                        <a:pt x="14822" y="7598"/>
                        <a:pt x="18310" y="2989"/>
                        <a:pt x="20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1" name="Freeform 8716">
                  <a:extLst>
                    <a:ext uri="{FF2B5EF4-FFF2-40B4-BE49-F238E27FC236}">
                      <a16:creationId xmlns:a16="http://schemas.microsoft.com/office/drawing/2014/main" id="{1B79F6D6-A2DE-B142-AD2F-2DDA78963B40}"/>
                    </a:ext>
                  </a:extLst>
                </p:cNvPr>
                <p:cNvSpPr/>
                <p:nvPr/>
              </p:nvSpPr>
              <p:spPr>
                <a:xfrm>
                  <a:off x="2432985" y="1318143"/>
                  <a:ext cx="19680" cy="48328"/>
                </a:xfrm>
                <a:custGeom>
                  <a:avLst/>
                  <a:gdLst>
                    <a:gd name="connsiteX0" fmla="*/ 19680 w 19680"/>
                    <a:gd name="connsiteY0" fmla="*/ 0 h 48328"/>
                    <a:gd name="connsiteX1" fmla="*/ 14200 w 19680"/>
                    <a:gd name="connsiteY1" fmla="*/ 18061 h 48328"/>
                    <a:gd name="connsiteX2" fmla="*/ 4359 w 19680"/>
                    <a:gd name="connsiteY2" fmla="*/ 32385 h 48328"/>
                    <a:gd name="connsiteX3" fmla="*/ 0 w 19680"/>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680" h="48328">
                      <a:moveTo>
                        <a:pt x="19680" y="0"/>
                      </a:moveTo>
                      <a:cubicBezTo>
                        <a:pt x="18808" y="8345"/>
                        <a:pt x="16317" y="14200"/>
                        <a:pt x="14200" y="18061"/>
                      </a:cubicBezTo>
                      <a:cubicBezTo>
                        <a:pt x="10712" y="24164"/>
                        <a:pt x="7598" y="26157"/>
                        <a:pt x="4359" y="32385"/>
                      </a:cubicBezTo>
                      <a:cubicBezTo>
                        <a:pt x="1245" y="38488"/>
                        <a:pt x="249"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2" name="Freeform 8717">
                  <a:extLst>
                    <a:ext uri="{FF2B5EF4-FFF2-40B4-BE49-F238E27FC236}">
                      <a16:creationId xmlns:a16="http://schemas.microsoft.com/office/drawing/2014/main" id="{FD8CAA35-63D2-E2AC-6A04-F30F76E8C354}"/>
                    </a:ext>
                  </a:extLst>
                </p:cNvPr>
                <p:cNvSpPr/>
                <p:nvPr/>
              </p:nvSpPr>
              <p:spPr>
                <a:xfrm>
                  <a:off x="2421850" y="1356366"/>
                  <a:ext cx="26628" cy="26688"/>
                </a:xfrm>
                <a:custGeom>
                  <a:avLst/>
                  <a:gdLst>
                    <a:gd name="connsiteX0" fmla="*/ 1045 w 26628"/>
                    <a:gd name="connsiteY0" fmla="*/ 7988 h 26688"/>
                    <a:gd name="connsiteX1" fmla="*/ 18483 w 26628"/>
                    <a:gd name="connsiteY1" fmla="*/ 1138 h 26688"/>
                    <a:gd name="connsiteX2" fmla="*/ 25583 w 26628"/>
                    <a:gd name="connsiteY2" fmla="*/ 18700 h 26688"/>
                    <a:gd name="connsiteX3" fmla="*/ 8145 w 26628"/>
                    <a:gd name="connsiteY3" fmla="*/ 25551 h 26688"/>
                    <a:gd name="connsiteX4" fmla="*/ 1045 w 26628"/>
                    <a:gd name="connsiteY4" fmla="*/ 7988 h 2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88">
                      <a:moveTo>
                        <a:pt x="1045" y="7988"/>
                      </a:moveTo>
                      <a:cubicBezTo>
                        <a:pt x="3910" y="1262"/>
                        <a:pt x="11757" y="-1852"/>
                        <a:pt x="18483" y="1138"/>
                      </a:cubicBezTo>
                      <a:cubicBezTo>
                        <a:pt x="25209" y="4127"/>
                        <a:pt x="28448" y="11974"/>
                        <a:pt x="25583" y="18700"/>
                      </a:cubicBezTo>
                      <a:cubicBezTo>
                        <a:pt x="22718" y="25427"/>
                        <a:pt x="14871" y="28540"/>
                        <a:pt x="8145" y="25551"/>
                      </a:cubicBezTo>
                      <a:cubicBezTo>
                        <a:pt x="1419" y="22562"/>
                        <a:pt x="-1820" y="14715"/>
                        <a:pt x="1045"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3" name="Freeform 8718">
                  <a:extLst>
                    <a:ext uri="{FF2B5EF4-FFF2-40B4-BE49-F238E27FC236}">
                      <a16:creationId xmlns:a16="http://schemas.microsoft.com/office/drawing/2014/main" id="{36B968CE-C7E0-C1FA-12CA-6ACC16294DD0}"/>
                    </a:ext>
                  </a:extLst>
                </p:cNvPr>
                <p:cNvSpPr/>
                <p:nvPr/>
              </p:nvSpPr>
              <p:spPr>
                <a:xfrm>
                  <a:off x="2456028" y="1262092"/>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570" y="6477"/>
                        <a:pt x="13079" y="12207"/>
                        <a:pt x="11833" y="16442"/>
                      </a:cubicBezTo>
                      <a:cubicBezTo>
                        <a:pt x="9840" y="23168"/>
                        <a:pt x="10587" y="26780"/>
                        <a:pt x="8346" y="33506"/>
                      </a:cubicBezTo>
                      <a:cubicBezTo>
                        <a:pt x="6103"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4" name="Freeform 8719">
                  <a:extLst>
                    <a:ext uri="{FF2B5EF4-FFF2-40B4-BE49-F238E27FC236}">
                      <a16:creationId xmlns:a16="http://schemas.microsoft.com/office/drawing/2014/main" id="{74C2E997-4560-4458-9545-6BA6AF32C9A0}"/>
                    </a:ext>
                  </a:extLst>
                </p:cNvPr>
                <p:cNvSpPr/>
                <p:nvPr/>
              </p:nvSpPr>
              <p:spPr>
                <a:xfrm>
                  <a:off x="2465619" y="1260224"/>
                  <a:ext cx="19555" cy="48328"/>
                </a:xfrm>
                <a:custGeom>
                  <a:avLst/>
                  <a:gdLst>
                    <a:gd name="connsiteX0" fmla="*/ 0 w 19555"/>
                    <a:gd name="connsiteY0" fmla="*/ 48328 h 48328"/>
                    <a:gd name="connsiteX1" fmla="*/ 5481 w 19555"/>
                    <a:gd name="connsiteY1" fmla="*/ 30268 h 48328"/>
                    <a:gd name="connsiteX2" fmla="*/ 15196 w 19555"/>
                    <a:gd name="connsiteY2" fmla="*/ 15943 h 48328"/>
                    <a:gd name="connsiteX3" fmla="*/ 19556 w 19555"/>
                    <a:gd name="connsiteY3" fmla="*/ 0 h 48328"/>
                  </a:gdLst>
                  <a:ahLst/>
                  <a:cxnLst>
                    <a:cxn ang="0">
                      <a:pos x="connsiteX0" y="connsiteY0"/>
                    </a:cxn>
                    <a:cxn ang="0">
                      <a:pos x="connsiteX1" y="connsiteY1"/>
                    </a:cxn>
                    <a:cxn ang="0">
                      <a:pos x="connsiteX2" y="connsiteY2"/>
                    </a:cxn>
                    <a:cxn ang="0">
                      <a:pos x="connsiteX3" y="connsiteY3"/>
                    </a:cxn>
                  </a:cxnLst>
                  <a:rect l="l" t="t" r="r" b="b"/>
                  <a:pathLst>
                    <a:path w="19555" h="48328">
                      <a:moveTo>
                        <a:pt x="0" y="48328"/>
                      </a:moveTo>
                      <a:cubicBezTo>
                        <a:pt x="872" y="39983"/>
                        <a:pt x="3363" y="34129"/>
                        <a:pt x="5481" y="30268"/>
                      </a:cubicBezTo>
                      <a:cubicBezTo>
                        <a:pt x="8844" y="24164"/>
                        <a:pt x="12082" y="22171"/>
                        <a:pt x="15196" y="15943"/>
                      </a:cubicBezTo>
                      <a:cubicBezTo>
                        <a:pt x="18310" y="9840"/>
                        <a:pt x="19306" y="3986"/>
                        <a:pt x="195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85" name="Freeform 8720">
                  <a:extLst>
                    <a:ext uri="{FF2B5EF4-FFF2-40B4-BE49-F238E27FC236}">
                      <a16:creationId xmlns:a16="http://schemas.microsoft.com/office/drawing/2014/main" id="{E4D5D814-C2C2-9351-E53D-4DBA8B6FA213}"/>
                    </a:ext>
                  </a:extLst>
                </p:cNvPr>
                <p:cNvSpPr/>
                <p:nvPr/>
              </p:nvSpPr>
              <p:spPr>
                <a:xfrm>
                  <a:off x="2469890" y="1243714"/>
                  <a:ext cx="26190" cy="26542"/>
                </a:xfrm>
                <a:custGeom>
                  <a:avLst/>
                  <a:gdLst>
                    <a:gd name="connsiteX0" fmla="*/ 25124 w 26190"/>
                    <a:gd name="connsiteY0" fmla="*/ 18503 h 26542"/>
                    <a:gd name="connsiteX1" fmla="*/ 7935 w 26190"/>
                    <a:gd name="connsiteY1" fmla="*/ 25478 h 26542"/>
                    <a:gd name="connsiteX2" fmla="*/ 1085 w 26190"/>
                    <a:gd name="connsiteY2" fmla="*/ 8040 h 26542"/>
                    <a:gd name="connsiteX3" fmla="*/ 18274 w 26190"/>
                    <a:gd name="connsiteY3" fmla="*/ 1065 h 26542"/>
                    <a:gd name="connsiteX4" fmla="*/ 25124 w 26190"/>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0" h="26542">
                      <a:moveTo>
                        <a:pt x="25124" y="18503"/>
                      </a:moveTo>
                      <a:cubicBezTo>
                        <a:pt x="22260" y="25229"/>
                        <a:pt x="14537" y="28343"/>
                        <a:pt x="7935" y="25478"/>
                      </a:cubicBezTo>
                      <a:cubicBezTo>
                        <a:pt x="1209" y="22613"/>
                        <a:pt x="-1780" y="14766"/>
                        <a:pt x="1085" y="8040"/>
                      </a:cubicBezTo>
                      <a:cubicBezTo>
                        <a:pt x="3950" y="1314"/>
                        <a:pt x="11672" y="-1800"/>
                        <a:pt x="18274" y="1065"/>
                      </a:cubicBezTo>
                      <a:cubicBezTo>
                        <a:pt x="24875" y="3929"/>
                        <a:pt x="27989" y="11777"/>
                        <a:pt x="25124"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3" name="Graphic 2987">
                <a:extLst>
                  <a:ext uri="{FF2B5EF4-FFF2-40B4-BE49-F238E27FC236}">
                    <a16:creationId xmlns:a16="http://schemas.microsoft.com/office/drawing/2014/main" id="{2F760F60-A7F0-0BBD-9D71-D2F1D13612EA}"/>
                  </a:ext>
                </a:extLst>
              </p:cNvPr>
              <p:cNvGrpSpPr/>
              <p:nvPr/>
            </p:nvGrpSpPr>
            <p:grpSpPr>
              <a:xfrm>
                <a:off x="2394306" y="1232006"/>
                <a:ext cx="74889" cy="139091"/>
                <a:chOff x="2394306" y="1232006"/>
                <a:chExt cx="74889" cy="139091"/>
              </a:xfrm>
              <a:grpFill/>
            </p:grpSpPr>
            <p:sp>
              <p:nvSpPr>
                <p:cNvPr id="5574" name="Freeform 8722">
                  <a:extLst>
                    <a:ext uri="{FF2B5EF4-FFF2-40B4-BE49-F238E27FC236}">
                      <a16:creationId xmlns:a16="http://schemas.microsoft.com/office/drawing/2014/main" id="{536AA3DA-3ADA-91F0-B3F3-F65545A00000}"/>
                    </a:ext>
                  </a:extLst>
                </p:cNvPr>
                <p:cNvSpPr/>
                <p:nvPr/>
              </p:nvSpPr>
              <p:spPr>
                <a:xfrm>
                  <a:off x="2413927" y="1305065"/>
                  <a:ext cx="21299" cy="47705"/>
                </a:xfrm>
                <a:custGeom>
                  <a:avLst/>
                  <a:gdLst>
                    <a:gd name="connsiteX0" fmla="*/ 0 w 21299"/>
                    <a:gd name="connsiteY0" fmla="*/ 47706 h 47705"/>
                    <a:gd name="connsiteX1" fmla="*/ 9217 w 21299"/>
                    <a:gd name="connsiteY1" fmla="*/ 31264 h 47705"/>
                    <a:gd name="connsiteX2" fmla="*/ 12829 w 21299"/>
                    <a:gd name="connsiteY2" fmla="*/ 14200 h 47705"/>
                    <a:gd name="connsiteX3" fmla="*/ 21299 w 21299"/>
                    <a:gd name="connsiteY3" fmla="*/ 0 h 47705"/>
                  </a:gdLst>
                  <a:ahLst/>
                  <a:cxnLst>
                    <a:cxn ang="0">
                      <a:pos x="connsiteX0" y="connsiteY0"/>
                    </a:cxn>
                    <a:cxn ang="0">
                      <a:pos x="connsiteX1" y="connsiteY1"/>
                    </a:cxn>
                    <a:cxn ang="0">
                      <a:pos x="connsiteX2" y="connsiteY2"/>
                    </a:cxn>
                    <a:cxn ang="0">
                      <a:pos x="connsiteX3" y="connsiteY3"/>
                    </a:cxn>
                  </a:cxnLst>
                  <a:rect l="l" t="t" r="r" b="b"/>
                  <a:pathLst>
                    <a:path w="21299" h="47705">
                      <a:moveTo>
                        <a:pt x="0" y="47706"/>
                      </a:moveTo>
                      <a:cubicBezTo>
                        <a:pt x="5481" y="41353"/>
                        <a:pt x="7972" y="35499"/>
                        <a:pt x="9217" y="31264"/>
                      </a:cubicBezTo>
                      <a:cubicBezTo>
                        <a:pt x="11210" y="24538"/>
                        <a:pt x="10463" y="20926"/>
                        <a:pt x="12829" y="14200"/>
                      </a:cubicBezTo>
                      <a:cubicBezTo>
                        <a:pt x="15071" y="7723"/>
                        <a:pt x="18684" y="2989"/>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5" name="Freeform 8723">
                  <a:extLst>
                    <a:ext uri="{FF2B5EF4-FFF2-40B4-BE49-F238E27FC236}">
                      <a16:creationId xmlns:a16="http://schemas.microsoft.com/office/drawing/2014/main" id="{A1CFDE58-D511-0216-9FBE-1168AFB89737}"/>
                    </a:ext>
                  </a:extLst>
                </p:cNvPr>
                <p:cNvSpPr/>
                <p:nvPr/>
              </p:nvSpPr>
              <p:spPr>
                <a:xfrm>
                  <a:off x="2405333" y="1306310"/>
                  <a:ext cx="20053" cy="48203"/>
                </a:xfrm>
                <a:custGeom>
                  <a:avLst/>
                  <a:gdLst>
                    <a:gd name="connsiteX0" fmla="*/ 20054 w 20053"/>
                    <a:gd name="connsiteY0" fmla="*/ 0 h 48203"/>
                    <a:gd name="connsiteX1" fmla="*/ 14449 w 20053"/>
                    <a:gd name="connsiteY1" fmla="*/ 17936 h 48203"/>
                    <a:gd name="connsiteX2" fmla="*/ 4484 w 20053"/>
                    <a:gd name="connsiteY2" fmla="*/ 32260 h 48203"/>
                    <a:gd name="connsiteX3" fmla="*/ 0 w 20053"/>
                    <a:gd name="connsiteY3" fmla="*/ 48204 h 48203"/>
                  </a:gdLst>
                  <a:ahLst/>
                  <a:cxnLst>
                    <a:cxn ang="0">
                      <a:pos x="connsiteX0" y="connsiteY0"/>
                    </a:cxn>
                    <a:cxn ang="0">
                      <a:pos x="connsiteX1" y="connsiteY1"/>
                    </a:cxn>
                    <a:cxn ang="0">
                      <a:pos x="connsiteX2" y="connsiteY2"/>
                    </a:cxn>
                    <a:cxn ang="0">
                      <a:pos x="connsiteX3" y="connsiteY3"/>
                    </a:cxn>
                  </a:cxnLst>
                  <a:rect l="l" t="t" r="r" b="b"/>
                  <a:pathLst>
                    <a:path w="20053" h="48203">
                      <a:moveTo>
                        <a:pt x="20054" y="0"/>
                      </a:moveTo>
                      <a:cubicBezTo>
                        <a:pt x="19182" y="8345"/>
                        <a:pt x="16691" y="14200"/>
                        <a:pt x="14449" y="17936"/>
                      </a:cubicBezTo>
                      <a:cubicBezTo>
                        <a:pt x="10961" y="24040"/>
                        <a:pt x="7847" y="25908"/>
                        <a:pt x="4484" y="32260"/>
                      </a:cubicBezTo>
                      <a:cubicBezTo>
                        <a:pt x="1246" y="38364"/>
                        <a:pt x="374" y="44218"/>
                        <a:pt x="0" y="4820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6" name="Freeform 8724">
                  <a:extLst>
                    <a:ext uri="{FF2B5EF4-FFF2-40B4-BE49-F238E27FC236}">
                      <a16:creationId xmlns:a16="http://schemas.microsoft.com/office/drawing/2014/main" id="{F9F1B7DE-A7D4-6A7F-035F-56482C9579B6}"/>
                    </a:ext>
                  </a:extLst>
                </p:cNvPr>
                <p:cNvSpPr/>
                <p:nvPr/>
              </p:nvSpPr>
              <p:spPr>
                <a:xfrm>
                  <a:off x="2394306" y="1344461"/>
                  <a:ext cx="26770" cy="26635"/>
                </a:xfrm>
                <a:custGeom>
                  <a:avLst/>
                  <a:gdLst>
                    <a:gd name="connsiteX0" fmla="*/ 1063 w 26770"/>
                    <a:gd name="connsiteY0" fmla="*/ 7935 h 26635"/>
                    <a:gd name="connsiteX1" fmla="*/ 18625 w 26770"/>
                    <a:gd name="connsiteY1" fmla="*/ 1085 h 26635"/>
                    <a:gd name="connsiteX2" fmla="*/ 25725 w 26770"/>
                    <a:gd name="connsiteY2" fmla="*/ 18647 h 26635"/>
                    <a:gd name="connsiteX3" fmla="*/ 8163 w 26770"/>
                    <a:gd name="connsiteY3" fmla="*/ 25498 h 26635"/>
                    <a:gd name="connsiteX4" fmla="*/ 1063 w 26770"/>
                    <a:gd name="connsiteY4" fmla="*/ 7935 h 2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0" h="26635">
                      <a:moveTo>
                        <a:pt x="1063" y="7935"/>
                      </a:moveTo>
                      <a:cubicBezTo>
                        <a:pt x="3927" y="1209"/>
                        <a:pt x="11899" y="-1780"/>
                        <a:pt x="18625" y="1085"/>
                      </a:cubicBezTo>
                      <a:cubicBezTo>
                        <a:pt x="25351" y="4074"/>
                        <a:pt x="28590" y="11921"/>
                        <a:pt x="25725" y="18647"/>
                      </a:cubicBezTo>
                      <a:cubicBezTo>
                        <a:pt x="22860" y="25373"/>
                        <a:pt x="15013" y="28487"/>
                        <a:pt x="8163" y="25498"/>
                      </a:cubicBezTo>
                      <a:cubicBezTo>
                        <a:pt x="1312" y="22509"/>
                        <a:pt x="-1802" y="14662"/>
                        <a:pt x="1063"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7" name="Freeform 8725">
                  <a:extLst>
                    <a:ext uri="{FF2B5EF4-FFF2-40B4-BE49-F238E27FC236}">
                      <a16:creationId xmlns:a16="http://schemas.microsoft.com/office/drawing/2014/main" id="{6628F1A2-1201-80FF-044B-7D2D49C0F31D}"/>
                    </a:ext>
                  </a:extLst>
                </p:cNvPr>
                <p:cNvSpPr/>
                <p:nvPr/>
              </p:nvSpPr>
              <p:spPr>
                <a:xfrm>
                  <a:off x="2428625" y="1250384"/>
                  <a:ext cx="21299" cy="47705"/>
                </a:xfrm>
                <a:custGeom>
                  <a:avLst/>
                  <a:gdLst>
                    <a:gd name="connsiteX0" fmla="*/ 21299 w 21299"/>
                    <a:gd name="connsiteY0" fmla="*/ 0 h 47705"/>
                    <a:gd name="connsiteX1" fmla="*/ 12082 w 21299"/>
                    <a:gd name="connsiteY1" fmla="*/ 16442 h 47705"/>
                    <a:gd name="connsiteX2" fmla="*/ 8470 w 21299"/>
                    <a:gd name="connsiteY2" fmla="*/ 33506 h 47705"/>
                    <a:gd name="connsiteX3" fmla="*/ 0 w 21299"/>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299" h="47705">
                      <a:moveTo>
                        <a:pt x="21299" y="0"/>
                      </a:moveTo>
                      <a:cubicBezTo>
                        <a:pt x="15819" y="6352"/>
                        <a:pt x="13328" y="12207"/>
                        <a:pt x="12082" y="16442"/>
                      </a:cubicBezTo>
                      <a:cubicBezTo>
                        <a:pt x="10089" y="23168"/>
                        <a:pt x="10837" y="26780"/>
                        <a:pt x="8470" y="33506"/>
                      </a:cubicBezTo>
                      <a:cubicBezTo>
                        <a:pt x="6228" y="39983"/>
                        <a:pt x="2616" y="44716"/>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8" name="Freeform 8726">
                  <a:extLst>
                    <a:ext uri="{FF2B5EF4-FFF2-40B4-BE49-F238E27FC236}">
                      <a16:creationId xmlns:a16="http://schemas.microsoft.com/office/drawing/2014/main" id="{465B81F6-DE49-B430-EDD7-78642ECF14F1}"/>
                    </a:ext>
                  </a:extLst>
                </p:cNvPr>
                <p:cNvSpPr/>
                <p:nvPr/>
              </p:nvSpPr>
              <p:spPr>
                <a:xfrm>
                  <a:off x="2438465" y="1248516"/>
                  <a:ext cx="19929" cy="48203"/>
                </a:xfrm>
                <a:custGeom>
                  <a:avLst/>
                  <a:gdLst>
                    <a:gd name="connsiteX0" fmla="*/ 0 w 19929"/>
                    <a:gd name="connsiteY0" fmla="*/ 48204 h 48203"/>
                    <a:gd name="connsiteX1" fmla="*/ 5605 w 19929"/>
                    <a:gd name="connsiteY1" fmla="*/ 30268 h 48203"/>
                    <a:gd name="connsiteX2" fmla="*/ 15445 w 19929"/>
                    <a:gd name="connsiteY2" fmla="*/ 15943 h 48203"/>
                    <a:gd name="connsiteX3" fmla="*/ 19929 w 19929"/>
                    <a:gd name="connsiteY3" fmla="*/ 0 h 48203"/>
                  </a:gdLst>
                  <a:ahLst/>
                  <a:cxnLst>
                    <a:cxn ang="0">
                      <a:pos x="connsiteX0" y="connsiteY0"/>
                    </a:cxn>
                    <a:cxn ang="0">
                      <a:pos x="connsiteX1" y="connsiteY1"/>
                    </a:cxn>
                    <a:cxn ang="0">
                      <a:pos x="connsiteX2" y="connsiteY2"/>
                    </a:cxn>
                    <a:cxn ang="0">
                      <a:pos x="connsiteX3" y="connsiteY3"/>
                    </a:cxn>
                  </a:cxnLst>
                  <a:rect l="l" t="t" r="r" b="b"/>
                  <a:pathLst>
                    <a:path w="19929" h="48203">
                      <a:moveTo>
                        <a:pt x="0" y="48204"/>
                      </a:moveTo>
                      <a:cubicBezTo>
                        <a:pt x="872" y="39858"/>
                        <a:pt x="3363" y="34004"/>
                        <a:pt x="5605" y="30268"/>
                      </a:cubicBezTo>
                      <a:cubicBezTo>
                        <a:pt x="9093" y="24164"/>
                        <a:pt x="12207" y="22171"/>
                        <a:pt x="15445" y="15943"/>
                      </a:cubicBezTo>
                      <a:cubicBezTo>
                        <a:pt x="18559" y="9840"/>
                        <a:pt x="19555" y="3986"/>
                        <a:pt x="199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9" name="Freeform 8727">
                  <a:extLst>
                    <a:ext uri="{FF2B5EF4-FFF2-40B4-BE49-F238E27FC236}">
                      <a16:creationId xmlns:a16="http://schemas.microsoft.com/office/drawing/2014/main" id="{C137A4CD-33CC-8E0E-54E8-470DD238C44C}"/>
                    </a:ext>
                  </a:extLst>
                </p:cNvPr>
                <p:cNvSpPr/>
                <p:nvPr/>
              </p:nvSpPr>
              <p:spPr>
                <a:xfrm>
                  <a:off x="2442861" y="1232006"/>
                  <a:ext cx="26333" cy="26542"/>
                </a:xfrm>
                <a:custGeom>
                  <a:avLst/>
                  <a:gdLst>
                    <a:gd name="connsiteX0" fmla="*/ 25249 w 26333"/>
                    <a:gd name="connsiteY0" fmla="*/ 18503 h 26542"/>
                    <a:gd name="connsiteX1" fmla="*/ 7935 w 26333"/>
                    <a:gd name="connsiteY1" fmla="*/ 25478 h 26542"/>
                    <a:gd name="connsiteX2" fmla="*/ 1085 w 26333"/>
                    <a:gd name="connsiteY2" fmla="*/ 8040 h 26542"/>
                    <a:gd name="connsiteX3" fmla="*/ 18398 w 26333"/>
                    <a:gd name="connsiteY3" fmla="*/ 1065 h 26542"/>
                    <a:gd name="connsiteX4" fmla="*/ 25249 w 2633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542">
                      <a:moveTo>
                        <a:pt x="25249" y="18503"/>
                      </a:moveTo>
                      <a:cubicBezTo>
                        <a:pt x="22384" y="25229"/>
                        <a:pt x="14662" y="28343"/>
                        <a:pt x="7935" y="25478"/>
                      </a:cubicBezTo>
                      <a:cubicBezTo>
                        <a:pt x="1209" y="22613"/>
                        <a:pt x="-1780" y="14766"/>
                        <a:pt x="1085" y="8040"/>
                      </a:cubicBezTo>
                      <a:cubicBezTo>
                        <a:pt x="3950" y="1314"/>
                        <a:pt x="11672" y="-1800"/>
                        <a:pt x="18398" y="1065"/>
                      </a:cubicBezTo>
                      <a:cubicBezTo>
                        <a:pt x="25124" y="4054"/>
                        <a:pt x="28114" y="11777"/>
                        <a:pt x="2524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4" name="Graphic 2987">
                <a:extLst>
                  <a:ext uri="{FF2B5EF4-FFF2-40B4-BE49-F238E27FC236}">
                    <a16:creationId xmlns:a16="http://schemas.microsoft.com/office/drawing/2014/main" id="{E7418D38-48AC-5B9B-CFAD-904A8882BB7A}"/>
                  </a:ext>
                </a:extLst>
              </p:cNvPr>
              <p:cNvGrpSpPr/>
              <p:nvPr/>
            </p:nvGrpSpPr>
            <p:grpSpPr>
              <a:xfrm>
                <a:off x="2366705" y="1220564"/>
                <a:ext cx="75640" cy="138522"/>
                <a:chOff x="2366705" y="1220564"/>
                <a:chExt cx="75640" cy="138522"/>
              </a:xfrm>
              <a:grpFill/>
            </p:grpSpPr>
            <p:sp>
              <p:nvSpPr>
                <p:cNvPr id="5568" name="Freeform 8729">
                  <a:extLst>
                    <a:ext uri="{FF2B5EF4-FFF2-40B4-BE49-F238E27FC236}">
                      <a16:creationId xmlns:a16="http://schemas.microsoft.com/office/drawing/2014/main" id="{1973FDCB-FAAF-6FD7-9813-8DFA9650653C}"/>
                    </a:ext>
                  </a:extLst>
                </p:cNvPr>
                <p:cNvSpPr/>
                <p:nvPr/>
              </p:nvSpPr>
              <p:spPr>
                <a:xfrm>
                  <a:off x="2386400" y="1293356"/>
                  <a:ext cx="21423" cy="47456"/>
                </a:xfrm>
                <a:custGeom>
                  <a:avLst/>
                  <a:gdLst>
                    <a:gd name="connsiteX0" fmla="*/ 0 w 21423"/>
                    <a:gd name="connsiteY0" fmla="*/ 47456 h 47456"/>
                    <a:gd name="connsiteX1" fmla="*/ 9342 w 21423"/>
                    <a:gd name="connsiteY1" fmla="*/ 31139 h 47456"/>
                    <a:gd name="connsiteX2" fmla="*/ 12954 w 21423"/>
                    <a:gd name="connsiteY2" fmla="*/ 14075 h 47456"/>
                    <a:gd name="connsiteX3" fmla="*/ 21424 w 21423"/>
                    <a:gd name="connsiteY3" fmla="*/ 0 h 47456"/>
                  </a:gdLst>
                  <a:ahLst/>
                  <a:cxnLst>
                    <a:cxn ang="0">
                      <a:pos x="connsiteX0" y="connsiteY0"/>
                    </a:cxn>
                    <a:cxn ang="0">
                      <a:pos x="connsiteX1" y="connsiteY1"/>
                    </a:cxn>
                    <a:cxn ang="0">
                      <a:pos x="connsiteX2" y="connsiteY2"/>
                    </a:cxn>
                    <a:cxn ang="0">
                      <a:pos x="connsiteX3" y="connsiteY3"/>
                    </a:cxn>
                  </a:cxnLst>
                  <a:rect l="l" t="t" r="r" b="b"/>
                  <a:pathLst>
                    <a:path w="21423" h="47456">
                      <a:moveTo>
                        <a:pt x="0" y="47456"/>
                      </a:moveTo>
                      <a:cubicBezTo>
                        <a:pt x="5481" y="41104"/>
                        <a:pt x="7972" y="35250"/>
                        <a:pt x="9342" y="31139"/>
                      </a:cubicBezTo>
                      <a:cubicBezTo>
                        <a:pt x="11459" y="24413"/>
                        <a:pt x="10587" y="20801"/>
                        <a:pt x="12954" y="14075"/>
                      </a:cubicBezTo>
                      <a:cubicBezTo>
                        <a:pt x="15196" y="7598"/>
                        <a:pt x="18808" y="2865"/>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9" name="Freeform 8730">
                  <a:extLst>
                    <a:ext uri="{FF2B5EF4-FFF2-40B4-BE49-F238E27FC236}">
                      <a16:creationId xmlns:a16="http://schemas.microsoft.com/office/drawing/2014/main" id="{CDAC17D7-D962-A273-4049-9D35011BD29C}"/>
                    </a:ext>
                  </a:extLst>
                </p:cNvPr>
                <p:cNvSpPr/>
                <p:nvPr/>
              </p:nvSpPr>
              <p:spPr>
                <a:xfrm>
                  <a:off x="2377805" y="1294602"/>
                  <a:ext cx="20302" cy="48079"/>
                </a:xfrm>
                <a:custGeom>
                  <a:avLst/>
                  <a:gdLst>
                    <a:gd name="connsiteX0" fmla="*/ 20303 w 20302"/>
                    <a:gd name="connsiteY0" fmla="*/ 0 h 48079"/>
                    <a:gd name="connsiteX1" fmla="*/ 14573 w 20302"/>
                    <a:gd name="connsiteY1" fmla="*/ 17936 h 48079"/>
                    <a:gd name="connsiteX2" fmla="*/ 4609 w 20302"/>
                    <a:gd name="connsiteY2" fmla="*/ 32260 h 48079"/>
                    <a:gd name="connsiteX3" fmla="*/ 0 w 20302"/>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302" h="48079">
                      <a:moveTo>
                        <a:pt x="20303" y="0"/>
                      </a:moveTo>
                      <a:cubicBezTo>
                        <a:pt x="19306" y="8345"/>
                        <a:pt x="16815" y="14200"/>
                        <a:pt x="14573" y="17936"/>
                      </a:cubicBezTo>
                      <a:cubicBezTo>
                        <a:pt x="11086" y="24040"/>
                        <a:pt x="7847" y="25908"/>
                        <a:pt x="4609" y="32260"/>
                      </a:cubicBezTo>
                      <a:cubicBezTo>
                        <a:pt x="1370" y="38364"/>
                        <a:pt x="374"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0" name="Freeform 8731">
                  <a:extLst>
                    <a:ext uri="{FF2B5EF4-FFF2-40B4-BE49-F238E27FC236}">
                      <a16:creationId xmlns:a16="http://schemas.microsoft.com/office/drawing/2014/main" id="{D51507AB-2FE0-2386-9FB2-245A81430458}"/>
                    </a:ext>
                  </a:extLst>
                </p:cNvPr>
                <p:cNvSpPr/>
                <p:nvPr/>
              </p:nvSpPr>
              <p:spPr>
                <a:xfrm>
                  <a:off x="2366705" y="1332628"/>
                  <a:ext cx="26915" cy="26458"/>
                </a:xfrm>
                <a:custGeom>
                  <a:avLst/>
                  <a:gdLst>
                    <a:gd name="connsiteX0" fmla="*/ 1136 w 26915"/>
                    <a:gd name="connsiteY0" fmla="*/ 7935 h 26458"/>
                    <a:gd name="connsiteX1" fmla="*/ 18823 w 26915"/>
                    <a:gd name="connsiteY1" fmla="*/ 1085 h 26458"/>
                    <a:gd name="connsiteX2" fmla="*/ 25798 w 26915"/>
                    <a:gd name="connsiteY2" fmla="*/ 18523 h 26458"/>
                    <a:gd name="connsiteX3" fmla="*/ 8111 w 26915"/>
                    <a:gd name="connsiteY3" fmla="*/ 25373 h 26458"/>
                    <a:gd name="connsiteX4" fmla="*/ 1136 w 26915"/>
                    <a:gd name="connsiteY4" fmla="*/ 7935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5" h="26458">
                      <a:moveTo>
                        <a:pt x="1136" y="7935"/>
                      </a:moveTo>
                      <a:cubicBezTo>
                        <a:pt x="4125" y="1209"/>
                        <a:pt x="11972" y="-1780"/>
                        <a:pt x="18823" y="1085"/>
                      </a:cubicBezTo>
                      <a:cubicBezTo>
                        <a:pt x="25549" y="4074"/>
                        <a:pt x="28788" y="11797"/>
                        <a:pt x="25798" y="18523"/>
                      </a:cubicBezTo>
                      <a:cubicBezTo>
                        <a:pt x="22809" y="25249"/>
                        <a:pt x="14962" y="28238"/>
                        <a:pt x="8111" y="25373"/>
                      </a:cubicBezTo>
                      <a:cubicBezTo>
                        <a:pt x="1260" y="22509"/>
                        <a:pt x="-1854" y="14537"/>
                        <a:pt x="1136" y="79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1" name="Freeform 8732">
                  <a:extLst>
                    <a:ext uri="{FF2B5EF4-FFF2-40B4-BE49-F238E27FC236}">
                      <a16:creationId xmlns:a16="http://schemas.microsoft.com/office/drawing/2014/main" id="{F9C132B0-2341-6040-E5F5-533C425F8A8A}"/>
                    </a:ext>
                  </a:extLst>
                </p:cNvPr>
                <p:cNvSpPr/>
                <p:nvPr/>
              </p:nvSpPr>
              <p:spPr>
                <a:xfrm>
                  <a:off x="2401347" y="1238676"/>
                  <a:ext cx="21673" cy="47331"/>
                </a:xfrm>
                <a:custGeom>
                  <a:avLst/>
                  <a:gdLst>
                    <a:gd name="connsiteX0" fmla="*/ 21673 w 21673"/>
                    <a:gd name="connsiteY0" fmla="*/ 0 h 47331"/>
                    <a:gd name="connsiteX1" fmla="*/ 12331 w 21673"/>
                    <a:gd name="connsiteY1" fmla="*/ 16317 h 47331"/>
                    <a:gd name="connsiteX2" fmla="*/ 8595 w 21673"/>
                    <a:gd name="connsiteY2" fmla="*/ 33257 h 47331"/>
                    <a:gd name="connsiteX3" fmla="*/ 0 w 21673"/>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673" h="47331">
                      <a:moveTo>
                        <a:pt x="21673" y="0"/>
                      </a:moveTo>
                      <a:cubicBezTo>
                        <a:pt x="16193" y="6352"/>
                        <a:pt x="13701" y="12207"/>
                        <a:pt x="12331" y="16317"/>
                      </a:cubicBezTo>
                      <a:cubicBezTo>
                        <a:pt x="10214" y="23043"/>
                        <a:pt x="10961" y="26655"/>
                        <a:pt x="8595" y="33257"/>
                      </a:cubicBezTo>
                      <a:cubicBezTo>
                        <a:pt x="6228" y="39734"/>
                        <a:pt x="2740"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2" name="Freeform 8733">
                  <a:extLst>
                    <a:ext uri="{FF2B5EF4-FFF2-40B4-BE49-F238E27FC236}">
                      <a16:creationId xmlns:a16="http://schemas.microsoft.com/office/drawing/2014/main" id="{40DDB30D-7E34-EF82-B166-FF191BBF6BF0}"/>
                    </a:ext>
                  </a:extLst>
                </p:cNvPr>
                <p:cNvSpPr/>
                <p:nvPr/>
              </p:nvSpPr>
              <p:spPr>
                <a:xfrm>
                  <a:off x="2411312" y="1236932"/>
                  <a:ext cx="20302" cy="48079"/>
                </a:xfrm>
                <a:custGeom>
                  <a:avLst/>
                  <a:gdLst>
                    <a:gd name="connsiteX0" fmla="*/ 0 w 20302"/>
                    <a:gd name="connsiteY0" fmla="*/ 48079 h 48079"/>
                    <a:gd name="connsiteX1" fmla="*/ 5730 w 20302"/>
                    <a:gd name="connsiteY1" fmla="*/ 30143 h 48079"/>
                    <a:gd name="connsiteX2" fmla="*/ 15694 w 20302"/>
                    <a:gd name="connsiteY2" fmla="*/ 15819 h 48079"/>
                    <a:gd name="connsiteX3" fmla="*/ 20303 w 20302"/>
                    <a:gd name="connsiteY3" fmla="*/ 0 h 48079"/>
                  </a:gdLst>
                  <a:ahLst/>
                  <a:cxnLst>
                    <a:cxn ang="0">
                      <a:pos x="connsiteX0" y="connsiteY0"/>
                    </a:cxn>
                    <a:cxn ang="0">
                      <a:pos x="connsiteX1" y="connsiteY1"/>
                    </a:cxn>
                    <a:cxn ang="0">
                      <a:pos x="connsiteX2" y="connsiteY2"/>
                    </a:cxn>
                    <a:cxn ang="0">
                      <a:pos x="connsiteX3" y="connsiteY3"/>
                    </a:cxn>
                  </a:cxnLst>
                  <a:rect l="l" t="t" r="r" b="b"/>
                  <a:pathLst>
                    <a:path w="20302" h="48079">
                      <a:moveTo>
                        <a:pt x="0" y="48079"/>
                      </a:moveTo>
                      <a:cubicBezTo>
                        <a:pt x="996" y="39734"/>
                        <a:pt x="3488" y="33880"/>
                        <a:pt x="5730" y="30143"/>
                      </a:cubicBezTo>
                      <a:cubicBezTo>
                        <a:pt x="9217" y="24040"/>
                        <a:pt x="12331" y="22171"/>
                        <a:pt x="15694" y="15819"/>
                      </a:cubicBezTo>
                      <a:cubicBezTo>
                        <a:pt x="18933" y="9716"/>
                        <a:pt x="19929" y="3861"/>
                        <a:pt x="203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73" name="Freeform 8734">
                  <a:extLst>
                    <a:ext uri="{FF2B5EF4-FFF2-40B4-BE49-F238E27FC236}">
                      <a16:creationId xmlns:a16="http://schemas.microsoft.com/office/drawing/2014/main" id="{EB977275-E8AB-B944-4EBF-D0A346DE9810}"/>
                    </a:ext>
                  </a:extLst>
                </p:cNvPr>
                <p:cNvSpPr/>
                <p:nvPr/>
              </p:nvSpPr>
              <p:spPr>
                <a:xfrm>
                  <a:off x="2416007" y="1220564"/>
                  <a:ext cx="26338" cy="26400"/>
                </a:xfrm>
                <a:custGeom>
                  <a:avLst/>
                  <a:gdLst>
                    <a:gd name="connsiteX0" fmla="*/ 25198 w 26338"/>
                    <a:gd name="connsiteY0" fmla="*/ 18361 h 26400"/>
                    <a:gd name="connsiteX1" fmla="*/ 7885 w 26338"/>
                    <a:gd name="connsiteY1" fmla="*/ 25336 h 26400"/>
                    <a:gd name="connsiteX2" fmla="*/ 1159 w 26338"/>
                    <a:gd name="connsiteY2" fmla="*/ 8022 h 26400"/>
                    <a:gd name="connsiteX3" fmla="*/ 18472 w 26338"/>
                    <a:gd name="connsiteY3" fmla="*/ 1047 h 26400"/>
                    <a:gd name="connsiteX4" fmla="*/ 25198 w 26338"/>
                    <a:gd name="connsiteY4" fmla="*/ 18361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8" h="26400">
                      <a:moveTo>
                        <a:pt x="25198" y="18361"/>
                      </a:moveTo>
                      <a:cubicBezTo>
                        <a:pt x="22333" y="25087"/>
                        <a:pt x="14486" y="28201"/>
                        <a:pt x="7885" y="25336"/>
                      </a:cubicBezTo>
                      <a:cubicBezTo>
                        <a:pt x="1159" y="22471"/>
                        <a:pt x="-1831" y="14624"/>
                        <a:pt x="1159" y="8022"/>
                      </a:cubicBezTo>
                      <a:cubicBezTo>
                        <a:pt x="4148" y="1421"/>
                        <a:pt x="11871" y="-1818"/>
                        <a:pt x="18472" y="1047"/>
                      </a:cubicBezTo>
                      <a:cubicBezTo>
                        <a:pt x="25074" y="3787"/>
                        <a:pt x="28188" y="11634"/>
                        <a:pt x="25198" y="183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5" name="Graphic 2987">
                <a:extLst>
                  <a:ext uri="{FF2B5EF4-FFF2-40B4-BE49-F238E27FC236}">
                    <a16:creationId xmlns:a16="http://schemas.microsoft.com/office/drawing/2014/main" id="{8C9A161A-393C-6DE0-A056-AB1221990A41}"/>
                  </a:ext>
                </a:extLst>
              </p:cNvPr>
              <p:cNvGrpSpPr/>
              <p:nvPr/>
            </p:nvGrpSpPr>
            <p:grpSpPr>
              <a:xfrm>
                <a:off x="2339178" y="1208818"/>
                <a:ext cx="76284" cy="138385"/>
                <a:chOff x="2339178" y="1208818"/>
                <a:chExt cx="76284" cy="138385"/>
              </a:xfrm>
              <a:grpFill/>
            </p:grpSpPr>
            <p:sp>
              <p:nvSpPr>
                <p:cNvPr id="5562" name="Freeform 8736">
                  <a:extLst>
                    <a:ext uri="{FF2B5EF4-FFF2-40B4-BE49-F238E27FC236}">
                      <a16:creationId xmlns:a16="http://schemas.microsoft.com/office/drawing/2014/main" id="{138CB4D6-E872-B4AF-AA9C-4C5A3F1438BA}"/>
                    </a:ext>
                  </a:extLst>
                </p:cNvPr>
                <p:cNvSpPr/>
                <p:nvPr/>
              </p:nvSpPr>
              <p:spPr>
                <a:xfrm>
                  <a:off x="2358873" y="1281523"/>
                  <a:ext cx="21797" cy="47331"/>
                </a:xfrm>
                <a:custGeom>
                  <a:avLst/>
                  <a:gdLst>
                    <a:gd name="connsiteX0" fmla="*/ 0 w 21797"/>
                    <a:gd name="connsiteY0" fmla="*/ 47332 h 47331"/>
                    <a:gd name="connsiteX1" fmla="*/ 9466 w 21797"/>
                    <a:gd name="connsiteY1" fmla="*/ 31015 h 47331"/>
                    <a:gd name="connsiteX2" fmla="*/ 13203 w 21797"/>
                    <a:gd name="connsiteY2" fmla="*/ 14075 h 47331"/>
                    <a:gd name="connsiteX3" fmla="*/ 21798 w 21797"/>
                    <a:gd name="connsiteY3" fmla="*/ 0 h 47331"/>
                  </a:gdLst>
                  <a:ahLst/>
                  <a:cxnLst>
                    <a:cxn ang="0">
                      <a:pos x="connsiteX0" y="connsiteY0"/>
                    </a:cxn>
                    <a:cxn ang="0">
                      <a:pos x="connsiteX1" y="connsiteY1"/>
                    </a:cxn>
                    <a:cxn ang="0">
                      <a:pos x="connsiteX2" y="connsiteY2"/>
                    </a:cxn>
                    <a:cxn ang="0">
                      <a:pos x="connsiteX3" y="connsiteY3"/>
                    </a:cxn>
                  </a:cxnLst>
                  <a:rect l="l" t="t" r="r" b="b"/>
                  <a:pathLst>
                    <a:path w="21797" h="47331">
                      <a:moveTo>
                        <a:pt x="0" y="47332"/>
                      </a:moveTo>
                      <a:cubicBezTo>
                        <a:pt x="5605" y="40979"/>
                        <a:pt x="8096" y="35125"/>
                        <a:pt x="9466" y="31015"/>
                      </a:cubicBezTo>
                      <a:cubicBezTo>
                        <a:pt x="11584" y="24289"/>
                        <a:pt x="10836" y="20677"/>
                        <a:pt x="13203" y="14075"/>
                      </a:cubicBezTo>
                      <a:cubicBezTo>
                        <a:pt x="15570" y="7598"/>
                        <a:pt x="19182" y="2865"/>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3" name="Freeform 8737">
                  <a:extLst>
                    <a:ext uri="{FF2B5EF4-FFF2-40B4-BE49-F238E27FC236}">
                      <a16:creationId xmlns:a16="http://schemas.microsoft.com/office/drawing/2014/main" id="{79F248E8-128B-F239-8614-25956C61C653}"/>
                    </a:ext>
                  </a:extLst>
                </p:cNvPr>
                <p:cNvSpPr/>
                <p:nvPr/>
              </p:nvSpPr>
              <p:spPr>
                <a:xfrm>
                  <a:off x="2350403" y="1282769"/>
                  <a:ext cx="20427" cy="47954"/>
                </a:xfrm>
                <a:custGeom>
                  <a:avLst/>
                  <a:gdLst>
                    <a:gd name="connsiteX0" fmla="*/ 20427 w 20427"/>
                    <a:gd name="connsiteY0" fmla="*/ 0 h 47954"/>
                    <a:gd name="connsiteX1" fmla="*/ 14698 w 20427"/>
                    <a:gd name="connsiteY1" fmla="*/ 17936 h 47954"/>
                    <a:gd name="connsiteX2" fmla="*/ 4609 w 20427"/>
                    <a:gd name="connsiteY2" fmla="*/ 32136 h 47954"/>
                    <a:gd name="connsiteX3" fmla="*/ 0 w 20427"/>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427" h="47954">
                      <a:moveTo>
                        <a:pt x="20427" y="0"/>
                      </a:moveTo>
                      <a:cubicBezTo>
                        <a:pt x="19431" y="8345"/>
                        <a:pt x="16815" y="14075"/>
                        <a:pt x="14698" y="17936"/>
                      </a:cubicBezTo>
                      <a:cubicBezTo>
                        <a:pt x="11210" y="24040"/>
                        <a:pt x="7972" y="25908"/>
                        <a:pt x="4609" y="32136"/>
                      </a:cubicBezTo>
                      <a:cubicBezTo>
                        <a:pt x="1370" y="38239"/>
                        <a:pt x="374" y="43969"/>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4" name="Freeform 8738">
                  <a:extLst>
                    <a:ext uri="{FF2B5EF4-FFF2-40B4-BE49-F238E27FC236}">
                      <a16:creationId xmlns:a16="http://schemas.microsoft.com/office/drawing/2014/main" id="{12007F0E-2CFB-7E2D-7C2B-2DFE6FC03378}"/>
                    </a:ext>
                  </a:extLst>
                </p:cNvPr>
                <p:cNvSpPr/>
                <p:nvPr/>
              </p:nvSpPr>
              <p:spPr>
                <a:xfrm>
                  <a:off x="2339178" y="1320721"/>
                  <a:ext cx="26862" cy="26481"/>
                </a:xfrm>
                <a:custGeom>
                  <a:avLst/>
                  <a:gdLst>
                    <a:gd name="connsiteX0" fmla="*/ 1136 w 26862"/>
                    <a:gd name="connsiteY0" fmla="*/ 7885 h 26481"/>
                    <a:gd name="connsiteX1" fmla="*/ 18823 w 26862"/>
                    <a:gd name="connsiteY1" fmla="*/ 1159 h 26481"/>
                    <a:gd name="connsiteX2" fmla="*/ 25798 w 26862"/>
                    <a:gd name="connsiteY2" fmla="*/ 18597 h 26481"/>
                    <a:gd name="connsiteX3" fmla="*/ 8111 w 26862"/>
                    <a:gd name="connsiteY3" fmla="*/ 25323 h 26481"/>
                    <a:gd name="connsiteX4" fmla="*/ 1136 w 26862"/>
                    <a:gd name="connsiteY4" fmla="*/ 7885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81">
                      <a:moveTo>
                        <a:pt x="1136" y="7885"/>
                      </a:moveTo>
                      <a:cubicBezTo>
                        <a:pt x="4125" y="1159"/>
                        <a:pt x="12097" y="-1831"/>
                        <a:pt x="18823" y="1159"/>
                      </a:cubicBezTo>
                      <a:cubicBezTo>
                        <a:pt x="25549" y="4148"/>
                        <a:pt x="28663" y="11871"/>
                        <a:pt x="25798" y="18597"/>
                      </a:cubicBezTo>
                      <a:cubicBezTo>
                        <a:pt x="22933" y="25323"/>
                        <a:pt x="14962" y="28312"/>
                        <a:pt x="8111" y="25323"/>
                      </a:cubicBezTo>
                      <a:cubicBezTo>
                        <a:pt x="1260" y="22334"/>
                        <a:pt x="-1854" y="14486"/>
                        <a:pt x="1136" y="788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5" name="Freeform 8739">
                  <a:extLst>
                    <a:ext uri="{FF2B5EF4-FFF2-40B4-BE49-F238E27FC236}">
                      <a16:creationId xmlns:a16="http://schemas.microsoft.com/office/drawing/2014/main" id="{121FEECB-55D2-54F7-96FA-A50B86A2840D}"/>
                    </a:ext>
                  </a:extLst>
                </p:cNvPr>
                <p:cNvSpPr/>
                <p:nvPr/>
              </p:nvSpPr>
              <p:spPr>
                <a:xfrm>
                  <a:off x="2374193" y="1227092"/>
                  <a:ext cx="21922" cy="47331"/>
                </a:xfrm>
                <a:custGeom>
                  <a:avLst/>
                  <a:gdLst>
                    <a:gd name="connsiteX0" fmla="*/ 21922 w 21922"/>
                    <a:gd name="connsiteY0" fmla="*/ 0 h 47331"/>
                    <a:gd name="connsiteX1" fmla="*/ 12456 w 21922"/>
                    <a:gd name="connsiteY1" fmla="*/ 16317 h 47331"/>
                    <a:gd name="connsiteX2" fmla="*/ 8595 w 21922"/>
                    <a:gd name="connsiteY2" fmla="*/ 33257 h 47331"/>
                    <a:gd name="connsiteX3" fmla="*/ 0 w 21922"/>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1922" h="47331">
                      <a:moveTo>
                        <a:pt x="21922" y="0"/>
                      </a:moveTo>
                      <a:cubicBezTo>
                        <a:pt x="16442" y="6352"/>
                        <a:pt x="13826" y="12207"/>
                        <a:pt x="12456" y="16317"/>
                      </a:cubicBezTo>
                      <a:cubicBezTo>
                        <a:pt x="10338" y="23043"/>
                        <a:pt x="11086" y="26655"/>
                        <a:pt x="8595" y="33257"/>
                      </a:cubicBezTo>
                      <a:cubicBezTo>
                        <a:pt x="6228" y="39734"/>
                        <a:pt x="2616" y="44467"/>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6" name="Freeform 8740">
                  <a:extLst>
                    <a:ext uri="{FF2B5EF4-FFF2-40B4-BE49-F238E27FC236}">
                      <a16:creationId xmlns:a16="http://schemas.microsoft.com/office/drawing/2014/main" id="{89AD784D-28C5-4889-B40B-2079D0897418}"/>
                    </a:ext>
                  </a:extLst>
                </p:cNvPr>
                <p:cNvSpPr/>
                <p:nvPr/>
              </p:nvSpPr>
              <p:spPr>
                <a:xfrm>
                  <a:off x="2384033" y="1225099"/>
                  <a:ext cx="20427" cy="48079"/>
                </a:xfrm>
                <a:custGeom>
                  <a:avLst/>
                  <a:gdLst>
                    <a:gd name="connsiteX0" fmla="*/ 0 w 20427"/>
                    <a:gd name="connsiteY0" fmla="*/ 48079 h 48079"/>
                    <a:gd name="connsiteX1" fmla="*/ 5730 w 20427"/>
                    <a:gd name="connsiteY1" fmla="*/ 30143 h 48079"/>
                    <a:gd name="connsiteX2" fmla="*/ 15819 w 20427"/>
                    <a:gd name="connsiteY2" fmla="*/ 15819 h 48079"/>
                    <a:gd name="connsiteX3" fmla="*/ 20427 w 20427"/>
                    <a:gd name="connsiteY3" fmla="*/ 0 h 48079"/>
                  </a:gdLst>
                  <a:ahLst/>
                  <a:cxnLst>
                    <a:cxn ang="0">
                      <a:pos x="connsiteX0" y="connsiteY0"/>
                    </a:cxn>
                    <a:cxn ang="0">
                      <a:pos x="connsiteX1" y="connsiteY1"/>
                    </a:cxn>
                    <a:cxn ang="0">
                      <a:pos x="connsiteX2" y="connsiteY2"/>
                    </a:cxn>
                    <a:cxn ang="0">
                      <a:pos x="connsiteX3" y="connsiteY3"/>
                    </a:cxn>
                  </a:cxnLst>
                  <a:rect l="l" t="t" r="r" b="b"/>
                  <a:pathLst>
                    <a:path w="20427" h="48079">
                      <a:moveTo>
                        <a:pt x="0" y="48079"/>
                      </a:moveTo>
                      <a:cubicBezTo>
                        <a:pt x="996" y="39734"/>
                        <a:pt x="3612" y="34004"/>
                        <a:pt x="5730" y="30143"/>
                      </a:cubicBezTo>
                      <a:cubicBezTo>
                        <a:pt x="9217" y="24040"/>
                        <a:pt x="12456" y="22171"/>
                        <a:pt x="15819" y="15819"/>
                      </a:cubicBezTo>
                      <a:cubicBezTo>
                        <a:pt x="19057" y="9715"/>
                        <a:pt x="20054" y="3861"/>
                        <a:pt x="20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7" name="Freeform 8741">
                  <a:extLst>
                    <a:ext uri="{FF2B5EF4-FFF2-40B4-BE49-F238E27FC236}">
                      <a16:creationId xmlns:a16="http://schemas.microsoft.com/office/drawing/2014/main" id="{88926360-34D1-C66B-6A53-28D746B9DEB0}"/>
                    </a:ext>
                  </a:extLst>
                </p:cNvPr>
                <p:cNvSpPr/>
                <p:nvPr/>
              </p:nvSpPr>
              <p:spPr>
                <a:xfrm>
                  <a:off x="2389081" y="1208818"/>
                  <a:ext cx="26381" cy="26386"/>
                </a:xfrm>
                <a:custGeom>
                  <a:avLst/>
                  <a:gdLst>
                    <a:gd name="connsiteX0" fmla="*/ 25220 w 26381"/>
                    <a:gd name="connsiteY0" fmla="*/ 18398 h 26386"/>
                    <a:gd name="connsiteX1" fmla="*/ 7782 w 26381"/>
                    <a:gd name="connsiteY1" fmla="*/ 25249 h 26386"/>
                    <a:gd name="connsiteX2" fmla="*/ 1180 w 26381"/>
                    <a:gd name="connsiteY2" fmla="*/ 7935 h 26386"/>
                    <a:gd name="connsiteX3" fmla="*/ 18619 w 26381"/>
                    <a:gd name="connsiteY3" fmla="*/ 1085 h 26386"/>
                    <a:gd name="connsiteX4" fmla="*/ 25220 w 26381"/>
                    <a:gd name="connsiteY4" fmla="*/ 18398 h 2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386">
                      <a:moveTo>
                        <a:pt x="25220" y="18398"/>
                      </a:moveTo>
                      <a:cubicBezTo>
                        <a:pt x="22231" y="25124"/>
                        <a:pt x="14508" y="28238"/>
                        <a:pt x="7782" y="25249"/>
                      </a:cubicBezTo>
                      <a:cubicBezTo>
                        <a:pt x="1056" y="22384"/>
                        <a:pt x="-1809" y="14662"/>
                        <a:pt x="1180" y="7935"/>
                      </a:cubicBezTo>
                      <a:cubicBezTo>
                        <a:pt x="4170" y="1209"/>
                        <a:pt x="12017" y="-1780"/>
                        <a:pt x="18619" y="1085"/>
                      </a:cubicBezTo>
                      <a:cubicBezTo>
                        <a:pt x="25220" y="3950"/>
                        <a:pt x="28210" y="11672"/>
                        <a:pt x="25220" y="183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6" name="Graphic 2987">
                <a:extLst>
                  <a:ext uri="{FF2B5EF4-FFF2-40B4-BE49-F238E27FC236}">
                    <a16:creationId xmlns:a16="http://schemas.microsoft.com/office/drawing/2014/main" id="{A7000FFE-F775-93A9-C30C-190EE40BDE6D}"/>
                  </a:ext>
                </a:extLst>
              </p:cNvPr>
              <p:cNvGrpSpPr/>
              <p:nvPr/>
            </p:nvGrpSpPr>
            <p:grpSpPr>
              <a:xfrm>
                <a:off x="2311576" y="1197252"/>
                <a:ext cx="77000" cy="137993"/>
                <a:chOff x="2311576" y="1197252"/>
                <a:chExt cx="77000" cy="137993"/>
              </a:xfrm>
              <a:grpFill/>
            </p:grpSpPr>
            <p:sp>
              <p:nvSpPr>
                <p:cNvPr id="5556" name="Freeform 8743">
                  <a:extLst>
                    <a:ext uri="{FF2B5EF4-FFF2-40B4-BE49-F238E27FC236}">
                      <a16:creationId xmlns:a16="http://schemas.microsoft.com/office/drawing/2014/main" id="{E3B30336-22F2-CDBE-2200-1901A06072AE}"/>
                    </a:ext>
                  </a:extLst>
                </p:cNvPr>
                <p:cNvSpPr/>
                <p:nvPr/>
              </p:nvSpPr>
              <p:spPr>
                <a:xfrm>
                  <a:off x="2331346" y="1269690"/>
                  <a:ext cx="22046" cy="47331"/>
                </a:xfrm>
                <a:custGeom>
                  <a:avLst/>
                  <a:gdLst>
                    <a:gd name="connsiteX0" fmla="*/ 0 w 22046"/>
                    <a:gd name="connsiteY0" fmla="*/ 47332 h 47331"/>
                    <a:gd name="connsiteX1" fmla="*/ 9466 w 22046"/>
                    <a:gd name="connsiteY1" fmla="*/ 31015 h 47331"/>
                    <a:gd name="connsiteX2" fmla="*/ 13328 w 22046"/>
                    <a:gd name="connsiteY2" fmla="*/ 14075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5605" y="40979"/>
                        <a:pt x="8221" y="35250"/>
                        <a:pt x="9466" y="31015"/>
                      </a:cubicBezTo>
                      <a:cubicBezTo>
                        <a:pt x="11584" y="24413"/>
                        <a:pt x="10836" y="20677"/>
                        <a:pt x="13328" y="14075"/>
                      </a:cubicBezTo>
                      <a:cubicBezTo>
                        <a:pt x="15694" y="7598"/>
                        <a:pt x="19306" y="2989"/>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7" name="Freeform 8744">
                  <a:extLst>
                    <a:ext uri="{FF2B5EF4-FFF2-40B4-BE49-F238E27FC236}">
                      <a16:creationId xmlns:a16="http://schemas.microsoft.com/office/drawing/2014/main" id="{22351DBE-B35C-FFE5-756A-0A0BB6F4F92D}"/>
                    </a:ext>
                  </a:extLst>
                </p:cNvPr>
                <p:cNvSpPr/>
                <p:nvPr/>
              </p:nvSpPr>
              <p:spPr>
                <a:xfrm>
                  <a:off x="2322751" y="1270936"/>
                  <a:ext cx="20801" cy="47830"/>
                </a:xfrm>
                <a:custGeom>
                  <a:avLst/>
                  <a:gdLst>
                    <a:gd name="connsiteX0" fmla="*/ 20801 w 20801"/>
                    <a:gd name="connsiteY0" fmla="*/ 0 h 47830"/>
                    <a:gd name="connsiteX1" fmla="*/ 14947 w 20801"/>
                    <a:gd name="connsiteY1" fmla="*/ 17812 h 47830"/>
                    <a:gd name="connsiteX2" fmla="*/ 4733 w 20801"/>
                    <a:gd name="connsiteY2" fmla="*/ 32011 h 47830"/>
                    <a:gd name="connsiteX3" fmla="*/ 0 w 20801"/>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801" h="47830">
                      <a:moveTo>
                        <a:pt x="20801" y="0"/>
                      </a:moveTo>
                      <a:cubicBezTo>
                        <a:pt x="19805" y="8345"/>
                        <a:pt x="17189" y="14075"/>
                        <a:pt x="14947" y="17812"/>
                      </a:cubicBezTo>
                      <a:cubicBezTo>
                        <a:pt x="11335" y="23791"/>
                        <a:pt x="8096" y="25783"/>
                        <a:pt x="4733" y="32011"/>
                      </a:cubicBezTo>
                      <a:cubicBezTo>
                        <a:pt x="1495" y="38115"/>
                        <a:pt x="374" y="43844"/>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8" name="Freeform 8745">
                  <a:extLst>
                    <a:ext uri="{FF2B5EF4-FFF2-40B4-BE49-F238E27FC236}">
                      <a16:creationId xmlns:a16="http://schemas.microsoft.com/office/drawing/2014/main" id="{4BB8F660-0E8B-24FA-47AD-A5F84FEAE981}"/>
                    </a:ext>
                  </a:extLst>
                </p:cNvPr>
                <p:cNvSpPr/>
                <p:nvPr/>
              </p:nvSpPr>
              <p:spPr>
                <a:xfrm>
                  <a:off x="2311576" y="1308783"/>
                  <a:ext cx="27010" cy="26462"/>
                </a:xfrm>
                <a:custGeom>
                  <a:avLst/>
                  <a:gdLst>
                    <a:gd name="connsiteX0" fmla="*/ 1210 w 27010"/>
                    <a:gd name="connsiteY0" fmla="*/ 7866 h 26462"/>
                    <a:gd name="connsiteX1" fmla="*/ 19022 w 27010"/>
                    <a:gd name="connsiteY1" fmla="*/ 1140 h 26462"/>
                    <a:gd name="connsiteX2" fmla="*/ 25872 w 27010"/>
                    <a:gd name="connsiteY2" fmla="*/ 18578 h 26462"/>
                    <a:gd name="connsiteX3" fmla="*/ 8061 w 27010"/>
                    <a:gd name="connsiteY3" fmla="*/ 25304 h 26462"/>
                    <a:gd name="connsiteX4" fmla="*/ 1210 w 27010"/>
                    <a:gd name="connsiteY4" fmla="*/ 7866 h 26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0" h="26462">
                      <a:moveTo>
                        <a:pt x="1210" y="7866"/>
                      </a:moveTo>
                      <a:cubicBezTo>
                        <a:pt x="4199" y="1265"/>
                        <a:pt x="12171" y="-1849"/>
                        <a:pt x="19022" y="1140"/>
                      </a:cubicBezTo>
                      <a:cubicBezTo>
                        <a:pt x="25748" y="4129"/>
                        <a:pt x="28862" y="11852"/>
                        <a:pt x="25872" y="18578"/>
                      </a:cubicBezTo>
                      <a:cubicBezTo>
                        <a:pt x="22883" y="25304"/>
                        <a:pt x="14911" y="28294"/>
                        <a:pt x="8061" y="25304"/>
                      </a:cubicBezTo>
                      <a:cubicBezTo>
                        <a:pt x="1210" y="22315"/>
                        <a:pt x="-1904" y="14468"/>
                        <a:pt x="1210" y="786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9" name="Freeform 8746">
                  <a:extLst>
                    <a:ext uri="{FF2B5EF4-FFF2-40B4-BE49-F238E27FC236}">
                      <a16:creationId xmlns:a16="http://schemas.microsoft.com/office/drawing/2014/main" id="{BC424350-D16B-F021-A9D3-56D346B79C25}"/>
                    </a:ext>
                  </a:extLst>
                </p:cNvPr>
                <p:cNvSpPr/>
                <p:nvPr/>
              </p:nvSpPr>
              <p:spPr>
                <a:xfrm>
                  <a:off x="2347164" y="1215383"/>
                  <a:ext cx="22046" cy="47331"/>
                </a:xfrm>
                <a:custGeom>
                  <a:avLst/>
                  <a:gdLst>
                    <a:gd name="connsiteX0" fmla="*/ 22047 w 22046"/>
                    <a:gd name="connsiteY0" fmla="*/ 0 h 47331"/>
                    <a:gd name="connsiteX1" fmla="*/ 12580 w 22046"/>
                    <a:gd name="connsiteY1" fmla="*/ 16317 h 47331"/>
                    <a:gd name="connsiteX2" fmla="*/ 8719 w 22046"/>
                    <a:gd name="connsiteY2" fmla="*/ 33257 h 47331"/>
                    <a:gd name="connsiteX3" fmla="*/ 0 w 22046"/>
                    <a:gd name="connsiteY3" fmla="*/ 47332 h 47331"/>
                  </a:gdLst>
                  <a:ahLst/>
                  <a:cxnLst>
                    <a:cxn ang="0">
                      <a:pos x="connsiteX0" y="connsiteY0"/>
                    </a:cxn>
                    <a:cxn ang="0">
                      <a:pos x="connsiteX1" y="connsiteY1"/>
                    </a:cxn>
                    <a:cxn ang="0">
                      <a:pos x="connsiteX2" y="connsiteY2"/>
                    </a:cxn>
                    <a:cxn ang="0">
                      <a:pos x="connsiteX3" y="connsiteY3"/>
                    </a:cxn>
                  </a:cxnLst>
                  <a:rect l="l" t="t" r="r" b="b"/>
                  <a:pathLst>
                    <a:path w="22046" h="47331">
                      <a:moveTo>
                        <a:pt x="22047" y="0"/>
                      </a:moveTo>
                      <a:cubicBezTo>
                        <a:pt x="16442" y="6352"/>
                        <a:pt x="13826" y="12082"/>
                        <a:pt x="12580" y="16317"/>
                      </a:cubicBezTo>
                      <a:cubicBezTo>
                        <a:pt x="10463" y="22919"/>
                        <a:pt x="11086" y="26531"/>
                        <a:pt x="8719" y="33257"/>
                      </a:cubicBezTo>
                      <a:cubicBezTo>
                        <a:pt x="6352" y="39734"/>
                        <a:pt x="2740" y="44343"/>
                        <a:pt x="0" y="4733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0" name="Freeform 8747">
                  <a:extLst>
                    <a:ext uri="{FF2B5EF4-FFF2-40B4-BE49-F238E27FC236}">
                      <a16:creationId xmlns:a16="http://schemas.microsoft.com/office/drawing/2014/main" id="{AAA727F8-C05E-C17C-B988-2E2B2FE10913}"/>
                    </a:ext>
                  </a:extLst>
                </p:cNvPr>
                <p:cNvSpPr/>
                <p:nvPr/>
              </p:nvSpPr>
              <p:spPr>
                <a:xfrm>
                  <a:off x="2356880" y="1213639"/>
                  <a:ext cx="20676" cy="47830"/>
                </a:xfrm>
                <a:custGeom>
                  <a:avLst/>
                  <a:gdLst>
                    <a:gd name="connsiteX0" fmla="*/ 0 w 20676"/>
                    <a:gd name="connsiteY0" fmla="*/ 47830 h 47830"/>
                    <a:gd name="connsiteX1" fmla="*/ 5854 w 20676"/>
                    <a:gd name="connsiteY1" fmla="*/ 30018 h 47830"/>
                    <a:gd name="connsiteX2" fmla="*/ 15943 w 20676"/>
                    <a:gd name="connsiteY2" fmla="*/ 15819 h 47830"/>
                    <a:gd name="connsiteX3" fmla="*/ 20677 w 20676"/>
                    <a:gd name="connsiteY3" fmla="*/ 0 h 47830"/>
                  </a:gdLst>
                  <a:ahLst/>
                  <a:cxnLst>
                    <a:cxn ang="0">
                      <a:pos x="connsiteX0" y="connsiteY0"/>
                    </a:cxn>
                    <a:cxn ang="0">
                      <a:pos x="connsiteX1" y="connsiteY1"/>
                    </a:cxn>
                    <a:cxn ang="0">
                      <a:pos x="connsiteX2" y="connsiteY2"/>
                    </a:cxn>
                    <a:cxn ang="0">
                      <a:pos x="connsiteX3" y="connsiteY3"/>
                    </a:cxn>
                  </a:cxnLst>
                  <a:rect l="l" t="t" r="r" b="b"/>
                  <a:pathLst>
                    <a:path w="20676" h="47830">
                      <a:moveTo>
                        <a:pt x="0" y="47830"/>
                      </a:moveTo>
                      <a:cubicBezTo>
                        <a:pt x="996" y="39485"/>
                        <a:pt x="3612" y="33755"/>
                        <a:pt x="5854" y="30018"/>
                      </a:cubicBezTo>
                      <a:cubicBezTo>
                        <a:pt x="9466" y="24040"/>
                        <a:pt x="12580" y="22047"/>
                        <a:pt x="15943" y="15819"/>
                      </a:cubicBezTo>
                      <a:cubicBezTo>
                        <a:pt x="19182" y="9715"/>
                        <a:pt x="20303" y="3986"/>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61" name="Freeform 8748">
                  <a:extLst>
                    <a:ext uri="{FF2B5EF4-FFF2-40B4-BE49-F238E27FC236}">
                      <a16:creationId xmlns:a16="http://schemas.microsoft.com/office/drawing/2014/main" id="{0260B1DE-5BB7-95E4-478C-0B7B81A32E97}"/>
                    </a:ext>
                  </a:extLst>
                </p:cNvPr>
                <p:cNvSpPr/>
                <p:nvPr/>
              </p:nvSpPr>
              <p:spPr>
                <a:xfrm>
                  <a:off x="2362176" y="1197252"/>
                  <a:ext cx="26400" cy="26315"/>
                </a:xfrm>
                <a:custGeom>
                  <a:avLst/>
                  <a:gdLst>
                    <a:gd name="connsiteX0" fmla="*/ 25220 w 26400"/>
                    <a:gd name="connsiteY0" fmla="*/ 18380 h 26315"/>
                    <a:gd name="connsiteX1" fmla="*/ 7782 w 26400"/>
                    <a:gd name="connsiteY1" fmla="*/ 25231 h 26315"/>
                    <a:gd name="connsiteX2" fmla="*/ 1180 w 26400"/>
                    <a:gd name="connsiteY2" fmla="*/ 7917 h 26315"/>
                    <a:gd name="connsiteX3" fmla="*/ 18618 w 26400"/>
                    <a:gd name="connsiteY3" fmla="*/ 1067 h 26315"/>
                    <a:gd name="connsiteX4" fmla="*/ 25220 w 26400"/>
                    <a:gd name="connsiteY4" fmla="*/ 18380 h 26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0" h="26315">
                      <a:moveTo>
                        <a:pt x="25220" y="18380"/>
                      </a:moveTo>
                      <a:cubicBezTo>
                        <a:pt x="22231" y="25106"/>
                        <a:pt x="14384" y="28096"/>
                        <a:pt x="7782" y="25231"/>
                      </a:cubicBezTo>
                      <a:cubicBezTo>
                        <a:pt x="1056" y="22366"/>
                        <a:pt x="-1809" y="14643"/>
                        <a:pt x="1180" y="7917"/>
                      </a:cubicBezTo>
                      <a:cubicBezTo>
                        <a:pt x="4170" y="1316"/>
                        <a:pt x="12017" y="-1798"/>
                        <a:pt x="18618" y="1067"/>
                      </a:cubicBezTo>
                      <a:cubicBezTo>
                        <a:pt x="25344" y="3931"/>
                        <a:pt x="28209" y="11654"/>
                        <a:pt x="25220" y="183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7" name="Graphic 2987">
                <a:extLst>
                  <a:ext uri="{FF2B5EF4-FFF2-40B4-BE49-F238E27FC236}">
                    <a16:creationId xmlns:a16="http://schemas.microsoft.com/office/drawing/2014/main" id="{11EFA4B0-5280-3D94-18DA-CDF9FACF523B}"/>
                  </a:ext>
                </a:extLst>
              </p:cNvPr>
              <p:cNvGrpSpPr/>
              <p:nvPr/>
            </p:nvGrpSpPr>
            <p:grpSpPr>
              <a:xfrm>
                <a:off x="2284274" y="1185206"/>
                <a:ext cx="77505" cy="137888"/>
                <a:chOff x="2284274" y="1185206"/>
                <a:chExt cx="77505" cy="137888"/>
              </a:xfrm>
              <a:grpFill/>
            </p:grpSpPr>
            <p:sp>
              <p:nvSpPr>
                <p:cNvPr id="5550" name="Freeform 8750">
                  <a:extLst>
                    <a:ext uri="{FF2B5EF4-FFF2-40B4-BE49-F238E27FC236}">
                      <a16:creationId xmlns:a16="http://schemas.microsoft.com/office/drawing/2014/main" id="{AFD48F5E-33B3-3028-B72D-3829A1CBB192}"/>
                    </a:ext>
                  </a:extLst>
                </p:cNvPr>
                <p:cNvSpPr/>
                <p:nvPr/>
              </p:nvSpPr>
              <p:spPr>
                <a:xfrm>
                  <a:off x="2303818" y="1257857"/>
                  <a:ext cx="22420" cy="47207"/>
                </a:xfrm>
                <a:custGeom>
                  <a:avLst/>
                  <a:gdLst>
                    <a:gd name="connsiteX0" fmla="*/ 0 w 22420"/>
                    <a:gd name="connsiteY0" fmla="*/ 47207 h 47207"/>
                    <a:gd name="connsiteX1" fmla="*/ 9591 w 22420"/>
                    <a:gd name="connsiteY1" fmla="*/ 31015 h 47207"/>
                    <a:gd name="connsiteX2" fmla="*/ 13577 w 22420"/>
                    <a:gd name="connsiteY2" fmla="*/ 14075 h 47207"/>
                    <a:gd name="connsiteX3" fmla="*/ 22420 w 22420"/>
                    <a:gd name="connsiteY3" fmla="*/ 0 h 47207"/>
                  </a:gdLst>
                  <a:ahLst/>
                  <a:cxnLst>
                    <a:cxn ang="0">
                      <a:pos x="connsiteX0" y="connsiteY0"/>
                    </a:cxn>
                    <a:cxn ang="0">
                      <a:pos x="connsiteX1" y="connsiteY1"/>
                    </a:cxn>
                    <a:cxn ang="0">
                      <a:pos x="connsiteX2" y="connsiteY2"/>
                    </a:cxn>
                    <a:cxn ang="0">
                      <a:pos x="connsiteX3" y="connsiteY3"/>
                    </a:cxn>
                  </a:cxnLst>
                  <a:rect l="l" t="t" r="r" b="b"/>
                  <a:pathLst>
                    <a:path w="22420" h="47207">
                      <a:moveTo>
                        <a:pt x="0" y="47207"/>
                      </a:moveTo>
                      <a:cubicBezTo>
                        <a:pt x="5605" y="40855"/>
                        <a:pt x="8221" y="35125"/>
                        <a:pt x="9591" y="31015"/>
                      </a:cubicBezTo>
                      <a:cubicBezTo>
                        <a:pt x="11708" y="24413"/>
                        <a:pt x="11086" y="20801"/>
                        <a:pt x="13577" y="14075"/>
                      </a:cubicBezTo>
                      <a:cubicBezTo>
                        <a:pt x="15943" y="7598"/>
                        <a:pt x="19680" y="2989"/>
                        <a:pt x="224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1" name="Freeform 8751">
                  <a:extLst>
                    <a:ext uri="{FF2B5EF4-FFF2-40B4-BE49-F238E27FC236}">
                      <a16:creationId xmlns:a16="http://schemas.microsoft.com/office/drawing/2014/main" id="{16EC9000-D5A0-B2FC-0837-17EDE9F69528}"/>
                    </a:ext>
                  </a:extLst>
                </p:cNvPr>
                <p:cNvSpPr/>
                <p:nvPr/>
              </p:nvSpPr>
              <p:spPr>
                <a:xfrm>
                  <a:off x="2295348" y="1258854"/>
                  <a:ext cx="21050" cy="47705"/>
                </a:xfrm>
                <a:custGeom>
                  <a:avLst/>
                  <a:gdLst>
                    <a:gd name="connsiteX0" fmla="*/ 21050 w 21050"/>
                    <a:gd name="connsiteY0" fmla="*/ 0 h 47705"/>
                    <a:gd name="connsiteX1" fmla="*/ 15072 w 21050"/>
                    <a:gd name="connsiteY1" fmla="*/ 17812 h 47705"/>
                    <a:gd name="connsiteX2" fmla="*/ 4858 w 21050"/>
                    <a:gd name="connsiteY2" fmla="*/ 31887 h 47705"/>
                    <a:gd name="connsiteX3" fmla="*/ 0 w 21050"/>
                    <a:gd name="connsiteY3" fmla="*/ 47706 h 47705"/>
                  </a:gdLst>
                  <a:ahLst/>
                  <a:cxnLst>
                    <a:cxn ang="0">
                      <a:pos x="connsiteX0" y="connsiteY0"/>
                    </a:cxn>
                    <a:cxn ang="0">
                      <a:pos x="connsiteX1" y="connsiteY1"/>
                    </a:cxn>
                    <a:cxn ang="0">
                      <a:pos x="connsiteX2" y="connsiteY2"/>
                    </a:cxn>
                    <a:cxn ang="0">
                      <a:pos x="connsiteX3" y="connsiteY3"/>
                    </a:cxn>
                  </a:cxnLst>
                  <a:rect l="l" t="t" r="r" b="b"/>
                  <a:pathLst>
                    <a:path w="21050" h="47705">
                      <a:moveTo>
                        <a:pt x="21050" y="0"/>
                      </a:moveTo>
                      <a:cubicBezTo>
                        <a:pt x="19929" y="8345"/>
                        <a:pt x="17314" y="14200"/>
                        <a:pt x="15072" y="17812"/>
                      </a:cubicBezTo>
                      <a:cubicBezTo>
                        <a:pt x="11459" y="23791"/>
                        <a:pt x="8221" y="25659"/>
                        <a:pt x="4858" y="31887"/>
                      </a:cubicBezTo>
                      <a:cubicBezTo>
                        <a:pt x="1495" y="37990"/>
                        <a:pt x="374" y="43720"/>
                        <a:pt x="0" y="4770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2" name="Freeform 8752">
                  <a:extLst>
                    <a:ext uri="{FF2B5EF4-FFF2-40B4-BE49-F238E27FC236}">
                      <a16:creationId xmlns:a16="http://schemas.microsoft.com/office/drawing/2014/main" id="{D8832C7F-5171-204B-B57F-84A66734C157}"/>
                    </a:ext>
                  </a:extLst>
                </p:cNvPr>
                <p:cNvSpPr/>
                <p:nvPr/>
              </p:nvSpPr>
              <p:spPr>
                <a:xfrm>
                  <a:off x="2284274" y="1296504"/>
                  <a:ext cx="26859" cy="26590"/>
                </a:xfrm>
                <a:custGeom>
                  <a:avLst/>
                  <a:gdLst>
                    <a:gd name="connsiteX0" fmla="*/ 1234 w 26859"/>
                    <a:gd name="connsiteY0" fmla="*/ 7565 h 26590"/>
                    <a:gd name="connsiteX1" fmla="*/ 18921 w 26859"/>
                    <a:gd name="connsiteY1" fmla="*/ 1337 h 26590"/>
                    <a:gd name="connsiteX2" fmla="*/ 25647 w 26859"/>
                    <a:gd name="connsiteY2" fmla="*/ 18775 h 26590"/>
                    <a:gd name="connsiteX3" fmla="*/ 7836 w 26859"/>
                    <a:gd name="connsiteY3" fmla="*/ 25376 h 26590"/>
                    <a:gd name="connsiteX4" fmla="*/ 1234 w 26859"/>
                    <a:gd name="connsiteY4" fmla="*/ 75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590">
                      <a:moveTo>
                        <a:pt x="1234" y="7565"/>
                      </a:moveTo>
                      <a:cubicBezTo>
                        <a:pt x="4348" y="963"/>
                        <a:pt x="12195" y="-1902"/>
                        <a:pt x="18921" y="1337"/>
                      </a:cubicBezTo>
                      <a:cubicBezTo>
                        <a:pt x="25647" y="4451"/>
                        <a:pt x="28761" y="12049"/>
                        <a:pt x="25647" y="18775"/>
                      </a:cubicBezTo>
                      <a:cubicBezTo>
                        <a:pt x="22658" y="25376"/>
                        <a:pt x="14562" y="28490"/>
                        <a:pt x="7836" y="25376"/>
                      </a:cubicBezTo>
                      <a:cubicBezTo>
                        <a:pt x="1109" y="22262"/>
                        <a:pt x="-1880" y="14291"/>
                        <a:pt x="1234" y="75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3" name="Freeform 8753">
                  <a:extLst>
                    <a:ext uri="{FF2B5EF4-FFF2-40B4-BE49-F238E27FC236}">
                      <a16:creationId xmlns:a16="http://schemas.microsoft.com/office/drawing/2014/main" id="{1A190B4F-65AB-5D60-037B-FF891ACA1E2E}"/>
                    </a:ext>
                  </a:extLst>
                </p:cNvPr>
                <p:cNvSpPr/>
                <p:nvPr/>
              </p:nvSpPr>
              <p:spPr>
                <a:xfrm>
                  <a:off x="2320011" y="1203550"/>
                  <a:ext cx="22420" cy="47207"/>
                </a:xfrm>
                <a:custGeom>
                  <a:avLst/>
                  <a:gdLst>
                    <a:gd name="connsiteX0" fmla="*/ 22420 w 22420"/>
                    <a:gd name="connsiteY0" fmla="*/ 0 h 47207"/>
                    <a:gd name="connsiteX1" fmla="*/ 12829 w 22420"/>
                    <a:gd name="connsiteY1" fmla="*/ 16192 h 47207"/>
                    <a:gd name="connsiteX2" fmla="*/ 8719 w 22420"/>
                    <a:gd name="connsiteY2" fmla="*/ 33257 h 47207"/>
                    <a:gd name="connsiteX3" fmla="*/ 0 w 2242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420" h="47207">
                      <a:moveTo>
                        <a:pt x="22420" y="0"/>
                      </a:moveTo>
                      <a:cubicBezTo>
                        <a:pt x="16815" y="6228"/>
                        <a:pt x="14200" y="11958"/>
                        <a:pt x="12829" y="16192"/>
                      </a:cubicBezTo>
                      <a:cubicBezTo>
                        <a:pt x="10587" y="22794"/>
                        <a:pt x="11210" y="26531"/>
                        <a:pt x="8719" y="33257"/>
                      </a:cubicBezTo>
                      <a:cubicBezTo>
                        <a:pt x="6228" y="39734"/>
                        <a:pt x="2616" y="44343"/>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4" name="Freeform 8754">
                  <a:extLst>
                    <a:ext uri="{FF2B5EF4-FFF2-40B4-BE49-F238E27FC236}">
                      <a16:creationId xmlns:a16="http://schemas.microsoft.com/office/drawing/2014/main" id="{B1D70C7A-EABD-9405-6C42-CBCB48F31D64}"/>
                    </a:ext>
                  </a:extLst>
                </p:cNvPr>
                <p:cNvSpPr/>
                <p:nvPr/>
              </p:nvSpPr>
              <p:spPr>
                <a:xfrm>
                  <a:off x="2329726" y="1201931"/>
                  <a:ext cx="21050" cy="47705"/>
                </a:xfrm>
                <a:custGeom>
                  <a:avLst/>
                  <a:gdLst>
                    <a:gd name="connsiteX0" fmla="*/ 0 w 21050"/>
                    <a:gd name="connsiteY0" fmla="*/ 47706 h 47705"/>
                    <a:gd name="connsiteX1" fmla="*/ 5979 w 21050"/>
                    <a:gd name="connsiteY1" fmla="*/ 29894 h 47705"/>
                    <a:gd name="connsiteX2" fmla="*/ 16193 w 21050"/>
                    <a:gd name="connsiteY2" fmla="*/ 15694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1121" y="39360"/>
                        <a:pt x="3737" y="33631"/>
                        <a:pt x="5979" y="29894"/>
                      </a:cubicBezTo>
                      <a:cubicBezTo>
                        <a:pt x="9591" y="23915"/>
                        <a:pt x="12830" y="21922"/>
                        <a:pt x="16193" y="15694"/>
                      </a:cubicBezTo>
                      <a:cubicBezTo>
                        <a:pt x="19556" y="9591"/>
                        <a:pt x="20552" y="3861"/>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55" name="Freeform 8755">
                  <a:extLst>
                    <a:ext uri="{FF2B5EF4-FFF2-40B4-BE49-F238E27FC236}">
                      <a16:creationId xmlns:a16="http://schemas.microsoft.com/office/drawing/2014/main" id="{1C314A5F-A3D5-80DC-968F-07D466D89AE3}"/>
                    </a:ext>
                  </a:extLst>
                </p:cNvPr>
                <p:cNvSpPr/>
                <p:nvPr/>
              </p:nvSpPr>
              <p:spPr>
                <a:xfrm>
                  <a:off x="2335564" y="1185206"/>
                  <a:ext cx="26215" cy="26637"/>
                </a:xfrm>
                <a:custGeom>
                  <a:avLst/>
                  <a:gdLst>
                    <a:gd name="connsiteX0" fmla="*/ 25052 w 26215"/>
                    <a:gd name="connsiteY0" fmla="*/ 18718 h 26637"/>
                    <a:gd name="connsiteX1" fmla="*/ 7490 w 26215"/>
                    <a:gd name="connsiteY1" fmla="*/ 25444 h 26637"/>
                    <a:gd name="connsiteX2" fmla="*/ 1262 w 26215"/>
                    <a:gd name="connsiteY2" fmla="*/ 7632 h 26637"/>
                    <a:gd name="connsiteX3" fmla="*/ 18575 w 26215"/>
                    <a:gd name="connsiteY3" fmla="*/ 1280 h 26637"/>
                    <a:gd name="connsiteX4" fmla="*/ 25052 w 26215"/>
                    <a:gd name="connsiteY4" fmla="*/ 18718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5" h="26637">
                      <a:moveTo>
                        <a:pt x="25052" y="18718"/>
                      </a:moveTo>
                      <a:cubicBezTo>
                        <a:pt x="22063" y="25319"/>
                        <a:pt x="14091" y="28558"/>
                        <a:pt x="7490" y="25444"/>
                      </a:cubicBezTo>
                      <a:cubicBezTo>
                        <a:pt x="1013" y="22330"/>
                        <a:pt x="-1852" y="14358"/>
                        <a:pt x="1262" y="7632"/>
                      </a:cubicBezTo>
                      <a:cubicBezTo>
                        <a:pt x="4376" y="906"/>
                        <a:pt x="12098" y="-1834"/>
                        <a:pt x="18575" y="1280"/>
                      </a:cubicBezTo>
                      <a:cubicBezTo>
                        <a:pt x="25052" y="4394"/>
                        <a:pt x="28042" y="12116"/>
                        <a:pt x="25052" y="187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8" name="Graphic 2987">
                <a:extLst>
                  <a:ext uri="{FF2B5EF4-FFF2-40B4-BE49-F238E27FC236}">
                    <a16:creationId xmlns:a16="http://schemas.microsoft.com/office/drawing/2014/main" id="{693EF97A-3922-A9C5-9C5B-ECDC1A007E70}"/>
                  </a:ext>
                </a:extLst>
              </p:cNvPr>
              <p:cNvGrpSpPr/>
              <p:nvPr/>
            </p:nvGrpSpPr>
            <p:grpSpPr>
              <a:xfrm>
                <a:off x="2257118" y="1172646"/>
                <a:ext cx="78175" cy="137516"/>
                <a:chOff x="2257118" y="1172646"/>
                <a:chExt cx="78175" cy="137516"/>
              </a:xfrm>
              <a:grpFill/>
            </p:grpSpPr>
            <p:sp>
              <p:nvSpPr>
                <p:cNvPr id="5544" name="Freeform 8757">
                  <a:extLst>
                    <a:ext uri="{FF2B5EF4-FFF2-40B4-BE49-F238E27FC236}">
                      <a16:creationId xmlns:a16="http://schemas.microsoft.com/office/drawing/2014/main" id="{057F5113-D040-6EB1-BBA9-04B780AC6A3A}"/>
                    </a:ext>
                  </a:extLst>
                </p:cNvPr>
                <p:cNvSpPr/>
                <p:nvPr/>
              </p:nvSpPr>
              <p:spPr>
                <a:xfrm>
                  <a:off x="2276789" y="1245153"/>
                  <a:ext cx="22669" cy="46958"/>
                </a:xfrm>
                <a:custGeom>
                  <a:avLst/>
                  <a:gdLst>
                    <a:gd name="connsiteX0" fmla="*/ 0 w 22669"/>
                    <a:gd name="connsiteY0" fmla="*/ 46958 h 46958"/>
                    <a:gd name="connsiteX1" fmla="*/ 9716 w 22669"/>
                    <a:gd name="connsiteY1" fmla="*/ 30890 h 46958"/>
                    <a:gd name="connsiteX2" fmla="*/ 13826 w 22669"/>
                    <a:gd name="connsiteY2" fmla="*/ 1395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5605" y="40730"/>
                        <a:pt x="8346" y="35001"/>
                        <a:pt x="9716" y="30890"/>
                      </a:cubicBezTo>
                      <a:cubicBezTo>
                        <a:pt x="11958" y="24289"/>
                        <a:pt x="11335" y="20552"/>
                        <a:pt x="13826" y="13950"/>
                      </a:cubicBezTo>
                      <a:cubicBezTo>
                        <a:pt x="16317" y="7473"/>
                        <a:pt x="19929" y="2865"/>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5" name="Freeform 8758">
                  <a:extLst>
                    <a:ext uri="{FF2B5EF4-FFF2-40B4-BE49-F238E27FC236}">
                      <a16:creationId xmlns:a16="http://schemas.microsoft.com/office/drawing/2014/main" id="{DE20283A-9243-DD60-C77D-E828B35ABA29}"/>
                    </a:ext>
                  </a:extLst>
                </p:cNvPr>
                <p:cNvSpPr/>
                <p:nvPr/>
              </p:nvSpPr>
              <p:spPr>
                <a:xfrm>
                  <a:off x="2268319" y="1246024"/>
                  <a:ext cx="21423" cy="47581"/>
                </a:xfrm>
                <a:custGeom>
                  <a:avLst/>
                  <a:gdLst>
                    <a:gd name="connsiteX0" fmla="*/ 21424 w 21423"/>
                    <a:gd name="connsiteY0" fmla="*/ 0 h 47581"/>
                    <a:gd name="connsiteX1" fmla="*/ 15321 w 21423"/>
                    <a:gd name="connsiteY1" fmla="*/ 17812 h 47581"/>
                    <a:gd name="connsiteX2" fmla="*/ 4982 w 21423"/>
                    <a:gd name="connsiteY2" fmla="*/ 31762 h 47581"/>
                    <a:gd name="connsiteX3" fmla="*/ 0 w 21423"/>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3" h="47581">
                      <a:moveTo>
                        <a:pt x="21424" y="0"/>
                      </a:moveTo>
                      <a:cubicBezTo>
                        <a:pt x="20303" y="8345"/>
                        <a:pt x="17563" y="14075"/>
                        <a:pt x="15321" y="17812"/>
                      </a:cubicBezTo>
                      <a:cubicBezTo>
                        <a:pt x="11708" y="23791"/>
                        <a:pt x="8470" y="25534"/>
                        <a:pt x="4982" y="31762"/>
                      </a:cubicBezTo>
                      <a:cubicBezTo>
                        <a:pt x="1619" y="37741"/>
                        <a:pt x="498" y="43595"/>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6" name="Freeform 8759">
                  <a:extLst>
                    <a:ext uri="{FF2B5EF4-FFF2-40B4-BE49-F238E27FC236}">
                      <a16:creationId xmlns:a16="http://schemas.microsoft.com/office/drawing/2014/main" id="{86A2C024-3E75-6ADF-05B3-95F9CB375610}"/>
                    </a:ext>
                  </a:extLst>
                </p:cNvPr>
                <p:cNvSpPr/>
                <p:nvPr/>
              </p:nvSpPr>
              <p:spPr>
                <a:xfrm>
                  <a:off x="2257118" y="1283525"/>
                  <a:ext cx="26657" cy="26637"/>
                </a:xfrm>
                <a:custGeom>
                  <a:avLst/>
                  <a:gdLst>
                    <a:gd name="connsiteX0" fmla="*/ 1237 w 26657"/>
                    <a:gd name="connsiteY0" fmla="*/ 7464 h 26637"/>
                    <a:gd name="connsiteX1" fmla="*/ 18924 w 26657"/>
                    <a:gd name="connsiteY1" fmla="*/ 1361 h 26637"/>
                    <a:gd name="connsiteX2" fmla="*/ 25401 w 26657"/>
                    <a:gd name="connsiteY2" fmla="*/ 19173 h 26637"/>
                    <a:gd name="connsiteX3" fmla="*/ 7714 w 26657"/>
                    <a:gd name="connsiteY3" fmla="*/ 25276 h 26637"/>
                    <a:gd name="connsiteX4" fmla="*/ 1237 w 266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637">
                      <a:moveTo>
                        <a:pt x="1237" y="7464"/>
                      </a:moveTo>
                      <a:cubicBezTo>
                        <a:pt x="4350" y="863"/>
                        <a:pt x="12322" y="-1877"/>
                        <a:pt x="18924" y="1361"/>
                      </a:cubicBezTo>
                      <a:cubicBezTo>
                        <a:pt x="25650" y="4600"/>
                        <a:pt x="28515" y="12571"/>
                        <a:pt x="25401" y="19173"/>
                      </a:cubicBezTo>
                      <a:cubicBezTo>
                        <a:pt x="22287" y="25774"/>
                        <a:pt x="14440" y="28515"/>
                        <a:pt x="7714" y="25276"/>
                      </a:cubicBezTo>
                      <a:cubicBezTo>
                        <a:pt x="1112" y="22162"/>
                        <a:pt x="-1877" y="14066"/>
                        <a:pt x="123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7" name="Freeform 8760">
                  <a:extLst>
                    <a:ext uri="{FF2B5EF4-FFF2-40B4-BE49-F238E27FC236}">
                      <a16:creationId xmlns:a16="http://schemas.microsoft.com/office/drawing/2014/main" id="{B8A4559C-8B99-6508-F05A-9D655736E089}"/>
                    </a:ext>
                  </a:extLst>
                </p:cNvPr>
                <p:cNvSpPr/>
                <p:nvPr/>
              </p:nvSpPr>
              <p:spPr>
                <a:xfrm>
                  <a:off x="2293231" y="1190845"/>
                  <a:ext cx="22794" cy="46833"/>
                </a:xfrm>
                <a:custGeom>
                  <a:avLst/>
                  <a:gdLst>
                    <a:gd name="connsiteX0" fmla="*/ 22794 w 22794"/>
                    <a:gd name="connsiteY0" fmla="*/ 0 h 46833"/>
                    <a:gd name="connsiteX1" fmla="*/ 13079 w 22794"/>
                    <a:gd name="connsiteY1" fmla="*/ 16068 h 46833"/>
                    <a:gd name="connsiteX2" fmla="*/ 8844 w 22794"/>
                    <a:gd name="connsiteY2" fmla="*/ 33008 h 46833"/>
                    <a:gd name="connsiteX3" fmla="*/ 0 w 22794"/>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2794" h="46833">
                      <a:moveTo>
                        <a:pt x="22794" y="0"/>
                      </a:moveTo>
                      <a:cubicBezTo>
                        <a:pt x="17189" y="6228"/>
                        <a:pt x="14449" y="11958"/>
                        <a:pt x="13079" y="16068"/>
                      </a:cubicBezTo>
                      <a:cubicBezTo>
                        <a:pt x="10836" y="22669"/>
                        <a:pt x="11459" y="26406"/>
                        <a:pt x="8844" y="33008"/>
                      </a:cubicBezTo>
                      <a:cubicBezTo>
                        <a:pt x="6352" y="39485"/>
                        <a:pt x="2740" y="44093"/>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8" name="Freeform 8761">
                  <a:extLst>
                    <a:ext uri="{FF2B5EF4-FFF2-40B4-BE49-F238E27FC236}">
                      <a16:creationId xmlns:a16="http://schemas.microsoft.com/office/drawing/2014/main" id="{3131D579-4A93-3474-BB1F-5606B6F81050}"/>
                    </a:ext>
                  </a:extLst>
                </p:cNvPr>
                <p:cNvSpPr/>
                <p:nvPr/>
              </p:nvSpPr>
              <p:spPr>
                <a:xfrm>
                  <a:off x="2303071" y="1189226"/>
                  <a:ext cx="21299" cy="47581"/>
                </a:xfrm>
                <a:custGeom>
                  <a:avLst/>
                  <a:gdLst>
                    <a:gd name="connsiteX0" fmla="*/ 0 w 21299"/>
                    <a:gd name="connsiteY0" fmla="*/ 47581 h 47581"/>
                    <a:gd name="connsiteX1" fmla="*/ 6103 w 21299"/>
                    <a:gd name="connsiteY1" fmla="*/ 29769 h 47581"/>
                    <a:gd name="connsiteX2" fmla="*/ 16317 w 21299"/>
                    <a:gd name="connsiteY2" fmla="*/ 15819 h 47581"/>
                    <a:gd name="connsiteX3" fmla="*/ 21299 w 21299"/>
                    <a:gd name="connsiteY3" fmla="*/ 0 h 47581"/>
                  </a:gdLst>
                  <a:ahLst/>
                  <a:cxnLst>
                    <a:cxn ang="0">
                      <a:pos x="connsiteX0" y="connsiteY0"/>
                    </a:cxn>
                    <a:cxn ang="0">
                      <a:pos x="connsiteX1" y="connsiteY1"/>
                    </a:cxn>
                    <a:cxn ang="0">
                      <a:pos x="connsiteX2" y="connsiteY2"/>
                    </a:cxn>
                    <a:cxn ang="0">
                      <a:pos x="connsiteX3" y="connsiteY3"/>
                    </a:cxn>
                  </a:cxnLst>
                  <a:rect l="l" t="t" r="r" b="b"/>
                  <a:pathLst>
                    <a:path w="21299" h="47581">
                      <a:moveTo>
                        <a:pt x="0" y="47581"/>
                      </a:moveTo>
                      <a:cubicBezTo>
                        <a:pt x="1121" y="39236"/>
                        <a:pt x="3861" y="33506"/>
                        <a:pt x="6103" y="29769"/>
                      </a:cubicBezTo>
                      <a:cubicBezTo>
                        <a:pt x="9715" y="23791"/>
                        <a:pt x="12954" y="21922"/>
                        <a:pt x="16317" y="15819"/>
                      </a:cubicBezTo>
                      <a:cubicBezTo>
                        <a:pt x="19680" y="9840"/>
                        <a:pt x="20801" y="3986"/>
                        <a:pt x="212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9" name="Freeform 8762">
                  <a:extLst>
                    <a:ext uri="{FF2B5EF4-FFF2-40B4-BE49-F238E27FC236}">
                      <a16:creationId xmlns:a16="http://schemas.microsoft.com/office/drawing/2014/main" id="{A6C83392-031B-FCE2-8FA2-7F0F183ACC56}"/>
                    </a:ext>
                  </a:extLst>
                </p:cNvPr>
                <p:cNvSpPr/>
                <p:nvPr/>
              </p:nvSpPr>
              <p:spPr>
                <a:xfrm>
                  <a:off x="2309158" y="1172646"/>
                  <a:ext cx="26135" cy="26558"/>
                </a:xfrm>
                <a:custGeom>
                  <a:avLst/>
                  <a:gdLst>
                    <a:gd name="connsiteX0" fmla="*/ 24928 w 26135"/>
                    <a:gd name="connsiteY0" fmla="*/ 18946 h 26558"/>
                    <a:gd name="connsiteX1" fmla="*/ 7490 w 26135"/>
                    <a:gd name="connsiteY1" fmla="*/ 25299 h 26558"/>
                    <a:gd name="connsiteX2" fmla="*/ 1262 w 26135"/>
                    <a:gd name="connsiteY2" fmla="*/ 7612 h 26558"/>
                    <a:gd name="connsiteX3" fmla="*/ 18700 w 26135"/>
                    <a:gd name="connsiteY3" fmla="*/ 1259 h 26558"/>
                    <a:gd name="connsiteX4" fmla="*/ 24928 w 26135"/>
                    <a:gd name="connsiteY4" fmla="*/ 18946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558">
                      <a:moveTo>
                        <a:pt x="24928" y="18946"/>
                      </a:moveTo>
                      <a:cubicBezTo>
                        <a:pt x="21814" y="25548"/>
                        <a:pt x="14091" y="28413"/>
                        <a:pt x="7490" y="25299"/>
                      </a:cubicBezTo>
                      <a:cubicBezTo>
                        <a:pt x="1013" y="22185"/>
                        <a:pt x="-1852" y="14213"/>
                        <a:pt x="1262" y="7612"/>
                      </a:cubicBezTo>
                      <a:cubicBezTo>
                        <a:pt x="4376" y="1010"/>
                        <a:pt x="12223" y="-1855"/>
                        <a:pt x="18700" y="1259"/>
                      </a:cubicBezTo>
                      <a:cubicBezTo>
                        <a:pt x="25177" y="4373"/>
                        <a:pt x="27917" y="12345"/>
                        <a:pt x="24928" y="189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09" name="Graphic 2987">
                <a:extLst>
                  <a:ext uri="{FF2B5EF4-FFF2-40B4-BE49-F238E27FC236}">
                    <a16:creationId xmlns:a16="http://schemas.microsoft.com/office/drawing/2014/main" id="{B60A28E1-1D65-60FD-3AD7-02B07011E691}"/>
                  </a:ext>
                </a:extLst>
              </p:cNvPr>
              <p:cNvGrpSpPr/>
              <p:nvPr/>
            </p:nvGrpSpPr>
            <p:grpSpPr>
              <a:xfrm>
                <a:off x="2230069" y="1159864"/>
                <a:ext cx="78895" cy="137220"/>
                <a:chOff x="2230069" y="1159864"/>
                <a:chExt cx="78895" cy="137220"/>
              </a:xfrm>
              <a:grpFill/>
            </p:grpSpPr>
            <p:sp>
              <p:nvSpPr>
                <p:cNvPr id="5538" name="Freeform 8764">
                  <a:extLst>
                    <a:ext uri="{FF2B5EF4-FFF2-40B4-BE49-F238E27FC236}">
                      <a16:creationId xmlns:a16="http://schemas.microsoft.com/office/drawing/2014/main" id="{8014D718-7AFA-4ADC-94EE-FEF146768203}"/>
                    </a:ext>
                  </a:extLst>
                </p:cNvPr>
                <p:cNvSpPr/>
                <p:nvPr/>
              </p:nvSpPr>
              <p:spPr>
                <a:xfrm>
                  <a:off x="2249760" y="1232199"/>
                  <a:ext cx="23043" cy="46833"/>
                </a:xfrm>
                <a:custGeom>
                  <a:avLst/>
                  <a:gdLst>
                    <a:gd name="connsiteX0" fmla="*/ 0 w 23043"/>
                    <a:gd name="connsiteY0" fmla="*/ 46834 h 46833"/>
                    <a:gd name="connsiteX1" fmla="*/ 9840 w 23043"/>
                    <a:gd name="connsiteY1" fmla="*/ 30766 h 46833"/>
                    <a:gd name="connsiteX2" fmla="*/ 14075 w 23043"/>
                    <a:gd name="connsiteY2" fmla="*/ 13826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5730" y="40606"/>
                        <a:pt x="8345" y="34876"/>
                        <a:pt x="9840" y="30766"/>
                      </a:cubicBezTo>
                      <a:cubicBezTo>
                        <a:pt x="12082" y="24164"/>
                        <a:pt x="11459" y="20427"/>
                        <a:pt x="14075" y="13826"/>
                      </a:cubicBezTo>
                      <a:cubicBezTo>
                        <a:pt x="16566" y="7349"/>
                        <a:pt x="20303" y="2865"/>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9" name="Freeform 8765">
                  <a:extLst>
                    <a:ext uri="{FF2B5EF4-FFF2-40B4-BE49-F238E27FC236}">
                      <a16:creationId xmlns:a16="http://schemas.microsoft.com/office/drawing/2014/main" id="{D7741D95-C491-54CD-C62E-1DF8FDEFAFFE}"/>
                    </a:ext>
                  </a:extLst>
                </p:cNvPr>
                <p:cNvSpPr/>
                <p:nvPr/>
              </p:nvSpPr>
              <p:spPr>
                <a:xfrm>
                  <a:off x="2241166" y="1233070"/>
                  <a:ext cx="21797" cy="47456"/>
                </a:xfrm>
                <a:custGeom>
                  <a:avLst/>
                  <a:gdLst>
                    <a:gd name="connsiteX0" fmla="*/ 21798 w 21797"/>
                    <a:gd name="connsiteY0" fmla="*/ 0 h 47456"/>
                    <a:gd name="connsiteX1" fmla="*/ 15570 w 21797"/>
                    <a:gd name="connsiteY1" fmla="*/ 17812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5"/>
                        <a:pt x="17812" y="14075"/>
                        <a:pt x="15570" y="17812"/>
                      </a:cubicBezTo>
                      <a:cubicBezTo>
                        <a:pt x="11833" y="23791"/>
                        <a:pt x="8595" y="25534"/>
                        <a:pt x="5107" y="31762"/>
                      </a:cubicBezTo>
                      <a:cubicBezTo>
                        <a:pt x="1744"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0" name="Freeform 8766">
                  <a:extLst>
                    <a:ext uri="{FF2B5EF4-FFF2-40B4-BE49-F238E27FC236}">
                      <a16:creationId xmlns:a16="http://schemas.microsoft.com/office/drawing/2014/main" id="{1E3803CB-780F-07BB-3F52-3B88C22F7CB8}"/>
                    </a:ext>
                  </a:extLst>
                </p:cNvPr>
                <p:cNvSpPr/>
                <p:nvPr/>
              </p:nvSpPr>
              <p:spPr>
                <a:xfrm>
                  <a:off x="2230069" y="1270447"/>
                  <a:ext cx="26801" cy="26637"/>
                </a:xfrm>
                <a:custGeom>
                  <a:avLst/>
                  <a:gdLst>
                    <a:gd name="connsiteX0" fmla="*/ 1257 w 26801"/>
                    <a:gd name="connsiteY0" fmla="*/ 7464 h 26637"/>
                    <a:gd name="connsiteX1" fmla="*/ 19068 w 26801"/>
                    <a:gd name="connsiteY1" fmla="*/ 1361 h 26637"/>
                    <a:gd name="connsiteX2" fmla="*/ 25545 w 26801"/>
                    <a:gd name="connsiteY2" fmla="*/ 19173 h 26637"/>
                    <a:gd name="connsiteX3" fmla="*/ 7734 w 26801"/>
                    <a:gd name="connsiteY3" fmla="*/ 25276 h 26637"/>
                    <a:gd name="connsiteX4" fmla="*/ 1257 w 26801"/>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1" h="26637">
                      <a:moveTo>
                        <a:pt x="1257" y="7464"/>
                      </a:moveTo>
                      <a:cubicBezTo>
                        <a:pt x="4371" y="863"/>
                        <a:pt x="12342" y="-1877"/>
                        <a:pt x="19068" y="1361"/>
                      </a:cubicBezTo>
                      <a:cubicBezTo>
                        <a:pt x="25795" y="4600"/>
                        <a:pt x="28659" y="12571"/>
                        <a:pt x="25545" y="19173"/>
                      </a:cubicBezTo>
                      <a:cubicBezTo>
                        <a:pt x="22431" y="25774"/>
                        <a:pt x="14460" y="28515"/>
                        <a:pt x="7734" y="25276"/>
                      </a:cubicBezTo>
                      <a:cubicBezTo>
                        <a:pt x="1007" y="22038"/>
                        <a:pt x="-1857" y="14066"/>
                        <a:pt x="1257"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1" name="Freeform 8767">
                  <a:extLst>
                    <a:ext uri="{FF2B5EF4-FFF2-40B4-BE49-F238E27FC236}">
                      <a16:creationId xmlns:a16="http://schemas.microsoft.com/office/drawing/2014/main" id="{178BD202-31A8-59DE-C66A-9E3C8962D193}"/>
                    </a:ext>
                  </a:extLst>
                </p:cNvPr>
                <p:cNvSpPr/>
                <p:nvPr/>
              </p:nvSpPr>
              <p:spPr>
                <a:xfrm>
                  <a:off x="2266576" y="1178016"/>
                  <a:ext cx="23043" cy="46833"/>
                </a:xfrm>
                <a:custGeom>
                  <a:avLst/>
                  <a:gdLst>
                    <a:gd name="connsiteX0" fmla="*/ 23043 w 23043"/>
                    <a:gd name="connsiteY0" fmla="*/ 0 h 46833"/>
                    <a:gd name="connsiteX1" fmla="*/ 13203 w 23043"/>
                    <a:gd name="connsiteY1" fmla="*/ 16068 h 46833"/>
                    <a:gd name="connsiteX2" fmla="*/ 8968 w 23043"/>
                    <a:gd name="connsiteY2" fmla="*/ 33008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17438" y="6228"/>
                        <a:pt x="14698" y="11958"/>
                        <a:pt x="13203" y="16068"/>
                      </a:cubicBezTo>
                      <a:cubicBezTo>
                        <a:pt x="10961" y="22670"/>
                        <a:pt x="11459" y="26406"/>
                        <a:pt x="8968" y="33008"/>
                      </a:cubicBezTo>
                      <a:cubicBezTo>
                        <a:pt x="6477" y="39485"/>
                        <a:pt x="2740" y="43969"/>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2" name="Freeform 8768">
                  <a:extLst>
                    <a:ext uri="{FF2B5EF4-FFF2-40B4-BE49-F238E27FC236}">
                      <a16:creationId xmlns:a16="http://schemas.microsoft.com/office/drawing/2014/main" id="{C25D2CC4-D4DC-CF65-C273-424EC63B15C2}"/>
                    </a:ext>
                  </a:extLst>
                </p:cNvPr>
                <p:cNvSpPr/>
                <p:nvPr/>
              </p:nvSpPr>
              <p:spPr>
                <a:xfrm>
                  <a:off x="2276416" y="1176521"/>
                  <a:ext cx="21673" cy="47456"/>
                </a:xfrm>
                <a:custGeom>
                  <a:avLst/>
                  <a:gdLst>
                    <a:gd name="connsiteX0" fmla="*/ 0 w 21673"/>
                    <a:gd name="connsiteY0" fmla="*/ 47456 h 47456"/>
                    <a:gd name="connsiteX1" fmla="*/ 6228 w 21673"/>
                    <a:gd name="connsiteY1" fmla="*/ 29645 h 47456"/>
                    <a:gd name="connsiteX2" fmla="*/ 16566 w 21673"/>
                    <a:gd name="connsiteY2" fmla="*/ 15694 h 47456"/>
                    <a:gd name="connsiteX3" fmla="*/ 21673 w 21673"/>
                    <a:gd name="connsiteY3" fmla="*/ 0 h 47456"/>
                  </a:gdLst>
                  <a:ahLst/>
                  <a:cxnLst>
                    <a:cxn ang="0">
                      <a:pos x="connsiteX0" y="connsiteY0"/>
                    </a:cxn>
                    <a:cxn ang="0">
                      <a:pos x="connsiteX1" y="connsiteY1"/>
                    </a:cxn>
                    <a:cxn ang="0">
                      <a:pos x="connsiteX2" y="connsiteY2"/>
                    </a:cxn>
                    <a:cxn ang="0">
                      <a:pos x="connsiteX3" y="connsiteY3"/>
                    </a:cxn>
                  </a:cxnLst>
                  <a:rect l="l" t="t" r="r" b="b"/>
                  <a:pathLst>
                    <a:path w="21673" h="47456">
                      <a:moveTo>
                        <a:pt x="0" y="47456"/>
                      </a:moveTo>
                      <a:cubicBezTo>
                        <a:pt x="1246" y="39111"/>
                        <a:pt x="3986" y="33381"/>
                        <a:pt x="6228" y="29645"/>
                      </a:cubicBezTo>
                      <a:cubicBezTo>
                        <a:pt x="9965" y="23666"/>
                        <a:pt x="13079" y="21922"/>
                        <a:pt x="16566" y="15694"/>
                      </a:cubicBezTo>
                      <a:cubicBezTo>
                        <a:pt x="19929" y="9715"/>
                        <a:pt x="21175" y="3861"/>
                        <a:pt x="216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43" name="Freeform 8769">
                  <a:extLst>
                    <a:ext uri="{FF2B5EF4-FFF2-40B4-BE49-F238E27FC236}">
                      <a16:creationId xmlns:a16="http://schemas.microsoft.com/office/drawing/2014/main" id="{DC07DFDB-809F-CA98-D6C7-50ACEFC3D69D}"/>
                    </a:ext>
                  </a:extLst>
                </p:cNvPr>
                <p:cNvSpPr/>
                <p:nvPr/>
              </p:nvSpPr>
              <p:spPr>
                <a:xfrm>
                  <a:off x="2282853" y="1159864"/>
                  <a:ext cx="26111" cy="26588"/>
                </a:xfrm>
                <a:custGeom>
                  <a:avLst/>
                  <a:gdLst>
                    <a:gd name="connsiteX0" fmla="*/ 24827 w 26111"/>
                    <a:gd name="connsiteY0" fmla="*/ 19024 h 26588"/>
                    <a:gd name="connsiteX1" fmla="*/ 7388 w 26111"/>
                    <a:gd name="connsiteY1" fmla="*/ 25252 h 26588"/>
                    <a:gd name="connsiteX2" fmla="*/ 1285 w 26111"/>
                    <a:gd name="connsiteY2" fmla="*/ 7565 h 26588"/>
                    <a:gd name="connsiteX3" fmla="*/ 18723 w 26111"/>
                    <a:gd name="connsiteY3" fmla="*/ 1337 h 26588"/>
                    <a:gd name="connsiteX4" fmla="*/ 24827 w 26111"/>
                    <a:gd name="connsiteY4" fmla="*/ 19024 h 26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1" h="26588">
                      <a:moveTo>
                        <a:pt x="24827" y="19024"/>
                      </a:moveTo>
                      <a:cubicBezTo>
                        <a:pt x="21713" y="25626"/>
                        <a:pt x="13866" y="28490"/>
                        <a:pt x="7388" y="25252"/>
                      </a:cubicBezTo>
                      <a:cubicBezTo>
                        <a:pt x="912" y="22138"/>
                        <a:pt x="-1829" y="14166"/>
                        <a:pt x="1285" y="7565"/>
                      </a:cubicBezTo>
                      <a:cubicBezTo>
                        <a:pt x="4399" y="963"/>
                        <a:pt x="12246" y="-1902"/>
                        <a:pt x="18723" y="1337"/>
                      </a:cubicBezTo>
                      <a:cubicBezTo>
                        <a:pt x="25200" y="4451"/>
                        <a:pt x="27941" y="12422"/>
                        <a:pt x="24827" y="19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0" name="Graphic 2987">
                <a:extLst>
                  <a:ext uri="{FF2B5EF4-FFF2-40B4-BE49-F238E27FC236}">
                    <a16:creationId xmlns:a16="http://schemas.microsoft.com/office/drawing/2014/main" id="{FBB0649D-191F-3E9C-B851-F94890953E2B}"/>
                  </a:ext>
                </a:extLst>
              </p:cNvPr>
              <p:cNvGrpSpPr/>
              <p:nvPr/>
            </p:nvGrpSpPr>
            <p:grpSpPr>
              <a:xfrm>
                <a:off x="2202963" y="1147213"/>
                <a:ext cx="79744" cy="136792"/>
                <a:chOff x="2202963" y="1147213"/>
                <a:chExt cx="79744" cy="136792"/>
              </a:xfrm>
              <a:grpFill/>
            </p:grpSpPr>
            <p:sp>
              <p:nvSpPr>
                <p:cNvPr id="5532" name="Freeform 8771">
                  <a:extLst>
                    <a:ext uri="{FF2B5EF4-FFF2-40B4-BE49-F238E27FC236}">
                      <a16:creationId xmlns:a16="http://schemas.microsoft.com/office/drawing/2014/main" id="{2DB63B3D-86EB-7EB8-F29B-5CE274289994}"/>
                    </a:ext>
                  </a:extLst>
                </p:cNvPr>
                <p:cNvSpPr/>
                <p:nvPr/>
              </p:nvSpPr>
              <p:spPr>
                <a:xfrm>
                  <a:off x="2222731" y="1219245"/>
                  <a:ext cx="23416" cy="46709"/>
                </a:xfrm>
                <a:custGeom>
                  <a:avLst/>
                  <a:gdLst>
                    <a:gd name="connsiteX0" fmla="*/ 0 w 23416"/>
                    <a:gd name="connsiteY0" fmla="*/ 46709 h 46709"/>
                    <a:gd name="connsiteX1" fmla="*/ 9965 w 23416"/>
                    <a:gd name="connsiteY1" fmla="*/ 30766 h 46709"/>
                    <a:gd name="connsiteX2" fmla="*/ 14324 w 23416"/>
                    <a:gd name="connsiteY2" fmla="*/ 13826 h 46709"/>
                    <a:gd name="connsiteX3" fmla="*/ 23417 w 23416"/>
                    <a:gd name="connsiteY3" fmla="*/ 0 h 46709"/>
                  </a:gdLst>
                  <a:ahLst/>
                  <a:cxnLst>
                    <a:cxn ang="0">
                      <a:pos x="connsiteX0" y="connsiteY0"/>
                    </a:cxn>
                    <a:cxn ang="0">
                      <a:pos x="connsiteX1" y="connsiteY1"/>
                    </a:cxn>
                    <a:cxn ang="0">
                      <a:pos x="connsiteX2" y="connsiteY2"/>
                    </a:cxn>
                    <a:cxn ang="0">
                      <a:pos x="connsiteX3" y="connsiteY3"/>
                    </a:cxn>
                  </a:cxnLst>
                  <a:rect l="l" t="t" r="r" b="b"/>
                  <a:pathLst>
                    <a:path w="23416" h="46709">
                      <a:moveTo>
                        <a:pt x="0" y="46709"/>
                      </a:moveTo>
                      <a:cubicBezTo>
                        <a:pt x="5730" y="40606"/>
                        <a:pt x="8470" y="34876"/>
                        <a:pt x="9965" y="30766"/>
                      </a:cubicBezTo>
                      <a:cubicBezTo>
                        <a:pt x="12331" y="24164"/>
                        <a:pt x="11708" y="20427"/>
                        <a:pt x="14324" y="13826"/>
                      </a:cubicBezTo>
                      <a:cubicBezTo>
                        <a:pt x="16815" y="7349"/>
                        <a:pt x="20677" y="2865"/>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3" name="Freeform 8772">
                  <a:extLst>
                    <a:ext uri="{FF2B5EF4-FFF2-40B4-BE49-F238E27FC236}">
                      <a16:creationId xmlns:a16="http://schemas.microsoft.com/office/drawing/2014/main" id="{D8D9595D-3134-C988-ED6F-BB6AF6C63B53}"/>
                    </a:ext>
                  </a:extLst>
                </p:cNvPr>
                <p:cNvSpPr/>
                <p:nvPr/>
              </p:nvSpPr>
              <p:spPr>
                <a:xfrm>
                  <a:off x="2214137" y="1220116"/>
                  <a:ext cx="22046" cy="47207"/>
                </a:xfrm>
                <a:custGeom>
                  <a:avLst/>
                  <a:gdLst>
                    <a:gd name="connsiteX0" fmla="*/ 22047 w 22046"/>
                    <a:gd name="connsiteY0" fmla="*/ 0 h 47207"/>
                    <a:gd name="connsiteX1" fmla="*/ 15694 w 22046"/>
                    <a:gd name="connsiteY1" fmla="*/ 17687 h 47207"/>
                    <a:gd name="connsiteX2" fmla="*/ 5107 w 22046"/>
                    <a:gd name="connsiteY2" fmla="*/ 31513 h 47207"/>
                    <a:gd name="connsiteX3" fmla="*/ 0 w 22046"/>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046" h="47207">
                      <a:moveTo>
                        <a:pt x="22047" y="0"/>
                      </a:moveTo>
                      <a:cubicBezTo>
                        <a:pt x="20801" y="8345"/>
                        <a:pt x="18061" y="14075"/>
                        <a:pt x="15694" y="17687"/>
                      </a:cubicBezTo>
                      <a:cubicBezTo>
                        <a:pt x="11958" y="23666"/>
                        <a:pt x="8719" y="25410"/>
                        <a:pt x="5107" y="31513"/>
                      </a:cubicBezTo>
                      <a:cubicBezTo>
                        <a:pt x="1619" y="37492"/>
                        <a:pt x="374"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4" name="Freeform 8773">
                  <a:extLst>
                    <a:ext uri="{FF2B5EF4-FFF2-40B4-BE49-F238E27FC236}">
                      <a16:creationId xmlns:a16="http://schemas.microsoft.com/office/drawing/2014/main" id="{0E9425BC-7A1A-A135-C4A8-39AE9D13FCFD}"/>
                    </a:ext>
                  </a:extLst>
                </p:cNvPr>
                <p:cNvSpPr/>
                <p:nvPr/>
              </p:nvSpPr>
              <p:spPr>
                <a:xfrm>
                  <a:off x="2202963" y="1257368"/>
                  <a:ext cx="26757" cy="26637"/>
                </a:xfrm>
                <a:custGeom>
                  <a:avLst/>
                  <a:gdLst>
                    <a:gd name="connsiteX0" fmla="*/ 1334 w 26757"/>
                    <a:gd name="connsiteY0" fmla="*/ 7464 h 26637"/>
                    <a:gd name="connsiteX1" fmla="*/ 19146 w 26757"/>
                    <a:gd name="connsiteY1" fmla="*/ 1361 h 26637"/>
                    <a:gd name="connsiteX2" fmla="*/ 25498 w 26757"/>
                    <a:gd name="connsiteY2" fmla="*/ 19173 h 26637"/>
                    <a:gd name="connsiteX3" fmla="*/ 7686 w 26757"/>
                    <a:gd name="connsiteY3" fmla="*/ 25276 h 26637"/>
                    <a:gd name="connsiteX4" fmla="*/ 1334 w 26757"/>
                    <a:gd name="connsiteY4" fmla="*/ 7464 h 2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6" h="26637">
                      <a:moveTo>
                        <a:pt x="1334" y="7464"/>
                      </a:moveTo>
                      <a:cubicBezTo>
                        <a:pt x="4572" y="863"/>
                        <a:pt x="12544" y="-1877"/>
                        <a:pt x="19146" y="1361"/>
                      </a:cubicBezTo>
                      <a:cubicBezTo>
                        <a:pt x="25747" y="4600"/>
                        <a:pt x="28612" y="12571"/>
                        <a:pt x="25498" y="19173"/>
                      </a:cubicBezTo>
                      <a:cubicBezTo>
                        <a:pt x="22384" y="25774"/>
                        <a:pt x="14288" y="28515"/>
                        <a:pt x="7686" y="25276"/>
                      </a:cubicBezTo>
                      <a:cubicBezTo>
                        <a:pt x="960" y="22038"/>
                        <a:pt x="-1904" y="14066"/>
                        <a:pt x="1334"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5" name="Freeform 8774">
                  <a:extLst>
                    <a:ext uri="{FF2B5EF4-FFF2-40B4-BE49-F238E27FC236}">
                      <a16:creationId xmlns:a16="http://schemas.microsoft.com/office/drawing/2014/main" id="{DEAA17D4-6CC2-A44B-9B04-AC95BC91B79C}"/>
                    </a:ext>
                  </a:extLst>
                </p:cNvPr>
                <p:cNvSpPr/>
                <p:nvPr/>
              </p:nvSpPr>
              <p:spPr>
                <a:xfrm>
                  <a:off x="2239920" y="1165311"/>
                  <a:ext cx="23416" cy="46584"/>
                </a:xfrm>
                <a:custGeom>
                  <a:avLst/>
                  <a:gdLst>
                    <a:gd name="connsiteX0" fmla="*/ 23417 w 23416"/>
                    <a:gd name="connsiteY0" fmla="*/ 0 h 46584"/>
                    <a:gd name="connsiteX1" fmla="*/ 13452 w 23416"/>
                    <a:gd name="connsiteY1" fmla="*/ 15943 h 46584"/>
                    <a:gd name="connsiteX2" fmla="*/ 9093 w 23416"/>
                    <a:gd name="connsiteY2" fmla="*/ 32759 h 46584"/>
                    <a:gd name="connsiteX3" fmla="*/ 0 w 23416"/>
                    <a:gd name="connsiteY3" fmla="*/ 46585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228"/>
                        <a:pt x="14947" y="11833"/>
                        <a:pt x="13452" y="15943"/>
                      </a:cubicBezTo>
                      <a:cubicBezTo>
                        <a:pt x="11086" y="22545"/>
                        <a:pt x="11708" y="26157"/>
                        <a:pt x="9093" y="32759"/>
                      </a:cubicBezTo>
                      <a:cubicBezTo>
                        <a:pt x="6477" y="39236"/>
                        <a:pt x="2740" y="43720"/>
                        <a:pt x="0" y="4658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6" name="Freeform 8775">
                  <a:extLst>
                    <a:ext uri="{FF2B5EF4-FFF2-40B4-BE49-F238E27FC236}">
                      <a16:creationId xmlns:a16="http://schemas.microsoft.com/office/drawing/2014/main" id="{C3C72CFF-BBC2-2210-9D57-72DC193C8CCA}"/>
                    </a:ext>
                  </a:extLst>
                </p:cNvPr>
                <p:cNvSpPr/>
                <p:nvPr/>
              </p:nvSpPr>
              <p:spPr>
                <a:xfrm>
                  <a:off x="2249760" y="1163692"/>
                  <a:ext cx="22046" cy="47331"/>
                </a:xfrm>
                <a:custGeom>
                  <a:avLst/>
                  <a:gdLst>
                    <a:gd name="connsiteX0" fmla="*/ 0 w 22046"/>
                    <a:gd name="connsiteY0" fmla="*/ 47332 h 47331"/>
                    <a:gd name="connsiteX1" fmla="*/ 6353 w 22046"/>
                    <a:gd name="connsiteY1" fmla="*/ 29645 h 47331"/>
                    <a:gd name="connsiteX2" fmla="*/ 16815 w 22046"/>
                    <a:gd name="connsiteY2" fmla="*/ 15694 h 47331"/>
                    <a:gd name="connsiteX3" fmla="*/ 22047 w 22046"/>
                    <a:gd name="connsiteY3" fmla="*/ 0 h 47331"/>
                  </a:gdLst>
                  <a:ahLst/>
                  <a:cxnLst>
                    <a:cxn ang="0">
                      <a:pos x="connsiteX0" y="connsiteY0"/>
                    </a:cxn>
                    <a:cxn ang="0">
                      <a:pos x="connsiteX1" y="connsiteY1"/>
                    </a:cxn>
                    <a:cxn ang="0">
                      <a:pos x="connsiteX2" y="connsiteY2"/>
                    </a:cxn>
                    <a:cxn ang="0">
                      <a:pos x="connsiteX3" y="connsiteY3"/>
                    </a:cxn>
                  </a:cxnLst>
                  <a:rect l="l" t="t" r="r" b="b"/>
                  <a:pathLst>
                    <a:path w="22046" h="47331">
                      <a:moveTo>
                        <a:pt x="0" y="47332"/>
                      </a:moveTo>
                      <a:cubicBezTo>
                        <a:pt x="1246" y="38987"/>
                        <a:pt x="3986" y="33257"/>
                        <a:pt x="6353" y="29645"/>
                      </a:cubicBezTo>
                      <a:cubicBezTo>
                        <a:pt x="10089" y="23666"/>
                        <a:pt x="13328" y="21922"/>
                        <a:pt x="16815" y="15694"/>
                      </a:cubicBezTo>
                      <a:cubicBezTo>
                        <a:pt x="20303" y="9716"/>
                        <a:pt x="21424" y="3986"/>
                        <a:pt x="220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7" name="Freeform 8776">
                  <a:extLst>
                    <a:ext uri="{FF2B5EF4-FFF2-40B4-BE49-F238E27FC236}">
                      <a16:creationId xmlns:a16="http://schemas.microsoft.com/office/drawing/2014/main" id="{AB7ED7FA-712F-9C97-46D1-674861D1C9D8}"/>
                    </a:ext>
                  </a:extLst>
                </p:cNvPr>
                <p:cNvSpPr/>
                <p:nvPr/>
              </p:nvSpPr>
              <p:spPr>
                <a:xfrm>
                  <a:off x="2256470" y="1147213"/>
                  <a:ext cx="26236" cy="26480"/>
                </a:xfrm>
                <a:custGeom>
                  <a:avLst/>
                  <a:gdLst>
                    <a:gd name="connsiteX0" fmla="*/ 24928 w 26236"/>
                    <a:gd name="connsiteY0" fmla="*/ 18970 h 26480"/>
                    <a:gd name="connsiteX1" fmla="*/ 7365 w 26236"/>
                    <a:gd name="connsiteY1" fmla="*/ 25198 h 26480"/>
                    <a:gd name="connsiteX2" fmla="*/ 1386 w 26236"/>
                    <a:gd name="connsiteY2" fmla="*/ 7510 h 26480"/>
                    <a:gd name="connsiteX3" fmla="*/ 18949 w 26236"/>
                    <a:gd name="connsiteY3" fmla="*/ 1283 h 26480"/>
                    <a:gd name="connsiteX4" fmla="*/ 24928 w 26236"/>
                    <a:gd name="connsiteY4" fmla="*/ 18970 h 26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480">
                      <a:moveTo>
                        <a:pt x="24928" y="18970"/>
                      </a:moveTo>
                      <a:cubicBezTo>
                        <a:pt x="21814" y="25571"/>
                        <a:pt x="13966" y="28312"/>
                        <a:pt x="7365" y="25198"/>
                      </a:cubicBezTo>
                      <a:cubicBezTo>
                        <a:pt x="763" y="22084"/>
                        <a:pt x="-1853" y="14112"/>
                        <a:pt x="1386" y="7510"/>
                      </a:cubicBezTo>
                      <a:cubicBezTo>
                        <a:pt x="4625" y="909"/>
                        <a:pt x="12472" y="-1831"/>
                        <a:pt x="18949" y="1283"/>
                      </a:cubicBezTo>
                      <a:cubicBezTo>
                        <a:pt x="25426" y="4397"/>
                        <a:pt x="28041" y="12368"/>
                        <a:pt x="24928" y="189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1" name="Graphic 2987">
                <a:extLst>
                  <a:ext uri="{FF2B5EF4-FFF2-40B4-BE49-F238E27FC236}">
                    <a16:creationId xmlns:a16="http://schemas.microsoft.com/office/drawing/2014/main" id="{0610871A-AF3C-B94A-4CA7-10A7AB213CBF}"/>
                  </a:ext>
                </a:extLst>
              </p:cNvPr>
              <p:cNvGrpSpPr/>
              <p:nvPr/>
            </p:nvGrpSpPr>
            <p:grpSpPr>
              <a:xfrm>
                <a:off x="2175785" y="1134508"/>
                <a:ext cx="80570" cy="136498"/>
                <a:chOff x="2175785" y="1134508"/>
                <a:chExt cx="80570" cy="136498"/>
              </a:xfrm>
              <a:grpFill/>
            </p:grpSpPr>
            <p:sp>
              <p:nvSpPr>
                <p:cNvPr id="5526" name="Freeform 8778">
                  <a:extLst>
                    <a:ext uri="{FF2B5EF4-FFF2-40B4-BE49-F238E27FC236}">
                      <a16:creationId xmlns:a16="http://schemas.microsoft.com/office/drawing/2014/main" id="{AA4A7A11-5110-336F-BEDE-D05249E7CE0F}"/>
                    </a:ext>
                  </a:extLst>
                </p:cNvPr>
                <p:cNvSpPr/>
                <p:nvPr/>
              </p:nvSpPr>
              <p:spPr>
                <a:xfrm>
                  <a:off x="2195702" y="1206415"/>
                  <a:ext cx="23416" cy="46460"/>
                </a:xfrm>
                <a:custGeom>
                  <a:avLst/>
                  <a:gdLst>
                    <a:gd name="connsiteX0" fmla="*/ 0 w 23416"/>
                    <a:gd name="connsiteY0" fmla="*/ 46460 h 46460"/>
                    <a:gd name="connsiteX1" fmla="*/ 9965 w 23416"/>
                    <a:gd name="connsiteY1" fmla="*/ 30517 h 46460"/>
                    <a:gd name="connsiteX2" fmla="*/ 14324 w 23416"/>
                    <a:gd name="connsiteY2" fmla="*/ 13701 h 46460"/>
                    <a:gd name="connsiteX3" fmla="*/ 23417 w 23416"/>
                    <a:gd name="connsiteY3" fmla="*/ 0 h 46460"/>
                  </a:gdLst>
                  <a:ahLst/>
                  <a:cxnLst>
                    <a:cxn ang="0">
                      <a:pos x="connsiteX0" y="connsiteY0"/>
                    </a:cxn>
                    <a:cxn ang="0">
                      <a:pos x="connsiteX1" y="connsiteY1"/>
                    </a:cxn>
                    <a:cxn ang="0">
                      <a:pos x="connsiteX2" y="connsiteY2"/>
                    </a:cxn>
                    <a:cxn ang="0">
                      <a:pos x="connsiteX3" y="connsiteY3"/>
                    </a:cxn>
                  </a:cxnLst>
                  <a:rect l="l" t="t" r="r" b="b"/>
                  <a:pathLst>
                    <a:path w="23416" h="46460">
                      <a:moveTo>
                        <a:pt x="0" y="46460"/>
                      </a:moveTo>
                      <a:cubicBezTo>
                        <a:pt x="5854" y="40357"/>
                        <a:pt x="8595" y="34627"/>
                        <a:pt x="9965" y="30517"/>
                      </a:cubicBezTo>
                      <a:cubicBezTo>
                        <a:pt x="12331" y="23915"/>
                        <a:pt x="11708" y="20303"/>
                        <a:pt x="14324" y="13701"/>
                      </a:cubicBezTo>
                      <a:cubicBezTo>
                        <a:pt x="16940" y="7349"/>
                        <a:pt x="20677" y="2740"/>
                        <a:pt x="234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7" name="Freeform 8779">
                  <a:extLst>
                    <a:ext uri="{FF2B5EF4-FFF2-40B4-BE49-F238E27FC236}">
                      <a16:creationId xmlns:a16="http://schemas.microsoft.com/office/drawing/2014/main" id="{CF2D9527-9FA5-5032-80F5-D26B9A0B3090}"/>
                    </a:ext>
                  </a:extLst>
                </p:cNvPr>
                <p:cNvSpPr/>
                <p:nvPr/>
              </p:nvSpPr>
              <p:spPr>
                <a:xfrm>
                  <a:off x="2187232" y="1207162"/>
                  <a:ext cx="22295" cy="47207"/>
                </a:xfrm>
                <a:custGeom>
                  <a:avLst/>
                  <a:gdLst>
                    <a:gd name="connsiteX0" fmla="*/ 22296 w 22295"/>
                    <a:gd name="connsiteY0" fmla="*/ 0 h 47207"/>
                    <a:gd name="connsiteX1" fmla="*/ 15819 w 22295"/>
                    <a:gd name="connsiteY1" fmla="*/ 17687 h 47207"/>
                    <a:gd name="connsiteX2" fmla="*/ 5231 w 22295"/>
                    <a:gd name="connsiteY2" fmla="*/ 31513 h 47207"/>
                    <a:gd name="connsiteX3" fmla="*/ 0 w 22295"/>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295" h="47207">
                      <a:moveTo>
                        <a:pt x="22296" y="0"/>
                      </a:moveTo>
                      <a:cubicBezTo>
                        <a:pt x="20926" y="8345"/>
                        <a:pt x="18185" y="13950"/>
                        <a:pt x="15819" y="17687"/>
                      </a:cubicBezTo>
                      <a:cubicBezTo>
                        <a:pt x="12082" y="23541"/>
                        <a:pt x="8719" y="25410"/>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8" name="Freeform 8780">
                  <a:extLst>
                    <a:ext uri="{FF2B5EF4-FFF2-40B4-BE49-F238E27FC236}">
                      <a16:creationId xmlns:a16="http://schemas.microsoft.com/office/drawing/2014/main" id="{46539C13-3FC4-A014-6503-F3E2971D572A}"/>
                    </a:ext>
                  </a:extLst>
                </p:cNvPr>
                <p:cNvSpPr/>
                <p:nvPr/>
              </p:nvSpPr>
              <p:spPr>
                <a:xfrm>
                  <a:off x="2175785" y="1244389"/>
                  <a:ext cx="26880" cy="26617"/>
                </a:xfrm>
                <a:custGeom>
                  <a:avLst/>
                  <a:gdLst>
                    <a:gd name="connsiteX0" fmla="*/ 1358 w 26880"/>
                    <a:gd name="connsiteY0" fmla="*/ 7365 h 26617"/>
                    <a:gd name="connsiteX1" fmla="*/ 19294 w 26880"/>
                    <a:gd name="connsiteY1" fmla="*/ 1386 h 26617"/>
                    <a:gd name="connsiteX2" fmla="*/ 25522 w 26880"/>
                    <a:gd name="connsiteY2" fmla="*/ 19198 h 26617"/>
                    <a:gd name="connsiteX3" fmla="*/ 7586 w 26880"/>
                    <a:gd name="connsiteY3" fmla="*/ 25177 h 26617"/>
                    <a:gd name="connsiteX4" fmla="*/ 1358 w 26880"/>
                    <a:gd name="connsiteY4" fmla="*/ 7365 h 26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0" h="26617">
                      <a:moveTo>
                        <a:pt x="1358" y="7365"/>
                      </a:moveTo>
                      <a:cubicBezTo>
                        <a:pt x="4597" y="763"/>
                        <a:pt x="12693" y="-1852"/>
                        <a:pt x="19294" y="1386"/>
                      </a:cubicBezTo>
                      <a:cubicBezTo>
                        <a:pt x="26021" y="4625"/>
                        <a:pt x="28761" y="12596"/>
                        <a:pt x="25522" y="19198"/>
                      </a:cubicBezTo>
                      <a:cubicBezTo>
                        <a:pt x="22284" y="25799"/>
                        <a:pt x="14312" y="28540"/>
                        <a:pt x="7586" y="25177"/>
                      </a:cubicBezTo>
                      <a:cubicBezTo>
                        <a:pt x="860" y="21814"/>
                        <a:pt x="-1880" y="13842"/>
                        <a:pt x="1358" y="7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9" name="Freeform 8781">
                  <a:extLst>
                    <a:ext uri="{FF2B5EF4-FFF2-40B4-BE49-F238E27FC236}">
                      <a16:creationId xmlns:a16="http://schemas.microsoft.com/office/drawing/2014/main" id="{9ADCD524-538E-B45D-86B0-58A5025ABBAC}"/>
                    </a:ext>
                  </a:extLst>
                </p:cNvPr>
                <p:cNvSpPr/>
                <p:nvPr/>
              </p:nvSpPr>
              <p:spPr>
                <a:xfrm>
                  <a:off x="2213265" y="1152482"/>
                  <a:ext cx="23665" cy="46460"/>
                </a:xfrm>
                <a:custGeom>
                  <a:avLst/>
                  <a:gdLst>
                    <a:gd name="connsiteX0" fmla="*/ 23666 w 23665"/>
                    <a:gd name="connsiteY0" fmla="*/ 0 h 46460"/>
                    <a:gd name="connsiteX1" fmla="*/ 13701 w 23665"/>
                    <a:gd name="connsiteY1" fmla="*/ 15943 h 46460"/>
                    <a:gd name="connsiteX2" fmla="*/ 9217 w 23665"/>
                    <a:gd name="connsiteY2" fmla="*/ 32759 h 46460"/>
                    <a:gd name="connsiteX3" fmla="*/ 0 w 23665"/>
                    <a:gd name="connsiteY3" fmla="*/ 46460 h 46460"/>
                  </a:gdLst>
                  <a:ahLst/>
                  <a:cxnLst>
                    <a:cxn ang="0">
                      <a:pos x="connsiteX0" y="connsiteY0"/>
                    </a:cxn>
                    <a:cxn ang="0">
                      <a:pos x="connsiteX1" y="connsiteY1"/>
                    </a:cxn>
                    <a:cxn ang="0">
                      <a:pos x="connsiteX2" y="connsiteY2"/>
                    </a:cxn>
                    <a:cxn ang="0">
                      <a:pos x="connsiteX3" y="connsiteY3"/>
                    </a:cxn>
                  </a:cxnLst>
                  <a:rect l="l" t="t" r="r" b="b"/>
                  <a:pathLst>
                    <a:path w="23665" h="46460">
                      <a:moveTo>
                        <a:pt x="23666" y="0"/>
                      </a:moveTo>
                      <a:cubicBezTo>
                        <a:pt x="17936" y="6103"/>
                        <a:pt x="15071" y="11833"/>
                        <a:pt x="13701" y="15943"/>
                      </a:cubicBezTo>
                      <a:cubicBezTo>
                        <a:pt x="11335" y="22545"/>
                        <a:pt x="11833" y="26157"/>
                        <a:pt x="9217" y="32759"/>
                      </a:cubicBezTo>
                      <a:cubicBezTo>
                        <a:pt x="6602" y="39111"/>
                        <a:pt x="2865" y="43720"/>
                        <a:pt x="0" y="4646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0" name="Freeform 8782">
                  <a:extLst>
                    <a:ext uri="{FF2B5EF4-FFF2-40B4-BE49-F238E27FC236}">
                      <a16:creationId xmlns:a16="http://schemas.microsoft.com/office/drawing/2014/main" id="{25B67F34-EC48-6E60-E019-A83A68E0C4CC}"/>
                    </a:ext>
                  </a:extLst>
                </p:cNvPr>
                <p:cNvSpPr/>
                <p:nvPr/>
              </p:nvSpPr>
              <p:spPr>
                <a:xfrm>
                  <a:off x="2223105" y="1151111"/>
                  <a:ext cx="22295" cy="47082"/>
                </a:xfrm>
                <a:custGeom>
                  <a:avLst/>
                  <a:gdLst>
                    <a:gd name="connsiteX0" fmla="*/ 0 w 22295"/>
                    <a:gd name="connsiteY0" fmla="*/ 47083 h 47082"/>
                    <a:gd name="connsiteX1" fmla="*/ 6477 w 22295"/>
                    <a:gd name="connsiteY1" fmla="*/ 29396 h 47082"/>
                    <a:gd name="connsiteX2" fmla="*/ 17065 w 22295"/>
                    <a:gd name="connsiteY2" fmla="*/ 1557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1246" y="38737"/>
                        <a:pt x="4110" y="33132"/>
                        <a:pt x="6477" y="29396"/>
                      </a:cubicBezTo>
                      <a:cubicBezTo>
                        <a:pt x="10214" y="23541"/>
                        <a:pt x="13452" y="21673"/>
                        <a:pt x="17065" y="15570"/>
                      </a:cubicBezTo>
                      <a:cubicBezTo>
                        <a:pt x="20552" y="9591"/>
                        <a:pt x="21798" y="3861"/>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31" name="Freeform 8783">
                  <a:extLst>
                    <a:ext uri="{FF2B5EF4-FFF2-40B4-BE49-F238E27FC236}">
                      <a16:creationId xmlns:a16="http://schemas.microsoft.com/office/drawing/2014/main" id="{FCC827C7-81D4-9EEF-DB8F-A2493E280E1D}"/>
                    </a:ext>
                  </a:extLst>
                </p:cNvPr>
                <p:cNvSpPr/>
                <p:nvPr/>
              </p:nvSpPr>
              <p:spPr>
                <a:xfrm>
                  <a:off x="2230086" y="1134508"/>
                  <a:ext cx="26269" cy="26355"/>
                </a:xfrm>
                <a:custGeom>
                  <a:avLst/>
                  <a:gdLst>
                    <a:gd name="connsiteX0" fmla="*/ 24905 w 26269"/>
                    <a:gd name="connsiteY0" fmla="*/ 18845 h 26355"/>
                    <a:gd name="connsiteX1" fmla="*/ 7343 w 26269"/>
                    <a:gd name="connsiteY1" fmla="*/ 25073 h 26355"/>
                    <a:gd name="connsiteX2" fmla="*/ 1364 w 26269"/>
                    <a:gd name="connsiteY2" fmla="*/ 7510 h 26355"/>
                    <a:gd name="connsiteX3" fmla="*/ 18927 w 26269"/>
                    <a:gd name="connsiteY3" fmla="*/ 1283 h 26355"/>
                    <a:gd name="connsiteX4" fmla="*/ 24905 w 26269"/>
                    <a:gd name="connsiteY4" fmla="*/ 18845 h 26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9" h="26355">
                      <a:moveTo>
                        <a:pt x="24905" y="18845"/>
                      </a:moveTo>
                      <a:cubicBezTo>
                        <a:pt x="21667" y="25447"/>
                        <a:pt x="13820" y="28187"/>
                        <a:pt x="7343" y="25073"/>
                      </a:cubicBezTo>
                      <a:cubicBezTo>
                        <a:pt x="866" y="21959"/>
                        <a:pt x="-1875" y="13987"/>
                        <a:pt x="1364" y="7510"/>
                      </a:cubicBezTo>
                      <a:cubicBezTo>
                        <a:pt x="4603" y="909"/>
                        <a:pt x="12450" y="-1831"/>
                        <a:pt x="18927" y="1283"/>
                      </a:cubicBezTo>
                      <a:cubicBezTo>
                        <a:pt x="25404" y="4397"/>
                        <a:pt x="28144" y="12368"/>
                        <a:pt x="24905" y="188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2" name="Graphic 2987">
                <a:extLst>
                  <a:ext uri="{FF2B5EF4-FFF2-40B4-BE49-F238E27FC236}">
                    <a16:creationId xmlns:a16="http://schemas.microsoft.com/office/drawing/2014/main" id="{87430AAF-7208-B7F5-DBFD-553F7B177076}"/>
                  </a:ext>
                </a:extLst>
              </p:cNvPr>
              <p:cNvGrpSpPr/>
              <p:nvPr/>
            </p:nvGrpSpPr>
            <p:grpSpPr>
              <a:xfrm>
                <a:off x="2148756" y="1121746"/>
                <a:ext cx="81343" cy="136002"/>
                <a:chOff x="2148756" y="1121746"/>
                <a:chExt cx="81343" cy="136002"/>
              </a:xfrm>
              <a:grpFill/>
            </p:grpSpPr>
            <p:sp>
              <p:nvSpPr>
                <p:cNvPr id="5520" name="Freeform 8785">
                  <a:extLst>
                    <a:ext uri="{FF2B5EF4-FFF2-40B4-BE49-F238E27FC236}">
                      <a16:creationId xmlns:a16="http://schemas.microsoft.com/office/drawing/2014/main" id="{71FF032E-5B26-B80F-D806-2942438753DD}"/>
                    </a:ext>
                  </a:extLst>
                </p:cNvPr>
                <p:cNvSpPr/>
                <p:nvPr/>
              </p:nvSpPr>
              <p:spPr>
                <a:xfrm>
                  <a:off x="2168673" y="1193461"/>
                  <a:ext cx="23790" cy="46335"/>
                </a:xfrm>
                <a:custGeom>
                  <a:avLst/>
                  <a:gdLst>
                    <a:gd name="connsiteX0" fmla="*/ 0 w 23790"/>
                    <a:gd name="connsiteY0" fmla="*/ 46335 h 46335"/>
                    <a:gd name="connsiteX1" fmla="*/ 10089 w 23790"/>
                    <a:gd name="connsiteY1" fmla="*/ 30517 h 46335"/>
                    <a:gd name="connsiteX2" fmla="*/ 14573 w 23790"/>
                    <a:gd name="connsiteY2" fmla="*/ 13701 h 46335"/>
                    <a:gd name="connsiteX3" fmla="*/ 23791 w 23790"/>
                    <a:gd name="connsiteY3" fmla="*/ 0 h 46335"/>
                  </a:gdLst>
                  <a:ahLst/>
                  <a:cxnLst>
                    <a:cxn ang="0">
                      <a:pos x="connsiteX0" y="connsiteY0"/>
                    </a:cxn>
                    <a:cxn ang="0">
                      <a:pos x="connsiteX1" y="connsiteY1"/>
                    </a:cxn>
                    <a:cxn ang="0">
                      <a:pos x="connsiteX2" y="connsiteY2"/>
                    </a:cxn>
                    <a:cxn ang="0">
                      <a:pos x="connsiteX3" y="connsiteY3"/>
                    </a:cxn>
                  </a:cxnLst>
                  <a:rect l="l" t="t" r="r" b="b"/>
                  <a:pathLst>
                    <a:path w="23790" h="46335">
                      <a:moveTo>
                        <a:pt x="0" y="46335"/>
                      </a:moveTo>
                      <a:cubicBezTo>
                        <a:pt x="5854" y="40232"/>
                        <a:pt x="8595" y="34502"/>
                        <a:pt x="10089" y="30517"/>
                      </a:cubicBezTo>
                      <a:cubicBezTo>
                        <a:pt x="12456" y="23915"/>
                        <a:pt x="11958" y="20303"/>
                        <a:pt x="14573" y="13701"/>
                      </a:cubicBezTo>
                      <a:cubicBezTo>
                        <a:pt x="17189" y="7349"/>
                        <a:pt x="21050" y="2865"/>
                        <a:pt x="237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1" name="Freeform 8786">
                  <a:extLst>
                    <a:ext uri="{FF2B5EF4-FFF2-40B4-BE49-F238E27FC236}">
                      <a16:creationId xmlns:a16="http://schemas.microsoft.com/office/drawing/2014/main" id="{6540D79D-108D-26C1-664A-DE69D0A61D8E}"/>
                    </a:ext>
                  </a:extLst>
                </p:cNvPr>
                <p:cNvSpPr/>
                <p:nvPr/>
              </p:nvSpPr>
              <p:spPr>
                <a:xfrm>
                  <a:off x="2160079" y="1194208"/>
                  <a:ext cx="22669" cy="46958"/>
                </a:xfrm>
                <a:custGeom>
                  <a:avLst/>
                  <a:gdLst>
                    <a:gd name="connsiteX0" fmla="*/ 22670 w 22669"/>
                    <a:gd name="connsiteY0" fmla="*/ 0 h 46958"/>
                    <a:gd name="connsiteX1" fmla="*/ 16068 w 22669"/>
                    <a:gd name="connsiteY1" fmla="*/ 17563 h 46958"/>
                    <a:gd name="connsiteX2" fmla="*/ 5356 w 22669"/>
                    <a:gd name="connsiteY2" fmla="*/ 31389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21299" y="8221"/>
                        <a:pt x="18434" y="13950"/>
                        <a:pt x="16068" y="17563"/>
                      </a:cubicBezTo>
                      <a:cubicBezTo>
                        <a:pt x="12207" y="23417"/>
                        <a:pt x="8968"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2" name="Freeform 8787">
                  <a:extLst>
                    <a:ext uri="{FF2B5EF4-FFF2-40B4-BE49-F238E27FC236}">
                      <a16:creationId xmlns:a16="http://schemas.microsoft.com/office/drawing/2014/main" id="{C5FD60A9-A6DA-88B9-3E08-C35DAC4B030B}"/>
                    </a:ext>
                  </a:extLst>
                </p:cNvPr>
                <p:cNvSpPr/>
                <p:nvPr/>
              </p:nvSpPr>
              <p:spPr>
                <a:xfrm>
                  <a:off x="2148756" y="1231333"/>
                  <a:ext cx="27005" cy="26415"/>
                </a:xfrm>
                <a:custGeom>
                  <a:avLst/>
                  <a:gdLst>
                    <a:gd name="connsiteX0" fmla="*/ 1358 w 27005"/>
                    <a:gd name="connsiteY0" fmla="*/ 7343 h 26415"/>
                    <a:gd name="connsiteX1" fmla="*/ 19419 w 27005"/>
                    <a:gd name="connsiteY1" fmla="*/ 1364 h 26415"/>
                    <a:gd name="connsiteX2" fmla="*/ 25647 w 27005"/>
                    <a:gd name="connsiteY2" fmla="*/ 19051 h 26415"/>
                    <a:gd name="connsiteX3" fmla="*/ 7586 w 27005"/>
                    <a:gd name="connsiteY3" fmla="*/ 25030 h 26415"/>
                    <a:gd name="connsiteX4" fmla="*/ 1358 w 27005"/>
                    <a:gd name="connsiteY4" fmla="*/ 7343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5" h="26415">
                      <a:moveTo>
                        <a:pt x="1358" y="7343"/>
                      </a:moveTo>
                      <a:cubicBezTo>
                        <a:pt x="4597" y="866"/>
                        <a:pt x="12693" y="-1875"/>
                        <a:pt x="19419" y="1364"/>
                      </a:cubicBezTo>
                      <a:cubicBezTo>
                        <a:pt x="26145" y="4602"/>
                        <a:pt x="28885" y="12574"/>
                        <a:pt x="25647" y="19051"/>
                      </a:cubicBezTo>
                      <a:cubicBezTo>
                        <a:pt x="22408" y="25653"/>
                        <a:pt x="14312" y="28268"/>
                        <a:pt x="7586" y="25030"/>
                      </a:cubicBezTo>
                      <a:cubicBezTo>
                        <a:pt x="860" y="21791"/>
                        <a:pt x="-1880" y="13820"/>
                        <a:pt x="135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3" name="Freeform 8788">
                  <a:extLst>
                    <a:ext uri="{FF2B5EF4-FFF2-40B4-BE49-F238E27FC236}">
                      <a16:creationId xmlns:a16="http://schemas.microsoft.com/office/drawing/2014/main" id="{EE715999-175E-A9B3-ACED-54B5A33DD8DC}"/>
                    </a:ext>
                  </a:extLst>
                </p:cNvPr>
                <p:cNvSpPr/>
                <p:nvPr/>
              </p:nvSpPr>
              <p:spPr>
                <a:xfrm>
                  <a:off x="2186610" y="1139777"/>
                  <a:ext cx="23915" cy="46335"/>
                </a:xfrm>
                <a:custGeom>
                  <a:avLst/>
                  <a:gdLst>
                    <a:gd name="connsiteX0" fmla="*/ 23915 w 23915"/>
                    <a:gd name="connsiteY0" fmla="*/ 0 h 46335"/>
                    <a:gd name="connsiteX1" fmla="*/ 13826 w 23915"/>
                    <a:gd name="connsiteY1" fmla="*/ 15819 h 46335"/>
                    <a:gd name="connsiteX2" fmla="*/ 9217 w 23915"/>
                    <a:gd name="connsiteY2" fmla="*/ 32634 h 46335"/>
                    <a:gd name="connsiteX3" fmla="*/ 0 w 23915"/>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915" h="46335">
                      <a:moveTo>
                        <a:pt x="23915" y="0"/>
                      </a:moveTo>
                      <a:cubicBezTo>
                        <a:pt x="18061" y="6103"/>
                        <a:pt x="15321" y="11833"/>
                        <a:pt x="13826" y="15819"/>
                      </a:cubicBezTo>
                      <a:cubicBezTo>
                        <a:pt x="11459" y="22420"/>
                        <a:pt x="11957" y="26033"/>
                        <a:pt x="9217" y="32634"/>
                      </a:cubicBezTo>
                      <a:cubicBezTo>
                        <a:pt x="6602" y="38987"/>
                        <a:pt x="2740"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4" name="Freeform 8789">
                  <a:extLst>
                    <a:ext uri="{FF2B5EF4-FFF2-40B4-BE49-F238E27FC236}">
                      <a16:creationId xmlns:a16="http://schemas.microsoft.com/office/drawing/2014/main" id="{F286F914-F0DD-0A2E-D8E9-0C06FC6A8ABD}"/>
                    </a:ext>
                  </a:extLst>
                </p:cNvPr>
                <p:cNvSpPr/>
                <p:nvPr/>
              </p:nvSpPr>
              <p:spPr>
                <a:xfrm>
                  <a:off x="2196450" y="1138282"/>
                  <a:ext cx="22669" cy="46958"/>
                </a:xfrm>
                <a:custGeom>
                  <a:avLst/>
                  <a:gdLst>
                    <a:gd name="connsiteX0" fmla="*/ 0 w 22669"/>
                    <a:gd name="connsiteY0" fmla="*/ 46958 h 46958"/>
                    <a:gd name="connsiteX1" fmla="*/ 6602 w 22669"/>
                    <a:gd name="connsiteY1" fmla="*/ 29396 h 46958"/>
                    <a:gd name="connsiteX2" fmla="*/ 17314 w 22669"/>
                    <a:gd name="connsiteY2" fmla="*/ 15570 h 46958"/>
                    <a:gd name="connsiteX3" fmla="*/ 22670 w 22669"/>
                    <a:gd name="connsiteY3" fmla="*/ 0 h 46958"/>
                  </a:gdLst>
                  <a:ahLst/>
                  <a:cxnLst>
                    <a:cxn ang="0">
                      <a:pos x="connsiteX0" y="connsiteY0"/>
                    </a:cxn>
                    <a:cxn ang="0">
                      <a:pos x="connsiteX1" y="connsiteY1"/>
                    </a:cxn>
                    <a:cxn ang="0">
                      <a:pos x="connsiteX2" y="connsiteY2"/>
                    </a:cxn>
                    <a:cxn ang="0">
                      <a:pos x="connsiteX3" y="connsiteY3"/>
                    </a:cxn>
                  </a:cxnLst>
                  <a:rect l="l" t="t" r="r" b="b"/>
                  <a:pathLst>
                    <a:path w="22669" h="46958">
                      <a:moveTo>
                        <a:pt x="0" y="46958"/>
                      </a:moveTo>
                      <a:cubicBezTo>
                        <a:pt x="1370" y="38737"/>
                        <a:pt x="4235" y="33008"/>
                        <a:pt x="6602" y="29396"/>
                      </a:cubicBezTo>
                      <a:cubicBezTo>
                        <a:pt x="10463" y="23541"/>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25" name="Freeform 8790">
                  <a:extLst>
                    <a:ext uri="{FF2B5EF4-FFF2-40B4-BE49-F238E27FC236}">
                      <a16:creationId xmlns:a16="http://schemas.microsoft.com/office/drawing/2014/main" id="{314AF0E5-DDC4-C31C-B8B2-C8B7484FBFE7}"/>
                    </a:ext>
                  </a:extLst>
                </p:cNvPr>
                <p:cNvSpPr/>
                <p:nvPr/>
              </p:nvSpPr>
              <p:spPr>
                <a:xfrm>
                  <a:off x="2203779" y="1121746"/>
                  <a:ext cx="26319" cy="26366"/>
                </a:xfrm>
                <a:custGeom>
                  <a:avLst/>
                  <a:gdLst>
                    <a:gd name="connsiteX0" fmla="*/ 24930 w 26319"/>
                    <a:gd name="connsiteY0" fmla="*/ 18902 h 26366"/>
                    <a:gd name="connsiteX1" fmla="*/ 7243 w 26319"/>
                    <a:gd name="connsiteY1" fmla="*/ 25006 h 26366"/>
                    <a:gd name="connsiteX2" fmla="*/ 1389 w 26319"/>
                    <a:gd name="connsiteY2" fmla="*/ 7443 h 26366"/>
                    <a:gd name="connsiteX3" fmla="*/ 19076 w 26319"/>
                    <a:gd name="connsiteY3" fmla="*/ 1340 h 26366"/>
                    <a:gd name="connsiteX4" fmla="*/ 24930 w 26319"/>
                    <a:gd name="connsiteY4" fmla="*/ 18902 h 26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366">
                      <a:moveTo>
                        <a:pt x="24930" y="18902"/>
                      </a:moveTo>
                      <a:cubicBezTo>
                        <a:pt x="21692" y="25504"/>
                        <a:pt x="13720" y="28244"/>
                        <a:pt x="7243" y="25006"/>
                      </a:cubicBezTo>
                      <a:cubicBezTo>
                        <a:pt x="766" y="21892"/>
                        <a:pt x="-1849" y="14044"/>
                        <a:pt x="1389" y="7443"/>
                      </a:cubicBezTo>
                      <a:cubicBezTo>
                        <a:pt x="4628" y="966"/>
                        <a:pt x="12599" y="-1899"/>
                        <a:pt x="19076" y="1340"/>
                      </a:cubicBezTo>
                      <a:cubicBezTo>
                        <a:pt x="25553" y="4454"/>
                        <a:pt x="28169" y="12301"/>
                        <a:pt x="24930" y="18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5513" name="Graphic 2987">
                <a:extLst>
                  <a:ext uri="{FF2B5EF4-FFF2-40B4-BE49-F238E27FC236}">
                    <a16:creationId xmlns:a16="http://schemas.microsoft.com/office/drawing/2014/main" id="{3529C7F5-C40B-4A05-67F3-4CC0F88C8712}"/>
                  </a:ext>
                </a:extLst>
              </p:cNvPr>
              <p:cNvGrpSpPr/>
              <p:nvPr/>
            </p:nvGrpSpPr>
            <p:grpSpPr>
              <a:xfrm>
                <a:off x="2121647" y="1109074"/>
                <a:ext cx="82173" cy="135449"/>
                <a:chOff x="2121647" y="1109074"/>
                <a:chExt cx="82173" cy="135449"/>
              </a:xfrm>
              <a:grpFill/>
            </p:grpSpPr>
            <p:sp>
              <p:nvSpPr>
                <p:cNvPr id="5514" name="Freeform 8792">
                  <a:extLst>
                    <a:ext uri="{FF2B5EF4-FFF2-40B4-BE49-F238E27FC236}">
                      <a16:creationId xmlns:a16="http://schemas.microsoft.com/office/drawing/2014/main" id="{26A13520-F221-1FE0-F7EA-34ADB2087371}"/>
                    </a:ext>
                  </a:extLst>
                </p:cNvPr>
                <p:cNvSpPr/>
                <p:nvPr/>
              </p:nvSpPr>
              <p:spPr>
                <a:xfrm>
                  <a:off x="2141769" y="1180507"/>
                  <a:ext cx="24164" cy="46210"/>
                </a:xfrm>
                <a:custGeom>
                  <a:avLst/>
                  <a:gdLst>
                    <a:gd name="connsiteX0" fmla="*/ 0 w 24164"/>
                    <a:gd name="connsiteY0" fmla="*/ 46211 h 46210"/>
                    <a:gd name="connsiteX1" fmla="*/ 10214 w 24164"/>
                    <a:gd name="connsiteY1" fmla="*/ 30392 h 46210"/>
                    <a:gd name="connsiteX2" fmla="*/ 14822 w 24164"/>
                    <a:gd name="connsiteY2" fmla="*/ 13701 h 46210"/>
                    <a:gd name="connsiteX3" fmla="*/ 24164 w 24164"/>
                    <a:gd name="connsiteY3" fmla="*/ 0 h 46210"/>
                  </a:gdLst>
                  <a:ahLst/>
                  <a:cxnLst>
                    <a:cxn ang="0">
                      <a:pos x="connsiteX0" y="connsiteY0"/>
                    </a:cxn>
                    <a:cxn ang="0">
                      <a:pos x="connsiteX1" y="connsiteY1"/>
                    </a:cxn>
                    <a:cxn ang="0">
                      <a:pos x="connsiteX2" y="connsiteY2"/>
                    </a:cxn>
                    <a:cxn ang="0">
                      <a:pos x="connsiteX3" y="connsiteY3"/>
                    </a:cxn>
                  </a:cxnLst>
                  <a:rect l="l" t="t" r="r" b="b"/>
                  <a:pathLst>
                    <a:path w="24164" h="46210">
                      <a:moveTo>
                        <a:pt x="0" y="46211"/>
                      </a:moveTo>
                      <a:cubicBezTo>
                        <a:pt x="5854" y="40108"/>
                        <a:pt x="8719" y="34502"/>
                        <a:pt x="10214" y="30392"/>
                      </a:cubicBezTo>
                      <a:cubicBezTo>
                        <a:pt x="12705" y="23791"/>
                        <a:pt x="12082" y="20178"/>
                        <a:pt x="14822" y="13701"/>
                      </a:cubicBezTo>
                      <a:cubicBezTo>
                        <a:pt x="17438" y="7349"/>
                        <a:pt x="21299" y="2865"/>
                        <a:pt x="24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5" name="Freeform 8793">
                  <a:extLst>
                    <a:ext uri="{FF2B5EF4-FFF2-40B4-BE49-F238E27FC236}">
                      <a16:creationId xmlns:a16="http://schemas.microsoft.com/office/drawing/2014/main" id="{C5E12B27-0379-52E8-3663-D4FCC4E2DF90}"/>
                    </a:ext>
                  </a:extLst>
                </p:cNvPr>
                <p:cNvSpPr/>
                <p:nvPr/>
              </p:nvSpPr>
              <p:spPr>
                <a:xfrm>
                  <a:off x="2132925" y="1181254"/>
                  <a:ext cx="23043" cy="46833"/>
                </a:xfrm>
                <a:custGeom>
                  <a:avLst/>
                  <a:gdLst>
                    <a:gd name="connsiteX0" fmla="*/ 23043 w 23043"/>
                    <a:gd name="connsiteY0" fmla="*/ 0 h 46833"/>
                    <a:gd name="connsiteX1" fmla="*/ 16317 w 23043"/>
                    <a:gd name="connsiteY1" fmla="*/ 17563 h 46833"/>
                    <a:gd name="connsiteX2" fmla="*/ 5480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3" y="0"/>
                      </a:moveTo>
                      <a:cubicBezTo>
                        <a:pt x="21673" y="8221"/>
                        <a:pt x="18808" y="13950"/>
                        <a:pt x="16317" y="17563"/>
                      </a:cubicBezTo>
                      <a:cubicBezTo>
                        <a:pt x="12456" y="23417"/>
                        <a:pt x="9093" y="25161"/>
                        <a:pt x="5480" y="31264"/>
                      </a:cubicBezTo>
                      <a:cubicBezTo>
                        <a:pt x="1868" y="37243"/>
                        <a:pt x="623"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6" name="Freeform 8794">
                  <a:extLst>
                    <a:ext uri="{FF2B5EF4-FFF2-40B4-BE49-F238E27FC236}">
                      <a16:creationId xmlns:a16="http://schemas.microsoft.com/office/drawing/2014/main" id="{42F0FEB4-0C5C-EAA1-C064-C6EB0AF6E619}"/>
                    </a:ext>
                  </a:extLst>
                </p:cNvPr>
                <p:cNvSpPr/>
                <p:nvPr/>
              </p:nvSpPr>
              <p:spPr>
                <a:xfrm>
                  <a:off x="2121647" y="1218130"/>
                  <a:ext cx="26984" cy="26393"/>
                </a:xfrm>
                <a:custGeom>
                  <a:avLst/>
                  <a:gdLst>
                    <a:gd name="connsiteX0" fmla="*/ 1438 w 26984"/>
                    <a:gd name="connsiteY0" fmla="*/ 7343 h 26393"/>
                    <a:gd name="connsiteX1" fmla="*/ 19498 w 26984"/>
                    <a:gd name="connsiteY1" fmla="*/ 1364 h 26393"/>
                    <a:gd name="connsiteX2" fmla="*/ 25602 w 26984"/>
                    <a:gd name="connsiteY2" fmla="*/ 19051 h 26393"/>
                    <a:gd name="connsiteX3" fmla="*/ 7541 w 26984"/>
                    <a:gd name="connsiteY3" fmla="*/ 25030 h 26393"/>
                    <a:gd name="connsiteX4" fmla="*/ 1438 w 26984"/>
                    <a:gd name="connsiteY4" fmla="*/ 7343 h 26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 h="26393">
                      <a:moveTo>
                        <a:pt x="1438" y="7343"/>
                      </a:moveTo>
                      <a:cubicBezTo>
                        <a:pt x="4801" y="866"/>
                        <a:pt x="12897" y="-1875"/>
                        <a:pt x="19498" y="1364"/>
                      </a:cubicBezTo>
                      <a:cubicBezTo>
                        <a:pt x="26225" y="4602"/>
                        <a:pt x="28840" y="12450"/>
                        <a:pt x="25602" y="19051"/>
                      </a:cubicBezTo>
                      <a:cubicBezTo>
                        <a:pt x="22363" y="25528"/>
                        <a:pt x="14143" y="28268"/>
                        <a:pt x="7541" y="25030"/>
                      </a:cubicBezTo>
                      <a:cubicBezTo>
                        <a:pt x="815" y="21791"/>
                        <a:pt x="-1925" y="13944"/>
                        <a:pt x="143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7" name="Freeform 8795">
                  <a:extLst>
                    <a:ext uri="{FF2B5EF4-FFF2-40B4-BE49-F238E27FC236}">
                      <a16:creationId xmlns:a16="http://schemas.microsoft.com/office/drawing/2014/main" id="{22126AEF-A4F3-01A2-C86B-1292DB6F1976}"/>
                    </a:ext>
                  </a:extLst>
                </p:cNvPr>
                <p:cNvSpPr/>
                <p:nvPr/>
              </p:nvSpPr>
              <p:spPr>
                <a:xfrm>
                  <a:off x="2159830" y="1126947"/>
                  <a:ext cx="24288" cy="46210"/>
                </a:xfrm>
                <a:custGeom>
                  <a:avLst/>
                  <a:gdLst>
                    <a:gd name="connsiteX0" fmla="*/ 24289 w 24288"/>
                    <a:gd name="connsiteY0" fmla="*/ 0 h 46210"/>
                    <a:gd name="connsiteX1" fmla="*/ 14075 w 24288"/>
                    <a:gd name="connsiteY1" fmla="*/ 15819 h 46210"/>
                    <a:gd name="connsiteX2" fmla="*/ 9342 w 24288"/>
                    <a:gd name="connsiteY2" fmla="*/ 32510 h 46210"/>
                    <a:gd name="connsiteX3" fmla="*/ 0 w 24288"/>
                    <a:gd name="connsiteY3" fmla="*/ 46211 h 46210"/>
                  </a:gdLst>
                  <a:ahLst/>
                  <a:cxnLst>
                    <a:cxn ang="0">
                      <a:pos x="connsiteX0" y="connsiteY0"/>
                    </a:cxn>
                    <a:cxn ang="0">
                      <a:pos x="connsiteX1" y="connsiteY1"/>
                    </a:cxn>
                    <a:cxn ang="0">
                      <a:pos x="connsiteX2" y="connsiteY2"/>
                    </a:cxn>
                    <a:cxn ang="0">
                      <a:pos x="connsiteX3" y="connsiteY3"/>
                    </a:cxn>
                  </a:cxnLst>
                  <a:rect l="l" t="t" r="r" b="b"/>
                  <a:pathLst>
                    <a:path w="24288" h="46210">
                      <a:moveTo>
                        <a:pt x="24289" y="0"/>
                      </a:moveTo>
                      <a:cubicBezTo>
                        <a:pt x="18435" y="6103"/>
                        <a:pt x="15570" y="11708"/>
                        <a:pt x="14075" y="15819"/>
                      </a:cubicBezTo>
                      <a:cubicBezTo>
                        <a:pt x="11584" y="22296"/>
                        <a:pt x="12082" y="26033"/>
                        <a:pt x="9342" y="32510"/>
                      </a:cubicBezTo>
                      <a:cubicBezTo>
                        <a:pt x="6602" y="38862"/>
                        <a:pt x="2865" y="43346"/>
                        <a:pt x="0" y="4621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8" name="Freeform 8796">
                  <a:extLst>
                    <a:ext uri="{FF2B5EF4-FFF2-40B4-BE49-F238E27FC236}">
                      <a16:creationId xmlns:a16="http://schemas.microsoft.com/office/drawing/2014/main" id="{2B587EAF-B491-D37C-A0E7-6A70C639DFA9}"/>
                    </a:ext>
                  </a:extLst>
                </p:cNvPr>
                <p:cNvSpPr/>
                <p:nvPr/>
              </p:nvSpPr>
              <p:spPr>
                <a:xfrm>
                  <a:off x="2169794" y="1125453"/>
                  <a:ext cx="23043" cy="46833"/>
                </a:xfrm>
                <a:custGeom>
                  <a:avLst/>
                  <a:gdLst>
                    <a:gd name="connsiteX0" fmla="*/ 0 w 23043"/>
                    <a:gd name="connsiteY0" fmla="*/ 46834 h 46833"/>
                    <a:gd name="connsiteX1" fmla="*/ 6726 w 23043"/>
                    <a:gd name="connsiteY1" fmla="*/ 29271 h 46833"/>
                    <a:gd name="connsiteX2" fmla="*/ 17563 w 23043"/>
                    <a:gd name="connsiteY2" fmla="*/ 15570 h 46833"/>
                    <a:gd name="connsiteX3" fmla="*/ 23043 w 23043"/>
                    <a:gd name="connsiteY3" fmla="*/ 0 h 46833"/>
                  </a:gdLst>
                  <a:ahLst/>
                  <a:cxnLst>
                    <a:cxn ang="0">
                      <a:pos x="connsiteX0" y="connsiteY0"/>
                    </a:cxn>
                    <a:cxn ang="0">
                      <a:pos x="connsiteX1" y="connsiteY1"/>
                    </a:cxn>
                    <a:cxn ang="0">
                      <a:pos x="connsiteX2" y="connsiteY2"/>
                    </a:cxn>
                    <a:cxn ang="0">
                      <a:pos x="connsiteX3" y="connsiteY3"/>
                    </a:cxn>
                  </a:cxnLst>
                  <a:rect l="l" t="t" r="r" b="b"/>
                  <a:pathLst>
                    <a:path w="23043" h="46833">
                      <a:moveTo>
                        <a:pt x="0" y="46834"/>
                      </a:moveTo>
                      <a:cubicBezTo>
                        <a:pt x="1370" y="38613"/>
                        <a:pt x="4235" y="32883"/>
                        <a:pt x="6726" y="29271"/>
                      </a:cubicBezTo>
                      <a:cubicBezTo>
                        <a:pt x="10587" y="23417"/>
                        <a:pt x="13826" y="21673"/>
                        <a:pt x="17563" y="15570"/>
                      </a:cubicBezTo>
                      <a:cubicBezTo>
                        <a:pt x="21050" y="9591"/>
                        <a:pt x="22420" y="3861"/>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519" name="Freeform 8797">
                  <a:extLst>
                    <a:ext uri="{FF2B5EF4-FFF2-40B4-BE49-F238E27FC236}">
                      <a16:creationId xmlns:a16="http://schemas.microsoft.com/office/drawing/2014/main" id="{1F0038B2-40F1-A33D-FE53-C562EDF10CC2}"/>
                    </a:ext>
                  </a:extLst>
                </p:cNvPr>
                <p:cNvSpPr/>
                <p:nvPr/>
              </p:nvSpPr>
              <p:spPr>
                <a:xfrm>
                  <a:off x="2177417" y="1109074"/>
                  <a:ext cx="26403" cy="26257"/>
                </a:xfrm>
                <a:custGeom>
                  <a:avLst/>
                  <a:gdLst>
                    <a:gd name="connsiteX0" fmla="*/ 25011 w 26403"/>
                    <a:gd name="connsiteY0" fmla="*/ 18869 h 26257"/>
                    <a:gd name="connsiteX1" fmla="*/ 7199 w 26403"/>
                    <a:gd name="connsiteY1" fmla="*/ 24973 h 26257"/>
                    <a:gd name="connsiteX2" fmla="*/ 1470 w 26403"/>
                    <a:gd name="connsiteY2" fmla="*/ 7410 h 26257"/>
                    <a:gd name="connsiteX3" fmla="*/ 19282 w 26403"/>
                    <a:gd name="connsiteY3" fmla="*/ 1307 h 26257"/>
                    <a:gd name="connsiteX4" fmla="*/ 25011 w 26403"/>
                    <a:gd name="connsiteY4" fmla="*/ 18869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2" h="26257">
                      <a:moveTo>
                        <a:pt x="25011" y="18869"/>
                      </a:moveTo>
                      <a:cubicBezTo>
                        <a:pt x="21773" y="25346"/>
                        <a:pt x="13801" y="28087"/>
                        <a:pt x="7199" y="24973"/>
                      </a:cubicBezTo>
                      <a:cubicBezTo>
                        <a:pt x="722" y="21859"/>
                        <a:pt x="-1893" y="14012"/>
                        <a:pt x="1470" y="7410"/>
                      </a:cubicBezTo>
                      <a:cubicBezTo>
                        <a:pt x="4833" y="808"/>
                        <a:pt x="12805" y="-1807"/>
                        <a:pt x="19282" y="1307"/>
                      </a:cubicBezTo>
                      <a:cubicBezTo>
                        <a:pt x="25634" y="4421"/>
                        <a:pt x="28250" y="12268"/>
                        <a:pt x="25011" y="188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48" name="TextBox 5606">
              <a:extLst>
                <a:ext uri="{FF2B5EF4-FFF2-40B4-BE49-F238E27FC236}">
                  <a16:creationId xmlns:a16="http://schemas.microsoft.com/office/drawing/2014/main" id="{63E942E3-4A2A-CF42-B058-7FC3C3610ACC}"/>
                </a:ext>
              </a:extLst>
            </p:cNvPr>
            <p:cNvSpPr txBox="1"/>
            <p:nvPr/>
          </p:nvSpPr>
          <p:spPr>
            <a:xfrm>
              <a:off x="6591913" y="1318362"/>
              <a:ext cx="1170513"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Célula bacteriana</a:t>
              </a:r>
            </a:p>
          </p:txBody>
        </p:sp>
        <p:sp>
          <p:nvSpPr>
            <p:cNvPr id="7152" name="TextBox 5611">
              <a:extLst>
                <a:ext uri="{FF2B5EF4-FFF2-40B4-BE49-F238E27FC236}">
                  <a16:creationId xmlns:a16="http://schemas.microsoft.com/office/drawing/2014/main" id="{F8FAE608-5FB8-FB7D-BF07-BC6DC9475AB4}"/>
                </a:ext>
              </a:extLst>
            </p:cNvPr>
            <p:cNvSpPr txBox="1"/>
            <p:nvPr/>
          </p:nvSpPr>
          <p:spPr>
            <a:xfrm>
              <a:off x="9258563" y="1759097"/>
              <a:ext cx="316112" cy="243272"/>
            </a:xfrm>
            <a:prstGeom prst="rect">
              <a:avLst/>
            </a:prstGeom>
            <a:noFill/>
          </p:spPr>
          <p:txBody>
            <a:bodyPr wrap="none" rtlCol="0">
              <a:spAutoFit/>
            </a:bodyPr>
            <a:lstStyle/>
            <a:p>
              <a:pPr defTabSz="914377" fontAlgn="base">
                <a:spcBef>
                  <a:spcPct val="0"/>
                </a:spcBef>
                <a:spcAft>
                  <a:spcPct val="0"/>
                </a:spcAft>
                <a:defRPr/>
              </a:pPr>
              <a:r>
                <a:rPr lang="en-US" sz="981">
                  <a:solidFill>
                    <a:srgbClr val="FFFFFF"/>
                  </a:solidFill>
                  <a:ea typeface="ヒラギノ角ゴ Pro W3" panose="020B0300000000000000" pitchFamily="34" charset="-128"/>
                  <a:cs typeface="Arial"/>
                  <a:sym typeface="Arial"/>
                </a:rPr>
                <a:t>C3</a:t>
              </a:r>
            </a:p>
          </p:txBody>
        </p:sp>
        <p:sp>
          <p:nvSpPr>
            <p:cNvPr id="7157" name="Freeform 5764">
              <a:extLst>
                <a:ext uri="{FF2B5EF4-FFF2-40B4-BE49-F238E27FC236}">
                  <a16:creationId xmlns:a16="http://schemas.microsoft.com/office/drawing/2014/main" id="{A7D316C1-E4F7-598E-056A-02D305AD5FCB}"/>
                </a:ext>
              </a:extLst>
            </p:cNvPr>
            <p:cNvSpPr/>
            <p:nvPr/>
          </p:nvSpPr>
          <p:spPr>
            <a:xfrm>
              <a:off x="1118813" y="1933022"/>
              <a:ext cx="1782177" cy="474385"/>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bg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8" name="TextBox 5618">
              <a:extLst>
                <a:ext uri="{FF2B5EF4-FFF2-40B4-BE49-F238E27FC236}">
                  <a16:creationId xmlns:a16="http://schemas.microsoft.com/office/drawing/2014/main" id="{2F2B331E-865E-8F85-0DC9-87D4D95B34CB}"/>
                </a:ext>
              </a:extLst>
            </p:cNvPr>
            <p:cNvSpPr txBox="1"/>
            <p:nvPr/>
          </p:nvSpPr>
          <p:spPr>
            <a:xfrm>
              <a:off x="1428971" y="2033787"/>
              <a:ext cx="1097801"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a:solidFill>
                    <a:srgbClr val="FFFFFF"/>
                  </a:solidFill>
                  <a:latin typeface="+mj-lt"/>
                  <a:ea typeface="ヒラギノ角ゴ Pro W3" panose="020B0300000000000000" pitchFamily="34" charset="-128"/>
                  <a:cs typeface="Arial"/>
                  <a:sym typeface="Arial"/>
                </a:rPr>
                <a:t>Via </a:t>
              </a:r>
              <a:r>
                <a:rPr lang="en-US" sz="1400" b="1" dirty="0" err="1">
                  <a:solidFill>
                    <a:srgbClr val="FFFFFF"/>
                  </a:solidFill>
                  <a:latin typeface="+mj-lt"/>
                  <a:ea typeface="ヒラギノ角ゴ Pro W3" panose="020B0300000000000000" pitchFamily="34" charset="-128"/>
                  <a:cs typeface="Arial"/>
                  <a:sym typeface="Arial"/>
                </a:rPr>
                <a:t>clássica</a:t>
              </a:r>
              <a:endParaRPr lang="en-US" sz="1400" b="1" dirty="0">
                <a:solidFill>
                  <a:srgbClr val="FFFFFF"/>
                </a:solidFill>
                <a:latin typeface="+mj-lt"/>
                <a:ea typeface="ヒラギノ角ゴ Pro W3" panose="020B0300000000000000" pitchFamily="34" charset="-128"/>
                <a:cs typeface="Arial"/>
                <a:sym typeface="Arial"/>
              </a:endParaRPr>
            </a:p>
          </p:txBody>
        </p:sp>
        <p:sp>
          <p:nvSpPr>
            <p:cNvPr id="7160" name="Freeform 5771">
              <a:extLst>
                <a:ext uri="{FF2B5EF4-FFF2-40B4-BE49-F238E27FC236}">
                  <a16:creationId xmlns:a16="http://schemas.microsoft.com/office/drawing/2014/main" id="{8DBED6C9-29DD-3FC5-C895-6CA9D0C0F614}"/>
                </a:ext>
              </a:extLst>
            </p:cNvPr>
            <p:cNvSpPr/>
            <p:nvPr/>
          </p:nvSpPr>
          <p:spPr>
            <a:xfrm>
              <a:off x="9833495" y="1933022"/>
              <a:ext cx="1780032" cy="461620"/>
            </a:xfrm>
            <a:custGeom>
              <a:avLst/>
              <a:gdLst>
                <a:gd name="connsiteX0" fmla="*/ 0 w 1783167"/>
                <a:gd name="connsiteY0" fmla="*/ 0 h 323227"/>
                <a:gd name="connsiteX1" fmla="*/ 1783167 w 1783167"/>
                <a:gd name="connsiteY1" fmla="*/ 0 h 323227"/>
                <a:gd name="connsiteX2" fmla="*/ 1783167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7" y="0"/>
                  </a:lnTo>
                  <a:lnTo>
                    <a:pt x="1783167" y="323227"/>
                  </a:lnTo>
                  <a:lnTo>
                    <a:pt x="0" y="323227"/>
                  </a:lnTo>
                  <a:close/>
                </a:path>
              </a:pathLst>
            </a:custGeom>
            <a:solidFill>
              <a:schemeClr val="tx2"/>
            </a:solidFill>
            <a:ln w="12452" cap="flat">
              <a:noFill/>
              <a:prstDash val="solid"/>
              <a:miter/>
            </a:ln>
          </p:spPr>
          <p:txBody>
            <a:bodyPr rtlCol="0" anchor="ctr"/>
            <a:lstStyle/>
            <a:p>
              <a:pPr defTabSz="914377" fontAlgn="base">
                <a:spcBef>
                  <a:spcPct val="0"/>
                </a:spcBef>
                <a:spcAft>
                  <a:spcPct val="0"/>
                </a:spcAft>
                <a:defRPr/>
              </a:pPr>
              <a:endParaRPr lang="en-US">
                <a:solidFill>
                  <a:srgbClr val="37302C"/>
                </a:solidFill>
                <a:ea typeface="ヒラギノ角ゴ Pro W3" panose="020B0300000000000000" pitchFamily="34" charset="-128"/>
                <a:cs typeface="Arial"/>
              </a:endParaRPr>
            </a:p>
          </p:txBody>
        </p:sp>
        <p:sp>
          <p:nvSpPr>
            <p:cNvPr id="7161" name="TextBox 5621">
              <a:extLst>
                <a:ext uri="{FF2B5EF4-FFF2-40B4-BE49-F238E27FC236}">
                  <a16:creationId xmlns:a16="http://schemas.microsoft.com/office/drawing/2014/main" id="{9A499B8A-BF26-3A9F-4D02-D1DA7A6A3C97}"/>
                </a:ext>
              </a:extLst>
            </p:cNvPr>
            <p:cNvSpPr txBox="1"/>
            <p:nvPr/>
          </p:nvSpPr>
          <p:spPr>
            <a:xfrm>
              <a:off x="10041477" y="2019643"/>
              <a:ext cx="1351011" cy="286232"/>
            </a:xfrm>
            <a:prstGeom prst="rect">
              <a:avLst/>
            </a:prstGeom>
            <a:noFill/>
          </p:spPr>
          <p:txBody>
            <a:bodyPr wrap="none" rtlCol="0">
              <a:spAutoFit/>
            </a:bodyPr>
            <a:lstStyle/>
            <a:p>
              <a:pPr defTabSz="914377" fontAlgn="base">
                <a:lnSpc>
                  <a:spcPct val="90000"/>
                </a:lnSpc>
                <a:spcBef>
                  <a:spcPct val="0"/>
                </a:spcBef>
                <a:spcAft>
                  <a:spcPct val="0"/>
                </a:spcAft>
                <a:defRPr/>
              </a:pPr>
              <a:r>
                <a:rPr lang="en-US" sz="1400" b="1" dirty="0">
                  <a:solidFill>
                    <a:srgbClr val="FFFFFF"/>
                  </a:solidFill>
                  <a:latin typeface="+mj-lt"/>
                  <a:ea typeface="ヒラギノ角ゴ Pro W3" panose="020B0300000000000000" pitchFamily="34" charset="-128"/>
                  <a:cs typeface="Arial"/>
                  <a:sym typeface="Arial"/>
                </a:rPr>
                <a:t>Via </a:t>
              </a:r>
              <a:r>
                <a:rPr lang="en-US" sz="1400" b="1" dirty="0" err="1">
                  <a:solidFill>
                    <a:srgbClr val="FFFFFF"/>
                  </a:solidFill>
                  <a:latin typeface="+mj-lt"/>
                  <a:ea typeface="ヒラギノ角ゴ Pro W3" panose="020B0300000000000000" pitchFamily="34" charset="-128"/>
                  <a:cs typeface="Arial"/>
                  <a:sym typeface="Arial"/>
                </a:rPr>
                <a:t>alternativa</a:t>
              </a:r>
              <a:endParaRPr lang="en-US" sz="1400" b="1" dirty="0">
                <a:solidFill>
                  <a:srgbClr val="FFFFFF"/>
                </a:solidFill>
                <a:latin typeface="+mj-lt"/>
                <a:ea typeface="ヒラギノ角ゴ Pro W3" panose="020B0300000000000000" pitchFamily="34" charset="-128"/>
                <a:cs typeface="Arial"/>
                <a:sym typeface="Arial"/>
              </a:endParaRPr>
            </a:p>
          </p:txBody>
        </p:sp>
        <p:sp>
          <p:nvSpPr>
            <p:cNvPr id="7162" name="TextBox 5623">
              <a:extLst>
                <a:ext uri="{FF2B5EF4-FFF2-40B4-BE49-F238E27FC236}">
                  <a16:creationId xmlns:a16="http://schemas.microsoft.com/office/drawing/2014/main" id="{56E3A775-7D80-2793-0E62-CF496E6E40D5}"/>
                </a:ext>
              </a:extLst>
            </p:cNvPr>
            <p:cNvSpPr txBox="1"/>
            <p:nvPr/>
          </p:nvSpPr>
          <p:spPr>
            <a:xfrm>
              <a:off x="5234224" y="1933022"/>
              <a:ext cx="1785632" cy="480131"/>
            </a:xfrm>
            <a:prstGeom prst="rect">
              <a:avLst/>
            </a:prstGeom>
            <a:solidFill>
              <a:schemeClr val="accent1"/>
            </a:solidFill>
          </p:spPr>
          <p:txBody>
            <a:bodyPr wrap="square" rtlCol="0" anchor="ctr" anchorCtr="1">
              <a:spAutoFit/>
            </a:bodyPr>
            <a:lstStyle/>
            <a:p>
              <a:pPr algn="ctr" defTabSz="914377" fontAlgn="base">
                <a:lnSpc>
                  <a:spcPct val="90000"/>
                </a:lnSpc>
                <a:spcBef>
                  <a:spcPct val="0"/>
                </a:spcBef>
                <a:spcAft>
                  <a:spcPct val="0"/>
                </a:spcAft>
                <a:defRPr/>
              </a:pPr>
              <a:r>
                <a:rPr lang="en-US" sz="1400" b="1">
                  <a:solidFill>
                    <a:srgbClr val="FFFFFF"/>
                  </a:solidFill>
                  <a:latin typeface="+mj-lt"/>
                  <a:ea typeface="ヒラギノ角ゴ Pro W3" panose="020B0300000000000000" pitchFamily="34" charset="-128"/>
                  <a:cs typeface="Arial"/>
                  <a:sym typeface="Arial"/>
                </a:rPr>
                <a:t>Ligação à manose</a:t>
              </a:r>
              <a:br>
                <a:rPr lang="en-US" sz="1400" b="1">
                  <a:solidFill>
                    <a:srgbClr val="FFFFFF"/>
                  </a:solidFill>
                  <a:latin typeface="+mj-lt"/>
                  <a:ea typeface="ヒラギノ角ゴ Pro W3" panose="020B0300000000000000" pitchFamily="34" charset="-128"/>
                  <a:cs typeface="Arial"/>
                  <a:sym typeface="Arial"/>
                </a:rPr>
              </a:br>
              <a:r>
                <a:rPr lang="en-US" sz="1400" b="1">
                  <a:solidFill>
                    <a:srgbClr val="FFFFFF"/>
                  </a:solidFill>
                  <a:latin typeface="+mj-lt"/>
                  <a:ea typeface="ヒラギノ角ゴ Pro W3" panose="020B0300000000000000" pitchFamily="34" charset="-128"/>
                  <a:cs typeface="Arial"/>
                  <a:sym typeface="Arial"/>
                </a:rPr>
                <a:t>via da lectina</a:t>
              </a:r>
            </a:p>
          </p:txBody>
        </p:sp>
        <p:sp>
          <p:nvSpPr>
            <p:cNvPr id="7163" name="TextBox 5624">
              <a:extLst>
                <a:ext uri="{FF2B5EF4-FFF2-40B4-BE49-F238E27FC236}">
                  <a16:creationId xmlns:a16="http://schemas.microsoft.com/office/drawing/2014/main" id="{433C7456-8DA8-CB88-8C8B-CC5496C7A090}"/>
                </a:ext>
              </a:extLst>
            </p:cNvPr>
            <p:cNvSpPr txBox="1"/>
            <p:nvPr/>
          </p:nvSpPr>
          <p:spPr>
            <a:xfrm>
              <a:off x="2311589" y="1442503"/>
              <a:ext cx="805029"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000000"/>
                  </a:solidFill>
                  <a:ea typeface="ヒラギノ角ゴ Pro W3" panose="020B0300000000000000" pitchFamily="34" charset="-128"/>
                  <a:cs typeface="Arial"/>
                  <a:sym typeface="Arial"/>
                </a:rPr>
                <a:t>Anticorpos</a:t>
              </a:r>
            </a:p>
          </p:txBody>
        </p:sp>
        <p:sp>
          <p:nvSpPr>
            <p:cNvPr id="7166" name="TextBox 5627">
              <a:extLst>
                <a:ext uri="{FF2B5EF4-FFF2-40B4-BE49-F238E27FC236}">
                  <a16:creationId xmlns:a16="http://schemas.microsoft.com/office/drawing/2014/main" id="{A6FD3D59-C97B-7757-49D6-DA563B7667AE}"/>
                </a:ext>
              </a:extLst>
            </p:cNvPr>
            <p:cNvSpPr txBox="1"/>
            <p:nvPr/>
          </p:nvSpPr>
          <p:spPr>
            <a:xfrm>
              <a:off x="4211355" y="1149647"/>
              <a:ext cx="1523803"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Superfície</a:t>
              </a:r>
              <a:endParaRPr lang="en-US" sz="1067" b="1" dirty="0">
                <a:solidFill>
                  <a:srgbClr val="000000"/>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067" b="1" dirty="0" err="1">
                  <a:solidFill>
                    <a:srgbClr val="000000"/>
                  </a:solidFill>
                  <a:ea typeface="ヒラギノ角ゴ Pro W3" panose="020B0300000000000000" pitchFamily="34" charset="-128"/>
                  <a:cs typeface="Arial"/>
                  <a:sym typeface="Arial"/>
                </a:rPr>
                <a:t>hidratos</a:t>
              </a:r>
              <a:r>
                <a:rPr lang="en-US" sz="1067" b="1" dirty="0">
                  <a:solidFill>
                    <a:srgbClr val="000000"/>
                  </a:solidFill>
                  <a:ea typeface="ヒラギノ角ゴ Pro W3" panose="020B0300000000000000" pitchFamily="34" charset="-128"/>
                  <a:cs typeface="Arial"/>
                  <a:sym typeface="Arial"/>
                </a:rPr>
                <a:t> de </a:t>
              </a:r>
              <a:r>
                <a:rPr lang="en-US" sz="1067" b="1" dirty="0" err="1">
                  <a:solidFill>
                    <a:srgbClr val="000000"/>
                  </a:solidFill>
                  <a:ea typeface="ヒラギノ角ゴ Pro W3" panose="020B0300000000000000" pitchFamily="34" charset="-128"/>
                  <a:cs typeface="Arial"/>
                  <a:sym typeface="Arial"/>
                </a:rPr>
                <a:t>carbono</a:t>
              </a:r>
              <a:endParaRPr lang="en-US" sz="1067" b="1" dirty="0">
                <a:solidFill>
                  <a:srgbClr val="000000"/>
                </a:solidFill>
                <a:ea typeface="ヒラギノ角ゴ Pro W3" panose="020B0300000000000000" pitchFamily="34" charset="-128"/>
                <a:cs typeface="Arial"/>
                <a:sym typeface="Arial"/>
              </a:endParaRPr>
            </a:p>
          </p:txBody>
        </p:sp>
        <p:sp>
          <p:nvSpPr>
            <p:cNvPr id="7167" name="TextBox 5628">
              <a:extLst>
                <a:ext uri="{FF2B5EF4-FFF2-40B4-BE49-F238E27FC236}">
                  <a16:creationId xmlns:a16="http://schemas.microsoft.com/office/drawing/2014/main" id="{C9D33FA2-332F-8635-36B3-64B8B54D2323}"/>
                </a:ext>
              </a:extLst>
            </p:cNvPr>
            <p:cNvSpPr txBox="1"/>
            <p:nvPr/>
          </p:nvSpPr>
          <p:spPr>
            <a:xfrm>
              <a:off x="9633555" y="1318362"/>
              <a:ext cx="2146583" cy="584968"/>
            </a:xfrm>
            <a:prstGeom prst="rect">
              <a:avLst/>
            </a:prstGeom>
            <a:noFill/>
          </p:spPr>
          <p:txBody>
            <a:bodyPr wrap="square" rtlCol="0">
              <a:spAutoFit/>
            </a:bodyPr>
            <a:lstStyle/>
            <a:p>
              <a:pPr algn="ct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Falta de </a:t>
              </a:r>
              <a:r>
                <a:rPr lang="en-US" sz="1067" b="1" dirty="0" err="1">
                  <a:solidFill>
                    <a:srgbClr val="000000"/>
                  </a:solidFill>
                  <a:ea typeface="ヒラギノ角ゴ Pro W3" panose="020B0300000000000000" pitchFamily="34" charset="-128"/>
                  <a:cs typeface="Arial"/>
                  <a:sym typeface="Arial"/>
                </a:rPr>
                <a:t>moléculas</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inibidoras</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complemento</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na</a:t>
              </a:r>
              <a:r>
                <a:rPr lang="en-US" sz="1067" b="1" dirty="0">
                  <a:solidFill>
                    <a:srgbClr val="000000"/>
                  </a:solidFill>
                  <a:ea typeface="ヒラギノ角ゴ Pro W3" panose="020B0300000000000000" pitchFamily="34" charset="-128"/>
                  <a:cs typeface="Arial"/>
                  <a:sym typeface="Arial"/>
                </a:rPr>
                <a:t> </a:t>
              </a:r>
              <a:r>
                <a:rPr lang="en-US" sz="1067" b="1" dirty="0" err="1">
                  <a:solidFill>
                    <a:srgbClr val="000000"/>
                  </a:solidFill>
                  <a:ea typeface="ヒラギノ角ゴ Pro W3" panose="020B0300000000000000" pitchFamily="34" charset="-128"/>
                  <a:cs typeface="Arial"/>
                  <a:sym typeface="Arial"/>
                </a:rPr>
                <a:t>superfície</a:t>
              </a:r>
              <a:r>
                <a:rPr lang="en-US" sz="1067" b="1" dirty="0">
                  <a:solidFill>
                    <a:srgbClr val="000000"/>
                  </a:solidFill>
                  <a:ea typeface="ヒラギノ角ゴ Pro W3" panose="020B0300000000000000" pitchFamily="34" charset="-128"/>
                  <a:cs typeface="Arial"/>
                  <a:sym typeface="Arial"/>
                </a:rPr>
                <a:t> do </a:t>
              </a:r>
              <a:r>
                <a:rPr lang="en-US" sz="1067" b="1" dirty="0" err="1">
                  <a:solidFill>
                    <a:srgbClr val="000000"/>
                  </a:solidFill>
                  <a:ea typeface="ヒラギノ角ゴ Pro W3" panose="020B0300000000000000" pitchFamily="34" charset="-128"/>
                  <a:cs typeface="Arial"/>
                  <a:sym typeface="Arial"/>
                </a:rPr>
                <a:t>patógeno</a:t>
              </a:r>
              <a:endParaRPr lang="en-US" sz="1067" b="1" dirty="0">
                <a:solidFill>
                  <a:srgbClr val="000000"/>
                </a:solidFill>
                <a:ea typeface="ヒラギノ角ゴ Pro W3" panose="020B0300000000000000" pitchFamily="34" charset="-128"/>
                <a:cs typeface="Arial"/>
                <a:sym typeface="Arial"/>
              </a:endParaRPr>
            </a:p>
          </p:txBody>
        </p:sp>
        <p:cxnSp>
          <p:nvCxnSpPr>
            <p:cNvPr id="7178" name="Straight Arrow Connector 160">
              <a:extLst>
                <a:ext uri="{FF2B5EF4-FFF2-40B4-BE49-F238E27FC236}">
                  <a16:creationId xmlns:a16="http://schemas.microsoft.com/office/drawing/2014/main" id="{62B29287-FF32-A720-CC9E-4CE5F9AC73D2}"/>
                </a:ext>
              </a:extLst>
            </p:cNvPr>
            <p:cNvCxnSpPr/>
            <p:nvPr/>
          </p:nvCxnSpPr>
          <p:spPr>
            <a:xfrm>
              <a:off x="1814436" y="2232125"/>
              <a:ext cx="3407808" cy="523753"/>
            </a:xfrm>
            <a:prstGeom prst="bentConnector3">
              <a:avLst>
                <a:gd name="adj1" fmla="val 4603"/>
              </a:avLst>
            </a:prstGeom>
            <a:noFill/>
            <a:ln w="19050" cap="flat" cmpd="sng" algn="ctr">
              <a:solidFill>
                <a:schemeClr val="bg2"/>
              </a:solidFill>
              <a:prstDash val="solid"/>
              <a:miter lim="800000"/>
              <a:headEnd type="none" w="med" len="med"/>
              <a:tailEnd type="arrow" w="med" len="med"/>
            </a:ln>
            <a:effectLst/>
          </p:spPr>
        </p:cxnSp>
        <p:cxnSp>
          <p:nvCxnSpPr>
            <p:cNvPr id="7179" name="Straight Arrow Connector 5642">
              <a:extLst>
                <a:ext uri="{FF2B5EF4-FFF2-40B4-BE49-F238E27FC236}">
                  <a16:creationId xmlns:a16="http://schemas.microsoft.com/office/drawing/2014/main" id="{913A345F-5540-1461-ABBB-6244DF314039}"/>
                </a:ext>
              </a:extLst>
            </p:cNvPr>
            <p:cNvCxnSpPr/>
            <p:nvPr/>
          </p:nvCxnSpPr>
          <p:spPr>
            <a:xfrm flipH="1">
              <a:off x="6127040" y="2259501"/>
              <a:ext cx="0" cy="290047"/>
            </a:xfrm>
            <a:prstGeom prst="straightConnector1">
              <a:avLst/>
            </a:prstGeom>
            <a:noFill/>
            <a:ln w="38100" cap="flat" cmpd="sng" algn="ctr">
              <a:solidFill>
                <a:schemeClr val="accent1"/>
              </a:solidFill>
              <a:prstDash val="solid"/>
              <a:miter lim="800000"/>
              <a:tailEnd type="triangle" w="med" len="med"/>
            </a:ln>
            <a:effectLst/>
          </p:spPr>
        </p:cxnSp>
        <p:pic>
          <p:nvPicPr>
            <p:cNvPr id="7198" name="Picture 5665">
              <a:extLst>
                <a:ext uri="{FF2B5EF4-FFF2-40B4-BE49-F238E27FC236}">
                  <a16:creationId xmlns:a16="http://schemas.microsoft.com/office/drawing/2014/main" id="{F1A210CB-A654-B176-A855-F73F31CE52EC}"/>
                </a:ext>
              </a:extLst>
            </p:cNvPr>
            <p:cNvPicPr>
              <a:picLocks noChangeAspect="1"/>
            </p:cNvPicPr>
            <p:nvPr/>
          </p:nvPicPr>
          <p:blipFill>
            <a:blip r:embed="rId3"/>
            <a:stretch>
              <a:fillRect/>
            </a:stretch>
          </p:blipFill>
          <p:spPr>
            <a:xfrm>
              <a:off x="3179740" y="1251054"/>
              <a:ext cx="678177" cy="1136092"/>
            </a:xfrm>
            <a:prstGeom prst="rect">
              <a:avLst/>
            </a:prstGeom>
          </p:spPr>
        </p:pic>
        <p:cxnSp>
          <p:nvCxnSpPr>
            <p:cNvPr id="7199" name="Straight Connector 5666">
              <a:extLst>
                <a:ext uri="{FF2B5EF4-FFF2-40B4-BE49-F238E27FC236}">
                  <a16:creationId xmlns:a16="http://schemas.microsoft.com/office/drawing/2014/main" id="{26398992-0972-2D2E-AFAE-CD3DF3E083C8}"/>
                </a:ext>
              </a:extLst>
            </p:cNvPr>
            <p:cNvCxnSpPr>
              <a:endCxn id="7198" idx="1"/>
            </p:cNvCxnSpPr>
            <p:nvPr/>
          </p:nvCxnSpPr>
          <p:spPr>
            <a:xfrm>
              <a:off x="2900990" y="1660060"/>
              <a:ext cx="278749" cy="159041"/>
            </a:xfrm>
            <a:prstGeom prst="line">
              <a:avLst/>
            </a:prstGeom>
            <a:noFill/>
            <a:ln w="6350" cap="flat" cmpd="sng" algn="ctr">
              <a:solidFill>
                <a:srgbClr val="001E60"/>
              </a:solidFill>
              <a:prstDash val="solid"/>
              <a:miter lim="800000"/>
            </a:ln>
            <a:effectLst/>
          </p:spPr>
        </p:cxnSp>
        <p:pic>
          <p:nvPicPr>
            <p:cNvPr id="7200" name="Picture 5667">
              <a:extLst>
                <a:ext uri="{FF2B5EF4-FFF2-40B4-BE49-F238E27FC236}">
                  <a16:creationId xmlns:a16="http://schemas.microsoft.com/office/drawing/2014/main" id="{2ECFFF4A-7759-C1F0-4AB7-DEBD4AC18347}"/>
                </a:ext>
              </a:extLst>
            </p:cNvPr>
            <p:cNvPicPr>
              <a:picLocks noChangeAspect="1"/>
            </p:cNvPicPr>
            <p:nvPr/>
          </p:nvPicPr>
          <p:blipFill>
            <a:blip r:embed="rId4"/>
            <a:stretch>
              <a:fillRect/>
            </a:stretch>
          </p:blipFill>
          <p:spPr>
            <a:xfrm>
              <a:off x="4645452" y="1571118"/>
              <a:ext cx="522113" cy="904593"/>
            </a:xfrm>
            <a:prstGeom prst="rect">
              <a:avLst/>
            </a:prstGeom>
          </p:spPr>
        </p:pic>
      </p:grpSp>
      <p:grpSp>
        <p:nvGrpSpPr>
          <p:cNvPr id="13" name="Agrupar 12">
            <a:extLst>
              <a:ext uri="{FF2B5EF4-FFF2-40B4-BE49-F238E27FC236}">
                <a16:creationId xmlns:a16="http://schemas.microsoft.com/office/drawing/2014/main" id="{40855D7D-F5C9-30FE-44C4-4D2E746C3649}"/>
              </a:ext>
            </a:extLst>
          </p:cNvPr>
          <p:cNvGrpSpPr/>
          <p:nvPr/>
        </p:nvGrpSpPr>
        <p:grpSpPr>
          <a:xfrm>
            <a:off x="3698209" y="4388463"/>
            <a:ext cx="8262625" cy="1796705"/>
            <a:chOff x="3698209" y="4388463"/>
            <a:chExt cx="8262625" cy="1796705"/>
          </a:xfrm>
        </p:grpSpPr>
        <p:sp>
          <p:nvSpPr>
            <p:cNvPr id="3" name="Freeform 8876">
              <a:extLst>
                <a:ext uri="{FF2B5EF4-FFF2-40B4-BE49-F238E27FC236}">
                  <a16:creationId xmlns:a16="http://schemas.microsoft.com/office/drawing/2014/main" id="{754E8C96-588D-93E7-686B-D5619EE15191}"/>
                </a:ext>
              </a:extLst>
            </p:cNvPr>
            <p:cNvSpPr/>
            <p:nvPr/>
          </p:nvSpPr>
          <p:spPr>
            <a:xfrm>
              <a:off x="6624769" y="4929284"/>
              <a:ext cx="461313" cy="373027"/>
            </a:xfrm>
            <a:custGeom>
              <a:avLst/>
              <a:gdLst>
                <a:gd name="connsiteX0" fmla="*/ 398187 w 461313"/>
                <a:gd name="connsiteY0" fmla="*/ 22670 h 373026"/>
                <a:gd name="connsiteX1" fmla="*/ 415999 w 461313"/>
                <a:gd name="connsiteY1" fmla="*/ 0 h 373026"/>
                <a:gd name="connsiteX2" fmla="*/ 432316 w 461313"/>
                <a:gd name="connsiteY2" fmla="*/ 15071 h 373026"/>
                <a:gd name="connsiteX3" fmla="*/ 437298 w 461313"/>
                <a:gd name="connsiteY3" fmla="*/ 142743 h 373026"/>
                <a:gd name="connsiteX4" fmla="*/ 251084 w 461313"/>
                <a:gd name="connsiteY4" fmla="*/ 344028 h 373026"/>
                <a:gd name="connsiteX5" fmla="*/ 123413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1"/>
                  </a:lnTo>
                  <a:cubicBezTo>
                    <a:pt x="468936" y="48951"/>
                    <a:pt x="471178" y="106123"/>
                    <a:pt x="437298" y="142743"/>
                  </a:cubicBezTo>
                  <a:lnTo>
                    <a:pt x="251084" y="344028"/>
                  </a:lnTo>
                  <a:cubicBezTo>
                    <a:pt x="217205" y="380648"/>
                    <a:pt x="160033" y="382891"/>
                    <a:pt x="123413" y="349011"/>
                  </a:cubicBezTo>
                  <a:lnTo>
                    <a:pt x="28998" y="261696"/>
                  </a:lnTo>
                  <a:cubicBezTo>
                    <a:pt x="-7622" y="227816"/>
                    <a:pt x="-9864" y="170644"/>
                    <a:pt x="24016" y="134024"/>
                  </a:cubicBezTo>
                  <a:lnTo>
                    <a:pt x="122914" y="27029"/>
                  </a:lnTo>
                  <a:cubicBezTo>
                    <a:pt x="124907" y="29022"/>
                    <a:pt x="126776" y="31139"/>
                    <a:pt x="128893" y="33132"/>
                  </a:cubicBezTo>
                  <a:cubicBezTo>
                    <a:pt x="206119" y="104753"/>
                    <a:pt x="326691" y="100020"/>
                    <a:pt x="398187" y="22670"/>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 name="Freeform 8942">
              <a:extLst>
                <a:ext uri="{FF2B5EF4-FFF2-40B4-BE49-F238E27FC236}">
                  <a16:creationId xmlns:a16="http://schemas.microsoft.com/office/drawing/2014/main" id="{4E4A9DBC-F45C-FE71-496F-B5243AF36F97}"/>
                </a:ext>
              </a:extLst>
            </p:cNvPr>
            <p:cNvSpPr/>
            <p:nvPr/>
          </p:nvSpPr>
          <p:spPr>
            <a:xfrm>
              <a:off x="6045322" y="4795029"/>
              <a:ext cx="291589" cy="428727"/>
            </a:xfrm>
            <a:custGeom>
              <a:avLst/>
              <a:gdLst>
                <a:gd name="connsiteX0" fmla="*/ 205147 w 291589"/>
                <a:gd name="connsiteY0" fmla="*/ 428728 h 428727"/>
                <a:gd name="connsiteX1" fmla="*/ 86443 w 291589"/>
                <a:gd name="connsiteY1" fmla="*/ 428728 h 428727"/>
                <a:gd name="connsiteX2" fmla="*/ 0 w 291589"/>
                <a:gd name="connsiteY2" fmla="*/ 342285 h 428727"/>
                <a:gd name="connsiteX3" fmla="*/ 0 w 291589"/>
                <a:gd name="connsiteY3" fmla="*/ 86443 h 428727"/>
                <a:gd name="connsiteX4" fmla="*/ 86443 w 291589"/>
                <a:gd name="connsiteY4" fmla="*/ 0 h 428727"/>
                <a:gd name="connsiteX5" fmla="*/ 205147 w 291589"/>
                <a:gd name="connsiteY5" fmla="*/ 0 h 428727"/>
                <a:gd name="connsiteX6" fmla="*/ 291589 w 291589"/>
                <a:gd name="connsiteY6" fmla="*/ 86443 h 428727"/>
                <a:gd name="connsiteX7" fmla="*/ 291589 w 291589"/>
                <a:gd name="connsiteY7" fmla="*/ 342285 h 428727"/>
                <a:gd name="connsiteX8" fmla="*/ 205147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7" y="428728"/>
                  </a:moveTo>
                  <a:lnTo>
                    <a:pt x="86443" y="428728"/>
                  </a:lnTo>
                  <a:cubicBezTo>
                    <a:pt x="38737" y="428728"/>
                    <a:pt x="0" y="389990"/>
                    <a:pt x="0" y="342285"/>
                  </a:cubicBezTo>
                  <a:lnTo>
                    <a:pt x="0" y="86443"/>
                  </a:lnTo>
                  <a:cubicBezTo>
                    <a:pt x="0" y="38738"/>
                    <a:pt x="38737" y="0"/>
                    <a:pt x="86443" y="0"/>
                  </a:cubicBezTo>
                  <a:lnTo>
                    <a:pt x="205147" y="0"/>
                  </a:lnTo>
                  <a:cubicBezTo>
                    <a:pt x="252852" y="0"/>
                    <a:pt x="291589" y="38738"/>
                    <a:pt x="291589" y="86443"/>
                  </a:cubicBezTo>
                  <a:lnTo>
                    <a:pt x="291589" y="342285"/>
                  </a:lnTo>
                  <a:cubicBezTo>
                    <a:pt x="291589" y="390115"/>
                    <a:pt x="252852" y="428728"/>
                    <a:pt x="205147" y="428728"/>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 name="Freeform 8952">
              <a:extLst>
                <a:ext uri="{FF2B5EF4-FFF2-40B4-BE49-F238E27FC236}">
                  <a16:creationId xmlns:a16="http://schemas.microsoft.com/office/drawing/2014/main" id="{F443EEDD-3FB8-BA49-DCBD-7A5C2BCD10C6}"/>
                </a:ext>
              </a:extLst>
            </p:cNvPr>
            <p:cNvSpPr/>
            <p:nvPr/>
          </p:nvSpPr>
          <p:spPr>
            <a:xfrm>
              <a:off x="7936415" y="4994214"/>
              <a:ext cx="457155" cy="312031"/>
            </a:xfrm>
            <a:custGeom>
              <a:avLst/>
              <a:gdLst>
                <a:gd name="connsiteX0" fmla="*/ 428119 w 457154"/>
                <a:gd name="connsiteY0" fmla="*/ 195929 h 312030"/>
                <a:gd name="connsiteX1" fmla="*/ 456767 w 457154"/>
                <a:gd name="connsiteY1" fmla="*/ 193064 h 312030"/>
                <a:gd name="connsiteX2" fmla="*/ 457141 w 457154"/>
                <a:gd name="connsiteY2" fmla="*/ 215236 h 312030"/>
                <a:gd name="connsiteX3" fmla="*/ 368331 w 457154"/>
                <a:gd name="connsiteY3" fmla="*/ 307159 h 312030"/>
                <a:gd name="connsiteX4" fmla="*/ 94180 w 457154"/>
                <a:gd name="connsiteY4" fmla="*/ 312017 h 312030"/>
                <a:gd name="connsiteX5" fmla="*/ 2256 w 457154"/>
                <a:gd name="connsiteY5" fmla="*/ 223208 h 312030"/>
                <a:gd name="connsiteX6" fmla="*/ 14 w 457154"/>
                <a:gd name="connsiteY6" fmla="*/ 94539 h 312030"/>
                <a:gd name="connsiteX7" fmla="*/ 88824 w 457154"/>
                <a:gd name="connsiteY7" fmla="*/ 2616 h 312030"/>
                <a:gd name="connsiteX8" fmla="*/ 234432 w 457154"/>
                <a:gd name="connsiteY8" fmla="*/ 0 h 312030"/>
                <a:gd name="connsiteX9" fmla="*/ 234182 w 457154"/>
                <a:gd name="connsiteY9" fmla="*/ 8595 h 312030"/>
                <a:gd name="connsiteX10" fmla="*/ 428119 w 457154"/>
                <a:gd name="connsiteY10" fmla="*/ 195929 h 3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154" h="312030">
                  <a:moveTo>
                    <a:pt x="428119" y="195929"/>
                  </a:moveTo>
                  <a:cubicBezTo>
                    <a:pt x="437959" y="195805"/>
                    <a:pt x="447425" y="194559"/>
                    <a:pt x="456767" y="193064"/>
                  </a:cubicBezTo>
                  <a:lnTo>
                    <a:pt x="457141" y="215236"/>
                  </a:lnTo>
                  <a:cubicBezTo>
                    <a:pt x="458013" y="265183"/>
                    <a:pt x="418279" y="306287"/>
                    <a:pt x="368331" y="307159"/>
                  </a:cubicBezTo>
                  <a:lnTo>
                    <a:pt x="94180" y="312017"/>
                  </a:lnTo>
                  <a:cubicBezTo>
                    <a:pt x="44232" y="312889"/>
                    <a:pt x="3128" y="273155"/>
                    <a:pt x="2256" y="223208"/>
                  </a:cubicBezTo>
                  <a:lnTo>
                    <a:pt x="14" y="94539"/>
                  </a:lnTo>
                  <a:cubicBezTo>
                    <a:pt x="-858" y="44591"/>
                    <a:pt x="38876" y="3488"/>
                    <a:pt x="88824" y="2616"/>
                  </a:cubicBezTo>
                  <a:lnTo>
                    <a:pt x="234432" y="0"/>
                  </a:lnTo>
                  <a:cubicBezTo>
                    <a:pt x="234307" y="2865"/>
                    <a:pt x="234058" y="5605"/>
                    <a:pt x="234182" y="8595"/>
                  </a:cubicBezTo>
                  <a:cubicBezTo>
                    <a:pt x="236051" y="113970"/>
                    <a:pt x="322867" y="197798"/>
                    <a:pt x="428119" y="195929"/>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defTabSz="914377" fontAlgn="base">
                <a:spcBef>
                  <a:spcPct val="0"/>
                </a:spcBef>
                <a:spcAft>
                  <a:spcPct val="0"/>
                </a:spcAft>
              </a:pPr>
              <a:endParaRPr lang="en-US" kern="0">
                <a:solidFill>
                  <a:srgbClr val="37302C"/>
                </a:solidFill>
                <a:ea typeface="ヒラギノ角ゴ Pro W3" panose="020B0300000000000000" pitchFamily="34" charset="-128"/>
                <a:cs typeface="Arial"/>
              </a:endParaRPr>
            </a:p>
          </p:txBody>
        </p:sp>
        <p:sp>
          <p:nvSpPr>
            <p:cNvPr id="6" name="Freeform 8976">
              <a:extLst>
                <a:ext uri="{FF2B5EF4-FFF2-40B4-BE49-F238E27FC236}">
                  <a16:creationId xmlns:a16="http://schemas.microsoft.com/office/drawing/2014/main" id="{C9507B84-E75A-20DE-152D-A223EBF7FC2B}"/>
                </a:ext>
              </a:extLst>
            </p:cNvPr>
            <p:cNvSpPr/>
            <p:nvPr/>
          </p:nvSpPr>
          <p:spPr>
            <a:xfrm>
              <a:off x="5565273" y="5071179"/>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8 w 178681"/>
                <a:gd name="connsiteY4" fmla="*/ 291839 h 291838"/>
                <a:gd name="connsiteX5" fmla="*/ 163021 w 178681"/>
                <a:gd name="connsiteY5" fmla="*/ 185716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1" y="227940"/>
                    <a:pt x="83180" y="287354"/>
                  </a:cubicBezTo>
                  <a:cubicBezTo>
                    <a:pt x="85546" y="288974"/>
                    <a:pt x="88038" y="290344"/>
                    <a:pt x="90528" y="291839"/>
                  </a:cubicBezTo>
                  <a:lnTo>
                    <a:pt x="163021" y="185716"/>
                  </a:lnTo>
                  <a:cubicBezTo>
                    <a:pt x="191047" y="144362"/>
                    <a:pt x="180459" y="88187"/>
                    <a:pt x="139231" y="60037"/>
                  </a:cubicBezTo>
                  <a:close/>
                </a:path>
              </a:pathLst>
            </a:custGeom>
            <a:gradFill flip="none" rotWithShape="1">
              <a:gsLst>
                <a:gs pos="0">
                  <a:schemeClr val="tx2"/>
                </a:gs>
                <a:gs pos="100000">
                  <a:srgbClr val="005AA4"/>
                </a:gs>
              </a:gsLst>
              <a:lin ang="2700000" scaled="1"/>
              <a:tileRect/>
            </a:gradFill>
            <a:ln w="12452" cap="flat">
              <a:solidFill>
                <a:schemeClr val="tx2">
                  <a:lumMod val="75000"/>
                  <a:lumOff val="2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 name="Freeform 3647">
              <a:extLst>
                <a:ext uri="{FF2B5EF4-FFF2-40B4-BE49-F238E27FC236}">
                  <a16:creationId xmlns:a16="http://schemas.microsoft.com/office/drawing/2014/main" id="{9BEF5C03-5C4C-6CC8-C472-DAAD295E70FC}"/>
                </a:ext>
              </a:extLst>
            </p:cNvPr>
            <p:cNvSpPr/>
            <p:nvPr/>
          </p:nvSpPr>
          <p:spPr>
            <a:xfrm>
              <a:off x="5865725" y="4908619"/>
              <a:ext cx="155078" cy="281376"/>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8" name="Freeform 3648">
              <a:extLst>
                <a:ext uri="{FF2B5EF4-FFF2-40B4-BE49-F238E27FC236}">
                  <a16:creationId xmlns:a16="http://schemas.microsoft.com/office/drawing/2014/main" id="{1386B394-48EB-2DAA-D316-F7AC45986223}"/>
                </a:ext>
              </a:extLst>
            </p:cNvPr>
            <p:cNvSpPr/>
            <p:nvPr/>
          </p:nvSpPr>
          <p:spPr>
            <a:xfrm>
              <a:off x="5790243" y="5087734"/>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9" name="Freeform 3650">
              <a:extLst>
                <a:ext uri="{FF2B5EF4-FFF2-40B4-BE49-F238E27FC236}">
                  <a16:creationId xmlns:a16="http://schemas.microsoft.com/office/drawing/2014/main" id="{0B908AE1-2666-135D-5191-55086CE30C5F}"/>
                </a:ext>
              </a:extLst>
            </p:cNvPr>
            <p:cNvSpPr/>
            <p:nvPr/>
          </p:nvSpPr>
          <p:spPr>
            <a:xfrm flipH="1">
              <a:off x="6364285" y="4908619"/>
              <a:ext cx="155078" cy="281376"/>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0" name="Freeform 3654">
              <a:extLst>
                <a:ext uri="{FF2B5EF4-FFF2-40B4-BE49-F238E27FC236}">
                  <a16:creationId xmlns:a16="http://schemas.microsoft.com/office/drawing/2014/main" id="{53CB8673-87CA-03DC-C758-AD15B64719DE}"/>
                </a:ext>
              </a:extLst>
            </p:cNvPr>
            <p:cNvSpPr/>
            <p:nvPr/>
          </p:nvSpPr>
          <p:spPr>
            <a:xfrm flipH="1">
              <a:off x="6456462" y="5087734"/>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1" name="Freeform 3678">
              <a:extLst>
                <a:ext uri="{FF2B5EF4-FFF2-40B4-BE49-F238E27FC236}">
                  <a16:creationId xmlns:a16="http://schemas.microsoft.com/office/drawing/2014/main" id="{0102BFDF-8CB6-4B3C-35AC-5F079D894141}"/>
                </a:ext>
              </a:extLst>
            </p:cNvPr>
            <p:cNvSpPr/>
            <p:nvPr/>
          </p:nvSpPr>
          <p:spPr>
            <a:xfrm rot="19436672">
              <a:off x="6208010" y="4388463"/>
              <a:ext cx="155078" cy="281377"/>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2" name="Freeform 3679">
              <a:extLst>
                <a:ext uri="{FF2B5EF4-FFF2-40B4-BE49-F238E27FC236}">
                  <a16:creationId xmlns:a16="http://schemas.microsoft.com/office/drawing/2014/main" id="{BA50F4B5-EA23-9A75-B374-189A429FC1DA}"/>
                </a:ext>
              </a:extLst>
            </p:cNvPr>
            <p:cNvSpPr/>
            <p:nvPr/>
          </p:nvSpPr>
          <p:spPr>
            <a:xfrm rot="19436672">
              <a:off x="6208581" y="4597387"/>
              <a:ext cx="138382"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nvGrpSpPr>
            <p:cNvPr id="3646" name="Graphic 2987">
              <a:extLst>
                <a:ext uri="{FF2B5EF4-FFF2-40B4-BE49-F238E27FC236}">
                  <a16:creationId xmlns:a16="http://schemas.microsoft.com/office/drawing/2014/main" id="{2A47ADEF-B9C4-E944-1D42-676E1904427E}"/>
                </a:ext>
              </a:extLst>
            </p:cNvPr>
            <p:cNvGrpSpPr/>
            <p:nvPr/>
          </p:nvGrpSpPr>
          <p:grpSpPr>
            <a:xfrm>
              <a:off x="4731171" y="5548747"/>
              <a:ext cx="6654588" cy="634790"/>
              <a:chOff x="4731171" y="5548745"/>
              <a:chExt cx="6654588" cy="705895"/>
            </a:xfrm>
            <a:solidFill>
              <a:srgbClr val="B52455"/>
            </a:solidFill>
          </p:grpSpPr>
          <p:grpSp>
            <p:nvGrpSpPr>
              <p:cNvPr id="3647" name="Graphic 2987">
                <a:extLst>
                  <a:ext uri="{FF2B5EF4-FFF2-40B4-BE49-F238E27FC236}">
                    <a16:creationId xmlns:a16="http://schemas.microsoft.com/office/drawing/2014/main" id="{5DCFD32F-F111-DB7B-4C43-AE1A094B2087}"/>
                  </a:ext>
                </a:extLst>
              </p:cNvPr>
              <p:cNvGrpSpPr/>
              <p:nvPr/>
            </p:nvGrpSpPr>
            <p:grpSpPr>
              <a:xfrm>
                <a:off x="4731171" y="6112092"/>
                <a:ext cx="65258" cy="142548"/>
                <a:chOff x="4731171" y="6112092"/>
                <a:chExt cx="65258" cy="142548"/>
              </a:xfrm>
              <a:grpFill/>
            </p:grpSpPr>
            <p:sp>
              <p:nvSpPr>
                <p:cNvPr id="5237" name="Freeform 4167">
                  <a:extLst>
                    <a:ext uri="{FF2B5EF4-FFF2-40B4-BE49-F238E27FC236}">
                      <a16:creationId xmlns:a16="http://schemas.microsoft.com/office/drawing/2014/main" id="{93665F92-0422-D8AD-9638-6A5430A556AE}"/>
                    </a:ext>
                  </a:extLst>
                </p:cNvPr>
                <p:cNvSpPr/>
                <p:nvPr/>
              </p:nvSpPr>
              <p:spPr>
                <a:xfrm>
                  <a:off x="4743156" y="6133169"/>
                  <a:ext cx="15943" cy="49574"/>
                </a:xfrm>
                <a:custGeom>
                  <a:avLst/>
                  <a:gdLst>
                    <a:gd name="connsiteX0" fmla="*/ 0 w 15943"/>
                    <a:gd name="connsiteY0" fmla="*/ 0 h 49574"/>
                    <a:gd name="connsiteX1" fmla="*/ 4111 w 15943"/>
                    <a:gd name="connsiteY1" fmla="*/ 18310 h 49574"/>
                    <a:gd name="connsiteX2" fmla="*/ 12829 w 15943"/>
                    <a:gd name="connsiteY2" fmla="*/ 33381 h 49574"/>
                    <a:gd name="connsiteX3" fmla="*/ 15943 w 15943"/>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3" h="49574">
                      <a:moveTo>
                        <a:pt x="0" y="0"/>
                      </a:moveTo>
                      <a:cubicBezTo>
                        <a:pt x="125" y="8345"/>
                        <a:pt x="2242" y="14449"/>
                        <a:pt x="4111" y="18310"/>
                      </a:cubicBezTo>
                      <a:cubicBezTo>
                        <a:pt x="7100" y="24663"/>
                        <a:pt x="10089" y="26905"/>
                        <a:pt x="12829" y="33381"/>
                      </a:cubicBezTo>
                      <a:cubicBezTo>
                        <a:pt x="15445" y="39734"/>
                        <a:pt x="15943" y="45588"/>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8" name="Freeform 4168">
                  <a:extLst>
                    <a:ext uri="{FF2B5EF4-FFF2-40B4-BE49-F238E27FC236}">
                      <a16:creationId xmlns:a16="http://schemas.microsoft.com/office/drawing/2014/main" id="{99A37518-5575-DFF9-637E-BD399D94A498}"/>
                    </a:ext>
                  </a:extLst>
                </p:cNvPr>
                <p:cNvSpPr/>
                <p:nvPr/>
              </p:nvSpPr>
              <p:spPr>
                <a:xfrm>
                  <a:off x="4748263" y="6126319"/>
                  <a:ext cx="17189" cy="49200"/>
                </a:xfrm>
                <a:custGeom>
                  <a:avLst/>
                  <a:gdLst>
                    <a:gd name="connsiteX0" fmla="*/ 17189 w 17189"/>
                    <a:gd name="connsiteY0" fmla="*/ 49200 h 49200"/>
                    <a:gd name="connsiteX1" fmla="*/ 9342 w 17189"/>
                    <a:gd name="connsiteY1" fmla="*/ 32136 h 49200"/>
                    <a:gd name="connsiteX2" fmla="*/ 7225 w 17189"/>
                    <a:gd name="connsiteY2" fmla="*/ 14822 h 49200"/>
                    <a:gd name="connsiteX3" fmla="*/ 0 w 17189"/>
                    <a:gd name="connsiteY3" fmla="*/ 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49200"/>
                      </a:moveTo>
                      <a:cubicBezTo>
                        <a:pt x="12331" y="42350"/>
                        <a:pt x="10339" y="36371"/>
                        <a:pt x="9342" y="32136"/>
                      </a:cubicBezTo>
                      <a:cubicBezTo>
                        <a:pt x="7847" y="25285"/>
                        <a:pt x="8968" y="21798"/>
                        <a:pt x="7225"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9" name="Freeform 4169">
                  <a:extLst>
                    <a:ext uri="{FF2B5EF4-FFF2-40B4-BE49-F238E27FC236}">
                      <a16:creationId xmlns:a16="http://schemas.microsoft.com/office/drawing/2014/main" id="{B3E5B322-3255-E8C2-FA34-F8810B701167}"/>
                    </a:ext>
                  </a:extLst>
                </p:cNvPr>
                <p:cNvSpPr/>
                <p:nvPr/>
              </p:nvSpPr>
              <p:spPr>
                <a:xfrm>
                  <a:off x="4731171" y="6112092"/>
                  <a:ext cx="26632" cy="26460"/>
                </a:xfrm>
                <a:custGeom>
                  <a:avLst/>
                  <a:gdLst>
                    <a:gd name="connsiteX0" fmla="*/ 25935 w 26632"/>
                    <a:gd name="connsiteY0" fmla="*/ 9120 h 26460"/>
                    <a:gd name="connsiteX1" fmla="*/ 17465 w 26632"/>
                    <a:gd name="connsiteY1" fmla="*/ 25811 h 26460"/>
                    <a:gd name="connsiteX2" fmla="*/ 650 w 26632"/>
                    <a:gd name="connsiteY2" fmla="*/ 17341 h 26460"/>
                    <a:gd name="connsiteX3" fmla="*/ 9120 w 26632"/>
                    <a:gd name="connsiteY3" fmla="*/ 650 h 26460"/>
                    <a:gd name="connsiteX4" fmla="*/ 25935 w 26632"/>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60">
                      <a:moveTo>
                        <a:pt x="25935" y="9120"/>
                      </a:moveTo>
                      <a:cubicBezTo>
                        <a:pt x="28301" y="16095"/>
                        <a:pt x="24440" y="23569"/>
                        <a:pt x="17465" y="25811"/>
                      </a:cubicBezTo>
                      <a:cubicBezTo>
                        <a:pt x="10490" y="28053"/>
                        <a:pt x="2892" y="24316"/>
                        <a:pt x="650" y="17341"/>
                      </a:cubicBezTo>
                      <a:cubicBezTo>
                        <a:pt x="-1592" y="10365"/>
                        <a:pt x="2145" y="2892"/>
                        <a:pt x="9120" y="650"/>
                      </a:cubicBezTo>
                      <a:cubicBezTo>
                        <a:pt x="16095" y="-1592"/>
                        <a:pt x="23569" y="2145"/>
                        <a:pt x="25935"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0" name="Freeform 4170">
                  <a:extLst>
                    <a:ext uri="{FF2B5EF4-FFF2-40B4-BE49-F238E27FC236}">
                      <a16:creationId xmlns:a16="http://schemas.microsoft.com/office/drawing/2014/main" id="{79F0D3C6-151C-3915-6A60-A87CDC07E791}"/>
                    </a:ext>
                  </a:extLst>
                </p:cNvPr>
                <p:cNvSpPr/>
                <p:nvPr/>
              </p:nvSpPr>
              <p:spPr>
                <a:xfrm>
                  <a:off x="4768566" y="6183865"/>
                  <a:ext cx="15818" cy="49698"/>
                </a:xfrm>
                <a:custGeom>
                  <a:avLst/>
                  <a:gdLst>
                    <a:gd name="connsiteX0" fmla="*/ 15819 w 15818"/>
                    <a:gd name="connsiteY0" fmla="*/ 49698 h 49698"/>
                    <a:gd name="connsiteX1" fmla="*/ 11708 w 15818"/>
                    <a:gd name="connsiteY1" fmla="*/ 31388 h 49698"/>
                    <a:gd name="connsiteX2" fmla="*/ 3114 w 15818"/>
                    <a:gd name="connsiteY2" fmla="*/ 16192 h 49698"/>
                    <a:gd name="connsiteX3" fmla="*/ 0 w 15818"/>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5570" y="41353"/>
                        <a:pt x="13577" y="35250"/>
                        <a:pt x="11708" y="31388"/>
                      </a:cubicBezTo>
                      <a:cubicBezTo>
                        <a:pt x="8719" y="25036"/>
                        <a:pt x="5730"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1" name="Freeform 4171">
                  <a:extLst>
                    <a:ext uri="{FF2B5EF4-FFF2-40B4-BE49-F238E27FC236}">
                      <a16:creationId xmlns:a16="http://schemas.microsoft.com/office/drawing/2014/main" id="{45D75B14-003A-B6CF-5757-EFDBD58CAE72}"/>
                    </a:ext>
                  </a:extLst>
                </p:cNvPr>
                <p:cNvSpPr/>
                <p:nvPr/>
              </p:nvSpPr>
              <p:spPr>
                <a:xfrm>
                  <a:off x="4762089" y="6191338"/>
                  <a:ext cx="17313" cy="49200"/>
                </a:xfrm>
                <a:custGeom>
                  <a:avLst/>
                  <a:gdLst>
                    <a:gd name="connsiteX0" fmla="*/ 0 w 17313"/>
                    <a:gd name="connsiteY0" fmla="*/ 0 h 49200"/>
                    <a:gd name="connsiteX1" fmla="*/ 7847 w 17313"/>
                    <a:gd name="connsiteY1" fmla="*/ 17065 h 49200"/>
                    <a:gd name="connsiteX2" fmla="*/ 10089 w 17313"/>
                    <a:gd name="connsiteY2" fmla="*/ 34378 h 49200"/>
                    <a:gd name="connsiteX3" fmla="*/ 17313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0" y="0"/>
                      </a:moveTo>
                      <a:cubicBezTo>
                        <a:pt x="4858" y="6851"/>
                        <a:pt x="6851" y="12830"/>
                        <a:pt x="7847" y="17065"/>
                      </a:cubicBezTo>
                      <a:cubicBezTo>
                        <a:pt x="9342" y="23915"/>
                        <a:pt x="8221" y="27403"/>
                        <a:pt x="10089" y="34378"/>
                      </a:cubicBezTo>
                      <a:cubicBezTo>
                        <a:pt x="11833" y="41104"/>
                        <a:pt x="14947" y="46086"/>
                        <a:pt x="17313"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42" name="Freeform 4172">
                  <a:extLst>
                    <a:ext uri="{FF2B5EF4-FFF2-40B4-BE49-F238E27FC236}">
                      <a16:creationId xmlns:a16="http://schemas.microsoft.com/office/drawing/2014/main" id="{E9B25164-C217-35BA-46D0-C2C99C5602A2}"/>
                    </a:ext>
                  </a:extLst>
                </p:cNvPr>
                <p:cNvSpPr/>
                <p:nvPr/>
              </p:nvSpPr>
              <p:spPr>
                <a:xfrm>
                  <a:off x="4769972" y="6228180"/>
                  <a:ext cx="26457" cy="26460"/>
                </a:xfrm>
                <a:custGeom>
                  <a:avLst/>
                  <a:gdLst>
                    <a:gd name="connsiteX0" fmla="*/ 711 w 26457"/>
                    <a:gd name="connsiteY0" fmla="*/ 17341 h 26460"/>
                    <a:gd name="connsiteX1" fmla="*/ 9056 w 26457"/>
                    <a:gd name="connsiteY1" fmla="*/ 650 h 26460"/>
                    <a:gd name="connsiteX2" fmla="*/ 25747 w 26457"/>
                    <a:gd name="connsiteY2" fmla="*/ 9120 h 26460"/>
                    <a:gd name="connsiteX3" fmla="*/ 17401 w 26457"/>
                    <a:gd name="connsiteY3" fmla="*/ 25811 h 26460"/>
                    <a:gd name="connsiteX4" fmla="*/ 711 w 2645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6" h="26460">
                      <a:moveTo>
                        <a:pt x="711" y="17341"/>
                      </a:moveTo>
                      <a:cubicBezTo>
                        <a:pt x="-1656" y="10365"/>
                        <a:pt x="2081" y="2892"/>
                        <a:pt x="9056" y="650"/>
                      </a:cubicBezTo>
                      <a:cubicBezTo>
                        <a:pt x="16031" y="-1592"/>
                        <a:pt x="23505" y="2145"/>
                        <a:pt x="25747" y="9120"/>
                      </a:cubicBezTo>
                      <a:cubicBezTo>
                        <a:pt x="28113" y="16095"/>
                        <a:pt x="24377" y="23568"/>
                        <a:pt x="17401" y="25811"/>
                      </a:cubicBezTo>
                      <a:cubicBezTo>
                        <a:pt x="10551" y="28053"/>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8" name="Graphic 2987">
                <a:extLst>
                  <a:ext uri="{FF2B5EF4-FFF2-40B4-BE49-F238E27FC236}">
                    <a16:creationId xmlns:a16="http://schemas.microsoft.com/office/drawing/2014/main" id="{2EE6A528-702C-D857-EEC9-2AA1AA335AD1}"/>
                  </a:ext>
                </a:extLst>
              </p:cNvPr>
              <p:cNvGrpSpPr/>
              <p:nvPr/>
            </p:nvGrpSpPr>
            <p:grpSpPr>
              <a:xfrm>
                <a:off x="4759398" y="6102762"/>
                <a:ext cx="64872" cy="142786"/>
                <a:chOff x="4759398" y="6102762"/>
                <a:chExt cx="64872" cy="142786"/>
              </a:xfrm>
              <a:grpFill/>
            </p:grpSpPr>
            <p:sp>
              <p:nvSpPr>
                <p:cNvPr id="5231" name="Freeform 4174">
                  <a:extLst>
                    <a:ext uri="{FF2B5EF4-FFF2-40B4-BE49-F238E27FC236}">
                      <a16:creationId xmlns:a16="http://schemas.microsoft.com/office/drawing/2014/main" id="{29BDE299-C263-F71D-949D-2C23ABF8CC22}"/>
                    </a:ext>
                  </a:extLst>
                </p:cNvPr>
                <p:cNvSpPr/>
                <p:nvPr/>
              </p:nvSpPr>
              <p:spPr>
                <a:xfrm>
                  <a:off x="4771431" y="6123952"/>
                  <a:ext cx="15694" cy="49698"/>
                </a:xfrm>
                <a:custGeom>
                  <a:avLst/>
                  <a:gdLst>
                    <a:gd name="connsiteX0" fmla="*/ 0 w 15694"/>
                    <a:gd name="connsiteY0" fmla="*/ 0 h 49698"/>
                    <a:gd name="connsiteX1" fmla="*/ 3986 w 15694"/>
                    <a:gd name="connsiteY1" fmla="*/ 18310 h 49698"/>
                    <a:gd name="connsiteX2" fmla="*/ 12580 w 15694"/>
                    <a:gd name="connsiteY2" fmla="*/ 33506 h 49698"/>
                    <a:gd name="connsiteX3" fmla="*/ 15694 w 15694"/>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694" h="49698">
                      <a:moveTo>
                        <a:pt x="0" y="0"/>
                      </a:moveTo>
                      <a:cubicBezTo>
                        <a:pt x="124" y="8470"/>
                        <a:pt x="2117" y="14448"/>
                        <a:pt x="3986" y="18310"/>
                      </a:cubicBezTo>
                      <a:cubicBezTo>
                        <a:pt x="6975" y="24662"/>
                        <a:pt x="9840" y="26904"/>
                        <a:pt x="12580" y="33506"/>
                      </a:cubicBezTo>
                      <a:cubicBezTo>
                        <a:pt x="15196" y="39858"/>
                        <a:pt x="15694" y="45712"/>
                        <a:pt x="15694"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2" name="Freeform 4175">
                  <a:extLst>
                    <a:ext uri="{FF2B5EF4-FFF2-40B4-BE49-F238E27FC236}">
                      <a16:creationId xmlns:a16="http://schemas.microsoft.com/office/drawing/2014/main" id="{C2A13A94-5177-80B5-AA0A-4294E5896F02}"/>
                    </a:ext>
                  </a:extLst>
                </p:cNvPr>
                <p:cNvSpPr/>
                <p:nvPr/>
              </p:nvSpPr>
              <p:spPr>
                <a:xfrm>
                  <a:off x="4776537" y="6116977"/>
                  <a:ext cx="17064" cy="49324"/>
                </a:xfrm>
                <a:custGeom>
                  <a:avLst/>
                  <a:gdLst>
                    <a:gd name="connsiteX0" fmla="*/ 17064 w 17064"/>
                    <a:gd name="connsiteY0" fmla="*/ 49325 h 49324"/>
                    <a:gd name="connsiteX1" fmla="*/ 9342 w 17064"/>
                    <a:gd name="connsiteY1" fmla="*/ 32136 h 49324"/>
                    <a:gd name="connsiteX2" fmla="*/ 7224 w 17064"/>
                    <a:gd name="connsiteY2" fmla="*/ 14822 h 49324"/>
                    <a:gd name="connsiteX3" fmla="*/ 0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17064" y="49325"/>
                      </a:moveTo>
                      <a:cubicBezTo>
                        <a:pt x="12206" y="42474"/>
                        <a:pt x="10213" y="36495"/>
                        <a:pt x="9342" y="32136"/>
                      </a:cubicBezTo>
                      <a:cubicBezTo>
                        <a:pt x="7847" y="25285"/>
                        <a:pt x="8968" y="21673"/>
                        <a:pt x="7224"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3" name="Freeform 4176">
                  <a:extLst>
                    <a:ext uri="{FF2B5EF4-FFF2-40B4-BE49-F238E27FC236}">
                      <a16:creationId xmlns:a16="http://schemas.microsoft.com/office/drawing/2014/main" id="{7BD2E93F-FEF4-578E-9155-CC0396E3FE32}"/>
                    </a:ext>
                  </a:extLst>
                </p:cNvPr>
                <p:cNvSpPr/>
                <p:nvPr/>
              </p:nvSpPr>
              <p:spPr>
                <a:xfrm>
                  <a:off x="4759398" y="6102762"/>
                  <a:ext cx="26632" cy="26449"/>
                </a:xfrm>
                <a:custGeom>
                  <a:avLst/>
                  <a:gdLst>
                    <a:gd name="connsiteX0" fmla="*/ 25983 w 26632"/>
                    <a:gd name="connsiteY0" fmla="*/ 9109 h 26449"/>
                    <a:gd name="connsiteX1" fmla="*/ 17513 w 26632"/>
                    <a:gd name="connsiteY1" fmla="*/ 25799 h 26449"/>
                    <a:gd name="connsiteX2" fmla="*/ 698 w 26632"/>
                    <a:gd name="connsiteY2" fmla="*/ 17330 h 26449"/>
                    <a:gd name="connsiteX3" fmla="*/ 9167 w 26632"/>
                    <a:gd name="connsiteY3" fmla="*/ 638 h 26449"/>
                    <a:gd name="connsiteX4" fmla="*/ 25983 w 26632"/>
                    <a:gd name="connsiteY4" fmla="*/ 9109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 h="26449">
                      <a:moveTo>
                        <a:pt x="25983" y="9109"/>
                      </a:moveTo>
                      <a:cubicBezTo>
                        <a:pt x="28225" y="16084"/>
                        <a:pt x="24488" y="23557"/>
                        <a:pt x="17513" y="25799"/>
                      </a:cubicBezTo>
                      <a:cubicBezTo>
                        <a:pt x="10538" y="28041"/>
                        <a:pt x="2939" y="24305"/>
                        <a:pt x="698" y="17330"/>
                      </a:cubicBezTo>
                      <a:cubicBezTo>
                        <a:pt x="-1669" y="10354"/>
                        <a:pt x="2192" y="2881"/>
                        <a:pt x="9167" y="638"/>
                      </a:cubicBezTo>
                      <a:cubicBezTo>
                        <a:pt x="16143" y="-1603"/>
                        <a:pt x="23741" y="2258"/>
                        <a:pt x="25983" y="91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4" name="Freeform 4177">
                  <a:extLst>
                    <a:ext uri="{FF2B5EF4-FFF2-40B4-BE49-F238E27FC236}">
                      <a16:creationId xmlns:a16="http://schemas.microsoft.com/office/drawing/2014/main" id="{23C399F6-1012-EB06-39F6-207F3D7B46BE}"/>
                    </a:ext>
                  </a:extLst>
                </p:cNvPr>
                <p:cNvSpPr/>
                <p:nvPr/>
              </p:nvSpPr>
              <p:spPr>
                <a:xfrm>
                  <a:off x="4796591" y="6174772"/>
                  <a:ext cx="15694" cy="49698"/>
                </a:xfrm>
                <a:custGeom>
                  <a:avLst/>
                  <a:gdLst>
                    <a:gd name="connsiteX0" fmla="*/ 15694 w 15694"/>
                    <a:gd name="connsiteY0" fmla="*/ 49698 h 49698"/>
                    <a:gd name="connsiteX1" fmla="*/ 11708 w 15694"/>
                    <a:gd name="connsiteY1" fmla="*/ 31388 h 49698"/>
                    <a:gd name="connsiteX2" fmla="*/ 3114 w 15694"/>
                    <a:gd name="connsiteY2" fmla="*/ 16192 h 49698"/>
                    <a:gd name="connsiteX3" fmla="*/ 0 w 15694"/>
                    <a:gd name="connsiteY3" fmla="*/ 0 h 49698"/>
                  </a:gdLst>
                  <a:ahLst/>
                  <a:cxnLst>
                    <a:cxn ang="0">
                      <a:pos x="connsiteX0" y="connsiteY0"/>
                    </a:cxn>
                    <a:cxn ang="0">
                      <a:pos x="connsiteX1" y="connsiteY1"/>
                    </a:cxn>
                    <a:cxn ang="0">
                      <a:pos x="connsiteX2" y="connsiteY2"/>
                    </a:cxn>
                    <a:cxn ang="0">
                      <a:pos x="connsiteX3" y="connsiteY3"/>
                    </a:cxn>
                  </a:cxnLst>
                  <a:rect l="l" t="t" r="r" b="b"/>
                  <a:pathLst>
                    <a:path w="15694" h="49698">
                      <a:moveTo>
                        <a:pt x="15694" y="49698"/>
                      </a:moveTo>
                      <a:cubicBezTo>
                        <a:pt x="15570" y="41353"/>
                        <a:pt x="13452" y="35250"/>
                        <a:pt x="11708" y="31388"/>
                      </a:cubicBezTo>
                      <a:cubicBezTo>
                        <a:pt x="8843" y="25036"/>
                        <a:pt x="5854" y="22794"/>
                        <a:pt x="3114" y="16192"/>
                      </a:cubicBezTo>
                      <a:cubicBezTo>
                        <a:pt x="498"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5" name="Freeform 4178">
                  <a:extLst>
                    <a:ext uri="{FF2B5EF4-FFF2-40B4-BE49-F238E27FC236}">
                      <a16:creationId xmlns:a16="http://schemas.microsoft.com/office/drawing/2014/main" id="{66921738-2EB2-3ECB-6C8A-054880E7EE92}"/>
                    </a:ext>
                  </a:extLst>
                </p:cNvPr>
                <p:cNvSpPr/>
                <p:nvPr/>
              </p:nvSpPr>
              <p:spPr>
                <a:xfrm>
                  <a:off x="4790238" y="6182121"/>
                  <a:ext cx="17064" cy="49324"/>
                </a:xfrm>
                <a:custGeom>
                  <a:avLst/>
                  <a:gdLst>
                    <a:gd name="connsiteX0" fmla="*/ 0 w 17064"/>
                    <a:gd name="connsiteY0" fmla="*/ 0 h 49324"/>
                    <a:gd name="connsiteX1" fmla="*/ 7723 w 17064"/>
                    <a:gd name="connsiteY1" fmla="*/ 17189 h 49324"/>
                    <a:gd name="connsiteX2" fmla="*/ 9840 w 17064"/>
                    <a:gd name="connsiteY2" fmla="*/ 34503 h 49324"/>
                    <a:gd name="connsiteX3" fmla="*/ 17065 w 17064"/>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7064" h="49324">
                      <a:moveTo>
                        <a:pt x="0" y="0"/>
                      </a:moveTo>
                      <a:cubicBezTo>
                        <a:pt x="4858" y="6851"/>
                        <a:pt x="6851" y="12829"/>
                        <a:pt x="7723" y="17189"/>
                      </a:cubicBezTo>
                      <a:cubicBezTo>
                        <a:pt x="9218" y="24040"/>
                        <a:pt x="8097" y="27527"/>
                        <a:pt x="9840" y="34503"/>
                      </a:cubicBezTo>
                      <a:cubicBezTo>
                        <a:pt x="11584" y="41229"/>
                        <a:pt x="14698" y="46211"/>
                        <a:pt x="17065"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6" name="Freeform 4179">
                  <a:extLst>
                    <a:ext uri="{FF2B5EF4-FFF2-40B4-BE49-F238E27FC236}">
                      <a16:creationId xmlns:a16="http://schemas.microsoft.com/office/drawing/2014/main" id="{CF6B5E84-D0B5-2E76-35C8-A4DD88266E77}"/>
                    </a:ext>
                  </a:extLst>
                </p:cNvPr>
                <p:cNvSpPr/>
                <p:nvPr/>
              </p:nvSpPr>
              <p:spPr>
                <a:xfrm>
                  <a:off x="4797873" y="6219087"/>
                  <a:ext cx="26397" cy="26460"/>
                </a:xfrm>
                <a:custGeom>
                  <a:avLst/>
                  <a:gdLst>
                    <a:gd name="connsiteX0" fmla="*/ 711 w 26397"/>
                    <a:gd name="connsiteY0" fmla="*/ 17341 h 26460"/>
                    <a:gd name="connsiteX1" fmla="*/ 9056 w 26397"/>
                    <a:gd name="connsiteY1" fmla="*/ 650 h 26460"/>
                    <a:gd name="connsiteX2" fmla="*/ 25747 w 26397"/>
                    <a:gd name="connsiteY2" fmla="*/ 9120 h 26460"/>
                    <a:gd name="connsiteX3" fmla="*/ 17401 w 26397"/>
                    <a:gd name="connsiteY3" fmla="*/ 25811 h 26460"/>
                    <a:gd name="connsiteX4" fmla="*/ 711 w 26397"/>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7" h="26460">
                      <a:moveTo>
                        <a:pt x="711" y="17341"/>
                      </a:moveTo>
                      <a:cubicBezTo>
                        <a:pt x="-1656" y="10366"/>
                        <a:pt x="2081" y="2892"/>
                        <a:pt x="9056" y="650"/>
                      </a:cubicBezTo>
                      <a:cubicBezTo>
                        <a:pt x="16031" y="-1592"/>
                        <a:pt x="23380" y="2145"/>
                        <a:pt x="25747" y="9120"/>
                      </a:cubicBezTo>
                      <a:cubicBezTo>
                        <a:pt x="27989" y="16095"/>
                        <a:pt x="24252" y="23569"/>
                        <a:pt x="17401" y="25811"/>
                      </a:cubicBezTo>
                      <a:cubicBezTo>
                        <a:pt x="10551" y="28052"/>
                        <a:pt x="3077" y="24316"/>
                        <a:pt x="71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49" name="Graphic 2987">
                <a:extLst>
                  <a:ext uri="{FF2B5EF4-FFF2-40B4-BE49-F238E27FC236}">
                    <a16:creationId xmlns:a16="http://schemas.microsoft.com/office/drawing/2014/main" id="{9CB8523A-9674-EFEF-1088-9D2F0EC69772}"/>
                  </a:ext>
                </a:extLst>
              </p:cNvPr>
              <p:cNvGrpSpPr/>
              <p:nvPr/>
            </p:nvGrpSpPr>
            <p:grpSpPr>
              <a:xfrm>
                <a:off x="4787597" y="6093533"/>
                <a:ext cx="64575" cy="142844"/>
                <a:chOff x="4787597" y="6093533"/>
                <a:chExt cx="64575" cy="142844"/>
              </a:xfrm>
              <a:grpFill/>
            </p:grpSpPr>
            <p:sp>
              <p:nvSpPr>
                <p:cNvPr id="5225" name="Freeform 4181">
                  <a:extLst>
                    <a:ext uri="{FF2B5EF4-FFF2-40B4-BE49-F238E27FC236}">
                      <a16:creationId xmlns:a16="http://schemas.microsoft.com/office/drawing/2014/main" id="{A79F95BA-283D-B60A-6F47-3FB1B726C2A6}"/>
                    </a:ext>
                  </a:extLst>
                </p:cNvPr>
                <p:cNvSpPr/>
                <p:nvPr/>
              </p:nvSpPr>
              <p:spPr>
                <a:xfrm>
                  <a:off x="4799705" y="6114611"/>
                  <a:ext cx="15587" cy="49823"/>
                </a:xfrm>
                <a:custGeom>
                  <a:avLst/>
                  <a:gdLst>
                    <a:gd name="connsiteX0" fmla="*/ 0 w 15587"/>
                    <a:gd name="connsiteY0" fmla="*/ 0 h 49823"/>
                    <a:gd name="connsiteX1" fmla="*/ 3986 w 15587"/>
                    <a:gd name="connsiteY1" fmla="*/ 18434 h 49823"/>
                    <a:gd name="connsiteX2" fmla="*/ 12580 w 15587"/>
                    <a:gd name="connsiteY2" fmla="*/ 33630 h 49823"/>
                    <a:gd name="connsiteX3" fmla="*/ 15570 w 15587"/>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587" h="49823">
                      <a:moveTo>
                        <a:pt x="0" y="0"/>
                      </a:moveTo>
                      <a:cubicBezTo>
                        <a:pt x="125" y="8470"/>
                        <a:pt x="2118" y="14448"/>
                        <a:pt x="3986" y="18434"/>
                      </a:cubicBezTo>
                      <a:cubicBezTo>
                        <a:pt x="6851" y="24787"/>
                        <a:pt x="9840" y="27029"/>
                        <a:pt x="12580" y="33630"/>
                      </a:cubicBezTo>
                      <a:cubicBezTo>
                        <a:pt x="15196" y="39983"/>
                        <a:pt x="15694" y="45962"/>
                        <a:pt x="1557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6" name="Freeform 4182">
                  <a:extLst>
                    <a:ext uri="{FF2B5EF4-FFF2-40B4-BE49-F238E27FC236}">
                      <a16:creationId xmlns:a16="http://schemas.microsoft.com/office/drawing/2014/main" id="{C6FB57CD-AD08-3201-6C20-5DD200889CC2}"/>
                    </a:ext>
                  </a:extLst>
                </p:cNvPr>
                <p:cNvSpPr/>
                <p:nvPr/>
              </p:nvSpPr>
              <p:spPr>
                <a:xfrm>
                  <a:off x="4804937" y="6107760"/>
                  <a:ext cx="16814" cy="49324"/>
                </a:xfrm>
                <a:custGeom>
                  <a:avLst/>
                  <a:gdLst>
                    <a:gd name="connsiteX0" fmla="*/ 16815 w 16814"/>
                    <a:gd name="connsiteY0" fmla="*/ 49325 h 49324"/>
                    <a:gd name="connsiteX1" fmla="*/ 9092 w 16814"/>
                    <a:gd name="connsiteY1" fmla="*/ 32136 h 49324"/>
                    <a:gd name="connsiteX2" fmla="*/ 7099 w 16814"/>
                    <a:gd name="connsiteY2" fmla="*/ 14822 h 49324"/>
                    <a:gd name="connsiteX3" fmla="*/ 0 w 16814"/>
                    <a:gd name="connsiteY3" fmla="*/ 0 h 49324"/>
                  </a:gdLst>
                  <a:ahLst/>
                  <a:cxnLst>
                    <a:cxn ang="0">
                      <a:pos x="connsiteX0" y="connsiteY0"/>
                    </a:cxn>
                    <a:cxn ang="0">
                      <a:pos x="connsiteX1" y="connsiteY1"/>
                    </a:cxn>
                    <a:cxn ang="0">
                      <a:pos x="connsiteX2" y="connsiteY2"/>
                    </a:cxn>
                    <a:cxn ang="0">
                      <a:pos x="connsiteX3" y="connsiteY3"/>
                    </a:cxn>
                  </a:cxnLst>
                  <a:rect l="l" t="t" r="r" b="b"/>
                  <a:pathLst>
                    <a:path w="16814" h="49324">
                      <a:moveTo>
                        <a:pt x="16815" y="49325"/>
                      </a:moveTo>
                      <a:cubicBezTo>
                        <a:pt x="11957" y="42474"/>
                        <a:pt x="9964" y="36371"/>
                        <a:pt x="9092" y="32136"/>
                      </a:cubicBezTo>
                      <a:cubicBezTo>
                        <a:pt x="7723" y="25285"/>
                        <a:pt x="8719" y="21673"/>
                        <a:pt x="7099" y="14822"/>
                      </a:cubicBezTo>
                      <a:cubicBezTo>
                        <a:pt x="5481" y="8096"/>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7" name="Freeform 4183">
                  <a:extLst>
                    <a:ext uri="{FF2B5EF4-FFF2-40B4-BE49-F238E27FC236}">
                      <a16:creationId xmlns:a16="http://schemas.microsoft.com/office/drawing/2014/main" id="{975163F4-31D5-D130-F661-CF7880C65369}"/>
                    </a:ext>
                  </a:extLst>
                </p:cNvPr>
                <p:cNvSpPr/>
                <p:nvPr/>
              </p:nvSpPr>
              <p:spPr>
                <a:xfrm>
                  <a:off x="4787597" y="6093533"/>
                  <a:ext cx="26696" cy="26460"/>
                </a:xfrm>
                <a:custGeom>
                  <a:avLst/>
                  <a:gdLst>
                    <a:gd name="connsiteX0" fmla="*/ 26059 w 26696"/>
                    <a:gd name="connsiteY0" fmla="*/ 9120 h 26460"/>
                    <a:gd name="connsiteX1" fmla="*/ 17464 w 26696"/>
                    <a:gd name="connsiteY1" fmla="*/ 25810 h 26460"/>
                    <a:gd name="connsiteX2" fmla="*/ 649 w 26696"/>
                    <a:gd name="connsiteY2" fmla="*/ 17341 h 26460"/>
                    <a:gd name="connsiteX3" fmla="*/ 9243 w 26696"/>
                    <a:gd name="connsiteY3" fmla="*/ 650 h 26460"/>
                    <a:gd name="connsiteX4" fmla="*/ 26059 w 26696"/>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6" h="26460">
                      <a:moveTo>
                        <a:pt x="26059" y="9120"/>
                      </a:moveTo>
                      <a:cubicBezTo>
                        <a:pt x="28301" y="16095"/>
                        <a:pt x="24439" y="23568"/>
                        <a:pt x="17464" y="25810"/>
                      </a:cubicBezTo>
                      <a:cubicBezTo>
                        <a:pt x="10489" y="28053"/>
                        <a:pt x="3015" y="24316"/>
                        <a:pt x="649" y="17341"/>
                      </a:cubicBezTo>
                      <a:cubicBezTo>
                        <a:pt x="-1593" y="10365"/>
                        <a:pt x="2144" y="2892"/>
                        <a:pt x="9243" y="650"/>
                      </a:cubicBezTo>
                      <a:cubicBezTo>
                        <a:pt x="16343" y="-1592"/>
                        <a:pt x="23817" y="2145"/>
                        <a:pt x="26059"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8" name="Freeform 4184">
                  <a:extLst>
                    <a:ext uri="{FF2B5EF4-FFF2-40B4-BE49-F238E27FC236}">
                      <a16:creationId xmlns:a16="http://schemas.microsoft.com/office/drawing/2014/main" id="{5D4F5A3C-5806-F929-884B-11BD95AE57E9}"/>
                    </a:ext>
                  </a:extLst>
                </p:cNvPr>
                <p:cNvSpPr/>
                <p:nvPr/>
              </p:nvSpPr>
              <p:spPr>
                <a:xfrm>
                  <a:off x="4824724" y="6165430"/>
                  <a:ext cx="15587" cy="49823"/>
                </a:xfrm>
                <a:custGeom>
                  <a:avLst/>
                  <a:gdLst>
                    <a:gd name="connsiteX0" fmla="*/ 15587 w 15587"/>
                    <a:gd name="connsiteY0" fmla="*/ 49823 h 49823"/>
                    <a:gd name="connsiteX1" fmla="*/ 11601 w 15587"/>
                    <a:gd name="connsiteY1" fmla="*/ 31388 h 49823"/>
                    <a:gd name="connsiteX2" fmla="*/ 3007 w 15587"/>
                    <a:gd name="connsiteY2" fmla="*/ 16192 h 49823"/>
                    <a:gd name="connsiteX3" fmla="*/ 17 w 15587"/>
                    <a:gd name="connsiteY3" fmla="*/ 0 h 49823"/>
                  </a:gdLst>
                  <a:ahLst/>
                  <a:cxnLst>
                    <a:cxn ang="0">
                      <a:pos x="connsiteX0" y="connsiteY0"/>
                    </a:cxn>
                    <a:cxn ang="0">
                      <a:pos x="connsiteX1" y="connsiteY1"/>
                    </a:cxn>
                    <a:cxn ang="0">
                      <a:pos x="connsiteX2" y="connsiteY2"/>
                    </a:cxn>
                    <a:cxn ang="0">
                      <a:pos x="connsiteX3" y="connsiteY3"/>
                    </a:cxn>
                  </a:cxnLst>
                  <a:rect l="l" t="t" r="r" b="b"/>
                  <a:pathLst>
                    <a:path w="15587" h="49823">
                      <a:moveTo>
                        <a:pt x="15587" y="49823"/>
                      </a:moveTo>
                      <a:cubicBezTo>
                        <a:pt x="15462" y="41353"/>
                        <a:pt x="13469" y="35374"/>
                        <a:pt x="11601" y="31388"/>
                      </a:cubicBezTo>
                      <a:cubicBezTo>
                        <a:pt x="8736" y="25036"/>
                        <a:pt x="5747" y="22794"/>
                        <a:pt x="3007" y="16192"/>
                      </a:cubicBezTo>
                      <a:cubicBezTo>
                        <a:pt x="391" y="9840"/>
                        <a:pt x="-107" y="3861"/>
                        <a:pt x="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9" name="Freeform 4185">
                  <a:extLst>
                    <a:ext uri="{FF2B5EF4-FFF2-40B4-BE49-F238E27FC236}">
                      <a16:creationId xmlns:a16="http://schemas.microsoft.com/office/drawing/2014/main" id="{E81F61D3-AFE8-6CC3-1E72-82A3DF84038A}"/>
                    </a:ext>
                  </a:extLst>
                </p:cNvPr>
                <p:cNvSpPr/>
                <p:nvPr/>
              </p:nvSpPr>
              <p:spPr>
                <a:xfrm>
                  <a:off x="4818389" y="6172903"/>
                  <a:ext cx="16940" cy="49324"/>
                </a:xfrm>
                <a:custGeom>
                  <a:avLst/>
                  <a:gdLst>
                    <a:gd name="connsiteX0" fmla="*/ 0 w 16940"/>
                    <a:gd name="connsiteY0" fmla="*/ 0 h 49324"/>
                    <a:gd name="connsiteX1" fmla="*/ 7723 w 16940"/>
                    <a:gd name="connsiteY1" fmla="*/ 17189 h 49324"/>
                    <a:gd name="connsiteX2" fmla="*/ 9840 w 16940"/>
                    <a:gd name="connsiteY2" fmla="*/ 34502 h 49324"/>
                    <a:gd name="connsiteX3" fmla="*/ 16940 w 16940"/>
                    <a:gd name="connsiteY3" fmla="*/ 49325 h 49324"/>
                  </a:gdLst>
                  <a:ahLst/>
                  <a:cxnLst>
                    <a:cxn ang="0">
                      <a:pos x="connsiteX0" y="connsiteY0"/>
                    </a:cxn>
                    <a:cxn ang="0">
                      <a:pos x="connsiteX1" y="connsiteY1"/>
                    </a:cxn>
                    <a:cxn ang="0">
                      <a:pos x="connsiteX2" y="connsiteY2"/>
                    </a:cxn>
                    <a:cxn ang="0">
                      <a:pos x="connsiteX3" y="connsiteY3"/>
                    </a:cxn>
                  </a:cxnLst>
                  <a:rect l="l" t="t" r="r" b="b"/>
                  <a:pathLst>
                    <a:path w="16940" h="49324">
                      <a:moveTo>
                        <a:pt x="0" y="0"/>
                      </a:moveTo>
                      <a:cubicBezTo>
                        <a:pt x="4858" y="6851"/>
                        <a:pt x="6851" y="12954"/>
                        <a:pt x="7723" y="17189"/>
                      </a:cubicBezTo>
                      <a:cubicBezTo>
                        <a:pt x="9093" y="24040"/>
                        <a:pt x="8096" y="27652"/>
                        <a:pt x="9840" y="34502"/>
                      </a:cubicBezTo>
                      <a:cubicBezTo>
                        <a:pt x="11459" y="41229"/>
                        <a:pt x="14573" y="46211"/>
                        <a:pt x="1694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30" name="Freeform 4186">
                  <a:extLst>
                    <a:ext uri="{FF2B5EF4-FFF2-40B4-BE49-F238E27FC236}">
                      <a16:creationId xmlns:a16="http://schemas.microsoft.com/office/drawing/2014/main" id="{9F79A173-A0F5-40D8-B6F7-EE9CA9609844}"/>
                    </a:ext>
                  </a:extLst>
                </p:cNvPr>
                <p:cNvSpPr/>
                <p:nvPr/>
              </p:nvSpPr>
              <p:spPr>
                <a:xfrm>
                  <a:off x="4825959" y="6209870"/>
                  <a:ext cx="26213" cy="26508"/>
                </a:xfrm>
                <a:custGeom>
                  <a:avLst/>
                  <a:gdLst>
                    <a:gd name="connsiteX0" fmla="*/ 651 w 26213"/>
                    <a:gd name="connsiteY0" fmla="*/ 17341 h 26508"/>
                    <a:gd name="connsiteX1" fmla="*/ 8996 w 26213"/>
                    <a:gd name="connsiteY1" fmla="*/ 650 h 26508"/>
                    <a:gd name="connsiteX2" fmla="*/ 25562 w 26213"/>
                    <a:gd name="connsiteY2" fmla="*/ 9120 h 26508"/>
                    <a:gd name="connsiteX3" fmla="*/ 17217 w 26213"/>
                    <a:gd name="connsiteY3" fmla="*/ 25811 h 26508"/>
                    <a:gd name="connsiteX4" fmla="*/ 651 w 26213"/>
                    <a:gd name="connsiteY4" fmla="*/ 17341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08">
                      <a:moveTo>
                        <a:pt x="651" y="17341"/>
                      </a:moveTo>
                      <a:cubicBezTo>
                        <a:pt x="-1591" y="10365"/>
                        <a:pt x="2145" y="2892"/>
                        <a:pt x="8996" y="650"/>
                      </a:cubicBezTo>
                      <a:cubicBezTo>
                        <a:pt x="15972" y="-1592"/>
                        <a:pt x="23320" y="2145"/>
                        <a:pt x="25562" y="9120"/>
                      </a:cubicBezTo>
                      <a:cubicBezTo>
                        <a:pt x="27804" y="16095"/>
                        <a:pt x="24068" y="23568"/>
                        <a:pt x="17217" y="25811"/>
                      </a:cubicBezTo>
                      <a:cubicBezTo>
                        <a:pt x="10366" y="28177"/>
                        <a:pt x="2893" y="24316"/>
                        <a:pt x="651"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0" name="Graphic 2987">
                <a:extLst>
                  <a:ext uri="{FF2B5EF4-FFF2-40B4-BE49-F238E27FC236}">
                    <a16:creationId xmlns:a16="http://schemas.microsoft.com/office/drawing/2014/main" id="{FBA39D38-3567-B2B0-58EB-212DEE483946}"/>
                  </a:ext>
                </a:extLst>
              </p:cNvPr>
              <p:cNvGrpSpPr/>
              <p:nvPr/>
            </p:nvGrpSpPr>
            <p:grpSpPr>
              <a:xfrm>
                <a:off x="4816007" y="6084203"/>
                <a:ext cx="64189" cy="143035"/>
                <a:chOff x="4816007" y="6084203"/>
                <a:chExt cx="64189" cy="143035"/>
              </a:xfrm>
              <a:grpFill/>
            </p:grpSpPr>
            <p:sp>
              <p:nvSpPr>
                <p:cNvPr id="5219" name="Freeform 4188">
                  <a:extLst>
                    <a:ext uri="{FF2B5EF4-FFF2-40B4-BE49-F238E27FC236}">
                      <a16:creationId xmlns:a16="http://schemas.microsoft.com/office/drawing/2014/main" id="{A257B3AB-086F-F708-7878-D49C63458DEF}"/>
                    </a:ext>
                  </a:extLst>
                </p:cNvPr>
                <p:cNvSpPr/>
                <p:nvPr/>
              </p:nvSpPr>
              <p:spPr>
                <a:xfrm>
                  <a:off x="4827979" y="6105393"/>
                  <a:ext cx="15320" cy="49823"/>
                </a:xfrm>
                <a:custGeom>
                  <a:avLst/>
                  <a:gdLst>
                    <a:gd name="connsiteX0" fmla="*/ 0 w 15320"/>
                    <a:gd name="connsiteY0" fmla="*/ 0 h 49823"/>
                    <a:gd name="connsiteX1" fmla="*/ 3862 w 15320"/>
                    <a:gd name="connsiteY1" fmla="*/ 18435 h 49823"/>
                    <a:gd name="connsiteX2" fmla="*/ 12331 w 15320"/>
                    <a:gd name="connsiteY2" fmla="*/ 33631 h 49823"/>
                    <a:gd name="connsiteX3" fmla="*/ 15321 w 15320"/>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319" h="49823">
                      <a:moveTo>
                        <a:pt x="0" y="0"/>
                      </a:moveTo>
                      <a:cubicBezTo>
                        <a:pt x="125" y="8470"/>
                        <a:pt x="2118" y="14449"/>
                        <a:pt x="3862" y="18435"/>
                      </a:cubicBezTo>
                      <a:cubicBezTo>
                        <a:pt x="6726" y="24787"/>
                        <a:pt x="9716" y="27029"/>
                        <a:pt x="12331" y="33631"/>
                      </a:cubicBezTo>
                      <a:cubicBezTo>
                        <a:pt x="14947" y="39983"/>
                        <a:pt x="15321" y="45962"/>
                        <a:pt x="15321"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0" name="Freeform 4189">
                  <a:extLst>
                    <a:ext uri="{FF2B5EF4-FFF2-40B4-BE49-F238E27FC236}">
                      <a16:creationId xmlns:a16="http://schemas.microsoft.com/office/drawing/2014/main" id="{3E8594E6-39C7-8933-9F01-E426263400CE}"/>
                    </a:ext>
                  </a:extLst>
                </p:cNvPr>
                <p:cNvSpPr/>
                <p:nvPr/>
              </p:nvSpPr>
              <p:spPr>
                <a:xfrm>
                  <a:off x="4833211" y="6098418"/>
                  <a:ext cx="16690" cy="49449"/>
                </a:xfrm>
                <a:custGeom>
                  <a:avLst/>
                  <a:gdLst>
                    <a:gd name="connsiteX0" fmla="*/ 16691 w 16690"/>
                    <a:gd name="connsiteY0" fmla="*/ 49449 h 49449"/>
                    <a:gd name="connsiteX1" fmla="*/ 9093 w 16690"/>
                    <a:gd name="connsiteY1" fmla="*/ 32260 h 49449"/>
                    <a:gd name="connsiteX2" fmla="*/ 7100 w 16690"/>
                    <a:gd name="connsiteY2" fmla="*/ 14947 h 49449"/>
                    <a:gd name="connsiteX3" fmla="*/ 0 w 16690"/>
                    <a:gd name="connsiteY3" fmla="*/ 0 h 49449"/>
                  </a:gdLst>
                  <a:ahLst/>
                  <a:cxnLst>
                    <a:cxn ang="0">
                      <a:pos x="connsiteX0" y="connsiteY0"/>
                    </a:cxn>
                    <a:cxn ang="0">
                      <a:pos x="connsiteX1" y="connsiteY1"/>
                    </a:cxn>
                    <a:cxn ang="0">
                      <a:pos x="connsiteX2" y="connsiteY2"/>
                    </a:cxn>
                    <a:cxn ang="0">
                      <a:pos x="connsiteX3" y="connsiteY3"/>
                    </a:cxn>
                  </a:cxnLst>
                  <a:rect l="l" t="t" r="r" b="b"/>
                  <a:pathLst>
                    <a:path w="16690" h="49449">
                      <a:moveTo>
                        <a:pt x="16691" y="49449"/>
                      </a:moveTo>
                      <a:cubicBezTo>
                        <a:pt x="11833" y="42599"/>
                        <a:pt x="9964" y="36495"/>
                        <a:pt x="9093" y="32260"/>
                      </a:cubicBezTo>
                      <a:cubicBezTo>
                        <a:pt x="7723" y="25410"/>
                        <a:pt x="8843" y="21798"/>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1" name="Freeform 4190">
                  <a:extLst>
                    <a:ext uri="{FF2B5EF4-FFF2-40B4-BE49-F238E27FC236}">
                      <a16:creationId xmlns:a16="http://schemas.microsoft.com/office/drawing/2014/main" id="{7BEFD9BB-2EF7-7300-0A44-ADBB983E09FC}"/>
                    </a:ext>
                  </a:extLst>
                </p:cNvPr>
                <p:cNvSpPr/>
                <p:nvPr/>
              </p:nvSpPr>
              <p:spPr>
                <a:xfrm>
                  <a:off x="4816007" y="6084203"/>
                  <a:ext cx="26560" cy="26573"/>
                </a:xfrm>
                <a:custGeom>
                  <a:avLst/>
                  <a:gdLst>
                    <a:gd name="connsiteX0" fmla="*/ 25923 w 26560"/>
                    <a:gd name="connsiteY0" fmla="*/ 9108 h 26573"/>
                    <a:gd name="connsiteX1" fmla="*/ 17328 w 26560"/>
                    <a:gd name="connsiteY1" fmla="*/ 25924 h 26573"/>
                    <a:gd name="connsiteX2" fmla="*/ 638 w 26560"/>
                    <a:gd name="connsiteY2" fmla="*/ 17454 h 26573"/>
                    <a:gd name="connsiteX3" fmla="*/ 9232 w 26560"/>
                    <a:gd name="connsiteY3" fmla="*/ 638 h 26573"/>
                    <a:gd name="connsiteX4" fmla="*/ 25923 w 26560"/>
                    <a:gd name="connsiteY4" fmla="*/ 9108 h 26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0" h="26573">
                      <a:moveTo>
                        <a:pt x="25923" y="9108"/>
                      </a:moveTo>
                      <a:cubicBezTo>
                        <a:pt x="28165" y="16083"/>
                        <a:pt x="24304" y="23557"/>
                        <a:pt x="17328" y="25924"/>
                      </a:cubicBezTo>
                      <a:cubicBezTo>
                        <a:pt x="10353" y="28166"/>
                        <a:pt x="2880" y="24429"/>
                        <a:pt x="638" y="17454"/>
                      </a:cubicBezTo>
                      <a:cubicBezTo>
                        <a:pt x="-1605" y="10479"/>
                        <a:pt x="2257" y="3005"/>
                        <a:pt x="9232" y="638"/>
                      </a:cubicBezTo>
                      <a:cubicBezTo>
                        <a:pt x="16207" y="-1603"/>
                        <a:pt x="23805" y="2258"/>
                        <a:pt x="25923" y="91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2" name="Freeform 4191">
                  <a:extLst>
                    <a:ext uri="{FF2B5EF4-FFF2-40B4-BE49-F238E27FC236}">
                      <a16:creationId xmlns:a16="http://schemas.microsoft.com/office/drawing/2014/main" id="{9D0F6EF1-BC8F-EFC1-55C7-2DCBC93CA9B3}"/>
                    </a:ext>
                  </a:extLst>
                </p:cNvPr>
                <p:cNvSpPr/>
                <p:nvPr/>
              </p:nvSpPr>
              <p:spPr>
                <a:xfrm>
                  <a:off x="4852891" y="6156337"/>
                  <a:ext cx="15320" cy="49823"/>
                </a:xfrm>
                <a:custGeom>
                  <a:avLst/>
                  <a:gdLst>
                    <a:gd name="connsiteX0" fmla="*/ 15321 w 15320"/>
                    <a:gd name="connsiteY0" fmla="*/ 49823 h 49823"/>
                    <a:gd name="connsiteX1" fmla="*/ 11459 w 15320"/>
                    <a:gd name="connsiteY1" fmla="*/ 31389 h 49823"/>
                    <a:gd name="connsiteX2" fmla="*/ 2990 w 15320"/>
                    <a:gd name="connsiteY2" fmla="*/ 16193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5196" y="41353"/>
                        <a:pt x="13203" y="35375"/>
                        <a:pt x="11459" y="31389"/>
                      </a:cubicBezTo>
                      <a:cubicBezTo>
                        <a:pt x="8595" y="25036"/>
                        <a:pt x="5605" y="22794"/>
                        <a:pt x="2990" y="16193"/>
                      </a:cubicBezTo>
                      <a:cubicBezTo>
                        <a:pt x="374" y="9840"/>
                        <a:pt x="0" y="3861"/>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3" name="Freeform 4192">
                  <a:extLst>
                    <a:ext uri="{FF2B5EF4-FFF2-40B4-BE49-F238E27FC236}">
                      <a16:creationId xmlns:a16="http://schemas.microsoft.com/office/drawing/2014/main" id="{305402B7-4FC7-025C-30DE-37385ADC9B9A}"/>
                    </a:ext>
                  </a:extLst>
                </p:cNvPr>
                <p:cNvSpPr/>
                <p:nvPr/>
              </p:nvSpPr>
              <p:spPr>
                <a:xfrm>
                  <a:off x="4846414" y="6163686"/>
                  <a:ext cx="16690" cy="49449"/>
                </a:xfrm>
                <a:custGeom>
                  <a:avLst/>
                  <a:gdLst>
                    <a:gd name="connsiteX0" fmla="*/ 0 w 16690"/>
                    <a:gd name="connsiteY0" fmla="*/ 0 h 49449"/>
                    <a:gd name="connsiteX1" fmla="*/ 7598 w 16690"/>
                    <a:gd name="connsiteY1" fmla="*/ 17189 h 49449"/>
                    <a:gd name="connsiteX2" fmla="*/ 9591 w 16690"/>
                    <a:gd name="connsiteY2" fmla="*/ 34502 h 49449"/>
                    <a:gd name="connsiteX3" fmla="*/ 16691 w 1669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0" h="49449">
                      <a:moveTo>
                        <a:pt x="0" y="0"/>
                      </a:moveTo>
                      <a:cubicBezTo>
                        <a:pt x="4858" y="6851"/>
                        <a:pt x="6726" y="12954"/>
                        <a:pt x="7598" y="17189"/>
                      </a:cubicBezTo>
                      <a:cubicBezTo>
                        <a:pt x="8968" y="24040"/>
                        <a:pt x="7972" y="27651"/>
                        <a:pt x="9591" y="34502"/>
                      </a:cubicBezTo>
                      <a:cubicBezTo>
                        <a:pt x="11210" y="41229"/>
                        <a:pt x="14324" y="46211"/>
                        <a:pt x="16691"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24" name="Freeform 4193">
                  <a:extLst>
                    <a:ext uri="{FF2B5EF4-FFF2-40B4-BE49-F238E27FC236}">
                      <a16:creationId xmlns:a16="http://schemas.microsoft.com/office/drawing/2014/main" id="{57EDD008-922F-B143-2601-AA29D7F5D17A}"/>
                    </a:ext>
                  </a:extLst>
                </p:cNvPr>
                <p:cNvSpPr/>
                <p:nvPr/>
              </p:nvSpPr>
              <p:spPr>
                <a:xfrm>
                  <a:off x="4853860" y="6200777"/>
                  <a:ext cx="26335" cy="26460"/>
                </a:xfrm>
                <a:custGeom>
                  <a:avLst/>
                  <a:gdLst>
                    <a:gd name="connsiteX0" fmla="*/ 650 w 26335"/>
                    <a:gd name="connsiteY0" fmla="*/ 17341 h 26460"/>
                    <a:gd name="connsiteX1" fmla="*/ 9120 w 26335"/>
                    <a:gd name="connsiteY1" fmla="*/ 650 h 26460"/>
                    <a:gd name="connsiteX2" fmla="*/ 25686 w 26335"/>
                    <a:gd name="connsiteY2" fmla="*/ 9120 h 26460"/>
                    <a:gd name="connsiteX3" fmla="*/ 17216 w 26335"/>
                    <a:gd name="connsiteY3" fmla="*/ 25811 h 26460"/>
                    <a:gd name="connsiteX4" fmla="*/ 650 w 26335"/>
                    <a:gd name="connsiteY4" fmla="*/ 17341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4" h="26460">
                      <a:moveTo>
                        <a:pt x="650" y="17341"/>
                      </a:moveTo>
                      <a:cubicBezTo>
                        <a:pt x="-1592" y="10366"/>
                        <a:pt x="2145" y="2892"/>
                        <a:pt x="9120" y="650"/>
                      </a:cubicBezTo>
                      <a:cubicBezTo>
                        <a:pt x="16095" y="-1592"/>
                        <a:pt x="23444" y="2145"/>
                        <a:pt x="25686" y="9120"/>
                      </a:cubicBezTo>
                      <a:cubicBezTo>
                        <a:pt x="27928" y="16095"/>
                        <a:pt x="24191" y="23569"/>
                        <a:pt x="17216" y="25811"/>
                      </a:cubicBezTo>
                      <a:cubicBezTo>
                        <a:pt x="10241" y="28052"/>
                        <a:pt x="2892" y="24316"/>
                        <a:pt x="650" y="1734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1" name="Graphic 2987">
                <a:extLst>
                  <a:ext uri="{FF2B5EF4-FFF2-40B4-BE49-F238E27FC236}">
                    <a16:creationId xmlns:a16="http://schemas.microsoft.com/office/drawing/2014/main" id="{9395A1DE-3221-70C2-C2A3-547C94DBCE1A}"/>
                  </a:ext>
                </a:extLst>
              </p:cNvPr>
              <p:cNvGrpSpPr/>
              <p:nvPr/>
            </p:nvGrpSpPr>
            <p:grpSpPr>
              <a:xfrm>
                <a:off x="4844282" y="6074920"/>
                <a:ext cx="63803" cy="143212"/>
                <a:chOff x="4844282" y="6074920"/>
                <a:chExt cx="63803" cy="143212"/>
              </a:xfrm>
              <a:grpFill/>
            </p:grpSpPr>
            <p:sp>
              <p:nvSpPr>
                <p:cNvPr id="5213" name="Freeform 4195">
                  <a:extLst>
                    <a:ext uri="{FF2B5EF4-FFF2-40B4-BE49-F238E27FC236}">
                      <a16:creationId xmlns:a16="http://schemas.microsoft.com/office/drawing/2014/main" id="{9F91234E-019A-D5ED-1755-AA67917881BA}"/>
                    </a:ext>
                  </a:extLst>
                </p:cNvPr>
                <p:cNvSpPr/>
                <p:nvPr/>
              </p:nvSpPr>
              <p:spPr>
                <a:xfrm>
                  <a:off x="4856379" y="6096176"/>
                  <a:ext cx="15320" cy="49947"/>
                </a:xfrm>
                <a:custGeom>
                  <a:avLst/>
                  <a:gdLst>
                    <a:gd name="connsiteX0" fmla="*/ 0 w 15320"/>
                    <a:gd name="connsiteY0" fmla="*/ 0 h 49947"/>
                    <a:gd name="connsiteX1" fmla="*/ 3861 w 15320"/>
                    <a:gd name="connsiteY1" fmla="*/ 18435 h 49947"/>
                    <a:gd name="connsiteX2" fmla="*/ 12331 w 15320"/>
                    <a:gd name="connsiteY2" fmla="*/ 33631 h 49947"/>
                    <a:gd name="connsiteX3" fmla="*/ 1532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0" y="0"/>
                      </a:moveTo>
                      <a:cubicBezTo>
                        <a:pt x="124" y="8470"/>
                        <a:pt x="1993" y="14449"/>
                        <a:pt x="3861" y="18435"/>
                      </a:cubicBezTo>
                      <a:cubicBezTo>
                        <a:pt x="6726" y="24787"/>
                        <a:pt x="9715" y="27029"/>
                        <a:pt x="12331" y="33631"/>
                      </a:cubicBezTo>
                      <a:cubicBezTo>
                        <a:pt x="14947" y="39983"/>
                        <a:pt x="15320" y="45962"/>
                        <a:pt x="1532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4" name="Freeform 4196">
                  <a:extLst>
                    <a:ext uri="{FF2B5EF4-FFF2-40B4-BE49-F238E27FC236}">
                      <a16:creationId xmlns:a16="http://schemas.microsoft.com/office/drawing/2014/main" id="{A191FD79-EACE-9A8C-22A0-E8DBCE0D8D4B}"/>
                    </a:ext>
                  </a:extLst>
                </p:cNvPr>
                <p:cNvSpPr/>
                <p:nvPr/>
              </p:nvSpPr>
              <p:spPr>
                <a:xfrm>
                  <a:off x="4861485" y="6089201"/>
                  <a:ext cx="16566" cy="49449"/>
                </a:xfrm>
                <a:custGeom>
                  <a:avLst/>
                  <a:gdLst>
                    <a:gd name="connsiteX0" fmla="*/ 16566 w 16566"/>
                    <a:gd name="connsiteY0" fmla="*/ 49449 h 49449"/>
                    <a:gd name="connsiteX1" fmla="*/ 8968 w 16566"/>
                    <a:gd name="connsiteY1" fmla="*/ 32260 h 49449"/>
                    <a:gd name="connsiteX2" fmla="*/ 7100 w 16566"/>
                    <a:gd name="connsiteY2" fmla="*/ 14947 h 49449"/>
                    <a:gd name="connsiteX3" fmla="*/ 0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16566" y="49449"/>
                      </a:moveTo>
                      <a:cubicBezTo>
                        <a:pt x="11708" y="42474"/>
                        <a:pt x="9840" y="36495"/>
                        <a:pt x="8968" y="32260"/>
                      </a:cubicBezTo>
                      <a:cubicBezTo>
                        <a:pt x="7598" y="25410"/>
                        <a:pt x="8719" y="21922"/>
                        <a:pt x="7100" y="14947"/>
                      </a:cubicBezTo>
                      <a:cubicBezTo>
                        <a:pt x="5481" y="8221"/>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5" name="Freeform 4197">
                  <a:extLst>
                    <a:ext uri="{FF2B5EF4-FFF2-40B4-BE49-F238E27FC236}">
                      <a16:creationId xmlns:a16="http://schemas.microsoft.com/office/drawing/2014/main" id="{5B546008-56E4-B475-3254-E27766551C9D}"/>
                    </a:ext>
                  </a:extLst>
                </p:cNvPr>
                <p:cNvSpPr/>
                <p:nvPr/>
              </p:nvSpPr>
              <p:spPr>
                <a:xfrm>
                  <a:off x="4844282" y="6074920"/>
                  <a:ext cx="26684" cy="26514"/>
                </a:xfrm>
                <a:custGeom>
                  <a:avLst/>
                  <a:gdLst>
                    <a:gd name="connsiteX0" fmla="*/ 26047 w 26684"/>
                    <a:gd name="connsiteY0" fmla="*/ 9299 h 26514"/>
                    <a:gd name="connsiteX1" fmla="*/ 17328 w 26684"/>
                    <a:gd name="connsiteY1" fmla="*/ 25865 h 26514"/>
                    <a:gd name="connsiteX2" fmla="*/ 638 w 26684"/>
                    <a:gd name="connsiteY2" fmla="*/ 17395 h 26514"/>
                    <a:gd name="connsiteX3" fmla="*/ 9232 w 26684"/>
                    <a:gd name="connsiteY3" fmla="*/ 579 h 26514"/>
                    <a:gd name="connsiteX4" fmla="*/ 26047 w 26684"/>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 h="26513">
                      <a:moveTo>
                        <a:pt x="26047" y="9299"/>
                      </a:moveTo>
                      <a:cubicBezTo>
                        <a:pt x="28289" y="16274"/>
                        <a:pt x="24428" y="23623"/>
                        <a:pt x="17328" y="25865"/>
                      </a:cubicBezTo>
                      <a:cubicBezTo>
                        <a:pt x="10353" y="28107"/>
                        <a:pt x="2880" y="24370"/>
                        <a:pt x="638" y="17395"/>
                      </a:cubicBezTo>
                      <a:cubicBezTo>
                        <a:pt x="-1604" y="10420"/>
                        <a:pt x="2257" y="2946"/>
                        <a:pt x="9232" y="579"/>
                      </a:cubicBezTo>
                      <a:cubicBezTo>
                        <a:pt x="16332" y="-1538"/>
                        <a:pt x="23805" y="2323"/>
                        <a:pt x="26047"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6" name="Freeform 4198">
                  <a:extLst>
                    <a:ext uri="{FF2B5EF4-FFF2-40B4-BE49-F238E27FC236}">
                      <a16:creationId xmlns:a16="http://schemas.microsoft.com/office/drawing/2014/main" id="{FE4BD0E5-8F3D-E405-87A3-8F3A54D34357}"/>
                    </a:ext>
                  </a:extLst>
                </p:cNvPr>
                <p:cNvSpPr/>
                <p:nvPr/>
              </p:nvSpPr>
              <p:spPr>
                <a:xfrm>
                  <a:off x="4881020" y="6146995"/>
                  <a:ext cx="15216" cy="49947"/>
                </a:xfrm>
                <a:custGeom>
                  <a:avLst/>
                  <a:gdLst>
                    <a:gd name="connsiteX0" fmla="*/ 15217 w 15216"/>
                    <a:gd name="connsiteY0" fmla="*/ 49948 h 49947"/>
                    <a:gd name="connsiteX1" fmla="*/ 11356 w 15216"/>
                    <a:gd name="connsiteY1" fmla="*/ 31513 h 49947"/>
                    <a:gd name="connsiteX2" fmla="*/ 2886 w 15216"/>
                    <a:gd name="connsiteY2" fmla="*/ 16193 h 49947"/>
                    <a:gd name="connsiteX3" fmla="*/ 21 w 15216"/>
                    <a:gd name="connsiteY3" fmla="*/ 0 h 49947"/>
                  </a:gdLst>
                  <a:ahLst/>
                  <a:cxnLst>
                    <a:cxn ang="0">
                      <a:pos x="connsiteX0" y="connsiteY0"/>
                    </a:cxn>
                    <a:cxn ang="0">
                      <a:pos x="connsiteX1" y="connsiteY1"/>
                    </a:cxn>
                    <a:cxn ang="0">
                      <a:pos x="connsiteX2" y="connsiteY2"/>
                    </a:cxn>
                    <a:cxn ang="0">
                      <a:pos x="connsiteX3" y="connsiteY3"/>
                    </a:cxn>
                  </a:cxnLst>
                  <a:rect l="l" t="t" r="r" b="b"/>
                  <a:pathLst>
                    <a:path w="15216" h="49947">
                      <a:moveTo>
                        <a:pt x="15217" y="49948"/>
                      </a:moveTo>
                      <a:cubicBezTo>
                        <a:pt x="15092" y="41603"/>
                        <a:pt x="13224" y="35499"/>
                        <a:pt x="11356" y="31513"/>
                      </a:cubicBezTo>
                      <a:cubicBezTo>
                        <a:pt x="8491" y="25161"/>
                        <a:pt x="5501" y="22794"/>
                        <a:pt x="2886" y="16193"/>
                      </a:cubicBezTo>
                      <a:cubicBezTo>
                        <a:pt x="270" y="9715"/>
                        <a:pt x="-104" y="3861"/>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7" name="Freeform 4199">
                  <a:extLst>
                    <a:ext uri="{FF2B5EF4-FFF2-40B4-BE49-F238E27FC236}">
                      <a16:creationId xmlns:a16="http://schemas.microsoft.com/office/drawing/2014/main" id="{A40B3676-F9EF-CB9C-14CA-E583B41D0C95}"/>
                    </a:ext>
                  </a:extLst>
                </p:cNvPr>
                <p:cNvSpPr/>
                <p:nvPr/>
              </p:nvSpPr>
              <p:spPr>
                <a:xfrm>
                  <a:off x="4874564" y="6154469"/>
                  <a:ext cx="16566" cy="49449"/>
                </a:xfrm>
                <a:custGeom>
                  <a:avLst/>
                  <a:gdLst>
                    <a:gd name="connsiteX0" fmla="*/ 0 w 16566"/>
                    <a:gd name="connsiteY0" fmla="*/ 0 h 49449"/>
                    <a:gd name="connsiteX1" fmla="*/ 7598 w 16566"/>
                    <a:gd name="connsiteY1" fmla="*/ 17189 h 49449"/>
                    <a:gd name="connsiteX2" fmla="*/ 9591 w 16566"/>
                    <a:gd name="connsiteY2" fmla="*/ 34503 h 49449"/>
                    <a:gd name="connsiteX3" fmla="*/ 16566 w 16566"/>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6" h="49449">
                      <a:moveTo>
                        <a:pt x="0" y="0"/>
                      </a:moveTo>
                      <a:cubicBezTo>
                        <a:pt x="4858" y="6851"/>
                        <a:pt x="6726" y="12954"/>
                        <a:pt x="7598" y="17189"/>
                      </a:cubicBezTo>
                      <a:cubicBezTo>
                        <a:pt x="8968" y="24040"/>
                        <a:pt x="7847" y="27652"/>
                        <a:pt x="9591" y="34503"/>
                      </a:cubicBezTo>
                      <a:cubicBezTo>
                        <a:pt x="11210" y="41229"/>
                        <a:pt x="14324" y="46211"/>
                        <a:pt x="16566"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8" name="Freeform 4200">
                  <a:extLst>
                    <a:ext uri="{FF2B5EF4-FFF2-40B4-BE49-F238E27FC236}">
                      <a16:creationId xmlns:a16="http://schemas.microsoft.com/office/drawing/2014/main" id="{A6485A3E-2251-4586-A0D6-8712D1BB47CD}"/>
                    </a:ext>
                  </a:extLst>
                </p:cNvPr>
                <p:cNvSpPr/>
                <p:nvPr/>
              </p:nvSpPr>
              <p:spPr>
                <a:xfrm>
                  <a:off x="4881761" y="6191584"/>
                  <a:ext cx="26324" cy="26548"/>
                </a:xfrm>
                <a:custGeom>
                  <a:avLst/>
                  <a:gdLst>
                    <a:gd name="connsiteX0" fmla="*/ 650 w 26324"/>
                    <a:gd name="connsiteY0" fmla="*/ 17316 h 26548"/>
                    <a:gd name="connsiteX1" fmla="*/ 9120 w 26324"/>
                    <a:gd name="connsiteY1" fmla="*/ 626 h 26548"/>
                    <a:gd name="connsiteX2" fmla="*/ 25686 w 26324"/>
                    <a:gd name="connsiteY2" fmla="*/ 9345 h 26548"/>
                    <a:gd name="connsiteX3" fmla="*/ 17216 w 26324"/>
                    <a:gd name="connsiteY3" fmla="*/ 25911 h 26548"/>
                    <a:gd name="connsiteX4" fmla="*/ 650 w 26324"/>
                    <a:gd name="connsiteY4" fmla="*/ 17316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 h="26548">
                      <a:moveTo>
                        <a:pt x="650" y="17316"/>
                      </a:moveTo>
                      <a:cubicBezTo>
                        <a:pt x="-1592" y="10341"/>
                        <a:pt x="2145" y="2868"/>
                        <a:pt x="9120" y="626"/>
                      </a:cubicBezTo>
                      <a:cubicBezTo>
                        <a:pt x="16095" y="-1616"/>
                        <a:pt x="23444" y="2370"/>
                        <a:pt x="25686" y="9345"/>
                      </a:cubicBezTo>
                      <a:cubicBezTo>
                        <a:pt x="27928" y="16320"/>
                        <a:pt x="24067" y="23669"/>
                        <a:pt x="17216" y="25911"/>
                      </a:cubicBezTo>
                      <a:cubicBezTo>
                        <a:pt x="10366" y="28153"/>
                        <a:pt x="2892" y="24292"/>
                        <a:pt x="650"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2" name="Graphic 2987">
                <a:extLst>
                  <a:ext uri="{FF2B5EF4-FFF2-40B4-BE49-F238E27FC236}">
                    <a16:creationId xmlns:a16="http://schemas.microsoft.com/office/drawing/2014/main" id="{6E361511-CB32-CEE8-5D55-BA24D27D8B2E}"/>
                  </a:ext>
                </a:extLst>
              </p:cNvPr>
              <p:cNvGrpSpPr/>
              <p:nvPr/>
            </p:nvGrpSpPr>
            <p:grpSpPr>
              <a:xfrm>
                <a:off x="4872693" y="6066076"/>
                <a:ext cx="63542" cy="143200"/>
                <a:chOff x="4872693" y="6066076"/>
                <a:chExt cx="63542" cy="143200"/>
              </a:xfrm>
              <a:grpFill/>
            </p:grpSpPr>
            <p:sp>
              <p:nvSpPr>
                <p:cNvPr id="5207" name="Freeform 4202">
                  <a:extLst>
                    <a:ext uri="{FF2B5EF4-FFF2-40B4-BE49-F238E27FC236}">
                      <a16:creationId xmlns:a16="http://schemas.microsoft.com/office/drawing/2014/main" id="{8EEE4563-F9E4-AADB-3686-D0917D61E5E6}"/>
                    </a:ext>
                  </a:extLst>
                </p:cNvPr>
                <p:cNvSpPr/>
                <p:nvPr/>
              </p:nvSpPr>
              <p:spPr>
                <a:xfrm>
                  <a:off x="4884653" y="6087208"/>
                  <a:ext cx="15088" cy="49947"/>
                </a:xfrm>
                <a:custGeom>
                  <a:avLst/>
                  <a:gdLst>
                    <a:gd name="connsiteX0" fmla="*/ 0 w 15088"/>
                    <a:gd name="connsiteY0" fmla="*/ 0 h 49947"/>
                    <a:gd name="connsiteX1" fmla="*/ 3737 w 15088"/>
                    <a:gd name="connsiteY1" fmla="*/ 18435 h 49947"/>
                    <a:gd name="connsiteX2" fmla="*/ 12207 w 15088"/>
                    <a:gd name="connsiteY2" fmla="*/ 33755 h 49947"/>
                    <a:gd name="connsiteX3" fmla="*/ 15071 w 15088"/>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88" h="49947">
                      <a:moveTo>
                        <a:pt x="0" y="0"/>
                      </a:moveTo>
                      <a:cubicBezTo>
                        <a:pt x="0" y="8470"/>
                        <a:pt x="1993" y="14449"/>
                        <a:pt x="3737" y="18435"/>
                      </a:cubicBezTo>
                      <a:cubicBezTo>
                        <a:pt x="6602" y="24787"/>
                        <a:pt x="9591" y="27153"/>
                        <a:pt x="12207" y="33755"/>
                      </a:cubicBezTo>
                      <a:cubicBezTo>
                        <a:pt x="14698" y="40232"/>
                        <a:pt x="15196" y="46086"/>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8" name="Freeform 4203">
                  <a:extLst>
                    <a:ext uri="{FF2B5EF4-FFF2-40B4-BE49-F238E27FC236}">
                      <a16:creationId xmlns:a16="http://schemas.microsoft.com/office/drawing/2014/main" id="{FF87DCD5-FFFB-B085-4BEC-B026E6B98BB3}"/>
                    </a:ext>
                  </a:extLst>
                </p:cNvPr>
                <p:cNvSpPr/>
                <p:nvPr/>
              </p:nvSpPr>
              <p:spPr>
                <a:xfrm>
                  <a:off x="4890009" y="6080357"/>
                  <a:ext cx="16317" cy="49449"/>
                </a:xfrm>
                <a:custGeom>
                  <a:avLst/>
                  <a:gdLst>
                    <a:gd name="connsiteX0" fmla="*/ 16317 w 16317"/>
                    <a:gd name="connsiteY0" fmla="*/ 49449 h 49449"/>
                    <a:gd name="connsiteX1" fmla="*/ 8843 w 16317"/>
                    <a:gd name="connsiteY1" fmla="*/ 32260 h 49449"/>
                    <a:gd name="connsiteX2" fmla="*/ 6975 w 16317"/>
                    <a:gd name="connsiteY2" fmla="*/ 14947 h 49449"/>
                    <a:gd name="connsiteX3" fmla="*/ 0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49449"/>
                      </a:moveTo>
                      <a:cubicBezTo>
                        <a:pt x="11584" y="42474"/>
                        <a:pt x="9591" y="36495"/>
                        <a:pt x="8843" y="32260"/>
                      </a:cubicBezTo>
                      <a:cubicBezTo>
                        <a:pt x="7474" y="25409"/>
                        <a:pt x="8595" y="21798"/>
                        <a:pt x="6975" y="14947"/>
                      </a:cubicBezTo>
                      <a:cubicBezTo>
                        <a:pt x="5356" y="8220"/>
                        <a:pt x="236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9" name="Freeform 4204">
                  <a:extLst>
                    <a:ext uri="{FF2B5EF4-FFF2-40B4-BE49-F238E27FC236}">
                      <a16:creationId xmlns:a16="http://schemas.microsoft.com/office/drawing/2014/main" id="{1C83F497-F6CD-3DD0-59C6-D35E63A3E442}"/>
                    </a:ext>
                  </a:extLst>
                </p:cNvPr>
                <p:cNvSpPr/>
                <p:nvPr/>
              </p:nvSpPr>
              <p:spPr>
                <a:xfrm>
                  <a:off x="4872693" y="6066076"/>
                  <a:ext cx="26661" cy="26490"/>
                </a:xfrm>
                <a:custGeom>
                  <a:avLst/>
                  <a:gdLst>
                    <a:gd name="connsiteX0" fmla="*/ 26036 w 26661"/>
                    <a:gd name="connsiteY0" fmla="*/ 9298 h 26490"/>
                    <a:gd name="connsiteX1" fmla="*/ 17316 w 26661"/>
                    <a:gd name="connsiteY1" fmla="*/ 25865 h 26490"/>
                    <a:gd name="connsiteX2" fmla="*/ 626 w 26661"/>
                    <a:gd name="connsiteY2" fmla="*/ 17146 h 26490"/>
                    <a:gd name="connsiteX3" fmla="*/ 9345 w 26661"/>
                    <a:gd name="connsiteY3" fmla="*/ 580 h 26490"/>
                    <a:gd name="connsiteX4" fmla="*/ 26036 w 26661"/>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0">
                      <a:moveTo>
                        <a:pt x="26036" y="9298"/>
                      </a:moveTo>
                      <a:cubicBezTo>
                        <a:pt x="28277" y="16274"/>
                        <a:pt x="24292" y="23747"/>
                        <a:pt x="17316" y="25865"/>
                      </a:cubicBezTo>
                      <a:cubicBezTo>
                        <a:pt x="10341" y="28107"/>
                        <a:pt x="2868" y="24121"/>
                        <a:pt x="626" y="17146"/>
                      </a:cubicBezTo>
                      <a:cubicBezTo>
                        <a:pt x="-1616" y="10170"/>
                        <a:pt x="2370" y="2697"/>
                        <a:pt x="9345" y="580"/>
                      </a:cubicBezTo>
                      <a:cubicBezTo>
                        <a:pt x="16444" y="-1538"/>
                        <a:pt x="23918" y="2323"/>
                        <a:pt x="26036"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0" name="Freeform 4205">
                  <a:extLst>
                    <a:ext uri="{FF2B5EF4-FFF2-40B4-BE49-F238E27FC236}">
                      <a16:creationId xmlns:a16="http://schemas.microsoft.com/office/drawing/2014/main" id="{D6E0178C-B6A3-3263-3C3B-2048660A700A}"/>
                    </a:ext>
                  </a:extLst>
                </p:cNvPr>
                <p:cNvSpPr/>
                <p:nvPr/>
              </p:nvSpPr>
              <p:spPr>
                <a:xfrm>
                  <a:off x="4909298" y="6138276"/>
                  <a:ext cx="14964" cy="49947"/>
                </a:xfrm>
                <a:custGeom>
                  <a:avLst/>
                  <a:gdLst>
                    <a:gd name="connsiteX0" fmla="*/ 14964 w 14964"/>
                    <a:gd name="connsiteY0" fmla="*/ 49947 h 49947"/>
                    <a:gd name="connsiteX1" fmla="*/ 11228 w 14964"/>
                    <a:gd name="connsiteY1" fmla="*/ 31513 h 49947"/>
                    <a:gd name="connsiteX2" fmla="*/ 2882 w 14964"/>
                    <a:gd name="connsiteY2" fmla="*/ 16192 h 49947"/>
                    <a:gd name="connsiteX3" fmla="*/ 18 w 14964"/>
                    <a:gd name="connsiteY3" fmla="*/ 0 h 49947"/>
                  </a:gdLst>
                  <a:ahLst/>
                  <a:cxnLst>
                    <a:cxn ang="0">
                      <a:pos x="connsiteX0" y="connsiteY0"/>
                    </a:cxn>
                    <a:cxn ang="0">
                      <a:pos x="connsiteX1" y="connsiteY1"/>
                    </a:cxn>
                    <a:cxn ang="0">
                      <a:pos x="connsiteX2" y="connsiteY2"/>
                    </a:cxn>
                    <a:cxn ang="0">
                      <a:pos x="connsiteX3" y="connsiteY3"/>
                    </a:cxn>
                  </a:cxnLst>
                  <a:rect l="l" t="t" r="r" b="b"/>
                  <a:pathLst>
                    <a:path w="14964" h="49947">
                      <a:moveTo>
                        <a:pt x="14964" y="49947"/>
                      </a:moveTo>
                      <a:cubicBezTo>
                        <a:pt x="14840" y="41602"/>
                        <a:pt x="12971" y="35499"/>
                        <a:pt x="11228" y="31513"/>
                      </a:cubicBezTo>
                      <a:cubicBezTo>
                        <a:pt x="8363" y="25161"/>
                        <a:pt x="5498" y="22794"/>
                        <a:pt x="2882" y="16192"/>
                      </a:cubicBezTo>
                      <a:cubicBezTo>
                        <a:pt x="391" y="9715"/>
                        <a:pt x="-107" y="3861"/>
                        <a:pt x="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1" name="Freeform 4206">
                  <a:extLst>
                    <a:ext uri="{FF2B5EF4-FFF2-40B4-BE49-F238E27FC236}">
                      <a16:creationId xmlns:a16="http://schemas.microsoft.com/office/drawing/2014/main" id="{91A56EFE-4BA1-ABDB-766C-03A1FA20482A}"/>
                    </a:ext>
                  </a:extLst>
                </p:cNvPr>
                <p:cNvSpPr/>
                <p:nvPr/>
              </p:nvSpPr>
              <p:spPr>
                <a:xfrm>
                  <a:off x="4902714" y="6145625"/>
                  <a:ext cx="16317" cy="49449"/>
                </a:xfrm>
                <a:custGeom>
                  <a:avLst/>
                  <a:gdLst>
                    <a:gd name="connsiteX0" fmla="*/ 0 w 16317"/>
                    <a:gd name="connsiteY0" fmla="*/ 0 h 49449"/>
                    <a:gd name="connsiteX1" fmla="*/ 7474 w 16317"/>
                    <a:gd name="connsiteY1" fmla="*/ 17189 h 49449"/>
                    <a:gd name="connsiteX2" fmla="*/ 9342 w 16317"/>
                    <a:gd name="connsiteY2" fmla="*/ 34502 h 49449"/>
                    <a:gd name="connsiteX3" fmla="*/ 16317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0" y="0"/>
                      </a:moveTo>
                      <a:cubicBezTo>
                        <a:pt x="4733" y="6975"/>
                        <a:pt x="6726" y="12954"/>
                        <a:pt x="7474" y="17189"/>
                      </a:cubicBezTo>
                      <a:cubicBezTo>
                        <a:pt x="8844" y="24040"/>
                        <a:pt x="7723" y="27527"/>
                        <a:pt x="9342" y="34502"/>
                      </a:cubicBezTo>
                      <a:cubicBezTo>
                        <a:pt x="10961" y="41229"/>
                        <a:pt x="14075" y="46211"/>
                        <a:pt x="16317"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12" name="Freeform 4207">
                  <a:extLst>
                    <a:ext uri="{FF2B5EF4-FFF2-40B4-BE49-F238E27FC236}">
                      <a16:creationId xmlns:a16="http://schemas.microsoft.com/office/drawing/2014/main" id="{11296435-D790-DEC7-6B1F-22E1357B95A0}"/>
                    </a:ext>
                  </a:extLst>
                </p:cNvPr>
                <p:cNvSpPr/>
                <p:nvPr/>
              </p:nvSpPr>
              <p:spPr>
                <a:xfrm>
                  <a:off x="4909799" y="6182787"/>
                  <a:ext cx="26435" cy="26490"/>
                </a:xfrm>
                <a:custGeom>
                  <a:avLst/>
                  <a:gdLst>
                    <a:gd name="connsiteX0" fmla="*/ 638 w 26435"/>
                    <a:gd name="connsiteY0" fmla="*/ 17146 h 26490"/>
                    <a:gd name="connsiteX1" fmla="*/ 9232 w 26435"/>
                    <a:gd name="connsiteY1" fmla="*/ 580 h 26490"/>
                    <a:gd name="connsiteX2" fmla="*/ 25798 w 26435"/>
                    <a:gd name="connsiteY2" fmla="*/ 9299 h 26490"/>
                    <a:gd name="connsiteX3" fmla="*/ 17204 w 26435"/>
                    <a:gd name="connsiteY3" fmla="*/ 25865 h 26490"/>
                    <a:gd name="connsiteX4" fmla="*/ 638 w 26435"/>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5" h="26490">
                      <a:moveTo>
                        <a:pt x="638" y="17146"/>
                      </a:moveTo>
                      <a:cubicBezTo>
                        <a:pt x="-1605" y="10170"/>
                        <a:pt x="2257" y="2821"/>
                        <a:pt x="9232" y="580"/>
                      </a:cubicBezTo>
                      <a:cubicBezTo>
                        <a:pt x="16207" y="-1538"/>
                        <a:pt x="23556" y="2323"/>
                        <a:pt x="25798" y="9299"/>
                      </a:cubicBezTo>
                      <a:cubicBezTo>
                        <a:pt x="28040" y="16274"/>
                        <a:pt x="24179" y="23747"/>
                        <a:pt x="17204" y="25865"/>
                      </a:cubicBezTo>
                      <a:cubicBezTo>
                        <a:pt x="10229" y="28107"/>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3" name="Graphic 2987">
                <a:extLst>
                  <a:ext uri="{FF2B5EF4-FFF2-40B4-BE49-F238E27FC236}">
                    <a16:creationId xmlns:a16="http://schemas.microsoft.com/office/drawing/2014/main" id="{33C54083-2235-21CF-DC3A-ACF44283BA5C}"/>
                  </a:ext>
                </a:extLst>
              </p:cNvPr>
              <p:cNvGrpSpPr/>
              <p:nvPr/>
            </p:nvGrpSpPr>
            <p:grpSpPr>
              <a:xfrm>
                <a:off x="4901217" y="6057233"/>
                <a:ext cx="62997" cy="143279"/>
                <a:chOff x="4901217" y="6057233"/>
                <a:chExt cx="62997" cy="143279"/>
              </a:xfrm>
              <a:grpFill/>
            </p:grpSpPr>
            <p:sp>
              <p:nvSpPr>
                <p:cNvPr id="5201" name="Freeform 4209">
                  <a:extLst>
                    <a:ext uri="{FF2B5EF4-FFF2-40B4-BE49-F238E27FC236}">
                      <a16:creationId xmlns:a16="http://schemas.microsoft.com/office/drawing/2014/main" id="{1E0C9AF5-961C-FCFC-F608-1F7F731F2406}"/>
                    </a:ext>
                  </a:extLst>
                </p:cNvPr>
                <p:cNvSpPr/>
                <p:nvPr/>
              </p:nvSpPr>
              <p:spPr>
                <a:xfrm>
                  <a:off x="4913177" y="6078364"/>
                  <a:ext cx="14946" cy="50072"/>
                </a:xfrm>
                <a:custGeom>
                  <a:avLst/>
                  <a:gdLst>
                    <a:gd name="connsiteX0" fmla="*/ 0 w 14946"/>
                    <a:gd name="connsiteY0" fmla="*/ 0 h 50072"/>
                    <a:gd name="connsiteX1" fmla="*/ 3737 w 14946"/>
                    <a:gd name="connsiteY1" fmla="*/ 18434 h 50072"/>
                    <a:gd name="connsiteX2" fmla="*/ 12082 w 14946"/>
                    <a:gd name="connsiteY2" fmla="*/ 33755 h 50072"/>
                    <a:gd name="connsiteX3" fmla="*/ 14947 w 14946"/>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946" h="50072">
                      <a:moveTo>
                        <a:pt x="0" y="0"/>
                      </a:moveTo>
                      <a:cubicBezTo>
                        <a:pt x="0" y="8470"/>
                        <a:pt x="1993" y="14449"/>
                        <a:pt x="3737" y="18434"/>
                      </a:cubicBezTo>
                      <a:cubicBezTo>
                        <a:pt x="6602" y="24787"/>
                        <a:pt x="9466" y="27153"/>
                        <a:pt x="12082" y="33755"/>
                      </a:cubicBezTo>
                      <a:cubicBezTo>
                        <a:pt x="14573" y="40232"/>
                        <a:pt x="14947" y="46086"/>
                        <a:pt x="14947"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2" name="Freeform 4210">
                  <a:extLst>
                    <a:ext uri="{FF2B5EF4-FFF2-40B4-BE49-F238E27FC236}">
                      <a16:creationId xmlns:a16="http://schemas.microsoft.com/office/drawing/2014/main" id="{48F86A02-EAEE-88E2-ED06-FDAC52965C21}"/>
                    </a:ext>
                  </a:extLst>
                </p:cNvPr>
                <p:cNvSpPr/>
                <p:nvPr/>
              </p:nvSpPr>
              <p:spPr>
                <a:xfrm>
                  <a:off x="4918284" y="6071389"/>
                  <a:ext cx="16317" cy="49573"/>
                </a:xfrm>
                <a:custGeom>
                  <a:avLst/>
                  <a:gdLst>
                    <a:gd name="connsiteX0" fmla="*/ 16317 w 16317"/>
                    <a:gd name="connsiteY0" fmla="*/ 49574 h 49573"/>
                    <a:gd name="connsiteX1" fmla="*/ 8844 w 16317"/>
                    <a:gd name="connsiteY1" fmla="*/ 32260 h 49573"/>
                    <a:gd name="connsiteX2" fmla="*/ 6976 w 16317"/>
                    <a:gd name="connsiteY2" fmla="*/ 14947 h 49573"/>
                    <a:gd name="connsiteX3" fmla="*/ 0 w 16317"/>
                    <a:gd name="connsiteY3" fmla="*/ 0 h 49573"/>
                  </a:gdLst>
                  <a:ahLst/>
                  <a:cxnLst>
                    <a:cxn ang="0">
                      <a:pos x="connsiteX0" y="connsiteY0"/>
                    </a:cxn>
                    <a:cxn ang="0">
                      <a:pos x="connsiteX1" y="connsiteY1"/>
                    </a:cxn>
                    <a:cxn ang="0">
                      <a:pos x="connsiteX2" y="connsiteY2"/>
                    </a:cxn>
                    <a:cxn ang="0">
                      <a:pos x="connsiteX3" y="connsiteY3"/>
                    </a:cxn>
                  </a:cxnLst>
                  <a:rect l="l" t="t" r="r" b="b"/>
                  <a:pathLst>
                    <a:path w="16317" h="49573">
                      <a:moveTo>
                        <a:pt x="16317" y="49574"/>
                      </a:moveTo>
                      <a:cubicBezTo>
                        <a:pt x="11584" y="42599"/>
                        <a:pt x="9716" y="36620"/>
                        <a:pt x="8844" y="32260"/>
                      </a:cubicBezTo>
                      <a:cubicBezTo>
                        <a:pt x="7474" y="25409"/>
                        <a:pt x="8595" y="21798"/>
                        <a:pt x="6976" y="14947"/>
                      </a:cubicBezTo>
                      <a:cubicBezTo>
                        <a:pt x="5356" y="8221"/>
                        <a:pt x="2367"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3" name="Freeform 4211">
                  <a:extLst>
                    <a:ext uri="{FF2B5EF4-FFF2-40B4-BE49-F238E27FC236}">
                      <a16:creationId xmlns:a16="http://schemas.microsoft.com/office/drawing/2014/main" id="{FECE935F-DD7F-5763-71E5-AEA90C36604B}"/>
                    </a:ext>
                  </a:extLst>
                </p:cNvPr>
                <p:cNvSpPr/>
                <p:nvPr/>
              </p:nvSpPr>
              <p:spPr>
                <a:xfrm>
                  <a:off x="4901217" y="6057233"/>
                  <a:ext cx="26614" cy="26490"/>
                </a:xfrm>
                <a:custGeom>
                  <a:avLst/>
                  <a:gdLst>
                    <a:gd name="connsiteX0" fmla="*/ 26035 w 26614"/>
                    <a:gd name="connsiteY0" fmla="*/ 9298 h 26490"/>
                    <a:gd name="connsiteX1" fmla="*/ 17317 w 26614"/>
                    <a:gd name="connsiteY1" fmla="*/ 25865 h 26490"/>
                    <a:gd name="connsiteX2" fmla="*/ 626 w 26614"/>
                    <a:gd name="connsiteY2" fmla="*/ 17146 h 26490"/>
                    <a:gd name="connsiteX3" fmla="*/ 9345 w 26614"/>
                    <a:gd name="connsiteY3" fmla="*/ 580 h 26490"/>
                    <a:gd name="connsiteX4" fmla="*/ 26035 w 26614"/>
                    <a:gd name="connsiteY4" fmla="*/ 9298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3" h="26490">
                      <a:moveTo>
                        <a:pt x="26035" y="9298"/>
                      </a:moveTo>
                      <a:cubicBezTo>
                        <a:pt x="28153" y="16274"/>
                        <a:pt x="24292" y="23747"/>
                        <a:pt x="17317" y="25865"/>
                      </a:cubicBezTo>
                      <a:cubicBezTo>
                        <a:pt x="10341" y="28107"/>
                        <a:pt x="2868" y="24121"/>
                        <a:pt x="626" y="17146"/>
                      </a:cubicBezTo>
                      <a:cubicBezTo>
                        <a:pt x="-1616" y="10170"/>
                        <a:pt x="2369" y="2697"/>
                        <a:pt x="9345" y="580"/>
                      </a:cubicBezTo>
                      <a:cubicBezTo>
                        <a:pt x="16320" y="-1538"/>
                        <a:pt x="23793" y="2323"/>
                        <a:pt x="26035" y="92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4" name="Freeform 4212">
                  <a:extLst>
                    <a:ext uri="{FF2B5EF4-FFF2-40B4-BE49-F238E27FC236}">
                      <a16:creationId xmlns:a16="http://schemas.microsoft.com/office/drawing/2014/main" id="{401880F6-3285-3422-5D1E-A5867B136948}"/>
                    </a:ext>
                  </a:extLst>
                </p:cNvPr>
                <p:cNvSpPr/>
                <p:nvPr/>
              </p:nvSpPr>
              <p:spPr>
                <a:xfrm>
                  <a:off x="4937466" y="6129433"/>
                  <a:ext cx="14947" cy="50072"/>
                </a:xfrm>
                <a:custGeom>
                  <a:avLst/>
                  <a:gdLst>
                    <a:gd name="connsiteX0" fmla="*/ 14947 w 14947"/>
                    <a:gd name="connsiteY0" fmla="*/ 50072 h 50072"/>
                    <a:gd name="connsiteX1" fmla="*/ 11210 w 14947"/>
                    <a:gd name="connsiteY1" fmla="*/ 31637 h 50072"/>
                    <a:gd name="connsiteX2" fmla="*/ 2865 w 14947"/>
                    <a:gd name="connsiteY2" fmla="*/ 16317 h 50072"/>
                    <a:gd name="connsiteX3" fmla="*/ 0 w 14947"/>
                    <a:gd name="connsiteY3" fmla="*/ 0 h 50072"/>
                  </a:gdLst>
                  <a:ahLst/>
                  <a:cxnLst>
                    <a:cxn ang="0">
                      <a:pos x="connsiteX0" y="connsiteY0"/>
                    </a:cxn>
                    <a:cxn ang="0">
                      <a:pos x="connsiteX1" y="connsiteY1"/>
                    </a:cxn>
                    <a:cxn ang="0">
                      <a:pos x="connsiteX2" y="connsiteY2"/>
                    </a:cxn>
                    <a:cxn ang="0">
                      <a:pos x="connsiteX3" y="connsiteY3"/>
                    </a:cxn>
                  </a:cxnLst>
                  <a:rect l="l" t="t" r="r" b="b"/>
                  <a:pathLst>
                    <a:path w="14947" h="50072">
                      <a:moveTo>
                        <a:pt x="14947" y="50072"/>
                      </a:moveTo>
                      <a:cubicBezTo>
                        <a:pt x="14947" y="41602"/>
                        <a:pt x="12954" y="35623"/>
                        <a:pt x="11210" y="31637"/>
                      </a:cubicBezTo>
                      <a:cubicBezTo>
                        <a:pt x="8346" y="25285"/>
                        <a:pt x="5481" y="22919"/>
                        <a:pt x="2865" y="16317"/>
                      </a:cubicBezTo>
                      <a:cubicBezTo>
                        <a:pt x="374" y="9840"/>
                        <a:pt x="0" y="3986"/>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5" name="Freeform 4213">
                  <a:extLst>
                    <a:ext uri="{FF2B5EF4-FFF2-40B4-BE49-F238E27FC236}">
                      <a16:creationId xmlns:a16="http://schemas.microsoft.com/office/drawing/2014/main" id="{351DE6B4-8EA1-7B82-9C3F-2AFD7E0A2279}"/>
                    </a:ext>
                  </a:extLst>
                </p:cNvPr>
                <p:cNvSpPr/>
                <p:nvPr/>
              </p:nvSpPr>
              <p:spPr>
                <a:xfrm>
                  <a:off x="4930989" y="6136782"/>
                  <a:ext cx="16317" cy="49573"/>
                </a:xfrm>
                <a:custGeom>
                  <a:avLst/>
                  <a:gdLst>
                    <a:gd name="connsiteX0" fmla="*/ 0 w 16317"/>
                    <a:gd name="connsiteY0" fmla="*/ 0 h 49573"/>
                    <a:gd name="connsiteX1" fmla="*/ 7474 w 16317"/>
                    <a:gd name="connsiteY1" fmla="*/ 17313 h 49573"/>
                    <a:gd name="connsiteX2" fmla="*/ 9342 w 16317"/>
                    <a:gd name="connsiteY2" fmla="*/ 34627 h 49573"/>
                    <a:gd name="connsiteX3" fmla="*/ 16317 w 16317"/>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6317" h="49573">
                      <a:moveTo>
                        <a:pt x="0" y="0"/>
                      </a:moveTo>
                      <a:cubicBezTo>
                        <a:pt x="4733" y="6975"/>
                        <a:pt x="6602" y="12954"/>
                        <a:pt x="7474" y="17313"/>
                      </a:cubicBezTo>
                      <a:cubicBezTo>
                        <a:pt x="8843" y="24164"/>
                        <a:pt x="7723" y="27776"/>
                        <a:pt x="9342" y="34627"/>
                      </a:cubicBezTo>
                      <a:cubicBezTo>
                        <a:pt x="10961" y="41353"/>
                        <a:pt x="13950" y="46460"/>
                        <a:pt x="16317"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6" name="Freeform 4214">
                  <a:extLst>
                    <a:ext uri="{FF2B5EF4-FFF2-40B4-BE49-F238E27FC236}">
                      <a16:creationId xmlns:a16="http://schemas.microsoft.com/office/drawing/2014/main" id="{DA73BD7F-FB96-F01A-02F9-DF31DA241E0C}"/>
                    </a:ext>
                  </a:extLst>
                </p:cNvPr>
                <p:cNvSpPr/>
                <p:nvPr/>
              </p:nvSpPr>
              <p:spPr>
                <a:xfrm>
                  <a:off x="4937825" y="6174068"/>
                  <a:ext cx="26389" cy="26444"/>
                </a:xfrm>
                <a:custGeom>
                  <a:avLst/>
                  <a:gdLst>
                    <a:gd name="connsiteX0" fmla="*/ 638 w 26389"/>
                    <a:gd name="connsiteY0" fmla="*/ 17146 h 26444"/>
                    <a:gd name="connsiteX1" fmla="*/ 9232 w 26389"/>
                    <a:gd name="connsiteY1" fmla="*/ 579 h 26444"/>
                    <a:gd name="connsiteX2" fmla="*/ 25798 w 26389"/>
                    <a:gd name="connsiteY2" fmla="*/ 9299 h 26444"/>
                    <a:gd name="connsiteX3" fmla="*/ 17204 w 26389"/>
                    <a:gd name="connsiteY3" fmla="*/ 25865 h 26444"/>
                    <a:gd name="connsiteX4" fmla="*/ 638 w 26389"/>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444">
                      <a:moveTo>
                        <a:pt x="638" y="17146"/>
                      </a:moveTo>
                      <a:cubicBezTo>
                        <a:pt x="-1605" y="10171"/>
                        <a:pt x="2257" y="2697"/>
                        <a:pt x="9232" y="579"/>
                      </a:cubicBezTo>
                      <a:cubicBezTo>
                        <a:pt x="16207" y="-1538"/>
                        <a:pt x="23556" y="2323"/>
                        <a:pt x="25798" y="9299"/>
                      </a:cubicBezTo>
                      <a:cubicBezTo>
                        <a:pt x="27916" y="16274"/>
                        <a:pt x="24179" y="23747"/>
                        <a:pt x="17204" y="25865"/>
                      </a:cubicBezTo>
                      <a:cubicBezTo>
                        <a:pt x="10229" y="27982"/>
                        <a:pt x="2880" y="24121"/>
                        <a:pt x="6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4" name="Graphic 2987">
                <a:extLst>
                  <a:ext uri="{FF2B5EF4-FFF2-40B4-BE49-F238E27FC236}">
                    <a16:creationId xmlns:a16="http://schemas.microsoft.com/office/drawing/2014/main" id="{B4B53335-44CD-9DD0-8731-89A1EACC9C0D}"/>
                  </a:ext>
                </a:extLst>
              </p:cNvPr>
              <p:cNvGrpSpPr/>
              <p:nvPr/>
            </p:nvGrpSpPr>
            <p:grpSpPr>
              <a:xfrm>
                <a:off x="4929538" y="6048389"/>
                <a:ext cx="62690" cy="143403"/>
                <a:chOff x="4929538" y="6048389"/>
                <a:chExt cx="62690" cy="143403"/>
              </a:xfrm>
              <a:grpFill/>
            </p:grpSpPr>
            <p:sp>
              <p:nvSpPr>
                <p:cNvPr id="5195" name="Freeform 4216">
                  <a:extLst>
                    <a:ext uri="{FF2B5EF4-FFF2-40B4-BE49-F238E27FC236}">
                      <a16:creationId xmlns:a16="http://schemas.microsoft.com/office/drawing/2014/main" id="{B66D3D36-41BD-5404-A969-D30DDD2EA266}"/>
                    </a:ext>
                  </a:extLst>
                </p:cNvPr>
                <p:cNvSpPr/>
                <p:nvPr/>
              </p:nvSpPr>
              <p:spPr>
                <a:xfrm>
                  <a:off x="4941576" y="6069520"/>
                  <a:ext cx="14718" cy="50072"/>
                </a:xfrm>
                <a:custGeom>
                  <a:avLst/>
                  <a:gdLst>
                    <a:gd name="connsiteX0" fmla="*/ 0 w 14718"/>
                    <a:gd name="connsiteY0" fmla="*/ 0 h 50072"/>
                    <a:gd name="connsiteX1" fmla="*/ 3612 w 14718"/>
                    <a:gd name="connsiteY1" fmla="*/ 18435 h 50072"/>
                    <a:gd name="connsiteX2" fmla="*/ 11957 w 14718"/>
                    <a:gd name="connsiteY2" fmla="*/ 33755 h 50072"/>
                    <a:gd name="connsiteX3" fmla="*/ 14698 w 14718"/>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718" h="50072">
                      <a:moveTo>
                        <a:pt x="0" y="0"/>
                      </a:moveTo>
                      <a:cubicBezTo>
                        <a:pt x="0" y="8470"/>
                        <a:pt x="1868" y="14449"/>
                        <a:pt x="3612" y="18435"/>
                      </a:cubicBezTo>
                      <a:cubicBezTo>
                        <a:pt x="6477" y="24787"/>
                        <a:pt x="9342" y="27154"/>
                        <a:pt x="11957" y="33755"/>
                      </a:cubicBezTo>
                      <a:cubicBezTo>
                        <a:pt x="14449" y="40232"/>
                        <a:pt x="14822" y="46086"/>
                        <a:pt x="14698"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6" name="Freeform 4217">
                  <a:extLst>
                    <a:ext uri="{FF2B5EF4-FFF2-40B4-BE49-F238E27FC236}">
                      <a16:creationId xmlns:a16="http://schemas.microsoft.com/office/drawing/2014/main" id="{395692DF-2A13-5441-6A11-5C140A690CD8}"/>
                    </a:ext>
                  </a:extLst>
                </p:cNvPr>
                <p:cNvSpPr/>
                <p:nvPr/>
              </p:nvSpPr>
              <p:spPr>
                <a:xfrm>
                  <a:off x="4946932" y="6062670"/>
                  <a:ext cx="15943" cy="49574"/>
                </a:xfrm>
                <a:custGeom>
                  <a:avLst/>
                  <a:gdLst>
                    <a:gd name="connsiteX0" fmla="*/ 15943 w 15943"/>
                    <a:gd name="connsiteY0" fmla="*/ 49574 h 49574"/>
                    <a:gd name="connsiteX1" fmla="*/ 8595 w 15943"/>
                    <a:gd name="connsiteY1" fmla="*/ 32260 h 49574"/>
                    <a:gd name="connsiteX2" fmla="*/ 6851 w 15943"/>
                    <a:gd name="connsiteY2" fmla="*/ 14947 h 49574"/>
                    <a:gd name="connsiteX3" fmla="*/ 0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15943" y="49574"/>
                      </a:moveTo>
                      <a:cubicBezTo>
                        <a:pt x="11210" y="42599"/>
                        <a:pt x="9342" y="36620"/>
                        <a:pt x="8595" y="32260"/>
                      </a:cubicBezTo>
                      <a:cubicBezTo>
                        <a:pt x="7224" y="25410"/>
                        <a:pt x="8470" y="21798"/>
                        <a:pt x="6851" y="14947"/>
                      </a:cubicBezTo>
                      <a:cubicBezTo>
                        <a:pt x="5231"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7" name="Freeform 4218">
                  <a:extLst>
                    <a:ext uri="{FF2B5EF4-FFF2-40B4-BE49-F238E27FC236}">
                      <a16:creationId xmlns:a16="http://schemas.microsoft.com/office/drawing/2014/main" id="{D2DBCCE3-F8F1-59E4-FD43-413C45241CAE}"/>
                    </a:ext>
                  </a:extLst>
                </p:cNvPr>
                <p:cNvSpPr/>
                <p:nvPr/>
              </p:nvSpPr>
              <p:spPr>
                <a:xfrm>
                  <a:off x="4929538" y="6048389"/>
                  <a:ext cx="26691" cy="26490"/>
                </a:xfrm>
                <a:custGeom>
                  <a:avLst/>
                  <a:gdLst>
                    <a:gd name="connsiteX0" fmla="*/ 26113 w 26691"/>
                    <a:gd name="connsiteY0" fmla="*/ 9299 h 26490"/>
                    <a:gd name="connsiteX1" fmla="*/ 17269 w 26691"/>
                    <a:gd name="connsiteY1" fmla="*/ 25865 h 26490"/>
                    <a:gd name="connsiteX2" fmla="*/ 579 w 26691"/>
                    <a:gd name="connsiteY2" fmla="*/ 17146 h 26490"/>
                    <a:gd name="connsiteX3" fmla="*/ 9422 w 26691"/>
                    <a:gd name="connsiteY3" fmla="*/ 579 h 26490"/>
                    <a:gd name="connsiteX4" fmla="*/ 26113 w 26691"/>
                    <a:gd name="connsiteY4" fmla="*/ 9299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1" h="26490">
                      <a:moveTo>
                        <a:pt x="26113" y="9299"/>
                      </a:moveTo>
                      <a:cubicBezTo>
                        <a:pt x="28230" y="16274"/>
                        <a:pt x="24369" y="23747"/>
                        <a:pt x="17269" y="25865"/>
                      </a:cubicBezTo>
                      <a:cubicBezTo>
                        <a:pt x="10294" y="28107"/>
                        <a:pt x="2821" y="24121"/>
                        <a:pt x="579" y="17146"/>
                      </a:cubicBezTo>
                      <a:cubicBezTo>
                        <a:pt x="-1539" y="10171"/>
                        <a:pt x="2323" y="2697"/>
                        <a:pt x="9422" y="579"/>
                      </a:cubicBezTo>
                      <a:cubicBezTo>
                        <a:pt x="16522" y="-1538"/>
                        <a:pt x="23995" y="2323"/>
                        <a:pt x="26113"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8" name="Freeform 4219">
                  <a:extLst>
                    <a:ext uri="{FF2B5EF4-FFF2-40B4-BE49-F238E27FC236}">
                      <a16:creationId xmlns:a16="http://schemas.microsoft.com/office/drawing/2014/main" id="{AEBA2F43-4576-8E81-6931-85E27113419F}"/>
                    </a:ext>
                  </a:extLst>
                </p:cNvPr>
                <p:cNvSpPr/>
                <p:nvPr/>
              </p:nvSpPr>
              <p:spPr>
                <a:xfrm>
                  <a:off x="4965720" y="6120714"/>
                  <a:ext cx="14718" cy="50072"/>
                </a:xfrm>
                <a:custGeom>
                  <a:avLst/>
                  <a:gdLst>
                    <a:gd name="connsiteX0" fmla="*/ 14719 w 14718"/>
                    <a:gd name="connsiteY0" fmla="*/ 50072 h 50072"/>
                    <a:gd name="connsiteX1" fmla="*/ 11106 w 14718"/>
                    <a:gd name="connsiteY1" fmla="*/ 31638 h 50072"/>
                    <a:gd name="connsiteX2" fmla="*/ 2761 w 14718"/>
                    <a:gd name="connsiteY2" fmla="*/ 16317 h 50072"/>
                    <a:gd name="connsiteX3" fmla="*/ 21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14719" y="50072"/>
                      </a:moveTo>
                      <a:cubicBezTo>
                        <a:pt x="14719" y="41602"/>
                        <a:pt x="12850" y="35623"/>
                        <a:pt x="11106" y="31638"/>
                      </a:cubicBezTo>
                      <a:cubicBezTo>
                        <a:pt x="8366" y="25161"/>
                        <a:pt x="5377"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9" name="Freeform 4220">
                  <a:extLst>
                    <a:ext uri="{FF2B5EF4-FFF2-40B4-BE49-F238E27FC236}">
                      <a16:creationId xmlns:a16="http://schemas.microsoft.com/office/drawing/2014/main" id="{A86B5141-89CB-F29A-CAAE-1D372885FD9E}"/>
                    </a:ext>
                  </a:extLst>
                </p:cNvPr>
                <p:cNvSpPr/>
                <p:nvPr/>
              </p:nvSpPr>
              <p:spPr>
                <a:xfrm>
                  <a:off x="4959139" y="6128063"/>
                  <a:ext cx="16192" cy="49574"/>
                </a:xfrm>
                <a:custGeom>
                  <a:avLst/>
                  <a:gdLst>
                    <a:gd name="connsiteX0" fmla="*/ 0 w 16192"/>
                    <a:gd name="connsiteY0" fmla="*/ 0 h 49574"/>
                    <a:gd name="connsiteX1" fmla="*/ 7473 w 16192"/>
                    <a:gd name="connsiteY1" fmla="*/ 17314 h 49574"/>
                    <a:gd name="connsiteX2" fmla="*/ 9342 w 16192"/>
                    <a:gd name="connsiteY2" fmla="*/ 34627 h 49574"/>
                    <a:gd name="connsiteX3" fmla="*/ 16192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0" y="0"/>
                      </a:moveTo>
                      <a:cubicBezTo>
                        <a:pt x="4733" y="6975"/>
                        <a:pt x="6602" y="12954"/>
                        <a:pt x="7473" y="17314"/>
                      </a:cubicBezTo>
                      <a:cubicBezTo>
                        <a:pt x="8843" y="24164"/>
                        <a:pt x="7723" y="27776"/>
                        <a:pt x="9342" y="34627"/>
                      </a:cubicBezTo>
                      <a:cubicBezTo>
                        <a:pt x="10961" y="41353"/>
                        <a:pt x="13950" y="46460"/>
                        <a:pt x="16192"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200" name="Freeform 4221">
                  <a:extLst>
                    <a:ext uri="{FF2B5EF4-FFF2-40B4-BE49-F238E27FC236}">
                      <a16:creationId xmlns:a16="http://schemas.microsoft.com/office/drawing/2014/main" id="{803C21AD-9003-60DC-61F2-EFEC345FF1BF}"/>
                    </a:ext>
                  </a:extLst>
                </p:cNvPr>
                <p:cNvSpPr/>
                <p:nvPr/>
              </p:nvSpPr>
              <p:spPr>
                <a:xfrm>
                  <a:off x="4966032" y="6165349"/>
                  <a:ext cx="26196" cy="26444"/>
                </a:xfrm>
                <a:custGeom>
                  <a:avLst/>
                  <a:gdLst>
                    <a:gd name="connsiteX0" fmla="*/ 580 w 26196"/>
                    <a:gd name="connsiteY0" fmla="*/ 17146 h 26444"/>
                    <a:gd name="connsiteX1" fmla="*/ 9175 w 26196"/>
                    <a:gd name="connsiteY1" fmla="*/ 580 h 26444"/>
                    <a:gd name="connsiteX2" fmla="*/ 25616 w 26196"/>
                    <a:gd name="connsiteY2" fmla="*/ 9298 h 26444"/>
                    <a:gd name="connsiteX3" fmla="*/ 17022 w 26196"/>
                    <a:gd name="connsiteY3" fmla="*/ 25865 h 26444"/>
                    <a:gd name="connsiteX4" fmla="*/ 580 w 26196"/>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444">
                      <a:moveTo>
                        <a:pt x="580" y="17146"/>
                      </a:moveTo>
                      <a:cubicBezTo>
                        <a:pt x="-1537" y="10170"/>
                        <a:pt x="2324" y="2697"/>
                        <a:pt x="9175" y="580"/>
                      </a:cubicBezTo>
                      <a:cubicBezTo>
                        <a:pt x="16150" y="-1538"/>
                        <a:pt x="23499" y="2323"/>
                        <a:pt x="25616" y="9298"/>
                      </a:cubicBezTo>
                      <a:cubicBezTo>
                        <a:pt x="27734" y="16274"/>
                        <a:pt x="23872" y="23747"/>
                        <a:pt x="17022" y="25865"/>
                      </a:cubicBezTo>
                      <a:cubicBezTo>
                        <a:pt x="10171" y="27982"/>
                        <a:pt x="2698" y="24121"/>
                        <a:pt x="580"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5" name="Graphic 2987">
                <a:extLst>
                  <a:ext uri="{FF2B5EF4-FFF2-40B4-BE49-F238E27FC236}">
                    <a16:creationId xmlns:a16="http://schemas.microsoft.com/office/drawing/2014/main" id="{DDA26848-7A76-EE04-06AE-45F5DC2D15F5}"/>
                  </a:ext>
                </a:extLst>
              </p:cNvPr>
              <p:cNvGrpSpPr/>
              <p:nvPr/>
            </p:nvGrpSpPr>
            <p:grpSpPr>
              <a:xfrm>
                <a:off x="4958072" y="6039499"/>
                <a:ext cx="62305" cy="143620"/>
                <a:chOff x="4958072" y="6039499"/>
                <a:chExt cx="62305" cy="143620"/>
              </a:xfrm>
              <a:grpFill/>
            </p:grpSpPr>
            <p:sp>
              <p:nvSpPr>
                <p:cNvPr id="5189" name="Freeform 4223">
                  <a:extLst>
                    <a:ext uri="{FF2B5EF4-FFF2-40B4-BE49-F238E27FC236}">
                      <a16:creationId xmlns:a16="http://schemas.microsoft.com/office/drawing/2014/main" id="{972FFC02-74D0-1E5C-76AB-B18D682750BC}"/>
                    </a:ext>
                  </a:extLst>
                </p:cNvPr>
                <p:cNvSpPr/>
                <p:nvPr/>
              </p:nvSpPr>
              <p:spPr>
                <a:xfrm>
                  <a:off x="4969975" y="6060677"/>
                  <a:ext cx="14593" cy="50072"/>
                </a:xfrm>
                <a:custGeom>
                  <a:avLst/>
                  <a:gdLst>
                    <a:gd name="connsiteX0" fmla="*/ 0 w 14593"/>
                    <a:gd name="connsiteY0" fmla="*/ 0 h 50072"/>
                    <a:gd name="connsiteX1" fmla="*/ 3612 w 14593"/>
                    <a:gd name="connsiteY1" fmla="*/ 18435 h 50072"/>
                    <a:gd name="connsiteX2" fmla="*/ 11833 w 14593"/>
                    <a:gd name="connsiteY2" fmla="*/ 33755 h 50072"/>
                    <a:gd name="connsiteX3" fmla="*/ 14573 w 1459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3" h="50072">
                      <a:moveTo>
                        <a:pt x="0" y="0"/>
                      </a:moveTo>
                      <a:cubicBezTo>
                        <a:pt x="0" y="8470"/>
                        <a:pt x="1868" y="14449"/>
                        <a:pt x="3612" y="18435"/>
                      </a:cubicBezTo>
                      <a:cubicBezTo>
                        <a:pt x="6352" y="24912"/>
                        <a:pt x="9342" y="27153"/>
                        <a:pt x="11833" y="33755"/>
                      </a:cubicBezTo>
                      <a:cubicBezTo>
                        <a:pt x="14324" y="40232"/>
                        <a:pt x="14698" y="46086"/>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0" name="Freeform 4224">
                  <a:extLst>
                    <a:ext uri="{FF2B5EF4-FFF2-40B4-BE49-F238E27FC236}">
                      <a16:creationId xmlns:a16="http://schemas.microsoft.com/office/drawing/2014/main" id="{CE4BF374-FC2F-3B26-F5F4-41A67F02D442}"/>
                    </a:ext>
                  </a:extLst>
                </p:cNvPr>
                <p:cNvSpPr/>
                <p:nvPr/>
              </p:nvSpPr>
              <p:spPr>
                <a:xfrm>
                  <a:off x="4975207" y="6053826"/>
                  <a:ext cx="15943" cy="49573"/>
                </a:xfrm>
                <a:custGeom>
                  <a:avLst/>
                  <a:gdLst>
                    <a:gd name="connsiteX0" fmla="*/ 15943 w 15943"/>
                    <a:gd name="connsiteY0" fmla="*/ 49574 h 49573"/>
                    <a:gd name="connsiteX1" fmla="*/ 8595 w 15943"/>
                    <a:gd name="connsiteY1" fmla="*/ 32260 h 49573"/>
                    <a:gd name="connsiteX2" fmla="*/ 6851 w 15943"/>
                    <a:gd name="connsiteY2" fmla="*/ 14947 h 49573"/>
                    <a:gd name="connsiteX3" fmla="*/ 0 w 15943"/>
                    <a:gd name="connsiteY3" fmla="*/ 0 h 49573"/>
                  </a:gdLst>
                  <a:ahLst/>
                  <a:cxnLst>
                    <a:cxn ang="0">
                      <a:pos x="connsiteX0" y="connsiteY0"/>
                    </a:cxn>
                    <a:cxn ang="0">
                      <a:pos x="connsiteX1" y="connsiteY1"/>
                    </a:cxn>
                    <a:cxn ang="0">
                      <a:pos x="connsiteX2" y="connsiteY2"/>
                    </a:cxn>
                    <a:cxn ang="0">
                      <a:pos x="connsiteX3" y="connsiteY3"/>
                    </a:cxn>
                  </a:cxnLst>
                  <a:rect l="l" t="t" r="r" b="b"/>
                  <a:pathLst>
                    <a:path w="15943" h="49573">
                      <a:moveTo>
                        <a:pt x="15943" y="49574"/>
                      </a:moveTo>
                      <a:cubicBezTo>
                        <a:pt x="11210" y="42599"/>
                        <a:pt x="9342" y="36495"/>
                        <a:pt x="8595" y="32260"/>
                      </a:cubicBezTo>
                      <a:cubicBezTo>
                        <a:pt x="7349" y="25409"/>
                        <a:pt x="8470" y="21798"/>
                        <a:pt x="6851" y="14947"/>
                      </a:cubicBezTo>
                      <a:cubicBezTo>
                        <a:pt x="5356" y="8221"/>
                        <a:pt x="2242" y="3114"/>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1" name="Freeform 4225">
                  <a:extLst>
                    <a:ext uri="{FF2B5EF4-FFF2-40B4-BE49-F238E27FC236}">
                      <a16:creationId xmlns:a16="http://schemas.microsoft.com/office/drawing/2014/main" id="{93DA31F7-4F55-BE5E-03DB-3A622B92ACBB}"/>
                    </a:ext>
                  </a:extLst>
                </p:cNvPr>
                <p:cNvSpPr/>
                <p:nvPr/>
              </p:nvSpPr>
              <p:spPr>
                <a:xfrm>
                  <a:off x="4958072" y="6039499"/>
                  <a:ext cx="26546" cy="26661"/>
                </a:xfrm>
                <a:custGeom>
                  <a:avLst/>
                  <a:gdLst>
                    <a:gd name="connsiteX0" fmla="*/ 25978 w 26546"/>
                    <a:gd name="connsiteY0" fmla="*/ 9345 h 26661"/>
                    <a:gd name="connsiteX1" fmla="*/ 17134 w 26546"/>
                    <a:gd name="connsiteY1" fmla="*/ 26036 h 26661"/>
                    <a:gd name="connsiteX2" fmla="*/ 568 w 26546"/>
                    <a:gd name="connsiteY2" fmla="*/ 17316 h 26661"/>
                    <a:gd name="connsiteX3" fmla="*/ 9412 w 26546"/>
                    <a:gd name="connsiteY3" fmla="*/ 626 h 26661"/>
                    <a:gd name="connsiteX4" fmla="*/ 25978 w 26546"/>
                    <a:gd name="connsiteY4" fmla="*/ 9345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661">
                      <a:moveTo>
                        <a:pt x="25978" y="9345"/>
                      </a:moveTo>
                      <a:cubicBezTo>
                        <a:pt x="28096" y="16320"/>
                        <a:pt x="24110" y="23793"/>
                        <a:pt x="17134" y="26036"/>
                      </a:cubicBezTo>
                      <a:cubicBezTo>
                        <a:pt x="10159" y="28278"/>
                        <a:pt x="2686" y="24292"/>
                        <a:pt x="568" y="17316"/>
                      </a:cubicBezTo>
                      <a:cubicBezTo>
                        <a:pt x="-1549" y="10341"/>
                        <a:pt x="2437" y="2868"/>
                        <a:pt x="9412" y="626"/>
                      </a:cubicBezTo>
                      <a:cubicBezTo>
                        <a:pt x="16512" y="-1616"/>
                        <a:pt x="23861" y="2369"/>
                        <a:pt x="25978"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2" name="Freeform 4226">
                  <a:extLst>
                    <a:ext uri="{FF2B5EF4-FFF2-40B4-BE49-F238E27FC236}">
                      <a16:creationId xmlns:a16="http://schemas.microsoft.com/office/drawing/2014/main" id="{E92D9345-F2ED-1AB8-6607-136A36A461EC}"/>
                    </a:ext>
                  </a:extLst>
                </p:cNvPr>
                <p:cNvSpPr/>
                <p:nvPr/>
              </p:nvSpPr>
              <p:spPr>
                <a:xfrm>
                  <a:off x="4993994" y="6111870"/>
                  <a:ext cx="14593" cy="50072"/>
                </a:xfrm>
                <a:custGeom>
                  <a:avLst/>
                  <a:gdLst>
                    <a:gd name="connsiteX0" fmla="*/ 14594 w 14593"/>
                    <a:gd name="connsiteY0" fmla="*/ 50072 h 50072"/>
                    <a:gd name="connsiteX1" fmla="*/ 10982 w 14593"/>
                    <a:gd name="connsiteY1" fmla="*/ 31637 h 50072"/>
                    <a:gd name="connsiteX2" fmla="*/ 2761 w 14593"/>
                    <a:gd name="connsiteY2" fmla="*/ 16317 h 50072"/>
                    <a:gd name="connsiteX3" fmla="*/ 21 w 14593"/>
                    <a:gd name="connsiteY3" fmla="*/ 0 h 50072"/>
                  </a:gdLst>
                  <a:ahLst/>
                  <a:cxnLst>
                    <a:cxn ang="0">
                      <a:pos x="connsiteX0" y="connsiteY0"/>
                    </a:cxn>
                    <a:cxn ang="0">
                      <a:pos x="connsiteX1" y="connsiteY1"/>
                    </a:cxn>
                    <a:cxn ang="0">
                      <a:pos x="connsiteX2" y="connsiteY2"/>
                    </a:cxn>
                    <a:cxn ang="0">
                      <a:pos x="connsiteX3" y="connsiteY3"/>
                    </a:cxn>
                  </a:cxnLst>
                  <a:rect l="l" t="t" r="r" b="b"/>
                  <a:pathLst>
                    <a:path w="14593" h="50072">
                      <a:moveTo>
                        <a:pt x="14594" y="50072"/>
                      </a:moveTo>
                      <a:cubicBezTo>
                        <a:pt x="14594" y="41602"/>
                        <a:pt x="12726" y="35623"/>
                        <a:pt x="10982" y="31637"/>
                      </a:cubicBezTo>
                      <a:cubicBezTo>
                        <a:pt x="8242" y="25161"/>
                        <a:pt x="5252" y="22919"/>
                        <a:pt x="2761" y="16317"/>
                      </a:cubicBezTo>
                      <a:cubicBezTo>
                        <a:pt x="270" y="9840"/>
                        <a:pt x="-104"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3" name="Freeform 4227">
                  <a:extLst>
                    <a:ext uri="{FF2B5EF4-FFF2-40B4-BE49-F238E27FC236}">
                      <a16:creationId xmlns:a16="http://schemas.microsoft.com/office/drawing/2014/main" id="{DC86BA1C-84A6-9905-C1DC-C11B927EF9A2}"/>
                    </a:ext>
                  </a:extLst>
                </p:cNvPr>
                <p:cNvSpPr/>
                <p:nvPr/>
              </p:nvSpPr>
              <p:spPr>
                <a:xfrm>
                  <a:off x="4987413" y="6119219"/>
                  <a:ext cx="15943" cy="49573"/>
                </a:xfrm>
                <a:custGeom>
                  <a:avLst/>
                  <a:gdLst>
                    <a:gd name="connsiteX0" fmla="*/ 0 w 15943"/>
                    <a:gd name="connsiteY0" fmla="*/ 0 h 49573"/>
                    <a:gd name="connsiteX1" fmla="*/ 7349 w 15943"/>
                    <a:gd name="connsiteY1" fmla="*/ 17313 h 49573"/>
                    <a:gd name="connsiteX2" fmla="*/ 9093 w 15943"/>
                    <a:gd name="connsiteY2" fmla="*/ 34627 h 49573"/>
                    <a:gd name="connsiteX3" fmla="*/ 15943 w 15943"/>
                    <a:gd name="connsiteY3" fmla="*/ 49574 h 49573"/>
                  </a:gdLst>
                  <a:ahLst/>
                  <a:cxnLst>
                    <a:cxn ang="0">
                      <a:pos x="connsiteX0" y="connsiteY0"/>
                    </a:cxn>
                    <a:cxn ang="0">
                      <a:pos x="connsiteX1" y="connsiteY1"/>
                    </a:cxn>
                    <a:cxn ang="0">
                      <a:pos x="connsiteX2" y="connsiteY2"/>
                    </a:cxn>
                    <a:cxn ang="0">
                      <a:pos x="connsiteX3" y="connsiteY3"/>
                    </a:cxn>
                  </a:cxnLst>
                  <a:rect l="l" t="t" r="r" b="b"/>
                  <a:pathLst>
                    <a:path w="15943" h="49573">
                      <a:moveTo>
                        <a:pt x="0" y="0"/>
                      </a:moveTo>
                      <a:cubicBezTo>
                        <a:pt x="4733" y="6975"/>
                        <a:pt x="6602" y="13078"/>
                        <a:pt x="7349" y="17313"/>
                      </a:cubicBezTo>
                      <a:cubicBezTo>
                        <a:pt x="8595" y="24164"/>
                        <a:pt x="7474" y="27776"/>
                        <a:pt x="9093" y="34627"/>
                      </a:cubicBezTo>
                      <a:cubicBezTo>
                        <a:pt x="10587" y="41353"/>
                        <a:pt x="13701" y="46460"/>
                        <a:pt x="15943"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94" name="Freeform 4228">
                  <a:extLst>
                    <a:ext uri="{FF2B5EF4-FFF2-40B4-BE49-F238E27FC236}">
                      <a16:creationId xmlns:a16="http://schemas.microsoft.com/office/drawing/2014/main" id="{4C00D691-EF75-15CC-EF6F-63B2C6B221A3}"/>
                    </a:ext>
                  </a:extLst>
                </p:cNvPr>
                <p:cNvSpPr/>
                <p:nvPr/>
              </p:nvSpPr>
              <p:spPr>
                <a:xfrm>
                  <a:off x="4994058" y="6156630"/>
                  <a:ext cx="26319" cy="26490"/>
                </a:xfrm>
                <a:custGeom>
                  <a:avLst/>
                  <a:gdLst>
                    <a:gd name="connsiteX0" fmla="*/ 579 w 26319"/>
                    <a:gd name="connsiteY0" fmla="*/ 17146 h 26490"/>
                    <a:gd name="connsiteX1" fmla="*/ 9299 w 26319"/>
                    <a:gd name="connsiteY1" fmla="*/ 579 h 26490"/>
                    <a:gd name="connsiteX2" fmla="*/ 25740 w 26319"/>
                    <a:gd name="connsiteY2" fmla="*/ 9299 h 26490"/>
                    <a:gd name="connsiteX3" fmla="*/ 17021 w 26319"/>
                    <a:gd name="connsiteY3" fmla="*/ 25865 h 26490"/>
                    <a:gd name="connsiteX4" fmla="*/ 579 w 26319"/>
                    <a:gd name="connsiteY4" fmla="*/ 17146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90">
                      <a:moveTo>
                        <a:pt x="579" y="17146"/>
                      </a:moveTo>
                      <a:cubicBezTo>
                        <a:pt x="-1538" y="10171"/>
                        <a:pt x="2323" y="2697"/>
                        <a:pt x="9299" y="579"/>
                      </a:cubicBezTo>
                      <a:cubicBezTo>
                        <a:pt x="16274" y="-1538"/>
                        <a:pt x="23623" y="2323"/>
                        <a:pt x="25740" y="9299"/>
                      </a:cubicBezTo>
                      <a:cubicBezTo>
                        <a:pt x="27858" y="16274"/>
                        <a:pt x="23996" y="23747"/>
                        <a:pt x="17021" y="25865"/>
                      </a:cubicBezTo>
                      <a:cubicBezTo>
                        <a:pt x="10046" y="28107"/>
                        <a:pt x="2697" y="24121"/>
                        <a:pt x="57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6" name="Graphic 2987">
                <a:extLst>
                  <a:ext uri="{FF2B5EF4-FFF2-40B4-BE49-F238E27FC236}">
                    <a16:creationId xmlns:a16="http://schemas.microsoft.com/office/drawing/2014/main" id="{4D913B7A-7168-68F5-B91B-1EBB96A60020}"/>
                  </a:ext>
                </a:extLst>
              </p:cNvPr>
              <p:cNvGrpSpPr/>
              <p:nvPr/>
            </p:nvGrpSpPr>
            <p:grpSpPr>
              <a:xfrm>
                <a:off x="4986472" y="6030768"/>
                <a:ext cx="61921" cy="143724"/>
                <a:chOff x="4986472" y="6030768"/>
                <a:chExt cx="61921" cy="143724"/>
              </a:xfrm>
              <a:grpFill/>
            </p:grpSpPr>
            <p:sp>
              <p:nvSpPr>
                <p:cNvPr id="5183" name="Freeform 4230">
                  <a:extLst>
                    <a:ext uri="{FF2B5EF4-FFF2-40B4-BE49-F238E27FC236}">
                      <a16:creationId xmlns:a16="http://schemas.microsoft.com/office/drawing/2014/main" id="{D72DADC9-9879-1F54-669B-3FE0CB061B27}"/>
                    </a:ext>
                  </a:extLst>
                </p:cNvPr>
                <p:cNvSpPr/>
                <p:nvPr/>
              </p:nvSpPr>
              <p:spPr>
                <a:xfrm>
                  <a:off x="4998375" y="6051833"/>
                  <a:ext cx="14349" cy="50072"/>
                </a:xfrm>
                <a:custGeom>
                  <a:avLst/>
                  <a:gdLst>
                    <a:gd name="connsiteX0" fmla="*/ 0 w 14349"/>
                    <a:gd name="connsiteY0" fmla="*/ 0 h 50072"/>
                    <a:gd name="connsiteX1" fmla="*/ 3488 w 14349"/>
                    <a:gd name="connsiteY1" fmla="*/ 18435 h 50072"/>
                    <a:gd name="connsiteX2" fmla="*/ 11708 w 14349"/>
                    <a:gd name="connsiteY2" fmla="*/ 33755 h 50072"/>
                    <a:gd name="connsiteX3" fmla="*/ 14324 w 143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49" h="50072">
                      <a:moveTo>
                        <a:pt x="0" y="0"/>
                      </a:moveTo>
                      <a:cubicBezTo>
                        <a:pt x="0" y="8345"/>
                        <a:pt x="1744" y="14449"/>
                        <a:pt x="3488" y="18435"/>
                      </a:cubicBezTo>
                      <a:cubicBezTo>
                        <a:pt x="6228" y="24912"/>
                        <a:pt x="9217" y="27153"/>
                        <a:pt x="11708" y="33755"/>
                      </a:cubicBezTo>
                      <a:cubicBezTo>
                        <a:pt x="14199" y="40232"/>
                        <a:pt x="14449" y="46086"/>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4" name="Freeform 4231">
                  <a:extLst>
                    <a:ext uri="{FF2B5EF4-FFF2-40B4-BE49-F238E27FC236}">
                      <a16:creationId xmlns:a16="http://schemas.microsoft.com/office/drawing/2014/main" id="{A36EF2B3-DD99-D5CE-ABB1-2A367240332A}"/>
                    </a:ext>
                  </a:extLst>
                </p:cNvPr>
                <p:cNvSpPr/>
                <p:nvPr/>
              </p:nvSpPr>
              <p:spPr>
                <a:xfrm>
                  <a:off x="5003606" y="6045107"/>
                  <a:ext cx="15819" cy="49698"/>
                </a:xfrm>
                <a:custGeom>
                  <a:avLst/>
                  <a:gdLst>
                    <a:gd name="connsiteX0" fmla="*/ 15819 w 15819"/>
                    <a:gd name="connsiteY0" fmla="*/ 49698 h 49698"/>
                    <a:gd name="connsiteX1" fmla="*/ 8470 w 15819"/>
                    <a:gd name="connsiteY1" fmla="*/ 32385 h 49698"/>
                    <a:gd name="connsiteX2" fmla="*/ 6851 w 15819"/>
                    <a:gd name="connsiteY2" fmla="*/ 15071 h 49698"/>
                    <a:gd name="connsiteX3" fmla="*/ 0 w 15819"/>
                    <a:gd name="connsiteY3" fmla="*/ 0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49698"/>
                      </a:moveTo>
                      <a:cubicBezTo>
                        <a:pt x="11086" y="42723"/>
                        <a:pt x="9342" y="36620"/>
                        <a:pt x="8470" y="32385"/>
                      </a:cubicBezTo>
                      <a:cubicBezTo>
                        <a:pt x="7225" y="25535"/>
                        <a:pt x="8346" y="22047"/>
                        <a:pt x="6851" y="15071"/>
                      </a:cubicBezTo>
                      <a:cubicBezTo>
                        <a:pt x="5356"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5" name="Freeform 4232">
                  <a:extLst>
                    <a:ext uri="{FF2B5EF4-FFF2-40B4-BE49-F238E27FC236}">
                      <a16:creationId xmlns:a16="http://schemas.microsoft.com/office/drawing/2014/main" id="{F22C5BC9-46A4-ABED-2C0A-B7B3185FF526}"/>
                    </a:ext>
                  </a:extLst>
                </p:cNvPr>
                <p:cNvSpPr/>
                <p:nvPr/>
              </p:nvSpPr>
              <p:spPr>
                <a:xfrm>
                  <a:off x="4986472" y="6030768"/>
                  <a:ext cx="26669" cy="26491"/>
                </a:xfrm>
                <a:custGeom>
                  <a:avLst/>
                  <a:gdLst>
                    <a:gd name="connsiteX0" fmla="*/ 26102 w 26669"/>
                    <a:gd name="connsiteY0" fmla="*/ 9481 h 26491"/>
                    <a:gd name="connsiteX1" fmla="*/ 17134 w 26669"/>
                    <a:gd name="connsiteY1" fmla="*/ 25923 h 26491"/>
                    <a:gd name="connsiteX2" fmla="*/ 568 w 26669"/>
                    <a:gd name="connsiteY2" fmla="*/ 17079 h 26491"/>
                    <a:gd name="connsiteX3" fmla="*/ 9536 w 26669"/>
                    <a:gd name="connsiteY3" fmla="*/ 513 h 26491"/>
                    <a:gd name="connsiteX4" fmla="*/ 26102 w 26669"/>
                    <a:gd name="connsiteY4" fmla="*/ 9481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491">
                      <a:moveTo>
                        <a:pt x="26102" y="9481"/>
                      </a:moveTo>
                      <a:cubicBezTo>
                        <a:pt x="28220" y="16456"/>
                        <a:pt x="24234" y="23805"/>
                        <a:pt x="17134" y="25923"/>
                      </a:cubicBezTo>
                      <a:cubicBezTo>
                        <a:pt x="10034" y="28040"/>
                        <a:pt x="2685" y="24054"/>
                        <a:pt x="568" y="17079"/>
                      </a:cubicBezTo>
                      <a:cubicBezTo>
                        <a:pt x="-1550" y="10104"/>
                        <a:pt x="2436" y="2630"/>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6" name="Freeform 4233">
                  <a:extLst>
                    <a:ext uri="{FF2B5EF4-FFF2-40B4-BE49-F238E27FC236}">
                      <a16:creationId xmlns:a16="http://schemas.microsoft.com/office/drawing/2014/main" id="{C4BCC9E2-70BA-19E9-97FC-AA9E520C82C5}"/>
                    </a:ext>
                  </a:extLst>
                </p:cNvPr>
                <p:cNvSpPr/>
                <p:nvPr/>
              </p:nvSpPr>
              <p:spPr>
                <a:xfrm>
                  <a:off x="5022389" y="6103276"/>
                  <a:ext cx="14349" cy="50196"/>
                </a:xfrm>
                <a:custGeom>
                  <a:avLst/>
                  <a:gdLst>
                    <a:gd name="connsiteX0" fmla="*/ 14350 w 14349"/>
                    <a:gd name="connsiteY0" fmla="*/ 50197 h 50196"/>
                    <a:gd name="connsiteX1" fmla="*/ 10862 w 14349"/>
                    <a:gd name="connsiteY1" fmla="*/ 31762 h 50196"/>
                    <a:gd name="connsiteX2" fmla="*/ 2641 w 14349"/>
                    <a:gd name="connsiteY2" fmla="*/ 16317 h 50196"/>
                    <a:gd name="connsiteX3" fmla="*/ 26 w 14349"/>
                    <a:gd name="connsiteY3" fmla="*/ 0 h 50196"/>
                  </a:gdLst>
                  <a:ahLst/>
                  <a:cxnLst>
                    <a:cxn ang="0">
                      <a:pos x="connsiteX0" y="connsiteY0"/>
                    </a:cxn>
                    <a:cxn ang="0">
                      <a:pos x="connsiteX1" y="connsiteY1"/>
                    </a:cxn>
                    <a:cxn ang="0">
                      <a:pos x="connsiteX2" y="connsiteY2"/>
                    </a:cxn>
                    <a:cxn ang="0">
                      <a:pos x="connsiteX3" y="connsiteY3"/>
                    </a:cxn>
                  </a:cxnLst>
                  <a:rect l="l" t="t" r="r" b="b"/>
                  <a:pathLst>
                    <a:path w="14349" h="50196">
                      <a:moveTo>
                        <a:pt x="14350" y="50197"/>
                      </a:moveTo>
                      <a:cubicBezTo>
                        <a:pt x="14350" y="41851"/>
                        <a:pt x="12481" y="35748"/>
                        <a:pt x="10862" y="31762"/>
                      </a:cubicBezTo>
                      <a:cubicBezTo>
                        <a:pt x="8122" y="25285"/>
                        <a:pt x="5132" y="23043"/>
                        <a:pt x="2641"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7" name="Freeform 4234">
                  <a:extLst>
                    <a:ext uri="{FF2B5EF4-FFF2-40B4-BE49-F238E27FC236}">
                      <a16:creationId xmlns:a16="http://schemas.microsoft.com/office/drawing/2014/main" id="{0FA6C534-FA32-7DF8-9593-04865F8DDC19}"/>
                    </a:ext>
                  </a:extLst>
                </p:cNvPr>
                <p:cNvSpPr/>
                <p:nvPr/>
              </p:nvSpPr>
              <p:spPr>
                <a:xfrm>
                  <a:off x="5015688" y="6110500"/>
                  <a:ext cx="15943" cy="49698"/>
                </a:xfrm>
                <a:custGeom>
                  <a:avLst/>
                  <a:gdLst>
                    <a:gd name="connsiteX0" fmla="*/ 0 w 15943"/>
                    <a:gd name="connsiteY0" fmla="*/ 0 h 49698"/>
                    <a:gd name="connsiteX1" fmla="*/ 7349 w 15943"/>
                    <a:gd name="connsiteY1" fmla="*/ 17314 h 49698"/>
                    <a:gd name="connsiteX2" fmla="*/ 9093 w 15943"/>
                    <a:gd name="connsiteY2" fmla="*/ 34627 h 49698"/>
                    <a:gd name="connsiteX3" fmla="*/ 15943 w 15943"/>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943" h="49698">
                      <a:moveTo>
                        <a:pt x="0" y="0"/>
                      </a:moveTo>
                      <a:cubicBezTo>
                        <a:pt x="4733" y="6975"/>
                        <a:pt x="6477" y="13079"/>
                        <a:pt x="7349" y="17314"/>
                      </a:cubicBezTo>
                      <a:cubicBezTo>
                        <a:pt x="8595" y="24164"/>
                        <a:pt x="7474" y="27652"/>
                        <a:pt x="9093" y="34627"/>
                      </a:cubicBezTo>
                      <a:cubicBezTo>
                        <a:pt x="10587" y="41353"/>
                        <a:pt x="13577" y="46460"/>
                        <a:pt x="15943"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8" name="Freeform 4235">
                  <a:extLst>
                    <a:ext uri="{FF2B5EF4-FFF2-40B4-BE49-F238E27FC236}">
                      <a16:creationId xmlns:a16="http://schemas.microsoft.com/office/drawing/2014/main" id="{7448FDDE-0789-1454-3063-8B83BC33FC00}"/>
                    </a:ext>
                  </a:extLst>
                </p:cNvPr>
                <p:cNvSpPr/>
                <p:nvPr/>
              </p:nvSpPr>
              <p:spPr>
                <a:xfrm>
                  <a:off x="5022084" y="6148057"/>
                  <a:ext cx="26309" cy="26436"/>
                </a:xfrm>
                <a:custGeom>
                  <a:avLst/>
                  <a:gdLst>
                    <a:gd name="connsiteX0" fmla="*/ 579 w 26309"/>
                    <a:gd name="connsiteY0" fmla="*/ 16999 h 26436"/>
                    <a:gd name="connsiteX1" fmla="*/ 9299 w 26309"/>
                    <a:gd name="connsiteY1" fmla="*/ 558 h 26436"/>
                    <a:gd name="connsiteX2" fmla="*/ 25740 w 26309"/>
                    <a:gd name="connsiteY2" fmla="*/ 9526 h 26436"/>
                    <a:gd name="connsiteX3" fmla="*/ 17021 w 26309"/>
                    <a:gd name="connsiteY3" fmla="*/ 25968 h 26436"/>
                    <a:gd name="connsiteX4" fmla="*/ 579 w 26309"/>
                    <a:gd name="connsiteY4" fmla="*/ 16999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36">
                      <a:moveTo>
                        <a:pt x="579" y="16999"/>
                      </a:moveTo>
                      <a:cubicBezTo>
                        <a:pt x="-1538" y="10024"/>
                        <a:pt x="2323" y="2551"/>
                        <a:pt x="9299" y="558"/>
                      </a:cubicBezTo>
                      <a:cubicBezTo>
                        <a:pt x="16274" y="-1560"/>
                        <a:pt x="23623" y="2551"/>
                        <a:pt x="25740" y="9526"/>
                      </a:cubicBezTo>
                      <a:cubicBezTo>
                        <a:pt x="27858" y="16501"/>
                        <a:pt x="23872" y="23850"/>
                        <a:pt x="17021" y="25968"/>
                      </a:cubicBezTo>
                      <a:cubicBezTo>
                        <a:pt x="10046" y="27836"/>
                        <a:pt x="2697" y="23975"/>
                        <a:pt x="579"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7" name="Graphic 2987">
                <a:extLst>
                  <a:ext uri="{FF2B5EF4-FFF2-40B4-BE49-F238E27FC236}">
                    <a16:creationId xmlns:a16="http://schemas.microsoft.com/office/drawing/2014/main" id="{D376966E-8B45-F397-5E63-54350C7087EF}"/>
                  </a:ext>
                </a:extLst>
              </p:cNvPr>
              <p:cNvGrpSpPr/>
              <p:nvPr/>
            </p:nvGrpSpPr>
            <p:grpSpPr>
              <a:xfrm>
                <a:off x="5015120" y="6022298"/>
                <a:ext cx="61546" cy="143823"/>
                <a:chOff x="5015120" y="6022298"/>
                <a:chExt cx="61546" cy="143823"/>
              </a:xfrm>
              <a:grpFill/>
            </p:grpSpPr>
            <p:sp>
              <p:nvSpPr>
                <p:cNvPr id="5177" name="Freeform 4237">
                  <a:extLst>
                    <a:ext uri="{FF2B5EF4-FFF2-40B4-BE49-F238E27FC236}">
                      <a16:creationId xmlns:a16="http://schemas.microsoft.com/office/drawing/2014/main" id="{72E7597D-C425-7040-4BC1-76920AE5DE24}"/>
                    </a:ext>
                  </a:extLst>
                </p:cNvPr>
                <p:cNvSpPr/>
                <p:nvPr/>
              </p:nvSpPr>
              <p:spPr>
                <a:xfrm>
                  <a:off x="5026892" y="6043488"/>
                  <a:ext cx="14355" cy="50196"/>
                </a:xfrm>
                <a:custGeom>
                  <a:avLst/>
                  <a:gdLst>
                    <a:gd name="connsiteX0" fmla="*/ 6 w 14355"/>
                    <a:gd name="connsiteY0" fmla="*/ 0 h 50196"/>
                    <a:gd name="connsiteX1" fmla="*/ 3493 w 14355"/>
                    <a:gd name="connsiteY1" fmla="*/ 18435 h 50196"/>
                    <a:gd name="connsiteX2" fmla="*/ 11714 w 14355"/>
                    <a:gd name="connsiteY2" fmla="*/ 33880 h 50196"/>
                    <a:gd name="connsiteX3" fmla="*/ 14330 w 14355"/>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355" h="50196">
                      <a:moveTo>
                        <a:pt x="6" y="0"/>
                      </a:moveTo>
                      <a:cubicBezTo>
                        <a:pt x="-118" y="8470"/>
                        <a:pt x="1750" y="14449"/>
                        <a:pt x="3493" y="18435"/>
                      </a:cubicBezTo>
                      <a:cubicBezTo>
                        <a:pt x="6234" y="24912"/>
                        <a:pt x="9223" y="27154"/>
                        <a:pt x="11714" y="33880"/>
                      </a:cubicBezTo>
                      <a:cubicBezTo>
                        <a:pt x="14206" y="40357"/>
                        <a:pt x="14455" y="46211"/>
                        <a:pt x="1433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8" name="Freeform 4238">
                  <a:extLst>
                    <a:ext uri="{FF2B5EF4-FFF2-40B4-BE49-F238E27FC236}">
                      <a16:creationId xmlns:a16="http://schemas.microsoft.com/office/drawing/2014/main" id="{914D57FE-27B9-8F51-40C4-E1DD519227C2}"/>
                    </a:ext>
                  </a:extLst>
                </p:cNvPr>
                <p:cNvSpPr/>
                <p:nvPr/>
              </p:nvSpPr>
              <p:spPr>
                <a:xfrm>
                  <a:off x="5032254" y="6036637"/>
                  <a:ext cx="15569" cy="49698"/>
                </a:xfrm>
                <a:custGeom>
                  <a:avLst/>
                  <a:gdLst>
                    <a:gd name="connsiteX0" fmla="*/ 15570 w 15569"/>
                    <a:gd name="connsiteY0" fmla="*/ 49698 h 49698"/>
                    <a:gd name="connsiteX1" fmla="*/ 8345 w 15569"/>
                    <a:gd name="connsiteY1" fmla="*/ 32385 h 49698"/>
                    <a:gd name="connsiteX2" fmla="*/ 6726 w 15569"/>
                    <a:gd name="connsiteY2" fmla="*/ 15071 h 49698"/>
                    <a:gd name="connsiteX3" fmla="*/ 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15570" y="49698"/>
                      </a:moveTo>
                      <a:cubicBezTo>
                        <a:pt x="10836" y="42723"/>
                        <a:pt x="9092" y="36620"/>
                        <a:pt x="8345" y="32385"/>
                      </a:cubicBezTo>
                      <a:cubicBezTo>
                        <a:pt x="7099" y="25534"/>
                        <a:pt x="8221" y="21922"/>
                        <a:pt x="6726" y="15071"/>
                      </a:cubicBezTo>
                      <a:cubicBezTo>
                        <a:pt x="5231" y="8345"/>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9" name="Freeform 4239">
                  <a:extLst>
                    <a:ext uri="{FF2B5EF4-FFF2-40B4-BE49-F238E27FC236}">
                      <a16:creationId xmlns:a16="http://schemas.microsoft.com/office/drawing/2014/main" id="{F8FEADFF-5DCE-9951-748E-0FDB25E4322B}"/>
                    </a:ext>
                  </a:extLst>
                </p:cNvPr>
                <p:cNvSpPr/>
                <p:nvPr/>
              </p:nvSpPr>
              <p:spPr>
                <a:xfrm>
                  <a:off x="5015120" y="6022298"/>
                  <a:ext cx="26659" cy="26490"/>
                </a:xfrm>
                <a:custGeom>
                  <a:avLst/>
                  <a:gdLst>
                    <a:gd name="connsiteX0" fmla="*/ 26102 w 26659"/>
                    <a:gd name="connsiteY0" fmla="*/ 9481 h 26490"/>
                    <a:gd name="connsiteX1" fmla="*/ 17134 w 26659"/>
                    <a:gd name="connsiteY1" fmla="*/ 25923 h 26490"/>
                    <a:gd name="connsiteX2" fmla="*/ 568 w 26659"/>
                    <a:gd name="connsiteY2" fmla="*/ 16955 h 26490"/>
                    <a:gd name="connsiteX3" fmla="*/ 9536 w 26659"/>
                    <a:gd name="connsiteY3" fmla="*/ 513 h 26490"/>
                    <a:gd name="connsiteX4" fmla="*/ 26102 w 26659"/>
                    <a:gd name="connsiteY4" fmla="*/ 9481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90">
                      <a:moveTo>
                        <a:pt x="26102" y="9481"/>
                      </a:moveTo>
                      <a:cubicBezTo>
                        <a:pt x="28219" y="16456"/>
                        <a:pt x="24109" y="23930"/>
                        <a:pt x="17134" y="25923"/>
                      </a:cubicBezTo>
                      <a:cubicBezTo>
                        <a:pt x="10034" y="28040"/>
                        <a:pt x="2685" y="24054"/>
                        <a:pt x="568" y="16955"/>
                      </a:cubicBezTo>
                      <a:cubicBezTo>
                        <a:pt x="-1550" y="9855"/>
                        <a:pt x="2436" y="2506"/>
                        <a:pt x="9536" y="513"/>
                      </a:cubicBezTo>
                      <a:cubicBezTo>
                        <a:pt x="16636" y="-1480"/>
                        <a:pt x="23985" y="2506"/>
                        <a:pt x="26102" y="94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0" name="Freeform 4240">
                  <a:extLst>
                    <a:ext uri="{FF2B5EF4-FFF2-40B4-BE49-F238E27FC236}">
                      <a16:creationId xmlns:a16="http://schemas.microsoft.com/office/drawing/2014/main" id="{BEBCAA52-0B9B-5B9C-C891-BA5CDE51D98F}"/>
                    </a:ext>
                  </a:extLst>
                </p:cNvPr>
                <p:cNvSpPr/>
                <p:nvPr/>
              </p:nvSpPr>
              <p:spPr>
                <a:xfrm>
                  <a:off x="5050663" y="6094930"/>
                  <a:ext cx="14225" cy="50196"/>
                </a:xfrm>
                <a:custGeom>
                  <a:avLst/>
                  <a:gdLst>
                    <a:gd name="connsiteX0" fmla="*/ 14225 w 14225"/>
                    <a:gd name="connsiteY0" fmla="*/ 50197 h 50196"/>
                    <a:gd name="connsiteX1" fmla="*/ 10738 w 14225"/>
                    <a:gd name="connsiteY1" fmla="*/ 31762 h 50196"/>
                    <a:gd name="connsiteX2" fmla="*/ 2641 w 14225"/>
                    <a:gd name="connsiteY2" fmla="*/ 16317 h 50196"/>
                    <a:gd name="connsiteX3" fmla="*/ 25 w 14225"/>
                    <a:gd name="connsiteY3" fmla="*/ 0 h 50196"/>
                  </a:gdLst>
                  <a:ahLst/>
                  <a:cxnLst>
                    <a:cxn ang="0">
                      <a:pos x="connsiteX0" y="connsiteY0"/>
                    </a:cxn>
                    <a:cxn ang="0">
                      <a:pos x="connsiteX1" y="connsiteY1"/>
                    </a:cxn>
                    <a:cxn ang="0">
                      <a:pos x="connsiteX2" y="connsiteY2"/>
                    </a:cxn>
                    <a:cxn ang="0">
                      <a:pos x="connsiteX3" y="connsiteY3"/>
                    </a:cxn>
                  </a:cxnLst>
                  <a:rect l="l" t="t" r="r" b="b"/>
                  <a:pathLst>
                    <a:path w="14225" h="50196">
                      <a:moveTo>
                        <a:pt x="14225" y="50197"/>
                      </a:moveTo>
                      <a:cubicBezTo>
                        <a:pt x="14225" y="41852"/>
                        <a:pt x="12481" y="35748"/>
                        <a:pt x="10738" y="31762"/>
                      </a:cubicBezTo>
                      <a:cubicBezTo>
                        <a:pt x="7997" y="25285"/>
                        <a:pt x="5132" y="23043"/>
                        <a:pt x="2641" y="16317"/>
                      </a:cubicBezTo>
                      <a:cubicBezTo>
                        <a:pt x="150" y="9840"/>
                        <a:pt x="-99" y="3986"/>
                        <a:pt x="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1" name="Freeform 4241">
                  <a:extLst>
                    <a:ext uri="{FF2B5EF4-FFF2-40B4-BE49-F238E27FC236}">
                      <a16:creationId xmlns:a16="http://schemas.microsoft.com/office/drawing/2014/main" id="{0A3D12FD-143C-B4B3-3DBE-693BA3F69919}"/>
                    </a:ext>
                  </a:extLst>
                </p:cNvPr>
                <p:cNvSpPr/>
                <p:nvPr/>
              </p:nvSpPr>
              <p:spPr>
                <a:xfrm>
                  <a:off x="5043963" y="6102155"/>
                  <a:ext cx="15569" cy="49698"/>
                </a:xfrm>
                <a:custGeom>
                  <a:avLst/>
                  <a:gdLst>
                    <a:gd name="connsiteX0" fmla="*/ 0 w 15569"/>
                    <a:gd name="connsiteY0" fmla="*/ 0 h 49698"/>
                    <a:gd name="connsiteX1" fmla="*/ 7224 w 15569"/>
                    <a:gd name="connsiteY1" fmla="*/ 17313 h 49698"/>
                    <a:gd name="connsiteX2" fmla="*/ 8843 w 15569"/>
                    <a:gd name="connsiteY2" fmla="*/ 34627 h 49698"/>
                    <a:gd name="connsiteX3" fmla="*/ 15570 w 1556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733" y="6975"/>
                        <a:pt x="6477" y="13078"/>
                        <a:pt x="7224" y="17313"/>
                      </a:cubicBezTo>
                      <a:cubicBezTo>
                        <a:pt x="8470" y="24164"/>
                        <a:pt x="7349" y="27776"/>
                        <a:pt x="8843" y="34627"/>
                      </a:cubicBezTo>
                      <a:cubicBezTo>
                        <a:pt x="10338" y="41353"/>
                        <a:pt x="13327" y="46460"/>
                        <a:pt x="1557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82" name="Freeform 4242">
                  <a:extLst>
                    <a:ext uri="{FF2B5EF4-FFF2-40B4-BE49-F238E27FC236}">
                      <a16:creationId xmlns:a16="http://schemas.microsoft.com/office/drawing/2014/main" id="{6DE9B657-927F-8A83-3F5A-F270564FE51A}"/>
                    </a:ext>
                  </a:extLst>
                </p:cNvPr>
                <p:cNvSpPr/>
                <p:nvPr/>
              </p:nvSpPr>
              <p:spPr>
                <a:xfrm>
                  <a:off x="5050245" y="6139587"/>
                  <a:ext cx="26422" cy="26535"/>
                </a:xfrm>
                <a:custGeom>
                  <a:avLst/>
                  <a:gdLst>
                    <a:gd name="connsiteX0" fmla="*/ 568 w 26422"/>
                    <a:gd name="connsiteY0" fmla="*/ 16999 h 26535"/>
                    <a:gd name="connsiteX1" fmla="*/ 9412 w 26422"/>
                    <a:gd name="connsiteY1" fmla="*/ 558 h 26535"/>
                    <a:gd name="connsiteX2" fmla="*/ 25854 w 26422"/>
                    <a:gd name="connsiteY2" fmla="*/ 9526 h 26535"/>
                    <a:gd name="connsiteX3" fmla="*/ 17010 w 26422"/>
                    <a:gd name="connsiteY3" fmla="*/ 25968 h 26535"/>
                    <a:gd name="connsiteX4" fmla="*/ 568 w 26422"/>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35">
                      <a:moveTo>
                        <a:pt x="568" y="16999"/>
                      </a:moveTo>
                      <a:cubicBezTo>
                        <a:pt x="-1549" y="10024"/>
                        <a:pt x="2437" y="2675"/>
                        <a:pt x="9412" y="558"/>
                      </a:cubicBezTo>
                      <a:cubicBezTo>
                        <a:pt x="16387" y="-1560"/>
                        <a:pt x="23736" y="2551"/>
                        <a:pt x="25854" y="9526"/>
                      </a:cubicBezTo>
                      <a:cubicBezTo>
                        <a:pt x="27971" y="16501"/>
                        <a:pt x="23985" y="23850"/>
                        <a:pt x="17010" y="25968"/>
                      </a:cubicBezTo>
                      <a:cubicBezTo>
                        <a:pt x="10035"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8" name="Graphic 2987">
                <a:extLst>
                  <a:ext uri="{FF2B5EF4-FFF2-40B4-BE49-F238E27FC236}">
                    <a16:creationId xmlns:a16="http://schemas.microsoft.com/office/drawing/2014/main" id="{F263CB1E-2A84-AFF5-C233-EA1831417AB0}"/>
                  </a:ext>
                </a:extLst>
              </p:cNvPr>
              <p:cNvGrpSpPr/>
              <p:nvPr/>
            </p:nvGrpSpPr>
            <p:grpSpPr>
              <a:xfrm>
                <a:off x="5043654" y="6013943"/>
                <a:ext cx="61163" cy="143833"/>
                <a:chOff x="5043654" y="6013943"/>
                <a:chExt cx="61163" cy="143833"/>
              </a:xfrm>
              <a:grpFill/>
            </p:grpSpPr>
            <p:sp>
              <p:nvSpPr>
                <p:cNvPr id="5171" name="Freeform 4244">
                  <a:extLst>
                    <a:ext uri="{FF2B5EF4-FFF2-40B4-BE49-F238E27FC236}">
                      <a16:creationId xmlns:a16="http://schemas.microsoft.com/office/drawing/2014/main" id="{1846C5A7-FC83-8051-69D7-624493B616C0}"/>
                    </a:ext>
                  </a:extLst>
                </p:cNvPr>
                <p:cNvSpPr/>
                <p:nvPr/>
              </p:nvSpPr>
              <p:spPr>
                <a:xfrm>
                  <a:off x="5055416" y="6035018"/>
                  <a:ext cx="14102" cy="50196"/>
                </a:xfrm>
                <a:custGeom>
                  <a:avLst/>
                  <a:gdLst>
                    <a:gd name="connsiteX0" fmla="*/ 6 w 14102"/>
                    <a:gd name="connsiteY0" fmla="*/ 0 h 50196"/>
                    <a:gd name="connsiteX1" fmla="*/ 3369 w 14102"/>
                    <a:gd name="connsiteY1" fmla="*/ 18435 h 50196"/>
                    <a:gd name="connsiteX2" fmla="*/ 11465 w 14102"/>
                    <a:gd name="connsiteY2" fmla="*/ 33880 h 50196"/>
                    <a:gd name="connsiteX3" fmla="*/ 1408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6" y="0"/>
                      </a:moveTo>
                      <a:cubicBezTo>
                        <a:pt x="-119" y="8470"/>
                        <a:pt x="1750" y="14449"/>
                        <a:pt x="3369" y="18435"/>
                      </a:cubicBezTo>
                      <a:cubicBezTo>
                        <a:pt x="6109" y="24912"/>
                        <a:pt x="8974" y="27153"/>
                        <a:pt x="11465" y="33880"/>
                      </a:cubicBezTo>
                      <a:cubicBezTo>
                        <a:pt x="13832" y="40357"/>
                        <a:pt x="14206" y="46211"/>
                        <a:pt x="1408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2" name="Freeform 4245">
                  <a:extLst>
                    <a:ext uri="{FF2B5EF4-FFF2-40B4-BE49-F238E27FC236}">
                      <a16:creationId xmlns:a16="http://schemas.microsoft.com/office/drawing/2014/main" id="{CB0ACD6A-CA0C-3280-608D-7326B6B992DC}"/>
                    </a:ext>
                  </a:extLst>
                </p:cNvPr>
                <p:cNvSpPr/>
                <p:nvPr/>
              </p:nvSpPr>
              <p:spPr>
                <a:xfrm>
                  <a:off x="5060778" y="6028292"/>
                  <a:ext cx="15445" cy="49698"/>
                </a:xfrm>
                <a:custGeom>
                  <a:avLst/>
                  <a:gdLst>
                    <a:gd name="connsiteX0" fmla="*/ 15445 w 15445"/>
                    <a:gd name="connsiteY0" fmla="*/ 49699 h 49698"/>
                    <a:gd name="connsiteX1" fmla="*/ 8221 w 15445"/>
                    <a:gd name="connsiteY1" fmla="*/ 32385 h 49698"/>
                    <a:gd name="connsiteX2" fmla="*/ 6726 w 15445"/>
                    <a:gd name="connsiteY2" fmla="*/ 15072 h 49698"/>
                    <a:gd name="connsiteX3" fmla="*/ 0 w 15445"/>
                    <a:gd name="connsiteY3" fmla="*/ 0 h 49698"/>
                  </a:gdLst>
                  <a:ahLst/>
                  <a:cxnLst>
                    <a:cxn ang="0">
                      <a:pos x="connsiteX0" y="connsiteY0"/>
                    </a:cxn>
                    <a:cxn ang="0">
                      <a:pos x="connsiteX1" y="connsiteY1"/>
                    </a:cxn>
                    <a:cxn ang="0">
                      <a:pos x="connsiteX2" y="connsiteY2"/>
                    </a:cxn>
                    <a:cxn ang="0">
                      <a:pos x="connsiteX3" y="connsiteY3"/>
                    </a:cxn>
                  </a:cxnLst>
                  <a:rect l="l" t="t" r="r" b="b"/>
                  <a:pathLst>
                    <a:path w="15445" h="49698">
                      <a:moveTo>
                        <a:pt x="15445" y="49699"/>
                      </a:moveTo>
                      <a:cubicBezTo>
                        <a:pt x="10837" y="42724"/>
                        <a:pt x="8968" y="36620"/>
                        <a:pt x="8221" y="32385"/>
                      </a:cubicBezTo>
                      <a:cubicBezTo>
                        <a:pt x="6975" y="25535"/>
                        <a:pt x="8221" y="21922"/>
                        <a:pt x="6726" y="15072"/>
                      </a:cubicBezTo>
                      <a:cubicBezTo>
                        <a:pt x="5232"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3" name="Freeform 4246">
                  <a:extLst>
                    <a:ext uri="{FF2B5EF4-FFF2-40B4-BE49-F238E27FC236}">
                      <a16:creationId xmlns:a16="http://schemas.microsoft.com/office/drawing/2014/main" id="{C38EA046-D4C0-15B9-5ACE-1E914DE213DF}"/>
                    </a:ext>
                  </a:extLst>
                </p:cNvPr>
                <p:cNvSpPr/>
                <p:nvPr/>
              </p:nvSpPr>
              <p:spPr>
                <a:xfrm>
                  <a:off x="5043654" y="6013943"/>
                  <a:ext cx="26649" cy="26499"/>
                </a:xfrm>
                <a:custGeom>
                  <a:avLst/>
                  <a:gdLst>
                    <a:gd name="connsiteX0" fmla="*/ 26092 w 26649"/>
                    <a:gd name="connsiteY0" fmla="*/ 9491 h 26499"/>
                    <a:gd name="connsiteX1" fmla="*/ 17124 w 26649"/>
                    <a:gd name="connsiteY1" fmla="*/ 25932 h 26499"/>
                    <a:gd name="connsiteX2" fmla="*/ 558 w 26649"/>
                    <a:gd name="connsiteY2" fmla="*/ 16964 h 26499"/>
                    <a:gd name="connsiteX3" fmla="*/ 9526 w 26649"/>
                    <a:gd name="connsiteY3" fmla="*/ 523 h 26499"/>
                    <a:gd name="connsiteX4" fmla="*/ 26092 w 26649"/>
                    <a:gd name="connsiteY4" fmla="*/ 9491 h 2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499">
                      <a:moveTo>
                        <a:pt x="26092" y="9491"/>
                      </a:moveTo>
                      <a:cubicBezTo>
                        <a:pt x="28210" y="16466"/>
                        <a:pt x="24099" y="23939"/>
                        <a:pt x="17124" y="25932"/>
                      </a:cubicBezTo>
                      <a:cubicBezTo>
                        <a:pt x="10024" y="28050"/>
                        <a:pt x="2675" y="24064"/>
                        <a:pt x="558" y="16964"/>
                      </a:cubicBezTo>
                      <a:cubicBezTo>
                        <a:pt x="-1560" y="9989"/>
                        <a:pt x="2551" y="2516"/>
                        <a:pt x="9526" y="523"/>
                      </a:cubicBezTo>
                      <a:cubicBezTo>
                        <a:pt x="16501" y="-1470"/>
                        <a:pt x="23975" y="2391"/>
                        <a:pt x="26092" y="94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4" name="Freeform 4247">
                  <a:extLst>
                    <a:ext uri="{FF2B5EF4-FFF2-40B4-BE49-F238E27FC236}">
                      <a16:creationId xmlns:a16="http://schemas.microsoft.com/office/drawing/2014/main" id="{6D0E7261-6C49-F643-539F-848CDF8B71C2}"/>
                    </a:ext>
                  </a:extLst>
                </p:cNvPr>
                <p:cNvSpPr/>
                <p:nvPr/>
              </p:nvSpPr>
              <p:spPr>
                <a:xfrm>
                  <a:off x="5079067" y="6086585"/>
                  <a:ext cx="14101" cy="50196"/>
                </a:xfrm>
                <a:custGeom>
                  <a:avLst/>
                  <a:gdLst>
                    <a:gd name="connsiteX0" fmla="*/ 14096 w 14101"/>
                    <a:gd name="connsiteY0" fmla="*/ 50197 h 50196"/>
                    <a:gd name="connsiteX1" fmla="*/ 10733 w 14101"/>
                    <a:gd name="connsiteY1" fmla="*/ 31762 h 50196"/>
                    <a:gd name="connsiteX2" fmla="*/ 2637 w 14101"/>
                    <a:gd name="connsiteY2" fmla="*/ 16317 h 50196"/>
                    <a:gd name="connsiteX3" fmla="*/ 21 w 14101"/>
                    <a:gd name="connsiteY3" fmla="*/ 0 h 50196"/>
                  </a:gdLst>
                  <a:ahLst/>
                  <a:cxnLst>
                    <a:cxn ang="0">
                      <a:pos x="connsiteX0" y="connsiteY0"/>
                    </a:cxn>
                    <a:cxn ang="0">
                      <a:pos x="connsiteX1" y="connsiteY1"/>
                    </a:cxn>
                    <a:cxn ang="0">
                      <a:pos x="connsiteX2" y="connsiteY2"/>
                    </a:cxn>
                    <a:cxn ang="0">
                      <a:pos x="connsiteX3" y="connsiteY3"/>
                    </a:cxn>
                  </a:cxnLst>
                  <a:rect l="l" t="t" r="r" b="b"/>
                  <a:pathLst>
                    <a:path w="14101" h="50196">
                      <a:moveTo>
                        <a:pt x="14096" y="50197"/>
                      </a:moveTo>
                      <a:cubicBezTo>
                        <a:pt x="14221" y="41727"/>
                        <a:pt x="12352" y="35748"/>
                        <a:pt x="10733" y="31762"/>
                      </a:cubicBezTo>
                      <a:cubicBezTo>
                        <a:pt x="7993" y="25285"/>
                        <a:pt x="5128" y="23043"/>
                        <a:pt x="2637" y="16317"/>
                      </a:cubicBezTo>
                      <a:cubicBezTo>
                        <a:pt x="270" y="9840"/>
                        <a:pt x="-103" y="3986"/>
                        <a:pt x="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5" name="Freeform 4248">
                  <a:extLst>
                    <a:ext uri="{FF2B5EF4-FFF2-40B4-BE49-F238E27FC236}">
                      <a16:creationId xmlns:a16="http://schemas.microsoft.com/office/drawing/2014/main" id="{5345BBF4-B02A-7F6E-8B91-6DAA787D4B0C}"/>
                    </a:ext>
                  </a:extLst>
                </p:cNvPr>
                <p:cNvSpPr/>
                <p:nvPr/>
              </p:nvSpPr>
              <p:spPr>
                <a:xfrm>
                  <a:off x="5072362" y="6093685"/>
                  <a:ext cx="15569" cy="49698"/>
                </a:xfrm>
                <a:custGeom>
                  <a:avLst/>
                  <a:gdLst>
                    <a:gd name="connsiteX0" fmla="*/ 0 w 15569"/>
                    <a:gd name="connsiteY0" fmla="*/ 0 h 49698"/>
                    <a:gd name="connsiteX1" fmla="*/ 7224 w 15569"/>
                    <a:gd name="connsiteY1" fmla="*/ 17314 h 49698"/>
                    <a:gd name="connsiteX2" fmla="*/ 8843 w 15569"/>
                    <a:gd name="connsiteY2" fmla="*/ 34627 h 49698"/>
                    <a:gd name="connsiteX3" fmla="*/ 15570 w 15569"/>
                    <a:gd name="connsiteY3" fmla="*/ 49699 h 49698"/>
                  </a:gdLst>
                  <a:ahLst/>
                  <a:cxnLst>
                    <a:cxn ang="0">
                      <a:pos x="connsiteX0" y="connsiteY0"/>
                    </a:cxn>
                    <a:cxn ang="0">
                      <a:pos x="connsiteX1" y="connsiteY1"/>
                    </a:cxn>
                    <a:cxn ang="0">
                      <a:pos x="connsiteX2" y="connsiteY2"/>
                    </a:cxn>
                    <a:cxn ang="0">
                      <a:pos x="connsiteX3" y="connsiteY3"/>
                    </a:cxn>
                  </a:cxnLst>
                  <a:rect l="l" t="t" r="r" b="b"/>
                  <a:pathLst>
                    <a:path w="15569" h="49698">
                      <a:moveTo>
                        <a:pt x="0" y="0"/>
                      </a:moveTo>
                      <a:cubicBezTo>
                        <a:pt x="4609" y="6975"/>
                        <a:pt x="6477" y="13079"/>
                        <a:pt x="7224" y="17314"/>
                      </a:cubicBezTo>
                      <a:cubicBezTo>
                        <a:pt x="8470" y="24164"/>
                        <a:pt x="7224" y="27776"/>
                        <a:pt x="8843" y="34627"/>
                      </a:cubicBezTo>
                      <a:cubicBezTo>
                        <a:pt x="10338" y="41353"/>
                        <a:pt x="13327" y="46460"/>
                        <a:pt x="15570" y="4969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6" name="Freeform 4249">
                  <a:extLst>
                    <a:ext uri="{FF2B5EF4-FFF2-40B4-BE49-F238E27FC236}">
                      <a16:creationId xmlns:a16="http://schemas.microsoft.com/office/drawing/2014/main" id="{C086164F-DD0D-EB47-958E-4DE6E605772B}"/>
                    </a:ext>
                  </a:extLst>
                </p:cNvPr>
                <p:cNvSpPr/>
                <p:nvPr/>
              </p:nvSpPr>
              <p:spPr>
                <a:xfrm>
                  <a:off x="5078519" y="6131241"/>
                  <a:ext cx="26297" cy="26535"/>
                </a:xfrm>
                <a:custGeom>
                  <a:avLst/>
                  <a:gdLst>
                    <a:gd name="connsiteX0" fmla="*/ 568 w 26297"/>
                    <a:gd name="connsiteY0" fmla="*/ 16999 h 26535"/>
                    <a:gd name="connsiteX1" fmla="*/ 9412 w 26297"/>
                    <a:gd name="connsiteY1" fmla="*/ 558 h 26535"/>
                    <a:gd name="connsiteX2" fmla="*/ 25729 w 26297"/>
                    <a:gd name="connsiteY2" fmla="*/ 9526 h 26535"/>
                    <a:gd name="connsiteX3" fmla="*/ 16885 w 26297"/>
                    <a:gd name="connsiteY3" fmla="*/ 25968 h 26535"/>
                    <a:gd name="connsiteX4" fmla="*/ 568 w 26297"/>
                    <a:gd name="connsiteY4" fmla="*/ 169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35">
                      <a:moveTo>
                        <a:pt x="568" y="16999"/>
                      </a:moveTo>
                      <a:cubicBezTo>
                        <a:pt x="-1549" y="10024"/>
                        <a:pt x="2437" y="2675"/>
                        <a:pt x="9412" y="558"/>
                      </a:cubicBezTo>
                      <a:cubicBezTo>
                        <a:pt x="16387" y="-1560"/>
                        <a:pt x="23736" y="2551"/>
                        <a:pt x="25729" y="9526"/>
                      </a:cubicBezTo>
                      <a:cubicBezTo>
                        <a:pt x="27846" y="16501"/>
                        <a:pt x="23861" y="23850"/>
                        <a:pt x="16885" y="25968"/>
                      </a:cubicBezTo>
                      <a:cubicBezTo>
                        <a:pt x="9910" y="28085"/>
                        <a:pt x="2686" y="24099"/>
                        <a:pt x="568"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59" name="Graphic 2987">
                <a:extLst>
                  <a:ext uri="{FF2B5EF4-FFF2-40B4-BE49-F238E27FC236}">
                    <a16:creationId xmlns:a16="http://schemas.microsoft.com/office/drawing/2014/main" id="{7360C860-606A-059C-97FB-2A18AF2A46C9}"/>
                  </a:ext>
                </a:extLst>
              </p:cNvPr>
              <p:cNvGrpSpPr/>
              <p:nvPr/>
            </p:nvGrpSpPr>
            <p:grpSpPr>
              <a:xfrm>
                <a:off x="5072178" y="6005428"/>
                <a:ext cx="60733" cy="144002"/>
                <a:chOff x="5072178" y="6005428"/>
                <a:chExt cx="60733" cy="144002"/>
              </a:xfrm>
              <a:grpFill/>
            </p:grpSpPr>
            <p:sp>
              <p:nvSpPr>
                <p:cNvPr id="5165" name="Freeform 4251">
                  <a:extLst>
                    <a:ext uri="{FF2B5EF4-FFF2-40B4-BE49-F238E27FC236}">
                      <a16:creationId xmlns:a16="http://schemas.microsoft.com/office/drawing/2014/main" id="{776EAF93-5001-BAD5-7B5F-A6E085A73F70}"/>
                    </a:ext>
                  </a:extLst>
                </p:cNvPr>
                <p:cNvSpPr/>
                <p:nvPr/>
              </p:nvSpPr>
              <p:spPr>
                <a:xfrm>
                  <a:off x="5083939" y="602654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6" y="14449"/>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6" name="Freeform 4252">
                  <a:extLst>
                    <a:ext uri="{FF2B5EF4-FFF2-40B4-BE49-F238E27FC236}">
                      <a16:creationId xmlns:a16="http://schemas.microsoft.com/office/drawing/2014/main" id="{D2016077-B085-8C7F-F79E-4D073398CF1D}"/>
                    </a:ext>
                  </a:extLst>
                </p:cNvPr>
                <p:cNvSpPr/>
                <p:nvPr/>
              </p:nvSpPr>
              <p:spPr>
                <a:xfrm>
                  <a:off x="5089302" y="6019697"/>
                  <a:ext cx="15320" cy="49823"/>
                </a:xfrm>
                <a:custGeom>
                  <a:avLst/>
                  <a:gdLst>
                    <a:gd name="connsiteX0" fmla="*/ 15321 w 15320"/>
                    <a:gd name="connsiteY0" fmla="*/ 49823 h 49823"/>
                    <a:gd name="connsiteX1" fmla="*/ 8221 w 15320"/>
                    <a:gd name="connsiteY1" fmla="*/ 32385 h 49823"/>
                    <a:gd name="connsiteX2" fmla="*/ 6726 w 15320"/>
                    <a:gd name="connsiteY2" fmla="*/ 15072 h 49823"/>
                    <a:gd name="connsiteX3" fmla="*/ 0 w 15320"/>
                    <a:gd name="connsiteY3" fmla="*/ 0 h 49823"/>
                  </a:gdLst>
                  <a:ahLst/>
                  <a:cxnLst>
                    <a:cxn ang="0">
                      <a:pos x="connsiteX0" y="connsiteY0"/>
                    </a:cxn>
                    <a:cxn ang="0">
                      <a:pos x="connsiteX1" y="connsiteY1"/>
                    </a:cxn>
                    <a:cxn ang="0">
                      <a:pos x="connsiteX2" y="connsiteY2"/>
                    </a:cxn>
                    <a:cxn ang="0">
                      <a:pos x="connsiteX3" y="connsiteY3"/>
                    </a:cxn>
                  </a:cxnLst>
                  <a:rect l="l" t="t" r="r" b="b"/>
                  <a:pathLst>
                    <a:path w="15319" h="49823">
                      <a:moveTo>
                        <a:pt x="15321" y="49823"/>
                      </a:moveTo>
                      <a:cubicBezTo>
                        <a:pt x="10712" y="42848"/>
                        <a:pt x="8968" y="36745"/>
                        <a:pt x="8221" y="32385"/>
                      </a:cubicBezTo>
                      <a:cubicBezTo>
                        <a:pt x="6975" y="25535"/>
                        <a:pt x="8221" y="21922"/>
                        <a:pt x="6726" y="15072"/>
                      </a:cubicBezTo>
                      <a:cubicBezTo>
                        <a:pt x="5232" y="8346"/>
                        <a:pt x="236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7" name="Freeform 4253">
                  <a:extLst>
                    <a:ext uri="{FF2B5EF4-FFF2-40B4-BE49-F238E27FC236}">
                      <a16:creationId xmlns:a16="http://schemas.microsoft.com/office/drawing/2014/main" id="{2D204A91-CF14-EAA2-F022-FBE84B38E834}"/>
                    </a:ext>
                  </a:extLst>
                </p:cNvPr>
                <p:cNvSpPr/>
                <p:nvPr/>
              </p:nvSpPr>
              <p:spPr>
                <a:xfrm>
                  <a:off x="5072178" y="6005428"/>
                  <a:ext cx="26603" cy="26544"/>
                </a:xfrm>
                <a:custGeom>
                  <a:avLst/>
                  <a:gdLst>
                    <a:gd name="connsiteX0" fmla="*/ 26091 w 26603"/>
                    <a:gd name="connsiteY0" fmla="*/ 9536 h 26544"/>
                    <a:gd name="connsiteX1" fmla="*/ 16998 w 26603"/>
                    <a:gd name="connsiteY1" fmla="*/ 25977 h 26544"/>
                    <a:gd name="connsiteX2" fmla="*/ 557 w 26603"/>
                    <a:gd name="connsiteY2" fmla="*/ 17009 h 26544"/>
                    <a:gd name="connsiteX3" fmla="*/ 9650 w 26603"/>
                    <a:gd name="connsiteY3" fmla="*/ 568 h 26544"/>
                    <a:gd name="connsiteX4" fmla="*/ 26091 w 26603"/>
                    <a:gd name="connsiteY4" fmla="*/ 953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4">
                      <a:moveTo>
                        <a:pt x="26091" y="9536"/>
                      </a:moveTo>
                      <a:cubicBezTo>
                        <a:pt x="28084" y="16511"/>
                        <a:pt x="24098" y="23984"/>
                        <a:pt x="16998" y="25977"/>
                      </a:cubicBezTo>
                      <a:cubicBezTo>
                        <a:pt x="9899" y="28095"/>
                        <a:pt x="2550" y="24109"/>
                        <a:pt x="557" y="17009"/>
                      </a:cubicBezTo>
                      <a:cubicBezTo>
                        <a:pt x="-1561" y="10034"/>
                        <a:pt x="2550" y="2561"/>
                        <a:pt x="9650" y="568"/>
                      </a:cubicBezTo>
                      <a:cubicBezTo>
                        <a:pt x="16625" y="-1550"/>
                        <a:pt x="24098" y="2436"/>
                        <a:pt x="26091" y="953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8" name="Freeform 4254">
                  <a:extLst>
                    <a:ext uri="{FF2B5EF4-FFF2-40B4-BE49-F238E27FC236}">
                      <a16:creationId xmlns:a16="http://schemas.microsoft.com/office/drawing/2014/main" id="{0EB52D91-2E10-7211-3326-5D0326E2F02B}"/>
                    </a:ext>
                  </a:extLst>
                </p:cNvPr>
                <p:cNvSpPr/>
                <p:nvPr/>
              </p:nvSpPr>
              <p:spPr>
                <a:xfrm>
                  <a:off x="5107337" y="6078115"/>
                  <a:ext cx="13982" cy="50321"/>
                </a:xfrm>
                <a:custGeom>
                  <a:avLst/>
                  <a:gdLst>
                    <a:gd name="connsiteX0" fmla="*/ 13976 w 13982"/>
                    <a:gd name="connsiteY0" fmla="*/ 50321 h 50321"/>
                    <a:gd name="connsiteX1" fmla="*/ 10613 w 13982"/>
                    <a:gd name="connsiteY1" fmla="*/ 31762 h 50321"/>
                    <a:gd name="connsiteX2" fmla="*/ 2517 w 13982"/>
                    <a:gd name="connsiteY2" fmla="*/ 16317 h 50321"/>
                    <a:gd name="connsiteX3" fmla="*/ 26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13976" y="50321"/>
                      </a:moveTo>
                      <a:cubicBezTo>
                        <a:pt x="14101" y="41852"/>
                        <a:pt x="12232" y="35873"/>
                        <a:pt x="10613" y="31762"/>
                      </a:cubicBezTo>
                      <a:cubicBezTo>
                        <a:pt x="7873" y="25285"/>
                        <a:pt x="5008" y="23043"/>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9" name="Freeform 4255">
                  <a:extLst>
                    <a:ext uri="{FF2B5EF4-FFF2-40B4-BE49-F238E27FC236}">
                      <a16:creationId xmlns:a16="http://schemas.microsoft.com/office/drawing/2014/main" id="{94F82F25-B68D-3A4B-4F03-F3F0503FA99D}"/>
                    </a:ext>
                  </a:extLst>
                </p:cNvPr>
                <p:cNvSpPr/>
                <p:nvPr/>
              </p:nvSpPr>
              <p:spPr>
                <a:xfrm>
                  <a:off x="5100761" y="6085339"/>
                  <a:ext cx="15196" cy="49823"/>
                </a:xfrm>
                <a:custGeom>
                  <a:avLst/>
                  <a:gdLst>
                    <a:gd name="connsiteX0" fmla="*/ 0 w 15196"/>
                    <a:gd name="connsiteY0" fmla="*/ 0 h 49823"/>
                    <a:gd name="connsiteX1" fmla="*/ 7099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2" y="13078"/>
                        <a:pt x="7099" y="17438"/>
                      </a:cubicBezTo>
                      <a:cubicBezTo>
                        <a:pt x="8345" y="24289"/>
                        <a:pt x="7099" y="27901"/>
                        <a:pt x="8595" y="34752"/>
                      </a:cubicBezTo>
                      <a:cubicBezTo>
                        <a:pt x="10089" y="41478"/>
                        <a:pt x="12954" y="46584"/>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70" name="Freeform 4256">
                  <a:extLst>
                    <a:ext uri="{FF2B5EF4-FFF2-40B4-BE49-F238E27FC236}">
                      <a16:creationId xmlns:a16="http://schemas.microsoft.com/office/drawing/2014/main" id="{A6C95681-A5AC-0862-4E59-AE5E66F932A7}"/>
                    </a:ext>
                  </a:extLst>
                </p:cNvPr>
                <p:cNvSpPr/>
                <p:nvPr/>
              </p:nvSpPr>
              <p:spPr>
                <a:xfrm>
                  <a:off x="5106669" y="6122941"/>
                  <a:ext cx="26242" cy="26490"/>
                </a:xfrm>
                <a:custGeom>
                  <a:avLst/>
                  <a:gdLst>
                    <a:gd name="connsiteX0" fmla="*/ 568 w 26242"/>
                    <a:gd name="connsiteY0" fmla="*/ 16955 h 26490"/>
                    <a:gd name="connsiteX1" fmla="*/ 9412 w 26242"/>
                    <a:gd name="connsiteY1" fmla="*/ 513 h 26490"/>
                    <a:gd name="connsiteX2" fmla="*/ 25729 w 26242"/>
                    <a:gd name="connsiteY2" fmla="*/ 9481 h 26490"/>
                    <a:gd name="connsiteX3" fmla="*/ 16886 w 26242"/>
                    <a:gd name="connsiteY3" fmla="*/ 25923 h 26490"/>
                    <a:gd name="connsiteX4" fmla="*/ 568 w 26242"/>
                    <a:gd name="connsiteY4" fmla="*/ 16955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90">
                      <a:moveTo>
                        <a:pt x="568" y="16955"/>
                      </a:moveTo>
                      <a:cubicBezTo>
                        <a:pt x="-1549" y="9980"/>
                        <a:pt x="2437" y="2506"/>
                        <a:pt x="9412" y="513"/>
                      </a:cubicBezTo>
                      <a:cubicBezTo>
                        <a:pt x="16387" y="-1480"/>
                        <a:pt x="23736" y="2506"/>
                        <a:pt x="25729" y="9481"/>
                      </a:cubicBezTo>
                      <a:cubicBezTo>
                        <a:pt x="27722" y="16456"/>
                        <a:pt x="23736" y="23930"/>
                        <a:pt x="16886" y="25923"/>
                      </a:cubicBezTo>
                      <a:cubicBezTo>
                        <a:pt x="9910" y="28040"/>
                        <a:pt x="2686" y="24054"/>
                        <a:pt x="568" y="1695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0" name="Graphic 2987">
                <a:extLst>
                  <a:ext uri="{FF2B5EF4-FFF2-40B4-BE49-F238E27FC236}">
                    <a16:creationId xmlns:a16="http://schemas.microsoft.com/office/drawing/2014/main" id="{E6305764-4058-D752-F94A-56EAE842A2EA}"/>
                  </a:ext>
                </a:extLst>
              </p:cNvPr>
              <p:cNvGrpSpPr/>
              <p:nvPr/>
            </p:nvGrpSpPr>
            <p:grpSpPr>
              <a:xfrm>
                <a:off x="5100747" y="5996898"/>
                <a:ext cx="60439" cy="144256"/>
                <a:chOff x="5100747" y="5996898"/>
                <a:chExt cx="60439" cy="144256"/>
              </a:xfrm>
              <a:grpFill/>
            </p:grpSpPr>
            <p:sp>
              <p:nvSpPr>
                <p:cNvPr id="5159" name="Freeform 4258">
                  <a:extLst>
                    <a:ext uri="{FF2B5EF4-FFF2-40B4-BE49-F238E27FC236}">
                      <a16:creationId xmlns:a16="http://schemas.microsoft.com/office/drawing/2014/main" id="{0575560C-187A-8FAF-12D5-DF5000E1194F}"/>
                    </a:ext>
                  </a:extLst>
                </p:cNvPr>
                <p:cNvSpPr/>
                <p:nvPr/>
              </p:nvSpPr>
              <p:spPr>
                <a:xfrm>
                  <a:off x="5112463" y="6018078"/>
                  <a:ext cx="13982" cy="50321"/>
                </a:xfrm>
                <a:custGeom>
                  <a:avLst/>
                  <a:gdLst>
                    <a:gd name="connsiteX0" fmla="*/ 6 w 13982"/>
                    <a:gd name="connsiteY0" fmla="*/ 0 h 50321"/>
                    <a:gd name="connsiteX1" fmla="*/ 3369 w 13982"/>
                    <a:gd name="connsiteY1" fmla="*/ 18559 h 50321"/>
                    <a:gd name="connsiteX2" fmla="*/ 11465 w 13982"/>
                    <a:gd name="connsiteY2" fmla="*/ 34004 h 50321"/>
                    <a:gd name="connsiteX3" fmla="*/ 13957 w 13982"/>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982" h="50321">
                      <a:moveTo>
                        <a:pt x="6" y="0"/>
                      </a:moveTo>
                      <a:cubicBezTo>
                        <a:pt x="-118" y="8470"/>
                        <a:pt x="1625" y="14573"/>
                        <a:pt x="3369" y="18559"/>
                      </a:cubicBezTo>
                      <a:cubicBezTo>
                        <a:pt x="6110" y="25036"/>
                        <a:pt x="8974" y="27278"/>
                        <a:pt x="11465" y="34004"/>
                      </a:cubicBezTo>
                      <a:cubicBezTo>
                        <a:pt x="13832" y="40481"/>
                        <a:pt x="14081" y="46335"/>
                        <a:pt x="1395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0" name="Freeform 4259">
                  <a:extLst>
                    <a:ext uri="{FF2B5EF4-FFF2-40B4-BE49-F238E27FC236}">
                      <a16:creationId xmlns:a16="http://schemas.microsoft.com/office/drawing/2014/main" id="{B830B105-42D6-82FD-F61B-C5B536DA23C1}"/>
                    </a:ext>
                  </a:extLst>
                </p:cNvPr>
                <p:cNvSpPr/>
                <p:nvPr/>
              </p:nvSpPr>
              <p:spPr>
                <a:xfrm>
                  <a:off x="5117825" y="6011227"/>
                  <a:ext cx="15196" cy="49947"/>
                </a:xfrm>
                <a:custGeom>
                  <a:avLst/>
                  <a:gdLst>
                    <a:gd name="connsiteX0" fmla="*/ 15196 w 15196"/>
                    <a:gd name="connsiteY0" fmla="*/ 49948 h 49947"/>
                    <a:gd name="connsiteX1" fmla="*/ 8096 w 15196"/>
                    <a:gd name="connsiteY1" fmla="*/ 32510 h 49947"/>
                    <a:gd name="connsiteX2" fmla="*/ 6602 w 15196"/>
                    <a:gd name="connsiteY2" fmla="*/ 15071 h 49947"/>
                    <a:gd name="connsiteX3" fmla="*/ 0 w 15196"/>
                    <a:gd name="connsiteY3" fmla="*/ 0 h 49947"/>
                  </a:gdLst>
                  <a:ahLst/>
                  <a:cxnLst>
                    <a:cxn ang="0">
                      <a:pos x="connsiteX0" y="connsiteY0"/>
                    </a:cxn>
                    <a:cxn ang="0">
                      <a:pos x="connsiteX1" y="connsiteY1"/>
                    </a:cxn>
                    <a:cxn ang="0">
                      <a:pos x="connsiteX2" y="connsiteY2"/>
                    </a:cxn>
                    <a:cxn ang="0">
                      <a:pos x="connsiteX3" y="connsiteY3"/>
                    </a:cxn>
                  </a:cxnLst>
                  <a:rect l="l" t="t" r="r" b="b"/>
                  <a:pathLst>
                    <a:path w="15196" h="49947">
                      <a:moveTo>
                        <a:pt x="15196" y="49948"/>
                      </a:moveTo>
                      <a:cubicBezTo>
                        <a:pt x="10587" y="42973"/>
                        <a:pt x="8843" y="36869"/>
                        <a:pt x="8096" y="32510"/>
                      </a:cubicBezTo>
                      <a:cubicBezTo>
                        <a:pt x="6851" y="25659"/>
                        <a:pt x="8096" y="22047"/>
                        <a:pt x="6602" y="15071"/>
                      </a:cubicBezTo>
                      <a:cubicBezTo>
                        <a:pt x="5107" y="8346"/>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1" name="Freeform 4260">
                  <a:extLst>
                    <a:ext uri="{FF2B5EF4-FFF2-40B4-BE49-F238E27FC236}">
                      <a16:creationId xmlns:a16="http://schemas.microsoft.com/office/drawing/2014/main" id="{07E2FCB7-E8DD-90EB-7C3C-8451A49099D5}"/>
                    </a:ext>
                  </a:extLst>
                </p:cNvPr>
                <p:cNvSpPr/>
                <p:nvPr/>
              </p:nvSpPr>
              <p:spPr>
                <a:xfrm>
                  <a:off x="5100747" y="5996898"/>
                  <a:ext cx="26549" cy="26605"/>
                </a:xfrm>
                <a:custGeom>
                  <a:avLst/>
                  <a:gdLst>
                    <a:gd name="connsiteX0" fmla="*/ 26047 w 26549"/>
                    <a:gd name="connsiteY0" fmla="*/ 9596 h 26605"/>
                    <a:gd name="connsiteX1" fmla="*/ 16954 w 26549"/>
                    <a:gd name="connsiteY1" fmla="*/ 26037 h 26605"/>
                    <a:gd name="connsiteX2" fmla="*/ 512 w 26549"/>
                    <a:gd name="connsiteY2" fmla="*/ 17069 h 26605"/>
                    <a:gd name="connsiteX3" fmla="*/ 9605 w 26549"/>
                    <a:gd name="connsiteY3" fmla="*/ 503 h 26605"/>
                    <a:gd name="connsiteX4" fmla="*/ 26047 w 26549"/>
                    <a:gd name="connsiteY4" fmla="*/ 9596 h 2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26605">
                      <a:moveTo>
                        <a:pt x="26047" y="9596"/>
                      </a:moveTo>
                      <a:cubicBezTo>
                        <a:pt x="28040" y="16571"/>
                        <a:pt x="23929" y="23920"/>
                        <a:pt x="16954" y="26037"/>
                      </a:cubicBezTo>
                      <a:cubicBezTo>
                        <a:pt x="9854" y="28155"/>
                        <a:pt x="2505" y="24169"/>
                        <a:pt x="512" y="17069"/>
                      </a:cubicBezTo>
                      <a:cubicBezTo>
                        <a:pt x="-1480" y="10094"/>
                        <a:pt x="2505" y="2620"/>
                        <a:pt x="9605" y="503"/>
                      </a:cubicBezTo>
                      <a:cubicBezTo>
                        <a:pt x="16705" y="-1490"/>
                        <a:pt x="24054" y="2620"/>
                        <a:pt x="26047"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2" name="Freeform 4261">
                  <a:extLst>
                    <a:ext uri="{FF2B5EF4-FFF2-40B4-BE49-F238E27FC236}">
                      <a16:creationId xmlns:a16="http://schemas.microsoft.com/office/drawing/2014/main" id="{336AE7D6-477C-1E1B-4796-360B95689405}"/>
                    </a:ext>
                  </a:extLst>
                </p:cNvPr>
                <p:cNvSpPr/>
                <p:nvPr/>
              </p:nvSpPr>
              <p:spPr>
                <a:xfrm>
                  <a:off x="5135736" y="6069770"/>
                  <a:ext cx="13857" cy="50321"/>
                </a:xfrm>
                <a:custGeom>
                  <a:avLst/>
                  <a:gdLst>
                    <a:gd name="connsiteX0" fmla="*/ 13852 w 13857"/>
                    <a:gd name="connsiteY0" fmla="*/ 50321 h 50321"/>
                    <a:gd name="connsiteX1" fmla="*/ 10489 w 13857"/>
                    <a:gd name="connsiteY1" fmla="*/ 31762 h 50321"/>
                    <a:gd name="connsiteX2" fmla="*/ 2517 w 13857"/>
                    <a:gd name="connsiteY2" fmla="*/ 16317 h 50321"/>
                    <a:gd name="connsiteX3" fmla="*/ 26 w 13857"/>
                    <a:gd name="connsiteY3" fmla="*/ 0 h 50321"/>
                  </a:gdLst>
                  <a:ahLst/>
                  <a:cxnLst>
                    <a:cxn ang="0">
                      <a:pos x="connsiteX0" y="connsiteY0"/>
                    </a:cxn>
                    <a:cxn ang="0">
                      <a:pos x="connsiteX1" y="connsiteY1"/>
                    </a:cxn>
                    <a:cxn ang="0">
                      <a:pos x="connsiteX2" y="connsiteY2"/>
                    </a:cxn>
                    <a:cxn ang="0">
                      <a:pos x="connsiteX3" y="connsiteY3"/>
                    </a:cxn>
                  </a:cxnLst>
                  <a:rect l="l" t="t" r="r" b="b"/>
                  <a:pathLst>
                    <a:path w="13857" h="50321">
                      <a:moveTo>
                        <a:pt x="13852" y="50321"/>
                      </a:moveTo>
                      <a:cubicBezTo>
                        <a:pt x="13976" y="41851"/>
                        <a:pt x="12232" y="35748"/>
                        <a:pt x="10489" y="31762"/>
                      </a:cubicBezTo>
                      <a:cubicBezTo>
                        <a:pt x="7873" y="25285"/>
                        <a:pt x="4883" y="22919"/>
                        <a:pt x="2517" y="16317"/>
                      </a:cubicBezTo>
                      <a:cubicBezTo>
                        <a:pt x="150" y="9840"/>
                        <a:pt x="-99" y="3986"/>
                        <a:pt x="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3" name="Freeform 4262">
                  <a:extLst>
                    <a:ext uri="{FF2B5EF4-FFF2-40B4-BE49-F238E27FC236}">
                      <a16:creationId xmlns:a16="http://schemas.microsoft.com/office/drawing/2014/main" id="{4831FF4D-AC7D-C3E1-C4EB-203C93CCEB94}"/>
                    </a:ext>
                  </a:extLst>
                </p:cNvPr>
                <p:cNvSpPr/>
                <p:nvPr/>
              </p:nvSpPr>
              <p:spPr>
                <a:xfrm>
                  <a:off x="5129036" y="6076994"/>
                  <a:ext cx="15196" cy="49823"/>
                </a:xfrm>
                <a:custGeom>
                  <a:avLst/>
                  <a:gdLst>
                    <a:gd name="connsiteX0" fmla="*/ 0 w 15196"/>
                    <a:gd name="connsiteY0" fmla="*/ 0 h 49823"/>
                    <a:gd name="connsiteX1" fmla="*/ 7100 w 15196"/>
                    <a:gd name="connsiteY1" fmla="*/ 17438 h 49823"/>
                    <a:gd name="connsiteX2" fmla="*/ 8595 w 15196"/>
                    <a:gd name="connsiteY2" fmla="*/ 34752 h 49823"/>
                    <a:gd name="connsiteX3" fmla="*/ 15196 w 15196"/>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6" h="49823">
                      <a:moveTo>
                        <a:pt x="0" y="0"/>
                      </a:moveTo>
                      <a:cubicBezTo>
                        <a:pt x="4609" y="6975"/>
                        <a:pt x="6353" y="13079"/>
                        <a:pt x="7100" y="17438"/>
                      </a:cubicBezTo>
                      <a:cubicBezTo>
                        <a:pt x="8346" y="24289"/>
                        <a:pt x="7100" y="27901"/>
                        <a:pt x="8595" y="34752"/>
                      </a:cubicBezTo>
                      <a:cubicBezTo>
                        <a:pt x="10089" y="41478"/>
                        <a:pt x="12954" y="46585"/>
                        <a:pt x="15196"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64" name="Freeform 4263">
                  <a:extLst>
                    <a:ext uri="{FF2B5EF4-FFF2-40B4-BE49-F238E27FC236}">
                      <a16:creationId xmlns:a16="http://schemas.microsoft.com/office/drawing/2014/main" id="{21293609-6ED4-F356-A1B9-57D712F902C7}"/>
                    </a:ext>
                  </a:extLst>
                </p:cNvPr>
                <p:cNvSpPr/>
                <p:nvPr/>
              </p:nvSpPr>
              <p:spPr>
                <a:xfrm>
                  <a:off x="5134875" y="6114552"/>
                  <a:ext cx="26311" cy="26603"/>
                </a:xfrm>
                <a:custGeom>
                  <a:avLst/>
                  <a:gdLst>
                    <a:gd name="connsiteX0" fmla="*/ 513 w 26311"/>
                    <a:gd name="connsiteY0" fmla="*/ 16999 h 26603"/>
                    <a:gd name="connsiteX1" fmla="*/ 9481 w 26311"/>
                    <a:gd name="connsiteY1" fmla="*/ 557 h 26603"/>
                    <a:gd name="connsiteX2" fmla="*/ 25798 w 26311"/>
                    <a:gd name="connsiteY2" fmla="*/ 9650 h 26603"/>
                    <a:gd name="connsiteX3" fmla="*/ 16830 w 26311"/>
                    <a:gd name="connsiteY3" fmla="*/ 26091 h 26603"/>
                    <a:gd name="connsiteX4" fmla="*/ 513 w 26311"/>
                    <a:gd name="connsiteY4" fmla="*/ 16999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603">
                      <a:moveTo>
                        <a:pt x="513" y="16999"/>
                      </a:moveTo>
                      <a:cubicBezTo>
                        <a:pt x="-1480" y="10023"/>
                        <a:pt x="2506" y="2550"/>
                        <a:pt x="9481" y="557"/>
                      </a:cubicBezTo>
                      <a:cubicBezTo>
                        <a:pt x="16456" y="-1560"/>
                        <a:pt x="23805" y="2550"/>
                        <a:pt x="25798" y="9650"/>
                      </a:cubicBezTo>
                      <a:cubicBezTo>
                        <a:pt x="27791" y="16625"/>
                        <a:pt x="23805" y="23974"/>
                        <a:pt x="16830" y="26091"/>
                      </a:cubicBezTo>
                      <a:cubicBezTo>
                        <a:pt x="9855" y="28084"/>
                        <a:pt x="2630" y="24099"/>
                        <a:pt x="513" y="169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1" name="Graphic 2987">
                <a:extLst>
                  <a:ext uri="{FF2B5EF4-FFF2-40B4-BE49-F238E27FC236}">
                    <a16:creationId xmlns:a16="http://schemas.microsoft.com/office/drawing/2014/main" id="{B63D5F56-AFA0-691D-166B-6F4D294FD88F}"/>
                  </a:ext>
                </a:extLst>
              </p:cNvPr>
              <p:cNvGrpSpPr/>
              <p:nvPr/>
            </p:nvGrpSpPr>
            <p:grpSpPr>
              <a:xfrm>
                <a:off x="5129280" y="5988873"/>
                <a:ext cx="60180" cy="144176"/>
                <a:chOff x="5129280" y="5988873"/>
                <a:chExt cx="60180" cy="144176"/>
              </a:xfrm>
              <a:grpFill/>
            </p:grpSpPr>
            <p:sp>
              <p:nvSpPr>
                <p:cNvPr id="5153" name="Freeform 4265">
                  <a:extLst>
                    <a:ext uri="{FF2B5EF4-FFF2-40B4-BE49-F238E27FC236}">
                      <a16:creationId xmlns:a16="http://schemas.microsoft.com/office/drawing/2014/main" id="{83D8C2C8-490C-AE50-1DEF-9C223D4455A6}"/>
                    </a:ext>
                  </a:extLst>
                </p:cNvPr>
                <p:cNvSpPr/>
                <p:nvPr/>
              </p:nvSpPr>
              <p:spPr>
                <a:xfrm>
                  <a:off x="5141111" y="6009857"/>
                  <a:ext cx="13659" cy="50321"/>
                </a:xfrm>
                <a:custGeom>
                  <a:avLst/>
                  <a:gdLst>
                    <a:gd name="connsiteX0" fmla="*/ 6 w 13659"/>
                    <a:gd name="connsiteY0" fmla="*/ 0 h 50321"/>
                    <a:gd name="connsiteX1" fmla="*/ 3245 w 13659"/>
                    <a:gd name="connsiteY1" fmla="*/ 18559 h 50321"/>
                    <a:gd name="connsiteX2" fmla="*/ 11216 w 13659"/>
                    <a:gd name="connsiteY2" fmla="*/ 34004 h 50321"/>
                    <a:gd name="connsiteX3" fmla="*/ 13583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6" y="0"/>
                      </a:moveTo>
                      <a:cubicBezTo>
                        <a:pt x="-118" y="8345"/>
                        <a:pt x="1626" y="14449"/>
                        <a:pt x="3245" y="18559"/>
                      </a:cubicBezTo>
                      <a:cubicBezTo>
                        <a:pt x="5861" y="25036"/>
                        <a:pt x="8850" y="27402"/>
                        <a:pt x="11216" y="34004"/>
                      </a:cubicBezTo>
                      <a:cubicBezTo>
                        <a:pt x="13583" y="40481"/>
                        <a:pt x="13832" y="46335"/>
                        <a:pt x="13583"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4" name="Freeform 4266">
                  <a:extLst>
                    <a:ext uri="{FF2B5EF4-FFF2-40B4-BE49-F238E27FC236}">
                      <a16:creationId xmlns:a16="http://schemas.microsoft.com/office/drawing/2014/main" id="{2FC1DEC3-FB2B-F0EE-B0A2-7E99FE119BE5}"/>
                    </a:ext>
                  </a:extLst>
                </p:cNvPr>
                <p:cNvSpPr/>
                <p:nvPr/>
              </p:nvSpPr>
              <p:spPr>
                <a:xfrm>
                  <a:off x="5146474" y="6003131"/>
                  <a:ext cx="15071" cy="49947"/>
                </a:xfrm>
                <a:custGeom>
                  <a:avLst/>
                  <a:gdLst>
                    <a:gd name="connsiteX0" fmla="*/ 15072 w 15071"/>
                    <a:gd name="connsiteY0" fmla="*/ 49948 h 49947"/>
                    <a:gd name="connsiteX1" fmla="*/ 7972 w 15071"/>
                    <a:gd name="connsiteY1" fmla="*/ 32509 h 49947"/>
                    <a:gd name="connsiteX2" fmla="*/ 6602 w 15071"/>
                    <a:gd name="connsiteY2" fmla="*/ 15196 h 49947"/>
                    <a:gd name="connsiteX3" fmla="*/ 0 w 15071"/>
                    <a:gd name="connsiteY3" fmla="*/ 0 h 49947"/>
                  </a:gdLst>
                  <a:ahLst/>
                  <a:cxnLst>
                    <a:cxn ang="0">
                      <a:pos x="connsiteX0" y="connsiteY0"/>
                    </a:cxn>
                    <a:cxn ang="0">
                      <a:pos x="connsiteX1" y="connsiteY1"/>
                    </a:cxn>
                    <a:cxn ang="0">
                      <a:pos x="connsiteX2" y="connsiteY2"/>
                    </a:cxn>
                    <a:cxn ang="0">
                      <a:pos x="connsiteX3" y="connsiteY3"/>
                    </a:cxn>
                  </a:cxnLst>
                  <a:rect l="l" t="t" r="r" b="b"/>
                  <a:pathLst>
                    <a:path w="15071" h="49947">
                      <a:moveTo>
                        <a:pt x="15072" y="49948"/>
                      </a:moveTo>
                      <a:cubicBezTo>
                        <a:pt x="10463" y="42848"/>
                        <a:pt x="8719" y="36745"/>
                        <a:pt x="7972" y="32509"/>
                      </a:cubicBezTo>
                      <a:cubicBezTo>
                        <a:pt x="6851" y="25659"/>
                        <a:pt x="7972" y="22047"/>
                        <a:pt x="6602" y="15196"/>
                      </a:cubicBezTo>
                      <a:cubicBezTo>
                        <a:pt x="523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5" name="Freeform 4267">
                  <a:extLst>
                    <a:ext uri="{FF2B5EF4-FFF2-40B4-BE49-F238E27FC236}">
                      <a16:creationId xmlns:a16="http://schemas.microsoft.com/office/drawing/2014/main" id="{9CC086E6-129F-3004-A613-392376A23D2F}"/>
                    </a:ext>
                  </a:extLst>
                </p:cNvPr>
                <p:cNvSpPr/>
                <p:nvPr/>
              </p:nvSpPr>
              <p:spPr>
                <a:xfrm>
                  <a:off x="5129280" y="5988873"/>
                  <a:ext cx="26663" cy="26469"/>
                </a:xfrm>
                <a:custGeom>
                  <a:avLst/>
                  <a:gdLst>
                    <a:gd name="connsiteX0" fmla="*/ 26161 w 26663"/>
                    <a:gd name="connsiteY0" fmla="*/ 9650 h 26469"/>
                    <a:gd name="connsiteX1" fmla="*/ 16944 w 26663"/>
                    <a:gd name="connsiteY1" fmla="*/ 25967 h 26469"/>
                    <a:gd name="connsiteX2" fmla="*/ 503 w 26663"/>
                    <a:gd name="connsiteY2" fmla="*/ 16874 h 26469"/>
                    <a:gd name="connsiteX3" fmla="*/ 9720 w 26663"/>
                    <a:gd name="connsiteY3" fmla="*/ 557 h 26469"/>
                    <a:gd name="connsiteX4" fmla="*/ 26161 w 26663"/>
                    <a:gd name="connsiteY4" fmla="*/ 9650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69">
                      <a:moveTo>
                        <a:pt x="26161" y="9650"/>
                      </a:moveTo>
                      <a:cubicBezTo>
                        <a:pt x="28154" y="16750"/>
                        <a:pt x="24044" y="23974"/>
                        <a:pt x="16944" y="25967"/>
                      </a:cubicBezTo>
                      <a:cubicBezTo>
                        <a:pt x="9844" y="27960"/>
                        <a:pt x="2496" y="23849"/>
                        <a:pt x="503" y="16874"/>
                      </a:cubicBezTo>
                      <a:cubicBezTo>
                        <a:pt x="-1490" y="9899"/>
                        <a:pt x="2620" y="2550"/>
                        <a:pt x="9720" y="557"/>
                      </a:cubicBezTo>
                      <a:cubicBezTo>
                        <a:pt x="16820" y="-1560"/>
                        <a:pt x="24168" y="2550"/>
                        <a:pt x="26161" y="96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6" name="Freeform 4268">
                  <a:extLst>
                    <a:ext uri="{FF2B5EF4-FFF2-40B4-BE49-F238E27FC236}">
                      <a16:creationId xmlns:a16="http://schemas.microsoft.com/office/drawing/2014/main" id="{905B3E30-05C2-2322-83E9-F900B1E7E273}"/>
                    </a:ext>
                  </a:extLst>
                </p:cNvPr>
                <p:cNvSpPr/>
                <p:nvPr/>
              </p:nvSpPr>
              <p:spPr>
                <a:xfrm>
                  <a:off x="5164208" y="6061673"/>
                  <a:ext cx="13660" cy="50321"/>
                </a:xfrm>
                <a:custGeom>
                  <a:avLst/>
                  <a:gdLst>
                    <a:gd name="connsiteX0" fmla="*/ 13654 w 13660"/>
                    <a:gd name="connsiteY0" fmla="*/ 50321 h 50321"/>
                    <a:gd name="connsiteX1" fmla="*/ 10415 w 13660"/>
                    <a:gd name="connsiteY1" fmla="*/ 31762 h 50321"/>
                    <a:gd name="connsiteX2" fmla="*/ 2444 w 13660"/>
                    <a:gd name="connsiteY2" fmla="*/ 16317 h 50321"/>
                    <a:gd name="connsiteX3" fmla="*/ 77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13654" y="50321"/>
                      </a:moveTo>
                      <a:cubicBezTo>
                        <a:pt x="13778" y="41976"/>
                        <a:pt x="12035" y="35872"/>
                        <a:pt x="10415" y="31762"/>
                      </a:cubicBezTo>
                      <a:cubicBezTo>
                        <a:pt x="7800" y="25285"/>
                        <a:pt x="4935" y="22919"/>
                        <a:pt x="2444"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7" name="Freeform 4269">
                  <a:extLst>
                    <a:ext uri="{FF2B5EF4-FFF2-40B4-BE49-F238E27FC236}">
                      <a16:creationId xmlns:a16="http://schemas.microsoft.com/office/drawing/2014/main" id="{E08C18E6-FAC4-220F-1E72-1DCBA7125B0B}"/>
                    </a:ext>
                  </a:extLst>
                </p:cNvPr>
                <p:cNvSpPr/>
                <p:nvPr/>
              </p:nvSpPr>
              <p:spPr>
                <a:xfrm>
                  <a:off x="5157435" y="6068773"/>
                  <a:ext cx="15071" cy="49947"/>
                </a:xfrm>
                <a:custGeom>
                  <a:avLst/>
                  <a:gdLst>
                    <a:gd name="connsiteX0" fmla="*/ 0 w 15071"/>
                    <a:gd name="connsiteY0" fmla="*/ 0 h 49947"/>
                    <a:gd name="connsiteX1" fmla="*/ 7100 w 15071"/>
                    <a:gd name="connsiteY1" fmla="*/ 17438 h 49947"/>
                    <a:gd name="connsiteX2" fmla="*/ 8470 w 15071"/>
                    <a:gd name="connsiteY2" fmla="*/ 34752 h 49947"/>
                    <a:gd name="connsiteX3" fmla="*/ 15071 w 15071"/>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071" h="49947">
                      <a:moveTo>
                        <a:pt x="0" y="0"/>
                      </a:moveTo>
                      <a:cubicBezTo>
                        <a:pt x="4609" y="7100"/>
                        <a:pt x="6353" y="13203"/>
                        <a:pt x="7100" y="17438"/>
                      </a:cubicBezTo>
                      <a:cubicBezTo>
                        <a:pt x="8221" y="24289"/>
                        <a:pt x="7100" y="27776"/>
                        <a:pt x="8470" y="34752"/>
                      </a:cubicBezTo>
                      <a:cubicBezTo>
                        <a:pt x="9840" y="41478"/>
                        <a:pt x="12829" y="46585"/>
                        <a:pt x="15071"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8" name="Freeform 4270">
                  <a:extLst>
                    <a:ext uri="{FF2B5EF4-FFF2-40B4-BE49-F238E27FC236}">
                      <a16:creationId xmlns:a16="http://schemas.microsoft.com/office/drawing/2014/main" id="{3E4C95BB-796B-8E68-25D3-AEF6CF39341F}"/>
                    </a:ext>
                  </a:extLst>
                </p:cNvPr>
                <p:cNvSpPr/>
                <p:nvPr/>
              </p:nvSpPr>
              <p:spPr>
                <a:xfrm>
                  <a:off x="5163150" y="6106510"/>
                  <a:ext cx="26311" cy="26539"/>
                </a:xfrm>
                <a:custGeom>
                  <a:avLst/>
                  <a:gdLst>
                    <a:gd name="connsiteX0" fmla="*/ 513 w 26311"/>
                    <a:gd name="connsiteY0" fmla="*/ 16820 h 26539"/>
                    <a:gd name="connsiteX1" fmla="*/ 9481 w 26311"/>
                    <a:gd name="connsiteY1" fmla="*/ 503 h 26539"/>
                    <a:gd name="connsiteX2" fmla="*/ 25798 w 26311"/>
                    <a:gd name="connsiteY2" fmla="*/ 9720 h 26539"/>
                    <a:gd name="connsiteX3" fmla="*/ 16830 w 26311"/>
                    <a:gd name="connsiteY3" fmla="*/ 26037 h 26539"/>
                    <a:gd name="connsiteX4" fmla="*/ 513 w 26311"/>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1" h="26538">
                      <a:moveTo>
                        <a:pt x="513" y="16820"/>
                      </a:moveTo>
                      <a:cubicBezTo>
                        <a:pt x="-1480" y="9844"/>
                        <a:pt x="2506" y="2496"/>
                        <a:pt x="9481" y="503"/>
                      </a:cubicBezTo>
                      <a:cubicBezTo>
                        <a:pt x="16456" y="-1490"/>
                        <a:pt x="23805" y="2620"/>
                        <a:pt x="25798" y="9720"/>
                      </a:cubicBezTo>
                      <a:cubicBezTo>
                        <a:pt x="27791" y="16820"/>
                        <a:pt x="23805" y="24044"/>
                        <a:pt x="16830" y="26037"/>
                      </a:cubicBezTo>
                      <a:cubicBezTo>
                        <a:pt x="9855" y="28030"/>
                        <a:pt x="2506" y="23919"/>
                        <a:pt x="51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2" name="Graphic 2987">
                <a:extLst>
                  <a:ext uri="{FF2B5EF4-FFF2-40B4-BE49-F238E27FC236}">
                    <a16:creationId xmlns:a16="http://schemas.microsoft.com/office/drawing/2014/main" id="{63357723-0BD8-7C8C-3584-2FE523EB922C}"/>
                  </a:ext>
                </a:extLst>
              </p:cNvPr>
              <p:cNvGrpSpPr/>
              <p:nvPr/>
            </p:nvGrpSpPr>
            <p:grpSpPr>
              <a:xfrm>
                <a:off x="5158053" y="5980758"/>
                <a:ext cx="59796" cy="144319"/>
                <a:chOff x="5158053" y="5980758"/>
                <a:chExt cx="59796" cy="144319"/>
              </a:xfrm>
              <a:grpFill/>
            </p:grpSpPr>
            <p:sp>
              <p:nvSpPr>
                <p:cNvPr id="5147" name="Freeform 4272">
                  <a:extLst>
                    <a:ext uri="{FF2B5EF4-FFF2-40B4-BE49-F238E27FC236}">
                      <a16:creationId xmlns:a16="http://schemas.microsoft.com/office/drawing/2014/main" id="{06C2A979-2813-8D92-48A9-2502F03BB553}"/>
                    </a:ext>
                  </a:extLst>
                </p:cNvPr>
                <p:cNvSpPr/>
                <p:nvPr/>
              </p:nvSpPr>
              <p:spPr>
                <a:xfrm>
                  <a:off x="5169742" y="6001886"/>
                  <a:ext cx="13677" cy="50446"/>
                </a:xfrm>
                <a:custGeom>
                  <a:avLst/>
                  <a:gdLst>
                    <a:gd name="connsiteX0" fmla="*/ 24 w 13677"/>
                    <a:gd name="connsiteY0" fmla="*/ 0 h 50446"/>
                    <a:gd name="connsiteX1" fmla="*/ 3262 w 13677"/>
                    <a:gd name="connsiteY1" fmla="*/ 18559 h 50446"/>
                    <a:gd name="connsiteX2" fmla="*/ 11234 w 13677"/>
                    <a:gd name="connsiteY2" fmla="*/ 34129 h 50446"/>
                    <a:gd name="connsiteX3" fmla="*/ 13601 w 1367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676" h="50446">
                      <a:moveTo>
                        <a:pt x="24" y="0"/>
                      </a:moveTo>
                      <a:cubicBezTo>
                        <a:pt x="-225" y="8470"/>
                        <a:pt x="1519" y="14449"/>
                        <a:pt x="3262" y="18559"/>
                      </a:cubicBezTo>
                      <a:cubicBezTo>
                        <a:pt x="5878" y="25036"/>
                        <a:pt x="8743" y="27403"/>
                        <a:pt x="11234" y="34129"/>
                      </a:cubicBezTo>
                      <a:cubicBezTo>
                        <a:pt x="13601" y="40606"/>
                        <a:pt x="13850" y="46460"/>
                        <a:pt x="13601"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8" name="Freeform 4273">
                  <a:extLst>
                    <a:ext uri="{FF2B5EF4-FFF2-40B4-BE49-F238E27FC236}">
                      <a16:creationId xmlns:a16="http://schemas.microsoft.com/office/drawing/2014/main" id="{8F745C7A-DA18-AB9F-FC2F-33C2C4275174}"/>
                    </a:ext>
                  </a:extLst>
                </p:cNvPr>
                <p:cNvSpPr/>
                <p:nvPr/>
              </p:nvSpPr>
              <p:spPr>
                <a:xfrm>
                  <a:off x="5175246" y="5995159"/>
                  <a:ext cx="14822" cy="49947"/>
                </a:xfrm>
                <a:custGeom>
                  <a:avLst/>
                  <a:gdLst>
                    <a:gd name="connsiteX0" fmla="*/ 14822 w 14822"/>
                    <a:gd name="connsiteY0" fmla="*/ 49948 h 49947"/>
                    <a:gd name="connsiteX1" fmla="*/ 7847 w 14822"/>
                    <a:gd name="connsiteY1" fmla="*/ 32510 h 49947"/>
                    <a:gd name="connsiteX2" fmla="*/ 6477 w 14822"/>
                    <a:gd name="connsiteY2" fmla="*/ 15196 h 49947"/>
                    <a:gd name="connsiteX3" fmla="*/ 0 w 14822"/>
                    <a:gd name="connsiteY3" fmla="*/ 0 h 49947"/>
                  </a:gdLst>
                  <a:ahLst/>
                  <a:cxnLst>
                    <a:cxn ang="0">
                      <a:pos x="connsiteX0" y="connsiteY0"/>
                    </a:cxn>
                    <a:cxn ang="0">
                      <a:pos x="connsiteX1" y="connsiteY1"/>
                    </a:cxn>
                    <a:cxn ang="0">
                      <a:pos x="connsiteX2" y="connsiteY2"/>
                    </a:cxn>
                    <a:cxn ang="0">
                      <a:pos x="connsiteX3" y="connsiteY3"/>
                    </a:cxn>
                  </a:cxnLst>
                  <a:rect l="l" t="t" r="r" b="b"/>
                  <a:pathLst>
                    <a:path w="14822" h="49947">
                      <a:moveTo>
                        <a:pt x="14822" y="49948"/>
                      </a:moveTo>
                      <a:cubicBezTo>
                        <a:pt x="10214" y="42848"/>
                        <a:pt x="8595" y="36745"/>
                        <a:pt x="7847" y="32510"/>
                      </a:cubicBezTo>
                      <a:cubicBezTo>
                        <a:pt x="6726" y="25659"/>
                        <a:pt x="7972" y="22047"/>
                        <a:pt x="6477" y="15196"/>
                      </a:cubicBezTo>
                      <a:cubicBezTo>
                        <a:pt x="5107" y="8470"/>
                        <a:pt x="2118"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9" name="Freeform 4274">
                  <a:extLst>
                    <a:ext uri="{FF2B5EF4-FFF2-40B4-BE49-F238E27FC236}">
                      <a16:creationId xmlns:a16="http://schemas.microsoft.com/office/drawing/2014/main" id="{B190B4B3-64A8-868D-BE94-2F197C68D87E}"/>
                    </a:ext>
                  </a:extLst>
                </p:cNvPr>
                <p:cNvSpPr/>
                <p:nvPr/>
              </p:nvSpPr>
              <p:spPr>
                <a:xfrm>
                  <a:off x="5158053" y="5980758"/>
                  <a:ext cx="26663" cy="26487"/>
                </a:xfrm>
                <a:custGeom>
                  <a:avLst/>
                  <a:gdLst>
                    <a:gd name="connsiteX0" fmla="*/ 26161 w 26663"/>
                    <a:gd name="connsiteY0" fmla="*/ 9668 h 26487"/>
                    <a:gd name="connsiteX1" fmla="*/ 16944 w 26663"/>
                    <a:gd name="connsiteY1" fmla="*/ 25985 h 26487"/>
                    <a:gd name="connsiteX2" fmla="*/ 503 w 26663"/>
                    <a:gd name="connsiteY2" fmla="*/ 16768 h 26487"/>
                    <a:gd name="connsiteX3" fmla="*/ 9720 w 26663"/>
                    <a:gd name="connsiteY3" fmla="*/ 451 h 26487"/>
                    <a:gd name="connsiteX4" fmla="*/ 26161 w 26663"/>
                    <a:gd name="connsiteY4" fmla="*/ 9668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487">
                      <a:moveTo>
                        <a:pt x="26161" y="9668"/>
                      </a:moveTo>
                      <a:cubicBezTo>
                        <a:pt x="28154" y="16768"/>
                        <a:pt x="24044" y="23992"/>
                        <a:pt x="16944" y="25985"/>
                      </a:cubicBezTo>
                      <a:cubicBezTo>
                        <a:pt x="9844" y="27978"/>
                        <a:pt x="2496" y="23867"/>
                        <a:pt x="503" y="16768"/>
                      </a:cubicBezTo>
                      <a:cubicBezTo>
                        <a:pt x="-1490" y="9668"/>
                        <a:pt x="2620" y="2443"/>
                        <a:pt x="9720" y="451"/>
                      </a:cubicBezTo>
                      <a:cubicBezTo>
                        <a:pt x="16820" y="-1418"/>
                        <a:pt x="24168" y="2693"/>
                        <a:pt x="26161" y="96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0" name="Freeform 4275">
                  <a:extLst>
                    <a:ext uri="{FF2B5EF4-FFF2-40B4-BE49-F238E27FC236}">
                      <a16:creationId xmlns:a16="http://schemas.microsoft.com/office/drawing/2014/main" id="{EEF53A94-99F1-BE5F-B209-09BF9FB8EACA}"/>
                    </a:ext>
                  </a:extLst>
                </p:cNvPr>
                <p:cNvSpPr/>
                <p:nvPr/>
              </p:nvSpPr>
              <p:spPr>
                <a:xfrm>
                  <a:off x="5192608" y="6053577"/>
                  <a:ext cx="13660" cy="50446"/>
                </a:xfrm>
                <a:custGeom>
                  <a:avLst/>
                  <a:gdLst>
                    <a:gd name="connsiteX0" fmla="*/ 13654 w 13660"/>
                    <a:gd name="connsiteY0" fmla="*/ 50446 h 50446"/>
                    <a:gd name="connsiteX1" fmla="*/ 10415 w 13660"/>
                    <a:gd name="connsiteY1" fmla="*/ 31887 h 50446"/>
                    <a:gd name="connsiteX2" fmla="*/ 2443 w 13660"/>
                    <a:gd name="connsiteY2" fmla="*/ 16317 h 50446"/>
                    <a:gd name="connsiteX3" fmla="*/ 77 w 13660"/>
                    <a:gd name="connsiteY3" fmla="*/ 0 h 50446"/>
                  </a:gdLst>
                  <a:ahLst/>
                  <a:cxnLst>
                    <a:cxn ang="0">
                      <a:pos x="connsiteX0" y="connsiteY0"/>
                    </a:cxn>
                    <a:cxn ang="0">
                      <a:pos x="connsiteX1" y="connsiteY1"/>
                    </a:cxn>
                    <a:cxn ang="0">
                      <a:pos x="connsiteX2" y="connsiteY2"/>
                    </a:cxn>
                    <a:cxn ang="0">
                      <a:pos x="connsiteX3" y="connsiteY3"/>
                    </a:cxn>
                  </a:cxnLst>
                  <a:rect l="l" t="t" r="r" b="b"/>
                  <a:pathLst>
                    <a:path w="13660" h="50446">
                      <a:moveTo>
                        <a:pt x="13654" y="50446"/>
                      </a:moveTo>
                      <a:cubicBezTo>
                        <a:pt x="13778" y="42101"/>
                        <a:pt x="12159" y="35997"/>
                        <a:pt x="10415" y="31887"/>
                      </a:cubicBezTo>
                      <a:cubicBezTo>
                        <a:pt x="7800" y="25410"/>
                        <a:pt x="4935" y="23043"/>
                        <a:pt x="2443" y="16317"/>
                      </a:cubicBezTo>
                      <a:cubicBezTo>
                        <a:pt x="77" y="9840"/>
                        <a:pt x="-172" y="3986"/>
                        <a:pt x="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1" name="Freeform 4276">
                  <a:extLst>
                    <a:ext uri="{FF2B5EF4-FFF2-40B4-BE49-F238E27FC236}">
                      <a16:creationId xmlns:a16="http://schemas.microsoft.com/office/drawing/2014/main" id="{333166D8-83F9-15A7-9E8D-A8D761360254}"/>
                    </a:ext>
                  </a:extLst>
                </p:cNvPr>
                <p:cNvSpPr/>
                <p:nvPr/>
              </p:nvSpPr>
              <p:spPr>
                <a:xfrm>
                  <a:off x="5185958" y="6060801"/>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705"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52" name="Freeform 4277">
                  <a:extLst>
                    <a:ext uri="{FF2B5EF4-FFF2-40B4-BE49-F238E27FC236}">
                      <a16:creationId xmlns:a16="http://schemas.microsoft.com/office/drawing/2014/main" id="{76805C5A-C7F6-3FDC-7695-7F932B06ED0F}"/>
                    </a:ext>
                  </a:extLst>
                </p:cNvPr>
                <p:cNvSpPr/>
                <p:nvPr/>
              </p:nvSpPr>
              <p:spPr>
                <a:xfrm>
                  <a:off x="5191425" y="6098538"/>
                  <a:ext cx="26425" cy="26539"/>
                </a:xfrm>
                <a:custGeom>
                  <a:avLst/>
                  <a:gdLst>
                    <a:gd name="connsiteX0" fmla="*/ 512 w 26425"/>
                    <a:gd name="connsiteY0" fmla="*/ 16820 h 26539"/>
                    <a:gd name="connsiteX1" fmla="*/ 9605 w 26425"/>
                    <a:gd name="connsiteY1" fmla="*/ 503 h 26539"/>
                    <a:gd name="connsiteX2" fmla="*/ 25922 w 26425"/>
                    <a:gd name="connsiteY2" fmla="*/ 9720 h 26539"/>
                    <a:gd name="connsiteX3" fmla="*/ 16830 w 26425"/>
                    <a:gd name="connsiteY3" fmla="*/ 26037 h 26539"/>
                    <a:gd name="connsiteX4" fmla="*/ 512 w 26425"/>
                    <a:gd name="connsiteY4" fmla="*/ 168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4" h="26538">
                      <a:moveTo>
                        <a:pt x="512" y="16820"/>
                      </a:moveTo>
                      <a:cubicBezTo>
                        <a:pt x="-1480" y="9720"/>
                        <a:pt x="2505" y="2495"/>
                        <a:pt x="9605" y="503"/>
                      </a:cubicBezTo>
                      <a:cubicBezTo>
                        <a:pt x="16580" y="-1490"/>
                        <a:pt x="23929" y="2620"/>
                        <a:pt x="25922" y="9720"/>
                      </a:cubicBezTo>
                      <a:cubicBezTo>
                        <a:pt x="27915" y="16820"/>
                        <a:pt x="23805" y="24044"/>
                        <a:pt x="16830" y="26037"/>
                      </a:cubicBezTo>
                      <a:cubicBezTo>
                        <a:pt x="9854" y="28030"/>
                        <a:pt x="2505" y="23919"/>
                        <a:pt x="512"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3" name="Graphic 2987">
                <a:extLst>
                  <a:ext uri="{FF2B5EF4-FFF2-40B4-BE49-F238E27FC236}">
                    <a16:creationId xmlns:a16="http://schemas.microsoft.com/office/drawing/2014/main" id="{D4B87F1C-B129-B3FB-F3E3-BBC0CAD93998}"/>
                  </a:ext>
                </a:extLst>
              </p:cNvPr>
              <p:cNvGrpSpPr/>
              <p:nvPr/>
            </p:nvGrpSpPr>
            <p:grpSpPr>
              <a:xfrm>
                <a:off x="5186702" y="5972735"/>
                <a:ext cx="59423" cy="144443"/>
                <a:chOff x="5186702" y="5972735"/>
                <a:chExt cx="59423" cy="144443"/>
              </a:xfrm>
              <a:grpFill/>
            </p:grpSpPr>
            <p:sp>
              <p:nvSpPr>
                <p:cNvPr id="5141" name="Freeform 4279">
                  <a:extLst>
                    <a:ext uri="{FF2B5EF4-FFF2-40B4-BE49-F238E27FC236}">
                      <a16:creationId xmlns:a16="http://schemas.microsoft.com/office/drawing/2014/main" id="{47C96E69-8296-2782-739E-481C7A7B21AA}"/>
                    </a:ext>
                  </a:extLst>
                </p:cNvPr>
                <p:cNvSpPr/>
                <p:nvPr/>
              </p:nvSpPr>
              <p:spPr>
                <a:xfrm>
                  <a:off x="5198390" y="5993789"/>
                  <a:ext cx="13384" cy="50445"/>
                </a:xfrm>
                <a:custGeom>
                  <a:avLst/>
                  <a:gdLst>
                    <a:gd name="connsiteX0" fmla="*/ 24 w 13384"/>
                    <a:gd name="connsiteY0" fmla="*/ 0 h 50445"/>
                    <a:gd name="connsiteX1" fmla="*/ 3138 w 13384"/>
                    <a:gd name="connsiteY1" fmla="*/ 18559 h 50445"/>
                    <a:gd name="connsiteX2" fmla="*/ 10985 w 13384"/>
                    <a:gd name="connsiteY2" fmla="*/ 34129 h 50445"/>
                    <a:gd name="connsiteX3" fmla="*/ 13352 w 13384"/>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83" h="50445">
                      <a:moveTo>
                        <a:pt x="24" y="0"/>
                      </a:moveTo>
                      <a:cubicBezTo>
                        <a:pt x="-225" y="8470"/>
                        <a:pt x="1519" y="14573"/>
                        <a:pt x="3138" y="18559"/>
                      </a:cubicBezTo>
                      <a:cubicBezTo>
                        <a:pt x="5753" y="25036"/>
                        <a:pt x="8618" y="27403"/>
                        <a:pt x="10985" y="34129"/>
                      </a:cubicBezTo>
                      <a:cubicBezTo>
                        <a:pt x="13352" y="40606"/>
                        <a:pt x="13476" y="46584"/>
                        <a:pt x="133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2" name="Freeform 4280">
                  <a:extLst>
                    <a:ext uri="{FF2B5EF4-FFF2-40B4-BE49-F238E27FC236}">
                      <a16:creationId xmlns:a16="http://schemas.microsoft.com/office/drawing/2014/main" id="{605ACB84-23EF-13B3-C891-AC242A31C463}"/>
                    </a:ext>
                  </a:extLst>
                </p:cNvPr>
                <p:cNvSpPr/>
                <p:nvPr/>
              </p:nvSpPr>
              <p:spPr>
                <a:xfrm>
                  <a:off x="5203895" y="5987063"/>
                  <a:ext cx="14697" cy="50072"/>
                </a:xfrm>
                <a:custGeom>
                  <a:avLst/>
                  <a:gdLst>
                    <a:gd name="connsiteX0" fmla="*/ 14698 w 14697"/>
                    <a:gd name="connsiteY0" fmla="*/ 50072 h 50072"/>
                    <a:gd name="connsiteX1" fmla="*/ 7723 w 14697"/>
                    <a:gd name="connsiteY1" fmla="*/ 32634 h 50072"/>
                    <a:gd name="connsiteX2" fmla="*/ 6477 w 14697"/>
                    <a:gd name="connsiteY2" fmla="*/ 15196 h 50072"/>
                    <a:gd name="connsiteX3" fmla="*/ 0 w 14697"/>
                    <a:gd name="connsiteY3" fmla="*/ 0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50072"/>
                      </a:moveTo>
                      <a:cubicBezTo>
                        <a:pt x="10089" y="42973"/>
                        <a:pt x="8470" y="36869"/>
                        <a:pt x="7723" y="32634"/>
                      </a:cubicBezTo>
                      <a:cubicBezTo>
                        <a:pt x="6602" y="25784"/>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3" name="Freeform 4281">
                  <a:extLst>
                    <a:ext uri="{FF2B5EF4-FFF2-40B4-BE49-F238E27FC236}">
                      <a16:creationId xmlns:a16="http://schemas.microsoft.com/office/drawing/2014/main" id="{99ACA813-9CF5-63A2-5F5D-3345BFAA8ADE}"/>
                    </a:ext>
                  </a:extLst>
                </p:cNvPr>
                <p:cNvSpPr/>
                <p:nvPr/>
              </p:nvSpPr>
              <p:spPr>
                <a:xfrm>
                  <a:off x="5186702" y="5972735"/>
                  <a:ext cx="26655" cy="26539"/>
                </a:xfrm>
                <a:custGeom>
                  <a:avLst/>
                  <a:gdLst>
                    <a:gd name="connsiteX0" fmla="*/ 26161 w 26655"/>
                    <a:gd name="connsiteY0" fmla="*/ 9720 h 26539"/>
                    <a:gd name="connsiteX1" fmla="*/ 16944 w 26655"/>
                    <a:gd name="connsiteY1" fmla="*/ 26037 h 26539"/>
                    <a:gd name="connsiteX2" fmla="*/ 503 w 26655"/>
                    <a:gd name="connsiteY2" fmla="*/ 16820 h 26539"/>
                    <a:gd name="connsiteX3" fmla="*/ 9720 w 26655"/>
                    <a:gd name="connsiteY3" fmla="*/ 503 h 26539"/>
                    <a:gd name="connsiteX4" fmla="*/ 26161 w 26655"/>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8">
                      <a:moveTo>
                        <a:pt x="26161" y="9720"/>
                      </a:moveTo>
                      <a:cubicBezTo>
                        <a:pt x="28154" y="16820"/>
                        <a:pt x="23919" y="24044"/>
                        <a:pt x="16944" y="26037"/>
                      </a:cubicBezTo>
                      <a:cubicBezTo>
                        <a:pt x="9844" y="28030"/>
                        <a:pt x="2495" y="23919"/>
                        <a:pt x="503" y="16820"/>
                      </a:cubicBezTo>
                      <a:cubicBezTo>
                        <a:pt x="-1490" y="9720"/>
                        <a:pt x="2620" y="2496"/>
                        <a:pt x="9720" y="503"/>
                      </a:cubicBezTo>
                      <a:cubicBezTo>
                        <a:pt x="16820" y="-1490"/>
                        <a:pt x="24168" y="2620"/>
                        <a:pt x="26161"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4" name="Freeform 4282">
                  <a:extLst>
                    <a:ext uri="{FF2B5EF4-FFF2-40B4-BE49-F238E27FC236}">
                      <a16:creationId xmlns:a16="http://schemas.microsoft.com/office/drawing/2014/main" id="{CC452703-877E-A8D2-AECA-1996892D76DD}"/>
                    </a:ext>
                  </a:extLst>
                </p:cNvPr>
                <p:cNvSpPr/>
                <p:nvPr/>
              </p:nvSpPr>
              <p:spPr>
                <a:xfrm>
                  <a:off x="5221176" y="6045605"/>
                  <a:ext cx="13384" cy="50445"/>
                </a:xfrm>
                <a:custGeom>
                  <a:avLst/>
                  <a:gdLst>
                    <a:gd name="connsiteX0" fmla="*/ 13360 w 13384"/>
                    <a:gd name="connsiteY0" fmla="*/ 50446 h 50445"/>
                    <a:gd name="connsiteX1" fmla="*/ 10246 w 13384"/>
                    <a:gd name="connsiteY1" fmla="*/ 31887 h 50445"/>
                    <a:gd name="connsiteX2" fmla="*/ 2399 w 13384"/>
                    <a:gd name="connsiteY2" fmla="*/ 16317 h 50445"/>
                    <a:gd name="connsiteX3" fmla="*/ 3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13360" y="50446"/>
                      </a:moveTo>
                      <a:cubicBezTo>
                        <a:pt x="13609" y="41976"/>
                        <a:pt x="11866" y="35873"/>
                        <a:pt x="10246" y="31887"/>
                      </a:cubicBezTo>
                      <a:cubicBezTo>
                        <a:pt x="7631" y="25410"/>
                        <a:pt x="4766" y="23043"/>
                        <a:pt x="2399" y="16317"/>
                      </a:cubicBezTo>
                      <a:cubicBezTo>
                        <a:pt x="32" y="9840"/>
                        <a:pt x="-92" y="3861"/>
                        <a:pt x="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5" name="Freeform 4283">
                  <a:extLst>
                    <a:ext uri="{FF2B5EF4-FFF2-40B4-BE49-F238E27FC236}">
                      <a16:creationId xmlns:a16="http://schemas.microsoft.com/office/drawing/2014/main" id="{88E82C3C-89F5-02F7-CB24-B1422DCEF095}"/>
                    </a:ext>
                  </a:extLst>
                </p:cNvPr>
                <p:cNvSpPr/>
                <p:nvPr/>
              </p:nvSpPr>
              <p:spPr>
                <a:xfrm>
                  <a:off x="5214482" y="6052830"/>
                  <a:ext cx="14822" cy="49947"/>
                </a:xfrm>
                <a:custGeom>
                  <a:avLst/>
                  <a:gdLst>
                    <a:gd name="connsiteX0" fmla="*/ 0 w 14822"/>
                    <a:gd name="connsiteY0" fmla="*/ 0 h 49947"/>
                    <a:gd name="connsiteX1" fmla="*/ 6975 w 14822"/>
                    <a:gd name="connsiteY1" fmla="*/ 17438 h 49947"/>
                    <a:gd name="connsiteX2" fmla="*/ 8345 w 14822"/>
                    <a:gd name="connsiteY2" fmla="*/ 34752 h 49947"/>
                    <a:gd name="connsiteX3" fmla="*/ 14822 w 14822"/>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822" h="49947">
                      <a:moveTo>
                        <a:pt x="0" y="0"/>
                      </a:moveTo>
                      <a:cubicBezTo>
                        <a:pt x="4609" y="7100"/>
                        <a:pt x="6228" y="13203"/>
                        <a:pt x="6975" y="17438"/>
                      </a:cubicBezTo>
                      <a:cubicBezTo>
                        <a:pt x="8096" y="24289"/>
                        <a:pt x="6851" y="27901"/>
                        <a:pt x="8345" y="34752"/>
                      </a:cubicBezTo>
                      <a:cubicBezTo>
                        <a:pt x="9715" y="41478"/>
                        <a:pt x="12580" y="46709"/>
                        <a:pt x="14822"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6" name="Freeform 4284">
                  <a:extLst>
                    <a:ext uri="{FF2B5EF4-FFF2-40B4-BE49-F238E27FC236}">
                      <a16:creationId xmlns:a16="http://schemas.microsoft.com/office/drawing/2014/main" id="{0DE8315D-9196-A110-41C2-94F83B9AAA03}"/>
                    </a:ext>
                  </a:extLst>
                </p:cNvPr>
                <p:cNvSpPr/>
                <p:nvPr/>
              </p:nvSpPr>
              <p:spPr>
                <a:xfrm>
                  <a:off x="5219833" y="6090691"/>
                  <a:ext cx="26291" cy="26487"/>
                </a:xfrm>
                <a:custGeom>
                  <a:avLst/>
                  <a:gdLst>
                    <a:gd name="connsiteX0" fmla="*/ 503 w 26291"/>
                    <a:gd name="connsiteY0" fmla="*/ 16820 h 26487"/>
                    <a:gd name="connsiteX1" fmla="*/ 9596 w 26291"/>
                    <a:gd name="connsiteY1" fmla="*/ 503 h 26487"/>
                    <a:gd name="connsiteX2" fmla="*/ 25789 w 26291"/>
                    <a:gd name="connsiteY2" fmla="*/ 9720 h 26487"/>
                    <a:gd name="connsiteX3" fmla="*/ 16696 w 26291"/>
                    <a:gd name="connsiteY3" fmla="*/ 26037 h 26487"/>
                    <a:gd name="connsiteX4" fmla="*/ 503 w 26291"/>
                    <a:gd name="connsiteY4" fmla="*/ 16820 h 2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487">
                      <a:moveTo>
                        <a:pt x="503" y="16820"/>
                      </a:moveTo>
                      <a:cubicBezTo>
                        <a:pt x="-1490" y="9720"/>
                        <a:pt x="2621" y="2496"/>
                        <a:pt x="9596" y="503"/>
                      </a:cubicBezTo>
                      <a:cubicBezTo>
                        <a:pt x="16571" y="-1490"/>
                        <a:pt x="23920" y="2620"/>
                        <a:pt x="25789" y="9720"/>
                      </a:cubicBezTo>
                      <a:cubicBezTo>
                        <a:pt x="27781" y="16820"/>
                        <a:pt x="23671" y="24044"/>
                        <a:pt x="16696" y="26037"/>
                      </a:cubicBezTo>
                      <a:cubicBezTo>
                        <a:pt x="9721" y="27905"/>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4" name="Graphic 2987">
                <a:extLst>
                  <a:ext uri="{FF2B5EF4-FFF2-40B4-BE49-F238E27FC236}">
                    <a16:creationId xmlns:a16="http://schemas.microsoft.com/office/drawing/2014/main" id="{7DF20CD5-3E65-D21C-7DDF-428666DF7688}"/>
                  </a:ext>
                </a:extLst>
              </p:cNvPr>
              <p:cNvGrpSpPr/>
              <p:nvPr/>
            </p:nvGrpSpPr>
            <p:grpSpPr>
              <a:xfrm>
                <a:off x="5215402" y="5964639"/>
                <a:ext cx="58997" cy="144611"/>
                <a:chOff x="5215402" y="5964639"/>
                <a:chExt cx="58997" cy="144611"/>
              </a:xfrm>
              <a:grpFill/>
            </p:grpSpPr>
            <p:sp>
              <p:nvSpPr>
                <p:cNvPr id="5135" name="Freeform 4286">
                  <a:extLst>
                    <a:ext uri="{FF2B5EF4-FFF2-40B4-BE49-F238E27FC236}">
                      <a16:creationId xmlns:a16="http://schemas.microsoft.com/office/drawing/2014/main" id="{71738895-3C91-20E3-CA89-6418F086AA4A}"/>
                    </a:ext>
                  </a:extLst>
                </p:cNvPr>
                <p:cNvSpPr/>
                <p:nvPr/>
              </p:nvSpPr>
              <p:spPr>
                <a:xfrm>
                  <a:off x="5227038" y="5985818"/>
                  <a:ext cx="13317" cy="50446"/>
                </a:xfrm>
                <a:custGeom>
                  <a:avLst/>
                  <a:gdLst>
                    <a:gd name="connsiteX0" fmla="*/ 24 w 13317"/>
                    <a:gd name="connsiteY0" fmla="*/ 0 h 50446"/>
                    <a:gd name="connsiteX1" fmla="*/ 3138 w 13317"/>
                    <a:gd name="connsiteY1" fmla="*/ 18559 h 50446"/>
                    <a:gd name="connsiteX2" fmla="*/ 10985 w 13317"/>
                    <a:gd name="connsiteY2" fmla="*/ 34129 h 50446"/>
                    <a:gd name="connsiteX3" fmla="*/ 13227 w 13317"/>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17" h="50446">
                      <a:moveTo>
                        <a:pt x="24" y="0"/>
                      </a:moveTo>
                      <a:cubicBezTo>
                        <a:pt x="-225" y="8470"/>
                        <a:pt x="1519" y="14573"/>
                        <a:pt x="3138" y="18559"/>
                      </a:cubicBezTo>
                      <a:cubicBezTo>
                        <a:pt x="5753" y="25036"/>
                        <a:pt x="8618" y="27403"/>
                        <a:pt x="10985" y="34129"/>
                      </a:cubicBezTo>
                      <a:cubicBezTo>
                        <a:pt x="13352" y="40606"/>
                        <a:pt x="13476" y="46585"/>
                        <a:pt x="13227"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6" name="Freeform 4287">
                  <a:extLst>
                    <a:ext uri="{FF2B5EF4-FFF2-40B4-BE49-F238E27FC236}">
                      <a16:creationId xmlns:a16="http://schemas.microsoft.com/office/drawing/2014/main" id="{8AD9F5F4-529D-C4A4-4D04-8D4A768C7100}"/>
                    </a:ext>
                  </a:extLst>
                </p:cNvPr>
                <p:cNvSpPr/>
                <p:nvPr/>
              </p:nvSpPr>
              <p:spPr>
                <a:xfrm>
                  <a:off x="5232418" y="5978967"/>
                  <a:ext cx="14573" cy="50072"/>
                </a:xfrm>
                <a:custGeom>
                  <a:avLst/>
                  <a:gdLst>
                    <a:gd name="connsiteX0" fmla="*/ 14573 w 14573"/>
                    <a:gd name="connsiteY0" fmla="*/ 50072 h 50072"/>
                    <a:gd name="connsiteX1" fmla="*/ 7723 w 14573"/>
                    <a:gd name="connsiteY1" fmla="*/ 32634 h 50072"/>
                    <a:gd name="connsiteX2" fmla="*/ 6477 w 14573"/>
                    <a:gd name="connsiteY2" fmla="*/ 15196 h 50072"/>
                    <a:gd name="connsiteX3" fmla="*/ 0 w 14573"/>
                    <a:gd name="connsiteY3" fmla="*/ 0 h 50072"/>
                  </a:gdLst>
                  <a:ahLst/>
                  <a:cxnLst>
                    <a:cxn ang="0">
                      <a:pos x="connsiteX0" y="connsiteY0"/>
                    </a:cxn>
                    <a:cxn ang="0">
                      <a:pos x="connsiteX1" y="connsiteY1"/>
                    </a:cxn>
                    <a:cxn ang="0">
                      <a:pos x="connsiteX2" y="connsiteY2"/>
                    </a:cxn>
                    <a:cxn ang="0">
                      <a:pos x="connsiteX3" y="connsiteY3"/>
                    </a:cxn>
                  </a:cxnLst>
                  <a:rect l="l" t="t" r="r" b="b"/>
                  <a:pathLst>
                    <a:path w="14573" h="50072">
                      <a:moveTo>
                        <a:pt x="14573" y="50072"/>
                      </a:moveTo>
                      <a:cubicBezTo>
                        <a:pt x="10090" y="42973"/>
                        <a:pt x="8346" y="36869"/>
                        <a:pt x="7723" y="32634"/>
                      </a:cubicBezTo>
                      <a:cubicBezTo>
                        <a:pt x="6602" y="25659"/>
                        <a:pt x="7847" y="22171"/>
                        <a:pt x="6477"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7" name="Freeform 4288">
                  <a:extLst>
                    <a:ext uri="{FF2B5EF4-FFF2-40B4-BE49-F238E27FC236}">
                      <a16:creationId xmlns:a16="http://schemas.microsoft.com/office/drawing/2014/main" id="{E81CBE68-859B-3107-0559-8C073EF4D96E}"/>
                    </a:ext>
                  </a:extLst>
                </p:cNvPr>
                <p:cNvSpPr/>
                <p:nvPr/>
              </p:nvSpPr>
              <p:spPr>
                <a:xfrm>
                  <a:off x="5215402" y="5964639"/>
                  <a:ext cx="26601" cy="26539"/>
                </a:xfrm>
                <a:custGeom>
                  <a:avLst/>
                  <a:gdLst>
                    <a:gd name="connsiteX0" fmla="*/ 26109 w 26601"/>
                    <a:gd name="connsiteY0" fmla="*/ 9720 h 26539"/>
                    <a:gd name="connsiteX1" fmla="*/ 16767 w 26601"/>
                    <a:gd name="connsiteY1" fmla="*/ 26037 h 26539"/>
                    <a:gd name="connsiteX2" fmla="*/ 450 w 26601"/>
                    <a:gd name="connsiteY2" fmla="*/ 16820 h 26539"/>
                    <a:gd name="connsiteX3" fmla="*/ 9792 w 26601"/>
                    <a:gd name="connsiteY3" fmla="*/ 503 h 26539"/>
                    <a:gd name="connsiteX4" fmla="*/ 26109 w 26601"/>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538">
                      <a:moveTo>
                        <a:pt x="26109" y="9720"/>
                      </a:moveTo>
                      <a:cubicBezTo>
                        <a:pt x="28102" y="16820"/>
                        <a:pt x="23867" y="24168"/>
                        <a:pt x="16767" y="26037"/>
                      </a:cubicBezTo>
                      <a:cubicBezTo>
                        <a:pt x="9667" y="28030"/>
                        <a:pt x="2318" y="23919"/>
                        <a:pt x="450" y="16820"/>
                      </a:cubicBezTo>
                      <a:cubicBezTo>
                        <a:pt x="-1418" y="9720"/>
                        <a:pt x="2692" y="2495"/>
                        <a:pt x="9792" y="503"/>
                      </a:cubicBezTo>
                      <a:cubicBezTo>
                        <a:pt x="16767" y="-1490"/>
                        <a:pt x="24116" y="2620"/>
                        <a:pt x="26109"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8" name="Freeform 4289">
                  <a:extLst>
                    <a:ext uri="{FF2B5EF4-FFF2-40B4-BE49-F238E27FC236}">
                      <a16:creationId xmlns:a16="http://schemas.microsoft.com/office/drawing/2014/main" id="{83AEE965-C0CC-E456-57AD-F5C2B08CCEDF}"/>
                    </a:ext>
                  </a:extLst>
                </p:cNvPr>
                <p:cNvSpPr/>
                <p:nvPr/>
              </p:nvSpPr>
              <p:spPr>
                <a:xfrm>
                  <a:off x="5249517" y="6037758"/>
                  <a:ext cx="13317" cy="50445"/>
                </a:xfrm>
                <a:custGeom>
                  <a:avLst/>
                  <a:gdLst>
                    <a:gd name="connsiteX0" fmla="*/ 13293 w 13317"/>
                    <a:gd name="connsiteY0" fmla="*/ 50446 h 50445"/>
                    <a:gd name="connsiteX1" fmla="*/ 10179 w 13317"/>
                    <a:gd name="connsiteY1" fmla="*/ 31887 h 50445"/>
                    <a:gd name="connsiteX2" fmla="*/ 2333 w 13317"/>
                    <a:gd name="connsiteY2" fmla="*/ 16317 h 50445"/>
                    <a:gd name="connsiteX3" fmla="*/ 90 w 13317"/>
                    <a:gd name="connsiteY3" fmla="*/ 0 h 50445"/>
                  </a:gdLst>
                  <a:ahLst/>
                  <a:cxnLst>
                    <a:cxn ang="0">
                      <a:pos x="connsiteX0" y="connsiteY0"/>
                    </a:cxn>
                    <a:cxn ang="0">
                      <a:pos x="connsiteX1" y="connsiteY1"/>
                    </a:cxn>
                    <a:cxn ang="0">
                      <a:pos x="connsiteX2" y="connsiteY2"/>
                    </a:cxn>
                    <a:cxn ang="0">
                      <a:pos x="connsiteX3" y="connsiteY3"/>
                    </a:cxn>
                  </a:cxnLst>
                  <a:rect l="l" t="t" r="r" b="b"/>
                  <a:pathLst>
                    <a:path w="13317" h="50445">
                      <a:moveTo>
                        <a:pt x="13293" y="50446"/>
                      </a:moveTo>
                      <a:cubicBezTo>
                        <a:pt x="13543" y="41976"/>
                        <a:pt x="11799" y="35873"/>
                        <a:pt x="10179" y="31887"/>
                      </a:cubicBezTo>
                      <a:cubicBezTo>
                        <a:pt x="7564" y="25410"/>
                        <a:pt x="4699" y="23043"/>
                        <a:pt x="2333" y="16317"/>
                      </a:cubicBezTo>
                      <a:cubicBezTo>
                        <a:pt x="-34" y="9840"/>
                        <a:pt x="-159" y="3861"/>
                        <a:pt x="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9" name="Freeform 4290">
                  <a:extLst>
                    <a:ext uri="{FF2B5EF4-FFF2-40B4-BE49-F238E27FC236}">
                      <a16:creationId xmlns:a16="http://schemas.microsoft.com/office/drawing/2014/main" id="{E5C61080-4DB2-F417-10D0-D7F62B4D5025}"/>
                    </a:ext>
                  </a:extLst>
                </p:cNvPr>
                <p:cNvSpPr/>
                <p:nvPr/>
              </p:nvSpPr>
              <p:spPr>
                <a:xfrm>
                  <a:off x="5242881" y="6044858"/>
                  <a:ext cx="14573" cy="50072"/>
                </a:xfrm>
                <a:custGeom>
                  <a:avLst/>
                  <a:gdLst>
                    <a:gd name="connsiteX0" fmla="*/ 0 w 14573"/>
                    <a:gd name="connsiteY0" fmla="*/ 0 h 50072"/>
                    <a:gd name="connsiteX1" fmla="*/ 6851 w 14573"/>
                    <a:gd name="connsiteY1" fmla="*/ 17438 h 50072"/>
                    <a:gd name="connsiteX2" fmla="*/ 8096 w 14573"/>
                    <a:gd name="connsiteY2" fmla="*/ 34876 h 50072"/>
                    <a:gd name="connsiteX3" fmla="*/ 14573 w 14573"/>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73" h="50072">
                      <a:moveTo>
                        <a:pt x="0" y="0"/>
                      </a:moveTo>
                      <a:cubicBezTo>
                        <a:pt x="4484" y="7100"/>
                        <a:pt x="6228" y="13203"/>
                        <a:pt x="6851" y="17438"/>
                      </a:cubicBezTo>
                      <a:cubicBezTo>
                        <a:pt x="7971" y="24413"/>
                        <a:pt x="6726" y="27901"/>
                        <a:pt x="8096" y="34876"/>
                      </a:cubicBezTo>
                      <a:cubicBezTo>
                        <a:pt x="9466" y="41602"/>
                        <a:pt x="12331" y="46833"/>
                        <a:pt x="14573"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40" name="Freeform 4291">
                  <a:extLst>
                    <a:ext uri="{FF2B5EF4-FFF2-40B4-BE49-F238E27FC236}">
                      <a16:creationId xmlns:a16="http://schemas.microsoft.com/office/drawing/2014/main" id="{BCA72631-ECFA-FBF9-5CC4-69283E009365}"/>
                    </a:ext>
                  </a:extLst>
                </p:cNvPr>
                <p:cNvSpPr/>
                <p:nvPr/>
              </p:nvSpPr>
              <p:spPr>
                <a:xfrm>
                  <a:off x="5248108" y="6082719"/>
                  <a:ext cx="26291" cy="26530"/>
                </a:xfrm>
                <a:custGeom>
                  <a:avLst/>
                  <a:gdLst>
                    <a:gd name="connsiteX0" fmla="*/ 503 w 26291"/>
                    <a:gd name="connsiteY0" fmla="*/ 16820 h 26530"/>
                    <a:gd name="connsiteX1" fmla="*/ 9596 w 26291"/>
                    <a:gd name="connsiteY1" fmla="*/ 503 h 26530"/>
                    <a:gd name="connsiteX2" fmla="*/ 25788 w 26291"/>
                    <a:gd name="connsiteY2" fmla="*/ 9720 h 26530"/>
                    <a:gd name="connsiteX3" fmla="*/ 16696 w 26291"/>
                    <a:gd name="connsiteY3" fmla="*/ 26037 h 26530"/>
                    <a:gd name="connsiteX4" fmla="*/ 503 w 26291"/>
                    <a:gd name="connsiteY4" fmla="*/ 16820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0">
                      <a:moveTo>
                        <a:pt x="503" y="16820"/>
                      </a:moveTo>
                      <a:cubicBezTo>
                        <a:pt x="-1490" y="9720"/>
                        <a:pt x="2620" y="2496"/>
                        <a:pt x="9596" y="503"/>
                      </a:cubicBezTo>
                      <a:cubicBezTo>
                        <a:pt x="16571" y="-1490"/>
                        <a:pt x="23920" y="2620"/>
                        <a:pt x="25788" y="9720"/>
                      </a:cubicBezTo>
                      <a:cubicBezTo>
                        <a:pt x="27781" y="16820"/>
                        <a:pt x="23671" y="24044"/>
                        <a:pt x="16696" y="26037"/>
                      </a:cubicBezTo>
                      <a:cubicBezTo>
                        <a:pt x="9720" y="28030"/>
                        <a:pt x="2496" y="23795"/>
                        <a:pt x="503" y="168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5" name="Graphic 2987">
                <a:extLst>
                  <a:ext uri="{FF2B5EF4-FFF2-40B4-BE49-F238E27FC236}">
                    <a16:creationId xmlns:a16="http://schemas.microsoft.com/office/drawing/2014/main" id="{31D9454C-D455-FBF1-BF75-E7711A8E8631}"/>
                  </a:ext>
                </a:extLst>
              </p:cNvPr>
              <p:cNvGrpSpPr/>
              <p:nvPr/>
            </p:nvGrpSpPr>
            <p:grpSpPr>
              <a:xfrm>
                <a:off x="5244007" y="5956603"/>
                <a:ext cx="58738" cy="144683"/>
                <a:chOff x="5244007" y="5956603"/>
                <a:chExt cx="58738" cy="144683"/>
              </a:xfrm>
              <a:grpFill/>
            </p:grpSpPr>
            <p:sp>
              <p:nvSpPr>
                <p:cNvPr id="5129" name="Freeform 4293">
                  <a:extLst>
                    <a:ext uri="{FF2B5EF4-FFF2-40B4-BE49-F238E27FC236}">
                      <a16:creationId xmlns:a16="http://schemas.microsoft.com/office/drawing/2014/main" id="{8C1709B3-C261-54C0-7381-6E2763375EBF}"/>
                    </a:ext>
                  </a:extLst>
                </p:cNvPr>
                <p:cNvSpPr/>
                <p:nvPr/>
              </p:nvSpPr>
              <p:spPr>
                <a:xfrm>
                  <a:off x="5255685" y="5977721"/>
                  <a:ext cx="13181" cy="50446"/>
                </a:xfrm>
                <a:custGeom>
                  <a:avLst/>
                  <a:gdLst>
                    <a:gd name="connsiteX0" fmla="*/ 26 w 13181"/>
                    <a:gd name="connsiteY0" fmla="*/ 0 h 50446"/>
                    <a:gd name="connsiteX1" fmla="*/ 3015 w 13181"/>
                    <a:gd name="connsiteY1" fmla="*/ 18559 h 50446"/>
                    <a:gd name="connsiteX2" fmla="*/ 10862 w 13181"/>
                    <a:gd name="connsiteY2" fmla="*/ 34129 h 50446"/>
                    <a:gd name="connsiteX3" fmla="*/ 13104 w 13181"/>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181" h="50446">
                      <a:moveTo>
                        <a:pt x="26" y="0"/>
                      </a:moveTo>
                      <a:cubicBezTo>
                        <a:pt x="-224" y="8470"/>
                        <a:pt x="1395" y="14573"/>
                        <a:pt x="3015" y="18559"/>
                      </a:cubicBezTo>
                      <a:cubicBezTo>
                        <a:pt x="5630" y="25036"/>
                        <a:pt x="8495" y="27403"/>
                        <a:pt x="10862" y="34129"/>
                      </a:cubicBezTo>
                      <a:cubicBezTo>
                        <a:pt x="13104" y="40606"/>
                        <a:pt x="13353" y="46585"/>
                        <a:pt x="13104"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0" name="Freeform 4294">
                  <a:extLst>
                    <a:ext uri="{FF2B5EF4-FFF2-40B4-BE49-F238E27FC236}">
                      <a16:creationId xmlns:a16="http://schemas.microsoft.com/office/drawing/2014/main" id="{54856DF0-067B-FF65-6DC7-4A2B7C22A485}"/>
                    </a:ext>
                  </a:extLst>
                </p:cNvPr>
                <p:cNvSpPr/>
                <p:nvPr/>
              </p:nvSpPr>
              <p:spPr>
                <a:xfrm>
                  <a:off x="5261067" y="5970996"/>
                  <a:ext cx="14448" cy="50072"/>
                </a:xfrm>
                <a:custGeom>
                  <a:avLst/>
                  <a:gdLst>
                    <a:gd name="connsiteX0" fmla="*/ 14449 w 14448"/>
                    <a:gd name="connsiteY0" fmla="*/ 50072 h 50072"/>
                    <a:gd name="connsiteX1" fmla="*/ 7598 w 14448"/>
                    <a:gd name="connsiteY1" fmla="*/ 32509 h 50072"/>
                    <a:gd name="connsiteX2" fmla="*/ 6353 w 14448"/>
                    <a:gd name="connsiteY2" fmla="*/ 15196 h 50072"/>
                    <a:gd name="connsiteX3" fmla="*/ 0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14449" y="50072"/>
                      </a:moveTo>
                      <a:cubicBezTo>
                        <a:pt x="9964" y="42972"/>
                        <a:pt x="8345" y="36869"/>
                        <a:pt x="7598" y="32509"/>
                      </a:cubicBezTo>
                      <a:cubicBezTo>
                        <a:pt x="6477" y="25534"/>
                        <a:pt x="7723" y="22047"/>
                        <a:pt x="6353" y="15196"/>
                      </a:cubicBezTo>
                      <a:cubicBezTo>
                        <a:pt x="4982" y="8470"/>
                        <a:pt x="2117"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1" name="Freeform 4295">
                  <a:extLst>
                    <a:ext uri="{FF2B5EF4-FFF2-40B4-BE49-F238E27FC236}">
                      <a16:creationId xmlns:a16="http://schemas.microsoft.com/office/drawing/2014/main" id="{6B9F2A4F-490A-B027-533E-6BAC82FDA0E8}"/>
                    </a:ext>
                  </a:extLst>
                </p:cNvPr>
                <p:cNvSpPr/>
                <p:nvPr/>
              </p:nvSpPr>
              <p:spPr>
                <a:xfrm>
                  <a:off x="5244007" y="5956603"/>
                  <a:ext cx="26601" cy="26602"/>
                </a:xfrm>
                <a:custGeom>
                  <a:avLst/>
                  <a:gdLst>
                    <a:gd name="connsiteX0" fmla="*/ 26152 w 26601"/>
                    <a:gd name="connsiteY0" fmla="*/ 9908 h 26602"/>
                    <a:gd name="connsiteX1" fmla="*/ 16810 w 26601"/>
                    <a:gd name="connsiteY1" fmla="*/ 26100 h 26602"/>
                    <a:gd name="connsiteX2" fmla="*/ 493 w 26601"/>
                    <a:gd name="connsiteY2" fmla="*/ 16883 h 26602"/>
                    <a:gd name="connsiteX3" fmla="*/ 9835 w 26601"/>
                    <a:gd name="connsiteY3" fmla="*/ 441 h 26602"/>
                    <a:gd name="connsiteX4" fmla="*/ 26152 w 26601"/>
                    <a:gd name="connsiteY4" fmla="*/ 9908 h 2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602">
                      <a:moveTo>
                        <a:pt x="26152" y="9908"/>
                      </a:moveTo>
                      <a:cubicBezTo>
                        <a:pt x="28020" y="17008"/>
                        <a:pt x="23910" y="24232"/>
                        <a:pt x="16810" y="26100"/>
                      </a:cubicBezTo>
                      <a:cubicBezTo>
                        <a:pt x="9710" y="28093"/>
                        <a:pt x="2486" y="23983"/>
                        <a:pt x="493" y="16883"/>
                      </a:cubicBezTo>
                      <a:cubicBezTo>
                        <a:pt x="-1500" y="9783"/>
                        <a:pt x="2735" y="2434"/>
                        <a:pt x="9835" y="441"/>
                      </a:cubicBezTo>
                      <a:cubicBezTo>
                        <a:pt x="16935" y="-1427"/>
                        <a:pt x="24283" y="2808"/>
                        <a:pt x="2615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2" name="Freeform 4296">
                  <a:extLst>
                    <a:ext uri="{FF2B5EF4-FFF2-40B4-BE49-F238E27FC236}">
                      <a16:creationId xmlns:a16="http://schemas.microsoft.com/office/drawing/2014/main" id="{27A57B24-A707-7ADA-B957-ADD30C9D58B2}"/>
                    </a:ext>
                  </a:extLst>
                </p:cNvPr>
                <p:cNvSpPr/>
                <p:nvPr/>
              </p:nvSpPr>
              <p:spPr>
                <a:xfrm>
                  <a:off x="5278178" y="6029787"/>
                  <a:ext cx="13057" cy="50445"/>
                </a:xfrm>
                <a:custGeom>
                  <a:avLst/>
                  <a:gdLst>
                    <a:gd name="connsiteX0" fmla="*/ 13032 w 13057"/>
                    <a:gd name="connsiteY0" fmla="*/ 50446 h 50445"/>
                    <a:gd name="connsiteX1" fmla="*/ 10042 w 13057"/>
                    <a:gd name="connsiteY1" fmla="*/ 31887 h 50445"/>
                    <a:gd name="connsiteX2" fmla="*/ 2320 w 13057"/>
                    <a:gd name="connsiteY2" fmla="*/ 16317 h 50445"/>
                    <a:gd name="connsiteX3" fmla="*/ 78 w 13057"/>
                    <a:gd name="connsiteY3" fmla="*/ 0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50446"/>
                      </a:moveTo>
                      <a:cubicBezTo>
                        <a:pt x="13281" y="42100"/>
                        <a:pt x="11662" y="35997"/>
                        <a:pt x="10042" y="31887"/>
                      </a:cubicBezTo>
                      <a:cubicBezTo>
                        <a:pt x="7427" y="25409"/>
                        <a:pt x="4562" y="22919"/>
                        <a:pt x="2320" y="16317"/>
                      </a:cubicBezTo>
                      <a:cubicBezTo>
                        <a:pt x="78" y="9840"/>
                        <a:pt x="-171" y="3861"/>
                        <a:pt x="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3" name="Freeform 4297">
                  <a:extLst>
                    <a:ext uri="{FF2B5EF4-FFF2-40B4-BE49-F238E27FC236}">
                      <a16:creationId xmlns:a16="http://schemas.microsoft.com/office/drawing/2014/main" id="{B182D7BE-1576-5272-866C-0B0ACEF65D24}"/>
                    </a:ext>
                  </a:extLst>
                </p:cNvPr>
                <p:cNvSpPr/>
                <p:nvPr/>
              </p:nvSpPr>
              <p:spPr>
                <a:xfrm>
                  <a:off x="5271405" y="6036886"/>
                  <a:ext cx="14448" cy="50196"/>
                </a:xfrm>
                <a:custGeom>
                  <a:avLst/>
                  <a:gdLst>
                    <a:gd name="connsiteX0" fmla="*/ 0 w 14448"/>
                    <a:gd name="connsiteY0" fmla="*/ 0 h 50196"/>
                    <a:gd name="connsiteX1" fmla="*/ 6851 w 14448"/>
                    <a:gd name="connsiteY1" fmla="*/ 17563 h 50196"/>
                    <a:gd name="connsiteX2" fmla="*/ 8096 w 14448"/>
                    <a:gd name="connsiteY2" fmla="*/ 35001 h 50196"/>
                    <a:gd name="connsiteX3" fmla="*/ 14449 w 14448"/>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448" h="50196">
                      <a:moveTo>
                        <a:pt x="0" y="0"/>
                      </a:moveTo>
                      <a:cubicBezTo>
                        <a:pt x="4484" y="7100"/>
                        <a:pt x="6104" y="13203"/>
                        <a:pt x="6851" y="17563"/>
                      </a:cubicBezTo>
                      <a:cubicBezTo>
                        <a:pt x="7972" y="24538"/>
                        <a:pt x="6726" y="28025"/>
                        <a:pt x="8096" y="35001"/>
                      </a:cubicBezTo>
                      <a:cubicBezTo>
                        <a:pt x="9467" y="41727"/>
                        <a:pt x="12331" y="46958"/>
                        <a:pt x="14449"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34" name="Freeform 4298">
                  <a:extLst>
                    <a:ext uri="{FF2B5EF4-FFF2-40B4-BE49-F238E27FC236}">
                      <a16:creationId xmlns:a16="http://schemas.microsoft.com/office/drawing/2014/main" id="{07537DDA-2764-F3F3-F166-F96ADE469DF3}"/>
                    </a:ext>
                  </a:extLst>
                </p:cNvPr>
                <p:cNvSpPr/>
                <p:nvPr/>
              </p:nvSpPr>
              <p:spPr>
                <a:xfrm>
                  <a:off x="5276383" y="6074766"/>
                  <a:ext cx="26362" cy="26521"/>
                </a:xfrm>
                <a:custGeom>
                  <a:avLst/>
                  <a:gdLst>
                    <a:gd name="connsiteX0" fmla="*/ 503 w 26362"/>
                    <a:gd name="connsiteY0" fmla="*/ 16801 h 26521"/>
                    <a:gd name="connsiteX1" fmla="*/ 9720 w 26362"/>
                    <a:gd name="connsiteY1" fmla="*/ 484 h 26521"/>
                    <a:gd name="connsiteX2" fmla="*/ 25912 w 26362"/>
                    <a:gd name="connsiteY2" fmla="*/ 9826 h 26521"/>
                    <a:gd name="connsiteX3" fmla="*/ 16695 w 26362"/>
                    <a:gd name="connsiteY3" fmla="*/ 26019 h 26521"/>
                    <a:gd name="connsiteX4" fmla="*/ 503 w 26362"/>
                    <a:gd name="connsiteY4" fmla="*/ 16801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2" h="26520">
                      <a:moveTo>
                        <a:pt x="503" y="16801"/>
                      </a:moveTo>
                      <a:cubicBezTo>
                        <a:pt x="-1490" y="9702"/>
                        <a:pt x="2620" y="2477"/>
                        <a:pt x="9720" y="484"/>
                      </a:cubicBezTo>
                      <a:cubicBezTo>
                        <a:pt x="16695" y="-1509"/>
                        <a:pt x="24044" y="2851"/>
                        <a:pt x="25912" y="9826"/>
                      </a:cubicBezTo>
                      <a:cubicBezTo>
                        <a:pt x="27781" y="16926"/>
                        <a:pt x="23670" y="24026"/>
                        <a:pt x="16695" y="26019"/>
                      </a:cubicBezTo>
                      <a:cubicBezTo>
                        <a:pt x="9720" y="28012"/>
                        <a:pt x="2496" y="23901"/>
                        <a:pt x="503" y="16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6" name="Graphic 2987">
                <a:extLst>
                  <a:ext uri="{FF2B5EF4-FFF2-40B4-BE49-F238E27FC236}">
                    <a16:creationId xmlns:a16="http://schemas.microsoft.com/office/drawing/2014/main" id="{42E1D587-2F1D-1F02-549A-B2AA050E5C71}"/>
                  </a:ext>
                </a:extLst>
              </p:cNvPr>
              <p:cNvGrpSpPr/>
              <p:nvPr/>
            </p:nvGrpSpPr>
            <p:grpSpPr>
              <a:xfrm>
                <a:off x="5272699" y="5949005"/>
                <a:ext cx="58445" cy="144698"/>
                <a:chOff x="5272699" y="5949005"/>
                <a:chExt cx="58445" cy="144698"/>
              </a:xfrm>
              <a:grpFill/>
            </p:grpSpPr>
            <p:sp>
              <p:nvSpPr>
                <p:cNvPr id="5123" name="Freeform 4300">
                  <a:extLst>
                    <a:ext uri="{FF2B5EF4-FFF2-40B4-BE49-F238E27FC236}">
                      <a16:creationId xmlns:a16="http://schemas.microsoft.com/office/drawing/2014/main" id="{712DBA8A-31D0-9696-8E6E-FA91C189408D}"/>
                    </a:ext>
                  </a:extLst>
                </p:cNvPr>
                <p:cNvSpPr/>
                <p:nvPr/>
              </p:nvSpPr>
              <p:spPr>
                <a:xfrm>
                  <a:off x="5284333" y="5969999"/>
                  <a:ext cx="13012" cy="50446"/>
                </a:xfrm>
                <a:custGeom>
                  <a:avLst/>
                  <a:gdLst>
                    <a:gd name="connsiteX0" fmla="*/ 25 w 13012"/>
                    <a:gd name="connsiteY0" fmla="*/ 0 h 50446"/>
                    <a:gd name="connsiteX1" fmla="*/ 3015 w 13012"/>
                    <a:gd name="connsiteY1" fmla="*/ 18559 h 50446"/>
                    <a:gd name="connsiteX2" fmla="*/ 10737 w 13012"/>
                    <a:gd name="connsiteY2" fmla="*/ 34129 h 50446"/>
                    <a:gd name="connsiteX3" fmla="*/ 12980 w 13012"/>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11" h="50446">
                      <a:moveTo>
                        <a:pt x="25" y="0"/>
                      </a:moveTo>
                      <a:cubicBezTo>
                        <a:pt x="-224" y="8346"/>
                        <a:pt x="1395" y="14573"/>
                        <a:pt x="3015" y="18559"/>
                      </a:cubicBezTo>
                      <a:cubicBezTo>
                        <a:pt x="5631" y="25036"/>
                        <a:pt x="8495" y="27403"/>
                        <a:pt x="10737" y="34129"/>
                      </a:cubicBezTo>
                      <a:cubicBezTo>
                        <a:pt x="12980" y="40606"/>
                        <a:pt x="13104" y="46584"/>
                        <a:pt x="12980"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4" name="Freeform 4301">
                  <a:extLst>
                    <a:ext uri="{FF2B5EF4-FFF2-40B4-BE49-F238E27FC236}">
                      <a16:creationId xmlns:a16="http://schemas.microsoft.com/office/drawing/2014/main" id="{322B7C38-7AFE-1D05-53E0-E53BF8C81AC1}"/>
                    </a:ext>
                  </a:extLst>
                </p:cNvPr>
                <p:cNvSpPr/>
                <p:nvPr/>
              </p:nvSpPr>
              <p:spPr>
                <a:xfrm>
                  <a:off x="5289964" y="5963397"/>
                  <a:ext cx="14199" cy="50072"/>
                </a:xfrm>
                <a:custGeom>
                  <a:avLst/>
                  <a:gdLst>
                    <a:gd name="connsiteX0" fmla="*/ 14199 w 14199"/>
                    <a:gd name="connsiteY0" fmla="*/ 50072 h 50072"/>
                    <a:gd name="connsiteX1" fmla="*/ 7473 w 14199"/>
                    <a:gd name="connsiteY1" fmla="*/ 32510 h 50072"/>
                    <a:gd name="connsiteX2" fmla="*/ 6352 w 14199"/>
                    <a:gd name="connsiteY2" fmla="*/ 15196 h 50072"/>
                    <a:gd name="connsiteX3" fmla="*/ 0 w 14199"/>
                    <a:gd name="connsiteY3" fmla="*/ 0 h 50072"/>
                  </a:gdLst>
                  <a:ahLst/>
                  <a:cxnLst>
                    <a:cxn ang="0">
                      <a:pos x="connsiteX0" y="connsiteY0"/>
                    </a:cxn>
                    <a:cxn ang="0">
                      <a:pos x="connsiteX1" y="connsiteY1"/>
                    </a:cxn>
                    <a:cxn ang="0">
                      <a:pos x="connsiteX2" y="connsiteY2"/>
                    </a:cxn>
                    <a:cxn ang="0">
                      <a:pos x="connsiteX3" y="connsiteY3"/>
                    </a:cxn>
                  </a:cxnLst>
                  <a:rect l="l" t="t" r="r" b="b"/>
                  <a:pathLst>
                    <a:path w="14199" h="50072">
                      <a:moveTo>
                        <a:pt x="14199" y="50072"/>
                      </a:moveTo>
                      <a:cubicBezTo>
                        <a:pt x="9715" y="42973"/>
                        <a:pt x="8096" y="36869"/>
                        <a:pt x="7473" y="32510"/>
                      </a:cubicBezTo>
                      <a:cubicBezTo>
                        <a:pt x="6352" y="25534"/>
                        <a:pt x="7723" y="22047"/>
                        <a:pt x="6352" y="15196"/>
                      </a:cubicBezTo>
                      <a:cubicBezTo>
                        <a:pt x="4982"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5" name="Freeform 4302">
                  <a:extLst>
                    <a:ext uri="{FF2B5EF4-FFF2-40B4-BE49-F238E27FC236}">
                      <a16:creationId xmlns:a16="http://schemas.microsoft.com/office/drawing/2014/main" id="{815EBAC7-8050-E0C8-FAA2-DB820E7C9507}"/>
                    </a:ext>
                  </a:extLst>
                </p:cNvPr>
                <p:cNvSpPr/>
                <p:nvPr/>
              </p:nvSpPr>
              <p:spPr>
                <a:xfrm>
                  <a:off x="5272699" y="5949005"/>
                  <a:ext cx="26674" cy="26417"/>
                </a:xfrm>
                <a:custGeom>
                  <a:avLst/>
                  <a:gdLst>
                    <a:gd name="connsiteX0" fmla="*/ 26233 w 26674"/>
                    <a:gd name="connsiteY0" fmla="*/ 9784 h 26417"/>
                    <a:gd name="connsiteX1" fmla="*/ 16766 w 26674"/>
                    <a:gd name="connsiteY1" fmla="*/ 25976 h 26417"/>
                    <a:gd name="connsiteX2" fmla="*/ 449 w 26674"/>
                    <a:gd name="connsiteY2" fmla="*/ 16634 h 26417"/>
                    <a:gd name="connsiteX3" fmla="*/ 9916 w 26674"/>
                    <a:gd name="connsiteY3" fmla="*/ 442 h 26417"/>
                    <a:gd name="connsiteX4" fmla="*/ 26233 w 26674"/>
                    <a:gd name="connsiteY4" fmla="*/ 9784 h 26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17">
                      <a:moveTo>
                        <a:pt x="26233" y="9784"/>
                      </a:moveTo>
                      <a:cubicBezTo>
                        <a:pt x="28101" y="16884"/>
                        <a:pt x="23866" y="24108"/>
                        <a:pt x="16766" y="25976"/>
                      </a:cubicBezTo>
                      <a:cubicBezTo>
                        <a:pt x="9667" y="27845"/>
                        <a:pt x="2318" y="23609"/>
                        <a:pt x="449" y="16634"/>
                      </a:cubicBezTo>
                      <a:cubicBezTo>
                        <a:pt x="-1419" y="9535"/>
                        <a:pt x="2691" y="2310"/>
                        <a:pt x="9916" y="442"/>
                      </a:cubicBezTo>
                      <a:cubicBezTo>
                        <a:pt x="17140" y="-1426"/>
                        <a:pt x="24364" y="2808"/>
                        <a:pt x="26233" y="97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6" name="Freeform 4303">
                  <a:extLst>
                    <a:ext uri="{FF2B5EF4-FFF2-40B4-BE49-F238E27FC236}">
                      <a16:creationId xmlns:a16="http://schemas.microsoft.com/office/drawing/2014/main" id="{266F6610-825D-3974-3EB8-2548FD966CC7}"/>
                    </a:ext>
                  </a:extLst>
                </p:cNvPr>
                <p:cNvSpPr/>
                <p:nvPr/>
              </p:nvSpPr>
              <p:spPr>
                <a:xfrm>
                  <a:off x="5306622" y="6022189"/>
                  <a:ext cx="13012" cy="50445"/>
                </a:xfrm>
                <a:custGeom>
                  <a:avLst/>
                  <a:gdLst>
                    <a:gd name="connsiteX0" fmla="*/ 12987 w 13012"/>
                    <a:gd name="connsiteY0" fmla="*/ 50446 h 50445"/>
                    <a:gd name="connsiteX1" fmla="*/ 9998 w 13012"/>
                    <a:gd name="connsiteY1" fmla="*/ 31887 h 50445"/>
                    <a:gd name="connsiteX2" fmla="*/ 2275 w 13012"/>
                    <a:gd name="connsiteY2" fmla="*/ 16317 h 50445"/>
                    <a:gd name="connsiteX3" fmla="*/ 33 w 13012"/>
                    <a:gd name="connsiteY3" fmla="*/ 0 h 50445"/>
                  </a:gdLst>
                  <a:ahLst/>
                  <a:cxnLst>
                    <a:cxn ang="0">
                      <a:pos x="connsiteX0" y="connsiteY0"/>
                    </a:cxn>
                    <a:cxn ang="0">
                      <a:pos x="connsiteX1" y="connsiteY1"/>
                    </a:cxn>
                    <a:cxn ang="0">
                      <a:pos x="connsiteX2" y="connsiteY2"/>
                    </a:cxn>
                    <a:cxn ang="0">
                      <a:pos x="connsiteX3" y="connsiteY3"/>
                    </a:cxn>
                  </a:cxnLst>
                  <a:rect l="l" t="t" r="r" b="b"/>
                  <a:pathLst>
                    <a:path w="13011" h="50445">
                      <a:moveTo>
                        <a:pt x="12987" y="50446"/>
                      </a:moveTo>
                      <a:cubicBezTo>
                        <a:pt x="13236" y="42101"/>
                        <a:pt x="11617" y="35873"/>
                        <a:pt x="9998" y="31887"/>
                      </a:cubicBezTo>
                      <a:cubicBezTo>
                        <a:pt x="7382" y="25410"/>
                        <a:pt x="4642" y="22919"/>
                        <a:pt x="2275" y="16317"/>
                      </a:cubicBezTo>
                      <a:cubicBezTo>
                        <a:pt x="33" y="9840"/>
                        <a:pt x="-92" y="3861"/>
                        <a:pt x="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7" name="Freeform 4304">
                  <a:extLst>
                    <a:ext uri="{FF2B5EF4-FFF2-40B4-BE49-F238E27FC236}">
                      <a16:creationId xmlns:a16="http://schemas.microsoft.com/office/drawing/2014/main" id="{0102D83A-D321-BC1A-6A25-0403CE7346D6}"/>
                    </a:ext>
                  </a:extLst>
                </p:cNvPr>
                <p:cNvSpPr/>
                <p:nvPr/>
              </p:nvSpPr>
              <p:spPr>
                <a:xfrm>
                  <a:off x="5299929" y="6029164"/>
                  <a:ext cx="14324" cy="50072"/>
                </a:xfrm>
                <a:custGeom>
                  <a:avLst/>
                  <a:gdLst>
                    <a:gd name="connsiteX0" fmla="*/ 0 w 14324"/>
                    <a:gd name="connsiteY0" fmla="*/ 0 h 50072"/>
                    <a:gd name="connsiteX1" fmla="*/ 6851 w 14324"/>
                    <a:gd name="connsiteY1" fmla="*/ 17563 h 50072"/>
                    <a:gd name="connsiteX2" fmla="*/ 7972 w 14324"/>
                    <a:gd name="connsiteY2" fmla="*/ 34876 h 50072"/>
                    <a:gd name="connsiteX3" fmla="*/ 14324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0" y="0"/>
                      </a:moveTo>
                      <a:cubicBezTo>
                        <a:pt x="4484" y="7100"/>
                        <a:pt x="6103" y="13203"/>
                        <a:pt x="6851" y="17563"/>
                      </a:cubicBezTo>
                      <a:cubicBezTo>
                        <a:pt x="7972" y="24538"/>
                        <a:pt x="6602" y="27901"/>
                        <a:pt x="7972" y="34876"/>
                      </a:cubicBezTo>
                      <a:cubicBezTo>
                        <a:pt x="9342" y="41602"/>
                        <a:pt x="12082" y="46834"/>
                        <a:pt x="14324"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8" name="Freeform 4305">
                  <a:extLst>
                    <a:ext uri="{FF2B5EF4-FFF2-40B4-BE49-F238E27FC236}">
                      <a16:creationId xmlns:a16="http://schemas.microsoft.com/office/drawing/2014/main" id="{7AB46500-66BD-CB1E-1100-20D5B5535D32}"/>
                    </a:ext>
                  </a:extLst>
                </p:cNvPr>
                <p:cNvSpPr/>
                <p:nvPr/>
              </p:nvSpPr>
              <p:spPr>
                <a:xfrm>
                  <a:off x="5304834" y="6067211"/>
                  <a:ext cx="26310" cy="26492"/>
                </a:xfrm>
                <a:custGeom>
                  <a:avLst/>
                  <a:gdLst>
                    <a:gd name="connsiteX0" fmla="*/ 451 w 26310"/>
                    <a:gd name="connsiteY0" fmla="*/ 16634 h 26492"/>
                    <a:gd name="connsiteX1" fmla="*/ 9668 w 26310"/>
                    <a:gd name="connsiteY1" fmla="*/ 441 h 26492"/>
                    <a:gd name="connsiteX2" fmla="*/ 25860 w 26310"/>
                    <a:gd name="connsiteY2" fmla="*/ 9908 h 26492"/>
                    <a:gd name="connsiteX3" fmla="*/ 16643 w 26310"/>
                    <a:gd name="connsiteY3" fmla="*/ 26100 h 26492"/>
                    <a:gd name="connsiteX4" fmla="*/ 451 w 26310"/>
                    <a:gd name="connsiteY4" fmla="*/ 16634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492">
                      <a:moveTo>
                        <a:pt x="451" y="16634"/>
                      </a:moveTo>
                      <a:cubicBezTo>
                        <a:pt x="-1418" y="9534"/>
                        <a:pt x="2692" y="2310"/>
                        <a:pt x="9668" y="441"/>
                      </a:cubicBezTo>
                      <a:cubicBezTo>
                        <a:pt x="16643" y="-1427"/>
                        <a:pt x="23992" y="2808"/>
                        <a:pt x="25860" y="9908"/>
                      </a:cubicBezTo>
                      <a:cubicBezTo>
                        <a:pt x="27729" y="17008"/>
                        <a:pt x="23618" y="24232"/>
                        <a:pt x="16643" y="26100"/>
                      </a:cubicBezTo>
                      <a:cubicBezTo>
                        <a:pt x="9668" y="27844"/>
                        <a:pt x="2444" y="23609"/>
                        <a:pt x="45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7" name="Graphic 2987">
                <a:extLst>
                  <a:ext uri="{FF2B5EF4-FFF2-40B4-BE49-F238E27FC236}">
                    <a16:creationId xmlns:a16="http://schemas.microsoft.com/office/drawing/2014/main" id="{E4D6A8FD-F019-657F-0663-D454A72901A1}"/>
                  </a:ext>
                </a:extLst>
              </p:cNvPr>
              <p:cNvGrpSpPr/>
              <p:nvPr/>
            </p:nvGrpSpPr>
            <p:grpSpPr>
              <a:xfrm>
                <a:off x="5301480" y="5941399"/>
                <a:ext cx="58187" cy="144755"/>
                <a:chOff x="5301480" y="5941399"/>
                <a:chExt cx="58187" cy="144755"/>
              </a:xfrm>
              <a:grpFill/>
            </p:grpSpPr>
            <p:sp>
              <p:nvSpPr>
                <p:cNvPr id="5117" name="Freeform 4307">
                  <a:extLst>
                    <a:ext uri="{FF2B5EF4-FFF2-40B4-BE49-F238E27FC236}">
                      <a16:creationId xmlns:a16="http://schemas.microsoft.com/office/drawing/2014/main" id="{FD2FDA6C-FA6E-78B8-FA47-6E33194873FE}"/>
                    </a:ext>
                  </a:extLst>
                </p:cNvPr>
                <p:cNvSpPr/>
                <p:nvPr/>
              </p:nvSpPr>
              <p:spPr>
                <a:xfrm>
                  <a:off x="5313081" y="5962401"/>
                  <a:ext cx="12847" cy="50445"/>
                </a:xfrm>
                <a:custGeom>
                  <a:avLst/>
                  <a:gdLst>
                    <a:gd name="connsiteX0" fmla="*/ 51 w 12847"/>
                    <a:gd name="connsiteY0" fmla="*/ 0 h 50445"/>
                    <a:gd name="connsiteX1" fmla="*/ 2916 w 12847"/>
                    <a:gd name="connsiteY1" fmla="*/ 18559 h 50445"/>
                    <a:gd name="connsiteX2" fmla="*/ 10639 w 12847"/>
                    <a:gd name="connsiteY2" fmla="*/ 34129 h 50445"/>
                    <a:gd name="connsiteX3" fmla="*/ 12756 w 1284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2847" h="50445">
                      <a:moveTo>
                        <a:pt x="51" y="0"/>
                      </a:moveTo>
                      <a:cubicBezTo>
                        <a:pt x="-322" y="8470"/>
                        <a:pt x="1422" y="14573"/>
                        <a:pt x="2916" y="18559"/>
                      </a:cubicBezTo>
                      <a:cubicBezTo>
                        <a:pt x="5532" y="25036"/>
                        <a:pt x="8272" y="27527"/>
                        <a:pt x="10639" y="34129"/>
                      </a:cubicBezTo>
                      <a:cubicBezTo>
                        <a:pt x="12881" y="40606"/>
                        <a:pt x="13005" y="46584"/>
                        <a:pt x="12756"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8" name="Freeform 4308">
                  <a:extLst>
                    <a:ext uri="{FF2B5EF4-FFF2-40B4-BE49-F238E27FC236}">
                      <a16:creationId xmlns:a16="http://schemas.microsoft.com/office/drawing/2014/main" id="{050B5850-11E7-D2AB-0FFD-A0D4BF8528DE}"/>
                    </a:ext>
                  </a:extLst>
                </p:cNvPr>
                <p:cNvSpPr/>
                <p:nvPr/>
              </p:nvSpPr>
              <p:spPr>
                <a:xfrm>
                  <a:off x="5318612" y="5955675"/>
                  <a:ext cx="14199" cy="50196"/>
                </a:xfrm>
                <a:custGeom>
                  <a:avLst/>
                  <a:gdLst>
                    <a:gd name="connsiteX0" fmla="*/ 14200 w 14199"/>
                    <a:gd name="connsiteY0" fmla="*/ 50197 h 50196"/>
                    <a:gd name="connsiteX1" fmla="*/ 7474 w 14199"/>
                    <a:gd name="connsiteY1" fmla="*/ 32634 h 50196"/>
                    <a:gd name="connsiteX2" fmla="*/ 6353 w 14199"/>
                    <a:gd name="connsiteY2" fmla="*/ 15196 h 50196"/>
                    <a:gd name="connsiteX3" fmla="*/ 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50197"/>
                      </a:moveTo>
                      <a:cubicBezTo>
                        <a:pt x="9715" y="43097"/>
                        <a:pt x="8096" y="36994"/>
                        <a:pt x="7474" y="32634"/>
                      </a:cubicBezTo>
                      <a:cubicBezTo>
                        <a:pt x="6477" y="25659"/>
                        <a:pt x="7723" y="22171"/>
                        <a:pt x="6353" y="15196"/>
                      </a:cubicBezTo>
                      <a:cubicBezTo>
                        <a:pt x="5107" y="8470"/>
                        <a:pt x="2242"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9" name="Freeform 4309">
                  <a:extLst>
                    <a:ext uri="{FF2B5EF4-FFF2-40B4-BE49-F238E27FC236}">
                      <a16:creationId xmlns:a16="http://schemas.microsoft.com/office/drawing/2014/main" id="{9090F8C0-F815-0407-5284-A65824E87262}"/>
                    </a:ext>
                  </a:extLst>
                </p:cNvPr>
                <p:cNvSpPr/>
                <p:nvPr/>
              </p:nvSpPr>
              <p:spPr>
                <a:xfrm>
                  <a:off x="5301480" y="5941399"/>
                  <a:ext cx="26666" cy="26426"/>
                </a:xfrm>
                <a:custGeom>
                  <a:avLst/>
                  <a:gdLst>
                    <a:gd name="connsiteX0" fmla="*/ 26225 w 26666"/>
                    <a:gd name="connsiteY0" fmla="*/ 9792 h 26426"/>
                    <a:gd name="connsiteX1" fmla="*/ 16758 w 26666"/>
                    <a:gd name="connsiteY1" fmla="*/ 25985 h 26426"/>
                    <a:gd name="connsiteX2" fmla="*/ 441 w 26666"/>
                    <a:gd name="connsiteY2" fmla="*/ 16643 h 26426"/>
                    <a:gd name="connsiteX3" fmla="*/ 9908 w 26666"/>
                    <a:gd name="connsiteY3" fmla="*/ 450 h 26426"/>
                    <a:gd name="connsiteX4" fmla="*/ 26225 w 26666"/>
                    <a:gd name="connsiteY4" fmla="*/ 9792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426">
                      <a:moveTo>
                        <a:pt x="26225" y="9792"/>
                      </a:moveTo>
                      <a:cubicBezTo>
                        <a:pt x="28093" y="16892"/>
                        <a:pt x="23858" y="24116"/>
                        <a:pt x="16758" y="25985"/>
                      </a:cubicBezTo>
                      <a:cubicBezTo>
                        <a:pt x="9658" y="27853"/>
                        <a:pt x="2310" y="23618"/>
                        <a:pt x="441" y="16643"/>
                      </a:cubicBezTo>
                      <a:cubicBezTo>
                        <a:pt x="-1427" y="9668"/>
                        <a:pt x="2808" y="2319"/>
                        <a:pt x="9908" y="450"/>
                      </a:cubicBezTo>
                      <a:cubicBezTo>
                        <a:pt x="17007" y="-1418"/>
                        <a:pt x="24356" y="2692"/>
                        <a:pt x="26225" y="97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0" name="Freeform 4310">
                  <a:extLst>
                    <a:ext uri="{FF2B5EF4-FFF2-40B4-BE49-F238E27FC236}">
                      <a16:creationId xmlns:a16="http://schemas.microsoft.com/office/drawing/2014/main" id="{0FBC341F-290A-431E-9067-B629C0CC4DD9}"/>
                    </a:ext>
                  </a:extLst>
                </p:cNvPr>
                <p:cNvSpPr/>
                <p:nvPr/>
              </p:nvSpPr>
              <p:spPr>
                <a:xfrm>
                  <a:off x="5335336" y="6014715"/>
                  <a:ext cx="12822" cy="50446"/>
                </a:xfrm>
                <a:custGeom>
                  <a:avLst/>
                  <a:gdLst>
                    <a:gd name="connsiteX0" fmla="*/ 12796 w 12822"/>
                    <a:gd name="connsiteY0" fmla="*/ 50446 h 50446"/>
                    <a:gd name="connsiteX1" fmla="*/ 9932 w 12822"/>
                    <a:gd name="connsiteY1" fmla="*/ 31887 h 50446"/>
                    <a:gd name="connsiteX2" fmla="*/ 2209 w 12822"/>
                    <a:gd name="connsiteY2" fmla="*/ 16317 h 50446"/>
                    <a:gd name="connsiteX3" fmla="*/ 92 w 12822"/>
                    <a:gd name="connsiteY3" fmla="*/ 0 h 50446"/>
                  </a:gdLst>
                  <a:ahLst/>
                  <a:cxnLst>
                    <a:cxn ang="0">
                      <a:pos x="connsiteX0" y="connsiteY0"/>
                    </a:cxn>
                    <a:cxn ang="0">
                      <a:pos x="connsiteX1" y="connsiteY1"/>
                    </a:cxn>
                    <a:cxn ang="0">
                      <a:pos x="connsiteX2" y="connsiteY2"/>
                    </a:cxn>
                    <a:cxn ang="0">
                      <a:pos x="connsiteX3" y="connsiteY3"/>
                    </a:cxn>
                  </a:cxnLst>
                  <a:rect l="l" t="t" r="r" b="b"/>
                  <a:pathLst>
                    <a:path w="12822" h="50446">
                      <a:moveTo>
                        <a:pt x="12796" y="50446"/>
                      </a:moveTo>
                      <a:cubicBezTo>
                        <a:pt x="13046" y="42101"/>
                        <a:pt x="11426" y="35873"/>
                        <a:pt x="9932" y="31887"/>
                      </a:cubicBezTo>
                      <a:cubicBezTo>
                        <a:pt x="7441" y="25410"/>
                        <a:pt x="4576" y="22919"/>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1" name="Freeform 4311">
                  <a:extLst>
                    <a:ext uri="{FF2B5EF4-FFF2-40B4-BE49-F238E27FC236}">
                      <a16:creationId xmlns:a16="http://schemas.microsoft.com/office/drawing/2014/main" id="{DCF76F72-80BA-A925-5C8B-97C8C3CA43E3}"/>
                    </a:ext>
                  </a:extLst>
                </p:cNvPr>
                <p:cNvSpPr/>
                <p:nvPr/>
              </p:nvSpPr>
              <p:spPr>
                <a:xfrm>
                  <a:off x="5328452" y="6021566"/>
                  <a:ext cx="14199" cy="50072"/>
                </a:xfrm>
                <a:custGeom>
                  <a:avLst/>
                  <a:gdLst>
                    <a:gd name="connsiteX0" fmla="*/ 0 w 14199"/>
                    <a:gd name="connsiteY0" fmla="*/ 0 h 50072"/>
                    <a:gd name="connsiteX1" fmla="*/ 6726 w 14199"/>
                    <a:gd name="connsiteY1" fmla="*/ 17563 h 50072"/>
                    <a:gd name="connsiteX2" fmla="*/ 7847 w 14199"/>
                    <a:gd name="connsiteY2" fmla="*/ 34876 h 50072"/>
                    <a:gd name="connsiteX3" fmla="*/ 14199 w 1419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199" h="50072">
                      <a:moveTo>
                        <a:pt x="0" y="0"/>
                      </a:moveTo>
                      <a:cubicBezTo>
                        <a:pt x="4484" y="7099"/>
                        <a:pt x="6103" y="13203"/>
                        <a:pt x="6726" y="17563"/>
                      </a:cubicBezTo>
                      <a:cubicBezTo>
                        <a:pt x="7723" y="24538"/>
                        <a:pt x="6477" y="28025"/>
                        <a:pt x="7847" y="34876"/>
                      </a:cubicBezTo>
                      <a:cubicBezTo>
                        <a:pt x="9217" y="41602"/>
                        <a:pt x="11957" y="46833"/>
                        <a:pt x="14199"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22" name="Freeform 4312">
                  <a:extLst>
                    <a:ext uri="{FF2B5EF4-FFF2-40B4-BE49-F238E27FC236}">
                      <a16:creationId xmlns:a16="http://schemas.microsoft.com/office/drawing/2014/main" id="{16F8197A-5C6E-5187-19B8-145E985AD3F2}"/>
                    </a:ext>
                  </a:extLst>
                </p:cNvPr>
                <p:cNvSpPr/>
                <p:nvPr/>
              </p:nvSpPr>
              <p:spPr>
                <a:xfrm>
                  <a:off x="5333234" y="6059613"/>
                  <a:ext cx="26434" cy="26541"/>
                </a:xfrm>
                <a:custGeom>
                  <a:avLst/>
                  <a:gdLst>
                    <a:gd name="connsiteX0" fmla="*/ 450 w 26434"/>
                    <a:gd name="connsiteY0" fmla="*/ 16634 h 26541"/>
                    <a:gd name="connsiteX1" fmla="*/ 9792 w 26434"/>
                    <a:gd name="connsiteY1" fmla="*/ 441 h 26541"/>
                    <a:gd name="connsiteX2" fmla="*/ 25985 w 26434"/>
                    <a:gd name="connsiteY2" fmla="*/ 9907 h 26541"/>
                    <a:gd name="connsiteX3" fmla="*/ 16643 w 26434"/>
                    <a:gd name="connsiteY3" fmla="*/ 26100 h 26541"/>
                    <a:gd name="connsiteX4" fmla="*/ 450 w 26434"/>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4" h="26541">
                      <a:moveTo>
                        <a:pt x="450" y="16634"/>
                      </a:moveTo>
                      <a:cubicBezTo>
                        <a:pt x="-1418" y="9534"/>
                        <a:pt x="2692" y="2310"/>
                        <a:pt x="9792" y="441"/>
                      </a:cubicBezTo>
                      <a:cubicBezTo>
                        <a:pt x="16767" y="-1427"/>
                        <a:pt x="24116" y="2808"/>
                        <a:pt x="25985" y="9907"/>
                      </a:cubicBezTo>
                      <a:cubicBezTo>
                        <a:pt x="27853" y="17007"/>
                        <a:pt x="23742" y="24232"/>
                        <a:pt x="16643" y="26100"/>
                      </a:cubicBezTo>
                      <a:cubicBezTo>
                        <a:pt x="9543" y="27968"/>
                        <a:pt x="2443"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8" name="Graphic 2987">
                <a:extLst>
                  <a:ext uri="{FF2B5EF4-FFF2-40B4-BE49-F238E27FC236}">
                    <a16:creationId xmlns:a16="http://schemas.microsoft.com/office/drawing/2014/main" id="{E5A837F2-B39B-16E1-A2EC-8054A6786998}"/>
                  </a:ext>
                </a:extLst>
              </p:cNvPr>
              <p:cNvGrpSpPr/>
              <p:nvPr/>
            </p:nvGrpSpPr>
            <p:grpSpPr>
              <a:xfrm>
                <a:off x="5330211" y="5933758"/>
                <a:ext cx="57848" cy="144798"/>
                <a:chOff x="5330211" y="5933758"/>
                <a:chExt cx="57848" cy="144798"/>
              </a:xfrm>
              <a:grpFill/>
            </p:grpSpPr>
            <p:sp>
              <p:nvSpPr>
                <p:cNvPr id="5111" name="Freeform 4314">
                  <a:extLst>
                    <a:ext uri="{FF2B5EF4-FFF2-40B4-BE49-F238E27FC236}">
                      <a16:creationId xmlns:a16="http://schemas.microsoft.com/office/drawing/2014/main" id="{2C18FB45-0AC2-F4BF-5648-CBAECF51D536}"/>
                    </a:ext>
                  </a:extLst>
                </p:cNvPr>
                <p:cNvSpPr/>
                <p:nvPr/>
              </p:nvSpPr>
              <p:spPr>
                <a:xfrm>
                  <a:off x="5341850" y="5954803"/>
                  <a:ext cx="12850" cy="50570"/>
                </a:xfrm>
                <a:custGeom>
                  <a:avLst/>
                  <a:gdLst>
                    <a:gd name="connsiteX0" fmla="*/ 54 w 12850"/>
                    <a:gd name="connsiteY0" fmla="*/ 0 h 50570"/>
                    <a:gd name="connsiteX1" fmla="*/ 2919 w 12850"/>
                    <a:gd name="connsiteY1" fmla="*/ 18559 h 50570"/>
                    <a:gd name="connsiteX2" fmla="*/ 10642 w 12850"/>
                    <a:gd name="connsiteY2" fmla="*/ 34253 h 50570"/>
                    <a:gd name="connsiteX3" fmla="*/ 12759 w 12850"/>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50" h="50570">
                      <a:moveTo>
                        <a:pt x="54" y="0"/>
                      </a:moveTo>
                      <a:cubicBezTo>
                        <a:pt x="-319" y="8470"/>
                        <a:pt x="1300" y="14573"/>
                        <a:pt x="2919" y="18559"/>
                      </a:cubicBezTo>
                      <a:cubicBezTo>
                        <a:pt x="5410" y="25036"/>
                        <a:pt x="8275" y="27527"/>
                        <a:pt x="10642" y="34253"/>
                      </a:cubicBezTo>
                      <a:cubicBezTo>
                        <a:pt x="12884" y="40731"/>
                        <a:pt x="13008" y="46709"/>
                        <a:pt x="1275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2" name="Freeform 4315">
                  <a:extLst>
                    <a:ext uri="{FF2B5EF4-FFF2-40B4-BE49-F238E27FC236}">
                      <a16:creationId xmlns:a16="http://schemas.microsoft.com/office/drawing/2014/main" id="{928738BA-4294-7FFD-D457-D801373CBB87}"/>
                    </a:ext>
                  </a:extLst>
                </p:cNvPr>
                <p:cNvSpPr/>
                <p:nvPr/>
              </p:nvSpPr>
              <p:spPr>
                <a:xfrm>
                  <a:off x="5347510" y="5947952"/>
                  <a:ext cx="13950" cy="50321"/>
                </a:xfrm>
                <a:custGeom>
                  <a:avLst/>
                  <a:gdLst>
                    <a:gd name="connsiteX0" fmla="*/ 13950 w 13950"/>
                    <a:gd name="connsiteY0" fmla="*/ 50321 h 50321"/>
                    <a:gd name="connsiteX1" fmla="*/ 7224 w 13950"/>
                    <a:gd name="connsiteY1" fmla="*/ 32759 h 50321"/>
                    <a:gd name="connsiteX2" fmla="*/ 6228 w 13950"/>
                    <a:gd name="connsiteY2" fmla="*/ 15320 h 50321"/>
                    <a:gd name="connsiteX3" fmla="*/ 0 w 13950"/>
                    <a:gd name="connsiteY3" fmla="*/ 0 h 50321"/>
                  </a:gdLst>
                  <a:ahLst/>
                  <a:cxnLst>
                    <a:cxn ang="0">
                      <a:pos x="connsiteX0" y="connsiteY0"/>
                    </a:cxn>
                    <a:cxn ang="0">
                      <a:pos x="connsiteX1" y="connsiteY1"/>
                    </a:cxn>
                    <a:cxn ang="0">
                      <a:pos x="connsiteX2" y="connsiteY2"/>
                    </a:cxn>
                    <a:cxn ang="0">
                      <a:pos x="connsiteX3" y="connsiteY3"/>
                    </a:cxn>
                  </a:cxnLst>
                  <a:rect l="l" t="t" r="r" b="b"/>
                  <a:pathLst>
                    <a:path w="13950" h="50321">
                      <a:moveTo>
                        <a:pt x="13950" y="50321"/>
                      </a:moveTo>
                      <a:cubicBezTo>
                        <a:pt x="9466" y="43222"/>
                        <a:pt x="7847" y="36994"/>
                        <a:pt x="7224" y="32759"/>
                      </a:cubicBezTo>
                      <a:cubicBezTo>
                        <a:pt x="6228" y="25784"/>
                        <a:pt x="7474" y="22296"/>
                        <a:pt x="6228" y="15320"/>
                      </a:cubicBezTo>
                      <a:cubicBezTo>
                        <a:pt x="4982"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3" name="Freeform 4316">
                  <a:extLst>
                    <a:ext uri="{FF2B5EF4-FFF2-40B4-BE49-F238E27FC236}">
                      <a16:creationId xmlns:a16="http://schemas.microsoft.com/office/drawing/2014/main" id="{D79DB75F-CCE9-CA0F-9CCC-3F969DE28C1F}"/>
                    </a:ext>
                  </a:extLst>
                </p:cNvPr>
                <p:cNvSpPr/>
                <p:nvPr/>
              </p:nvSpPr>
              <p:spPr>
                <a:xfrm>
                  <a:off x="5330211" y="5933758"/>
                  <a:ext cx="26708" cy="26469"/>
                </a:xfrm>
                <a:custGeom>
                  <a:avLst/>
                  <a:gdLst>
                    <a:gd name="connsiteX0" fmla="*/ 26267 w 26708"/>
                    <a:gd name="connsiteY0" fmla="*/ 9835 h 26469"/>
                    <a:gd name="connsiteX1" fmla="*/ 16801 w 26708"/>
                    <a:gd name="connsiteY1" fmla="*/ 26027 h 26469"/>
                    <a:gd name="connsiteX2" fmla="*/ 484 w 26708"/>
                    <a:gd name="connsiteY2" fmla="*/ 16685 h 26469"/>
                    <a:gd name="connsiteX3" fmla="*/ 9950 w 26708"/>
                    <a:gd name="connsiteY3" fmla="*/ 493 h 26469"/>
                    <a:gd name="connsiteX4" fmla="*/ 26267 w 26708"/>
                    <a:gd name="connsiteY4" fmla="*/ 9835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9">
                      <a:moveTo>
                        <a:pt x="26267" y="9835"/>
                      </a:moveTo>
                      <a:cubicBezTo>
                        <a:pt x="28136" y="16935"/>
                        <a:pt x="23901" y="24159"/>
                        <a:pt x="16801" y="26027"/>
                      </a:cubicBezTo>
                      <a:cubicBezTo>
                        <a:pt x="9701" y="27896"/>
                        <a:pt x="2477" y="23661"/>
                        <a:pt x="484" y="16685"/>
                      </a:cubicBezTo>
                      <a:cubicBezTo>
                        <a:pt x="-1509" y="9710"/>
                        <a:pt x="2851" y="2361"/>
                        <a:pt x="9950" y="493"/>
                      </a:cubicBezTo>
                      <a:cubicBezTo>
                        <a:pt x="17175" y="-1500"/>
                        <a:pt x="24399" y="2735"/>
                        <a:pt x="26267" y="983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4" name="Freeform 4317">
                  <a:extLst>
                    <a:ext uri="{FF2B5EF4-FFF2-40B4-BE49-F238E27FC236}">
                      <a16:creationId xmlns:a16="http://schemas.microsoft.com/office/drawing/2014/main" id="{98C31516-25D4-12E3-FCA7-7957444CCF9F}"/>
                    </a:ext>
                  </a:extLst>
                </p:cNvPr>
                <p:cNvSpPr/>
                <p:nvPr/>
              </p:nvSpPr>
              <p:spPr>
                <a:xfrm>
                  <a:off x="5363860" y="6006992"/>
                  <a:ext cx="12726" cy="50570"/>
                </a:xfrm>
                <a:custGeom>
                  <a:avLst/>
                  <a:gdLst>
                    <a:gd name="connsiteX0" fmla="*/ 12672 w 12726"/>
                    <a:gd name="connsiteY0" fmla="*/ 50570 h 50570"/>
                    <a:gd name="connsiteX1" fmla="*/ 9807 w 12726"/>
                    <a:gd name="connsiteY1" fmla="*/ 32011 h 50570"/>
                    <a:gd name="connsiteX2" fmla="*/ 2209 w 12726"/>
                    <a:gd name="connsiteY2" fmla="*/ 16317 h 50570"/>
                    <a:gd name="connsiteX3" fmla="*/ 92 w 12726"/>
                    <a:gd name="connsiteY3" fmla="*/ 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50570"/>
                      </a:moveTo>
                      <a:cubicBezTo>
                        <a:pt x="13045" y="42101"/>
                        <a:pt x="11426" y="35997"/>
                        <a:pt x="9807" y="32011"/>
                      </a:cubicBezTo>
                      <a:cubicBezTo>
                        <a:pt x="7316" y="25534"/>
                        <a:pt x="4451" y="23043"/>
                        <a:pt x="2209" y="16317"/>
                      </a:cubicBezTo>
                      <a:cubicBezTo>
                        <a:pt x="-33" y="9840"/>
                        <a:pt x="-158" y="3861"/>
                        <a:pt x="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5" name="Freeform 4318">
                  <a:extLst>
                    <a:ext uri="{FF2B5EF4-FFF2-40B4-BE49-F238E27FC236}">
                      <a16:creationId xmlns:a16="http://schemas.microsoft.com/office/drawing/2014/main" id="{B00163B0-8CD2-8F91-D449-E6D807DBBD2F}"/>
                    </a:ext>
                  </a:extLst>
                </p:cNvPr>
                <p:cNvSpPr/>
                <p:nvPr/>
              </p:nvSpPr>
              <p:spPr>
                <a:xfrm>
                  <a:off x="5357101" y="6013968"/>
                  <a:ext cx="14075" cy="50321"/>
                </a:xfrm>
                <a:custGeom>
                  <a:avLst/>
                  <a:gdLst>
                    <a:gd name="connsiteX0" fmla="*/ 0 w 14075"/>
                    <a:gd name="connsiteY0" fmla="*/ 0 h 50321"/>
                    <a:gd name="connsiteX1" fmla="*/ 6726 w 14075"/>
                    <a:gd name="connsiteY1" fmla="*/ 17563 h 50321"/>
                    <a:gd name="connsiteX2" fmla="*/ 7847 w 14075"/>
                    <a:gd name="connsiteY2" fmla="*/ 35001 h 50321"/>
                    <a:gd name="connsiteX3" fmla="*/ 14075 w 1407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4075" h="50321">
                      <a:moveTo>
                        <a:pt x="0" y="0"/>
                      </a:moveTo>
                      <a:cubicBezTo>
                        <a:pt x="4484" y="7100"/>
                        <a:pt x="6103" y="13328"/>
                        <a:pt x="6726" y="17563"/>
                      </a:cubicBezTo>
                      <a:cubicBezTo>
                        <a:pt x="7723" y="24538"/>
                        <a:pt x="6477" y="28025"/>
                        <a:pt x="7847" y="35001"/>
                      </a:cubicBezTo>
                      <a:cubicBezTo>
                        <a:pt x="9093" y="41727"/>
                        <a:pt x="11957" y="46958"/>
                        <a:pt x="14075"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6" name="Freeform 4319">
                  <a:extLst>
                    <a:ext uri="{FF2B5EF4-FFF2-40B4-BE49-F238E27FC236}">
                      <a16:creationId xmlns:a16="http://schemas.microsoft.com/office/drawing/2014/main" id="{FE46CF2A-FD7A-637F-8C54-E6990D2C1B7E}"/>
                    </a:ext>
                  </a:extLst>
                </p:cNvPr>
                <p:cNvSpPr/>
                <p:nvPr/>
              </p:nvSpPr>
              <p:spPr>
                <a:xfrm>
                  <a:off x="5361757" y="6052015"/>
                  <a:ext cx="26301" cy="26541"/>
                </a:xfrm>
                <a:custGeom>
                  <a:avLst/>
                  <a:gdLst>
                    <a:gd name="connsiteX0" fmla="*/ 450 w 26301"/>
                    <a:gd name="connsiteY0" fmla="*/ 16634 h 26541"/>
                    <a:gd name="connsiteX1" fmla="*/ 9792 w 26301"/>
                    <a:gd name="connsiteY1" fmla="*/ 441 h 26541"/>
                    <a:gd name="connsiteX2" fmla="*/ 25860 w 26301"/>
                    <a:gd name="connsiteY2" fmla="*/ 9908 h 26541"/>
                    <a:gd name="connsiteX3" fmla="*/ 16518 w 26301"/>
                    <a:gd name="connsiteY3" fmla="*/ 26100 h 26541"/>
                    <a:gd name="connsiteX4" fmla="*/ 450 w 2630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541">
                      <a:moveTo>
                        <a:pt x="450" y="16634"/>
                      </a:moveTo>
                      <a:cubicBezTo>
                        <a:pt x="-1418" y="9534"/>
                        <a:pt x="2692" y="2310"/>
                        <a:pt x="9792" y="441"/>
                      </a:cubicBezTo>
                      <a:cubicBezTo>
                        <a:pt x="16767" y="-1427"/>
                        <a:pt x="23992" y="2808"/>
                        <a:pt x="25860" y="9908"/>
                      </a:cubicBezTo>
                      <a:cubicBezTo>
                        <a:pt x="27728" y="17008"/>
                        <a:pt x="23493" y="24232"/>
                        <a:pt x="16518" y="26100"/>
                      </a:cubicBezTo>
                      <a:cubicBezTo>
                        <a:pt x="9543" y="27969"/>
                        <a:pt x="2318" y="23734"/>
                        <a:pt x="450"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69" name="Graphic 2987">
                <a:extLst>
                  <a:ext uri="{FF2B5EF4-FFF2-40B4-BE49-F238E27FC236}">
                    <a16:creationId xmlns:a16="http://schemas.microsoft.com/office/drawing/2014/main" id="{9E2ECA7F-18BD-BB27-1225-9056B5BF7BB2}"/>
                  </a:ext>
                </a:extLst>
              </p:cNvPr>
              <p:cNvGrpSpPr/>
              <p:nvPr/>
            </p:nvGrpSpPr>
            <p:grpSpPr>
              <a:xfrm>
                <a:off x="5359151" y="5926012"/>
                <a:ext cx="57307" cy="145071"/>
                <a:chOff x="5359151" y="5926012"/>
                <a:chExt cx="57307" cy="145071"/>
              </a:xfrm>
              <a:grpFill/>
            </p:grpSpPr>
            <p:sp>
              <p:nvSpPr>
                <p:cNvPr id="5105" name="Freeform 4321">
                  <a:extLst>
                    <a:ext uri="{FF2B5EF4-FFF2-40B4-BE49-F238E27FC236}">
                      <a16:creationId xmlns:a16="http://schemas.microsoft.com/office/drawing/2014/main" id="{68F6645B-9295-78DF-DB23-561D49C981CF}"/>
                    </a:ext>
                  </a:extLst>
                </p:cNvPr>
                <p:cNvSpPr/>
                <p:nvPr/>
              </p:nvSpPr>
              <p:spPr>
                <a:xfrm>
                  <a:off x="5370623" y="5947080"/>
                  <a:ext cx="12672" cy="50695"/>
                </a:xfrm>
                <a:custGeom>
                  <a:avLst/>
                  <a:gdLst>
                    <a:gd name="connsiteX0" fmla="*/ 54 w 12672"/>
                    <a:gd name="connsiteY0" fmla="*/ 0 h 50695"/>
                    <a:gd name="connsiteX1" fmla="*/ 2919 w 12672"/>
                    <a:gd name="connsiteY1" fmla="*/ 18559 h 50695"/>
                    <a:gd name="connsiteX2" fmla="*/ 10517 w 12672"/>
                    <a:gd name="connsiteY2" fmla="*/ 34253 h 50695"/>
                    <a:gd name="connsiteX3" fmla="*/ 12510 w 12672"/>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672" h="50695">
                      <a:moveTo>
                        <a:pt x="54" y="0"/>
                      </a:moveTo>
                      <a:cubicBezTo>
                        <a:pt x="-319" y="8470"/>
                        <a:pt x="1300" y="14573"/>
                        <a:pt x="2919" y="18559"/>
                      </a:cubicBezTo>
                      <a:cubicBezTo>
                        <a:pt x="5410" y="25036"/>
                        <a:pt x="8275" y="27527"/>
                        <a:pt x="10517" y="34253"/>
                      </a:cubicBezTo>
                      <a:cubicBezTo>
                        <a:pt x="12759" y="40730"/>
                        <a:pt x="12884" y="46709"/>
                        <a:pt x="1251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6" name="Freeform 4322">
                  <a:extLst>
                    <a:ext uri="{FF2B5EF4-FFF2-40B4-BE49-F238E27FC236}">
                      <a16:creationId xmlns:a16="http://schemas.microsoft.com/office/drawing/2014/main" id="{E6DF8688-82E1-A553-64DE-4F398E843CC6}"/>
                    </a:ext>
                  </a:extLst>
                </p:cNvPr>
                <p:cNvSpPr/>
                <p:nvPr/>
              </p:nvSpPr>
              <p:spPr>
                <a:xfrm>
                  <a:off x="5376158" y="5940354"/>
                  <a:ext cx="13826" cy="50321"/>
                </a:xfrm>
                <a:custGeom>
                  <a:avLst/>
                  <a:gdLst>
                    <a:gd name="connsiteX0" fmla="*/ 13826 w 13826"/>
                    <a:gd name="connsiteY0" fmla="*/ 50321 h 50321"/>
                    <a:gd name="connsiteX1" fmla="*/ 7225 w 13826"/>
                    <a:gd name="connsiteY1" fmla="*/ 32759 h 50321"/>
                    <a:gd name="connsiteX2" fmla="*/ 6228 w 13826"/>
                    <a:gd name="connsiteY2" fmla="*/ 15321 h 50321"/>
                    <a:gd name="connsiteX3" fmla="*/ 0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13826" y="50321"/>
                      </a:moveTo>
                      <a:cubicBezTo>
                        <a:pt x="9342" y="43222"/>
                        <a:pt x="7847" y="36994"/>
                        <a:pt x="7225" y="32759"/>
                      </a:cubicBezTo>
                      <a:cubicBezTo>
                        <a:pt x="6228" y="25784"/>
                        <a:pt x="7474" y="22296"/>
                        <a:pt x="6228" y="15321"/>
                      </a:cubicBezTo>
                      <a:cubicBezTo>
                        <a:pt x="4982"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7" name="Freeform 4323">
                  <a:extLst>
                    <a:ext uri="{FF2B5EF4-FFF2-40B4-BE49-F238E27FC236}">
                      <a16:creationId xmlns:a16="http://schemas.microsoft.com/office/drawing/2014/main" id="{C34548B7-9ED5-7A94-6D93-6E0DD531995D}"/>
                    </a:ext>
                  </a:extLst>
                </p:cNvPr>
                <p:cNvSpPr/>
                <p:nvPr/>
              </p:nvSpPr>
              <p:spPr>
                <a:xfrm>
                  <a:off x="5359151" y="5926012"/>
                  <a:ext cx="26541" cy="26492"/>
                </a:xfrm>
                <a:custGeom>
                  <a:avLst/>
                  <a:gdLst>
                    <a:gd name="connsiteX0" fmla="*/ 26100 w 26541"/>
                    <a:gd name="connsiteY0" fmla="*/ 9859 h 26492"/>
                    <a:gd name="connsiteX1" fmla="*/ 16634 w 26541"/>
                    <a:gd name="connsiteY1" fmla="*/ 26051 h 26492"/>
                    <a:gd name="connsiteX2" fmla="*/ 441 w 26541"/>
                    <a:gd name="connsiteY2" fmla="*/ 16585 h 26492"/>
                    <a:gd name="connsiteX3" fmla="*/ 9907 w 26541"/>
                    <a:gd name="connsiteY3" fmla="*/ 392 h 26492"/>
                    <a:gd name="connsiteX4" fmla="*/ 26100 w 26541"/>
                    <a:gd name="connsiteY4" fmla="*/ 9859 h 2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1" h="26492">
                      <a:moveTo>
                        <a:pt x="26100" y="9859"/>
                      </a:moveTo>
                      <a:cubicBezTo>
                        <a:pt x="27968" y="16958"/>
                        <a:pt x="23734" y="24183"/>
                        <a:pt x="16634" y="26051"/>
                      </a:cubicBezTo>
                      <a:cubicBezTo>
                        <a:pt x="9534" y="27919"/>
                        <a:pt x="2310" y="23684"/>
                        <a:pt x="441" y="16585"/>
                      </a:cubicBezTo>
                      <a:cubicBezTo>
                        <a:pt x="-1427" y="9485"/>
                        <a:pt x="2808" y="2260"/>
                        <a:pt x="9907" y="392"/>
                      </a:cubicBezTo>
                      <a:cubicBezTo>
                        <a:pt x="17007" y="-1352"/>
                        <a:pt x="24232" y="2883"/>
                        <a:pt x="26100" y="98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8" name="Freeform 4324">
                  <a:extLst>
                    <a:ext uri="{FF2B5EF4-FFF2-40B4-BE49-F238E27FC236}">
                      <a16:creationId xmlns:a16="http://schemas.microsoft.com/office/drawing/2014/main" id="{F5796539-0005-C607-A3B9-8BE081B16D59}"/>
                    </a:ext>
                  </a:extLst>
                </p:cNvPr>
                <p:cNvSpPr/>
                <p:nvPr/>
              </p:nvSpPr>
              <p:spPr>
                <a:xfrm>
                  <a:off x="5392438" y="5999270"/>
                  <a:ext cx="12672" cy="50695"/>
                </a:xfrm>
                <a:custGeom>
                  <a:avLst/>
                  <a:gdLst>
                    <a:gd name="connsiteX0" fmla="*/ 12618 w 12672"/>
                    <a:gd name="connsiteY0" fmla="*/ 50695 h 50695"/>
                    <a:gd name="connsiteX1" fmla="*/ 9753 w 12672"/>
                    <a:gd name="connsiteY1" fmla="*/ 32136 h 50695"/>
                    <a:gd name="connsiteX2" fmla="*/ 2155 w 12672"/>
                    <a:gd name="connsiteY2" fmla="*/ 16442 h 50695"/>
                    <a:gd name="connsiteX3" fmla="*/ 162 w 12672"/>
                    <a:gd name="connsiteY3" fmla="*/ 0 h 50695"/>
                  </a:gdLst>
                  <a:ahLst/>
                  <a:cxnLst>
                    <a:cxn ang="0">
                      <a:pos x="connsiteX0" y="connsiteY0"/>
                    </a:cxn>
                    <a:cxn ang="0">
                      <a:pos x="connsiteX1" y="connsiteY1"/>
                    </a:cxn>
                    <a:cxn ang="0">
                      <a:pos x="connsiteX2" y="connsiteY2"/>
                    </a:cxn>
                    <a:cxn ang="0">
                      <a:pos x="connsiteX3" y="connsiteY3"/>
                    </a:cxn>
                  </a:cxnLst>
                  <a:rect l="l" t="t" r="r" b="b"/>
                  <a:pathLst>
                    <a:path w="12672" h="50695">
                      <a:moveTo>
                        <a:pt x="12618" y="50695"/>
                      </a:moveTo>
                      <a:cubicBezTo>
                        <a:pt x="12991" y="42225"/>
                        <a:pt x="11372" y="36122"/>
                        <a:pt x="9753" y="32136"/>
                      </a:cubicBezTo>
                      <a:cubicBezTo>
                        <a:pt x="7262" y="25659"/>
                        <a:pt x="4397" y="23168"/>
                        <a:pt x="2155" y="16442"/>
                      </a:cubicBezTo>
                      <a:cubicBezTo>
                        <a:pt x="-87" y="9964"/>
                        <a:pt x="-212" y="3986"/>
                        <a:pt x="16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9" name="Freeform 4325">
                  <a:extLst>
                    <a:ext uri="{FF2B5EF4-FFF2-40B4-BE49-F238E27FC236}">
                      <a16:creationId xmlns:a16="http://schemas.microsoft.com/office/drawing/2014/main" id="{039B3DDF-6731-A133-6651-571752F10228}"/>
                    </a:ext>
                  </a:extLst>
                </p:cNvPr>
                <p:cNvSpPr/>
                <p:nvPr/>
              </p:nvSpPr>
              <p:spPr>
                <a:xfrm>
                  <a:off x="5385624" y="6006370"/>
                  <a:ext cx="13825" cy="50321"/>
                </a:xfrm>
                <a:custGeom>
                  <a:avLst/>
                  <a:gdLst>
                    <a:gd name="connsiteX0" fmla="*/ 0 w 13825"/>
                    <a:gd name="connsiteY0" fmla="*/ 0 h 50321"/>
                    <a:gd name="connsiteX1" fmla="*/ 6602 w 13825"/>
                    <a:gd name="connsiteY1" fmla="*/ 17563 h 50321"/>
                    <a:gd name="connsiteX2" fmla="*/ 7598 w 13825"/>
                    <a:gd name="connsiteY2" fmla="*/ 35001 h 50321"/>
                    <a:gd name="connsiteX3" fmla="*/ 13826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0" y="0"/>
                      </a:moveTo>
                      <a:cubicBezTo>
                        <a:pt x="4484" y="7099"/>
                        <a:pt x="5979" y="13327"/>
                        <a:pt x="6602" y="17563"/>
                      </a:cubicBezTo>
                      <a:cubicBezTo>
                        <a:pt x="7598" y="24538"/>
                        <a:pt x="6353" y="28025"/>
                        <a:pt x="7598" y="35001"/>
                      </a:cubicBezTo>
                      <a:cubicBezTo>
                        <a:pt x="8843" y="41851"/>
                        <a:pt x="11708"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10" name="Freeform 4326">
                  <a:extLst>
                    <a:ext uri="{FF2B5EF4-FFF2-40B4-BE49-F238E27FC236}">
                      <a16:creationId xmlns:a16="http://schemas.microsoft.com/office/drawing/2014/main" id="{8186E083-B58C-6E30-9405-9887F4EB8266}"/>
                    </a:ext>
                  </a:extLst>
                </p:cNvPr>
                <p:cNvSpPr/>
                <p:nvPr/>
              </p:nvSpPr>
              <p:spPr>
                <a:xfrm>
                  <a:off x="5390165" y="6044541"/>
                  <a:ext cx="26293" cy="26541"/>
                </a:xfrm>
                <a:custGeom>
                  <a:avLst/>
                  <a:gdLst>
                    <a:gd name="connsiteX0" fmla="*/ 442 w 26293"/>
                    <a:gd name="connsiteY0" fmla="*/ 16634 h 26541"/>
                    <a:gd name="connsiteX1" fmla="*/ 9784 w 26293"/>
                    <a:gd name="connsiteY1" fmla="*/ 441 h 26541"/>
                    <a:gd name="connsiteX2" fmla="*/ 25852 w 26293"/>
                    <a:gd name="connsiteY2" fmla="*/ 9908 h 26541"/>
                    <a:gd name="connsiteX3" fmla="*/ 16510 w 26293"/>
                    <a:gd name="connsiteY3" fmla="*/ 26101 h 26541"/>
                    <a:gd name="connsiteX4" fmla="*/ 442 w 26293"/>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16634"/>
                      </a:moveTo>
                      <a:cubicBezTo>
                        <a:pt x="-1426" y="9534"/>
                        <a:pt x="2808" y="2310"/>
                        <a:pt x="9784" y="441"/>
                      </a:cubicBezTo>
                      <a:cubicBezTo>
                        <a:pt x="16759" y="-1427"/>
                        <a:pt x="23983" y="2808"/>
                        <a:pt x="25852" y="9908"/>
                      </a:cubicBezTo>
                      <a:cubicBezTo>
                        <a:pt x="27720" y="17008"/>
                        <a:pt x="23485" y="24232"/>
                        <a:pt x="16510" y="26101"/>
                      </a:cubicBezTo>
                      <a:cubicBezTo>
                        <a:pt x="9410" y="27969"/>
                        <a:pt x="2310" y="23734"/>
                        <a:pt x="442"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0" name="Graphic 2987">
                <a:extLst>
                  <a:ext uri="{FF2B5EF4-FFF2-40B4-BE49-F238E27FC236}">
                    <a16:creationId xmlns:a16="http://schemas.microsoft.com/office/drawing/2014/main" id="{B5A21A5A-A3E5-805F-3402-BBDE927336CE}"/>
                  </a:ext>
                </a:extLst>
              </p:cNvPr>
              <p:cNvGrpSpPr/>
              <p:nvPr/>
            </p:nvGrpSpPr>
            <p:grpSpPr>
              <a:xfrm>
                <a:off x="5387807" y="5918497"/>
                <a:ext cx="57174" cy="144987"/>
                <a:chOff x="5387807" y="5918497"/>
                <a:chExt cx="57174" cy="144987"/>
              </a:xfrm>
              <a:grpFill/>
            </p:grpSpPr>
            <p:sp>
              <p:nvSpPr>
                <p:cNvPr id="5099" name="Freeform 4328">
                  <a:extLst>
                    <a:ext uri="{FF2B5EF4-FFF2-40B4-BE49-F238E27FC236}">
                      <a16:creationId xmlns:a16="http://schemas.microsoft.com/office/drawing/2014/main" id="{BA674616-9896-0AB2-45F6-B4B16820F222}"/>
                    </a:ext>
                  </a:extLst>
                </p:cNvPr>
                <p:cNvSpPr/>
                <p:nvPr/>
              </p:nvSpPr>
              <p:spPr>
                <a:xfrm>
                  <a:off x="5399396" y="5939482"/>
                  <a:ext cx="12494" cy="50694"/>
                </a:xfrm>
                <a:custGeom>
                  <a:avLst/>
                  <a:gdLst>
                    <a:gd name="connsiteX0" fmla="*/ 54 w 12494"/>
                    <a:gd name="connsiteY0" fmla="*/ 0 h 50694"/>
                    <a:gd name="connsiteX1" fmla="*/ 2795 w 12494"/>
                    <a:gd name="connsiteY1" fmla="*/ 18559 h 50694"/>
                    <a:gd name="connsiteX2" fmla="*/ 10393 w 12494"/>
                    <a:gd name="connsiteY2" fmla="*/ 34253 h 50694"/>
                    <a:gd name="connsiteX3" fmla="*/ 12386 w 12494"/>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494" h="50694">
                      <a:moveTo>
                        <a:pt x="54" y="0"/>
                      </a:moveTo>
                      <a:cubicBezTo>
                        <a:pt x="-319" y="8470"/>
                        <a:pt x="1300" y="14573"/>
                        <a:pt x="2795" y="18559"/>
                      </a:cubicBezTo>
                      <a:cubicBezTo>
                        <a:pt x="5286" y="25161"/>
                        <a:pt x="8151" y="27527"/>
                        <a:pt x="10393" y="34253"/>
                      </a:cubicBezTo>
                      <a:cubicBezTo>
                        <a:pt x="12635" y="40855"/>
                        <a:pt x="12635" y="46709"/>
                        <a:pt x="12386"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0" name="Freeform 4329">
                  <a:extLst>
                    <a:ext uri="{FF2B5EF4-FFF2-40B4-BE49-F238E27FC236}">
                      <a16:creationId xmlns:a16="http://schemas.microsoft.com/office/drawing/2014/main" id="{F53FD136-99E0-AB50-673B-617FF17498F7}"/>
                    </a:ext>
                  </a:extLst>
                </p:cNvPr>
                <p:cNvSpPr/>
                <p:nvPr/>
              </p:nvSpPr>
              <p:spPr>
                <a:xfrm>
                  <a:off x="5404806" y="5932881"/>
                  <a:ext cx="13825" cy="50321"/>
                </a:xfrm>
                <a:custGeom>
                  <a:avLst/>
                  <a:gdLst>
                    <a:gd name="connsiteX0" fmla="*/ 13826 w 13825"/>
                    <a:gd name="connsiteY0" fmla="*/ 50321 h 50321"/>
                    <a:gd name="connsiteX1" fmla="*/ 7224 w 13825"/>
                    <a:gd name="connsiteY1" fmla="*/ 32634 h 50321"/>
                    <a:gd name="connsiteX2" fmla="*/ 6228 w 13825"/>
                    <a:gd name="connsiteY2" fmla="*/ 15321 h 50321"/>
                    <a:gd name="connsiteX3" fmla="*/ 0 w 13825"/>
                    <a:gd name="connsiteY3" fmla="*/ 0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50321"/>
                      </a:moveTo>
                      <a:cubicBezTo>
                        <a:pt x="9466" y="43097"/>
                        <a:pt x="7847" y="36994"/>
                        <a:pt x="7224" y="32634"/>
                      </a:cubicBezTo>
                      <a:cubicBezTo>
                        <a:pt x="6228" y="25659"/>
                        <a:pt x="7598" y="22296"/>
                        <a:pt x="6228" y="15321"/>
                      </a:cubicBezTo>
                      <a:cubicBezTo>
                        <a:pt x="4982" y="8470"/>
                        <a:pt x="2242"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1" name="Freeform 4330">
                  <a:extLst>
                    <a:ext uri="{FF2B5EF4-FFF2-40B4-BE49-F238E27FC236}">
                      <a16:creationId xmlns:a16="http://schemas.microsoft.com/office/drawing/2014/main" id="{1A9C0403-D6A4-68AD-02C9-16FAC08B8220}"/>
                    </a:ext>
                  </a:extLst>
                </p:cNvPr>
                <p:cNvSpPr/>
                <p:nvPr/>
              </p:nvSpPr>
              <p:spPr>
                <a:xfrm>
                  <a:off x="5387807" y="5918497"/>
                  <a:ext cx="26649" cy="26533"/>
                </a:xfrm>
                <a:custGeom>
                  <a:avLst/>
                  <a:gdLst>
                    <a:gd name="connsiteX0" fmla="*/ 26216 w 26649"/>
                    <a:gd name="connsiteY0" fmla="*/ 10024 h 26533"/>
                    <a:gd name="connsiteX1" fmla="*/ 16626 w 26649"/>
                    <a:gd name="connsiteY1" fmla="*/ 26092 h 26533"/>
                    <a:gd name="connsiteX2" fmla="*/ 433 w 26649"/>
                    <a:gd name="connsiteY2" fmla="*/ 16626 h 26533"/>
                    <a:gd name="connsiteX3" fmla="*/ 10024 w 26649"/>
                    <a:gd name="connsiteY3" fmla="*/ 433 h 26533"/>
                    <a:gd name="connsiteX4" fmla="*/ 26216 w 26649"/>
                    <a:gd name="connsiteY4" fmla="*/ 10024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33">
                      <a:moveTo>
                        <a:pt x="26216" y="10024"/>
                      </a:moveTo>
                      <a:cubicBezTo>
                        <a:pt x="28085" y="17124"/>
                        <a:pt x="23725" y="24348"/>
                        <a:pt x="16626" y="26092"/>
                      </a:cubicBezTo>
                      <a:cubicBezTo>
                        <a:pt x="9526" y="27960"/>
                        <a:pt x="2301" y="23725"/>
                        <a:pt x="433" y="16626"/>
                      </a:cubicBezTo>
                      <a:cubicBezTo>
                        <a:pt x="-1435" y="9526"/>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2" name="Freeform 4331">
                  <a:extLst>
                    <a:ext uri="{FF2B5EF4-FFF2-40B4-BE49-F238E27FC236}">
                      <a16:creationId xmlns:a16="http://schemas.microsoft.com/office/drawing/2014/main" id="{7DC28601-1930-F1BF-77E9-6FA29469BC10}"/>
                    </a:ext>
                  </a:extLst>
                </p:cNvPr>
                <p:cNvSpPr/>
                <p:nvPr/>
              </p:nvSpPr>
              <p:spPr>
                <a:xfrm>
                  <a:off x="5421014" y="5991921"/>
                  <a:ext cx="12494" cy="50570"/>
                </a:xfrm>
                <a:custGeom>
                  <a:avLst/>
                  <a:gdLst>
                    <a:gd name="connsiteX0" fmla="*/ 12440 w 12494"/>
                    <a:gd name="connsiteY0" fmla="*/ 50570 h 50570"/>
                    <a:gd name="connsiteX1" fmla="*/ 9700 w 12494"/>
                    <a:gd name="connsiteY1" fmla="*/ 32011 h 50570"/>
                    <a:gd name="connsiteX2" fmla="*/ 2102 w 12494"/>
                    <a:gd name="connsiteY2" fmla="*/ 16317 h 50570"/>
                    <a:gd name="connsiteX3" fmla="*/ 109 w 12494"/>
                    <a:gd name="connsiteY3" fmla="*/ 0 h 50570"/>
                  </a:gdLst>
                  <a:ahLst/>
                  <a:cxnLst>
                    <a:cxn ang="0">
                      <a:pos x="connsiteX0" y="connsiteY0"/>
                    </a:cxn>
                    <a:cxn ang="0">
                      <a:pos x="connsiteX1" y="connsiteY1"/>
                    </a:cxn>
                    <a:cxn ang="0">
                      <a:pos x="connsiteX2" y="connsiteY2"/>
                    </a:cxn>
                    <a:cxn ang="0">
                      <a:pos x="connsiteX3" y="connsiteY3"/>
                    </a:cxn>
                  </a:cxnLst>
                  <a:rect l="l" t="t" r="r" b="b"/>
                  <a:pathLst>
                    <a:path w="12494" h="50570">
                      <a:moveTo>
                        <a:pt x="12440" y="50570"/>
                      </a:moveTo>
                      <a:cubicBezTo>
                        <a:pt x="12814" y="42225"/>
                        <a:pt x="11195" y="35997"/>
                        <a:pt x="9700" y="32011"/>
                      </a:cubicBezTo>
                      <a:cubicBezTo>
                        <a:pt x="7209" y="25410"/>
                        <a:pt x="4344" y="23043"/>
                        <a:pt x="2102" y="16317"/>
                      </a:cubicBezTo>
                      <a:cubicBezTo>
                        <a:pt x="-140" y="9715"/>
                        <a:pt x="-140" y="3861"/>
                        <a:pt x="1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3" name="Freeform 4332">
                  <a:extLst>
                    <a:ext uri="{FF2B5EF4-FFF2-40B4-BE49-F238E27FC236}">
                      <a16:creationId xmlns:a16="http://schemas.microsoft.com/office/drawing/2014/main" id="{45E67BE7-FCBD-94C6-10FF-63DF23D69D5B}"/>
                    </a:ext>
                  </a:extLst>
                </p:cNvPr>
                <p:cNvSpPr/>
                <p:nvPr/>
              </p:nvSpPr>
              <p:spPr>
                <a:xfrm>
                  <a:off x="5414273" y="5998772"/>
                  <a:ext cx="13826" cy="50321"/>
                </a:xfrm>
                <a:custGeom>
                  <a:avLst/>
                  <a:gdLst>
                    <a:gd name="connsiteX0" fmla="*/ 0 w 13826"/>
                    <a:gd name="connsiteY0" fmla="*/ 0 h 50321"/>
                    <a:gd name="connsiteX1" fmla="*/ 6602 w 13826"/>
                    <a:gd name="connsiteY1" fmla="*/ 17563 h 50321"/>
                    <a:gd name="connsiteX2" fmla="*/ 7598 w 13826"/>
                    <a:gd name="connsiteY2" fmla="*/ 35001 h 50321"/>
                    <a:gd name="connsiteX3" fmla="*/ 13826 w 1382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6" h="50321">
                      <a:moveTo>
                        <a:pt x="0" y="0"/>
                      </a:moveTo>
                      <a:cubicBezTo>
                        <a:pt x="4360" y="7100"/>
                        <a:pt x="5979" y="13328"/>
                        <a:pt x="6602" y="17563"/>
                      </a:cubicBezTo>
                      <a:cubicBezTo>
                        <a:pt x="7598" y="24538"/>
                        <a:pt x="6353" y="28025"/>
                        <a:pt x="7598" y="35001"/>
                      </a:cubicBezTo>
                      <a:cubicBezTo>
                        <a:pt x="8844" y="41852"/>
                        <a:pt x="11584" y="46958"/>
                        <a:pt x="138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104" name="Freeform 4333">
                  <a:extLst>
                    <a:ext uri="{FF2B5EF4-FFF2-40B4-BE49-F238E27FC236}">
                      <a16:creationId xmlns:a16="http://schemas.microsoft.com/office/drawing/2014/main" id="{0B82C6F4-AC94-53AC-DDB8-76C1F26DA446}"/>
                    </a:ext>
                  </a:extLst>
                </p:cNvPr>
                <p:cNvSpPr/>
                <p:nvPr/>
              </p:nvSpPr>
              <p:spPr>
                <a:xfrm>
                  <a:off x="5418564" y="6036993"/>
                  <a:ext cx="26416" cy="26491"/>
                </a:xfrm>
                <a:custGeom>
                  <a:avLst/>
                  <a:gdLst>
                    <a:gd name="connsiteX0" fmla="*/ 441 w 26416"/>
                    <a:gd name="connsiteY0" fmla="*/ 16584 h 26491"/>
                    <a:gd name="connsiteX1" fmla="*/ 9908 w 26416"/>
                    <a:gd name="connsiteY1" fmla="*/ 392 h 26491"/>
                    <a:gd name="connsiteX2" fmla="*/ 25975 w 26416"/>
                    <a:gd name="connsiteY2" fmla="*/ 9983 h 26491"/>
                    <a:gd name="connsiteX3" fmla="*/ 16509 w 26416"/>
                    <a:gd name="connsiteY3" fmla="*/ 26051 h 26491"/>
                    <a:gd name="connsiteX4" fmla="*/ 441 w 26416"/>
                    <a:gd name="connsiteY4" fmla="*/ 16584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 h="26491">
                      <a:moveTo>
                        <a:pt x="441" y="16584"/>
                      </a:moveTo>
                      <a:cubicBezTo>
                        <a:pt x="-1427" y="9485"/>
                        <a:pt x="2808" y="2260"/>
                        <a:pt x="9908" y="392"/>
                      </a:cubicBezTo>
                      <a:cubicBezTo>
                        <a:pt x="17008" y="-1352"/>
                        <a:pt x="24107" y="2883"/>
                        <a:pt x="25975" y="9983"/>
                      </a:cubicBezTo>
                      <a:cubicBezTo>
                        <a:pt x="27844" y="17082"/>
                        <a:pt x="23609" y="24307"/>
                        <a:pt x="16509" y="26051"/>
                      </a:cubicBezTo>
                      <a:cubicBezTo>
                        <a:pt x="9409" y="27919"/>
                        <a:pt x="2310" y="23684"/>
                        <a:pt x="441" y="16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1" name="Graphic 2987">
                <a:extLst>
                  <a:ext uri="{FF2B5EF4-FFF2-40B4-BE49-F238E27FC236}">
                    <a16:creationId xmlns:a16="http://schemas.microsoft.com/office/drawing/2014/main" id="{3EFC5D23-B9C0-D386-A94C-9CDBD9F4D604}"/>
                  </a:ext>
                </a:extLst>
              </p:cNvPr>
              <p:cNvGrpSpPr/>
              <p:nvPr/>
            </p:nvGrpSpPr>
            <p:grpSpPr>
              <a:xfrm>
                <a:off x="5416705" y="5911273"/>
                <a:ext cx="56792" cy="145062"/>
                <a:chOff x="5416705" y="5911273"/>
                <a:chExt cx="56792" cy="145062"/>
              </a:xfrm>
              <a:grpFill/>
            </p:grpSpPr>
            <p:sp>
              <p:nvSpPr>
                <p:cNvPr id="5093" name="Freeform 4335">
                  <a:extLst>
                    <a:ext uri="{FF2B5EF4-FFF2-40B4-BE49-F238E27FC236}">
                      <a16:creationId xmlns:a16="http://schemas.microsoft.com/office/drawing/2014/main" id="{13977A9B-7E11-67C1-ABED-BAAB9A1251F4}"/>
                    </a:ext>
                  </a:extLst>
                </p:cNvPr>
                <p:cNvSpPr/>
                <p:nvPr/>
              </p:nvSpPr>
              <p:spPr>
                <a:xfrm>
                  <a:off x="5428165" y="5932258"/>
                  <a:ext cx="12498" cy="50695"/>
                </a:xfrm>
                <a:custGeom>
                  <a:avLst/>
                  <a:gdLst>
                    <a:gd name="connsiteX0" fmla="*/ 58 w 12498"/>
                    <a:gd name="connsiteY0" fmla="*/ 0 h 50695"/>
                    <a:gd name="connsiteX1" fmla="*/ 2798 w 12498"/>
                    <a:gd name="connsiteY1" fmla="*/ 18559 h 50695"/>
                    <a:gd name="connsiteX2" fmla="*/ 10396 w 12498"/>
                    <a:gd name="connsiteY2" fmla="*/ 34253 h 50695"/>
                    <a:gd name="connsiteX3" fmla="*/ 12389 w 12498"/>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498" h="50695">
                      <a:moveTo>
                        <a:pt x="58" y="0"/>
                      </a:moveTo>
                      <a:cubicBezTo>
                        <a:pt x="-316" y="8346"/>
                        <a:pt x="1179" y="14573"/>
                        <a:pt x="2798" y="18559"/>
                      </a:cubicBezTo>
                      <a:cubicBezTo>
                        <a:pt x="5290" y="25161"/>
                        <a:pt x="8154" y="27527"/>
                        <a:pt x="10396" y="34253"/>
                      </a:cubicBezTo>
                      <a:cubicBezTo>
                        <a:pt x="12638" y="40855"/>
                        <a:pt x="12638" y="46709"/>
                        <a:pt x="1238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4" name="Freeform 4336">
                  <a:extLst>
                    <a:ext uri="{FF2B5EF4-FFF2-40B4-BE49-F238E27FC236}">
                      <a16:creationId xmlns:a16="http://schemas.microsoft.com/office/drawing/2014/main" id="{9B6C9F50-A625-A363-D7E1-A7568B15AF7B}"/>
                    </a:ext>
                  </a:extLst>
                </p:cNvPr>
                <p:cNvSpPr/>
                <p:nvPr/>
              </p:nvSpPr>
              <p:spPr>
                <a:xfrm>
                  <a:off x="5433953" y="5925532"/>
                  <a:ext cx="13452" cy="50446"/>
                </a:xfrm>
                <a:custGeom>
                  <a:avLst/>
                  <a:gdLst>
                    <a:gd name="connsiteX0" fmla="*/ 13452 w 13452"/>
                    <a:gd name="connsiteY0" fmla="*/ 50446 h 50446"/>
                    <a:gd name="connsiteX1" fmla="*/ 6975 w 13452"/>
                    <a:gd name="connsiteY1" fmla="*/ 32759 h 50446"/>
                    <a:gd name="connsiteX2" fmla="*/ 6103 w 13452"/>
                    <a:gd name="connsiteY2" fmla="*/ 15321 h 50446"/>
                    <a:gd name="connsiteX3" fmla="*/ 0 w 13452"/>
                    <a:gd name="connsiteY3" fmla="*/ 0 h 50446"/>
                  </a:gdLst>
                  <a:ahLst/>
                  <a:cxnLst>
                    <a:cxn ang="0">
                      <a:pos x="connsiteX0" y="connsiteY0"/>
                    </a:cxn>
                    <a:cxn ang="0">
                      <a:pos x="connsiteX1" y="connsiteY1"/>
                    </a:cxn>
                    <a:cxn ang="0">
                      <a:pos x="connsiteX2" y="connsiteY2"/>
                    </a:cxn>
                    <a:cxn ang="0">
                      <a:pos x="connsiteX3" y="connsiteY3"/>
                    </a:cxn>
                  </a:cxnLst>
                  <a:rect l="l" t="t" r="r" b="b"/>
                  <a:pathLst>
                    <a:path w="13451" h="50446">
                      <a:moveTo>
                        <a:pt x="13452" y="50446"/>
                      </a:moveTo>
                      <a:cubicBezTo>
                        <a:pt x="9092" y="43222"/>
                        <a:pt x="7473" y="37118"/>
                        <a:pt x="6975" y="32759"/>
                      </a:cubicBezTo>
                      <a:cubicBezTo>
                        <a:pt x="5979" y="25784"/>
                        <a:pt x="7349" y="22421"/>
                        <a:pt x="6103" y="15321"/>
                      </a:cubicBezTo>
                      <a:cubicBezTo>
                        <a:pt x="4858" y="8470"/>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5" name="Freeform 4337">
                  <a:extLst>
                    <a:ext uri="{FF2B5EF4-FFF2-40B4-BE49-F238E27FC236}">
                      <a16:creationId xmlns:a16="http://schemas.microsoft.com/office/drawing/2014/main" id="{05B9422D-A03B-298A-4FC8-8C22B6CC8AB0}"/>
                    </a:ext>
                  </a:extLst>
                </p:cNvPr>
                <p:cNvSpPr/>
                <p:nvPr/>
              </p:nvSpPr>
              <p:spPr>
                <a:xfrm>
                  <a:off x="5416705" y="5911273"/>
                  <a:ext cx="26608" cy="26483"/>
                </a:xfrm>
                <a:custGeom>
                  <a:avLst/>
                  <a:gdLst>
                    <a:gd name="connsiteX0" fmla="*/ 26216 w 26608"/>
                    <a:gd name="connsiteY0" fmla="*/ 10024 h 26483"/>
                    <a:gd name="connsiteX1" fmla="*/ 16625 w 26608"/>
                    <a:gd name="connsiteY1" fmla="*/ 26092 h 26483"/>
                    <a:gd name="connsiteX2" fmla="*/ 433 w 26608"/>
                    <a:gd name="connsiteY2" fmla="*/ 16501 h 26483"/>
                    <a:gd name="connsiteX3" fmla="*/ 10024 w 26608"/>
                    <a:gd name="connsiteY3" fmla="*/ 433 h 26483"/>
                    <a:gd name="connsiteX4" fmla="*/ 26216 w 26608"/>
                    <a:gd name="connsiteY4" fmla="*/ 10024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 h="26483">
                      <a:moveTo>
                        <a:pt x="26216" y="10024"/>
                      </a:moveTo>
                      <a:cubicBezTo>
                        <a:pt x="27960" y="17124"/>
                        <a:pt x="23725" y="24348"/>
                        <a:pt x="16625" y="26092"/>
                      </a:cubicBezTo>
                      <a:cubicBezTo>
                        <a:pt x="9526" y="27835"/>
                        <a:pt x="2301" y="23600"/>
                        <a:pt x="433" y="16501"/>
                      </a:cubicBezTo>
                      <a:cubicBezTo>
                        <a:pt x="-1435" y="9401"/>
                        <a:pt x="2924" y="2177"/>
                        <a:pt x="10024" y="433"/>
                      </a:cubicBezTo>
                      <a:cubicBezTo>
                        <a:pt x="17248" y="-1435"/>
                        <a:pt x="24472" y="2924"/>
                        <a:pt x="26216" y="100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6" name="Freeform 4338">
                  <a:extLst>
                    <a:ext uri="{FF2B5EF4-FFF2-40B4-BE49-F238E27FC236}">
                      <a16:creationId xmlns:a16="http://schemas.microsoft.com/office/drawing/2014/main" id="{B58D43C1-784E-5325-552D-E0CA5C8F935C}"/>
                    </a:ext>
                  </a:extLst>
                </p:cNvPr>
                <p:cNvSpPr/>
                <p:nvPr/>
              </p:nvSpPr>
              <p:spPr>
                <a:xfrm>
                  <a:off x="5449679" y="5984697"/>
                  <a:ext cx="12357" cy="50695"/>
                </a:xfrm>
                <a:custGeom>
                  <a:avLst/>
                  <a:gdLst>
                    <a:gd name="connsiteX0" fmla="*/ 12300 w 12357"/>
                    <a:gd name="connsiteY0" fmla="*/ 50695 h 50695"/>
                    <a:gd name="connsiteX1" fmla="*/ 9559 w 12357"/>
                    <a:gd name="connsiteY1" fmla="*/ 32136 h 50695"/>
                    <a:gd name="connsiteX2" fmla="*/ 2086 w 12357"/>
                    <a:gd name="connsiteY2" fmla="*/ 16442 h 50695"/>
                    <a:gd name="connsiteX3" fmla="*/ 93 w 12357"/>
                    <a:gd name="connsiteY3" fmla="*/ 0 h 50695"/>
                  </a:gdLst>
                  <a:ahLst/>
                  <a:cxnLst>
                    <a:cxn ang="0">
                      <a:pos x="connsiteX0" y="connsiteY0"/>
                    </a:cxn>
                    <a:cxn ang="0">
                      <a:pos x="connsiteX1" y="connsiteY1"/>
                    </a:cxn>
                    <a:cxn ang="0">
                      <a:pos x="connsiteX2" y="connsiteY2"/>
                    </a:cxn>
                    <a:cxn ang="0">
                      <a:pos x="connsiteX3" y="connsiteY3"/>
                    </a:cxn>
                  </a:cxnLst>
                  <a:rect l="l" t="t" r="r" b="b"/>
                  <a:pathLst>
                    <a:path w="12357" h="50695">
                      <a:moveTo>
                        <a:pt x="12300" y="50695"/>
                      </a:moveTo>
                      <a:cubicBezTo>
                        <a:pt x="12673" y="42350"/>
                        <a:pt x="11179" y="36122"/>
                        <a:pt x="9559" y="32136"/>
                      </a:cubicBezTo>
                      <a:cubicBezTo>
                        <a:pt x="7068" y="25535"/>
                        <a:pt x="4328" y="23168"/>
                        <a:pt x="2086" y="16442"/>
                      </a:cubicBezTo>
                      <a:cubicBezTo>
                        <a:pt x="-32" y="9840"/>
                        <a:pt x="-156" y="3986"/>
                        <a:pt x="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7" name="Freeform 4339">
                  <a:extLst>
                    <a:ext uri="{FF2B5EF4-FFF2-40B4-BE49-F238E27FC236}">
                      <a16:creationId xmlns:a16="http://schemas.microsoft.com/office/drawing/2014/main" id="{15AEBDC2-C489-5985-00DB-A9D54339FA53}"/>
                    </a:ext>
                  </a:extLst>
                </p:cNvPr>
                <p:cNvSpPr/>
                <p:nvPr/>
              </p:nvSpPr>
              <p:spPr>
                <a:xfrm>
                  <a:off x="5442921" y="5991547"/>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59" y="7224"/>
                        <a:pt x="5979" y="13328"/>
                        <a:pt x="6477" y="17687"/>
                      </a:cubicBezTo>
                      <a:cubicBezTo>
                        <a:pt x="7473" y="24662"/>
                        <a:pt x="6103" y="28025"/>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8" name="Freeform 4340">
                  <a:extLst>
                    <a:ext uri="{FF2B5EF4-FFF2-40B4-BE49-F238E27FC236}">
                      <a16:creationId xmlns:a16="http://schemas.microsoft.com/office/drawing/2014/main" id="{23EF36D7-567D-D07F-ADA3-EDF8B8F61467}"/>
                    </a:ext>
                  </a:extLst>
                </p:cNvPr>
                <p:cNvSpPr/>
                <p:nvPr/>
              </p:nvSpPr>
              <p:spPr>
                <a:xfrm>
                  <a:off x="5447096" y="6029893"/>
                  <a:ext cx="26401" cy="26442"/>
                </a:xfrm>
                <a:custGeom>
                  <a:avLst/>
                  <a:gdLst>
                    <a:gd name="connsiteX0" fmla="*/ 433 w 26401"/>
                    <a:gd name="connsiteY0" fmla="*/ 16460 h 26442"/>
                    <a:gd name="connsiteX1" fmla="*/ 9900 w 26401"/>
                    <a:gd name="connsiteY1" fmla="*/ 392 h 26442"/>
                    <a:gd name="connsiteX2" fmla="*/ 25968 w 26401"/>
                    <a:gd name="connsiteY2" fmla="*/ 9983 h 26442"/>
                    <a:gd name="connsiteX3" fmla="*/ 16501 w 26401"/>
                    <a:gd name="connsiteY3" fmla="*/ 26050 h 26442"/>
                    <a:gd name="connsiteX4" fmla="*/ 433 w 26401"/>
                    <a:gd name="connsiteY4" fmla="*/ 16460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1" h="26442">
                      <a:moveTo>
                        <a:pt x="433" y="16460"/>
                      </a:moveTo>
                      <a:cubicBezTo>
                        <a:pt x="-1435" y="9360"/>
                        <a:pt x="2924" y="2136"/>
                        <a:pt x="9900" y="392"/>
                      </a:cubicBezTo>
                      <a:cubicBezTo>
                        <a:pt x="16999" y="-1352"/>
                        <a:pt x="24099" y="2883"/>
                        <a:pt x="25968" y="9983"/>
                      </a:cubicBezTo>
                      <a:cubicBezTo>
                        <a:pt x="27836" y="17082"/>
                        <a:pt x="23477" y="24307"/>
                        <a:pt x="16501" y="26050"/>
                      </a:cubicBezTo>
                      <a:cubicBezTo>
                        <a:pt x="9402" y="27794"/>
                        <a:pt x="2177" y="23560"/>
                        <a:pt x="433"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2" name="Graphic 2987">
                <a:extLst>
                  <a:ext uri="{FF2B5EF4-FFF2-40B4-BE49-F238E27FC236}">
                    <a16:creationId xmlns:a16="http://schemas.microsoft.com/office/drawing/2014/main" id="{7BE55625-D627-CAE9-F2A2-FA8EE4A9AFE7}"/>
                  </a:ext>
                </a:extLst>
              </p:cNvPr>
              <p:cNvGrpSpPr/>
              <p:nvPr/>
            </p:nvGrpSpPr>
            <p:grpSpPr>
              <a:xfrm>
                <a:off x="5445478" y="5903965"/>
                <a:ext cx="56501" cy="145187"/>
                <a:chOff x="5445478" y="5903965"/>
                <a:chExt cx="56501" cy="145187"/>
              </a:xfrm>
              <a:grpFill/>
            </p:grpSpPr>
            <p:sp>
              <p:nvSpPr>
                <p:cNvPr id="5087" name="Freeform 4342">
                  <a:extLst>
                    <a:ext uri="{FF2B5EF4-FFF2-40B4-BE49-F238E27FC236}">
                      <a16:creationId xmlns:a16="http://schemas.microsoft.com/office/drawing/2014/main" id="{3B3E239F-D3D5-7409-FA04-0A4EE3AFEBD3}"/>
                    </a:ext>
                  </a:extLst>
                </p:cNvPr>
                <p:cNvSpPr/>
                <p:nvPr/>
              </p:nvSpPr>
              <p:spPr>
                <a:xfrm>
                  <a:off x="5457028" y="5925034"/>
                  <a:ext cx="12213" cy="50694"/>
                </a:xfrm>
                <a:custGeom>
                  <a:avLst/>
                  <a:gdLst>
                    <a:gd name="connsiteX0" fmla="*/ 92 w 12213"/>
                    <a:gd name="connsiteY0" fmla="*/ 0 h 50694"/>
                    <a:gd name="connsiteX1" fmla="*/ 2708 w 12213"/>
                    <a:gd name="connsiteY1" fmla="*/ 18559 h 50694"/>
                    <a:gd name="connsiteX2" fmla="*/ 10181 w 12213"/>
                    <a:gd name="connsiteY2" fmla="*/ 34253 h 50694"/>
                    <a:gd name="connsiteX3" fmla="*/ 12049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92" y="0"/>
                      </a:moveTo>
                      <a:cubicBezTo>
                        <a:pt x="-406" y="8345"/>
                        <a:pt x="1213" y="14573"/>
                        <a:pt x="2708" y="18559"/>
                      </a:cubicBezTo>
                      <a:cubicBezTo>
                        <a:pt x="5199" y="25161"/>
                        <a:pt x="7939" y="27527"/>
                        <a:pt x="10181" y="34253"/>
                      </a:cubicBezTo>
                      <a:cubicBezTo>
                        <a:pt x="12299" y="40855"/>
                        <a:pt x="12423" y="46709"/>
                        <a:pt x="12049"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8" name="Freeform 4343">
                  <a:extLst>
                    <a:ext uri="{FF2B5EF4-FFF2-40B4-BE49-F238E27FC236}">
                      <a16:creationId xmlns:a16="http://schemas.microsoft.com/office/drawing/2014/main" id="{1FBE949E-0211-1F54-CFDE-71D7E367E38B}"/>
                    </a:ext>
                  </a:extLst>
                </p:cNvPr>
                <p:cNvSpPr/>
                <p:nvPr/>
              </p:nvSpPr>
              <p:spPr>
                <a:xfrm>
                  <a:off x="5462601" y="5918307"/>
                  <a:ext cx="13452" cy="50445"/>
                </a:xfrm>
                <a:custGeom>
                  <a:avLst/>
                  <a:gdLst>
                    <a:gd name="connsiteX0" fmla="*/ 13452 w 13452"/>
                    <a:gd name="connsiteY0" fmla="*/ 50446 h 50445"/>
                    <a:gd name="connsiteX1" fmla="*/ 6975 w 13452"/>
                    <a:gd name="connsiteY1" fmla="*/ 32759 h 50445"/>
                    <a:gd name="connsiteX2" fmla="*/ 6103 w 13452"/>
                    <a:gd name="connsiteY2" fmla="*/ 15321 h 50445"/>
                    <a:gd name="connsiteX3" fmla="*/ 0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13452" y="50446"/>
                      </a:moveTo>
                      <a:cubicBezTo>
                        <a:pt x="9093" y="43222"/>
                        <a:pt x="7598" y="37118"/>
                        <a:pt x="6975" y="32759"/>
                      </a:cubicBezTo>
                      <a:cubicBezTo>
                        <a:pt x="5979" y="25784"/>
                        <a:pt x="7349" y="22296"/>
                        <a:pt x="6103" y="15321"/>
                      </a:cubicBezTo>
                      <a:cubicBezTo>
                        <a:pt x="4858" y="8470"/>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9" name="Freeform 4344">
                  <a:extLst>
                    <a:ext uri="{FF2B5EF4-FFF2-40B4-BE49-F238E27FC236}">
                      <a16:creationId xmlns:a16="http://schemas.microsoft.com/office/drawing/2014/main" id="{09A39C70-2918-7AEC-BC98-872141D76AD0}"/>
                    </a:ext>
                  </a:extLst>
                </p:cNvPr>
                <p:cNvSpPr/>
                <p:nvPr/>
              </p:nvSpPr>
              <p:spPr>
                <a:xfrm>
                  <a:off x="5445478" y="5903965"/>
                  <a:ext cx="26724" cy="26442"/>
                </a:xfrm>
                <a:custGeom>
                  <a:avLst/>
                  <a:gdLst>
                    <a:gd name="connsiteX0" fmla="*/ 26340 w 26724"/>
                    <a:gd name="connsiteY0" fmla="*/ 9983 h 26442"/>
                    <a:gd name="connsiteX1" fmla="*/ 16625 w 26724"/>
                    <a:gd name="connsiteY1" fmla="*/ 26051 h 26442"/>
                    <a:gd name="connsiteX2" fmla="*/ 432 w 26724"/>
                    <a:gd name="connsiteY2" fmla="*/ 16459 h 26442"/>
                    <a:gd name="connsiteX3" fmla="*/ 10148 w 26724"/>
                    <a:gd name="connsiteY3" fmla="*/ 392 h 26442"/>
                    <a:gd name="connsiteX4" fmla="*/ 26340 w 26724"/>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42">
                      <a:moveTo>
                        <a:pt x="26340" y="9983"/>
                      </a:moveTo>
                      <a:cubicBezTo>
                        <a:pt x="28084" y="17082"/>
                        <a:pt x="23725" y="24307"/>
                        <a:pt x="16625" y="26051"/>
                      </a:cubicBezTo>
                      <a:cubicBezTo>
                        <a:pt x="9525" y="27794"/>
                        <a:pt x="2301" y="23559"/>
                        <a:pt x="432" y="16459"/>
                      </a:cubicBezTo>
                      <a:cubicBezTo>
                        <a:pt x="-1436" y="9360"/>
                        <a:pt x="2924" y="2135"/>
                        <a:pt x="10148" y="392"/>
                      </a:cubicBezTo>
                      <a:cubicBezTo>
                        <a:pt x="17372" y="-1352"/>
                        <a:pt x="24597" y="2883"/>
                        <a:pt x="26340"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0" name="Freeform 4345">
                  <a:extLst>
                    <a:ext uri="{FF2B5EF4-FFF2-40B4-BE49-F238E27FC236}">
                      <a16:creationId xmlns:a16="http://schemas.microsoft.com/office/drawing/2014/main" id="{40622681-E6A2-C059-C24C-D165BAF4C2C6}"/>
                    </a:ext>
                  </a:extLst>
                </p:cNvPr>
                <p:cNvSpPr/>
                <p:nvPr/>
              </p:nvSpPr>
              <p:spPr>
                <a:xfrm>
                  <a:off x="5478505" y="5977472"/>
                  <a:ext cx="12179" cy="50695"/>
                </a:xfrm>
                <a:custGeom>
                  <a:avLst/>
                  <a:gdLst>
                    <a:gd name="connsiteX0" fmla="*/ 12122 w 12179"/>
                    <a:gd name="connsiteY0" fmla="*/ 50695 h 50695"/>
                    <a:gd name="connsiteX1" fmla="*/ 9506 w 12179"/>
                    <a:gd name="connsiteY1" fmla="*/ 32136 h 50695"/>
                    <a:gd name="connsiteX2" fmla="*/ 2033 w 12179"/>
                    <a:gd name="connsiteY2" fmla="*/ 16442 h 50695"/>
                    <a:gd name="connsiteX3" fmla="*/ 164 w 12179"/>
                    <a:gd name="connsiteY3" fmla="*/ 0 h 50695"/>
                  </a:gdLst>
                  <a:ahLst/>
                  <a:cxnLst>
                    <a:cxn ang="0">
                      <a:pos x="connsiteX0" y="connsiteY0"/>
                    </a:cxn>
                    <a:cxn ang="0">
                      <a:pos x="connsiteX1" y="connsiteY1"/>
                    </a:cxn>
                    <a:cxn ang="0">
                      <a:pos x="connsiteX2" y="connsiteY2"/>
                    </a:cxn>
                    <a:cxn ang="0">
                      <a:pos x="connsiteX3" y="connsiteY3"/>
                    </a:cxn>
                  </a:cxnLst>
                  <a:rect l="l" t="t" r="r" b="b"/>
                  <a:pathLst>
                    <a:path w="12179" h="50695">
                      <a:moveTo>
                        <a:pt x="12122" y="50695"/>
                      </a:moveTo>
                      <a:cubicBezTo>
                        <a:pt x="12495" y="42350"/>
                        <a:pt x="11001" y="36122"/>
                        <a:pt x="9506" y="32136"/>
                      </a:cubicBezTo>
                      <a:cubicBezTo>
                        <a:pt x="7015" y="25534"/>
                        <a:pt x="4275" y="23168"/>
                        <a:pt x="2033" y="16442"/>
                      </a:cubicBezTo>
                      <a:cubicBezTo>
                        <a:pt x="-85" y="9840"/>
                        <a:pt x="-209" y="3986"/>
                        <a:pt x="1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1" name="Freeform 4346">
                  <a:extLst>
                    <a:ext uri="{FF2B5EF4-FFF2-40B4-BE49-F238E27FC236}">
                      <a16:creationId xmlns:a16="http://schemas.microsoft.com/office/drawing/2014/main" id="{8C1B1FBD-206A-2854-BD21-B970C1BAE11F}"/>
                    </a:ext>
                  </a:extLst>
                </p:cNvPr>
                <p:cNvSpPr/>
                <p:nvPr/>
              </p:nvSpPr>
              <p:spPr>
                <a:xfrm>
                  <a:off x="5471569" y="5984448"/>
                  <a:ext cx="13452" cy="50445"/>
                </a:xfrm>
                <a:custGeom>
                  <a:avLst/>
                  <a:gdLst>
                    <a:gd name="connsiteX0" fmla="*/ 0 w 13452"/>
                    <a:gd name="connsiteY0" fmla="*/ 0 h 50445"/>
                    <a:gd name="connsiteX1" fmla="*/ 6477 w 13452"/>
                    <a:gd name="connsiteY1" fmla="*/ 17687 h 50445"/>
                    <a:gd name="connsiteX2" fmla="*/ 7349 w 13452"/>
                    <a:gd name="connsiteY2" fmla="*/ 35125 h 50445"/>
                    <a:gd name="connsiteX3" fmla="*/ 13452 w 13452"/>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451" h="50445">
                      <a:moveTo>
                        <a:pt x="0" y="0"/>
                      </a:moveTo>
                      <a:cubicBezTo>
                        <a:pt x="4360" y="7224"/>
                        <a:pt x="5854" y="13328"/>
                        <a:pt x="6477" y="17687"/>
                      </a:cubicBezTo>
                      <a:cubicBezTo>
                        <a:pt x="7474" y="24663"/>
                        <a:pt x="6103" y="28150"/>
                        <a:pt x="7349" y="35125"/>
                      </a:cubicBezTo>
                      <a:cubicBezTo>
                        <a:pt x="8595" y="41976"/>
                        <a:pt x="11335" y="47083"/>
                        <a:pt x="13452"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92" name="Freeform 4347">
                  <a:extLst>
                    <a:ext uri="{FF2B5EF4-FFF2-40B4-BE49-F238E27FC236}">
                      <a16:creationId xmlns:a16="http://schemas.microsoft.com/office/drawing/2014/main" id="{F089DFE1-467E-7B60-132B-8DD0D3C2BD4A}"/>
                    </a:ext>
                  </a:extLst>
                </p:cNvPr>
                <p:cNvSpPr/>
                <p:nvPr/>
              </p:nvSpPr>
              <p:spPr>
                <a:xfrm>
                  <a:off x="5475661" y="6022669"/>
                  <a:ext cx="26318" cy="26483"/>
                </a:xfrm>
                <a:custGeom>
                  <a:avLst/>
                  <a:gdLst>
                    <a:gd name="connsiteX0" fmla="*/ 392 w 26318"/>
                    <a:gd name="connsiteY0" fmla="*/ 16460 h 26483"/>
                    <a:gd name="connsiteX1" fmla="*/ 9858 w 26318"/>
                    <a:gd name="connsiteY1" fmla="*/ 392 h 26483"/>
                    <a:gd name="connsiteX2" fmla="*/ 25926 w 26318"/>
                    <a:gd name="connsiteY2" fmla="*/ 9983 h 26483"/>
                    <a:gd name="connsiteX3" fmla="*/ 16336 w 26318"/>
                    <a:gd name="connsiteY3" fmla="*/ 26051 h 26483"/>
                    <a:gd name="connsiteX4" fmla="*/ 392 w 26318"/>
                    <a:gd name="connsiteY4" fmla="*/ 16460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8" h="26483">
                      <a:moveTo>
                        <a:pt x="392" y="16460"/>
                      </a:moveTo>
                      <a:cubicBezTo>
                        <a:pt x="-1352" y="9360"/>
                        <a:pt x="2883" y="2135"/>
                        <a:pt x="9858" y="392"/>
                      </a:cubicBezTo>
                      <a:cubicBezTo>
                        <a:pt x="16958" y="-1352"/>
                        <a:pt x="24058" y="2883"/>
                        <a:pt x="25926" y="9983"/>
                      </a:cubicBezTo>
                      <a:cubicBezTo>
                        <a:pt x="27670" y="17082"/>
                        <a:pt x="23435" y="24307"/>
                        <a:pt x="16336" y="26051"/>
                      </a:cubicBezTo>
                      <a:cubicBezTo>
                        <a:pt x="9360" y="27919"/>
                        <a:pt x="2136" y="23559"/>
                        <a:pt x="392" y="164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3" name="Graphic 2987">
                <a:extLst>
                  <a:ext uri="{FF2B5EF4-FFF2-40B4-BE49-F238E27FC236}">
                    <a16:creationId xmlns:a16="http://schemas.microsoft.com/office/drawing/2014/main" id="{B77EAE34-3B1A-092D-3F09-D8BFBECC14E4}"/>
                  </a:ext>
                </a:extLst>
              </p:cNvPr>
              <p:cNvGrpSpPr/>
              <p:nvPr/>
            </p:nvGrpSpPr>
            <p:grpSpPr>
              <a:xfrm>
                <a:off x="5474548" y="5896741"/>
                <a:ext cx="55955" cy="145387"/>
                <a:chOff x="5474548" y="5896741"/>
                <a:chExt cx="55955" cy="145387"/>
              </a:xfrm>
              <a:grpFill/>
            </p:grpSpPr>
            <p:sp>
              <p:nvSpPr>
                <p:cNvPr id="5081" name="Freeform 4349">
                  <a:extLst>
                    <a:ext uri="{FF2B5EF4-FFF2-40B4-BE49-F238E27FC236}">
                      <a16:creationId xmlns:a16="http://schemas.microsoft.com/office/drawing/2014/main" id="{10EAF896-F6D8-5CE2-A03F-83FA260AED62}"/>
                    </a:ext>
                  </a:extLst>
                </p:cNvPr>
                <p:cNvSpPr/>
                <p:nvPr/>
              </p:nvSpPr>
              <p:spPr>
                <a:xfrm>
                  <a:off x="5485801" y="5917809"/>
                  <a:ext cx="12160" cy="50819"/>
                </a:xfrm>
                <a:custGeom>
                  <a:avLst/>
                  <a:gdLst>
                    <a:gd name="connsiteX0" fmla="*/ 92 w 12160"/>
                    <a:gd name="connsiteY0" fmla="*/ 0 h 50819"/>
                    <a:gd name="connsiteX1" fmla="*/ 2708 w 12160"/>
                    <a:gd name="connsiteY1" fmla="*/ 18684 h 50819"/>
                    <a:gd name="connsiteX2" fmla="*/ 10181 w 12160"/>
                    <a:gd name="connsiteY2" fmla="*/ 34378 h 50819"/>
                    <a:gd name="connsiteX3" fmla="*/ 12050 w 12160"/>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2160" h="50818">
                      <a:moveTo>
                        <a:pt x="92" y="0"/>
                      </a:moveTo>
                      <a:cubicBezTo>
                        <a:pt x="-406" y="8470"/>
                        <a:pt x="1213" y="14573"/>
                        <a:pt x="2708" y="18684"/>
                      </a:cubicBezTo>
                      <a:cubicBezTo>
                        <a:pt x="5199" y="25285"/>
                        <a:pt x="7939" y="27652"/>
                        <a:pt x="10181" y="34378"/>
                      </a:cubicBezTo>
                      <a:cubicBezTo>
                        <a:pt x="12299" y="40980"/>
                        <a:pt x="12299" y="46834"/>
                        <a:pt x="1205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2" name="Freeform 4350">
                  <a:extLst>
                    <a:ext uri="{FF2B5EF4-FFF2-40B4-BE49-F238E27FC236}">
                      <a16:creationId xmlns:a16="http://schemas.microsoft.com/office/drawing/2014/main" id="{83D1BA70-D15A-A90F-E32C-3B30372F8650}"/>
                    </a:ext>
                  </a:extLst>
                </p:cNvPr>
                <p:cNvSpPr/>
                <p:nvPr/>
              </p:nvSpPr>
              <p:spPr>
                <a:xfrm>
                  <a:off x="5491498" y="5911208"/>
                  <a:ext cx="13327" cy="50446"/>
                </a:xfrm>
                <a:custGeom>
                  <a:avLst/>
                  <a:gdLst>
                    <a:gd name="connsiteX0" fmla="*/ 13328 w 13327"/>
                    <a:gd name="connsiteY0" fmla="*/ 50446 h 50446"/>
                    <a:gd name="connsiteX1" fmla="*/ 6851 w 13327"/>
                    <a:gd name="connsiteY1" fmla="*/ 32759 h 50446"/>
                    <a:gd name="connsiteX2" fmla="*/ 6103 w 13327"/>
                    <a:gd name="connsiteY2" fmla="*/ 15321 h 50446"/>
                    <a:gd name="connsiteX3" fmla="*/ 0 w 13327"/>
                    <a:gd name="connsiteY3" fmla="*/ 0 h 50446"/>
                  </a:gdLst>
                  <a:ahLst/>
                  <a:cxnLst>
                    <a:cxn ang="0">
                      <a:pos x="connsiteX0" y="connsiteY0"/>
                    </a:cxn>
                    <a:cxn ang="0">
                      <a:pos x="connsiteX1" y="connsiteY1"/>
                    </a:cxn>
                    <a:cxn ang="0">
                      <a:pos x="connsiteX2" y="connsiteY2"/>
                    </a:cxn>
                    <a:cxn ang="0">
                      <a:pos x="connsiteX3" y="connsiteY3"/>
                    </a:cxn>
                  </a:cxnLst>
                  <a:rect l="l" t="t" r="r" b="b"/>
                  <a:pathLst>
                    <a:path w="13327" h="50446">
                      <a:moveTo>
                        <a:pt x="13328" y="50446"/>
                      </a:moveTo>
                      <a:cubicBezTo>
                        <a:pt x="8968" y="43222"/>
                        <a:pt x="7474" y="37118"/>
                        <a:pt x="6851" y="32759"/>
                      </a:cubicBezTo>
                      <a:cubicBezTo>
                        <a:pt x="5979" y="25784"/>
                        <a:pt x="7224" y="22296"/>
                        <a:pt x="6103" y="15321"/>
                      </a:cubicBezTo>
                      <a:cubicBezTo>
                        <a:pt x="4982" y="8470"/>
                        <a:pt x="2117" y="3239"/>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3" name="Freeform 4351">
                  <a:extLst>
                    <a:ext uri="{FF2B5EF4-FFF2-40B4-BE49-F238E27FC236}">
                      <a16:creationId xmlns:a16="http://schemas.microsoft.com/office/drawing/2014/main" id="{A6BB6BB0-7536-E625-94A8-D81D2FD9B72D}"/>
                    </a:ext>
                  </a:extLst>
                </p:cNvPr>
                <p:cNvSpPr/>
                <p:nvPr/>
              </p:nvSpPr>
              <p:spPr>
                <a:xfrm>
                  <a:off x="5474548" y="5896741"/>
                  <a:ext cx="26551" cy="26442"/>
                </a:xfrm>
                <a:custGeom>
                  <a:avLst/>
                  <a:gdLst>
                    <a:gd name="connsiteX0" fmla="*/ 26168 w 26551"/>
                    <a:gd name="connsiteY0" fmla="*/ 9983 h 26442"/>
                    <a:gd name="connsiteX1" fmla="*/ 16452 w 26551"/>
                    <a:gd name="connsiteY1" fmla="*/ 26050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0"/>
                      </a:cubicBezTo>
                      <a:cubicBezTo>
                        <a:pt x="9352" y="27794"/>
                        <a:pt x="2128" y="23560"/>
                        <a:pt x="384" y="16460"/>
                      </a:cubicBezTo>
                      <a:cubicBezTo>
                        <a:pt x="-1360" y="9360"/>
                        <a:pt x="3000" y="2136"/>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4" name="Freeform 4352">
                  <a:extLst>
                    <a:ext uri="{FF2B5EF4-FFF2-40B4-BE49-F238E27FC236}">
                      <a16:creationId xmlns:a16="http://schemas.microsoft.com/office/drawing/2014/main" id="{124E214D-EE09-C79F-C2AC-26FE30AF60DB}"/>
                    </a:ext>
                  </a:extLst>
                </p:cNvPr>
                <p:cNvSpPr/>
                <p:nvPr/>
              </p:nvSpPr>
              <p:spPr>
                <a:xfrm>
                  <a:off x="5507082" y="5970248"/>
                  <a:ext cx="12160" cy="50819"/>
                </a:xfrm>
                <a:custGeom>
                  <a:avLst/>
                  <a:gdLst>
                    <a:gd name="connsiteX0" fmla="*/ 12069 w 12160"/>
                    <a:gd name="connsiteY0" fmla="*/ 50820 h 50819"/>
                    <a:gd name="connsiteX1" fmla="*/ 9453 w 12160"/>
                    <a:gd name="connsiteY1" fmla="*/ 32136 h 50819"/>
                    <a:gd name="connsiteX2" fmla="*/ 1979 w 12160"/>
                    <a:gd name="connsiteY2" fmla="*/ 16442 h 50819"/>
                    <a:gd name="connsiteX3" fmla="*/ 111 w 12160"/>
                    <a:gd name="connsiteY3" fmla="*/ 0 h 50819"/>
                  </a:gdLst>
                  <a:ahLst/>
                  <a:cxnLst>
                    <a:cxn ang="0">
                      <a:pos x="connsiteX0" y="connsiteY0"/>
                    </a:cxn>
                    <a:cxn ang="0">
                      <a:pos x="connsiteX1" y="connsiteY1"/>
                    </a:cxn>
                    <a:cxn ang="0">
                      <a:pos x="connsiteX2" y="connsiteY2"/>
                    </a:cxn>
                    <a:cxn ang="0">
                      <a:pos x="connsiteX3" y="connsiteY3"/>
                    </a:cxn>
                  </a:cxnLst>
                  <a:rect l="l" t="t" r="r" b="b"/>
                  <a:pathLst>
                    <a:path w="12160" h="50818">
                      <a:moveTo>
                        <a:pt x="12069" y="50820"/>
                      </a:moveTo>
                      <a:cubicBezTo>
                        <a:pt x="12567" y="42474"/>
                        <a:pt x="10948" y="36246"/>
                        <a:pt x="9453" y="32136"/>
                      </a:cubicBezTo>
                      <a:cubicBezTo>
                        <a:pt x="6962" y="25535"/>
                        <a:pt x="4221" y="23168"/>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5" name="Freeform 4353">
                  <a:extLst>
                    <a:ext uri="{FF2B5EF4-FFF2-40B4-BE49-F238E27FC236}">
                      <a16:creationId xmlns:a16="http://schemas.microsoft.com/office/drawing/2014/main" id="{9F07B802-A707-5037-BB96-62F4F2AD64E1}"/>
                    </a:ext>
                  </a:extLst>
                </p:cNvPr>
                <p:cNvSpPr/>
                <p:nvPr/>
              </p:nvSpPr>
              <p:spPr>
                <a:xfrm>
                  <a:off x="5500217" y="5977223"/>
                  <a:ext cx="13327" cy="50445"/>
                </a:xfrm>
                <a:custGeom>
                  <a:avLst/>
                  <a:gdLst>
                    <a:gd name="connsiteX0" fmla="*/ 0 w 13327"/>
                    <a:gd name="connsiteY0" fmla="*/ 0 h 50445"/>
                    <a:gd name="connsiteX1" fmla="*/ 6477 w 13327"/>
                    <a:gd name="connsiteY1" fmla="*/ 17687 h 50445"/>
                    <a:gd name="connsiteX2" fmla="*/ 7349 w 13327"/>
                    <a:gd name="connsiteY2" fmla="*/ 35125 h 50445"/>
                    <a:gd name="connsiteX3" fmla="*/ 13328 w 1332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327" h="50445">
                      <a:moveTo>
                        <a:pt x="0" y="0"/>
                      </a:moveTo>
                      <a:cubicBezTo>
                        <a:pt x="4360" y="7224"/>
                        <a:pt x="5854" y="13327"/>
                        <a:pt x="6477" y="17687"/>
                      </a:cubicBezTo>
                      <a:cubicBezTo>
                        <a:pt x="7349" y="24662"/>
                        <a:pt x="6104" y="28150"/>
                        <a:pt x="7349" y="35125"/>
                      </a:cubicBezTo>
                      <a:cubicBezTo>
                        <a:pt x="8595" y="41976"/>
                        <a:pt x="11335" y="47207"/>
                        <a:pt x="1332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6" name="Freeform 4354">
                  <a:extLst>
                    <a:ext uri="{FF2B5EF4-FFF2-40B4-BE49-F238E27FC236}">
                      <a16:creationId xmlns:a16="http://schemas.microsoft.com/office/drawing/2014/main" id="{646DA14B-B999-871D-12A3-8A79189954EA}"/>
                    </a:ext>
                  </a:extLst>
                </p:cNvPr>
                <p:cNvSpPr/>
                <p:nvPr/>
              </p:nvSpPr>
              <p:spPr>
                <a:xfrm>
                  <a:off x="5504185" y="6015569"/>
                  <a:ext cx="26317" cy="26558"/>
                </a:xfrm>
                <a:custGeom>
                  <a:avLst/>
                  <a:gdLst>
                    <a:gd name="connsiteX0" fmla="*/ 392 w 26317"/>
                    <a:gd name="connsiteY0" fmla="*/ 16459 h 26558"/>
                    <a:gd name="connsiteX1" fmla="*/ 9983 w 26317"/>
                    <a:gd name="connsiteY1" fmla="*/ 391 h 26558"/>
                    <a:gd name="connsiteX2" fmla="*/ 25926 w 26317"/>
                    <a:gd name="connsiteY2" fmla="*/ 10107 h 26558"/>
                    <a:gd name="connsiteX3" fmla="*/ 16335 w 26317"/>
                    <a:gd name="connsiteY3" fmla="*/ 26175 h 26558"/>
                    <a:gd name="connsiteX4" fmla="*/ 392 w 26317"/>
                    <a:gd name="connsiteY4" fmla="*/ 16459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58">
                      <a:moveTo>
                        <a:pt x="392" y="16459"/>
                      </a:moveTo>
                      <a:cubicBezTo>
                        <a:pt x="-1352" y="9359"/>
                        <a:pt x="2883" y="2135"/>
                        <a:pt x="9983" y="391"/>
                      </a:cubicBezTo>
                      <a:cubicBezTo>
                        <a:pt x="17082" y="-1352"/>
                        <a:pt x="24182" y="2883"/>
                        <a:pt x="25926" y="10107"/>
                      </a:cubicBezTo>
                      <a:cubicBezTo>
                        <a:pt x="27670" y="17207"/>
                        <a:pt x="23435" y="24431"/>
                        <a:pt x="16335" y="26175"/>
                      </a:cubicBezTo>
                      <a:cubicBezTo>
                        <a:pt x="9236" y="27918"/>
                        <a:pt x="2136" y="23559"/>
                        <a:pt x="392" y="16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4" name="Graphic 2987">
                <a:extLst>
                  <a:ext uri="{FF2B5EF4-FFF2-40B4-BE49-F238E27FC236}">
                    <a16:creationId xmlns:a16="http://schemas.microsoft.com/office/drawing/2014/main" id="{37C3F6E4-B708-8E5C-2432-50789603B569}"/>
                  </a:ext>
                </a:extLst>
              </p:cNvPr>
              <p:cNvGrpSpPr/>
              <p:nvPr/>
            </p:nvGrpSpPr>
            <p:grpSpPr>
              <a:xfrm>
                <a:off x="5503321" y="5889517"/>
                <a:ext cx="55698" cy="145387"/>
                <a:chOff x="5503321" y="5889517"/>
                <a:chExt cx="55698" cy="145387"/>
              </a:xfrm>
              <a:grpFill/>
            </p:grpSpPr>
            <p:sp>
              <p:nvSpPr>
                <p:cNvPr id="5075" name="Freeform 4356">
                  <a:extLst>
                    <a:ext uri="{FF2B5EF4-FFF2-40B4-BE49-F238E27FC236}">
                      <a16:creationId xmlns:a16="http://schemas.microsoft.com/office/drawing/2014/main" id="{D4E47E8B-4C6F-8AF4-8139-DFB7488381F0}"/>
                    </a:ext>
                  </a:extLst>
                </p:cNvPr>
                <p:cNvSpPr/>
                <p:nvPr/>
              </p:nvSpPr>
              <p:spPr>
                <a:xfrm>
                  <a:off x="5514693" y="5910585"/>
                  <a:ext cx="11917" cy="50819"/>
                </a:xfrm>
                <a:custGeom>
                  <a:avLst/>
                  <a:gdLst>
                    <a:gd name="connsiteX0" fmla="*/ 98 w 11917"/>
                    <a:gd name="connsiteY0" fmla="*/ 0 h 50819"/>
                    <a:gd name="connsiteX1" fmla="*/ 2589 w 11917"/>
                    <a:gd name="connsiteY1" fmla="*/ 18684 h 50819"/>
                    <a:gd name="connsiteX2" fmla="*/ 9938 w 11917"/>
                    <a:gd name="connsiteY2" fmla="*/ 34378 h 50819"/>
                    <a:gd name="connsiteX3" fmla="*/ 11806 w 11917"/>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917" h="50818">
                      <a:moveTo>
                        <a:pt x="98" y="0"/>
                      </a:moveTo>
                      <a:cubicBezTo>
                        <a:pt x="-401" y="8470"/>
                        <a:pt x="1094" y="14573"/>
                        <a:pt x="2589" y="18684"/>
                      </a:cubicBezTo>
                      <a:cubicBezTo>
                        <a:pt x="4956" y="25285"/>
                        <a:pt x="7820" y="27652"/>
                        <a:pt x="9938" y="34378"/>
                      </a:cubicBezTo>
                      <a:cubicBezTo>
                        <a:pt x="12055" y="40979"/>
                        <a:pt x="12055" y="46833"/>
                        <a:pt x="11806"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6" name="Freeform 4357">
                  <a:extLst>
                    <a:ext uri="{FF2B5EF4-FFF2-40B4-BE49-F238E27FC236}">
                      <a16:creationId xmlns:a16="http://schemas.microsoft.com/office/drawing/2014/main" id="{244C7E93-CBD7-4DEC-4FFE-FCC26224B5AA}"/>
                    </a:ext>
                  </a:extLst>
                </p:cNvPr>
                <p:cNvSpPr/>
                <p:nvPr/>
              </p:nvSpPr>
              <p:spPr>
                <a:xfrm>
                  <a:off x="5520520" y="5903983"/>
                  <a:ext cx="13078" cy="50445"/>
                </a:xfrm>
                <a:custGeom>
                  <a:avLst/>
                  <a:gdLst>
                    <a:gd name="connsiteX0" fmla="*/ 13079 w 13078"/>
                    <a:gd name="connsiteY0" fmla="*/ 50446 h 50445"/>
                    <a:gd name="connsiteX1" fmla="*/ 6726 w 13078"/>
                    <a:gd name="connsiteY1" fmla="*/ 32759 h 50445"/>
                    <a:gd name="connsiteX2" fmla="*/ 5979 w 13078"/>
                    <a:gd name="connsiteY2" fmla="*/ 15320 h 50445"/>
                    <a:gd name="connsiteX3" fmla="*/ 0 w 13078"/>
                    <a:gd name="connsiteY3" fmla="*/ 0 h 50445"/>
                  </a:gdLst>
                  <a:ahLst/>
                  <a:cxnLst>
                    <a:cxn ang="0">
                      <a:pos x="connsiteX0" y="connsiteY0"/>
                    </a:cxn>
                    <a:cxn ang="0">
                      <a:pos x="connsiteX1" y="connsiteY1"/>
                    </a:cxn>
                    <a:cxn ang="0">
                      <a:pos x="connsiteX2" y="connsiteY2"/>
                    </a:cxn>
                    <a:cxn ang="0">
                      <a:pos x="connsiteX3" y="connsiteY3"/>
                    </a:cxn>
                  </a:cxnLst>
                  <a:rect l="l" t="t" r="r" b="b"/>
                  <a:pathLst>
                    <a:path w="13078" h="50445">
                      <a:moveTo>
                        <a:pt x="13079" y="50446"/>
                      </a:moveTo>
                      <a:cubicBezTo>
                        <a:pt x="8719" y="43222"/>
                        <a:pt x="7225" y="37118"/>
                        <a:pt x="6726" y="32759"/>
                      </a:cubicBezTo>
                      <a:cubicBezTo>
                        <a:pt x="5854" y="25783"/>
                        <a:pt x="7225" y="22296"/>
                        <a:pt x="5979" y="15320"/>
                      </a:cubicBezTo>
                      <a:cubicBezTo>
                        <a:pt x="4858" y="8470"/>
                        <a:pt x="2118" y="323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7" name="Freeform 4358">
                  <a:extLst>
                    <a:ext uri="{FF2B5EF4-FFF2-40B4-BE49-F238E27FC236}">
                      <a16:creationId xmlns:a16="http://schemas.microsoft.com/office/drawing/2014/main" id="{B90934D0-FF01-FF76-A5E3-DEC7AF8E6378}"/>
                    </a:ext>
                  </a:extLst>
                </p:cNvPr>
                <p:cNvSpPr/>
                <p:nvPr/>
              </p:nvSpPr>
              <p:spPr>
                <a:xfrm>
                  <a:off x="5503321" y="5889517"/>
                  <a:ext cx="26551" cy="26442"/>
                </a:xfrm>
                <a:custGeom>
                  <a:avLst/>
                  <a:gdLst>
                    <a:gd name="connsiteX0" fmla="*/ 26168 w 26551"/>
                    <a:gd name="connsiteY0" fmla="*/ 9983 h 26442"/>
                    <a:gd name="connsiteX1" fmla="*/ 16452 w 26551"/>
                    <a:gd name="connsiteY1" fmla="*/ 26051 h 26442"/>
                    <a:gd name="connsiteX2" fmla="*/ 384 w 26551"/>
                    <a:gd name="connsiteY2" fmla="*/ 16460 h 26442"/>
                    <a:gd name="connsiteX3" fmla="*/ 10100 w 26551"/>
                    <a:gd name="connsiteY3" fmla="*/ 392 h 26442"/>
                    <a:gd name="connsiteX4" fmla="*/ 26168 w 26551"/>
                    <a:gd name="connsiteY4" fmla="*/ 9983 h 26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1" h="26442">
                      <a:moveTo>
                        <a:pt x="26168" y="9983"/>
                      </a:moveTo>
                      <a:cubicBezTo>
                        <a:pt x="27912" y="17082"/>
                        <a:pt x="23552" y="24307"/>
                        <a:pt x="16452" y="26051"/>
                      </a:cubicBezTo>
                      <a:cubicBezTo>
                        <a:pt x="9352" y="27794"/>
                        <a:pt x="2128" y="23559"/>
                        <a:pt x="384" y="16460"/>
                      </a:cubicBezTo>
                      <a:cubicBezTo>
                        <a:pt x="-1360" y="9360"/>
                        <a:pt x="3000" y="2135"/>
                        <a:pt x="10100" y="392"/>
                      </a:cubicBezTo>
                      <a:cubicBezTo>
                        <a:pt x="17199" y="-1352"/>
                        <a:pt x="24424" y="2883"/>
                        <a:pt x="26168" y="99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8" name="Freeform 4359">
                  <a:extLst>
                    <a:ext uri="{FF2B5EF4-FFF2-40B4-BE49-F238E27FC236}">
                      <a16:creationId xmlns:a16="http://schemas.microsoft.com/office/drawing/2014/main" id="{D41F639B-D0F4-8AF1-5876-8FA49BF9465F}"/>
                    </a:ext>
                  </a:extLst>
                </p:cNvPr>
                <p:cNvSpPr/>
                <p:nvPr/>
              </p:nvSpPr>
              <p:spPr>
                <a:xfrm>
                  <a:off x="5535854" y="5962899"/>
                  <a:ext cx="11917" cy="50944"/>
                </a:xfrm>
                <a:custGeom>
                  <a:avLst/>
                  <a:gdLst>
                    <a:gd name="connsiteX0" fmla="*/ 11820 w 11917"/>
                    <a:gd name="connsiteY0" fmla="*/ 50944 h 50944"/>
                    <a:gd name="connsiteX1" fmla="*/ 9328 w 11917"/>
                    <a:gd name="connsiteY1" fmla="*/ 32260 h 50944"/>
                    <a:gd name="connsiteX2" fmla="*/ 1979 w 11917"/>
                    <a:gd name="connsiteY2" fmla="*/ 16442 h 50944"/>
                    <a:gd name="connsiteX3" fmla="*/ 111 w 11917"/>
                    <a:gd name="connsiteY3" fmla="*/ 0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50944"/>
                      </a:moveTo>
                      <a:cubicBezTo>
                        <a:pt x="12318" y="42474"/>
                        <a:pt x="10823" y="36371"/>
                        <a:pt x="9328" y="32260"/>
                      </a:cubicBezTo>
                      <a:cubicBezTo>
                        <a:pt x="6962" y="25659"/>
                        <a:pt x="4097" y="23293"/>
                        <a:pt x="1979" y="16442"/>
                      </a:cubicBezTo>
                      <a:cubicBezTo>
                        <a:pt x="-138" y="9840"/>
                        <a:pt x="-138" y="3986"/>
                        <a:pt x="1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9" name="Freeform 4360">
                  <a:extLst>
                    <a:ext uri="{FF2B5EF4-FFF2-40B4-BE49-F238E27FC236}">
                      <a16:creationId xmlns:a16="http://schemas.microsoft.com/office/drawing/2014/main" id="{04575210-53E3-394E-6224-5BCAC61952FB}"/>
                    </a:ext>
                  </a:extLst>
                </p:cNvPr>
                <p:cNvSpPr/>
                <p:nvPr/>
              </p:nvSpPr>
              <p:spPr>
                <a:xfrm>
                  <a:off x="5528990" y="5969999"/>
                  <a:ext cx="13078" cy="50446"/>
                </a:xfrm>
                <a:custGeom>
                  <a:avLst/>
                  <a:gdLst>
                    <a:gd name="connsiteX0" fmla="*/ 0 w 13078"/>
                    <a:gd name="connsiteY0" fmla="*/ 0 h 50446"/>
                    <a:gd name="connsiteX1" fmla="*/ 6352 w 13078"/>
                    <a:gd name="connsiteY1" fmla="*/ 17687 h 50446"/>
                    <a:gd name="connsiteX2" fmla="*/ 7099 w 13078"/>
                    <a:gd name="connsiteY2" fmla="*/ 35125 h 50446"/>
                    <a:gd name="connsiteX3" fmla="*/ 13078 w 13078"/>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078" h="50446">
                      <a:moveTo>
                        <a:pt x="0" y="0"/>
                      </a:moveTo>
                      <a:cubicBezTo>
                        <a:pt x="4359" y="7225"/>
                        <a:pt x="5854" y="13328"/>
                        <a:pt x="6352" y="17687"/>
                      </a:cubicBezTo>
                      <a:cubicBezTo>
                        <a:pt x="7224" y="24663"/>
                        <a:pt x="5979" y="28150"/>
                        <a:pt x="7099" y="35125"/>
                      </a:cubicBezTo>
                      <a:cubicBezTo>
                        <a:pt x="8220" y="41976"/>
                        <a:pt x="10961" y="47207"/>
                        <a:pt x="130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80" name="Freeform 4361">
                  <a:extLst>
                    <a:ext uri="{FF2B5EF4-FFF2-40B4-BE49-F238E27FC236}">
                      <a16:creationId xmlns:a16="http://schemas.microsoft.com/office/drawing/2014/main" id="{AC25F8F4-C490-2352-6D33-EBE4BE321977}"/>
                    </a:ext>
                  </a:extLst>
                </p:cNvPr>
                <p:cNvSpPr/>
                <p:nvPr/>
              </p:nvSpPr>
              <p:spPr>
                <a:xfrm>
                  <a:off x="5532709" y="6008352"/>
                  <a:ext cx="26310" cy="26551"/>
                </a:xfrm>
                <a:custGeom>
                  <a:avLst/>
                  <a:gdLst>
                    <a:gd name="connsiteX0" fmla="*/ 392 w 26310"/>
                    <a:gd name="connsiteY0" fmla="*/ 16452 h 26551"/>
                    <a:gd name="connsiteX1" fmla="*/ 9983 w 26310"/>
                    <a:gd name="connsiteY1" fmla="*/ 384 h 26551"/>
                    <a:gd name="connsiteX2" fmla="*/ 25926 w 26310"/>
                    <a:gd name="connsiteY2" fmla="*/ 10100 h 26551"/>
                    <a:gd name="connsiteX3" fmla="*/ 16335 w 26310"/>
                    <a:gd name="connsiteY3" fmla="*/ 26167 h 26551"/>
                    <a:gd name="connsiteX4" fmla="*/ 392 w 2631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9" h="26551">
                      <a:moveTo>
                        <a:pt x="392" y="16452"/>
                      </a:moveTo>
                      <a:cubicBezTo>
                        <a:pt x="-1352" y="9352"/>
                        <a:pt x="2883" y="2128"/>
                        <a:pt x="9983" y="384"/>
                      </a:cubicBezTo>
                      <a:cubicBezTo>
                        <a:pt x="17082" y="-1360"/>
                        <a:pt x="24182" y="3000"/>
                        <a:pt x="25926" y="10100"/>
                      </a:cubicBezTo>
                      <a:cubicBezTo>
                        <a:pt x="27670" y="17199"/>
                        <a:pt x="23310" y="24424"/>
                        <a:pt x="16335" y="26167"/>
                      </a:cubicBezTo>
                      <a:cubicBezTo>
                        <a:pt x="9360" y="27911"/>
                        <a:pt x="2135" y="23552"/>
                        <a:pt x="3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5" name="Graphic 2987">
                <a:extLst>
                  <a:ext uri="{FF2B5EF4-FFF2-40B4-BE49-F238E27FC236}">
                    <a16:creationId xmlns:a16="http://schemas.microsoft.com/office/drawing/2014/main" id="{9B6B2C8C-C19C-51E4-1607-F7969E790DC3}"/>
                  </a:ext>
                </a:extLst>
              </p:cNvPr>
              <p:cNvGrpSpPr/>
              <p:nvPr/>
            </p:nvGrpSpPr>
            <p:grpSpPr>
              <a:xfrm>
                <a:off x="5532219" y="5882346"/>
                <a:ext cx="55448" cy="145497"/>
                <a:chOff x="5532219" y="5882346"/>
                <a:chExt cx="55448" cy="145497"/>
              </a:xfrm>
              <a:grpFill/>
            </p:grpSpPr>
            <p:sp>
              <p:nvSpPr>
                <p:cNvPr id="5069" name="Freeform 4363">
                  <a:extLst>
                    <a:ext uri="{FF2B5EF4-FFF2-40B4-BE49-F238E27FC236}">
                      <a16:creationId xmlns:a16="http://schemas.microsoft.com/office/drawing/2014/main" id="{626D12FC-35C2-6F9A-4D76-4CD0BBC71546}"/>
                    </a:ext>
                  </a:extLst>
                </p:cNvPr>
                <p:cNvSpPr/>
                <p:nvPr/>
              </p:nvSpPr>
              <p:spPr>
                <a:xfrm>
                  <a:off x="5543590" y="5903360"/>
                  <a:ext cx="11869" cy="50944"/>
                </a:xfrm>
                <a:custGeom>
                  <a:avLst/>
                  <a:gdLst>
                    <a:gd name="connsiteX0" fmla="*/ 98 w 11869"/>
                    <a:gd name="connsiteY0" fmla="*/ 0 h 50944"/>
                    <a:gd name="connsiteX1" fmla="*/ 2589 w 11869"/>
                    <a:gd name="connsiteY1" fmla="*/ 18684 h 50944"/>
                    <a:gd name="connsiteX2" fmla="*/ 9938 w 11869"/>
                    <a:gd name="connsiteY2" fmla="*/ 34503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6"/>
                        <a:pt x="1094" y="14573"/>
                        <a:pt x="2589" y="18684"/>
                      </a:cubicBezTo>
                      <a:cubicBezTo>
                        <a:pt x="4955" y="25285"/>
                        <a:pt x="7820" y="27776"/>
                        <a:pt x="9938" y="34503"/>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0" name="Freeform 4364">
                  <a:extLst>
                    <a:ext uri="{FF2B5EF4-FFF2-40B4-BE49-F238E27FC236}">
                      <a16:creationId xmlns:a16="http://schemas.microsoft.com/office/drawing/2014/main" id="{95F1340A-57D3-B722-C554-35061856811C}"/>
                    </a:ext>
                  </a:extLst>
                </p:cNvPr>
                <p:cNvSpPr/>
                <p:nvPr/>
              </p:nvSpPr>
              <p:spPr>
                <a:xfrm>
                  <a:off x="5549169" y="5896759"/>
                  <a:ext cx="13078" cy="50570"/>
                </a:xfrm>
                <a:custGeom>
                  <a:avLst/>
                  <a:gdLst>
                    <a:gd name="connsiteX0" fmla="*/ 13078 w 13078"/>
                    <a:gd name="connsiteY0" fmla="*/ 50570 h 50570"/>
                    <a:gd name="connsiteX1" fmla="*/ 6726 w 13078"/>
                    <a:gd name="connsiteY1" fmla="*/ 32883 h 50570"/>
                    <a:gd name="connsiteX2" fmla="*/ 5979 w 13078"/>
                    <a:gd name="connsiteY2" fmla="*/ 15445 h 50570"/>
                    <a:gd name="connsiteX3" fmla="*/ 0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50570"/>
                      </a:moveTo>
                      <a:cubicBezTo>
                        <a:pt x="8719" y="43346"/>
                        <a:pt x="7349" y="37118"/>
                        <a:pt x="6726" y="32883"/>
                      </a:cubicBezTo>
                      <a:cubicBezTo>
                        <a:pt x="5854" y="25908"/>
                        <a:pt x="7224"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1" name="Freeform 4365">
                  <a:extLst>
                    <a:ext uri="{FF2B5EF4-FFF2-40B4-BE49-F238E27FC236}">
                      <a16:creationId xmlns:a16="http://schemas.microsoft.com/office/drawing/2014/main" id="{2018C815-1774-FBF2-7815-5CC4536C89D6}"/>
                    </a:ext>
                  </a:extLst>
                </p:cNvPr>
                <p:cNvSpPr/>
                <p:nvPr/>
              </p:nvSpPr>
              <p:spPr>
                <a:xfrm>
                  <a:off x="5532219" y="5882346"/>
                  <a:ext cx="26668" cy="26465"/>
                </a:xfrm>
                <a:custGeom>
                  <a:avLst/>
                  <a:gdLst>
                    <a:gd name="connsiteX0" fmla="*/ 26292 w 26668"/>
                    <a:gd name="connsiteY0" fmla="*/ 10177 h 26465"/>
                    <a:gd name="connsiteX1" fmla="*/ 16452 w 26668"/>
                    <a:gd name="connsiteY1" fmla="*/ 26121 h 26465"/>
                    <a:gd name="connsiteX2" fmla="*/ 384 w 26668"/>
                    <a:gd name="connsiteY2" fmla="*/ 16405 h 26465"/>
                    <a:gd name="connsiteX3" fmla="*/ 10224 w 26668"/>
                    <a:gd name="connsiteY3" fmla="*/ 337 h 26465"/>
                    <a:gd name="connsiteX4" fmla="*/ 26292 w 26668"/>
                    <a:gd name="connsiteY4" fmla="*/ 10177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65">
                      <a:moveTo>
                        <a:pt x="26292" y="10177"/>
                      </a:moveTo>
                      <a:cubicBezTo>
                        <a:pt x="28035" y="17277"/>
                        <a:pt x="23552" y="24377"/>
                        <a:pt x="16452" y="26121"/>
                      </a:cubicBezTo>
                      <a:cubicBezTo>
                        <a:pt x="9352" y="27740"/>
                        <a:pt x="2128" y="23505"/>
                        <a:pt x="384" y="16405"/>
                      </a:cubicBezTo>
                      <a:cubicBezTo>
                        <a:pt x="-1360" y="9305"/>
                        <a:pt x="3000" y="2081"/>
                        <a:pt x="10224" y="337"/>
                      </a:cubicBezTo>
                      <a:cubicBezTo>
                        <a:pt x="17324" y="-1282"/>
                        <a:pt x="24548" y="3078"/>
                        <a:pt x="262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2" name="Freeform 4366">
                  <a:extLst>
                    <a:ext uri="{FF2B5EF4-FFF2-40B4-BE49-F238E27FC236}">
                      <a16:creationId xmlns:a16="http://schemas.microsoft.com/office/drawing/2014/main" id="{C4B63274-9A02-B0CB-47C4-29CAF5CD7F6A}"/>
                    </a:ext>
                  </a:extLst>
                </p:cNvPr>
                <p:cNvSpPr/>
                <p:nvPr/>
              </p:nvSpPr>
              <p:spPr>
                <a:xfrm>
                  <a:off x="5564550" y="5955924"/>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5" y="36371"/>
                        <a:pt x="9281" y="32260"/>
                      </a:cubicBezTo>
                      <a:cubicBezTo>
                        <a:pt x="6914" y="25659"/>
                        <a:pt x="4050"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3" name="Freeform 4367">
                  <a:extLst>
                    <a:ext uri="{FF2B5EF4-FFF2-40B4-BE49-F238E27FC236}">
                      <a16:creationId xmlns:a16="http://schemas.microsoft.com/office/drawing/2014/main" id="{928D63F3-37BE-5C63-6930-0D8F5E136B41}"/>
                    </a:ext>
                  </a:extLst>
                </p:cNvPr>
                <p:cNvSpPr/>
                <p:nvPr/>
              </p:nvSpPr>
              <p:spPr>
                <a:xfrm>
                  <a:off x="5557639" y="5962899"/>
                  <a:ext cx="13078" cy="50570"/>
                </a:xfrm>
                <a:custGeom>
                  <a:avLst/>
                  <a:gdLst>
                    <a:gd name="connsiteX0" fmla="*/ 0 w 13078"/>
                    <a:gd name="connsiteY0" fmla="*/ 0 h 50570"/>
                    <a:gd name="connsiteX1" fmla="*/ 6353 w 13078"/>
                    <a:gd name="connsiteY1" fmla="*/ 17687 h 50570"/>
                    <a:gd name="connsiteX2" fmla="*/ 7100 w 13078"/>
                    <a:gd name="connsiteY2" fmla="*/ 35125 h 50570"/>
                    <a:gd name="connsiteX3" fmla="*/ 13078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0" y="0"/>
                      </a:moveTo>
                      <a:cubicBezTo>
                        <a:pt x="4360" y="7225"/>
                        <a:pt x="5730" y="13452"/>
                        <a:pt x="6353" y="17687"/>
                      </a:cubicBezTo>
                      <a:cubicBezTo>
                        <a:pt x="7224" y="24663"/>
                        <a:pt x="5854" y="28025"/>
                        <a:pt x="7100" y="35125"/>
                      </a:cubicBezTo>
                      <a:cubicBezTo>
                        <a:pt x="8221" y="41976"/>
                        <a:pt x="10961" y="47207"/>
                        <a:pt x="13078"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74" name="Freeform 4368">
                  <a:extLst>
                    <a:ext uri="{FF2B5EF4-FFF2-40B4-BE49-F238E27FC236}">
                      <a16:creationId xmlns:a16="http://schemas.microsoft.com/office/drawing/2014/main" id="{EE6043CE-2F5A-FF0A-578A-2650DB101F18}"/>
                    </a:ext>
                  </a:extLst>
                </p:cNvPr>
                <p:cNvSpPr/>
                <p:nvPr/>
              </p:nvSpPr>
              <p:spPr>
                <a:xfrm>
                  <a:off x="5561240" y="6001424"/>
                  <a:ext cx="26427" cy="26419"/>
                </a:xfrm>
                <a:custGeom>
                  <a:avLst/>
                  <a:gdLst>
                    <a:gd name="connsiteX0" fmla="*/ 384 w 26427"/>
                    <a:gd name="connsiteY0" fmla="*/ 16281 h 26419"/>
                    <a:gd name="connsiteX1" fmla="*/ 10100 w 26427"/>
                    <a:gd name="connsiteY1" fmla="*/ 337 h 26419"/>
                    <a:gd name="connsiteX2" fmla="*/ 26043 w 26427"/>
                    <a:gd name="connsiteY2" fmla="*/ 10177 h 26419"/>
                    <a:gd name="connsiteX3" fmla="*/ 16328 w 26427"/>
                    <a:gd name="connsiteY3" fmla="*/ 26121 h 26419"/>
                    <a:gd name="connsiteX4" fmla="*/ 384 w 26427"/>
                    <a:gd name="connsiteY4" fmla="*/ 16281 h 26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19">
                      <a:moveTo>
                        <a:pt x="384" y="16281"/>
                      </a:moveTo>
                      <a:cubicBezTo>
                        <a:pt x="-1360" y="9181"/>
                        <a:pt x="3000" y="1956"/>
                        <a:pt x="10100" y="337"/>
                      </a:cubicBezTo>
                      <a:cubicBezTo>
                        <a:pt x="17199" y="-1282"/>
                        <a:pt x="24299" y="3077"/>
                        <a:pt x="26043" y="10177"/>
                      </a:cubicBezTo>
                      <a:cubicBezTo>
                        <a:pt x="27787" y="17277"/>
                        <a:pt x="23427" y="24377"/>
                        <a:pt x="16328" y="26121"/>
                      </a:cubicBezTo>
                      <a:cubicBezTo>
                        <a:pt x="9228" y="27615"/>
                        <a:pt x="2128" y="23380"/>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6" name="Graphic 2987">
                <a:extLst>
                  <a:ext uri="{FF2B5EF4-FFF2-40B4-BE49-F238E27FC236}">
                    <a16:creationId xmlns:a16="http://schemas.microsoft.com/office/drawing/2014/main" id="{C5C08443-6B71-059B-68C1-68C913156B92}"/>
                  </a:ext>
                </a:extLst>
              </p:cNvPr>
              <p:cNvGrpSpPr/>
              <p:nvPr/>
            </p:nvGrpSpPr>
            <p:grpSpPr>
              <a:xfrm>
                <a:off x="5561123" y="5875496"/>
                <a:ext cx="55192" cy="145535"/>
                <a:chOff x="5561123" y="5875496"/>
                <a:chExt cx="55192" cy="145535"/>
              </a:xfrm>
              <a:grpFill/>
            </p:grpSpPr>
            <p:sp>
              <p:nvSpPr>
                <p:cNvPr id="5063" name="Freeform 4370">
                  <a:extLst>
                    <a:ext uri="{FF2B5EF4-FFF2-40B4-BE49-F238E27FC236}">
                      <a16:creationId xmlns:a16="http://schemas.microsoft.com/office/drawing/2014/main" id="{56F8938B-76AC-7304-26B2-104229505C5C}"/>
                    </a:ext>
                  </a:extLst>
                </p:cNvPr>
                <p:cNvSpPr/>
                <p:nvPr/>
              </p:nvSpPr>
              <p:spPr>
                <a:xfrm>
                  <a:off x="5572488" y="5896510"/>
                  <a:ext cx="11869" cy="50944"/>
                </a:xfrm>
                <a:custGeom>
                  <a:avLst/>
                  <a:gdLst>
                    <a:gd name="connsiteX0" fmla="*/ 98 w 11869"/>
                    <a:gd name="connsiteY0" fmla="*/ 0 h 50944"/>
                    <a:gd name="connsiteX1" fmla="*/ 2589 w 11869"/>
                    <a:gd name="connsiteY1" fmla="*/ 18684 h 50944"/>
                    <a:gd name="connsiteX2" fmla="*/ 9938 w 11869"/>
                    <a:gd name="connsiteY2" fmla="*/ 34502 h 50944"/>
                    <a:gd name="connsiteX3" fmla="*/ 11682 w 11869"/>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69" h="50944">
                      <a:moveTo>
                        <a:pt x="98" y="0"/>
                      </a:moveTo>
                      <a:cubicBezTo>
                        <a:pt x="-401" y="8345"/>
                        <a:pt x="1094" y="14573"/>
                        <a:pt x="2589" y="18684"/>
                      </a:cubicBezTo>
                      <a:cubicBezTo>
                        <a:pt x="4955" y="25285"/>
                        <a:pt x="7820" y="27776"/>
                        <a:pt x="9938" y="34502"/>
                      </a:cubicBezTo>
                      <a:cubicBezTo>
                        <a:pt x="12055" y="41104"/>
                        <a:pt x="12055" y="46958"/>
                        <a:pt x="1168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4" name="Freeform 4371">
                  <a:extLst>
                    <a:ext uri="{FF2B5EF4-FFF2-40B4-BE49-F238E27FC236}">
                      <a16:creationId xmlns:a16="http://schemas.microsoft.com/office/drawing/2014/main" id="{18BC92D3-F23C-8A8A-838E-D782D80186EE}"/>
                    </a:ext>
                  </a:extLst>
                </p:cNvPr>
                <p:cNvSpPr/>
                <p:nvPr/>
              </p:nvSpPr>
              <p:spPr>
                <a:xfrm>
                  <a:off x="5578315" y="5889908"/>
                  <a:ext cx="12829" cy="50570"/>
                </a:xfrm>
                <a:custGeom>
                  <a:avLst/>
                  <a:gdLst>
                    <a:gd name="connsiteX0" fmla="*/ 12829 w 12829"/>
                    <a:gd name="connsiteY0" fmla="*/ 50570 h 50570"/>
                    <a:gd name="connsiteX1" fmla="*/ 6602 w 12829"/>
                    <a:gd name="connsiteY1" fmla="*/ 32883 h 50570"/>
                    <a:gd name="connsiteX2" fmla="*/ 5979 w 12829"/>
                    <a:gd name="connsiteY2" fmla="*/ 15445 h 50570"/>
                    <a:gd name="connsiteX3" fmla="*/ 0 w 12829"/>
                    <a:gd name="connsiteY3" fmla="*/ 0 h 50570"/>
                  </a:gdLst>
                  <a:ahLst/>
                  <a:cxnLst>
                    <a:cxn ang="0">
                      <a:pos x="connsiteX0" y="connsiteY0"/>
                    </a:cxn>
                    <a:cxn ang="0">
                      <a:pos x="connsiteX1" y="connsiteY1"/>
                    </a:cxn>
                    <a:cxn ang="0">
                      <a:pos x="connsiteX2" y="connsiteY2"/>
                    </a:cxn>
                    <a:cxn ang="0">
                      <a:pos x="connsiteX3" y="connsiteY3"/>
                    </a:cxn>
                  </a:cxnLst>
                  <a:rect l="l" t="t" r="r" b="b"/>
                  <a:pathLst>
                    <a:path w="12829" h="50570">
                      <a:moveTo>
                        <a:pt x="12829" y="50570"/>
                      </a:moveTo>
                      <a:cubicBezTo>
                        <a:pt x="8595" y="43346"/>
                        <a:pt x="7100" y="37118"/>
                        <a:pt x="6602" y="32883"/>
                      </a:cubicBezTo>
                      <a:cubicBezTo>
                        <a:pt x="5730" y="25908"/>
                        <a:pt x="7100" y="22545"/>
                        <a:pt x="5979" y="15445"/>
                      </a:cubicBezTo>
                      <a:cubicBezTo>
                        <a:pt x="4858"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5" name="Freeform 4372">
                  <a:extLst>
                    <a:ext uri="{FF2B5EF4-FFF2-40B4-BE49-F238E27FC236}">
                      <a16:creationId xmlns:a16="http://schemas.microsoft.com/office/drawing/2014/main" id="{42FF1187-783A-A83B-337A-88A401D1C388}"/>
                    </a:ext>
                  </a:extLst>
                </p:cNvPr>
                <p:cNvSpPr/>
                <p:nvPr/>
              </p:nvSpPr>
              <p:spPr>
                <a:xfrm>
                  <a:off x="5561123" y="5875496"/>
                  <a:ext cx="26661" cy="26497"/>
                </a:xfrm>
                <a:custGeom>
                  <a:avLst/>
                  <a:gdLst>
                    <a:gd name="connsiteX0" fmla="*/ 26285 w 26661"/>
                    <a:gd name="connsiteY0" fmla="*/ 10178 h 26497"/>
                    <a:gd name="connsiteX1" fmla="*/ 16445 w 26661"/>
                    <a:gd name="connsiteY1" fmla="*/ 26121 h 26497"/>
                    <a:gd name="connsiteX2" fmla="*/ 377 w 26661"/>
                    <a:gd name="connsiteY2" fmla="*/ 16281 h 26497"/>
                    <a:gd name="connsiteX3" fmla="*/ 10217 w 26661"/>
                    <a:gd name="connsiteY3" fmla="*/ 337 h 26497"/>
                    <a:gd name="connsiteX4" fmla="*/ 26285 w 26661"/>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1" h="26497">
                      <a:moveTo>
                        <a:pt x="26285" y="10178"/>
                      </a:moveTo>
                      <a:cubicBezTo>
                        <a:pt x="28029" y="17277"/>
                        <a:pt x="23544" y="24502"/>
                        <a:pt x="16445" y="26121"/>
                      </a:cubicBezTo>
                      <a:cubicBezTo>
                        <a:pt x="9345" y="27865"/>
                        <a:pt x="2121" y="23381"/>
                        <a:pt x="377" y="16281"/>
                      </a:cubicBezTo>
                      <a:cubicBezTo>
                        <a:pt x="-1367" y="9181"/>
                        <a:pt x="3117" y="2081"/>
                        <a:pt x="10217" y="337"/>
                      </a:cubicBezTo>
                      <a:cubicBezTo>
                        <a:pt x="17441" y="-1282"/>
                        <a:pt x="24666" y="3078"/>
                        <a:pt x="262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6" name="Freeform 4373">
                  <a:extLst>
                    <a:ext uri="{FF2B5EF4-FFF2-40B4-BE49-F238E27FC236}">
                      <a16:creationId xmlns:a16="http://schemas.microsoft.com/office/drawing/2014/main" id="{4FDB6055-CECD-E69C-D2C5-C88B9D2F6CDB}"/>
                    </a:ext>
                  </a:extLst>
                </p:cNvPr>
                <p:cNvSpPr/>
                <p:nvPr/>
              </p:nvSpPr>
              <p:spPr>
                <a:xfrm>
                  <a:off x="5593198" y="5949073"/>
                  <a:ext cx="11869" cy="50944"/>
                </a:xfrm>
                <a:custGeom>
                  <a:avLst/>
                  <a:gdLst>
                    <a:gd name="connsiteX0" fmla="*/ 11772 w 11869"/>
                    <a:gd name="connsiteY0" fmla="*/ 50944 h 50944"/>
                    <a:gd name="connsiteX1" fmla="*/ 9281 w 11869"/>
                    <a:gd name="connsiteY1" fmla="*/ 32260 h 50944"/>
                    <a:gd name="connsiteX2" fmla="*/ 1932 w 11869"/>
                    <a:gd name="connsiteY2" fmla="*/ 16442 h 50944"/>
                    <a:gd name="connsiteX3" fmla="*/ 188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11772" y="50944"/>
                      </a:moveTo>
                      <a:cubicBezTo>
                        <a:pt x="12270" y="42599"/>
                        <a:pt x="10776" y="36371"/>
                        <a:pt x="9281" y="32260"/>
                      </a:cubicBezTo>
                      <a:cubicBezTo>
                        <a:pt x="6915" y="25659"/>
                        <a:pt x="4174" y="23168"/>
                        <a:pt x="1932" y="16442"/>
                      </a:cubicBezTo>
                      <a:cubicBezTo>
                        <a:pt x="-185" y="9840"/>
                        <a:pt x="-185" y="3986"/>
                        <a:pt x="1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7" name="Freeform 4374">
                  <a:extLst>
                    <a:ext uri="{FF2B5EF4-FFF2-40B4-BE49-F238E27FC236}">
                      <a16:creationId xmlns:a16="http://schemas.microsoft.com/office/drawing/2014/main" id="{F9EEF74B-9786-B978-9449-1A63D03F940C}"/>
                    </a:ext>
                  </a:extLst>
                </p:cNvPr>
                <p:cNvSpPr/>
                <p:nvPr/>
              </p:nvSpPr>
              <p:spPr>
                <a:xfrm>
                  <a:off x="5586411" y="5956048"/>
                  <a:ext cx="12829" cy="50570"/>
                </a:xfrm>
                <a:custGeom>
                  <a:avLst/>
                  <a:gdLst>
                    <a:gd name="connsiteX0" fmla="*/ 0 w 12829"/>
                    <a:gd name="connsiteY0" fmla="*/ 0 h 50570"/>
                    <a:gd name="connsiteX1" fmla="*/ 6353 w 12829"/>
                    <a:gd name="connsiteY1" fmla="*/ 17687 h 50570"/>
                    <a:gd name="connsiteX2" fmla="*/ 6975 w 12829"/>
                    <a:gd name="connsiteY2" fmla="*/ 35125 h 50570"/>
                    <a:gd name="connsiteX3" fmla="*/ 12829 w 12829"/>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29" h="50570">
                      <a:moveTo>
                        <a:pt x="0" y="0"/>
                      </a:moveTo>
                      <a:cubicBezTo>
                        <a:pt x="4235" y="7224"/>
                        <a:pt x="5730" y="13452"/>
                        <a:pt x="6353" y="17687"/>
                      </a:cubicBezTo>
                      <a:cubicBezTo>
                        <a:pt x="7224" y="24663"/>
                        <a:pt x="5854" y="28025"/>
                        <a:pt x="6975" y="35125"/>
                      </a:cubicBezTo>
                      <a:cubicBezTo>
                        <a:pt x="8096" y="41976"/>
                        <a:pt x="10836" y="47207"/>
                        <a:pt x="12829"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8" name="Freeform 4375">
                  <a:extLst>
                    <a:ext uri="{FF2B5EF4-FFF2-40B4-BE49-F238E27FC236}">
                      <a16:creationId xmlns:a16="http://schemas.microsoft.com/office/drawing/2014/main" id="{C8BF0776-3707-B981-9C7E-E29D3C6B5449}"/>
                    </a:ext>
                  </a:extLst>
                </p:cNvPr>
                <p:cNvSpPr/>
                <p:nvPr/>
              </p:nvSpPr>
              <p:spPr>
                <a:xfrm>
                  <a:off x="5589889" y="5994573"/>
                  <a:ext cx="26427" cy="26458"/>
                </a:xfrm>
                <a:custGeom>
                  <a:avLst/>
                  <a:gdLst>
                    <a:gd name="connsiteX0" fmla="*/ 384 w 26427"/>
                    <a:gd name="connsiteY0" fmla="*/ 16281 h 26458"/>
                    <a:gd name="connsiteX1" fmla="*/ 10100 w 26427"/>
                    <a:gd name="connsiteY1" fmla="*/ 337 h 26458"/>
                    <a:gd name="connsiteX2" fmla="*/ 26043 w 26427"/>
                    <a:gd name="connsiteY2" fmla="*/ 10178 h 26458"/>
                    <a:gd name="connsiteX3" fmla="*/ 16327 w 26427"/>
                    <a:gd name="connsiteY3" fmla="*/ 26121 h 26458"/>
                    <a:gd name="connsiteX4" fmla="*/ 384 w 26427"/>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7" h="26458">
                      <a:moveTo>
                        <a:pt x="384" y="16281"/>
                      </a:moveTo>
                      <a:cubicBezTo>
                        <a:pt x="-1360" y="9181"/>
                        <a:pt x="3000" y="2081"/>
                        <a:pt x="10100" y="337"/>
                      </a:cubicBezTo>
                      <a:cubicBezTo>
                        <a:pt x="17199" y="-1282"/>
                        <a:pt x="24299" y="3078"/>
                        <a:pt x="26043" y="10178"/>
                      </a:cubicBezTo>
                      <a:cubicBezTo>
                        <a:pt x="27787" y="17277"/>
                        <a:pt x="23427" y="24377"/>
                        <a:pt x="16327" y="26121"/>
                      </a:cubicBezTo>
                      <a:cubicBezTo>
                        <a:pt x="9228" y="27740"/>
                        <a:pt x="2128"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7" name="Graphic 2987">
                <a:extLst>
                  <a:ext uri="{FF2B5EF4-FFF2-40B4-BE49-F238E27FC236}">
                    <a16:creationId xmlns:a16="http://schemas.microsoft.com/office/drawing/2014/main" id="{32710C03-FCAD-73C7-F44A-EBDEBE5DA13C}"/>
                  </a:ext>
                </a:extLst>
              </p:cNvPr>
              <p:cNvGrpSpPr/>
              <p:nvPr/>
            </p:nvGrpSpPr>
            <p:grpSpPr>
              <a:xfrm>
                <a:off x="5590145" y="5868645"/>
                <a:ext cx="54648" cy="145574"/>
                <a:chOff x="5590145" y="5868645"/>
                <a:chExt cx="54648" cy="145574"/>
              </a:xfrm>
              <a:grpFill/>
            </p:grpSpPr>
            <p:sp>
              <p:nvSpPr>
                <p:cNvPr id="5057" name="Freeform 4377">
                  <a:extLst>
                    <a:ext uri="{FF2B5EF4-FFF2-40B4-BE49-F238E27FC236}">
                      <a16:creationId xmlns:a16="http://schemas.microsoft.com/office/drawing/2014/main" id="{9E486E7B-E94D-F673-7936-4BF168B15AD1}"/>
                    </a:ext>
                  </a:extLst>
                </p:cNvPr>
                <p:cNvSpPr/>
                <p:nvPr/>
              </p:nvSpPr>
              <p:spPr>
                <a:xfrm>
                  <a:off x="5601338" y="5889659"/>
                  <a:ext cx="11613" cy="50944"/>
                </a:xfrm>
                <a:custGeom>
                  <a:avLst/>
                  <a:gdLst>
                    <a:gd name="connsiteX0" fmla="*/ 145 w 11613"/>
                    <a:gd name="connsiteY0" fmla="*/ 0 h 50944"/>
                    <a:gd name="connsiteX1" fmla="*/ 2512 w 11613"/>
                    <a:gd name="connsiteY1" fmla="*/ 18684 h 50944"/>
                    <a:gd name="connsiteX2" fmla="*/ 9736 w 11613"/>
                    <a:gd name="connsiteY2" fmla="*/ 34502 h 50944"/>
                    <a:gd name="connsiteX3" fmla="*/ 11480 w 1161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613" h="50944">
                      <a:moveTo>
                        <a:pt x="145" y="0"/>
                      </a:moveTo>
                      <a:cubicBezTo>
                        <a:pt x="-478" y="8345"/>
                        <a:pt x="1017" y="14573"/>
                        <a:pt x="2512" y="18684"/>
                      </a:cubicBezTo>
                      <a:cubicBezTo>
                        <a:pt x="4878" y="25285"/>
                        <a:pt x="7618" y="27776"/>
                        <a:pt x="9736" y="34502"/>
                      </a:cubicBezTo>
                      <a:cubicBezTo>
                        <a:pt x="11853" y="41104"/>
                        <a:pt x="11729" y="46958"/>
                        <a:pt x="1148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8" name="Freeform 4378">
                  <a:extLst>
                    <a:ext uri="{FF2B5EF4-FFF2-40B4-BE49-F238E27FC236}">
                      <a16:creationId xmlns:a16="http://schemas.microsoft.com/office/drawing/2014/main" id="{B0DB4F1A-60E5-EAB9-D7F4-371A0BE5DC14}"/>
                    </a:ext>
                  </a:extLst>
                </p:cNvPr>
                <p:cNvSpPr/>
                <p:nvPr/>
              </p:nvSpPr>
              <p:spPr>
                <a:xfrm>
                  <a:off x="5607213" y="5883057"/>
                  <a:ext cx="12704" cy="50570"/>
                </a:xfrm>
                <a:custGeom>
                  <a:avLst/>
                  <a:gdLst>
                    <a:gd name="connsiteX0" fmla="*/ 12705 w 12704"/>
                    <a:gd name="connsiteY0" fmla="*/ 50571 h 50570"/>
                    <a:gd name="connsiteX1" fmla="*/ 6477 w 12704"/>
                    <a:gd name="connsiteY1" fmla="*/ 32883 h 50570"/>
                    <a:gd name="connsiteX2" fmla="*/ 5854 w 12704"/>
                    <a:gd name="connsiteY2" fmla="*/ 15445 h 50570"/>
                    <a:gd name="connsiteX3" fmla="*/ 0 w 12704"/>
                    <a:gd name="connsiteY3" fmla="*/ 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5" y="50571"/>
                      </a:moveTo>
                      <a:cubicBezTo>
                        <a:pt x="8470" y="43346"/>
                        <a:pt x="6975" y="37118"/>
                        <a:pt x="6477" y="32883"/>
                      </a:cubicBezTo>
                      <a:cubicBezTo>
                        <a:pt x="5605" y="25908"/>
                        <a:pt x="6975" y="22421"/>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9" name="Freeform 4379">
                  <a:extLst>
                    <a:ext uri="{FF2B5EF4-FFF2-40B4-BE49-F238E27FC236}">
                      <a16:creationId xmlns:a16="http://schemas.microsoft.com/office/drawing/2014/main" id="{C4776F47-1D9F-562E-21D6-CA9F272C344A}"/>
                    </a:ext>
                  </a:extLst>
                </p:cNvPr>
                <p:cNvSpPr/>
                <p:nvPr/>
              </p:nvSpPr>
              <p:spPr>
                <a:xfrm>
                  <a:off x="5590145" y="5868645"/>
                  <a:ext cx="26622" cy="26497"/>
                </a:xfrm>
                <a:custGeom>
                  <a:avLst/>
                  <a:gdLst>
                    <a:gd name="connsiteX0" fmla="*/ 26285 w 26622"/>
                    <a:gd name="connsiteY0" fmla="*/ 10177 h 26497"/>
                    <a:gd name="connsiteX1" fmla="*/ 16445 w 26622"/>
                    <a:gd name="connsiteY1" fmla="*/ 26121 h 26497"/>
                    <a:gd name="connsiteX2" fmla="*/ 377 w 26622"/>
                    <a:gd name="connsiteY2" fmla="*/ 16281 h 26497"/>
                    <a:gd name="connsiteX3" fmla="*/ 10217 w 26622"/>
                    <a:gd name="connsiteY3" fmla="*/ 337 h 26497"/>
                    <a:gd name="connsiteX4" fmla="*/ 26285 w 26622"/>
                    <a:gd name="connsiteY4" fmla="*/ 10177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497">
                      <a:moveTo>
                        <a:pt x="26285" y="10177"/>
                      </a:moveTo>
                      <a:cubicBezTo>
                        <a:pt x="27904" y="17277"/>
                        <a:pt x="23545" y="24502"/>
                        <a:pt x="16445" y="26121"/>
                      </a:cubicBezTo>
                      <a:cubicBezTo>
                        <a:pt x="9345" y="27865"/>
                        <a:pt x="2121" y="23380"/>
                        <a:pt x="377" y="16281"/>
                      </a:cubicBezTo>
                      <a:cubicBezTo>
                        <a:pt x="-1367" y="9181"/>
                        <a:pt x="3117" y="1956"/>
                        <a:pt x="10217" y="337"/>
                      </a:cubicBezTo>
                      <a:cubicBezTo>
                        <a:pt x="17441" y="-1282"/>
                        <a:pt x="24541" y="3078"/>
                        <a:pt x="26285"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0" name="Freeform 4380">
                  <a:extLst>
                    <a:ext uri="{FF2B5EF4-FFF2-40B4-BE49-F238E27FC236}">
                      <a16:creationId xmlns:a16="http://schemas.microsoft.com/office/drawing/2014/main" id="{6DB8E80F-760B-8E3B-EA9C-582DAEAEED24}"/>
                    </a:ext>
                  </a:extLst>
                </p:cNvPr>
                <p:cNvSpPr/>
                <p:nvPr/>
              </p:nvSpPr>
              <p:spPr>
                <a:xfrm>
                  <a:off x="5622191" y="5942347"/>
                  <a:ext cx="11531" cy="50944"/>
                </a:xfrm>
                <a:custGeom>
                  <a:avLst/>
                  <a:gdLst>
                    <a:gd name="connsiteX0" fmla="*/ 11427 w 11531"/>
                    <a:gd name="connsiteY0" fmla="*/ 50944 h 50944"/>
                    <a:gd name="connsiteX1" fmla="*/ 9061 w 11531"/>
                    <a:gd name="connsiteY1" fmla="*/ 32260 h 50944"/>
                    <a:gd name="connsiteX2" fmla="*/ 1836 w 11531"/>
                    <a:gd name="connsiteY2" fmla="*/ 16442 h 50944"/>
                    <a:gd name="connsiteX3" fmla="*/ 217 w 11531"/>
                    <a:gd name="connsiteY3" fmla="*/ 0 h 50944"/>
                  </a:gdLst>
                  <a:ahLst/>
                  <a:cxnLst>
                    <a:cxn ang="0">
                      <a:pos x="connsiteX0" y="connsiteY0"/>
                    </a:cxn>
                    <a:cxn ang="0">
                      <a:pos x="connsiteX1" y="connsiteY1"/>
                    </a:cxn>
                    <a:cxn ang="0">
                      <a:pos x="connsiteX2" y="connsiteY2"/>
                    </a:cxn>
                    <a:cxn ang="0">
                      <a:pos x="connsiteX3" y="connsiteY3"/>
                    </a:cxn>
                  </a:cxnLst>
                  <a:rect l="l" t="t" r="r" b="b"/>
                  <a:pathLst>
                    <a:path w="11531" h="50944">
                      <a:moveTo>
                        <a:pt x="11427" y="50944"/>
                      </a:moveTo>
                      <a:cubicBezTo>
                        <a:pt x="11925" y="42599"/>
                        <a:pt x="10555" y="36371"/>
                        <a:pt x="9061" y="32260"/>
                      </a:cubicBezTo>
                      <a:cubicBezTo>
                        <a:pt x="6694" y="25659"/>
                        <a:pt x="3954" y="23168"/>
                        <a:pt x="1836" y="16442"/>
                      </a:cubicBezTo>
                      <a:cubicBezTo>
                        <a:pt x="-281" y="9840"/>
                        <a:pt x="-157" y="3986"/>
                        <a:pt x="2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1" name="Freeform 4381">
                  <a:extLst>
                    <a:ext uri="{FF2B5EF4-FFF2-40B4-BE49-F238E27FC236}">
                      <a16:creationId xmlns:a16="http://schemas.microsoft.com/office/drawing/2014/main" id="{77C5266B-30CD-DD54-6C6C-8C1A0B4F4245}"/>
                    </a:ext>
                  </a:extLst>
                </p:cNvPr>
                <p:cNvSpPr/>
                <p:nvPr/>
              </p:nvSpPr>
              <p:spPr>
                <a:xfrm>
                  <a:off x="5615184" y="5949198"/>
                  <a:ext cx="12704" cy="50570"/>
                </a:xfrm>
                <a:custGeom>
                  <a:avLst/>
                  <a:gdLst>
                    <a:gd name="connsiteX0" fmla="*/ 0 w 12704"/>
                    <a:gd name="connsiteY0" fmla="*/ 0 h 50570"/>
                    <a:gd name="connsiteX1" fmla="*/ 6228 w 12704"/>
                    <a:gd name="connsiteY1" fmla="*/ 17687 h 50570"/>
                    <a:gd name="connsiteX2" fmla="*/ 6851 w 12704"/>
                    <a:gd name="connsiteY2" fmla="*/ 35125 h 50570"/>
                    <a:gd name="connsiteX3" fmla="*/ 12705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0" y="0"/>
                      </a:moveTo>
                      <a:cubicBezTo>
                        <a:pt x="4235" y="7224"/>
                        <a:pt x="5730" y="13452"/>
                        <a:pt x="6228" y="17687"/>
                      </a:cubicBezTo>
                      <a:cubicBezTo>
                        <a:pt x="7100" y="24662"/>
                        <a:pt x="5730" y="28025"/>
                        <a:pt x="6851" y="35125"/>
                      </a:cubicBezTo>
                      <a:cubicBezTo>
                        <a:pt x="7972" y="41976"/>
                        <a:pt x="10712" y="47207"/>
                        <a:pt x="12705"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62" name="Freeform 4382">
                  <a:extLst>
                    <a:ext uri="{FF2B5EF4-FFF2-40B4-BE49-F238E27FC236}">
                      <a16:creationId xmlns:a16="http://schemas.microsoft.com/office/drawing/2014/main" id="{8040206F-674A-8CAB-B415-DF487E9DD949}"/>
                    </a:ext>
                  </a:extLst>
                </p:cNvPr>
                <p:cNvSpPr/>
                <p:nvPr/>
              </p:nvSpPr>
              <p:spPr>
                <a:xfrm>
                  <a:off x="5618537" y="5987722"/>
                  <a:ext cx="26256" cy="26497"/>
                </a:xfrm>
                <a:custGeom>
                  <a:avLst/>
                  <a:gdLst>
                    <a:gd name="connsiteX0" fmla="*/ 384 w 26256"/>
                    <a:gd name="connsiteY0" fmla="*/ 16281 h 26497"/>
                    <a:gd name="connsiteX1" fmla="*/ 10100 w 26256"/>
                    <a:gd name="connsiteY1" fmla="*/ 337 h 26497"/>
                    <a:gd name="connsiteX2" fmla="*/ 25919 w 26256"/>
                    <a:gd name="connsiteY2" fmla="*/ 10177 h 26497"/>
                    <a:gd name="connsiteX3" fmla="*/ 16203 w 26256"/>
                    <a:gd name="connsiteY3" fmla="*/ 26121 h 26497"/>
                    <a:gd name="connsiteX4" fmla="*/ 384 w 26256"/>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497">
                      <a:moveTo>
                        <a:pt x="384" y="16281"/>
                      </a:moveTo>
                      <a:cubicBezTo>
                        <a:pt x="-1360" y="9181"/>
                        <a:pt x="3000" y="2081"/>
                        <a:pt x="10100" y="337"/>
                      </a:cubicBezTo>
                      <a:cubicBezTo>
                        <a:pt x="17199" y="-1282"/>
                        <a:pt x="24299" y="3078"/>
                        <a:pt x="25919" y="10177"/>
                      </a:cubicBezTo>
                      <a:cubicBezTo>
                        <a:pt x="27538" y="17277"/>
                        <a:pt x="23178" y="24377"/>
                        <a:pt x="16203" y="26121"/>
                      </a:cubicBezTo>
                      <a:cubicBezTo>
                        <a:pt x="9103" y="27865"/>
                        <a:pt x="2003" y="23381"/>
                        <a:pt x="384"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8" name="Graphic 2987">
                <a:extLst>
                  <a:ext uri="{FF2B5EF4-FFF2-40B4-BE49-F238E27FC236}">
                    <a16:creationId xmlns:a16="http://schemas.microsoft.com/office/drawing/2014/main" id="{47D9206E-9D6C-AD96-8F6F-CC7BAA619D63}"/>
                  </a:ext>
                </a:extLst>
              </p:cNvPr>
              <p:cNvGrpSpPr/>
              <p:nvPr/>
            </p:nvGrpSpPr>
            <p:grpSpPr>
              <a:xfrm>
                <a:off x="5619082" y="5861794"/>
                <a:ext cx="54483" cy="145699"/>
                <a:chOff x="5619082" y="5861794"/>
                <a:chExt cx="54483" cy="145699"/>
              </a:xfrm>
              <a:grpFill/>
            </p:grpSpPr>
            <p:sp>
              <p:nvSpPr>
                <p:cNvPr id="5051" name="Freeform 4384">
                  <a:extLst>
                    <a:ext uri="{FF2B5EF4-FFF2-40B4-BE49-F238E27FC236}">
                      <a16:creationId xmlns:a16="http://schemas.microsoft.com/office/drawing/2014/main" id="{3C1B9B28-727F-EC99-03E1-4AAEED685061}"/>
                    </a:ext>
                  </a:extLst>
                </p:cNvPr>
                <p:cNvSpPr/>
                <p:nvPr/>
              </p:nvSpPr>
              <p:spPr>
                <a:xfrm>
                  <a:off x="5630360" y="5882808"/>
                  <a:ext cx="11546" cy="50944"/>
                </a:xfrm>
                <a:custGeom>
                  <a:avLst/>
                  <a:gdLst>
                    <a:gd name="connsiteX0" fmla="*/ 145 w 11546"/>
                    <a:gd name="connsiteY0" fmla="*/ 0 h 50944"/>
                    <a:gd name="connsiteX1" fmla="*/ 2512 w 11546"/>
                    <a:gd name="connsiteY1" fmla="*/ 18684 h 50944"/>
                    <a:gd name="connsiteX2" fmla="*/ 9736 w 11546"/>
                    <a:gd name="connsiteY2" fmla="*/ 34502 h 50944"/>
                    <a:gd name="connsiteX3" fmla="*/ 11355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45" y="0"/>
                      </a:moveTo>
                      <a:cubicBezTo>
                        <a:pt x="-478" y="8346"/>
                        <a:pt x="1017" y="14573"/>
                        <a:pt x="2512" y="18684"/>
                      </a:cubicBezTo>
                      <a:cubicBezTo>
                        <a:pt x="4878" y="25285"/>
                        <a:pt x="7619" y="27776"/>
                        <a:pt x="9736" y="34502"/>
                      </a:cubicBezTo>
                      <a:cubicBezTo>
                        <a:pt x="11729" y="41104"/>
                        <a:pt x="11729" y="46958"/>
                        <a:pt x="1135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2" name="Freeform 4385">
                  <a:extLst>
                    <a:ext uri="{FF2B5EF4-FFF2-40B4-BE49-F238E27FC236}">
                      <a16:creationId xmlns:a16="http://schemas.microsoft.com/office/drawing/2014/main" id="{538A2A8C-CB1C-C8AF-06F4-A93474C343CA}"/>
                    </a:ext>
                  </a:extLst>
                </p:cNvPr>
                <p:cNvSpPr/>
                <p:nvPr/>
              </p:nvSpPr>
              <p:spPr>
                <a:xfrm>
                  <a:off x="5635985" y="5876207"/>
                  <a:ext cx="12704" cy="50695"/>
                </a:xfrm>
                <a:custGeom>
                  <a:avLst/>
                  <a:gdLst>
                    <a:gd name="connsiteX0" fmla="*/ 12705 w 12704"/>
                    <a:gd name="connsiteY0" fmla="*/ 50695 h 50695"/>
                    <a:gd name="connsiteX1" fmla="*/ 6477 w 12704"/>
                    <a:gd name="connsiteY1" fmla="*/ 32883 h 50695"/>
                    <a:gd name="connsiteX2" fmla="*/ 5854 w 12704"/>
                    <a:gd name="connsiteY2" fmla="*/ 15445 h 50695"/>
                    <a:gd name="connsiteX3" fmla="*/ 0 w 12704"/>
                    <a:gd name="connsiteY3" fmla="*/ 0 h 50695"/>
                  </a:gdLst>
                  <a:ahLst/>
                  <a:cxnLst>
                    <a:cxn ang="0">
                      <a:pos x="connsiteX0" y="connsiteY0"/>
                    </a:cxn>
                    <a:cxn ang="0">
                      <a:pos x="connsiteX1" y="connsiteY1"/>
                    </a:cxn>
                    <a:cxn ang="0">
                      <a:pos x="connsiteX2" y="connsiteY2"/>
                    </a:cxn>
                    <a:cxn ang="0">
                      <a:pos x="connsiteX3" y="connsiteY3"/>
                    </a:cxn>
                  </a:cxnLst>
                  <a:rect l="l" t="t" r="r" b="b"/>
                  <a:pathLst>
                    <a:path w="12704" h="50695">
                      <a:moveTo>
                        <a:pt x="12705" y="50695"/>
                      </a:moveTo>
                      <a:cubicBezTo>
                        <a:pt x="8470" y="43471"/>
                        <a:pt x="6975" y="37243"/>
                        <a:pt x="6477" y="32883"/>
                      </a:cubicBezTo>
                      <a:cubicBezTo>
                        <a:pt x="5605" y="25908"/>
                        <a:pt x="6975" y="22420"/>
                        <a:pt x="5854" y="15445"/>
                      </a:cubicBezTo>
                      <a:cubicBezTo>
                        <a:pt x="4733" y="8595"/>
                        <a:pt x="2117"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3" name="Freeform 4386">
                  <a:extLst>
                    <a:ext uri="{FF2B5EF4-FFF2-40B4-BE49-F238E27FC236}">
                      <a16:creationId xmlns:a16="http://schemas.microsoft.com/office/drawing/2014/main" id="{61DC00C8-58E2-DDE5-4522-61305F50888A}"/>
                    </a:ext>
                  </a:extLst>
                </p:cNvPr>
                <p:cNvSpPr/>
                <p:nvPr/>
              </p:nvSpPr>
              <p:spPr>
                <a:xfrm>
                  <a:off x="5619082" y="5861794"/>
                  <a:ext cx="26582" cy="26497"/>
                </a:xfrm>
                <a:custGeom>
                  <a:avLst/>
                  <a:gdLst>
                    <a:gd name="connsiteX0" fmla="*/ 26245 w 26582"/>
                    <a:gd name="connsiteY0" fmla="*/ 10178 h 26497"/>
                    <a:gd name="connsiteX1" fmla="*/ 16280 w 26582"/>
                    <a:gd name="connsiteY1" fmla="*/ 26121 h 26497"/>
                    <a:gd name="connsiteX2" fmla="*/ 337 w 26582"/>
                    <a:gd name="connsiteY2" fmla="*/ 16281 h 26497"/>
                    <a:gd name="connsiteX3" fmla="*/ 10302 w 26582"/>
                    <a:gd name="connsiteY3" fmla="*/ 337 h 26497"/>
                    <a:gd name="connsiteX4" fmla="*/ 26245 w 26582"/>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1" h="26497">
                      <a:moveTo>
                        <a:pt x="26245" y="10178"/>
                      </a:moveTo>
                      <a:cubicBezTo>
                        <a:pt x="27864" y="17277"/>
                        <a:pt x="23505" y="24502"/>
                        <a:pt x="16280" y="26121"/>
                      </a:cubicBezTo>
                      <a:cubicBezTo>
                        <a:pt x="9181" y="27865"/>
                        <a:pt x="1956" y="23381"/>
                        <a:pt x="337" y="16281"/>
                      </a:cubicBezTo>
                      <a:cubicBezTo>
                        <a:pt x="-1282" y="9181"/>
                        <a:pt x="3077" y="1957"/>
                        <a:pt x="10302" y="337"/>
                      </a:cubicBezTo>
                      <a:cubicBezTo>
                        <a:pt x="17401" y="-1282"/>
                        <a:pt x="24626"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4" name="Freeform 4387">
                  <a:extLst>
                    <a:ext uri="{FF2B5EF4-FFF2-40B4-BE49-F238E27FC236}">
                      <a16:creationId xmlns:a16="http://schemas.microsoft.com/office/drawing/2014/main" id="{63264E8D-BE02-11D2-9B1F-4ED9D75FB875}"/>
                    </a:ext>
                  </a:extLst>
                </p:cNvPr>
                <p:cNvSpPr/>
                <p:nvPr/>
              </p:nvSpPr>
              <p:spPr>
                <a:xfrm>
                  <a:off x="5650865" y="5935621"/>
                  <a:ext cx="11546" cy="50944"/>
                </a:xfrm>
                <a:custGeom>
                  <a:avLst/>
                  <a:gdLst>
                    <a:gd name="connsiteX0" fmla="*/ 11402 w 11546"/>
                    <a:gd name="connsiteY0" fmla="*/ 50944 h 50944"/>
                    <a:gd name="connsiteX1" fmla="*/ 9035 w 11546"/>
                    <a:gd name="connsiteY1" fmla="*/ 32261 h 50944"/>
                    <a:gd name="connsiteX2" fmla="*/ 1811 w 11546"/>
                    <a:gd name="connsiteY2" fmla="*/ 16442 h 50944"/>
                    <a:gd name="connsiteX3" fmla="*/ 192 w 11546"/>
                    <a:gd name="connsiteY3" fmla="*/ 0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50944"/>
                      </a:moveTo>
                      <a:cubicBezTo>
                        <a:pt x="12025" y="42599"/>
                        <a:pt x="10530" y="36371"/>
                        <a:pt x="9035" y="32261"/>
                      </a:cubicBezTo>
                      <a:cubicBezTo>
                        <a:pt x="6669" y="25659"/>
                        <a:pt x="3928"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5" name="Freeform 4388">
                  <a:extLst>
                    <a:ext uri="{FF2B5EF4-FFF2-40B4-BE49-F238E27FC236}">
                      <a16:creationId xmlns:a16="http://schemas.microsoft.com/office/drawing/2014/main" id="{FD13EBD9-08C4-5171-97C2-239AECB7110F}"/>
                    </a:ext>
                  </a:extLst>
                </p:cNvPr>
                <p:cNvSpPr/>
                <p:nvPr/>
              </p:nvSpPr>
              <p:spPr>
                <a:xfrm>
                  <a:off x="5643957" y="5942472"/>
                  <a:ext cx="12705" cy="50695"/>
                </a:xfrm>
                <a:custGeom>
                  <a:avLst/>
                  <a:gdLst>
                    <a:gd name="connsiteX0" fmla="*/ 0 w 12705"/>
                    <a:gd name="connsiteY0" fmla="*/ 0 h 50695"/>
                    <a:gd name="connsiteX1" fmla="*/ 6228 w 12705"/>
                    <a:gd name="connsiteY1" fmla="*/ 17812 h 50695"/>
                    <a:gd name="connsiteX2" fmla="*/ 6851 w 12705"/>
                    <a:gd name="connsiteY2" fmla="*/ 35250 h 50695"/>
                    <a:gd name="connsiteX3" fmla="*/ 12705 w 12705"/>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705" h="50695">
                      <a:moveTo>
                        <a:pt x="0" y="0"/>
                      </a:moveTo>
                      <a:cubicBezTo>
                        <a:pt x="4235" y="7224"/>
                        <a:pt x="5730" y="13452"/>
                        <a:pt x="6228" y="17812"/>
                      </a:cubicBezTo>
                      <a:cubicBezTo>
                        <a:pt x="7100" y="24787"/>
                        <a:pt x="5730" y="28274"/>
                        <a:pt x="6851" y="35250"/>
                      </a:cubicBezTo>
                      <a:cubicBezTo>
                        <a:pt x="7972" y="42101"/>
                        <a:pt x="10587" y="47332"/>
                        <a:pt x="1270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6" name="Freeform 4389">
                  <a:extLst>
                    <a:ext uri="{FF2B5EF4-FFF2-40B4-BE49-F238E27FC236}">
                      <a16:creationId xmlns:a16="http://schemas.microsoft.com/office/drawing/2014/main" id="{FB078002-A8E4-030B-ADE9-3519C490F5AD}"/>
                    </a:ext>
                  </a:extLst>
                </p:cNvPr>
                <p:cNvSpPr/>
                <p:nvPr/>
              </p:nvSpPr>
              <p:spPr>
                <a:xfrm>
                  <a:off x="5647232" y="5980996"/>
                  <a:ext cx="26333" cy="26497"/>
                </a:xfrm>
                <a:custGeom>
                  <a:avLst/>
                  <a:gdLst>
                    <a:gd name="connsiteX0" fmla="*/ 337 w 26333"/>
                    <a:gd name="connsiteY0" fmla="*/ 16281 h 26497"/>
                    <a:gd name="connsiteX1" fmla="*/ 10178 w 26333"/>
                    <a:gd name="connsiteY1" fmla="*/ 337 h 26497"/>
                    <a:gd name="connsiteX2" fmla="*/ 25996 w 26333"/>
                    <a:gd name="connsiteY2" fmla="*/ 10178 h 26497"/>
                    <a:gd name="connsiteX3" fmla="*/ 16156 w 26333"/>
                    <a:gd name="connsiteY3" fmla="*/ 26121 h 26497"/>
                    <a:gd name="connsiteX4" fmla="*/ 337 w 26333"/>
                    <a:gd name="connsiteY4" fmla="*/ 16281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97">
                      <a:moveTo>
                        <a:pt x="337" y="16281"/>
                      </a:moveTo>
                      <a:cubicBezTo>
                        <a:pt x="-1282" y="9181"/>
                        <a:pt x="3078" y="2081"/>
                        <a:pt x="10178" y="337"/>
                      </a:cubicBezTo>
                      <a:cubicBezTo>
                        <a:pt x="17277" y="-1282"/>
                        <a:pt x="24377" y="3078"/>
                        <a:pt x="25996" y="10178"/>
                      </a:cubicBezTo>
                      <a:cubicBezTo>
                        <a:pt x="27616" y="17277"/>
                        <a:pt x="23256" y="24502"/>
                        <a:pt x="16156" y="26121"/>
                      </a:cubicBezTo>
                      <a:cubicBezTo>
                        <a:pt x="9056" y="27865"/>
                        <a:pt x="1957"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79" name="Graphic 2987">
                <a:extLst>
                  <a:ext uri="{FF2B5EF4-FFF2-40B4-BE49-F238E27FC236}">
                    <a16:creationId xmlns:a16="http://schemas.microsoft.com/office/drawing/2014/main" id="{26B02049-68B5-8E22-4C8D-09F4FC7F4042}"/>
                  </a:ext>
                </a:extLst>
              </p:cNvPr>
              <p:cNvGrpSpPr/>
              <p:nvPr/>
            </p:nvGrpSpPr>
            <p:grpSpPr>
              <a:xfrm>
                <a:off x="5648104" y="5854944"/>
                <a:ext cx="53985" cy="145784"/>
                <a:chOff x="5648104" y="5854944"/>
                <a:chExt cx="53985" cy="145784"/>
              </a:xfrm>
              <a:grpFill/>
            </p:grpSpPr>
            <p:sp>
              <p:nvSpPr>
                <p:cNvPr id="5045" name="Freeform 4391">
                  <a:extLst>
                    <a:ext uri="{FF2B5EF4-FFF2-40B4-BE49-F238E27FC236}">
                      <a16:creationId xmlns:a16="http://schemas.microsoft.com/office/drawing/2014/main" id="{1CDDCCF0-C84E-6C1D-4481-41DF8F5E6018}"/>
                    </a:ext>
                  </a:extLst>
                </p:cNvPr>
                <p:cNvSpPr/>
                <p:nvPr/>
              </p:nvSpPr>
              <p:spPr>
                <a:xfrm>
                  <a:off x="5659256" y="5875958"/>
                  <a:ext cx="11422" cy="50944"/>
                </a:xfrm>
                <a:custGeom>
                  <a:avLst/>
                  <a:gdLst>
                    <a:gd name="connsiteX0" fmla="*/ 145 w 11422"/>
                    <a:gd name="connsiteY0" fmla="*/ 0 h 50944"/>
                    <a:gd name="connsiteX1" fmla="*/ 2388 w 11422"/>
                    <a:gd name="connsiteY1" fmla="*/ 18684 h 50944"/>
                    <a:gd name="connsiteX2" fmla="*/ 9612 w 11422"/>
                    <a:gd name="connsiteY2" fmla="*/ 34502 h 50944"/>
                    <a:gd name="connsiteX3" fmla="*/ 11231 w 11422"/>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422" h="50944">
                      <a:moveTo>
                        <a:pt x="145" y="0"/>
                      </a:moveTo>
                      <a:cubicBezTo>
                        <a:pt x="-477" y="8345"/>
                        <a:pt x="1017" y="14573"/>
                        <a:pt x="2388" y="18684"/>
                      </a:cubicBezTo>
                      <a:cubicBezTo>
                        <a:pt x="4754" y="25285"/>
                        <a:pt x="7495" y="27776"/>
                        <a:pt x="9612" y="34502"/>
                      </a:cubicBezTo>
                      <a:cubicBezTo>
                        <a:pt x="11605" y="41104"/>
                        <a:pt x="11605" y="46958"/>
                        <a:pt x="1123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6" name="Freeform 4392">
                  <a:extLst>
                    <a:ext uri="{FF2B5EF4-FFF2-40B4-BE49-F238E27FC236}">
                      <a16:creationId xmlns:a16="http://schemas.microsoft.com/office/drawing/2014/main" id="{881D082A-B389-3F89-E254-80E35ADDCA2B}"/>
                    </a:ext>
                  </a:extLst>
                </p:cNvPr>
                <p:cNvSpPr/>
                <p:nvPr/>
              </p:nvSpPr>
              <p:spPr>
                <a:xfrm>
                  <a:off x="5665256" y="5869356"/>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7" y="43471"/>
                        <a:pt x="6726" y="37243"/>
                        <a:pt x="6228" y="32883"/>
                      </a:cubicBezTo>
                      <a:cubicBezTo>
                        <a:pt x="5356" y="25908"/>
                        <a:pt x="6851" y="22420"/>
                        <a:pt x="5730" y="15445"/>
                      </a:cubicBezTo>
                      <a:cubicBezTo>
                        <a:pt x="4609"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7" name="Freeform 4393">
                  <a:extLst>
                    <a:ext uri="{FF2B5EF4-FFF2-40B4-BE49-F238E27FC236}">
                      <a16:creationId xmlns:a16="http://schemas.microsoft.com/office/drawing/2014/main" id="{28A77D7B-2088-712B-4763-36584C281477}"/>
                    </a:ext>
                  </a:extLst>
                </p:cNvPr>
                <p:cNvSpPr/>
                <p:nvPr/>
              </p:nvSpPr>
              <p:spPr>
                <a:xfrm>
                  <a:off x="5648104" y="5854944"/>
                  <a:ext cx="26575" cy="26497"/>
                </a:xfrm>
                <a:custGeom>
                  <a:avLst/>
                  <a:gdLst>
                    <a:gd name="connsiteX0" fmla="*/ 26245 w 26575"/>
                    <a:gd name="connsiteY0" fmla="*/ 10178 h 26497"/>
                    <a:gd name="connsiteX1" fmla="*/ 16280 w 26575"/>
                    <a:gd name="connsiteY1" fmla="*/ 26121 h 26497"/>
                    <a:gd name="connsiteX2" fmla="*/ 337 w 26575"/>
                    <a:gd name="connsiteY2" fmla="*/ 16281 h 26497"/>
                    <a:gd name="connsiteX3" fmla="*/ 10302 w 26575"/>
                    <a:gd name="connsiteY3" fmla="*/ 337 h 26497"/>
                    <a:gd name="connsiteX4" fmla="*/ 26245 w 26575"/>
                    <a:gd name="connsiteY4" fmla="*/ 10178 h 2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4" h="26497">
                      <a:moveTo>
                        <a:pt x="26245" y="10178"/>
                      </a:moveTo>
                      <a:cubicBezTo>
                        <a:pt x="27864" y="17277"/>
                        <a:pt x="23380" y="24502"/>
                        <a:pt x="16280" y="26121"/>
                      </a:cubicBezTo>
                      <a:cubicBezTo>
                        <a:pt x="9181" y="27865"/>
                        <a:pt x="1956" y="23381"/>
                        <a:pt x="337" y="16281"/>
                      </a:cubicBezTo>
                      <a:cubicBezTo>
                        <a:pt x="-1282" y="9181"/>
                        <a:pt x="3077" y="1957"/>
                        <a:pt x="10302" y="337"/>
                      </a:cubicBezTo>
                      <a:cubicBezTo>
                        <a:pt x="17526" y="-1282"/>
                        <a:pt x="24501" y="3078"/>
                        <a:pt x="2624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8" name="Freeform 4394">
                  <a:extLst>
                    <a:ext uri="{FF2B5EF4-FFF2-40B4-BE49-F238E27FC236}">
                      <a16:creationId xmlns:a16="http://schemas.microsoft.com/office/drawing/2014/main" id="{D3445C58-B03B-9C0F-4158-1F02FE7B46DD}"/>
                    </a:ext>
                  </a:extLst>
                </p:cNvPr>
                <p:cNvSpPr/>
                <p:nvPr/>
              </p:nvSpPr>
              <p:spPr>
                <a:xfrm>
                  <a:off x="5679763" y="5928770"/>
                  <a:ext cx="11298" cy="50944"/>
                </a:xfrm>
                <a:custGeom>
                  <a:avLst/>
                  <a:gdLst>
                    <a:gd name="connsiteX0" fmla="*/ 11153 w 11298"/>
                    <a:gd name="connsiteY0" fmla="*/ 50944 h 50944"/>
                    <a:gd name="connsiteX1" fmla="*/ 8911 w 11298"/>
                    <a:gd name="connsiteY1" fmla="*/ 32260 h 50944"/>
                    <a:gd name="connsiteX2" fmla="*/ 1811 w 11298"/>
                    <a:gd name="connsiteY2" fmla="*/ 16442 h 50944"/>
                    <a:gd name="connsiteX3" fmla="*/ 192 w 11298"/>
                    <a:gd name="connsiteY3" fmla="*/ 0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50944"/>
                      </a:moveTo>
                      <a:cubicBezTo>
                        <a:pt x="11775" y="42599"/>
                        <a:pt x="10281" y="36371"/>
                        <a:pt x="8911" y="32260"/>
                      </a:cubicBezTo>
                      <a:cubicBezTo>
                        <a:pt x="6544" y="25659"/>
                        <a:pt x="3804" y="23168"/>
                        <a:pt x="1811" y="16442"/>
                      </a:cubicBezTo>
                      <a:cubicBezTo>
                        <a:pt x="-182" y="9840"/>
                        <a:pt x="-182" y="3986"/>
                        <a:pt x="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9" name="Freeform 4395">
                  <a:extLst>
                    <a:ext uri="{FF2B5EF4-FFF2-40B4-BE49-F238E27FC236}">
                      <a16:creationId xmlns:a16="http://schemas.microsoft.com/office/drawing/2014/main" id="{34440687-E6E8-2BBC-434F-DB5C1B31C1CF}"/>
                    </a:ext>
                  </a:extLst>
                </p:cNvPr>
                <p:cNvSpPr/>
                <p:nvPr/>
              </p:nvSpPr>
              <p:spPr>
                <a:xfrm>
                  <a:off x="5672730" y="5935621"/>
                  <a:ext cx="12331" cy="50695"/>
                </a:xfrm>
                <a:custGeom>
                  <a:avLst/>
                  <a:gdLst>
                    <a:gd name="connsiteX0" fmla="*/ 0 w 12331"/>
                    <a:gd name="connsiteY0" fmla="*/ 0 h 50695"/>
                    <a:gd name="connsiteX1" fmla="*/ 6104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225"/>
                        <a:pt x="5605" y="13452"/>
                        <a:pt x="6104" y="17812"/>
                      </a:cubicBezTo>
                      <a:cubicBezTo>
                        <a:pt x="6975" y="24787"/>
                        <a:pt x="5481" y="28275"/>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50" name="Freeform 4396">
                  <a:extLst>
                    <a:ext uri="{FF2B5EF4-FFF2-40B4-BE49-F238E27FC236}">
                      <a16:creationId xmlns:a16="http://schemas.microsoft.com/office/drawing/2014/main" id="{980E7800-0EC2-15DC-6DA3-2D081A36103E}"/>
                    </a:ext>
                  </a:extLst>
                </p:cNvPr>
                <p:cNvSpPr/>
                <p:nvPr/>
              </p:nvSpPr>
              <p:spPr>
                <a:xfrm>
                  <a:off x="5675756" y="5974270"/>
                  <a:ext cx="26333" cy="26458"/>
                </a:xfrm>
                <a:custGeom>
                  <a:avLst/>
                  <a:gdLst>
                    <a:gd name="connsiteX0" fmla="*/ 337 w 26333"/>
                    <a:gd name="connsiteY0" fmla="*/ 16281 h 26458"/>
                    <a:gd name="connsiteX1" fmla="*/ 10177 w 26333"/>
                    <a:gd name="connsiteY1" fmla="*/ 337 h 26458"/>
                    <a:gd name="connsiteX2" fmla="*/ 25996 w 26333"/>
                    <a:gd name="connsiteY2" fmla="*/ 10178 h 26458"/>
                    <a:gd name="connsiteX3" fmla="*/ 16156 w 26333"/>
                    <a:gd name="connsiteY3" fmla="*/ 26121 h 26458"/>
                    <a:gd name="connsiteX4" fmla="*/ 337 w 26333"/>
                    <a:gd name="connsiteY4" fmla="*/ 16281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3" h="26458">
                      <a:moveTo>
                        <a:pt x="337" y="16281"/>
                      </a:moveTo>
                      <a:cubicBezTo>
                        <a:pt x="-1282" y="9181"/>
                        <a:pt x="3078" y="1957"/>
                        <a:pt x="10177" y="337"/>
                      </a:cubicBezTo>
                      <a:cubicBezTo>
                        <a:pt x="17277" y="-1282"/>
                        <a:pt x="24377" y="3078"/>
                        <a:pt x="25996" y="10178"/>
                      </a:cubicBezTo>
                      <a:cubicBezTo>
                        <a:pt x="27616" y="17277"/>
                        <a:pt x="23256" y="24502"/>
                        <a:pt x="16156" y="26121"/>
                      </a:cubicBezTo>
                      <a:cubicBezTo>
                        <a:pt x="9181" y="27740"/>
                        <a:pt x="2081" y="23381"/>
                        <a:pt x="337" y="16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0" name="Graphic 2987">
                <a:extLst>
                  <a:ext uri="{FF2B5EF4-FFF2-40B4-BE49-F238E27FC236}">
                    <a16:creationId xmlns:a16="http://schemas.microsoft.com/office/drawing/2014/main" id="{99E00C13-4518-8D54-A2B5-B5052641E67A}"/>
                  </a:ext>
                </a:extLst>
              </p:cNvPr>
              <p:cNvGrpSpPr/>
              <p:nvPr/>
            </p:nvGrpSpPr>
            <p:grpSpPr>
              <a:xfrm>
                <a:off x="5677008" y="5848224"/>
                <a:ext cx="53723" cy="145852"/>
                <a:chOff x="5677008" y="5848224"/>
                <a:chExt cx="53723" cy="145852"/>
              </a:xfrm>
              <a:grpFill/>
            </p:grpSpPr>
            <p:sp>
              <p:nvSpPr>
                <p:cNvPr id="5039" name="Freeform 4398">
                  <a:extLst>
                    <a:ext uri="{FF2B5EF4-FFF2-40B4-BE49-F238E27FC236}">
                      <a16:creationId xmlns:a16="http://schemas.microsoft.com/office/drawing/2014/main" id="{2FBA13A7-E892-2721-DF73-964D7AF7F32F}"/>
                    </a:ext>
                  </a:extLst>
                </p:cNvPr>
                <p:cNvSpPr/>
                <p:nvPr/>
              </p:nvSpPr>
              <p:spPr>
                <a:xfrm>
                  <a:off x="5688145" y="5869107"/>
                  <a:ext cx="11211" cy="51068"/>
                </a:xfrm>
                <a:custGeom>
                  <a:avLst/>
                  <a:gdLst>
                    <a:gd name="connsiteX0" fmla="*/ 154 w 11211"/>
                    <a:gd name="connsiteY0" fmla="*/ 0 h 51068"/>
                    <a:gd name="connsiteX1" fmla="*/ 2396 w 11211"/>
                    <a:gd name="connsiteY1" fmla="*/ 18684 h 51068"/>
                    <a:gd name="connsiteX2" fmla="*/ 9496 w 11211"/>
                    <a:gd name="connsiteY2" fmla="*/ 34627 h 51068"/>
                    <a:gd name="connsiteX3" fmla="*/ 10990 w 1121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0"/>
                      </a:moveTo>
                      <a:cubicBezTo>
                        <a:pt x="-469" y="8346"/>
                        <a:pt x="901" y="14573"/>
                        <a:pt x="2396" y="18684"/>
                      </a:cubicBezTo>
                      <a:cubicBezTo>
                        <a:pt x="4763" y="25285"/>
                        <a:pt x="7503" y="27776"/>
                        <a:pt x="9496" y="34627"/>
                      </a:cubicBezTo>
                      <a:cubicBezTo>
                        <a:pt x="11489" y="41229"/>
                        <a:pt x="11364" y="47083"/>
                        <a:pt x="1099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0" name="Freeform 4399">
                  <a:extLst>
                    <a:ext uri="{FF2B5EF4-FFF2-40B4-BE49-F238E27FC236}">
                      <a16:creationId xmlns:a16="http://schemas.microsoft.com/office/drawing/2014/main" id="{359122ED-3F78-FA70-DDC9-75FA62845D4D}"/>
                    </a:ext>
                  </a:extLst>
                </p:cNvPr>
                <p:cNvSpPr/>
                <p:nvPr/>
              </p:nvSpPr>
              <p:spPr>
                <a:xfrm>
                  <a:off x="5694029" y="5862755"/>
                  <a:ext cx="12331" cy="50694"/>
                </a:xfrm>
                <a:custGeom>
                  <a:avLst/>
                  <a:gdLst>
                    <a:gd name="connsiteX0" fmla="*/ 12331 w 12331"/>
                    <a:gd name="connsiteY0" fmla="*/ 50695 h 50694"/>
                    <a:gd name="connsiteX1" fmla="*/ 6228 w 12331"/>
                    <a:gd name="connsiteY1" fmla="*/ 32883 h 50694"/>
                    <a:gd name="connsiteX2" fmla="*/ 5730 w 12331"/>
                    <a:gd name="connsiteY2" fmla="*/ 15445 h 50694"/>
                    <a:gd name="connsiteX3" fmla="*/ 0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12331" y="50695"/>
                      </a:moveTo>
                      <a:cubicBezTo>
                        <a:pt x="8096" y="43346"/>
                        <a:pt x="6726" y="37243"/>
                        <a:pt x="6228" y="32883"/>
                      </a:cubicBezTo>
                      <a:cubicBezTo>
                        <a:pt x="5480" y="25908"/>
                        <a:pt x="6851" y="22545"/>
                        <a:pt x="5730" y="15445"/>
                      </a:cubicBezTo>
                      <a:cubicBezTo>
                        <a:pt x="4733" y="8595"/>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1" name="Freeform 4400">
                  <a:extLst>
                    <a:ext uri="{FF2B5EF4-FFF2-40B4-BE49-F238E27FC236}">
                      <a16:creationId xmlns:a16="http://schemas.microsoft.com/office/drawing/2014/main" id="{005F202C-AA5E-4B18-BAF8-6F0EEFB697F8}"/>
                    </a:ext>
                  </a:extLst>
                </p:cNvPr>
                <p:cNvSpPr/>
                <p:nvPr/>
              </p:nvSpPr>
              <p:spPr>
                <a:xfrm>
                  <a:off x="5677008" y="5848224"/>
                  <a:ext cx="26693" cy="26445"/>
                </a:xfrm>
                <a:custGeom>
                  <a:avLst/>
                  <a:gdLst>
                    <a:gd name="connsiteX0" fmla="*/ 26363 w 26693"/>
                    <a:gd name="connsiteY0" fmla="*/ 10296 h 26445"/>
                    <a:gd name="connsiteX1" fmla="*/ 16274 w 26693"/>
                    <a:gd name="connsiteY1" fmla="*/ 26114 h 26445"/>
                    <a:gd name="connsiteX2" fmla="*/ 330 w 26693"/>
                    <a:gd name="connsiteY2" fmla="*/ 16150 h 26445"/>
                    <a:gd name="connsiteX3" fmla="*/ 10420 w 26693"/>
                    <a:gd name="connsiteY3" fmla="*/ 331 h 26445"/>
                    <a:gd name="connsiteX4" fmla="*/ 26363 w 26693"/>
                    <a:gd name="connsiteY4" fmla="*/ 10296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445">
                      <a:moveTo>
                        <a:pt x="26363" y="10296"/>
                      </a:moveTo>
                      <a:cubicBezTo>
                        <a:pt x="27982" y="17395"/>
                        <a:pt x="23498" y="24495"/>
                        <a:pt x="16274" y="26114"/>
                      </a:cubicBezTo>
                      <a:cubicBezTo>
                        <a:pt x="9050" y="27734"/>
                        <a:pt x="1950" y="23249"/>
                        <a:pt x="330" y="16150"/>
                      </a:cubicBezTo>
                      <a:cubicBezTo>
                        <a:pt x="-1289" y="9050"/>
                        <a:pt x="3195" y="1825"/>
                        <a:pt x="10420" y="331"/>
                      </a:cubicBezTo>
                      <a:cubicBezTo>
                        <a:pt x="17519" y="-1288"/>
                        <a:pt x="24744" y="3196"/>
                        <a:pt x="26363" y="102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2" name="Freeform 4401">
                  <a:extLst>
                    <a:ext uri="{FF2B5EF4-FFF2-40B4-BE49-F238E27FC236}">
                      <a16:creationId xmlns:a16="http://schemas.microsoft.com/office/drawing/2014/main" id="{82B66C0D-1493-86D2-16D8-0CFA43D57912}"/>
                    </a:ext>
                  </a:extLst>
                </p:cNvPr>
                <p:cNvSpPr/>
                <p:nvPr/>
              </p:nvSpPr>
              <p:spPr>
                <a:xfrm>
                  <a:off x="5708506" y="5922044"/>
                  <a:ext cx="11203" cy="51068"/>
                </a:xfrm>
                <a:custGeom>
                  <a:avLst/>
                  <a:gdLst>
                    <a:gd name="connsiteX0" fmla="*/ 11058 w 11203"/>
                    <a:gd name="connsiteY0" fmla="*/ 51069 h 51068"/>
                    <a:gd name="connsiteX1" fmla="*/ 8816 w 11203"/>
                    <a:gd name="connsiteY1" fmla="*/ 32385 h 51068"/>
                    <a:gd name="connsiteX2" fmla="*/ 1716 w 11203"/>
                    <a:gd name="connsiteY2" fmla="*/ 16442 h 51068"/>
                    <a:gd name="connsiteX3" fmla="*/ 221 w 11203"/>
                    <a:gd name="connsiteY3" fmla="*/ 0 h 51068"/>
                  </a:gdLst>
                  <a:ahLst/>
                  <a:cxnLst>
                    <a:cxn ang="0">
                      <a:pos x="connsiteX0" y="connsiteY0"/>
                    </a:cxn>
                    <a:cxn ang="0">
                      <a:pos x="connsiteX1" y="connsiteY1"/>
                    </a:cxn>
                    <a:cxn ang="0">
                      <a:pos x="connsiteX2" y="connsiteY2"/>
                    </a:cxn>
                    <a:cxn ang="0">
                      <a:pos x="connsiteX3" y="connsiteY3"/>
                    </a:cxn>
                  </a:cxnLst>
                  <a:rect l="l" t="t" r="r" b="b"/>
                  <a:pathLst>
                    <a:path w="11203" h="51068">
                      <a:moveTo>
                        <a:pt x="11058" y="51069"/>
                      </a:moveTo>
                      <a:cubicBezTo>
                        <a:pt x="11681" y="42724"/>
                        <a:pt x="10186" y="36496"/>
                        <a:pt x="8816" y="32385"/>
                      </a:cubicBezTo>
                      <a:cubicBezTo>
                        <a:pt x="6574"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3" name="Freeform 4402">
                  <a:extLst>
                    <a:ext uri="{FF2B5EF4-FFF2-40B4-BE49-F238E27FC236}">
                      <a16:creationId xmlns:a16="http://schemas.microsoft.com/office/drawing/2014/main" id="{6AA0D84C-DAEA-3FB0-2F6D-42A69E9BD06C}"/>
                    </a:ext>
                  </a:extLst>
                </p:cNvPr>
                <p:cNvSpPr/>
                <p:nvPr/>
              </p:nvSpPr>
              <p:spPr>
                <a:xfrm>
                  <a:off x="5701502" y="5928895"/>
                  <a:ext cx="12331" cy="50694"/>
                </a:xfrm>
                <a:custGeom>
                  <a:avLst/>
                  <a:gdLst>
                    <a:gd name="connsiteX0" fmla="*/ 0 w 12331"/>
                    <a:gd name="connsiteY0" fmla="*/ 0 h 50694"/>
                    <a:gd name="connsiteX1" fmla="*/ 6104 w 12331"/>
                    <a:gd name="connsiteY1" fmla="*/ 17812 h 50694"/>
                    <a:gd name="connsiteX2" fmla="*/ 6602 w 12331"/>
                    <a:gd name="connsiteY2" fmla="*/ 35250 h 50694"/>
                    <a:gd name="connsiteX3" fmla="*/ 12331 w 12331"/>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331" h="50694">
                      <a:moveTo>
                        <a:pt x="0" y="0"/>
                      </a:moveTo>
                      <a:cubicBezTo>
                        <a:pt x="4235" y="7349"/>
                        <a:pt x="5605" y="13452"/>
                        <a:pt x="6104" y="17812"/>
                      </a:cubicBezTo>
                      <a:cubicBezTo>
                        <a:pt x="6851" y="24787"/>
                        <a:pt x="5481" y="28150"/>
                        <a:pt x="6602" y="35250"/>
                      </a:cubicBezTo>
                      <a:cubicBezTo>
                        <a:pt x="7723" y="42101"/>
                        <a:pt x="10339"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44" name="Freeform 4403">
                  <a:extLst>
                    <a:ext uri="{FF2B5EF4-FFF2-40B4-BE49-F238E27FC236}">
                      <a16:creationId xmlns:a16="http://schemas.microsoft.com/office/drawing/2014/main" id="{35606394-9EE4-DC12-053A-500E281A466B}"/>
                    </a:ext>
                  </a:extLst>
                </p:cNvPr>
                <p:cNvSpPr/>
                <p:nvPr/>
              </p:nvSpPr>
              <p:spPr>
                <a:xfrm>
                  <a:off x="5704404" y="5967551"/>
                  <a:ext cx="26327" cy="26525"/>
                </a:xfrm>
                <a:custGeom>
                  <a:avLst/>
                  <a:gdLst>
                    <a:gd name="connsiteX0" fmla="*/ 337 w 26327"/>
                    <a:gd name="connsiteY0" fmla="*/ 16149 h 26525"/>
                    <a:gd name="connsiteX1" fmla="*/ 10178 w 26327"/>
                    <a:gd name="connsiteY1" fmla="*/ 331 h 26525"/>
                    <a:gd name="connsiteX2" fmla="*/ 25996 w 26327"/>
                    <a:gd name="connsiteY2" fmla="*/ 10420 h 26525"/>
                    <a:gd name="connsiteX3" fmla="*/ 16156 w 26327"/>
                    <a:gd name="connsiteY3" fmla="*/ 26238 h 26525"/>
                    <a:gd name="connsiteX4" fmla="*/ 337 w 26327"/>
                    <a:gd name="connsiteY4" fmla="*/ 16149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7" h="26524">
                      <a:moveTo>
                        <a:pt x="337" y="16149"/>
                      </a:moveTo>
                      <a:cubicBezTo>
                        <a:pt x="-1282" y="9049"/>
                        <a:pt x="3078" y="1825"/>
                        <a:pt x="10178" y="331"/>
                      </a:cubicBezTo>
                      <a:cubicBezTo>
                        <a:pt x="17277" y="-1289"/>
                        <a:pt x="24377" y="3195"/>
                        <a:pt x="25996" y="10420"/>
                      </a:cubicBezTo>
                      <a:cubicBezTo>
                        <a:pt x="27616" y="17519"/>
                        <a:pt x="23131" y="24619"/>
                        <a:pt x="16156" y="26238"/>
                      </a:cubicBezTo>
                      <a:cubicBezTo>
                        <a:pt x="9057" y="27733"/>
                        <a:pt x="1957" y="23249"/>
                        <a:pt x="337" y="1614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1" name="Graphic 2987">
                <a:extLst>
                  <a:ext uri="{FF2B5EF4-FFF2-40B4-BE49-F238E27FC236}">
                    <a16:creationId xmlns:a16="http://schemas.microsoft.com/office/drawing/2014/main" id="{3458F0BE-C11C-8DF8-5199-B82AFDE1B5E6}"/>
                  </a:ext>
                </a:extLst>
              </p:cNvPr>
              <p:cNvGrpSpPr/>
              <p:nvPr/>
            </p:nvGrpSpPr>
            <p:grpSpPr>
              <a:xfrm>
                <a:off x="5706030" y="5841748"/>
                <a:ext cx="53598" cy="145895"/>
                <a:chOff x="5706030" y="5841748"/>
                <a:chExt cx="53598" cy="145895"/>
              </a:xfrm>
              <a:grpFill/>
            </p:grpSpPr>
            <p:sp>
              <p:nvSpPr>
                <p:cNvPr id="5033" name="Freeform 4405">
                  <a:extLst>
                    <a:ext uri="{FF2B5EF4-FFF2-40B4-BE49-F238E27FC236}">
                      <a16:creationId xmlns:a16="http://schemas.microsoft.com/office/drawing/2014/main" id="{6ADE4589-3952-2D8D-08BA-A9F7839E86A6}"/>
                    </a:ext>
                  </a:extLst>
                </p:cNvPr>
                <p:cNvSpPr/>
                <p:nvPr/>
              </p:nvSpPr>
              <p:spPr>
                <a:xfrm>
                  <a:off x="5717167" y="5862755"/>
                  <a:ext cx="11212" cy="51068"/>
                </a:xfrm>
                <a:custGeom>
                  <a:avLst/>
                  <a:gdLst>
                    <a:gd name="connsiteX0" fmla="*/ 154 w 11212"/>
                    <a:gd name="connsiteY0" fmla="*/ 0 h 51068"/>
                    <a:gd name="connsiteX1" fmla="*/ 2396 w 11212"/>
                    <a:gd name="connsiteY1" fmla="*/ 18684 h 51068"/>
                    <a:gd name="connsiteX2" fmla="*/ 9496 w 11212"/>
                    <a:gd name="connsiteY2" fmla="*/ 34627 h 51068"/>
                    <a:gd name="connsiteX3" fmla="*/ 10991 w 112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2" h="51068">
                      <a:moveTo>
                        <a:pt x="154" y="0"/>
                      </a:moveTo>
                      <a:cubicBezTo>
                        <a:pt x="-469" y="8345"/>
                        <a:pt x="901" y="14573"/>
                        <a:pt x="2396" y="18684"/>
                      </a:cubicBezTo>
                      <a:cubicBezTo>
                        <a:pt x="4638" y="25285"/>
                        <a:pt x="7503" y="27776"/>
                        <a:pt x="9496" y="34627"/>
                      </a:cubicBezTo>
                      <a:cubicBezTo>
                        <a:pt x="11489" y="41229"/>
                        <a:pt x="11364" y="47083"/>
                        <a:pt x="10991"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4" name="Freeform 4406">
                  <a:extLst>
                    <a:ext uri="{FF2B5EF4-FFF2-40B4-BE49-F238E27FC236}">
                      <a16:creationId xmlns:a16="http://schemas.microsoft.com/office/drawing/2014/main" id="{A6BE6110-0460-FD39-3C49-54AB63A2B578}"/>
                    </a:ext>
                  </a:extLst>
                </p:cNvPr>
                <p:cNvSpPr/>
                <p:nvPr/>
              </p:nvSpPr>
              <p:spPr>
                <a:xfrm>
                  <a:off x="5723051" y="5856278"/>
                  <a:ext cx="12206" cy="50695"/>
                </a:xfrm>
                <a:custGeom>
                  <a:avLst/>
                  <a:gdLst>
                    <a:gd name="connsiteX0" fmla="*/ 12207 w 12206"/>
                    <a:gd name="connsiteY0" fmla="*/ 50695 h 50695"/>
                    <a:gd name="connsiteX1" fmla="*/ 6103 w 12206"/>
                    <a:gd name="connsiteY1" fmla="*/ 32883 h 50695"/>
                    <a:gd name="connsiteX2" fmla="*/ 5730 w 12206"/>
                    <a:gd name="connsiteY2" fmla="*/ 15445 h 50695"/>
                    <a:gd name="connsiteX3" fmla="*/ 0 w 12206"/>
                    <a:gd name="connsiteY3" fmla="*/ 0 h 50695"/>
                  </a:gdLst>
                  <a:ahLst/>
                  <a:cxnLst>
                    <a:cxn ang="0">
                      <a:pos x="connsiteX0" y="connsiteY0"/>
                    </a:cxn>
                    <a:cxn ang="0">
                      <a:pos x="connsiteX1" y="connsiteY1"/>
                    </a:cxn>
                    <a:cxn ang="0">
                      <a:pos x="connsiteX2" y="connsiteY2"/>
                    </a:cxn>
                    <a:cxn ang="0">
                      <a:pos x="connsiteX3" y="connsiteY3"/>
                    </a:cxn>
                  </a:cxnLst>
                  <a:rect l="l" t="t" r="r" b="b"/>
                  <a:pathLst>
                    <a:path w="12206" h="50695">
                      <a:moveTo>
                        <a:pt x="12207" y="50695"/>
                      </a:moveTo>
                      <a:cubicBezTo>
                        <a:pt x="7971" y="43346"/>
                        <a:pt x="6602" y="37243"/>
                        <a:pt x="6103"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5" name="Freeform 4407">
                  <a:extLst>
                    <a:ext uri="{FF2B5EF4-FFF2-40B4-BE49-F238E27FC236}">
                      <a16:creationId xmlns:a16="http://schemas.microsoft.com/office/drawing/2014/main" id="{99432ED5-BF57-3253-B0D3-603C89151CFA}"/>
                    </a:ext>
                  </a:extLst>
                </p:cNvPr>
                <p:cNvSpPr/>
                <p:nvPr/>
              </p:nvSpPr>
              <p:spPr>
                <a:xfrm>
                  <a:off x="5706030" y="5841748"/>
                  <a:ext cx="26693" cy="26568"/>
                </a:xfrm>
                <a:custGeom>
                  <a:avLst/>
                  <a:gdLst>
                    <a:gd name="connsiteX0" fmla="*/ 26363 w 26693"/>
                    <a:gd name="connsiteY0" fmla="*/ 10420 h 26568"/>
                    <a:gd name="connsiteX1" fmla="*/ 16274 w 26693"/>
                    <a:gd name="connsiteY1" fmla="*/ 26238 h 26568"/>
                    <a:gd name="connsiteX2" fmla="*/ 331 w 26693"/>
                    <a:gd name="connsiteY2" fmla="*/ 16149 h 26568"/>
                    <a:gd name="connsiteX3" fmla="*/ 10420 w 26693"/>
                    <a:gd name="connsiteY3" fmla="*/ 331 h 26568"/>
                    <a:gd name="connsiteX4" fmla="*/ 26363 w 2669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67">
                      <a:moveTo>
                        <a:pt x="26363" y="10420"/>
                      </a:moveTo>
                      <a:cubicBezTo>
                        <a:pt x="27982" y="17520"/>
                        <a:pt x="23498" y="24619"/>
                        <a:pt x="16274" y="26238"/>
                      </a:cubicBezTo>
                      <a:cubicBezTo>
                        <a:pt x="9049" y="27858"/>
                        <a:pt x="1950" y="23374"/>
                        <a:pt x="331" y="16149"/>
                      </a:cubicBezTo>
                      <a:cubicBezTo>
                        <a:pt x="-1289" y="9049"/>
                        <a:pt x="3195" y="1950"/>
                        <a:pt x="10420" y="331"/>
                      </a:cubicBezTo>
                      <a:cubicBezTo>
                        <a:pt x="17644" y="-1289"/>
                        <a:pt x="24744" y="3195"/>
                        <a:pt x="2636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6" name="Freeform 4408">
                  <a:extLst>
                    <a:ext uri="{FF2B5EF4-FFF2-40B4-BE49-F238E27FC236}">
                      <a16:creationId xmlns:a16="http://schemas.microsoft.com/office/drawing/2014/main" id="{0596C171-EF60-7D65-1C96-E0B0B2ABF779}"/>
                    </a:ext>
                  </a:extLst>
                </p:cNvPr>
                <p:cNvSpPr/>
                <p:nvPr/>
              </p:nvSpPr>
              <p:spPr>
                <a:xfrm>
                  <a:off x="5737278" y="5915692"/>
                  <a:ext cx="11211" cy="51068"/>
                </a:xfrm>
                <a:custGeom>
                  <a:avLst/>
                  <a:gdLst>
                    <a:gd name="connsiteX0" fmla="*/ 11058 w 11211"/>
                    <a:gd name="connsiteY0" fmla="*/ 51068 h 51068"/>
                    <a:gd name="connsiteX1" fmla="*/ 8816 w 11211"/>
                    <a:gd name="connsiteY1" fmla="*/ 32385 h 51068"/>
                    <a:gd name="connsiteX2" fmla="*/ 1716 w 11211"/>
                    <a:gd name="connsiteY2" fmla="*/ 16441 h 51068"/>
                    <a:gd name="connsiteX3" fmla="*/ 221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51068"/>
                      </a:moveTo>
                      <a:cubicBezTo>
                        <a:pt x="11681" y="42723"/>
                        <a:pt x="10311" y="36495"/>
                        <a:pt x="8816" y="32385"/>
                      </a:cubicBezTo>
                      <a:cubicBezTo>
                        <a:pt x="6574" y="25783"/>
                        <a:pt x="3834" y="23292"/>
                        <a:pt x="1716" y="16441"/>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7" name="Freeform 4409">
                  <a:extLst>
                    <a:ext uri="{FF2B5EF4-FFF2-40B4-BE49-F238E27FC236}">
                      <a16:creationId xmlns:a16="http://schemas.microsoft.com/office/drawing/2014/main" id="{BE7BA811-9A48-7731-8F6C-9747E76C09BE}"/>
                    </a:ext>
                  </a:extLst>
                </p:cNvPr>
                <p:cNvSpPr/>
                <p:nvPr/>
              </p:nvSpPr>
              <p:spPr>
                <a:xfrm>
                  <a:off x="5730400" y="5922418"/>
                  <a:ext cx="12331" cy="50695"/>
                </a:xfrm>
                <a:custGeom>
                  <a:avLst/>
                  <a:gdLst>
                    <a:gd name="connsiteX0" fmla="*/ 0 w 12331"/>
                    <a:gd name="connsiteY0" fmla="*/ 0 h 50695"/>
                    <a:gd name="connsiteX1" fmla="*/ 6103 w 12331"/>
                    <a:gd name="connsiteY1" fmla="*/ 17812 h 50695"/>
                    <a:gd name="connsiteX2" fmla="*/ 6602 w 12331"/>
                    <a:gd name="connsiteY2" fmla="*/ 35250 h 50695"/>
                    <a:gd name="connsiteX3" fmla="*/ 12331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0" y="0"/>
                      </a:moveTo>
                      <a:cubicBezTo>
                        <a:pt x="4235" y="7349"/>
                        <a:pt x="5605" y="13452"/>
                        <a:pt x="6103" y="17812"/>
                      </a:cubicBezTo>
                      <a:cubicBezTo>
                        <a:pt x="6851" y="24787"/>
                        <a:pt x="5481" y="28150"/>
                        <a:pt x="6602" y="35250"/>
                      </a:cubicBezTo>
                      <a:cubicBezTo>
                        <a:pt x="7598" y="42101"/>
                        <a:pt x="10214" y="47332"/>
                        <a:pt x="12331"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8" name="Freeform 4410">
                  <a:extLst>
                    <a:ext uri="{FF2B5EF4-FFF2-40B4-BE49-F238E27FC236}">
                      <a16:creationId xmlns:a16="http://schemas.microsoft.com/office/drawing/2014/main" id="{5AD88642-80AF-BF0A-68F3-E016ABE5E663}"/>
                    </a:ext>
                  </a:extLst>
                </p:cNvPr>
                <p:cNvSpPr/>
                <p:nvPr/>
              </p:nvSpPr>
              <p:spPr>
                <a:xfrm>
                  <a:off x="5733183" y="5961074"/>
                  <a:ext cx="26445" cy="26569"/>
                </a:xfrm>
                <a:custGeom>
                  <a:avLst/>
                  <a:gdLst>
                    <a:gd name="connsiteX0" fmla="*/ 331 w 26445"/>
                    <a:gd name="connsiteY0" fmla="*/ 16150 h 26569"/>
                    <a:gd name="connsiteX1" fmla="*/ 10295 w 26445"/>
                    <a:gd name="connsiteY1" fmla="*/ 331 h 26569"/>
                    <a:gd name="connsiteX2" fmla="*/ 26114 w 26445"/>
                    <a:gd name="connsiteY2" fmla="*/ 10420 h 26569"/>
                    <a:gd name="connsiteX3" fmla="*/ 16150 w 26445"/>
                    <a:gd name="connsiteY3" fmla="*/ 26239 h 26569"/>
                    <a:gd name="connsiteX4" fmla="*/ 331 w 26445"/>
                    <a:gd name="connsiteY4" fmla="*/ 1615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5" h="26569">
                      <a:moveTo>
                        <a:pt x="331" y="16150"/>
                      </a:moveTo>
                      <a:cubicBezTo>
                        <a:pt x="-1288" y="9050"/>
                        <a:pt x="3196" y="1950"/>
                        <a:pt x="10295" y="331"/>
                      </a:cubicBezTo>
                      <a:cubicBezTo>
                        <a:pt x="17395" y="-1289"/>
                        <a:pt x="24495" y="3195"/>
                        <a:pt x="26114" y="10420"/>
                      </a:cubicBezTo>
                      <a:cubicBezTo>
                        <a:pt x="27734" y="17520"/>
                        <a:pt x="23249" y="24619"/>
                        <a:pt x="16150" y="26239"/>
                      </a:cubicBezTo>
                      <a:cubicBezTo>
                        <a:pt x="9050" y="27858"/>
                        <a:pt x="1950" y="23374"/>
                        <a:pt x="331"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2" name="Graphic 2987">
                <a:extLst>
                  <a:ext uri="{FF2B5EF4-FFF2-40B4-BE49-F238E27FC236}">
                    <a16:creationId xmlns:a16="http://schemas.microsoft.com/office/drawing/2014/main" id="{4EE0A1C6-17A9-C11E-B030-ED3BAB9208F6}"/>
                  </a:ext>
                </a:extLst>
              </p:cNvPr>
              <p:cNvGrpSpPr/>
              <p:nvPr/>
            </p:nvGrpSpPr>
            <p:grpSpPr>
              <a:xfrm>
                <a:off x="5735176" y="5835271"/>
                <a:ext cx="52937" cy="146013"/>
                <a:chOff x="5735176" y="5835271"/>
                <a:chExt cx="52937" cy="146013"/>
              </a:xfrm>
              <a:grpFill/>
            </p:grpSpPr>
            <p:sp>
              <p:nvSpPr>
                <p:cNvPr id="5027" name="Freeform 4412">
                  <a:extLst>
                    <a:ext uri="{FF2B5EF4-FFF2-40B4-BE49-F238E27FC236}">
                      <a16:creationId xmlns:a16="http://schemas.microsoft.com/office/drawing/2014/main" id="{B1D9DFF7-6D46-63EB-2358-1E932B2FF229}"/>
                    </a:ext>
                  </a:extLst>
                </p:cNvPr>
                <p:cNvSpPr/>
                <p:nvPr/>
              </p:nvSpPr>
              <p:spPr>
                <a:xfrm>
                  <a:off x="5746189" y="5856278"/>
                  <a:ext cx="11088" cy="51068"/>
                </a:xfrm>
                <a:custGeom>
                  <a:avLst/>
                  <a:gdLst>
                    <a:gd name="connsiteX0" fmla="*/ 155 w 11088"/>
                    <a:gd name="connsiteY0" fmla="*/ 0 h 51068"/>
                    <a:gd name="connsiteX1" fmla="*/ 2272 w 11088"/>
                    <a:gd name="connsiteY1" fmla="*/ 18684 h 51068"/>
                    <a:gd name="connsiteX2" fmla="*/ 9372 w 11088"/>
                    <a:gd name="connsiteY2" fmla="*/ 34627 h 51068"/>
                    <a:gd name="connsiteX3" fmla="*/ 10867 w 11088"/>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1088" h="51068">
                      <a:moveTo>
                        <a:pt x="155" y="0"/>
                      </a:moveTo>
                      <a:cubicBezTo>
                        <a:pt x="-468" y="8346"/>
                        <a:pt x="902" y="14573"/>
                        <a:pt x="2272" y="18684"/>
                      </a:cubicBezTo>
                      <a:cubicBezTo>
                        <a:pt x="4514" y="25285"/>
                        <a:pt x="7254" y="27776"/>
                        <a:pt x="9372" y="34627"/>
                      </a:cubicBezTo>
                      <a:cubicBezTo>
                        <a:pt x="11365" y="41229"/>
                        <a:pt x="11240" y="47083"/>
                        <a:pt x="1086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8" name="Freeform 4413">
                  <a:extLst>
                    <a:ext uri="{FF2B5EF4-FFF2-40B4-BE49-F238E27FC236}">
                      <a16:creationId xmlns:a16="http://schemas.microsoft.com/office/drawing/2014/main" id="{1B0404B3-0BCD-BD18-E012-418085AE3EB3}"/>
                    </a:ext>
                  </a:extLst>
                </p:cNvPr>
                <p:cNvSpPr/>
                <p:nvPr/>
              </p:nvSpPr>
              <p:spPr>
                <a:xfrm>
                  <a:off x="5752073" y="5849801"/>
                  <a:ext cx="12082" cy="50695"/>
                </a:xfrm>
                <a:custGeom>
                  <a:avLst/>
                  <a:gdLst>
                    <a:gd name="connsiteX0" fmla="*/ 12082 w 12082"/>
                    <a:gd name="connsiteY0" fmla="*/ 50695 h 50695"/>
                    <a:gd name="connsiteX1" fmla="*/ 6104 w 12082"/>
                    <a:gd name="connsiteY1" fmla="*/ 32883 h 50695"/>
                    <a:gd name="connsiteX2" fmla="*/ 5730 w 12082"/>
                    <a:gd name="connsiteY2" fmla="*/ 15445 h 50695"/>
                    <a:gd name="connsiteX3" fmla="*/ 0 w 12082"/>
                    <a:gd name="connsiteY3" fmla="*/ 0 h 50695"/>
                  </a:gdLst>
                  <a:ahLst/>
                  <a:cxnLst>
                    <a:cxn ang="0">
                      <a:pos x="connsiteX0" y="connsiteY0"/>
                    </a:cxn>
                    <a:cxn ang="0">
                      <a:pos x="connsiteX1" y="connsiteY1"/>
                    </a:cxn>
                    <a:cxn ang="0">
                      <a:pos x="connsiteX2" y="connsiteY2"/>
                    </a:cxn>
                    <a:cxn ang="0">
                      <a:pos x="connsiteX3" y="connsiteY3"/>
                    </a:cxn>
                  </a:cxnLst>
                  <a:rect l="l" t="t" r="r" b="b"/>
                  <a:pathLst>
                    <a:path w="12082" h="50695">
                      <a:moveTo>
                        <a:pt x="12082" y="50695"/>
                      </a:moveTo>
                      <a:cubicBezTo>
                        <a:pt x="7972" y="43346"/>
                        <a:pt x="6602" y="37243"/>
                        <a:pt x="6104" y="32883"/>
                      </a:cubicBezTo>
                      <a:cubicBezTo>
                        <a:pt x="5356" y="25908"/>
                        <a:pt x="6726" y="22545"/>
                        <a:pt x="5730" y="15445"/>
                      </a:cubicBezTo>
                      <a:cubicBezTo>
                        <a:pt x="4733" y="8595"/>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9" name="Freeform 4414">
                  <a:extLst>
                    <a:ext uri="{FF2B5EF4-FFF2-40B4-BE49-F238E27FC236}">
                      <a16:creationId xmlns:a16="http://schemas.microsoft.com/office/drawing/2014/main" id="{88C2F553-2844-ADD5-17DF-A7F6A2190F16}"/>
                    </a:ext>
                  </a:extLst>
                </p:cNvPr>
                <p:cNvSpPr/>
                <p:nvPr/>
              </p:nvSpPr>
              <p:spPr>
                <a:xfrm>
                  <a:off x="5735176" y="5835271"/>
                  <a:ext cx="26562" cy="26569"/>
                </a:xfrm>
                <a:custGeom>
                  <a:avLst/>
                  <a:gdLst>
                    <a:gd name="connsiteX0" fmla="*/ 26238 w 26562"/>
                    <a:gd name="connsiteY0" fmla="*/ 10420 h 26569"/>
                    <a:gd name="connsiteX1" fmla="*/ 16149 w 26562"/>
                    <a:gd name="connsiteY1" fmla="*/ 26239 h 26569"/>
                    <a:gd name="connsiteX2" fmla="*/ 331 w 26562"/>
                    <a:gd name="connsiteY2" fmla="*/ 16149 h 26569"/>
                    <a:gd name="connsiteX3" fmla="*/ 10420 w 26562"/>
                    <a:gd name="connsiteY3" fmla="*/ 330 h 26569"/>
                    <a:gd name="connsiteX4" fmla="*/ 26238 w 26562"/>
                    <a:gd name="connsiteY4" fmla="*/ 10420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2" h="26569">
                      <a:moveTo>
                        <a:pt x="26238" y="10420"/>
                      </a:moveTo>
                      <a:cubicBezTo>
                        <a:pt x="27858" y="17519"/>
                        <a:pt x="23249" y="24619"/>
                        <a:pt x="16149" y="26239"/>
                      </a:cubicBezTo>
                      <a:cubicBezTo>
                        <a:pt x="8925" y="27858"/>
                        <a:pt x="1825" y="23374"/>
                        <a:pt x="331" y="16149"/>
                      </a:cubicBezTo>
                      <a:cubicBezTo>
                        <a:pt x="-1289" y="9050"/>
                        <a:pt x="3195" y="1950"/>
                        <a:pt x="10420" y="330"/>
                      </a:cubicBezTo>
                      <a:cubicBezTo>
                        <a:pt x="17520" y="-1289"/>
                        <a:pt x="24619" y="3195"/>
                        <a:pt x="26238"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0" name="Freeform 4415">
                  <a:extLst>
                    <a:ext uri="{FF2B5EF4-FFF2-40B4-BE49-F238E27FC236}">
                      <a16:creationId xmlns:a16="http://schemas.microsoft.com/office/drawing/2014/main" id="{C77CD5AC-CCA8-AE5B-5939-0470B5770574}"/>
                    </a:ext>
                  </a:extLst>
                </p:cNvPr>
                <p:cNvSpPr/>
                <p:nvPr/>
              </p:nvSpPr>
              <p:spPr>
                <a:xfrm>
                  <a:off x="5766176" y="5909215"/>
                  <a:ext cx="10963" cy="51068"/>
                </a:xfrm>
                <a:custGeom>
                  <a:avLst/>
                  <a:gdLst>
                    <a:gd name="connsiteX0" fmla="*/ 10809 w 10963"/>
                    <a:gd name="connsiteY0" fmla="*/ 51069 h 51068"/>
                    <a:gd name="connsiteX1" fmla="*/ 8691 w 10963"/>
                    <a:gd name="connsiteY1" fmla="*/ 32385 h 51068"/>
                    <a:gd name="connsiteX2" fmla="*/ 1716 w 10963"/>
                    <a:gd name="connsiteY2" fmla="*/ 16442 h 51068"/>
                    <a:gd name="connsiteX3" fmla="*/ 221 w 10963"/>
                    <a:gd name="connsiteY3" fmla="*/ 0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51069"/>
                      </a:moveTo>
                      <a:cubicBezTo>
                        <a:pt x="11432" y="42724"/>
                        <a:pt x="10061" y="36496"/>
                        <a:pt x="8691" y="32385"/>
                      </a:cubicBezTo>
                      <a:cubicBezTo>
                        <a:pt x="6449" y="25784"/>
                        <a:pt x="3709" y="23292"/>
                        <a:pt x="1716" y="16442"/>
                      </a:cubicBezTo>
                      <a:cubicBezTo>
                        <a:pt x="-277" y="9840"/>
                        <a:pt x="-152" y="3986"/>
                        <a:pt x="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1" name="Freeform 4416">
                  <a:extLst>
                    <a:ext uri="{FF2B5EF4-FFF2-40B4-BE49-F238E27FC236}">
                      <a16:creationId xmlns:a16="http://schemas.microsoft.com/office/drawing/2014/main" id="{EEC5D2B7-B578-1FFF-F398-1ACCAE83E415}"/>
                    </a:ext>
                  </a:extLst>
                </p:cNvPr>
                <p:cNvSpPr/>
                <p:nvPr/>
              </p:nvSpPr>
              <p:spPr>
                <a:xfrm>
                  <a:off x="5759297" y="5916066"/>
                  <a:ext cx="11957" cy="50694"/>
                </a:xfrm>
                <a:custGeom>
                  <a:avLst/>
                  <a:gdLst>
                    <a:gd name="connsiteX0" fmla="*/ 0 w 11957"/>
                    <a:gd name="connsiteY0" fmla="*/ 0 h 50694"/>
                    <a:gd name="connsiteX1" fmla="*/ 5979 w 11957"/>
                    <a:gd name="connsiteY1" fmla="*/ 17812 h 50694"/>
                    <a:gd name="connsiteX2" fmla="*/ 6353 w 11957"/>
                    <a:gd name="connsiteY2" fmla="*/ 35250 h 50694"/>
                    <a:gd name="connsiteX3" fmla="*/ 11957 w 11957"/>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1957" h="50694">
                      <a:moveTo>
                        <a:pt x="0" y="0"/>
                      </a:moveTo>
                      <a:cubicBezTo>
                        <a:pt x="4110" y="7349"/>
                        <a:pt x="5481" y="13452"/>
                        <a:pt x="5979" y="17812"/>
                      </a:cubicBezTo>
                      <a:cubicBezTo>
                        <a:pt x="6726" y="24787"/>
                        <a:pt x="5356" y="28150"/>
                        <a:pt x="6353" y="35250"/>
                      </a:cubicBezTo>
                      <a:cubicBezTo>
                        <a:pt x="7349" y="42101"/>
                        <a:pt x="9964" y="47332"/>
                        <a:pt x="11957"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32" name="Freeform 4417">
                  <a:extLst>
                    <a:ext uri="{FF2B5EF4-FFF2-40B4-BE49-F238E27FC236}">
                      <a16:creationId xmlns:a16="http://schemas.microsoft.com/office/drawing/2014/main" id="{7E88D067-7DBF-C919-BF3F-8741486AB368}"/>
                    </a:ext>
                  </a:extLst>
                </p:cNvPr>
                <p:cNvSpPr/>
                <p:nvPr/>
              </p:nvSpPr>
              <p:spPr>
                <a:xfrm>
                  <a:off x="5761831" y="5954728"/>
                  <a:ext cx="26282" cy="26556"/>
                </a:xfrm>
                <a:custGeom>
                  <a:avLst/>
                  <a:gdLst>
                    <a:gd name="connsiteX0" fmla="*/ 331 w 26282"/>
                    <a:gd name="connsiteY0" fmla="*/ 16143 h 26556"/>
                    <a:gd name="connsiteX1" fmla="*/ 10296 w 26282"/>
                    <a:gd name="connsiteY1" fmla="*/ 325 h 26556"/>
                    <a:gd name="connsiteX2" fmla="*/ 25990 w 26282"/>
                    <a:gd name="connsiteY2" fmla="*/ 10414 h 26556"/>
                    <a:gd name="connsiteX3" fmla="*/ 16025 w 26282"/>
                    <a:gd name="connsiteY3" fmla="*/ 26232 h 26556"/>
                    <a:gd name="connsiteX4" fmla="*/ 331 w 26282"/>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56">
                      <a:moveTo>
                        <a:pt x="331" y="16143"/>
                      </a:moveTo>
                      <a:cubicBezTo>
                        <a:pt x="-1288" y="9043"/>
                        <a:pt x="3196" y="1943"/>
                        <a:pt x="10296" y="325"/>
                      </a:cubicBezTo>
                      <a:cubicBezTo>
                        <a:pt x="17395" y="-1295"/>
                        <a:pt x="24495" y="3314"/>
                        <a:pt x="25990" y="10414"/>
                      </a:cubicBezTo>
                      <a:cubicBezTo>
                        <a:pt x="27485" y="17513"/>
                        <a:pt x="23125" y="24613"/>
                        <a:pt x="16025" y="26232"/>
                      </a:cubicBezTo>
                      <a:cubicBezTo>
                        <a:pt x="9050" y="27852"/>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3" name="Graphic 2987">
                <a:extLst>
                  <a:ext uri="{FF2B5EF4-FFF2-40B4-BE49-F238E27FC236}">
                    <a16:creationId xmlns:a16="http://schemas.microsoft.com/office/drawing/2014/main" id="{0B6F3441-004F-B0E2-E62B-EB427D939D13}"/>
                  </a:ext>
                </a:extLst>
              </p:cNvPr>
              <p:cNvGrpSpPr/>
              <p:nvPr/>
            </p:nvGrpSpPr>
            <p:grpSpPr>
              <a:xfrm>
                <a:off x="5764204" y="5828794"/>
                <a:ext cx="52720" cy="146100"/>
                <a:chOff x="5764204" y="5828794"/>
                <a:chExt cx="52720" cy="146100"/>
              </a:xfrm>
              <a:grpFill/>
            </p:grpSpPr>
            <p:sp>
              <p:nvSpPr>
                <p:cNvPr id="5021" name="Freeform 4419">
                  <a:extLst>
                    <a:ext uri="{FF2B5EF4-FFF2-40B4-BE49-F238E27FC236}">
                      <a16:creationId xmlns:a16="http://schemas.microsoft.com/office/drawing/2014/main" id="{C9221C25-48AA-4CAC-4988-D22BACB197CD}"/>
                    </a:ext>
                  </a:extLst>
                </p:cNvPr>
                <p:cNvSpPr/>
                <p:nvPr/>
              </p:nvSpPr>
              <p:spPr>
                <a:xfrm>
                  <a:off x="5775166" y="5849801"/>
                  <a:ext cx="10973" cy="51068"/>
                </a:xfrm>
                <a:custGeom>
                  <a:avLst/>
                  <a:gdLst>
                    <a:gd name="connsiteX0" fmla="*/ 200 w 10973"/>
                    <a:gd name="connsiteY0" fmla="*/ 0 h 51068"/>
                    <a:gd name="connsiteX1" fmla="*/ 2317 w 10973"/>
                    <a:gd name="connsiteY1" fmla="*/ 18684 h 51068"/>
                    <a:gd name="connsiteX2" fmla="*/ 9292 w 10973"/>
                    <a:gd name="connsiteY2" fmla="*/ 34627 h 51068"/>
                    <a:gd name="connsiteX3" fmla="*/ 10662 w 1097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73" h="51068">
                      <a:moveTo>
                        <a:pt x="200" y="0"/>
                      </a:moveTo>
                      <a:cubicBezTo>
                        <a:pt x="-548" y="8345"/>
                        <a:pt x="947" y="14573"/>
                        <a:pt x="2317" y="18684"/>
                      </a:cubicBezTo>
                      <a:cubicBezTo>
                        <a:pt x="4559" y="25285"/>
                        <a:pt x="7299" y="27776"/>
                        <a:pt x="9292" y="34627"/>
                      </a:cubicBezTo>
                      <a:cubicBezTo>
                        <a:pt x="11285" y="41229"/>
                        <a:pt x="11160" y="47207"/>
                        <a:pt x="1066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2" name="Freeform 4420">
                  <a:extLst>
                    <a:ext uri="{FF2B5EF4-FFF2-40B4-BE49-F238E27FC236}">
                      <a16:creationId xmlns:a16="http://schemas.microsoft.com/office/drawing/2014/main" id="{F238961F-246A-43AA-9C8C-304ED2EBB73D}"/>
                    </a:ext>
                  </a:extLst>
                </p:cNvPr>
                <p:cNvSpPr/>
                <p:nvPr/>
              </p:nvSpPr>
              <p:spPr>
                <a:xfrm>
                  <a:off x="5781095" y="5843324"/>
                  <a:ext cx="11957" cy="50819"/>
                </a:xfrm>
                <a:custGeom>
                  <a:avLst/>
                  <a:gdLst>
                    <a:gd name="connsiteX0" fmla="*/ 11957 w 11957"/>
                    <a:gd name="connsiteY0" fmla="*/ 50819 h 50819"/>
                    <a:gd name="connsiteX1" fmla="*/ 5979 w 11957"/>
                    <a:gd name="connsiteY1" fmla="*/ 33008 h 50819"/>
                    <a:gd name="connsiteX2" fmla="*/ 5605 w 11957"/>
                    <a:gd name="connsiteY2" fmla="*/ 15570 h 50819"/>
                    <a:gd name="connsiteX3" fmla="*/ 0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50819"/>
                      </a:moveTo>
                      <a:cubicBezTo>
                        <a:pt x="7847" y="43471"/>
                        <a:pt x="6477" y="37367"/>
                        <a:pt x="5979" y="33008"/>
                      </a:cubicBezTo>
                      <a:cubicBezTo>
                        <a:pt x="5231" y="26033"/>
                        <a:pt x="6726" y="22669"/>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3" name="Freeform 4421">
                  <a:extLst>
                    <a:ext uri="{FF2B5EF4-FFF2-40B4-BE49-F238E27FC236}">
                      <a16:creationId xmlns:a16="http://schemas.microsoft.com/office/drawing/2014/main" id="{37D09022-6907-DCB0-4C26-2C6282843D3F}"/>
                    </a:ext>
                  </a:extLst>
                </p:cNvPr>
                <p:cNvSpPr/>
                <p:nvPr/>
              </p:nvSpPr>
              <p:spPr>
                <a:xfrm>
                  <a:off x="5764204" y="5828794"/>
                  <a:ext cx="26557" cy="26568"/>
                </a:xfrm>
                <a:custGeom>
                  <a:avLst/>
                  <a:gdLst>
                    <a:gd name="connsiteX0" fmla="*/ 26233 w 26557"/>
                    <a:gd name="connsiteY0" fmla="*/ 10420 h 26568"/>
                    <a:gd name="connsiteX1" fmla="*/ 16143 w 26557"/>
                    <a:gd name="connsiteY1" fmla="*/ 26238 h 26568"/>
                    <a:gd name="connsiteX2" fmla="*/ 324 w 26557"/>
                    <a:gd name="connsiteY2" fmla="*/ 16149 h 26568"/>
                    <a:gd name="connsiteX3" fmla="*/ 10414 w 26557"/>
                    <a:gd name="connsiteY3" fmla="*/ 331 h 26568"/>
                    <a:gd name="connsiteX4" fmla="*/ 26233 w 26557"/>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567">
                      <a:moveTo>
                        <a:pt x="26233" y="10420"/>
                      </a:moveTo>
                      <a:cubicBezTo>
                        <a:pt x="27852" y="17520"/>
                        <a:pt x="23243" y="24619"/>
                        <a:pt x="16143" y="26238"/>
                      </a:cubicBezTo>
                      <a:cubicBezTo>
                        <a:pt x="8919" y="27858"/>
                        <a:pt x="1944" y="23374"/>
                        <a:pt x="324" y="16149"/>
                      </a:cubicBezTo>
                      <a:cubicBezTo>
                        <a:pt x="-1295" y="9050"/>
                        <a:pt x="3314" y="1950"/>
                        <a:pt x="10414" y="331"/>
                      </a:cubicBezTo>
                      <a:cubicBezTo>
                        <a:pt x="17638" y="-1289"/>
                        <a:pt x="24738" y="3195"/>
                        <a:pt x="26233"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4" name="Freeform 4422">
                  <a:extLst>
                    <a:ext uri="{FF2B5EF4-FFF2-40B4-BE49-F238E27FC236}">
                      <a16:creationId xmlns:a16="http://schemas.microsoft.com/office/drawing/2014/main" id="{826BA91B-F930-F678-8A5F-C25385A490E1}"/>
                    </a:ext>
                  </a:extLst>
                </p:cNvPr>
                <p:cNvSpPr/>
                <p:nvPr/>
              </p:nvSpPr>
              <p:spPr>
                <a:xfrm>
                  <a:off x="5794983" y="5902862"/>
                  <a:ext cx="10928" cy="51068"/>
                </a:xfrm>
                <a:custGeom>
                  <a:avLst/>
                  <a:gdLst>
                    <a:gd name="connsiteX0" fmla="*/ 10774 w 10928"/>
                    <a:gd name="connsiteY0" fmla="*/ 51068 h 51068"/>
                    <a:gd name="connsiteX1" fmla="*/ 8657 w 10928"/>
                    <a:gd name="connsiteY1" fmla="*/ 32385 h 51068"/>
                    <a:gd name="connsiteX2" fmla="*/ 1682 w 10928"/>
                    <a:gd name="connsiteY2" fmla="*/ 16441 h 51068"/>
                    <a:gd name="connsiteX3" fmla="*/ 311 w 10928"/>
                    <a:gd name="connsiteY3" fmla="*/ 0 h 51068"/>
                  </a:gdLst>
                  <a:ahLst/>
                  <a:cxnLst>
                    <a:cxn ang="0">
                      <a:pos x="connsiteX0" y="connsiteY0"/>
                    </a:cxn>
                    <a:cxn ang="0">
                      <a:pos x="connsiteX1" y="connsiteY1"/>
                    </a:cxn>
                    <a:cxn ang="0">
                      <a:pos x="connsiteX2" y="connsiteY2"/>
                    </a:cxn>
                    <a:cxn ang="0">
                      <a:pos x="connsiteX3" y="connsiteY3"/>
                    </a:cxn>
                  </a:cxnLst>
                  <a:rect l="l" t="t" r="r" b="b"/>
                  <a:pathLst>
                    <a:path w="10928" h="51068">
                      <a:moveTo>
                        <a:pt x="10774" y="51068"/>
                      </a:moveTo>
                      <a:cubicBezTo>
                        <a:pt x="11397" y="42723"/>
                        <a:pt x="10027" y="36495"/>
                        <a:pt x="8657" y="32385"/>
                      </a:cubicBezTo>
                      <a:cubicBezTo>
                        <a:pt x="6415" y="25783"/>
                        <a:pt x="3675" y="23292"/>
                        <a:pt x="1682" y="16441"/>
                      </a:cubicBezTo>
                      <a:cubicBezTo>
                        <a:pt x="-311" y="9840"/>
                        <a:pt x="-187" y="3861"/>
                        <a:pt x="31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5" name="Freeform 4423">
                  <a:extLst>
                    <a:ext uri="{FF2B5EF4-FFF2-40B4-BE49-F238E27FC236}">
                      <a16:creationId xmlns:a16="http://schemas.microsoft.com/office/drawing/2014/main" id="{AB1E7300-C687-7BA9-4F88-7554081B446B}"/>
                    </a:ext>
                  </a:extLst>
                </p:cNvPr>
                <p:cNvSpPr/>
                <p:nvPr/>
              </p:nvSpPr>
              <p:spPr>
                <a:xfrm>
                  <a:off x="5788195" y="5909588"/>
                  <a:ext cx="11957" cy="50819"/>
                </a:xfrm>
                <a:custGeom>
                  <a:avLst/>
                  <a:gdLst>
                    <a:gd name="connsiteX0" fmla="*/ 0 w 11957"/>
                    <a:gd name="connsiteY0" fmla="*/ 0 h 50819"/>
                    <a:gd name="connsiteX1" fmla="*/ 5979 w 11957"/>
                    <a:gd name="connsiteY1" fmla="*/ 17812 h 50819"/>
                    <a:gd name="connsiteX2" fmla="*/ 6352 w 11957"/>
                    <a:gd name="connsiteY2" fmla="*/ 35250 h 50819"/>
                    <a:gd name="connsiteX3" fmla="*/ 11957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0" y="0"/>
                      </a:moveTo>
                      <a:cubicBezTo>
                        <a:pt x="4110" y="7349"/>
                        <a:pt x="5481" y="13452"/>
                        <a:pt x="5979" y="17812"/>
                      </a:cubicBezTo>
                      <a:cubicBezTo>
                        <a:pt x="6726" y="24787"/>
                        <a:pt x="5356" y="28150"/>
                        <a:pt x="6352" y="35250"/>
                      </a:cubicBezTo>
                      <a:cubicBezTo>
                        <a:pt x="7349" y="42101"/>
                        <a:pt x="9964" y="47332"/>
                        <a:pt x="11957"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6" name="Freeform 4424">
                  <a:extLst>
                    <a:ext uri="{FF2B5EF4-FFF2-40B4-BE49-F238E27FC236}">
                      <a16:creationId xmlns:a16="http://schemas.microsoft.com/office/drawing/2014/main" id="{311526D8-8EFA-7BA4-D5DF-A64A294A0F4C}"/>
                    </a:ext>
                  </a:extLst>
                </p:cNvPr>
                <p:cNvSpPr/>
                <p:nvPr/>
              </p:nvSpPr>
              <p:spPr>
                <a:xfrm>
                  <a:off x="5790604" y="5948375"/>
                  <a:ext cx="26320" cy="26519"/>
                </a:xfrm>
                <a:custGeom>
                  <a:avLst/>
                  <a:gdLst>
                    <a:gd name="connsiteX0" fmla="*/ 331 w 26320"/>
                    <a:gd name="connsiteY0" fmla="*/ 16143 h 26519"/>
                    <a:gd name="connsiteX1" fmla="*/ 10295 w 26320"/>
                    <a:gd name="connsiteY1" fmla="*/ 325 h 26519"/>
                    <a:gd name="connsiteX2" fmla="*/ 25990 w 26320"/>
                    <a:gd name="connsiteY2" fmla="*/ 10414 h 26519"/>
                    <a:gd name="connsiteX3" fmla="*/ 16025 w 26320"/>
                    <a:gd name="connsiteY3" fmla="*/ 26232 h 26519"/>
                    <a:gd name="connsiteX4" fmla="*/ 331 w 26320"/>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519">
                      <a:moveTo>
                        <a:pt x="331" y="16143"/>
                      </a:moveTo>
                      <a:cubicBezTo>
                        <a:pt x="-1288" y="9043"/>
                        <a:pt x="3195" y="1944"/>
                        <a:pt x="10295" y="325"/>
                      </a:cubicBezTo>
                      <a:cubicBezTo>
                        <a:pt x="17395" y="-1295"/>
                        <a:pt x="24495" y="3314"/>
                        <a:pt x="25990" y="10414"/>
                      </a:cubicBezTo>
                      <a:cubicBezTo>
                        <a:pt x="27609" y="17514"/>
                        <a:pt x="23125" y="24613"/>
                        <a:pt x="16025" y="26232"/>
                      </a:cubicBezTo>
                      <a:cubicBezTo>
                        <a:pt x="8925" y="27727"/>
                        <a:pt x="1950" y="23243"/>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4" name="Graphic 2987">
                <a:extLst>
                  <a:ext uri="{FF2B5EF4-FFF2-40B4-BE49-F238E27FC236}">
                    <a16:creationId xmlns:a16="http://schemas.microsoft.com/office/drawing/2014/main" id="{0972504E-B827-311C-13FA-9CAEC689D401}"/>
                  </a:ext>
                </a:extLst>
              </p:cNvPr>
              <p:cNvGrpSpPr/>
              <p:nvPr/>
            </p:nvGrpSpPr>
            <p:grpSpPr>
              <a:xfrm>
                <a:off x="5793102" y="5822317"/>
                <a:ext cx="52713" cy="146144"/>
                <a:chOff x="5793102" y="5822317"/>
                <a:chExt cx="52713" cy="146144"/>
              </a:xfrm>
              <a:grpFill/>
            </p:grpSpPr>
            <p:sp>
              <p:nvSpPr>
                <p:cNvPr id="5015" name="Freeform 4426">
                  <a:extLst>
                    <a:ext uri="{FF2B5EF4-FFF2-40B4-BE49-F238E27FC236}">
                      <a16:creationId xmlns:a16="http://schemas.microsoft.com/office/drawing/2014/main" id="{33F97C68-2A5C-AF3D-EE75-3C1661028A78}"/>
                    </a:ext>
                  </a:extLst>
                </p:cNvPr>
                <p:cNvSpPr/>
                <p:nvPr/>
              </p:nvSpPr>
              <p:spPr>
                <a:xfrm>
                  <a:off x="5804176" y="5843324"/>
                  <a:ext cx="10805" cy="51068"/>
                </a:xfrm>
                <a:custGeom>
                  <a:avLst/>
                  <a:gdLst>
                    <a:gd name="connsiteX0" fmla="*/ 211 w 10805"/>
                    <a:gd name="connsiteY0" fmla="*/ 0 h 51068"/>
                    <a:gd name="connsiteX1" fmla="*/ 2204 w 10805"/>
                    <a:gd name="connsiteY1" fmla="*/ 18684 h 51068"/>
                    <a:gd name="connsiteX2" fmla="*/ 9180 w 10805"/>
                    <a:gd name="connsiteY2" fmla="*/ 34627 h 51068"/>
                    <a:gd name="connsiteX3" fmla="*/ 10549 w 10805"/>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805" h="51068">
                      <a:moveTo>
                        <a:pt x="211" y="0"/>
                      </a:moveTo>
                      <a:cubicBezTo>
                        <a:pt x="-536" y="8345"/>
                        <a:pt x="834" y="14573"/>
                        <a:pt x="2204" y="18684"/>
                      </a:cubicBezTo>
                      <a:cubicBezTo>
                        <a:pt x="4446" y="25285"/>
                        <a:pt x="7187" y="27776"/>
                        <a:pt x="9180" y="34627"/>
                      </a:cubicBezTo>
                      <a:cubicBezTo>
                        <a:pt x="11172" y="41229"/>
                        <a:pt x="10923" y="47207"/>
                        <a:pt x="10549"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6" name="Freeform 4427">
                  <a:extLst>
                    <a:ext uri="{FF2B5EF4-FFF2-40B4-BE49-F238E27FC236}">
                      <a16:creationId xmlns:a16="http://schemas.microsoft.com/office/drawing/2014/main" id="{BE791106-533F-0631-56D2-A4009CA20A9B}"/>
                    </a:ext>
                  </a:extLst>
                </p:cNvPr>
                <p:cNvSpPr/>
                <p:nvPr/>
              </p:nvSpPr>
              <p:spPr>
                <a:xfrm>
                  <a:off x="5810366" y="5836847"/>
                  <a:ext cx="11708" cy="50819"/>
                </a:xfrm>
                <a:custGeom>
                  <a:avLst/>
                  <a:gdLst>
                    <a:gd name="connsiteX0" fmla="*/ 11708 w 11708"/>
                    <a:gd name="connsiteY0" fmla="*/ 50820 h 50819"/>
                    <a:gd name="connsiteX1" fmla="*/ 5854 w 11708"/>
                    <a:gd name="connsiteY1" fmla="*/ 33008 h 50819"/>
                    <a:gd name="connsiteX2" fmla="*/ 5605 w 11708"/>
                    <a:gd name="connsiteY2" fmla="*/ 15570 h 50819"/>
                    <a:gd name="connsiteX3" fmla="*/ 0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50820"/>
                      </a:moveTo>
                      <a:cubicBezTo>
                        <a:pt x="7598" y="43471"/>
                        <a:pt x="6228" y="37243"/>
                        <a:pt x="5854" y="33008"/>
                      </a:cubicBezTo>
                      <a:cubicBezTo>
                        <a:pt x="5107" y="26033"/>
                        <a:pt x="6602" y="22545"/>
                        <a:pt x="5605" y="15570"/>
                      </a:cubicBezTo>
                      <a:cubicBezTo>
                        <a:pt x="4609" y="8719"/>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7" name="Freeform 4428">
                  <a:extLst>
                    <a:ext uri="{FF2B5EF4-FFF2-40B4-BE49-F238E27FC236}">
                      <a16:creationId xmlns:a16="http://schemas.microsoft.com/office/drawing/2014/main" id="{4B9775EC-BCE5-1643-7DBA-F108B18DAA0F}"/>
                    </a:ext>
                  </a:extLst>
                </p:cNvPr>
                <p:cNvSpPr/>
                <p:nvPr/>
              </p:nvSpPr>
              <p:spPr>
                <a:xfrm>
                  <a:off x="5793102" y="5822317"/>
                  <a:ext cx="26643" cy="26568"/>
                </a:xfrm>
                <a:custGeom>
                  <a:avLst/>
                  <a:gdLst>
                    <a:gd name="connsiteX0" fmla="*/ 26357 w 26643"/>
                    <a:gd name="connsiteY0" fmla="*/ 10420 h 26568"/>
                    <a:gd name="connsiteX1" fmla="*/ 16143 w 26643"/>
                    <a:gd name="connsiteY1" fmla="*/ 26238 h 26568"/>
                    <a:gd name="connsiteX2" fmla="*/ 324 w 26643"/>
                    <a:gd name="connsiteY2" fmla="*/ 16149 h 26568"/>
                    <a:gd name="connsiteX3" fmla="*/ 10538 w 26643"/>
                    <a:gd name="connsiteY3" fmla="*/ 331 h 26568"/>
                    <a:gd name="connsiteX4" fmla="*/ 26357 w 26643"/>
                    <a:gd name="connsiteY4" fmla="*/ 10420 h 2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2" h="26567">
                      <a:moveTo>
                        <a:pt x="26357" y="10420"/>
                      </a:moveTo>
                      <a:cubicBezTo>
                        <a:pt x="27851" y="17520"/>
                        <a:pt x="23367" y="24619"/>
                        <a:pt x="16143" y="26238"/>
                      </a:cubicBezTo>
                      <a:cubicBezTo>
                        <a:pt x="8919" y="27858"/>
                        <a:pt x="1944" y="23373"/>
                        <a:pt x="324" y="16149"/>
                      </a:cubicBezTo>
                      <a:cubicBezTo>
                        <a:pt x="-1295" y="9049"/>
                        <a:pt x="3313" y="1950"/>
                        <a:pt x="10538" y="331"/>
                      </a:cubicBezTo>
                      <a:cubicBezTo>
                        <a:pt x="17762" y="-1289"/>
                        <a:pt x="24862" y="3195"/>
                        <a:pt x="26357" y="104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8" name="Freeform 4429">
                  <a:extLst>
                    <a:ext uri="{FF2B5EF4-FFF2-40B4-BE49-F238E27FC236}">
                      <a16:creationId xmlns:a16="http://schemas.microsoft.com/office/drawing/2014/main" id="{1F74822C-4606-6A17-CBD0-6D242CDF642B}"/>
                    </a:ext>
                  </a:extLst>
                </p:cNvPr>
                <p:cNvSpPr/>
                <p:nvPr/>
              </p:nvSpPr>
              <p:spPr>
                <a:xfrm>
                  <a:off x="5823936" y="5896510"/>
                  <a:ext cx="10806" cy="51068"/>
                </a:xfrm>
                <a:custGeom>
                  <a:avLst/>
                  <a:gdLst>
                    <a:gd name="connsiteX0" fmla="*/ 10595 w 10806"/>
                    <a:gd name="connsiteY0" fmla="*/ 51069 h 51068"/>
                    <a:gd name="connsiteX1" fmla="*/ 8602 w 10806"/>
                    <a:gd name="connsiteY1" fmla="*/ 32385 h 51068"/>
                    <a:gd name="connsiteX2" fmla="*/ 1627 w 10806"/>
                    <a:gd name="connsiteY2" fmla="*/ 16442 h 51068"/>
                    <a:gd name="connsiteX3" fmla="*/ 256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10595" y="51069"/>
                      </a:moveTo>
                      <a:cubicBezTo>
                        <a:pt x="11342" y="42723"/>
                        <a:pt x="9972" y="36495"/>
                        <a:pt x="8602" y="32385"/>
                      </a:cubicBezTo>
                      <a:cubicBezTo>
                        <a:pt x="6360" y="25784"/>
                        <a:pt x="3619" y="23292"/>
                        <a:pt x="1627" y="16442"/>
                      </a:cubicBezTo>
                      <a:cubicBezTo>
                        <a:pt x="-366" y="9840"/>
                        <a:pt x="-117" y="3861"/>
                        <a:pt x="2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9" name="Freeform 4430">
                  <a:extLst>
                    <a:ext uri="{FF2B5EF4-FFF2-40B4-BE49-F238E27FC236}">
                      <a16:creationId xmlns:a16="http://schemas.microsoft.com/office/drawing/2014/main" id="{5189343B-8B63-ED32-570E-417392C18416}"/>
                    </a:ext>
                  </a:extLst>
                </p:cNvPr>
                <p:cNvSpPr/>
                <p:nvPr/>
              </p:nvSpPr>
              <p:spPr>
                <a:xfrm>
                  <a:off x="5816968" y="5903111"/>
                  <a:ext cx="11832" cy="50819"/>
                </a:xfrm>
                <a:custGeom>
                  <a:avLst/>
                  <a:gdLst>
                    <a:gd name="connsiteX0" fmla="*/ 0 w 11832"/>
                    <a:gd name="connsiteY0" fmla="*/ 0 h 50819"/>
                    <a:gd name="connsiteX1" fmla="*/ 5854 w 11832"/>
                    <a:gd name="connsiteY1" fmla="*/ 17812 h 50819"/>
                    <a:gd name="connsiteX2" fmla="*/ 6228 w 11832"/>
                    <a:gd name="connsiteY2" fmla="*/ 35250 h 50819"/>
                    <a:gd name="connsiteX3" fmla="*/ 11833 w 11832"/>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832" h="50818">
                      <a:moveTo>
                        <a:pt x="0" y="0"/>
                      </a:moveTo>
                      <a:cubicBezTo>
                        <a:pt x="4110" y="7349"/>
                        <a:pt x="5481" y="13577"/>
                        <a:pt x="5854" y="17812"/>
                      </a:cubicBezTo>
                      <a:cubicBezTo>
                        <a:pt x="6602" y="24787"/>
                        <a:pt x="5107" y="28274"/>
                        <a:pt x="6228" y="35250"/>
                      </a:cubicBezTo>
                      <a:cubicBezTo>
                        <a:pt x="7224" y="42101"/>
                        <a:pt x="9840" y="47332"/>
                        <a:pt x="11833"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20" name="Freeform 4431">
                  <a:extLst>
                    <a:ext uri="{FF2B5EF4-FFF2-40B4-BE49-F238E27FC236}">
                      <a16:creationId xmlns:a16="http://schemas.microsoft.com/office/drawing/2014/main" id="{E442E4CD-0EAD-669C-F58D-CD9A654AADF1}"/>
                    </a:ext>
                  </a:extLst>
                </p:cNvPr>
                <p:cNvSpPr/>
                <p:nvPr/>
              </p:nvSpPr>
              <p:spPr>
                <a:xfrm>
                  <a:off x="5819377" y="5941898"/>
                  <a:ext cx="26438" cy="26563"/>
                </a:xfrm>
                <a:custGeom>
                  <a:avLst/>
                  <a:gdLst>
                    <a:gd name="connsiteX0" fmla="*/ 331 w 26438"/>
                    <a:gd name="connsiteY0" fmla="*/ 16143 h 26563"/>
                    <a:gd name="connsiteX1" fmla="*/ 10420 w 26438"/>
                    <a:gd name="connsiteY1" fmla="*/ 324 h 26563"/>
                    <a:gd name="connsiteX2" fmla="*/ 26114 w 26438"/>
                    <a:gd name="connsiteY2" fmla="*/ 10414 h 26563"/>
                    <a:gd name="connsiteX3" fmla="*/ 16025 w 26438"/>
                    <a:gd name="connsiteY3" fmla="*/ 26233 h 26563"/>
                    <a:gd name="connsiteX4" fmla="*/ 331 w 26438"/>
                    <a:gd name="connsiteY4" fmla="*/ 16143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563">
                      <a:moveTo>
                        <a:pt x="331" y="16143"/>
                      </a:moveTo>
                      <a:cubicBezTo>
                        <a:pt x="-1289" y="9044"/>
                        <a:pt x="3195" y="1944"/>
                        <a:pt x="10420" y="324"/>
                      </a:cubicBezTo>
                      <a:cubicBezTo>
                        <a:pt x="17519" y="-1295"/>
                        <a:pt x="24495" y="3314"/>
                        <a:pt x="26114" y="10414"/>
                      </a:cubicBezTo>
                      <a:cubicBezTo>
                        <a:pt x="27733" y="17513"/>
                        <a:pt x="23124" y="24613"/>
                        <a:pt x="16025" y="26233"/>
                      </a:cubicBezTo>
                      <a:cubicBezTo>
                        <a:pt x="8800" y="27852"/>
                        <a:pt x="1825" y="23368"/>
                        <a:pt x="331"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5" name="Graphic 2987">
                <a:extLst>
                  <a:ext uri="{FF2B5EF4-FFF2-40B4-BE49-F238E27FC236}">
                    <a16:creationId xmlns:a16="http://schemas.microsoft.com/office/drawing/2014/main" id="{C24827C3-11A0-AE5F-3B43-58B1B6A8D23B}"/>
                  </a:ext>
                </a:extLst>
              </p:cNvPr>
              <p:cNvGrpSpPr/>
              <p:nvPr/>
            </p:nvGrpSpPr>
            <p:grpSpPr>
              <a:xfrm>
                <a:off x="5822286" y="5816013"/>
                <a:ext cx="52141" cy="146171"/>
                <a:chOff x="5822286" y="5816013"/>
                <a:chExt cx="52141" cy="146171"/>
              </a:xfrm>
              <a:grpFill/>
            </p:grpSpPr>
            <p:sp>
              <p:nvSpPr>
                <p:cNvPr id="5009" name="Freeform 4433">
                  <a:extLst>
                    <a:ext uri="{FF2B5EF4-FFF2-40B4-BE49-F238E27FC236}">
                      <a16:creationId xmlns:a16="http://schemas.microsoft.com/office/drawing/2014/main" id="{C7A04B96-1EB5-DD36-0704-9E2860DBA6C7}"/>
                    </a:ext>
                  </a:extLst>
                </p:cNvPr>
                <p:cNvSpPr/>
                <p:nvPr/>
              </p:nvSpPr>
              <p:spPr>
                <a:xfrm>
                  <a:off x="5833322" y="5836971"/>
                  <a:ext cx="10775" cy="51068"/>
                </a:xfrm>
                <a:custGeom>
                  <a:avLst/>
                  <a:gdLst>
                    <a:gd name="connsiteX0" fmla="*/ 211 w 10775"/>
                    <a:gd name="connsiteY0" fmla="*/ 0 h 51068"/>
                    <a:gd name="connsiteX1" fmla="*/ 2204 w 10775"/>
                    <a:gd name="connsiteY1" fmla="*/ 18684 h 51068"/>
                    <a:gd name="connsiteX2" fmla="*/ 9179 w 10775"/>
                    <a:gd name="connsiteY2" fmla="*/ 34627 h 51068"/>
                    <a:gd name="connsiteX3" fmla="*/ 10550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211" y="0"/>
                      </a:moveTo>
                      <a:cubicBezTo>
                        <a:pt x="-536" y="8345"/>
                        <a:pt x="834" y="14573"/>
                        <a:pt x="2204" y="18684"/>
                      </a:cubicBezTo>
                      <a:cubicBezTo>
                        <a:pt x="4446" y="25285"/>
                        <a:pt x="7187" y="27901"/>
                        <a:pt x="9179" y="34627"/>
                      </a:cubicBezTo>
                      <a:cubicBezTo>
                        <a:pt x="11048" y="41229"/>
                        <a:pt x="10923" y="47207"/>
                        <a:pt x="10550"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0" name="Freeform 4434">
                  <a:extLst>
                    <a:ext uri="{FF2B5EF4-FFF2-40B4-BE49-F238E27FC236}">
                      <a16:creationId xmlns:a16="http://schemas.microsoft.com/office/drawing/2014/main" id="{6124F136-5442-C637-1A85-E54EDEB7E4A6}"/>
                    </a:ext>
                  </a:extLst>
                </p:cNvPr>
                <p:cNvSpPr/>
                <p:nvPr/>
              </p:nvSpPr>
              <p:spPr>
                <a:xfrm>
                  <a:off x="5839263" y="5830494"/>
                  <a:ext cx="11708" cy="50944"/>
                </a:xfrm>
                <a:custGeom>
                  <a:avLst/>
                  <a:gdLst>
                    <a:gd name="connsiteX0" fmla="*/ 11708 w 11708"/>
                    <a:gd name="connsiteY0" fmla="*/ 50944 h 50944"/>
                    <a:gd name="connsiteX1" fmla="*/ 5854 w 11708"/>
                    <a:gd name="connsiteY1" fmla="*/ 33008 h 50944"/>
                    <a:gd name="connsiteX2" fmla="*/ 5605 w 11708"/>
                    <a:gd name="connsiteY2" fmla="*/ 15570 h 50944"/>
                    <a:gd name="connsiteX3" fmla="*/ 0 w 11708"/>
                    <a:gd name="connsiteY3" fmla="*/ 0 h 50944"/>
                  </a:gdLst>
                  <a:ahLst/>
                  <a:cxnLst>
                    <a:cxn ang="0">
                      <a:pos x="connsiteX0" y="connsiteY0"/>
                    </a:cxn>
                    <a:cxn ang="0">
                      <a:pos x="connsiteX1" y="connsiteY1"/>
                    </a:cxn>
                    <a:cxn ang="0">
                      <a:pos x="connsiteX2" y="connsiteY2"/>
                    </a:cxn>
                    <a:cxn ang="0">
                      <a:pos x="connsiteX3" y="connsiteY3"/>
                    </a:cxn>
                  </a:cxnLst>
                  <a:rect l="l" t="t" r="r" b="b"/>
                  <a:pathLst>
                    <a:path w="11708" h="50944">
                      <a:moveTo>
                        <a:pt x="11708" y="50944"/>
                      </a:moveTo>
                      <a:cubicBezTo>
                        <a:pt x="7598" y="43595"/>
                        <a:pt x="6228" y="37367"/>
                        <a:pt x="5854" y="33008"/>
                      </a:cubicBezTo>
                      <a:cubicBezTo>
                        <a:pt x="5107" y="26033"/>
                        <a:pt x="6602" y="22669"/>
                        <a:pt x="5605" y="15570"/>
                      </a:cubicBezTo>
                      <a:cubicBezTo>
                        <a:pt x="4609" y="8719"/>
                        <a:pt x="2118"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1" name="Freeform 4435">
                  <a:extLst>
                    <a:ext uri="{FF2B5EF4-FFF2-40B4-BE49-F238E27FC236}">
                      <a16:creationId xmlns:a16="http://schemas.microsoft.com/office/drawing/2014/main" id="{709AB192-EF4F-6572-9A4A-49FA7909FFA0}"/>
                    </a:ext>
                  </a:extLst>
                </p:cNvPr>
                <p:cNvSpPr/>
                <p:nvPr/>
              </p:nvSpPr>
              <p:spPr>
                <a:xfrm>
                  <a:off x="5822286" y="5816013"/>
                  <a:ext cx="26601" cy="26471"/>
                </a:xfrm>
                <a:custGeom>
                  <a:avLst/>
                  <a:gdLst>
                    <a:gd name="connsiteX0" fmla="*/ 26319 w 26601"/>
                    <a:gd name="connsiteY0" fmla="*/ 10495 h 26471"/>
                    <a:gd name="connsiteX1" fmla="*/ 16106 w 26601"/>
                    <a:gd name="connsiteY1" fmla="*/ 26189 h 26471"/>
                    <a:gd name="connsiteX2" fmla="*/ 287 w 26601"/>
                    <a:gd name="connsiteY2" fmla="*/ 15976 h 26471"/>
                    <a:gd name="connsiteX3" fmla="*/ 10501 w 26601"/>
                    <a:gd name="connsiteY3" fmla="*/ 282 h 26471"/>
                    <a:gd name="connsiteX4" fmla="*/ 26319 w 26601"/>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1" h="26470">
                      <a:moveTo>
                        <a:pt x="26319" y="10495"/>
                      </a:moveTo>
                      <a:cubicBezTo>
                        <a:pt x="27814" y="17595"/>
                        <a:pt x="23205" y="24695"/>
                        <a:pt x="16106" y="26189"/>
                      </a:cubicBezTo>
                      <a:cubicBezTo>
                        <a:pt x="8881" y="27684"/>
                        <a:pt x="1906" y="23075"/>
                        <a:pt x="287" y="15976"/>
                      </a:cubicBezTo>
                      <a:cubicBezTo>
                        <a:pt x="-1208" y="8751"/>
                        <a:pt x="3277" y="1776"/>
                        <a:pt x="10501" y="282"/>
                      </a:cubicBezTo>
                      <a:cubicBezTo>
                        <a:pt x="17725" y="-1213"/>
                        <a:pt x="24825" y="3395"/>
                        <a:pt x="2631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2" name="Freeform 4436">
                  <a:extLst>
                    <a:ext uri="{FF2B5EF4-FFF2-40B4-BE49-F238E27FC236}">
                      <a16:creationId xmlns:a16="http://schemas.microsoft.com/office/drawing/2014/main" id="{EB83AFDC-2152-A245-7963-492E9FC06734}"/>
                    </a:ext>
                  </a:extLst>
                </p:cNvPr>
                <p:cNvSpPr/>
                <p:nvPr/>
              </p:nvSpPr>
              <p:spPr>
                <a:xfrm>
                  <a:off x="5852863" y="5890157"/>
                  <a:ext cx="10651" cy="51193"/>
                </a:xfrm>
                <a:custGeom>
                  <a:avLst/>
                  <a:gdLst>
                    <a:gd name="connsiteX0" fmla="*/ 10440 w 10651"/>
                    <a:gd name="connsiteY0" fmla="*/ 51193 h 51193"/>
                    <a:gd name="connsiteX1" fmla="*/ 8447 w 10651"/>
                    <a:gd name="connsiteY1" fmla="*/ 32510 h 51193"/>
                    <a:gd name="connsiteX2" fmla="*/ 1596 w 10651"/>
                    <a:gd name="connsiteY2" fmla="*/ 16442 h 51193"/>
                    <a:gd name="connsiteX3" fmla="*/ 226 w 10651"/>
                    <a:gd name="connsiteY3" fmla="*/ 0 h 51193"/>
                  </a:gdLst>
                  <a:ahLst/>
                  <a:cxnLst>
                    <a:cxn ang="0">
                      <a:pos x="connsiteX0" y="connsiteY0"/>
                    </a:cxn>
                    <a:cxn ang="0">
                      <a:pos x="connsiteX1" y="connsiteY1"/>
                    </a:cxn>
                    <a:cxn ang="0">
                      <a:pos x="connsiteX2" y="connsiteY2"/>
                    </a:cxn>
                    <a:cxn ang="0">
                      <a:pos x="connsiteX3" y="connsiteY3"/>
                    </a:cxn>
                  </a:cxnLst>
                  <a:rect l="l" t="t" r="r" b="b"/>
                  <a:pathLst>
                    <a:path w="10651" h="51193">
                      <a:moveTo>
                        <a:pt x="10440" y="51193"/>
                      </a:moveTo>
                      <a:cubicBezTo>
                        <a:pt x="11187" y="42848"/>
                        <a:pt x="9817" y="36620"/>
                        <a:pt x="8447" y="32510"/>
                      </a:cubicBezTo>
                      <a:cubicBezTo>
                        <a:pt x="6205" y="25908"/>
                        <a:pt x="3465" y="23292"/>
                        <a:pt x="1596" y="16442"/>
                      </a:cubicBezTo>
                      <a:cubicBezTo>
                        <a:pt x="-272" y="9840"/>
                        <a:pt x="-147" y="3861"/>
                        <a:pt x="2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3" name="Freeform 4437">
                  <a:extLst>
                    <a:ext uri="{FF2B5EF4-FFF2-40B4-BE49-F238E27FC236}">
                      <a16:creationId xmlns:a16="http://schemas.microsoft.com/office/drawing/2014/main" id="{4F1D94A1-7825-1C11-5BF9-3C9433D98EE1}"/>
                    </a:ext>
                  </a:extLst>
                </p:cNvPr>
                <p:cNvSpPr/>
                <p:nvPr/>
              </p:nvSpPr>
              <p:spPr>
                <a:xfrm>
                  <a:off x="5845865" y="5896759"/>
                  <a:ext cx="11584" cy="50944"/>
                </a:xfrm>
                <a:custGeom>
                  <a:avLst/>
                  <a:gdLst>
                    <a:gd name="connsiteX0" fmla="*/ 0 w 11584"/>
                    <a:gd name="connsiteY0" fmla="*/ 0 h 50944"/>
                    <a:gd name="connsiteX1" fmla="*/ 5854 w 11584"/>
                    <a:gd name="connsiteY1" fmla="*/ 17936 h 50944"/>
                    <a:gd name="connsiteX2" fmla="*/ 6104 w 11584"/>
                    <a:gd name="connsiteY2" fmla="*/ 35374 h 50944"/>
                    <a:gd name="connsiteX3" fmla="*/ 11584 w 1158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4" h="50944">
                      <a:moveTo>
                        <a:pt x="0" y="0"/>
                      </a:moveTo>
                      <a:cubicBezTo>
                        <a:pt x="4111" y="7349"/>
                        <a:pt x="5481" y="13577"/>
                        <a:pt x="5854" y="17936"/>
                      </a:cubicBezTo>
                      <a:cubicBezTo>
                        <a:pt x="6602" y="24912"/>
                        <a:pt x="5107" y="28275"/>
                        <a:pt x="6104"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14" name="Freeform 4438">
                  <a:extLst>
                    <a:ext uri="{FF2B5EF4-FFF2-40B4-BE49-F238E27FC236}">
                      <a16:creationId xmlns:a16="http://schemas.microsoft.com/office/drawing/2014/main" id="{9FACAB3C-2799-813E-0ACC-9833D02F5DF1}"/>
                    </a:ext>
                  </a:extLst>
                </p:cNvPr>
                <p:cNvSpPr/>
                <p:nvPr/>
              </p:nvSpPr>
              <p:spPr>
                <a:xfrm>
                  <a:off x="5848069" y="5935713"/>
                  <a:ext cx="26357" cy="26471"/>
                </a:xfrm>
                <a:custGeom>
                  <a:avLst/>
                  <a:gdLst>
                    <a:gd name="connsiteX0" fmla="*/ 287 w 26357"/>
                    <a:gd name="connsiteY0" fmla="*/ 15976 h 26471"/>
                    <a:gd name="connsiteX1" fmla="*/ 10376 w 26357"/>
                    <a:gd name="connsiteY1" fmla="*/ 282 h 26471"/>
                    <a:gd name="connsiteX2" fmla="*/ 26071 w 26357"/>
                    <a:gd name="connsiteY2" fmla="*/ 10495 h 26471"/>
                    <a:gd name="connsiteX3" fmla="*/ 15982 w 26357"/>
                    <a:gd name="connsiteY3" fmla="*/ 26190 h 26471"/>
                    <a:gd name="connsiteX4" fmla="*/ 287 w 26357"/>
                    <a:gd name="connsiteY4" fmla="*/ 15976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470">
                      <a:moveTo>
                        <a:pt x="287" y="15976"/>
                      </a:moveTo>
                      <a:cubicBezTo>
                        <a:pt x="-1207" y="8752"/>
                        <a:pt x="3276" y="1777"/>
                        <a:pt x="10376" y="282"/>
                      </a:cubicBezTo>
                      <a:cubicBezTo>
                        <a:pt x="17476" y="-1213"/>
                        <a:pt x="24576" y="3395"/>
                        <a:pt x="26071" y="10495"/>
                      </a:cubicBezTo>
                      <a:cubicBezTo>
                        <a:pt x="27565" y="17595"/>
                        <a:pt x="23081" y="24695"/>
                        <a:pt x="15982" y="26190"/>
                      </a:cubicBezTo>
                      <a:cubicBezTo>
                        <a:pt x="8882" y="27684"/>
                        <a:pt x="1906" y="23076"/>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6" name="Graphic 2987">
                <a:extLst>
                  <a:ext uri="{FF2B5EF4-FFF2-40B4-BE49-F238E27FC236}">
                    <a16:creationId xmlns:a16="http://schemas.microsoft.com/office/drawing/2014/main" id="{52F08388-B4E9-F39D-FAE6-865CF8AC6784}"/>
                  </a:ext>
                </a:extLst>
              </p:cNvPr>
              <p:cNvGrpSpPr/>
              <p:nvPr/>
            </p:nvGrpSpPr>
            <p:grpSpPr>
              <a:xfrm>
                <a:off x="5851313" y="5809992"/>
                <a:ext cx="51886" cy="146131"/>
                <a:chOff x="5851313" y="5809992"/>
                <a:chExt cx="51886" cy="146131"/>
              </a:xfrm>
              <a:grpFill/>
            </p:grpSpPr>
            <p:sp>
              <p:nvSpPr>
                <p:cNvPr id="5003" name="Freeform 4440">
                  <a:extLst>
                    <a:ext uri="{FF2B5EF4-FFF2-40B4-BE49-F238E27FC236}">
                      <a16:creationId xmlns:a16="http://schemas.microsoft.com/office/drawing/2014/main" id="{DAA06D5D-6C65-9ECB-CE73-8D1F90260633}"/>
                    </a:ext>
                  </a:extLst>
                </p:cNvPr>
                <p:cNvSpPr/>
                <p:nvPr/>
              </p:nvSpPr>
              <p:spPr>
                <a:xfrm>
                  <a:off x="5862344" y="5830868"/>
                  <a:ext cx="10618" cy="51193"/>
                </a:xfrm>
                <a:custGeom>
                  <a:avLst/>
                  <a:gdLst>
                    <a:gd name="connsiteX0" fmla="*/ 211 w 10618"/>
                    <a:gd name="connsiteY0" fmla="*/ 0 h 51193"/>
                    <a:gd name="connsiteX1" fmla="*/ 2204 w 10618"/>
                    <a:gd name="connsiteY1" fmla="*/ 18684 h 51193"/>
                    <a:gd name="connsiteX2" fmla="*/ 9055 w 10618"/>
                    <a:gd name="connsiteY2" fmla="*/ 34751 h 51193"/>
                    <a:gd name="connsiteX3" fmla="*/ 10301 w 1061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618" h="51193">
                      <a:moveTo>
                        <a:pt x="211" y="0"/>
                      </a:moveTo>
                      <a:cubicBezTo>
                        <a:pt x="-536" y="8345"/>
                        <a:pt x="834" y="14573"/>
                        <a:pt x="2204" y="18684"/>
                      </a:cubicBezTo>
                      <a:cubicBezTo>
                        <a:pt x="4446" y="25285"/>
                        <a:pt x="7187" y="27901"/>
                        <a:pt x="9055" y="34751"/>
                      </a:cubicBezTo>
                      <a:cubicBezTo>
                        <a:pt x="10923" y="41353"/>
                        <a:pt x="10799" y="47332"/>
                        <a:pt x="1030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4" name="Freeform 4441">
                  <a:extLst>
                    <a:ext uri="{FF2B5EF4-FFF2-40B4-BE49-F238E27FC236}">
                      <a16:creationId xmlns:a16="http://schemas.microsoft.com/office/drawing/2014/main" id="{800EAC16-6DF5-E4DD-859F-5D38742A593C}"/>
                    </a:ext>
                  </a:extLst>
                </p:cNvPr>
                <p:cNvSpPr/>
                <p:nvPr/>
              </p:nvSpPr>
              <p:spPr>
                <a:xfrm>
                  <a:off x="5868534" y="5824391"/>
                  <a:ext cx="11459" cy="50944"/>
                </a:xfrm>
                <a:custGeom>
                  <a:avLst/>
                  <a:gdLst>
                    <a:gd name="connsiteX0" fmla="*/ 11459 w 11459"/>
                    <a:gd name="connsiteY0" fmla="*/ 50944 h 50944"/>
                    <a:gd name="connsiteX1" fmla="*/ 5605 w 11459"/>
                    <a:gd name="connsiteY1" fmla="*/ 33008 h 50944"/>
                    <a:gd name="connsiteX2" fmla="*/ 5481 w 11459"/>
                    <a:gd name="connsiteY2" fmla="*/ 15570 h 50944"/>
                    <a:gd name="connsiteX3" fmla="*/ 0 w 11459"/>
                    <a:gd name="connsiteY3" fmla="*/ 0 h 50944"/>
                  </a:gdLst>
                  <a:ahLst/>
                  <a:cxnLst>
                    <a:cxn ang="0">
                      <a:pos x="connsiteX0" y="connsiteY0"/>
                    </a:cxn>
                    <a:cxn ang="0">
                      <a:pos x="connsiteX1" y="connsiteY1"/>
                    </a:cxn>
                    <a:cxn ang="0">
                      <a:pos x="connsiteX2" y="connsiteY2"/>
                    </a:cxn>
                    <a:cxn ang="0">
                      <a:pos x="connsiteX3" y="connsiteY3"/>
                    </a:cxn>
                  </a:cxnLst>
                  <a:rect l="l" t="t" r="r" b="b"/>
                  <a:pathLst>
                    <a:path w="11459" h="50944">
                      <a:moveTo>
                        <a:pt x="11459" y="50944"/>
                      </a:moveTo>
                      <a:cubicBezTo>
                        <a:pt x="7349" y="43595"/>
                        <a:pt x="6104" y="37367"/>
                        <a:pt x="5605" y="33008"/>
                      </a:cubicBezTo>
                      <a:cubicBezTo>
                        <a:pt x="4982" y="26033"/>
                        <a:pt x="6353" y="22670"/>
                        <a:pt x="5481"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5" name="Freeform 4442">
                  <a:extLst>
                    <a:ext uri="{FF2B5EF4-FFF2-40B4-BE49-F238E27FC236}">
                      <a16:creationId xmlns:a16="http://schemas.microsoft.com/office/drawing/2014/main" id="{1FA00DCB-5852-4964-FE1E-178929708174}"/>
                    </a:ext>
                  </a:extLst>
                </p:cNvPr>
                <p:cNvSpPr/>
                <p:nvPr/>
              </p:nvSpPr>
              <p:spPr>
                <a:xfrm>
                  <a:off x="5851313" y="5809992"/>
                  <a:ext cx="26719" cy="26513"/>
                </a:xfrm>
                <a:custGeom>
                  <a:avLst/>
                  <a:gdLst>
                    <a:gd name="connsiteX0" fmla="*/ 26438 w 26719"/>
                    <a:gd name="connsiteY0" fmla="*/ 10538 h 26513"/>
                    <a:gd name="connsiteX1" fmla="*/ 16100 w 26719"/>
                    <a:gd name="connsiteY1" fmla="*/ 26232 h 26513"/>
                    <a:gd name="connsiteX2" fmla="*/ 281 w 26719"/>
                    <a:gd name="connsiteY2" fmla="*/ 16018 h 26513"/>
                    <a:gd name="connsiteX3" fmla="*/ 10619 w 26719"/>
                    <a:gd name="connsiteY3" fmla="*/ 324 h 26513"/>
                    <a:gd name="connsiteX4" fmla="*/ 26438 w 26719"/>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13">
                      <a:moveTo>
                        <a:pt x="26438" y="10538"/>
                      </a:moveTo>
                      <a:cubicBezTo>
                        <a:pt x="27933" y="17762"/>
                        <a:pt x="23325" y="24738"/>
                        <a:pt x="16100" y="26232"/>
                      </a:cubicBezTo>
                      <a:cubicBezTo>
                        <a:pt x="8876" y="27727"/>
                        <a:pt x="1901" y="23118"/>
                        <a:pt x="281" y="16018"/>
                      </a:cubicBezTo>
                      <a:cubicBezTo>
                        <a:pt x="-1213" y="8919"/>
                        <a:pt x="3395" y="1819"/>
                        <a:pt x="10619" y="324"/>
                      </a:cubicBezTo>
                      <a:cubicBezTo>
                        <a:pt x="17844" y="-1295"/>
                        <a:pt x="24943" y="3314"/>
                        <a:pt x="26438"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6" name="Freeform 4443">
                  <a:extLst>
                    <a:ext uri="{FF2B5EF4-FFF2-40B4-BE49-F238E27FC236}">
                      <a16:creationId xmlns:a16="http://schemas.microsoft.com/office/drawing/2014/main" id="{08E9C436-0D52-357A-4EC7-1AB93DEA730A}"/>
                    </a:ext>
                  </a:extLst>
                </p:cNvPr>
                <p:cNvSpPr/>
                <p:nvPr/>
              </p:nvSpPr>
              <p:spPr>
                <a:xfrm>
                  <a:off x="5881669" y="5884054"/>
                  <a:ext cx="10618" cy="51193"/>
                </a:xfrm>
                <a:custGeom>
                  <a:avLst/>
                  <a:gdLst>
                    <a:gd name="connsiteX0" fmla="*/ 10407 w 10618"/>
                    <a:gd name="connsiteY0" fmla="*/ 51193 h 51193"/>
                    <a:gd name="connsiteX1" fmla="*/ 8414 w 10618"/>
                    <a:gd name="connsiteY1" fmla="*/ 32509 h 51193"/>
                    <a:gd name="connsiteX2" fmla="*/ 1563 w 10618"/>
                    <a:gd name="connsiteY2" fmla="*/ 16442 h 51193"/>
                    <a:gd name="connsiteX3" fmla="*/ 318 w 10618"/>
                    <a:gd name="connsiteY3" fmla="*/ 0 h 51193"/>
                  </a:gdLst>
                  <a:ahLst/>
                  <a:cxnLst>
                    <a:cxn ang="0">
                      <a:pos x="connsiteX0" y="connsiteY0"/>
                    </a:cxn>
                    <a:cxn ang="0">
                      <a:pos x="connsiteX1" y="connsiteY1"/>
                    </a:cxn>
                    <a:cxn ang="0">
                      <a:pos x="connsiteX2" y="connsiteY2"/>
                    </a:cxn>
                    <a:cxn ang="0">
                      <a:pos x="connsiteX3" y="connsiteY3"/>
                    </a:cxn>
                  </a:cxnLst>
                  <a:rect l="l" t="t" r="r" b="b"/>
                  <a:pathLst>
                    <a:path w="10618" h="51193">
                      <a:moveTo>
                        <a:pt x="10407" y="51193"/>
                      </a:moveTo>
                      <a:cubicBezTo>
                        <a:pt x="11154" y="42848"/>
                        <a:pt x="9784" y="36620"/>
                        <a:pt x="8414" y="32509"/>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7" name="Freeform 4444">
                  <a:extLst>
                    <a:ext uri="{FF2B5EF4-FFF2-40B4-BE49-F238E27FC236}">
                      <a16:creationId xmlns:a16="http://schemas.microsoft.com/office/drawing/2014/main" id="{FF778AA4-0E1A-6831-8E9D-200C89447B07}"/>
                    </a:ext>
                  </a:extLst>
                </p:cNvPr>
                <p:cNvSpPr/>
                <p:nvPr/>
              </p:nvSpPr>
              <p:spPr>
                <a:xfrm>
                  <a:off x="5874887" y="5890780"/>
                  <a:ext cx="11583" cy="50944"/>
                </a:xfrm>
                <a:custGeom>
                  <a:avLst/>
                  <a:gdLst>
                    <a:gd name="connsiteX0" fmla="*/ 0 w 11583"/>
                    <a:gd name="connsiteY0" fmla="*/ 0 h 50944"/>
                    <a:gd name="connsiteX1" fmla="*/ 5854 w 11583"/>
                    <a:gd name="connsiteY1" fmla="*/ 17936 h 50944"/>
                    <a:gd name="connsiteX2" fmla="*/ 6103 w 11583"/>
                    <a:gd name="connsiteY2" fmla="*/ 35374 h 50944"/>
                    <a:gd name="connsiteX3" fmla="*/ 11584 w 11583"/>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83" h="50944">
                      <a:moveTo>
                        <a:pt x="0" y="0"/>
                      </a:moveTo>
                      <a:cubicBezTo>
                        <a:pt x="4110" y="7349"/>
                        <a:pt x="5356" y="13577"/>
                        <a:pt x="5854" y="17936"/>
                      </a:cubicBezTo>
                      <a:cubicBezTo>
                        <a:pt x="6477" y="24912"/>
                        <a:pt x="5107" y="28274"/>
                        <a:pt x="6103" y="35374"/>
                      </a:cubicBezTo>
                      <a:cubicBezTo>
                        <a:pt x="7100" y="42225"/>
                        <a:pt x="9591" y="47581"/>
                        <a:pt x="11584"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8" name="Freeform 4445">
                  <a:extLst>
                    <a:ext uri="{FF2B5EF4-FFF2-40B4-BE49-F238E27FC236}">
                      <a16:creationId xmlns:a16="http://schemas.microsoft.com/office/drawing/2014/main" id="{2E10CB01-DCAC-5043-0B68-F3A0670A009F}"/>
                    </a:ext>
                  </a:extLst>
                </p:cNvPr>
                <p:cNvSpPr/>
                <p:nvPr/>
              </p:nvSpPr>
              <p:spPr>
                <a:xfrm>
                  <a:off x="5876842" y="5929610"/>
                  <a:ext cx="26357" cy="26513"/>
                </a:xfrm>
                <a:custGeom>
                  <a:avLst/>
                  <a:gdLst>
                    <a:gd name="connsiteX0" fmla="*/ 287 w 26357"/>
                    <a:gd name="connsiteY0" fmla="*/ 15976 h 26513"/>
                    <a:gd name="connsiteX1" fmla="*/ 10376 w 26357"/>
                    <a:gd name="connsiteY1" fmla="*/ 282 h 26513"/>
                    <a:gd name="connsiteX2" fmla="*/ 26071 w 26357"/>
                    <a:gd name="connsiteY2" fmla="*/ 10495 h 26513"/>
                    <a:gd name="connsiteX3" fmla="*/ 15982 w 26357"/>
                    <a:gd name="connsiteY3" fmla="*/ 26190 h 26513"/>
                    <a:gd name="connsiteX4" fmla="*/ 287 w 26357"/>
                    <a:gd name="connsiteY4" fmla="*/ 15976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6" h="26513">
                      <a:moveTo>
                        <a:pt x="287" y="15976"/>
                      </a:moveTo>
                      <a:cubicBezTo>
                        <a:pt x="-1207" y="8876"/>
                        <a:pt x="3276" y="1776"/>
                        <a:pt x="10376" y="282"/>
                      </a:cubicBezTo>
                      <a:cubicBezTo>
                        <a:pt x="17476" y="-1213"/>
                        <a:pt x="24451" y="3395"/>
                        <a:pt x="26071" y="10495"/>
                      </a:cubicBezTo>
                      <a:cubicBezTo>
                        <a:pt x="27565" y="17720"/>
                        <a:pt x="23081" y="24695"/>
                        <a:pt x="15982" y="26190"/>
                      </a:cubicBezTo>
                      <a:cubicBezTo>
                        <a:pt x="8882" y="27809"/>
                        <a:pt x="1906" y="23200"/>
                        <a:pt x="287"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7" name="Graphic 2987">
                <a:extLst>
                  <a:ext uri="{FF2B5EF4-FFF2-40B4-BE49-F238E27FC236}">
                    <a16:creationId xmlns:a16="http://schemas.microsoft.com/office/drawing/2014/main" id="{06DFC038-4D0B-7F31-1E8A-9C7F2FA7458A}"/>
                  </a:ext>
                </a:extLst>
              </p:cNvPr>
              <p:cNvGrpSpPr/>
              <p:nvPr/>
            </p:nvGrpSpPr>
            <p:grpSpPr>
              <a:xfrm>
                <a:off x="5880584" y="5803888"/>
                <a:ext cx="51506" cy="146338"/>
                <a:chOff x="5880584" y="5803888"/>
                <a:chExt cx="51506" cy="146338"/>
              </a:xfrm>
              <a:grpFill/>
            </p:grpSpPr>
            <p:sp>
              <p:nvSpPr>
                <p:cNvPr id="4997" name="Freeform 4447">
                  <a:extLst>
                    <a:ext uri="{FF2B5EF4-FFF2-40B4-BE49-F238E27FC236}">
                      <a16:creationId xmlns:a16="http://schemas.microsoft.com/office/drawing/2014/main" id="{AF8D98B0-B0F9-7D90-98F6-A1F9753979B6}"/>
                    </a:ext>
                  </a:extLst>
                </p:cNvPr>
                <p:cNvSpPr/>
                <p:nvPr/>
              </p:nvSpPr>
              <p:spPr>
                <a:xfrm>
                  <a:off x="5891478" y="5824765"/>
                  <a:ext cx="10506" cy="51193"/>
                </a:xfrm>
                <a:custGeom>
                  <a:avLst/>
                  <a:gdLst>
                    <a:gd name="connsiteX0" fmla="*/ 225 w 10506"/>
                    <a:gd name="connsiteY0" fmla="*/ 0 h 51193"/>
                    <a:gd name="connsiteX1" fmla="*/ 2093 w 10506"/>
                    <a:gd name="connsiteY1" fmla="*/ 18684 h 51193"/>
                    <a:gd name="connsiteX2" fmla="*/ 8943 w 10506"/>
                    <a:gd name="connsiteY2" fmla="*/ 34752 h 51193"/>
                    <a:gd name="connsiteX3" fmla="*/ 10189 w 1050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506" h="51193">
                      <a:moveTo>
                        <a:pt x="225" y="0"/>
                      </a:moveTo>
                      <a:cubicBezTo>
                        <a:pt x="-523" y="8346"/>
                        <a:pt x="722" y="14573"/>
                        <a:pt x="2093" y="18684"/>
                      </a:cubicBezTo>
                      <a:cubicBezTo>
                        <a:pt x="4335" y="25285"/>
                        <a:pt x="6950" y="27901"/>
                        <a:pt x="8943" y="34752"/>
                      </a:cubicBezTo>
                      <a:cubicBezTo>
                        <a:pt x="10812" y="41353"/>
                        <a:pt x="10687"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8" name="Freeform 4448">
                  <a:extLst>
                    <a:ext uri="{FF2B5EF4-FFF2-40B4-BE49-F238E27FC236}">
                      <a16:creationId xmlns:a16="http://schemas.microsoft.com/office/drawing/2014/main" id="{768B6594-D4ED-97FC-F25A-B15D87747531}"/>
                    </a:ext>
                  </a:extLst>
                </p:cNvPr>
                <p:cNvSpPr/>
                <p:nvPr/>
              </p:nvSpPr>
              <p:spPr>
                <a:xfrm>
                  <a:off x="5897557" y="5818412"/>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4" y="43595"/>
                        <a:pt x="5979" y="37367"/>
                        <a:pt x="5605" y="33008"/>
                      </a:cubicBezTo>
                      <a:cubicBezTo>
                        <a:pt x="4982" y="26033"/>
                        <a:pt x="6352" y="22669"/>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9" name="Freeform 4449">
                  <a:extLst>
                    <a:ext uri="{FF2B5EF4-FFF2-40B4-BE49-F238E27FC236}">
                      <a16:creationId xmlns:a16="http://schemas.microsoft.com/office/drawing/2014/main" id="{C6FD99EA-4DE5-D923-AB8F-87267A18A0B1}"/>
                    </a:ext>
                  </a:extLst>
                </p:cNvPr>
                <p:cNvSpPr/>
                <p:nvPr/>
              </p:nvSpPr>
              <p:spPr>
                <a:xfrm>
                  <a:off x="5880584" y="5803888"/>
                  <a:ext cx="26595" cy="26513"/>
                </a:xfrm>
                <a:custGeom>
                  <a:avLst/>
                  <a:gdLst>
                    <a:gd name="connsiteX0" fmla="*/ 26314 w 26595"/>
                    <a:gd name="connsiteY0" fmla="*/ 10538 h 26513"/>
                    <a:gd name="connsiteX1" fmla="*/ 15975 w 26595"/>
                    <a:gd name="connsiteY1" fmla="*/ 26232 h 26513"/>
                    <a:gd name="connsiteX2" fmla="*/ 281 w 26595"/>
                    <a:gd name="connsiteY2" fmla="*/ 16019 h 26513"/>
                    <a:gd name="connsiteX3" fmla="*/ 10620 w 26595"/>
                    <a:gd name="connsiteY3" fmla="*/ 324 h 26513"/>
                    <a:gd name="connsiteX4" fmla="*/ 26314 w 26595"/>
                    <a:gd name="connsiteY4" fmla="*/ 10538 h 2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13">
                      <a:moveTo>
                        <a:pt x="26314" y="10538"/>
                      </a:moveTo>
                      <a:cubicBezTo>
                        <a:pt x="27809" y="17762"/>
                        <a:pt x="23200" y="24737"/>
                        <a:pt x="15975" y="26232"/>
                      </a:cubicBezTo>
                      <a:cubicBezTo>
                        <a:pt x="8751" y="27727"/>
                        <a:pt x="1776" y="23118"/>
                        <a:pt x="281" y="16019"/>
                      </a:cubicBezTo>
                      <a:cubicBezTo>
                        <a:pt x="-1214" y="8794"/>
                        <a:pt x="3395" y="1819"/>
                        <a:pt x="10620" y="324"/>
                      </a:cubicBezTo>
                      <a:cubicBezTo>
                        <a:pt x="17719" y="-1295"/>
                        <a:pt x="24819" y="3313"/>
                        <a:pt x="26314" y="105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0" name="Freeform 4450">
                  <a:extLst>
                    <a:ext uri="{FF2B5EF4-FFF2-40B4-BE49-F238E27FC236}">
                      <a16:creationId xmlns:a16="http://schemas.microsoft.com/office/drawing/2014/main" id="{261E45C6-43B6-C347-3887-0A7C37D13D5A}"/>
                    </a:ext>
                  </a:extLst>
                </p:cNvPr>
                <p:cNvSpPr/>
                <p:nvPr/>
              </p:nvSpPr>
              <p:spPr>
                <a:xfrm>
                  <a:off x="5910691" y="5878075"/>
                  <a:ext cx="10506" cy="51193"/>
                </a:xfrm>
                <a:custGeom>
                  <a:avLst/>
                  <a:gdLst>
                    <a:gd name="connsiteX0" fmla="*/ 10282 w 10506"/>
                    <a:gd name="connsiteY0" fmla="*/ 51193 h 51193"/>
                    <a:gd name="connsiteX1" fmla="*/ 8414 w 10506"/>
                    <a:gd name="connsiteY1" fmla="*/ 32510 h 51193"/>
                    <a:gd name="connsiteX2" fmla="*/ 1563 w 10506"/>
                    <a:gd name="connsiteY2" fmla="*/ 16442 h 51193"/>
                    <a:gd name="connsiteX3" fmla="*/ 318 w 10506"/>
                    <a:gd name="connsiteY3" fmla="*/ 0 h 51193"/>
                  </a:gdLst>
                  <a:ahLst/>
                  <a:cxnLst>
                    <a:cxn ang="0">
                      <a:pos x="connsiteX0" y="connsiteY0"/>
                    </a:cxn>
                    <a:cxn ang="0">
                      <a:pos x="connsiteX1" y="connsiteY1"/>
                    </a:cxn>
                    <a:cxn ang="0">
                      <a:pos x="connsiteX2" y="connsiteY2"/>
                    </a:cxn>
                    <a:cxn ang="0">
                      <a:pos x="connsiteX3" y="connsiteY3"/>
                    </a:cxn>
                  </a:cxnLst>
                  <a:rect l="l" t="t" r="r" b="b"/>
                  <a:pathLst>
                    <a:path w="10506" h="51193">
                      <a:moveTo>
                        <a:pt x="10282" y="51193"/>
                      </a:moveTo>
                      <a:cubicBezTo>
                        <a:pt x="11030" y="42848"/>
                        <a:pt x="9784" y="36620"/>
                        <a:pt x="8414" y="32510"/>
                      </a:cubicBezTo>
                      <a:cubicBezTo>
                        <a:pt x="6172" y="25908"/>
                        <a:pt x="3556" y="23292"/>
                        <a:pt x="1563" y="16442"/>
                      </a:cubicBezTo>
                      <a:cubicBezTo>
                        <a:pt x="-305" y="9840"/>
                        <a:pt x="-181" y="3861"/>
                        <a:pt x="3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1" name="Freeform 4451">
                  <a:extLst>
                    <a:ext uri="{FF2B5EF4-FFF2-40B4-BE49-F238E27FC236}">
                      <a16:creationId xmlns:a16="http://schemas.microsoft.com/office/drawing/2014/main" id="{F8A1AB4F-31F3-9366-708C-6627F52A2D21}"/>
                    </a:ext>
                  </a:extLst>
                </p:cNvPr>
                <p:cNvSpPr/>
                <p:nvPr/>
              </p:nvSpPr>
              <p:spPr>
                <a:xfrm>
                  <a:off x="5903784" y="5884677"/>
                  <a:ext cx="11334" cy="50944"/>
                </a:xfrm>
                <a:custGeom>
                  <a:avLst/>
                  <a:gdLst>
                    <a:gd name="connsiteX0" fmla="*/ 0 w 11334"/>
                    <a:gd name="connsiteY0" fmla="*/ 0 h 50944"/>
                    <a:gd name="connsiteX1" fmla="*/ 5730 w 11334"/>
                    <a:gd name="connsiteY1" fmla="*/ 17936 h 50944"/>
                    <a:gd name="connsiteX2" fmla="*/ 5854 w 11334"/>
                    <a:gd name="connsiteY2" fmla="*/ 35374 h 50944"/>
                    <a:gd name="connsiteX3" fmla="*/ 11335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0" y="0"/>
                      </a:moveTo>
                      <a:cubicBezTo>
                        <a:pt x="4110" y="7349"/>
                        <a:pt x="5356" y="13577"/>
                        <a:pt x="5730" y="17936"/>
                      </a:cubicBezTo>
                      <a:cubicBezTo>
                        <a:pt x="6352" y="24912"/>
                        <a:pt x="4982" y="28275"/>
                        <a:pt x="5854" y="35374"/>
                      </a:cubicBezTo>
                      <a:cubicBezTo>
                        <a:pt x="6851" y="42225"/>
                        <a:pt x="9342" y="47581"/>
                        <a:pt x="11335"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5002" name="Freeform 4452">
                  <a:extLst>
                    <a:ext uri="{FF2B5EF4-FFF2-40B4-BE49-F238E27FC236}">
                      <a16:creationId xmlns:a16="http://schemas.microsoft.com/office/drawing/2014/main" id="{FA6405D4-DC7F-43BF-4534-984B203F65AA}"/>
                    </a:ext>
                  </a:extLst>
                </p:cNvPr>
                <p:cNvSpPr/>
                <p:nvPr/>
              </p:nvSpPr>
              <p:spPr>
                <a:xfrm>
                  <a:off x="5905739" y="5923631"/>
                  <a:ext cx="26351" cy="26595"/>
                </a:xfrm>
                <a:custGeom>
                  <a:avLst/>
                  <a:gdLst>
                    <a:gd name="connsiteX0" fmla="*/ 287 w 26351"/>
                    <a:gd name="connsiteY0" fmla="*/ 15975 h 26595"/>
                    <a:gd name="connsiteX1" fmla="*/ 10501 w 26351"/>
                    <a:gd name="connsiteY1" fmla="*/ 281 h 26595"/>
                    <a:gd name="connsiteX2" fmla="*/ 26070 w 26351"/>
                    <a:gd name="connsiteY2" fmla="*/ 10620 h 26595"/>
                    <a:gd name="connsiteX3" fmla="*/ 15857 w 26351"/>
                    <a:gd name="connsiteY3" fmla="*/ 26314 h 26595"/>
                    <a:gd name="connsiteX4" fmla="*/ 287 w 26351"/>
                    <a:gd name="connsiteY4" fmla="*/ 15975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95">
                      <a:moveTo>
                        <a:pt x="287" y="15975"/>
                      </a:moveTo>
                      <a:cubicBezTo>
                        <a:pt x="-1208" y="8751"/>
                        <a:pt x="3276" y="1776"/>
                        <a:pt x="10501" y="281"/>
                      </a:cubicBezTo>
                      <a:cubicBezTo>
                        <a:pt x="17600" y="-1214"/>
                        <a:pt x="24575" y="3395"/>
                        <a:pt x="26070" y="10620"/>
                      </a:cubicBezTo>
                      <a:cubicBezTo>
                        <a:pt x="27565" y="17844"/>
                        <a:pt x="22957" y="24819"/>
                        <a:pt x="15857" y="26314"/>
                      </a:cubicBezTo>
                      <a:cubicBezTo>
                        <a:pt x="8757" y="27809"/>
                        <a:pt x="1782" y="23200"/>
                        <a:pt x="287" y="15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8" name="Graphic 2987">
                <a:extLst>
                  <a:ext uri="{FF2B5EF4-FFF2-40B4-BE49-F238E27FC236}">
                    <a16:creationId xmlns:a16="http://schemas.microsoft.com/office/drawing/2014/main" id="{AF471089-94EC-8002-927F-B7DB1BBD520F}"/>
                  </a:ext>
                </a:extLst>
              </p:cNvPr>
              <p:cNvGrpSpPr/>
              <p:nvPr/>
            </p:nvGrpSpPr>
            <p:grpSpPr>
              <a:xfrm>
                <a:off x="5909606" y="5797822"/>
                <a:ext cx="51257" cy="146384"/>
                <a:chOff x="5909606" y="5797822"/>
                <a:chExt cx="51257" cy="146384"/>
              </a:xfrm>
              <a:grpFill/>
            </p:grpSpPr>
            <p:sp>
              <p:nvSpPr>
                <p:cNvPr id="4991" name="Freeform 4454">
                  <a:extLst>
                    <a:ext uri="{FF2B5EF4-FFF2-40B4-BE49-F238E27FC236}">
                      <a16:creationId xmlns:a16="http://schemas.microsoft.com/office/drawing/2014/main" id="{D2F48538-2B50-A120-9EDC-0BCB4207D067}"/>
                    </a:ext>
                  </a:extLst>
                </p:cNvPr>
                <p:cNvSpPr/>
                <p:nvPr/>
              </p:nvSpPr>
              <p:spPr>
                <a:xfrm>
                  <a:off x="5920624" y="5818786"/>
                  <a:ext cx="10451" cy="51193"/>
                </a:xfrm>
                <a:custGeom>
                  <a:avLst/>
                  <a:gdLst>
                    <a:gd name="connsiteX0" fmla="*/ 224 w 10451"/>
                    <a:gd name="connsiteY0" fmla="*/ 0 h 51193"/>
                    <a:gd name="connsiteX1" fmla="*/ 2093 w 10451"/>
                    <a:gd name="connsiteY1" fmla="*/ 18684 h 51193"/>
                    <a:gd name="connsiteX2" fmla="*/ 8943 w 10451"/>
                    <a:gd name="connsiteY2" fmla="*/ 34751 h 51193"/>
                    <a:gd name="connsiteX3" fmla="*/ 10189 w 1045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451" h="51193">
                      <a:moveTo>
                        <a:pt x="224" y="0"/>
                      </a:moveTo>
                      <a:cubicBezTo>
                        <a:pt x="-523" y="8345"/>
                        <a:pt x="723" y="14573"/>
                        <a:pt x="2093" y="18684"/>
                      </a:cubicBezTo>
                      <a:cubicBezTo>
                        <a:pt x="4210" y="25285"/>
                        <a:pt x="6951" y="27901"/>
                        <a:pt x="8943" y="34751"/>
                      </a:cubicBezTo>
                      <a:cubicBezTo>
                        <a:pt x="10812" y="41353"/>
                        <a:pt x="10563" y="47332"/>
                        <a:pt x="1018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2" name="Freeform 4455">
                  <a:extLst>
                    <a:ext uri="{FF2B5EF4-FFF2-40B4-BE49-F238E27FC236}">
                      <a16:creationId xmlns:a16="http://schemas.microsoft.com/office/drawing/2014/main" id="{86B0D4C3-83FA-03A9-0776-89BD2B3482E3}"/>
                    </a:ext>
                  </a:extLst>
                </p:cNvPr>
                <p:cNvSpPr/>
                <p:nvPr/>
              </p:nvSpPr>
              <p:spPr>
                <a:xfrm>
                  <a:off x="5926578" y="5812309"/>
                  <a:ext cx="11334" cy="50944"/>
                </a:xfrm>
                <a:custGeom>
                  <a:avLst/>
                  <a:gdLst>
                    <a:gd name="connsiteX0" fmla="*/ 11335 w 11334"/>
                    <a:gd name="connsiteY0" fmla="*/ 50944 h 50944"/>
                    <a:gd name="connsiteX1" fmla="*/ 5605 w 11334"/>
                    <a:gd name="connsiteY1" fmla="*/ 33008 h 50944"/>
                    <a:gd name="connsiteX2" fmla="*/ 5481 w 11334"/>
                    <a:gd name="connsiteY2" fmla="*/ 15570 h 50944"/>
                    <a:gd name="connsiteX3" fmla="*/ 0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11335" y="50944"/>
                      </a:moveTo>
                      <a:cubicBezTo>
                        <a:pt x="7225" y="43595"/>
                        <a:pt x="5979" y="37367"/>
                        <a:pt x="5605" y="33008"/>
                      </a:cubicBezTo>
                      <a:cubicBezTo>
                        <a:pt x="4982" y="26033"/>
                        <a:pt x="6477" y="22670"/>
                        <a:pt x="5481" y="15570"/>
                      </a:cubicBezTo>
                      <a:cubicBezTo>
                        <a:pt x="4609"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3" name="Freeform 4456">
                  <a:extLst>
                    <a:ext uri="{FF2B5EF4-FFF2-40B4-BE49-F238E27FC236}">
                      <a16:creationId xmlns:a16="http://schemas.microsoft.com/office/drawing/2014/main" id="{29EBB7E7-13D8-0383-5F71-E4052E1D6E1F}"/>
                    </a:ext>
                  </a:extLst>
                </p:cNvPr>
                <p:cNvSpPr/>
                <p:nvPr/>
              </p:nvSpPr>
              <p:spPr>
                <a:xfrm>
                  <a:off x="5909606" y="5797822"/>
                  <a:ext cx="26595" cy="26476"/>
                </a:xfrm>
                <a:custGeom>
                  <a:avLst/>
                  <a:gdLst>
                    <a:gd name="connsiteX0" fmla="*/ 26314 w 26595"/>
                    <a:gd name="connsiteY0" fmla="*/ 10500 h 26476"/>
                    <a:gd name="connsiteX1" fmla="*/ 15976 w 26595"/>
                    <a:gd name="connsiteY1" fmla="*/ 26195 h 26476"/>
                    <a:gd name="connsiteX2" fmla="*/ 281 w 26595"/>
                    <a:gd name="connsiteY2" fmla="*/ 15981 h 26476"/>
                    <a:gd name="connsiteX3" fmla="*/ 10619 w 26595"/>
                    <a:gd name="connsiteY3" fmla="*/ 287 h 26476"/>
                    <a:gd name="connsiteX4" fmla="*/ 26314 w 26595"/>
                    <a:gd name="connsiteY4" fmla="*/ 10500 h 2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6">
                      <a:moveTo>
                        <a:pt x="26314" y="10500"/>
                      </a:moveTo>
                      <a:cubicBezTo>
                        <a:pt x="27808" y="17725"/>
                        <a:pt x="23200" y="24700"/>
                        <a:pt x="15976" y="26195"/>
                      </a:cubicBezTo>
                      <a:cubicBezTo>
                        <a:pt x="8751" y="27689"/>
                        <a:pt x="1776" y="23081"/>
                        <a:pt x="281" y="15981"/>
                      </a:cubicBezTo>
                      <a:cubicBezTo>
                        <a:pt x="-1213" y="8757"/>
                        <a:pt x="3395" y="1782"/>
                        <a:pt x="10619" y="287"/>
                      </a:cubicBezTo>
                      <a:cubicBezTo>
                        <a:pt x="17844" y="-1208"/>
                        <a:pt x="24944" y="3276"/>
                        <a:pt x="26314"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4" name="Freeform 4457">
                  <a:extLst>
                    <a:ext uri="{FF2B5EF4-FFF2-40B4-BE49-F238E27FC236}">
                      <a16:creationId xmlns:a16="http://schemas.microsoft.com/office/drawing/2014/main" id="{B3A87724-7F7F-6FF7-5D5D-5F78EB4B40C7}"/>
                    </a:ext>
                  </a:extLst>
                </p:cNvPr>
                <p:cNvSpPr/>
                <p:nvPr/>
              </p:nvSpPr>
              <p:spPr>
                <a:xfrm>
                  <a:off x="5939643" y="5872097"/>
                  <a:ext cx="10327" cy="51193"/>
                </a:xfrm>
                <a:custGeom>
                  <a:avLst/>
                  <a:gdLst>
                    <a:gd name="connsiteX0" fmla="*/ 10103 w 10327"/>
                    <a:gd name="connsiteY0" fmla="*/ 51193 h 51193"/>
                    <a:gd name="connsiteX1" fmla="*/ 8234 w 10327"/>
                    <a:gd name="connsiteY1" fmla="*/ 32509 h 51193"/>
                    <a:gd name="connsiteX2" fmla="*/ 1508 w 10327"/>
                    <a:gd name="connsiteY2" fmla="*/ 16441 h 51193"/>
                    <a:gd name="connsiteX3" fmla="*/ 263 w 10327"/>
                    <a:gd name="connsiteY3" fmla="*/ 0 h 51193"/>
                  </a:gdLst>
                  <a:ahLst/>
                  <a:cxnLst>
                    <a:cxn ang="0">
                      <a:pos x="connsiteX0" y="connsiteY0"/>
                    </a:cxn>
                    <a:cxn ang="0">
                      <a:pos x="connsiteX1" y="connsiteY1"/>
                    </a:cxn>
                    <a:cxn ang="0">
                      <a:pos x="connsiteX2" y="connsiteY2"/>
                    </a:cxn>
                    <a:cxn ang="0">
                      <a:pos x="connsiteX3" y="connsiteY3"/>
                    </a:cxn>
                  </a:cxnLst>
                  <a:rect l="l" t="t" r="r" b="b"/>
                  <a:pathLst>
                    <a:path w="10327" h="51193">
                      <a:moveTo>
                        <a:pt x="10103" y="51193"/>
                      </a:moveTo>
                      <a:cubicBezTo>
                        <a:pt x="10850" y="42848"/>
                        <a:pt x="9605" y="36620"/>
                        <a:pt x="8234" y="32509"/>
                      </a:cubicBezTo>
                      <a:cubicBezTo>
                        <a:pt x="6117" y="25908"/>
                        <a:pt x="3377" y="23292"/>
                        <a:pt x="1508" y="16441"/>
                      </a:cubicBezTo>
                      <a:cubicBezTo>
                        <a:pt x="-360" y="9840"/>
                        <a:pt x="-111" y="3861"/>
                        <a:pt x="2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5" name="Freeform 4458">
                  <a:extLst>
                    <a:ext uri="{FF2B5EF4-FFF2-40B4-BE49-F238E27FC236}">
                      <a16:creationId xmlns:a16="http://schemas.microsoft.com/office/drawing/2014/main" id="{01FDD6FC-0844-8EE3-8CE8-9304F31A32AB}"/>
                    </a:ext>
                  </a:extLst>
                </p:cNvPr>
                <p:cNvSpPr/>
                <p:nvPr/>
              </p:nvSpPr>
              <p:spPr>
                <a:xfrm>
                  <a:off x="5932682" y="5878698"/>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4111" y="7349"/>
                        <a:pt x="5356" y="13577"/>
                        <a:pt x="5730" y="17936"/>
                      </a:cubicBezTo>
                      <a:cubicBezTo>
                        <a:pt x="6353" y="24912"/>
                        <a:pt x="4858" y="28274"/>
                        <a:pt x="5854" y="35374"/>
                      </a:cubicBezTo>
                      <a:cubicBezTo>
                        <a:pt x="6726" y="42225"/>
                        <a:pt x="9342"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6" name="Freeform 4459">
                  <a:extLst>
                    <a:ext uri="{FF2B5EF4-FFF2-40B4-BE49-F238E27FC236}">
                      <a16:creationId xmlns:a16="http://schemas.microsoft.com/office/drawing/2014/main" id="{35269956-3116-BF82-5385-B891E14C36CE}"/>
                    </a:ext>
                  </a:extLst>
                </p:cNvPr>
                <p:cNvSpPr/>
                <p:nvPr/>
              </p:nvSpPr>
              <p:spPr>
                <a:xfrm>
                  <a:off x="5934518" y="5917653"/>
                  <a:ext cx="26346" cy="26554"/>
                </a:xfrm>
                <a:custGeom>
                  <a:avLst/>
                  <a:gdLst>
                    <a:gd name="connsiteX0" fmla="*/ 282 w 26346"/>
                    <a:gd name="connsiteY0" fmla="*/ 15976 h 26554"/>
                    <a:gd name="connsiteX1" fmla="*/ 10495 w 26346"/>
                    <a:gd name="connsiteY1" fmla="*/ 281 h 26554"/>
                    <a:gd name="connsiteX2" fmla="*/ 26065 w 26346"/>
                    <a:gd name="connsiteY2" fmla="*/ 10619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19"/>
                      </a:cubicBezTo>
                      <a:cubicBezTo>
                        <a:pt x="27560" y="17844"/>
                        <a:pt x="22951" y="24819"/>
                        <a:pt x="15851" y="26314"/>
                      </a:cubicBezTo>
                      <a:cubicBezTo>
                        <a:pt x="8751" y="27684"/>
                        <a:pt x="1776" y="23075"/>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89" name="Graphic 2987">
                <a:extLst>
                  <a:ext uri="{FF2B5EF4-FFF2-40B4-BE49-F238E27FC236}">
                    <a16:creationId xmlns:a16="http://schemas.microsoft.com/office/drawing/2014/main" id="{6D0359C5-83FA-F601-F33E-CABEBE913D55}"/>
                  </a:ext>
                </a:extLst>
              </p:cNvPr>
              <p:cNvGrpSpPr/>
              <p:nvPr/>
            </p:nvGrpSpPr>
            <p:grpSpPr>
              <a:xfrm>
                <a:off x="5938758" y="5791724"/>
                <a:ext cx="50879" cy="146504"/>
                <a:chOff x="5938758" y="5791724"/>
                <a:chExt cx="50879" cy="146504"/>
              </a:xfrm>
              <a:grpFill/>
            </p:grpSpPr>
            <p:sp>
              <p:nvSpPr>
                <p:cNvPr id="4985" name="Freeform 4461">
                  <a:extLst>
                    <a:ext uri="{FF2B5EF4-FFF2-40B4-BE49-F238E27FC236}">
                      <a16:creationId xmlns:a16="http://schemas.microsoft.com/office/drawing/2014/main" id="{84622B4A-747D-C9AD-F439-B2CA8C541ECD}"/>
                    </a:ext>
                  </a:extLst>
                </p:cNvPr>
                <p:cNvSpPr/>
                <p:nvPr/>
              </p:nvSpPr>
              <p:spPr>
                <a:xfrm>
                  <a:off x="5949595" y="5812682"/>
                  <a:ext cx="10224" cy="51193"/>
                </a:xfrm>
                <a:custGeom>
                  <a:avLst/>
                  <a:gdLst>
                    <a:gd name="connsiteX0" fmla="*/ 275 w 10224"/>
                    <a:gd name="connsiteY0" fmla="*/ 0 h 51193"/>
                    <a:gd name="connsiteX1" fmla="*/ 2019 w 10224"/>
                    <a:gd name="connsiteY1" fmla="*/ 18684 h 51193"/>
                    <a:gd name="connsiteX2" fmla="*/ 8745 w 10224"/>
                    <a:gd name="connsiteY2" fmla="*/ 34752 h 51193"/>
                    <a:gd name="connsiteX3" fmla="*/ 9866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0"/>
                      </a:moveTo>
                      <a:cubicBezTo>
                        <a:pt x="-597" y="8346"/>
                        <a:pt x="773" y="14573"/>
                        <a:pt x="2019" y="18684"/>
                      </a:cubicBezTo>
                      <a:cubicBezTo>
                        <a:pt x="4136" y="25285"/>
                        <a:pt x="6877" y="27901"/>
                        <a:pt x="8745" y="34752"/>
                      </a:cubicBezTo>
                      <a:cubicBezTo>
                        <a:pt x="10614" y="41353"/>
                        <a:pt x="10364" y="47332"/>
                        <a:pt x="9866"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6" name="Freeform 4462">
                  <a:extLst>
                    <a:ext uri="{FF2B5EF4-FFF2-40B4-BE49-F238E27FC236}">
                      <a16:creationId xmlns:a16="http://schemas.microsoft.com/office/drawing/2014/main" id="{56D01FC2-5DFF-AD4C-F694-93FD6BF290EE}"/>
                    </a:ext>
                  </a:extLst>
                </p:cNvPr>
                <p:cNvSpPr/>
                <p:nvPr/>
              </p:nvSpPr>
              <p:spPr>
                <a:xfrm>
                  <a:off x="5955974" y="5806330"/>
                  <a:ext cx="10960" cy="50944"/>
                </a:xfrm>
                <a:custGeom>
                  <a:avLst/>
                  <a:gdLst>
                    <a:gd name="connsiteX0" fmla="*/ 10961 w 10960"/>
                    <a:gd name="connsiteY0" fmla="*/ 50944 h 50944"/>
                    <a:gd name="connsiteX1" fmla="*/ 5356 w 10960"/>
                    <a:gd name="connsiteY1" fmla="*/ 33008 h 50944"/>
                    <a:gd name="connsiteX2" fmla="*/ 5356 w 10960"/>
                    <a:gd name="connsiteY2" fmla="*/ 15570 h 50944"/>
                    <a:gd name="connsiteX3" fmla="*/ 0 w 10960"/>
                    <a:gd name="connsiteY3" fmla="*/ 0 h 50944"/>
                  </a:gdLst>
                  <a:ahLst/>
                  <a:cxnLst>
                    <a:cxn ang="0">
                      <a:pos x="connsiteX0" y="connsiteY0"/>
                    </a:cxn>
                    <a:cxn ang="0">
                      <a:pos x="connsiteX1" y="connsiteY1"/>
                    </a:cxn>
                    <a:cxn ang="0">
                      <a:pos x="connsiteX2" y="connsiteY2"/>
                    </a:cxn>
                    <a:cxn ang="0">
                      <a:pos x="connsiteX3" y="connsiteY3"/>
                    </a:cxn>
                  </a:cxnLst>
                  <a:rect l="l" t="t" r="r" b="b"/>
                  <a:pathLst>
                    <a:path w="10960" h="50944">
                      <a:moveTo>
                        <a:pt x="10961" y="50944"/>
                      </a:moveTo>
                      <a:cubicBezTo>
                        <a:pt x="6975" y="43595"/>
                        <a:pt x="5730" y="37367"/>
                        <a:pt x="5356" y="33008"/>
                      </a:cubicBezTo>
                      <a:cubicBezTo>
                        <a:pt x="4733" y="26033"/>
                        <a:pt x="6228" y="22669"/>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7" name="Freeform 4463">
                  <a:extLst>
                    <a:ext uri="{FF2B5EF4-FFF2-40B4-BE49-F238E27FC236}">
                      <a16:creationId xmlns:a16="http://schemas.microsoft.com/office/drawing/2014/main" id="{D8E770E0-C7A4-A081-6E9F-FDED921FD6F9}"/>
                    </a:ext>
                  </a:extLst>
                </p:cNvPr>
                <p:cNvSpPr/>
                <p:nvPr/>
              </p:nvSpPr>
              <p:spPr>
                <a:xfrm>
                  <a:off x="5938758" y="5791724"/>
                  <a:ext cx="26584" cy="26471"/>
                </a:xfrm>
                <a:custGeom>
                  <a:avLst/>
                  <a:gdLst>
                    <a:gd name="connsiteX0" fmla="*/ 26309 w 26584"/>
                    <a:gd name="connsiteY0" fmla="*/ 10495 h 26471"/>
                    <a:gd name="connsiteX1" fmla="*/ 15970 w 26584"/>
                    <a:gd name="connsiteY1" fmla="*/ 26190 h 26471"/>
                    <a:gd name="connsiteX2" fmla="*/ 276 w 26584"/>
                    <a:gd name="connsiteY2" fmla="*/ 15976 h 26471"/>
                    <a:gd name="connsiteX3" fmla="*/ 10615 w 26584"/>
                    <a:gd name="connsiteY3" fmla="*/ 282 h 26471"/>
                    <a:gd name="connsiteX4" fmla="*/ 26309 w 26584"/>
                    <a:gd name="connsiteY4" fmla="*/ 10495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4" h="26470">
                      <a:moveTo>
                        <a:pt x="26309" y="10495"/>
                      </a:moveTo>
                      <a:cubicBezTo>
                        <a:pt x="27803" y="17720"/>
                        <a:pt x="23070" y="24695"/>
                        <a:pt x="15970" y="26190"/>
                      </a:cubicBezTo>
                      <a:cubicBezTo>
                        <a:pt x="8871" y="27684"/>
                        <a:pt x="1771" y="23076"/>
                        <a:pt x="276" y="15976"/>
                      </a:cubicBezTo>
                      <a:cubicBezTo>
                        <a:pt x="-1219" y="8752"/>
                        <a:pt x="3515" y="1777"/>
                        <a:pt x="10615" y="282"/>
                      </a:cubicBezTo>
                      <a:cubicBezTo>
                        <a:pt x="17839" y="-1213"/>
                        <a:pt x="24814" y="3395"/>
                        <a:pt x="26309" y="1049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8" name="Freeform 4464">
                  <a:extLst>
                    <a:ext uri="{FF2B5EF4-FFF2-40B4-BE49-F238E27FC236}">
                      <a16:creationId xmlns:a16="http://schemas.microsoft.com/office/drawing/2014/main" id="{D6AF5CE8-ED7B-5BBE-08E6-D8A18D3A2A92}"/>
                    </a:ext>
                  </a:extLst>
                </p:cNvPr>
                <p:cNvSpPr/>
                <p:nvPr/>
              </p:nvSpPr>
              <p:spPr>
                <a:xfrm>
                  <a:off x="5968694" y="5865993"/>
                  <a:ext cx="10224" cy="51193"/>
                </a:xfrm>
                <a:custGeom>
                  <a:avLst/>
                  <a:gdLst>
                    <a:gd name="connsiteX0" fmla="*/ 9950 w 10224"/>
                    <a:gd name="connsiteY0" fmla="*/ 51193 h 51193"/>
                    <a:gd name="connsiteX1" fmla="*/ 8206 w 10224"/>
                    <a:gd name="connsiteY1" fmla="*/ 32510 h 51193"/>
                    <a:gd name="connsiteX2" fmla="*/ 1480 w 10224"/>
                    <a:gd name="connsiteY2" fmla="*/ 16442 h 51193"/>
                    <a:gd name="connsiteX3" fmla="*/ 359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51193"/>
                      </a:moveTo>
                      <a:cubicBezTo>
                        <a:pt x="10822" y="42848"/>
                        <a:pt x="9452" y="36620"/>
                        <a:pt x="8206" y="32510"/>
                      </a:cubicBezTo>
                      <a:cubicBezTo>
                        <a:pt x="6088" y="25908"/>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9" name="Freeform 4465">
                  <a:extLst>
                    <a:ext uri="{FF2B5EF4-FFF2-40B4-BE49-F238E27FC236}">
                      <a16:creationId xmlns:a16="http://schemas.microsoft.com/office/drawing/2014/main" id="{6840F39B-BE11-7360-A9DA-E4800976A1D7}"/>
                    </a:ext>
                  </a:extLst>
                </p:cNvPr>
                <p:cNvSpPr/>
                <p:nvPr/>
              </p:nvSpPr>
              <p:spPr>
                <a:xfrm>
                  <a:off x="5961704" y="5872595"/>
                  <a:ext cx="11210" cy="50944"/>
                </a:xfrm>
                <a:custGeom>
                  <a:avLst/>
                  <a:gdLst>
                    <a:gd name="connsiteX0" fmla="*/ 0 w 11210"/>
                    <a:gd name="connsiteY0" fmla="*/ 0 h 50944"/>
                    <a:gd name="connsiteX1" fmla="*/ 5730 w 11210"/>
                    <a:gd name="connsiteY1" fmla="*/ 17936 h 50944"/>
                    <a:gd name="connsiteX2" fmla="*/ 5854 w 11210"/>
                    <a:gd name="connsiteY2" fmla="*/ 35374 h 50944"/>
                    <a:gd name="connsiteX3" fmla="*/ 11210 w 1121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10" h="50944">
                      <a:moveTo>
                        <a:pt x="0" y="0"/>
                      </a:moveTo>
                      <a:cubicBezTo>
                        <a:pt x="3986" y="7349"/>
                        <a:pt x="5231" y="13577"/>
                        <a:pt x="5730" y="17936"/>
                      </a:cubicBezTo>
                      <a:cubicBezTo>
                        <a:pt x="6353" y="24912"/>
                        <a:pt x="4858" y="28275"/>
                        <a:pt x="5854" y="35374"/>
                      </a:cubicBezTo>
                      <a:cubicBezTo>
                        <a:pt x="6726" y="42225"/>
                        <a:pt x="9217" y="47581"/>
                        <a:pt x="1121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90" name="Freeform 4466">
                  <a:extLst>
                    <a:ext uri="{FF2B5EF4-FFF2-40B4-BE49-F238E27FC236}">
                      <a16:creationId xmlns:a16="http://schemas.microsoft.com/office/drawing/2014/main" id="{B5CBD535-0723-6E09-A717-18930366E459}"/>
                    </a:ext>
                  </a:extLst>
                </p:cNvPr>
                <p:cNvSpPr/>
                <p:nvPr/>
              </p:nvSpPr>
              <p:spPr>
                <a:xfrm>
                  <a:off x="5963290" y="5911674"/>
                  <a:ext cx="26346" cy="26554"/>
                </a:xfrm>
                <a:custGeom>
                  <a:avLst/>
                  <a:gdLst>
                    <a:gd name="connsiteX0" fmla="*/ 282 w 26346"/>
                    <a:gd name="connsiteY0" fmla="*/ 15976 h 26554"/>
                    <a:gd name="connsiteX1" fmla="*/ 10495 w 26346"/>
                    <a:gd name="connsiteY1" fmla="*/ 281 h 26554"/>
                    <a:gd name="connsiteX2" fmla="*/ 26065 w 26346"/>
                    <a:gd name="connsiteY2" fmla="*/ 10620 h 26554"/>
                    <a:gd name="connsiteX3" fmla="*/ 15851 w 26346"/>
                    <a:gd name="connsiteY3" fmla="*/ 26314 h 26554"/>
                    <a:gd name="connsiteX4" fmla="*/ 282 w 26346"/>
                    <a:gd name="connsiteY4" fmla="*/ 15976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54">
                      <a:moveTo>
                        <a:pt x="282" y="15976"/>
                      </a:moveTo>
                      <a:cubicBezTo>
                        <a:pt x="-1213" y="8751"/>
                        <a:pt x="3395" y="1776"/>
                        <a:pt x="10495" y="281"/>
                      </a:cubicBezTo>
                      <a:cubicBezTo>
                        <a:pt x="17595" y="-1213"/>
                        <a:pt x="24570" y="3395"/>
                        <a:pt x="26065" y="10620"/>
                      </a:cubicBezTo>
                      <a:cubicBezTo>
                        <a:pt x="27560" y="17844"/>
                        <a:pt x="22951" y="24819"/>
                        <a:pt x="15851" y="26314"/>
                      </a:cubicBezTo>
                      <a:cubicBezTo>
                        <a:pt x="8751" y="27684"/>
                        <a:pt x="1776" y="23076"/>
                        <a:pt x="282" y="159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0" name="Graphic 2987">
                <a:extLst>
                  <a:ext uri="{FF2B5EF4-FFF2-40B4-BE49-F238E27FC236}">
                    <a16:creationId xmlns:a16="http://schemas.microsoft.com/office/drawing/2014/main" id="{287E3163-50BE-CEA7-66DA-2CB2B7D23A97}"/>
                  </a:ext>
                </a:extLst>
              </p:cNvPr>
              <p:cNvGrpSpPr/>
              <p:nvPr/>
            </p:nvGrpSpPr>
            <p:grpSpPr>
              <a:xfrm>
                <a:off x="5967780" y="5785870"/>
                <a:ext cx="50873" cy="146379"/>
                <a:chOff x="5967780" y="5785870"/>
                <a:chExt cx="50873" cy="146379"/>
              </a:xfrm>
              <a:grpFill/>
            </p:grpSpPr>
            <p:sp>
              <p:nvSpPr>
                <p:cNvPr id="4979" name="Freeform 4468">
                  <a:extLst>
                    <a:ext uri="{FF2B5EF4-FFF2-40B4-BE49-F238E27FC236}">
                      <a16:creationId xmlns:a16="http://schemas.microsoft.com/office/drawing/2014/main" id="{2D386AEA-6857-4C21-01E2-BEFD756A2606}"/>
                    </a:ext>
                  </a:extLst>
                </p:cNvPr>
                <p:cNvSpPr/>
                <p:nvPr/>
              </p:nvSpPr>
              <p:spPr>
                <a:xfrm>
                  <a:off x="5978727" y="5806704"/>
                  <a:ext cx="10239" cy="51193"/>
                </a:xfrm>
                <a:custGeom>
                  <a:avLst/>
                  <a:gdLst>
                    <a:gd name="connsiteX0" fmla="*/ 290 w 10239"/>
                    <a:gd name="connsiteY0" fmla="*/ 0 h 51193"/>
                    <a:gd name="connsiteX1" fmla="*/ 2034 w 10239"/>
                    <a:gd name="connsiteY1" fmla="*/ 18684 h 51193"/>
                    <a:gd name="connsiteX2" fmla="*/ 8760 w 10239"/>
                    <a:gd name="connsiteY2" fmla="*/ 34751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5"/>
                        <a:pt x="663" y="14573"/>
                        <a:pt x="2034" y="18684"/>
                      </a:cubicBezTo>
                      <a:cubicBezTo>
                        <a:pt x="4151" y="25409"/>
                        <a:pt x="6891" y="27901"/>
                        <a:pt x="8760" y="34751"/>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0" name="Freeform 4469">
                  <a:extLst>
                    <a:ext uri="{FF2B5EF4-FFF2-40B4-BE49-F238E27FC236}">
                      <a16:creationId xmlns:a16="http://schemas.microsoft.com/office/drawing/2014/main" id="{CA4E5E93-510B-F59D-8DCE-14FB2FA174AF}"/>
                    </a:ext>
                  </a:extLst>
                </p:cNvPr>
                <p:cNvSpPr/>
                <p:nvPr/>
              </p:nvSpPr>
              <p:spPr>
                <a:xfrm>
                  <a:off x="5984996" y="5800351"/>
                  <a:ext cx="10961" cy="50944"/>
                </a:xfrm>
                <a:custGeom>
                  <a:avLst/>
                  <a:gdLst>
                    <a:gd name="connsiteX0" fmla="*/ 10961 w 10961"/>
                    <a:gd name="connsiteY0" fmla="*/ 50944 h 50944"/>
                    <a:gd name="connsiteX1" fmla="*/ 5356 w 10961"/>
                    <a:gd name="connsiteY1" fmla="*/ 33008 h 50944"/>
                    <a:gd name="connsiteX2" fmla="*/ 5356 w 10961"/>
                    <a:gd name="connsiteY2" fmla="*/ 15570 h 50944"/>
                    <a:gd name="connsiteX3" fmla="*/ 0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50944"/>
                      </a:moveTo>
                      <a:cubicBezTo>
                        <a:pt x="6975" y="43595"/>
                        <a:pt x="5730" y="37367"/>
                        <a:pt x="5356" y="33008"/>
                      </a:cubicBezTo>
                      <a:cubicBezTo>
                        <a:pt x="4733" y="26033"/>
                        <a:pt x="6228" y="22670"/>
                        <a:pt x="5356" y="15570"/>
                      </a:cubicBezTo>
                      <a:cubicBezTo>
                        <a:pt x="4484" y="8719"/>
                        <a:pt x="1993" y="3363"/>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1" name="Freeform 4470">
                  <a:extLst>
                    <a:ext uri="{FF2B5EF4-FFF2-40B4-BE49-F238E27FC236}">
                      <a16:creationId xmlns:a16="http://schemas.microsoft.com/office/drawing/2014/main" id="{52307AA2-7F18-2C6C-3763-F75846B423BD}"/>
                    </a:ext>
                  </a:extLst>
                </p:cNvPr>
                <p:cNvSpPr/>
                <p:nvPr/>
              </p:nvSpPr>
              <p:spPr>
                <a:xfrm>
                  <a:off x="5967780" y="5785870"/>
                  <a:ext cx="26708" cy="26430"/>
                </a:xfrm>
                <a:custGeom>
                  <a:avLst/>
                  <a:gdLst>
                    <a:gd name="connsiteX0" fmla="*/ 26433 w 26708"/>
                    <a:gd name="connsiteY0" fmla="*/ 10620 h 26430"/>
                    <a:gd name="connsiteX1" fmla="*/ 15970 w 26708"/>
                    <a:gd name="connsiteY1" fmla="*/ 26189 h 26430"/>
                    <a:gd name="connsiteX2" fmla="*/ 276 w 26708"/>
                    <a:gd name="connsiteY2" fmla="*/ 15851 h 26430"/>
                    <a:gd name="connsiteX3" fmla="*/ 10739 w 26708"/>
                    <a:gd name="connsiteY3" fmla="*/ 281 h 26430"/>
                    <a:gd name="connsiteX4" fmla="*/ 26433 w 26708"/>
                    <a:gd name="connsiteY4" fmla="*/ 10620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30">
                      <a:moveTo>
                        <a:pt x="26433" y="10620"/>
                      </a:moveTo>
                      <a:cubicBezTo>
                        <a:pt x="27927" y="17844"/>
                        <a:pt x="23195" y="24819"/>
                        <a:pt x="15970" y="26189"/>
                      </a:cubicBezTo>
                      <a:cubicBezTo>
                        <a:pt x="8746" y="27559"/>
                        <a:pt x="1771" y="22951"/>
                        <a:pt x="276" y="15851"/>
                      </a:cubicBezTo>
                      <a:cubicBezTo>
                        <a:pt x="-1219" y="8627"/>
                        <a:pt x="3514" y="1652"/>
                        <a:pt x="10739" y="281"/>
                      </a:cubicBezTo>
                      <a:cubicBezTo>
                        <a:pt x="18088" y="-1213"/>
                        <a:pt x="25063" y="3395"/>
                        <a:pt x="26433" y="106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2" name="Freeform 4471">
                  <a:extLst>
                    <a:ext uri="{FF2B5EF4-FFF2-40B4-BE49-F238E27FC236}">
                      <a16:creationId xmlns:a16="http://schemas.microsoft.com/office/drawing/2014/main" id="{59C340CE-71B9-69F9-0F4B-9C3D9AFB9AEA}"/>
                    </a:ext>
                  </a:extLst>
                </p:cNvPr>
                <p:cNvSpPr/>
                <p:nvPr/>
              </p:nvSpPr>
              <p:spPr>
                <a:xfrm>
                  <a:off x="5997467" y="5860139"/>
                  <a:ext cx="10239" cy="51193"/>
                </a:xfrm>
                <a:custGeom>
                  <a:avLst/>
                  <a:gdLst>
                    <a:gd name="connsiteX0" fmla="*/ 9950 w 10239"/>
                    <a:gd name="connsiteY0" fmla="*/ 51193 h 51193"/>
                    <a:gd name="connsiteX1" fmla="*/ 8206 w 10239"/>
                    <a:gd name="connsiteY1" fmla="*/ 32510 h 51193"/>
                    <a:gd name="connsiteX2" fmla="*/ 1480 w 10239"/>
                    <a:gd name="connsiteY2" fmla="*/ 16442 h 51193"/>
                    <a:gd name="connsiteX3" fmla="*/ 359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9950" y="51193"/>
                      </a:moveTo>
                      <a:cubicBezTo>
                        <a:pt x="10822" y="42848"/>
                        <a:pt x="9576" y="36620"/>
                        <a:pt x="8206" y="32510"/>
                      </a:cubicBezTo>
                      <a:cubicBezTo>
                        <a:pt x="6088" y="25784"/>
                        <a:pt x="3348" y="23293"/>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3" name="Freeform 4472">
                  <a:extLst>
                    <a:ext uri="{FF2B5EF4-FFF2-40B4-BE49-F238E27FC236}">
                      <a16:creationId xmlns:a16="http://schemas.microsoft.com/office/drawing/2014/main" id="{EA372C22-CCAC-BFFC-1F5E-2F5A83B2D6FB}"/>
                    </a:ext>
                  </a:extLst>
                </p:cNvPr>
                <p:cNvSpPr/>
                <p:nvPr/>
              </p:nvSpPr>
              <p:spPr>
                <a:xfrm>
                  <a:off x="5990601" y="5866616"/>
                  <a:ext cx="10960" cy="50944"/>
                </a:xfrm>
                <a:custGeom>
                  <a:avLst/>
                  <a:gdLst>
                    <a:gd name="connsiteX0" fmla="*/ 0 w 10960"/>
                    <a:gd name="connsiteY0" fmla="*/ 0 h 50944"/>
                    <a:gd name="connsiteX1" fmla="*/ 5605 w 10960"/>
                    <a:gd name="connsiteY1" fmla="*/ 17936 h 50944"/>
                    <a:gd name="connsiteX2" fmla="*/ 5605 w 10960"/>
                    <a:gd name="connsiteY2" fmla="*/ 35374 h 50944"/>
                    <a:gd name="connsiteX3" fmla="*/ 10961 w 1096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0" h="50944">
                      <a:moveTo>
                        <a:pt x="0" y="0"/>
                      </a:moveTo>
                      <a:cubicBezTo>
                        <a:pt x="3986" y="7349"/>
                        <a:pt x="5231" y="13577"/>
                        <a:pt x="5605" y="17936"/>
                      </a:cubicBezTo>
                      <a:cubicBezTo>
                        <a:pt x="6228" y="24912"/>
                        <a:pt x="4733" y="28274"/>
                        <a:pt x="5605" y="35374"/>
                      </a:cubicBezTo>
                      <a:cubicBezTo>
                        <a:pt x="6477" y="42225"/>
                        <a:pt x="8968" y="47581"/>
                        <a:pt x="1096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84" name="Freeform 4473">
                  <a:extLst>
                    <a:ext uri="{FF2B5EF4-FFF2-40B4-BE49-F238E27FC236}">
                      <a16:creationId xmlns:a16="http://schemas.microsoft.com/office/drawing/2014/main" id="{1198BA47-9B68-1DD7-480F-A95BBD2C2D17}"/>
                    </a:ext>
                  </a:extLst>
                </p:cNvPr>
                <p:cNvSpPr/>
                <p:nvPr/>
              </p:nvSpPr>
              <p:spPr>
                <a:xfrm>
                  <a:off x="5992188" y="5905736"/>
                  <a:ext cx="26465" cy="26514"/>
                </a:xfrm>
                <a:custGeom>
                  <a:avLst/>
                  <a:gdLst>
                    <a:gd name="connsiteX0" fmla="*/ 281 w 26465"/>
                    <a:gd name="connsiteY0" fmla="*/ 15811 h 26514"/>
                    <a:gd name="connsiteX1" fmla="*/ 10619 w 26465"/>
                    <a:gd name="connsiteY1" fmla="*/ 241 h 26514"/>
                    <a:gd name="connsiteX2" fmla="*/ 26189 w 26465"/>
                    <a:gd name="connsiteY2" fmla="*/ 10704 h 26514"/>
                    <a:gd name="connsiteX3" fmla="*/ 15851 w 26465"/>
                    <a:gd name="connsiteY3" fmla="*/ 26273 h 26514"/>
                    <a:gd name="connsiteX4" fmla="*/ 281 w 26465"/>
                    <a:gd name="connsiteY4" fmla="*/ 15811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5" h="26513">
                      <a:moveTo>
                        <a:pt x="281" y="15811"/>
                      </a:moveTo>
                      <a:cubicBezTo>
                        <a:pt x="-1213" y="8586"/>
                        <a:pt x="3395" y="1611"/>
                        <a:pt x="10619" y="241"/>
                      </a:cubicBezTo>
                      <a:cubicBezTo>
                        <a:pt x="17719" y="-1129"/>
                        <a:pt x="24694" y="3479"/>
                        <a:pt x="26189" y="10704"/>
                      </a:cubicBezTo>
                      <a:cubicBezTo>
                        <a:pt x="27684" y="17928"/>
                        <a:pt x="22951" y="24779"/>
                        <a:pt x="15851" y="26273"/>
                      </a:cubicBezTo>
                      <a:cubicBezTo>
                        <a:pt x="8626" y="27643"/>
                        <a:pt x="1651" y="23035"/>
                        <a:pt x="28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1" name="Graphic 2987">
                <a:extLst>
                  <a:ext uri="{FF2B5EF4-FFF2-40B4-BE49-F238E27FC236}">
                    <a16:creationId xmlns:a16="http://schemas.microsoft.com/office/drawing/2014/main" id="{C5CD621D-6F72-D304-5E8E-EFCF444F1C71}"/>
                  </a:ext>
                </a:extLst>
              </p:cNvPr>
              <p:cNvGrpSpPr/>
              <p:nvPr/>
            </p:nvGrpSpPr>
            <p:grpSpPr>
              <a:xfrm>
                <a:off x="5997051" y="5780057"/>
                <a:ext cx="50215" cy="146583"/>
                <a:chOff x="5997051" y="5780057"/>
                <a:chExt cx="50215" cy="146583"/>
              </a:xfrm>
              <a:grpFill/>
            </p:grpSpPr>
            <p:sp>
              <p:nvSpPr>
                <p:cNvPr id="4973" name="Freeform 4475">
                  <a:extLst>
                    <a:ext uri="{FF2B5EF4-FFF2-40B4-BE49-F238E27FC236}">
                      <a16:creationId xmlns:a16="http://schemas.microsoft.com/office/drawing/2014/main" id="{7C88C788-B7F1-3808-8FCA-DF29EBD58F2B}"/>
                    </a:ext>
                  </a:extLst>
                </p:cNvPr>
                <p:cNvSpPr/>
                <p:nvPr/>
              </p:nvSpPr>
              <p:spPr>
                <a:xfrm>
                  <a:off x="6007874" y="5800974"/>
                  <a:ext cx="10239" cy="51193"/>
                </a:xfrm>
                <a:custGeom>
                  <a:avLst/>
                  <a:gdLst>
                    <a:gd name="connsiteX0" fmla="*/ 290 w 10239"/>
                    <a:gd name="connsiteY0" fmla="*/ 0 h 51193"/>
                    <a:gd name="connsiteX1" fmla="*/ 2034 w 10239"/>
                    <a:gd name="connsiteY1" fmla="*/ 18684 h 51193"/>
                    <a:gd name="connsiteX2" fmla="*/ 8760 w 10239"/>
                    <a:gd name="connsiteY2" fmla="*/ 34752 h 51193"/>
                    <a:gd name="connsiteX3" fmla="*/ 9881 w 102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0"/>
                      </a:moveTo>
                      <a:cubicBezTo>
                        <a:pt x="-582" y="8346"/>
                        <a:pt x="664" y="14573"/>
                        <a:pt x="2034" y="18684"/>
                      </a:cubicBezTo>
                      <a:cubicBezTo>
                        <a:pt x="4151" y="25410"/>
                        <a:pt x="6892" y="27901"/>
                        <a:pt x="8760" y="34752"/>
                      </a:cubicBezTo>
                      <a:cubicBezTo>
                        <a:pt x="10628" y="41353"/>
                        <a:pt x="10379" y="47332"/>
                        <a:pt x="9881"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4" name="Freeform 4476">
                  <a:extLst>
                    <a:ext uri="{FF2B5EF4-FFF2-40B4-BE49-F238E27FC236}">
                      <a16:creationId xmlns:a16="http://schemas.microsoft.com/office/drawing/2014/main" id="{FF99F651-A240-481D-4F4F-BB830F75BCCB}"/>
                    </a:ext>
                  </a:extLst>
                </p:cNvPr>
                <p:cNvSpPr/>
                <p:nvPr/>
              </p:nvSpPr>
              <p:spPr>
                <a:xfrm>
                  <a:off x="6014018" y="5794622"/>
                  <a:ext cx="10961" cy="51068"/>
                </a:xfrm>
                <a:custGeom>
                  <a:avLst/>
                  <a:gdLst>
                    <a:gd name="connsiteX0" fmla="*/ 10961 w 10961"/>
                    <a:gd name="connsiteY0" fmla="*/ 51068 h 51068"/>
                    <a:gd name="connsiteX1" fmla="*/ 5356 w 10961"/>
                    <a:gd name="connsiteY1" fmla="*/ 33132 h 51068"/>
                    <a:gd name="connsiteX2" fmla="*/ 5356 w 10961"/>
                    <a:gd name="connsiteY2" fmla="*/ 15694 h 51068"/>
                    <a:gd name="connsiteX3" fmla="*/ 0 w 10961"/>
                    <a:gd name="connsiteY3" fmla="*/ 0 h 51068"/>
                  </a:gdLst>
                  <a:ahLst/>
                  <a:cxnLst>
                    <a:cxn ang="0">
                      <a:pos x="connsiteX0" y="connsiteY0"/>
                    </a:cxn>
                    <a:cxn ang="0">
                      <a:pos x="connsiteX1" y="connsiteY1"/>
                    </a:cxn>
                    <a:cxn ang="0">
                      <a:pos x="connsiteX2" y="connsiteY2"/>
                    </a:cxn>
                    <a:cxn ang="0">
                      <a:pos x="connsiteX3" y="connsiteY3"/>
                    </a:cxn>
                  </a:cxnLst>
                  <a:rect l="l" t="t" r="r" b="b"/>
                  <a:pathLst>
                    <a:path w="10961" h="51068">
                      <a:moveTo>
                        <a:pt x="10961" y="51068"/>
                      </a:moveTo>
                      <a:cubicBezTo>
                        <a:pt x="6976" y="43595"/>
                        <a:pt x="5730" y="37492"/>
                        <a:pt x="5356" y="33132"/>
                      </a:cubicBezTo>
                      <a:cubicBezTo>
                        <a:pt x="4733" y="26157"/>
                        <a:pt x="6228" y="22794"/>
                        <a:pt x="5356"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5" name="Freeform 4477">
                  <a:extLst>
                    <a:ext uri="{FF2B5EF4-FFF2-40B4-BE49-F238E27FC236}">
                      <a16:creationId xmlns:a16="http://schemas.microsoft.com/office/drawing/2014/main" id="{41C186D5-C381-6BBE-305A-DA38E8162FB0}"/>
                    </a:ext>
                  </a:extLst>
                </p:cNvPr>
                <p:cNvSpPr/>
                <p:nvPr/>
              </p:nvSpPr>
              <p:spPr>
                <a:xfrm>
                  <a:off x="5997051" y="5780057"/>
                  <a:ext cx="26673" cy="26514"/>
                </a:xfrm>
                <a:custGeom>
                  <a:avLst/>
                  <a:gdLst>
                    <a:gd name="connsiteX0" fmla="*/ 26433 w 26673"/>
                    <a:gd name="connsiteY0" fmla="*/ 10704 h 26514"/>
                    <a:gd name="connsiteX1" fmla="*/ 15970 w 26673"/>
                    <a:gd name="connsiteY1" fmla="*/ 26274 h 26514"/>
                    <a:gd name="connsiteX2" fmla="*/ 276 w 26673"/>
                    <a:gd name="connsiteY2" fmla="*/ 15810 h 26514"/>
                    <a:gd name="connsiteX3" fmla="*/ 10739 w 26673"/>
                    <a:gd name="connsiteY3" fmla="*/ 241 h 26514"/>
                    <a:gd name="connsiteX4" fmla="*/ 26433 w 26673"/>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 h="26513">
                      <a:moveTo>
                        <a:pt x="26433" y="10704"/>
                      </a:moveTo>
                      <a:cubicBezTo>
                        <a:pt x="27803" y="17928"/>
                        <a:pt x="23194" y="24903"/>
                        <a:pt x="15970" y="26274"/>
                      </a:cubicBezTo>
                      <a:cubicBezTo>
                        <a:pt x="8746" y="27644"/>
                        <a:pt x="1770" y="23035"/>
                        <a:pt x="276" y="15810"/>
                      </a:cubicBezTo>
                      <a:cubicBezTo>
                        <a:pt x="-1219" y="8586"/>
                        <a:pt x="3514" y="1611"/>
                        <a:pt x="10739" y="241"/>
                      </a:cubicBezTo>
                      <a:cubicBezTo>
                        <a:pt x="17963" y="-1129"/>
                        <a:pt x="24938" y="3479"/>
                        <a:pt x="2643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6" name="Freeform 4478">
                  <a:extLst>
                    <a:ext uri="{FF2B5EF4-FFF2-40B4-BE49-F238E27FC236}">
                      <a16:creationId xmlns:a16="http://schemas.microsoft.com/office/drawing/2014/main" id="{027CF0B6-02AF-B3C6-8D68-B7A792B8FDEB}"/>
                    </a:ext>
                  </a:extLst>
                </p:cNvPr>
                <p:cNvSpPr/>
                <p:nvPr/>
              </p:nvSpPr>
              <p:spPr>
                <a:xfrm>
                  <a:off x="6026613" y="5854534"/>
                  <a:ext cx="10115" cy="51193"/>
                </a:xfrm>
                <a:custGeom>
                  <a:avLst/>
                  <a:gdLst>
                    <a:gd name="connsiteX0" fmla="*/ 9825 w 10115"/>
                    <a:gd name="connsiteY0" fmla="*/ 51193 h 51193"/>
                    <a:gd name="connsiteX1" fmla="*/ 8081 w 10115"/>
                    <a:gd name="connsiteY1" fmla="*/ 32509 h 51193"/>
                    <a:gd name="connsiteX2" fmla="*/ 1480 w 10115"/>
                    <a:gd name="connsiteY2" fmla="*/ 16442 h 51193"/>
                    <a:gd name="connsiteX3" fmla="*/ 359 w 10115"/>
                    <a:gd name="connsiteY3" fmla="*/ 0 h 51193"/>
                  </a:gdLst>
                  <a:ahLst/>
                  <a:cxnLst>
                    <a:cxn ang="0">
                      <a:pos x="connsiteX0" y="connsiteY0"/>
                    </a:cxn>
                    <a:cxn ang="0">
                      <a:pos x="connsiteX1" y="connsiteY1"/>
                    </a:cxn>
                    <a:cxn ang="0">
                      <a:pos x="connsiteX2" y="connsiteY2"/>
                    </a:cxn>
                    <a:cxn ang="0">
                      <a:pos x="connsiteX3" y="connsiteY3"/>
                    </a:cxn>
                  </a:cxnLst>
                  <a:rect l="l" t="t" r="r" b="b"/>
                  <a:pathLst>
                    <a:path w="10115" h="51193">
                      <a:moveTo>
                        <a:pt x="9825" y="51193"/>
                      </a:moveTo>
                      <a:cubicBezTo>
                        <a:pt x="10697" y="42848"/>
                        <a:pt x="9452" y="36620"/>
                        <a:pt x="8081" y="32509"/>
                      </a:cubicBezTo>
                      <a:cubicBezTo>
                        <a:pt x="5964" y="25784"/>
                        <a:pt x="3348" y="23292"/>
                        <a:pt x="1480" y="16442"/>
                      </a:cubicBezTo>
                      <a:cubicBezTo>
                        <a:pt x="-389" y="9840"/>
                        <a:pt x="-140" y="3861"/>
                        <a:pt x="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7" name="Freeform 4479">
                  <a:extLst>
                    <a:ext uri="{FF2B5EF4-FFF2-40B4-BE49-F238E27FC236}">
                      <a16:creationId xmlns:a16="http://schemas.microsoft.com/office/drawing/2014/main" id="{9A10C294-5674-7E22-D906-DAFDF953B30F}"/>
                    </a:ext>
                  </a:extLst>
                </p:cNvPr>
                <p:cNvSpPr/>
                <p:nvPr/>
              </p:nvSpPr>
              <p:spPr>
                <a:xfrm>
                  <a:off x="6019623" y="5861011"/>
                  <a:ext cx="10961" cy="51068"/>
                </a:xfrm>
                <a:custGeom>
                  <a:avLst/>
                  <a:gdLst>
                    <a:gd name="connsiteX0" fmla="*/ 0 w 10961"/>
                    <a:gd name="connsiteY0" fmla="*/ 0 h 51068"/>
                    <a:gd name="connsiteX1" fmla="*/ 5605 w 10961"/>
                    <a:gd name="connsiteY1" fmla="*/ 17936 h 51068"/>
                    <a:gd name="connsiteX2" fmla="*/ 5605 w 10961"/>
                    <a:gd name="connsiteY2" fmla="*/ 35374 h 51068"/>
                    <a:gd name="connsiteX3" fmla="*/ 10961 w 10961"/>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1" h="51068">
                      <a:moveTo>
                        <a:pt x="0" y="0"/>
                      </a:moveTo>
                      <a:cubicBezTo>
                        <a:pt x="3986" y="7474"/>
                        <a:pt x="5232" y="13577"/>
                        <a:pt x="5605" y="17936"/>
                      </a:cubicBezTo>
                      <a:cubicBezTo>
                        <a:pt x="6228" y="24912"/>
                        <a:pt x="4733" y="28274"/>
                        <a:pt x="5605" y="35374"/>
                      </a:cubicBezTo>
                      <a:cubicBezTo>
                        <a:pt x="6477" y="42225"/>
                        <a:pt x="8968" y="47581"/>
                        <a:pt x="10961"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8" name="Freeform 4480">
                  <a:extLst>
                    <a:ext uri="{FF2B5EF4-FFF2-40B4-BE49-F238E27FC236}">
                      <a16:creationId xmlns:a16="http://schemas.microsoft.com/office/drawing/2014/main" id="{1AAEA835-8B27-3567-31BD-548A2EA060FB}"/>
                    </a:ext>
                  </a:extLst>
                </p:cNvPr>
                <p:cNvSpPr/>
                <p:nvPr/>
              </p:nvSpPr>
              <p:spPr>
                <a:xfrm>
                  <a:off x="6020966" y="5900130"/>
                  <a:ext cx="26300" cy="26509"/>
                </a:xfrm>
                <a:custGeom>
                  <a:avLst/>
                  <a:gdLst>
                    <a:gd name="connsiteX0" fmla="*/ 276 w 26300"/>
                    <a:gd name="connsiteY0" fmla="*/ 15810 h 26509"/>
                    <a:gd name="connsiteX1" fmla="*/ 10614 w 26300"/>
                    <a:gd name="connsiteY1" fmla="*/ 241 h 26509"/>
                    <a:gd name="connsiteX2" fmla="*/ 26060 w 26300"/>
                    <a:gd name="connsiteY2" fmla="*/ 10704 h 26509"/>
                    <a:gd name="connsiteX3" fmla="*/ 15721 w 26300"/>
                    <a:gd name="connsiteY3" fmla="*/ 26273 h 26509"/>
                    <a:gd name="connsiteX4" fmla="*/ 276 w 26300"/>
                    <a:gd name="connsiteY4" fmla="*/ 15810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0" h="26509">
                      <a:moveTo>
                        <a:pt x="276" y="15810"/>
                      </a:moveTo>
                      <a:cubicBezTo>
                        <a:pt x="-1219" y="8586"/>
                        <a:pt x="3515" y="1735"/>
                        <a:pt x="10614" y="241"/>
                      </a:cubicBezTo>
                      <a:cubicBezTo>
                        <a:pt x="17714" y="-1129"/>
                        <a:pt x="24689" y="3479"/>
                        <a:pt x="26060" y="10704"/>
                      </a:cubicBezTo>
                      <a:cubicBezTo>
                        <a:pt x="27430" y="17928"/>
                        <a:pt x="22821" y="24779"/>
                        <a:pt x="15721" y="26273"/>
                      </a:cubicBezTo>
                      <a:cubicBezTo>
                        <a:pt x="8746" y="27644"/>
                        <a:pt x="1771" y="22910"/>
                        <a:pt x="276" y="15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2" name="Graphic 2987">
                <a:extLst>
                  <a:ext uri="{FF2B5EF4-FFF2-40B4-BE49-F238E27FC236}">
                    <a16:creationId xmlns:a16="http://schemas.microsoft.com/office/drawing/2014/main" id="{7BF035E9-D0FD-436E-621F-B2F6AEF19E44}"/>
                  </a:ext>
                </a:extLst>
              </p:cNvPr>
              <p:cNvGrpSpPr/>
              <p:nvPr/>
            </p:nvGrpSpPr>
            <p:grpSpPr>
              <a:xfrm>
                <a:off x="6026357" y="5774332"/>
                <a:ext cx="49806" cy="146618"/>
                <a:chOff x="6026357" y="5774332"/>
                <a:chExt cx="49806" cy="146618"/>
              </a:xfrm>
              <a:grpFill/>
            </p:grpSpPr>
            <p:sp>
              <p:nvSpPr>
                <p:cNvPr id="4967" name="Freeform 4482">
                  <a:extLst>
                    <a:ext uri="{FF2B5EF4-FFF2-40B4-BE49-F238E27FC236}">
                      <a16:creationId xmlns:a16="http://schemas.microsoft.com/office/drawing/2014/main" id="{6832F191-7C58-1A0E-399E-7774FD944819}"/>
                    </a:ext>
                  </a:extLst>
                </p:cNvPr>
                <p:cNvSpPr/>
                <p:nvPr/>
              </p:nvSpPr>
              <p:spPr>
                <a:xfrm>
                  <a:off x="6037019" y="5795244"/>
                  <a:ext cx="9913" cy="51193"/>
                </a:xfrm>
                <a:custGeom>
                  <a:avLst/>
                  <a:gdLst>
                    <a:gd name="connsiteX0" fmla="*/ 291 w 9913"/>
                    <a:gd name="connsiteY0" fmla="*/ 0 h 51193"/>
                    <a:gd name="connsiteX1" fmla="*/ 1910 w 9913"/>
                    <a:gd name="connsiteY1" fmla="*/ 18684 h 51193"/>
                    <a:gd name="connsiteX2" fmla="*/ 8512 w 9913"/>
                    <a:gd name="connsiteY2" fmla="*/ 34752 h 51193"/>
                    <a:gd name="connsiteX3" fmla="*/ 9509 w 99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913" h="51193">
                      <a:moveTo>
                        <a:pt x="291" y="0"/>
                      </a:moveTo>
                      <a:cubicBezTo>
                        <a:pt x="-581" y="8346"/>
                        <a:pt x="665" y="14573"/>
                        <a:pt x="1910" y="18684"/>
                      </a:cubicBezTo>
                      <a:cubicBezTo>
                        <a:pt x="4028" y="25410"/>
                        <a:pt x="6644" y="27901"/>
                        <a:pt x="8512" y="34752"/>
                      </a:cubicBezTo>
                      <a:cubicBezTo>
                        <a:pt x="10381" y="41478"/>
                        <a:pt x="10007" y="47332"/>
                        <a:pt x="950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8" name="Freeform 4483">
                  <a:extLst>
                    <a:ext uri="{FF2B5EF4-FFF2-40B4-BE49-F238E27FC236}">
                      <a16:creationId xmlns:a16="http://schemas.microsoft.com/office/drawing/2014/main" id="{D2E8DB54-4DCB-0101-39E7-F8F6DF122C29}"/>
                    </a:ext>
                  </a:extLst>
                </p:cNvPr>
                <p:cNvSpPr/>
                <p:nvPr/>
              </p:nvSpPr>
              <p:spPr>
                <a:xfrm>
                  <a:off x="6043413" y="5788892"/>
                  <a:ext cx="10587" cy="51068"/>
                </a:xfrm>
                <a:custGeom>
                  <a:avLst/>
                  <a:gdLst>
                    <a:gd name="connsiteX0" fmla="*/ 10587 w 10587"/>
                    <a:gd name="connsiteY0" fmla="*/ 51069 h 51068"/>
                    <a:gd name="connsiteX1" fmla="*/ 5107 w 10587"/>
                    <a:gd name="connsiteY1" fmla="*/ 33132 h 51068"/>
                    <a:gd name="connsiteX2" fmla="*/ 5231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356" y="37367"/>
                        <a:pt x="5107" y="33132"/>
                      </a:cubicBezTo>
                      <a:cubicBezTo>
                        <a:pt x="4484" y="26157"/>
                        <a:pt x="6103" y="22794"/>
                        <a:pt x="5231"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9" name="Freeform 4484">
                  <a:extLst>
                    <a:ext uri="{FF2B5EF4-FFF2-40B4-BE49-F238E27FC236}">
                      <a16:creationId xmlns:a16="http://schemas.microsoft.com/office/drawing/2014/main" id="{24E245C5-3B6B-FF4E-C9B4-469E357C49FD}"/>
                    </a:ext>
                  </a:extLst>
                </p:cNvPr>
                <p:cNvSpPr/>
                <p:nvPr/>
              </p:nvSpPr>
              <p:spPr>
                <a:xfrm>
                  <a:off x="6026357" y="5774332"/>
                  <a:ext cx="26509" cy="26509"/>
                </a:xfrm>
                <a:custGeom>
                  <a:avLst/>
                  <a:gdLst>
                    <a:gd name="connsiteX0" fmla="*/ 26273 w 26509"/>
                    <a:gd name="connsiteY0" fmla="*/ 10699 h 26509"/>
                    <a:gd name="connsiteX1" fmla="*/ 15810 w 26509"/>
                    <a:gd name="connsiteY1" fmla="*/ 26269 h 26509"/>
                    <a:gd name="connsiteX2" fmla="*/ 241 w 26509"/>
                    <a:gd name="connsiteY2" fmla="*/ 15806 h 26509"/>
                    <a:gd name="connsiteX3" fmla="*/ 10704 w 26509"/>
                    <a:gd name="connsiteY3" fmla="*/ 236 h 26509"/>
                    <a:gd name="connsiteX4" fmla="*/ 26273 w 26509"/>
                    <a:gd name="connsiteY4" fmla="*/ 10699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09" h="26509">
                      <a:moveTo>
                        <a:pt x="26273" y="10699"/>
                      </a:moveTo>
                      <a:cubicBezTo>
                        <a:pt x="27644" y="17924"/>
                        <a:pt x="22910" y="24899"/>
                        <a:pt x="15810" y="26269"/>
                      </a:cubicBezTo>
                      <a:cubicBezTo>
                        <a:pt x="8586" y="27639"/>
                        <a:pt x="1611" y="23030"/>
                        <a:pt x="241" y="15806"/>
                      </a:cubicBezTo>
                      <a:cubicBezTo>
                        <a:pt x="-1129" y="8582"/>
                        <a:pt x="3479" y="1607"/>
                        <a:pt x="10704" y="236"/>
                      </a:cubicBezTo>
                      <a:cubicBezTo>
                        <a:pt x="17928" y="-1134"/>
                        <a:pt x="24903" y="3600"/>
                        <a:pt x="26273" y="106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0" name="Freeform 4485">
                  <a:extLst>
                    <a:ext uri="{FF2B5EF4-FFF2-40B4-BE49-F238E27FC236}">
                      <a16:creationId xmlns:a16="http://schemas.microsoft.com/office/drawing/2014/main" id="{BD2B9619-F3AA-AC89-1E3B-EFC31CEB8BDF}"/>
                    </a:ext>
                  </a:extLst>
                </p:cNvPr>
                <p:cNvSpPr/>
                <p:nvPr/>
              </p:nvSpPr>
              <p:spPr>
                <a:xfrm>
                  <a:off x="6055751" y="5848929"/>
                  <a:ext cx="9875" cy="51193"/>
                </a:xfrm>
                <a:custGeom>
                  <a:avLst/>
                  <a:gdLst>
                    <a:gd name="connsiteX0" fmla="*/ 9584 w 9875"/>
                    <a:gd name="connsiteY0" fmla="*/ 51193 h 51193"/>
                    <a:gd name="connsiteX1" fmla="*/ 7965 w 9875"/>
                    <a:gd name="connsiteY1" fmla="*/ 32510 h 51193"/>
                    <a:gd name="connsiteX2" fmla="*/ 1364 w 9875"/>
                    <a:gd name="connsiteY2" fmla="*/ 16442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8"/>
                        <a:pt x="9211" y="36620"/>
                        <a:pt x="7965" y="32510"/>
                      </a:cubicBezTo>
                      <a:cubicBezTo>
                        <a:pt x="5847" y="25784"/>
                        <a:pt x="3232" y="23292"/>
                        <a:pt x="1364" y="16442"/>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1" name="Freeform 4486">
                  <a:extLst>
                    <a:ext uri="{FF2B5EF4-FFF2-40B4-BE49-F238E27FC236}">
                      <a16:creationId xmlns:a16="http://schemas.microsoft.com/office/drawing/2014/main" id="{27B14F62-3902-E7F9-056D-A3CB17134BCB}"/>
                    </a:ext>
                  </a:extLst>
                </p:cNvPr>
                <p:cNvSpPr/>
                <p:nvPr/>
              </p:nvSpPr>
              <p:spPr>
                <a:xfrm>
                  <a:off x="6048645" y="5855406"/>
                  <a:ext cx="10712" cy="51068"/>
                </a:xfrm>
                <a:custGeom>
                  <a:avLst/>
                  <a:gdLst>
                    <a:gd name="connsiteX0" fmla="*/ 0 w 10712"/>
                    <a:gd name="connsiteY0" fmla="*/ 0 h 51068"/>
                    <a:gd name="connsiteX1" fmla="*/ 5481 w 10712"/>
                    <a:gd name="connsiteY1" fmla="*/ 17936 h 51068"/>
                    <a:gd name="connsiteX2" fmla="*/ 5481 w 10712"/>
                    <a:gd name="connsiteY2" fmla="*/ 35374 h 51068"/>
                    <a:gd name="connsiteX3" fmla="*/ 10712 w 10712"/>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712" h="51068">
                      <a:moveTo>
                        <a:pt x="0" y="0"/>
                      </a:moveTo>
                      <a:cubicBezTo>
                        <a:pt x="3986" y="7473"/>
                        <a:pt x="5232" y="13701"/>
                        <a:pt x="5481" y="17936"/>
                      </a:cubicBezTo>
                      <a:cubicBezTo>
                        <a:pt x="6104" y="24912"/>
                        <a:pt x="4609" y="28274"/>
                        <a:pt x="5481" y="35374"/>
                      </a:cubicBezTo>
                      <a:cubicBezTo>
                        <a:pt x="6353" y="42225"/>
                        <a:pt x="8844" y="47581"/>
                        <a:pt x="1071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72" name="Freeform 4487">
                  <a:extLst>
                    <a:ext uri="{FF2B5EF4-FFF2-40B4-BE49-F238E27FC236}">
                      <a16:creationId xmlns:a16="http://schemas.microsoft.com/office/drawing/2014/main" id="{C58A7539-96F0-F3BE-F7CC-CC7FEAAAFD90}"/>
                    </a:ext>
                  </a:extLst>
                </p:cNvPr>
                <p:cNvSpPr/>
                <p:nvPr/>
              </p:nvSpPr>
              <p:spPr>
                <a:xfrm>
                  <a:off x="6049899" y="5894401"/>
                  <a:ext cx="26265" cy="26549"/>
                </a:xfrm>
                <a:custGeom>
                  <a:avLst/>
                  <a:gdLst>
                    <a:gd name="connsiteX0" fmla="*/ 241 w 26265"/>
                    <a:gd name="connsiteY0" fmla="*/ 15811 h 26549"/>
                    <a:gd name="connsiteX1" fmla="*/ 10579 w 26265"/>
                    <a:gd name="connsiteY1" fmla="*/ 241 h 26549"/>
                    <a:gd name="connsiteX2" fmla="*/ 26024 w 26265"/>
                    <a:gd name="connsiteY2" fmla="*/ 10704 h 26549"/>
                    <a:gd name="connsiteX3" fmla="*/ 15686 w 26265"/>
                    <a:gd name="connsiteY3" fmla="*/ 26273 h 26549"/>
                    <a:gd name="connsiteX4" fmla="*/ 241 w 26265"/>
                    <a:gd name="connsiteY4" fmla="*/ 15811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49">
                      <a:moveTo>
                        <a:pt x="241" y="15811"/>
                      </a:moveTo>
                      <a:cubicBezTo>
                        <a:pt x="-1129" y="8586"/>
                        <a:pt x="3479" y="1736"/>
                        <a:pt x="10579" y="241"/>
                      </a:cubicBezTo>
                      <a:cubicBezTo>
                        <a:pt x="17679" y="-1129"/>
                        <a:pt x="24654" y="3479"/>
                        <a:pt x="26024" y="10704"/>
                      </a:cubicBezTo>
                      <a:cubicBezTo>
                        <a:pt x="27395" y="17928"/>
                        <a:pt x="22786" y="24903"/>
                        <a:pt x="15686" y="26273"/>
                      </a:cubicBezTo>
                      <a:cubicBezTo>
                        <a:pt x="8586" y="27768"/>
                        <a:pt x="1736" y="23035"/>
                        <a:pt x="241" y="158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3" name="Graphic 2987">
                <a:extLst>
                  <a:ext uri="{FF2B5EF4-FFF2-40B4-BE49-F238E27FC236}">
                    <a16:creationId xmlns:a16="http://schemas.microsoft.com/office/drawing/2014/main" id="{AB093147-6E3D-0C97-19D9-9409ACE72055}"/>
                  </a:ext>
                </a:extLst>
              </p:cNvPr>
              <p:cNvGrpSpPr/>
              <p:nvPr/>
            </p:nvGrpSpPr>
            <p:grpSpPr>
              <a:xfrm>
                <a:off x="6055509" y="5768722"/>
                <a:ext cx="49677" cy="146622"/>
                <a:chOff x="6055509" y="5768722"/>
                <a:chExt cx="49677" cy="146622"/>
              </a:xfrm>
              <a:grpFill/>
            </p:grpSpPr>
            <p:sp>
              <p:nvSpPr>
                <p:cNvPr id="4961" name="Freeform 4489">
                  <a:extLst>
                    <a:ext uri="{FF2B5EF4-FFF2-40B4-BE49-F238E27FC236}">
                      <a16:creationId xmlns:a16="http://schemas.microsoft.com/office/drawing/2014/main" id="{BEC50D9B-0176-D0A7-7877-2F84A89AB4D8}"/>
                    </a:ext>
                  </a:extLst>
                </p:cNvPr>
                <p:cNvSpPr/>
                <p:nvPr/>
              </p:nvSpPr>
              <p:spPr>
                <a:xfrm>
                  <a:off x="6066274" y="5789515"/>
                  <a:ext cx="9891" cy="51193"/>
                </a:xfrm>
                <a:custGeom>
                  <a:avLst/>
                  <a:gdLst>
                    <a:gd name="connsiteX0" fmla="*/ 307 w 9891"/>
                    <a:gd name="connsiteY0" fmla="*/ 0 h 51193"/>
                    <a:gd name="connsiteX1" fmla="*/ 1927 w 9891"/>
                    <a:gd name="connsiteY1" fmla="*/ 18684 h 51193"/>
                    <a:gd name="connsiteX2" fmla="*/ 8528 w 9891"/>
                    <a:gd name="connsiteY2" fmla="*/ 34752 h 51193"/>
                    <a:gd name="connsiteX3" fmla="*/ 9525 w 9891"/>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91" h="51193">
                      <a:moveTo>
                        <a:pt x="307" y="0"/>
                      </a:moveTo>
                      <a:cubicBezTo>
                        <a:pt x="-564" y="8345"/>
                        <a:pt x="557" y="14573"/>
                        <a:pt x="1927" y="18684"/>
                      </a:cubicBezTo>
                      <a:cubicBezTo>
                        <a:pt x="4044" y="25410"/>
                        <a:pt x="6660" y="27901"/>
                        <a:pt x="8528" y="34752"/>
                      </a:cubicBezTo>
                      <a:cubicBezTo>
                        <a:pt x="10272" y="41478"/>
                        <a:pt x="10023" y="47332"/>
                        <a:pt x="952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2" name="Freeform 4490">
                  <a:extLst>
                    <a:ext uri="{FF2B5EF4-FFF2-40B4-BE49-F238E27FC236}">
                      <a16:creationId xmlns:a16="http://schemas.microsoft.com/office/drawing/2014/main" id="{B96A6583-206C-BC95-488E-980EBDE35F76}"/>
                    </a:ext>
                  </a:extLst>
                </p:cNvPr>
                <p:cNvSpPr/>
                <p:nvPr/>
              </p:nvSpPr>
              <p:spPr>
                <a:xfrm>
                  <a:off x="6072435" y="5783287"/>
                  <a:ext cx="10587" cy="51068"/>
                </a:xfrm>
                <a:custGeom>
                  <a:avLst/>
                  <a:gdLst>
                    <a:gd name="connsiteX0" fmla="*/ 10587 w 10587"/>
                    <a:gd name="connsiteY0" fmla="*/ 51069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9"/>
                      </a:moveTo>
                      <a:cubicBezTo>
                        <a:pt x="6602" y="43595"/>
                        <a:pt x="5481" y="37367"/>
                        <a:pt x="5107" y="33132"/>
                      </a:cubicBezTo>
                      <a:cubicBezTo>
                        <a:pt x="4609" y="26157"/>
                        <a:pt x="6104" y="22794"/>
                        <a:pt x="5232"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3" name="Freeform 4491">
                  <a:extLst>
                    <a:ext uri="{FF2B5EF4-FFF2-40B4-BE49-F238E27FC236}">
                      <a16:creationId xmlns:a16="http://schemas.microsoft.com/office/drawing/2014/main" id="{2289F681-7EA6-C3FA-FE2E-03D6258D94D1}"/>
                    </a:ext>
                  </a:extLst>
                </p:cNvPr>
                <p:cNvSpPr/>
                <p:nvPr/>
              </p:nvSpPr>
              <p:spPr>
                <a:xfrm>
                  <a:off x="6055509" y="5768722"/>
                  <a:ext cx="26629" cy="26514"/>
                </a:xfrm>
                <a:custGeom>
                  <a:avLst/>
                  <a:gdLst>
                    <a:gd name="connsiteX0" fmla="*/ 26393 w 26629"/>
                    <a:gd name="connsiteY0" fmla="*/ 10704 h 26514"/>
                    <a:gd name="connsiteX1" fmla="*/ 15806 w 26629"/>
                    <a:gd name="connsiteY1" fmla="*/ 26273 h 26514"/>
                    <a:gd name="connsiteX2" fmla="*/ 236 w 26629"/>
                    <a:gd name="connsiteY2" fmla="*/ 15811 h 26514"/>
                    <a:gd name="connsiteX3" fmla="*/ 10823 w 26629"/>
                    <a:gd name="connsiteY3" fmla="*/ 241 h 26514"/>
                    <a:gd name="connsiteX4" fmla="*/ 26393 w 26629"/>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13">
                      <a:moveTo>
                        <a:pt x="26393" y="10704"/>
                      </a:moveTo>
                      <a:cubicBezTo>
                        <a:pt x="27764" y="17928"/>
                        <a:pt x="23030" y="24903"/>
                        <a:pt x="15806" y="26273"/>
                      </a:cubicBezTo>
                      <a:cubicBezTo>
                        <a:pt x="8582" y="27643"/>
                        <a:pt x="1606" y="23035"/>
                        <a:pt x="236" y="15811"/>
                      </a:cubicBezTo>
                      <a:cubicBezTo>
                        <a:pt x="-1134" y="8586"/>
                        <a:pt x="3599" y="1611"/>
                        <a:pt x="10823" y="241"/>
                      </a:cubicBezTo>
                      <a:cubicBezTo>
                        <a:pt x="18048" y="-1129"/>
                        <a:pt x="25023" y="3479"/>
                        <a:pt x="26393"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4" name="Freeform 4492">
                  <a:extLst>
                    <a:ext uri="{FF2B5EF4-FFF2-40B4-BE49-F238E27FC236}">
                      <a16:creationId xmlns:a16="http://schemas.microsoft.com/office/drawing/2014/main" id="{76C9FF2E-DF17-C740-B92E-546D810A9EA8}"/>
                    </a:ext>
                  </a:extLst>
                </p:cNvPr>
                <p:cNvSpPr/>
                <p:nvPr/>
              </p:nvSpPr>
              <p:spPr>
                <a:xfrm>
                  <a:off x="6084649" y="5843324"/>
                  <a:ext cx="9875" cy="51193"/>
                </a:xfrm>
                <a:custGeom>
                  <a:avLst/>
                  <a:gdLst>
                    <a:gd name="connsiteX0" fmla="*/ 9584 w 9875"/>
                    <a:gd name="connsiteY0" fmla="*/ 51193 h 51193"/>
                    <a:gd name="connsiteX1" fmla="*/ 7965 w 9875"/>
                    <a:gd name="connsiteY1" fmla="*/ 32509 h 51193"/>
                    <a:gd name="connsiteX2" fmla="*/ 1363 w 9875"/>
                    <a:gd name="connsiteY2" fmla="*/ 16441 h 51193"/>
                    <a:gd name="connsiteX3" fmla="*/ 367 w 9875"/>
                    <a:gd name="connsiteY3" fmla="*/ 0 h 51193"/>
                  </a:gdLst>
                  <a:ahLst/>
                  <a:cxnLst>
                    <a:cxn ang="0">
                      <a:pos x="connsiteX0" y="connsiteY0"/>
                    </a:cxn>
                    <a:cxn ang="0">
                      <a:pos x="connsiteX1" y="connsiteY1"/>
                    </a:cxn>
                    <a:cxn ang="0">
                      <a:pos x="connsiteX2" y="connsiteY2"/>
                    </a:cxn>
                    <a:cxn ang="0">
                      <a:pos x="connsiteX3" y="connsiteY3"/>
                    </a:cxn>
                  </a:cxnLst>
                  <a:rect l="l" t="t" r="r" b="b"/>
                  <a:pathLst>
                    <a:path w="9875" h="51193">
                      <a:moveTo>
                        <a:pt x="9584" y="51193"/>
                      </a:moveTo>
                      <a:cubicBezTo>
                        <a:pt x="10456" y="42847"/>
                        <a:pt x="9211" y="36620"/>
                        <a:pt x="7965" y="32509"/>
                      </a:cubicBezTo>
                      <a:cubicBezTo>
                        <a:pt x="5848" y="25783"/>
                        <a:pt x="3232" y="23292"/>
                        <a:pt x="1363"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5" name="Freeform 4493">
                  <a:extLst>
                    <a:ext uri="{FF2B5EF4-FFF2-40B4-BE49-F238E27FC236}">
                      <a16:creationId xmlns:a16="http://schemas.microsoft.com/office/drawing/2014/main" id="{C4057B4B-5A14-B3A2-848B-829F5CB8CB42}"/>
                    </a:ext>
                  </a:extLst>
                </p:cNvPr>
                <p:cNvSpPr/>
                <p:nvPr/>
              </p:nvSpPr>
              <p:spPr>
                <a:xfrm>
                  <a:off x="6077667" y="5849676"/>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4"/>
                        <a:pt x="5107" y="13701"/>
                        <a:pt x="5481" y="17936"/>
                      </a:cubicBezTo>
                      <a:cubicBezTo>
                        <a:pt x="5979" y="24912"/>
                        <a:pt x="4484" y="28275"/>
                        <a:pt x="5356" y="35374"/>
                      </a:cubicBezTo>
                      <a:cubicBezTo>
                        <a:pt x="6228" y="42225"/>
                        <a:pt x="8595" y="47581"/>
                        <a:pt x="10587"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6" name="Freeform 4494">
                  <a:extLst>
                    <a:ext uri="{FF2B5EF4-FFF2-40B4-BE49-F238E27FC236}">
                      <a16:creationId xmlns:a16="http://schemas.microsoft.com/office/drawing/2014/main" id="{CA1B270B-0075-2C28-01CA-6BAA9956CF14}"/>
                    </a:ext>
                  </a:extLst>
                </p:cNvPr>
                <p:cNvSpPr/>
                <p:nvPr/>
              </p:nvSpPr>
              <p:spPr>
                <a:xfrm>
                  <a:off x="6078796" y="5888800"/>
                  <a:ext cx="26389" cy="26544"/>
                </a:xfrm>
                <a:custGeom>
                  <a:avLst/>
                  <a:gdLst>
                    <a:gd name="connsiteX0" fmla="*/ 241 w 26389"/>
                    <a:gd name="connsiteY0" fmla="*/ 15806 h 26544"/>
                    <a:gd name="connsiteX1" fmla="*/ 10704 w 26389"/>
                    <a:gd name="connsiteY1" fmla="*/ 236 h 26544"/>
                    <a:gd name="connsiteX2" fmla="*/ 26149 w 26389"/>
                    <a:gd name="connsiteY2" fmla="*/ 10699 h 26544"/>
                    <a:gd name="connsiteX3" fmla="*/ 15686 w 26389"/>
                    <a:gd name="connsiteY3" fmla="*/ 26269 h 26544"/>
                    <a:gd name="connsiteX4" fmla="*/ 241 w 26389"/>
                    <a:gd name="connsiteY4" fmla="*/ 15806 h 2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8" h="26544">
                      <a:moveTo>
                        <a:pt x="241" y="15806"/>
                      </a:moveTo>
                      <a:cubicBezTo>
                        <a:pt x="-1129" y="8582"/>
                        <a:pt x="3479" y="1607"/>
                        <a:pt x="10704" y="236"/>
                      </a:cubicBezTo>
                      <a:cubicBezTo>
                        <a:pt x="17803" y="-1134"/>
                        <a:pt x="24779" y="3599"/>
                        <a:pt x="26149" y="10699"/>
                      </a:cubicBezTo>
                      <a:cubicBezTo>
                        <a:pt x="27519" y="17924"/>
                        <a:pt x="22910" y="24899"/>
                        <a:pt x="15686" y="26269"/>
                      </a:cubicBezTo>
                      <a:cubicBezTo>
                        <a:pt x="8586" y="27763"/>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4" name="Graphic 2987">
                <a:extLst>
                  <a:ext uri="{FF2B5EF4-FFF2-40B4-BE49-F238E27FC236}">
                    <a16:creationId xmlns:a16="http://schemas.microsoft.com/office/drawing/2014/main" id="{F0A8ED0B-AAD4-0E26-6F2F-48F8BE641D1D}"/>
                  </a:ext>
                </a:extLst>
              </p:cNvPr>
              <p:cNvGrpSpPr/>
              <p:nvPr/>
            </p:nvGrpSpPr>
            <p:grpSpPr>
              <a:xfrm>
                <a:off x="6084655" y="5762957"/>
                <a:ext cx="49423" cy="146747"/>
                <a:chOff x="6084655" y="5762957"/>
                <a:chExt cx="49423" cy="146747"/>
              </a:xfrm>
              <a:grpFill/>
            </p:grpSpPr>
            <p:sp>
              <p:nvSpPr>
                <p:cNvPr id="4955" name="Freeform 4496">
                  <a:extLst>
                    <a:ext uri="{FF2B5EF4-FFF2-40B4-BE49-F238E27FC236}">
                      <a16:creationId xmlns:a16="http://schemas.microsoft.com/office/drawing/2014/main" id="{1E2903AA-83DE-4838-9517-5481B410D996}"/>
                    </a:ext>
                  </a:extLst>
                </p:cNvPr>
                <p:cNvSpPr/>
                <p:nvPr/>
              </p:nvSpPr>
              <p:spPr>
                <a:xfrm>
                  <a:off x="6095368" y="5783910"/>
                  <a:ext cx="9944" cy="51317"/>
                </a:xfrm>
                <a:custGeom>
                  <a:avLst/>
                  <a:gdLst>
                    <a:gd name="connsiteX0" fmla="*/ 360 w 9944"/>
                    <a:gd name="connsiteY0" fmla="*/ 0 h 51317"/>
                    <a:gd name="connsiteX1" fmla="*/ 1979 w 9944"/>
                    <a:gd name="connsiteY1" fmla="*/ 18808 h 51317"/>
                    <a:gd name="connsiteX2" fmla="*/ 8581 w 9944"/>
                    <a:gd name="connsiteY2" fmla="*/ 34876 h 51317"/>
                    <a:gd name="connsiteX3" fmla="*/ 9577 w 9944"/>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944" h="51317">
                      <a:moveTo>
                        <a:pt x="360" y="0"/>
                      </a:moveTo>
                      <a:cubicBezTo>
                        <a:pt x="-636" y="8346"/>
                        <a:pt x="609" y="14573"/>
                        <a:pt x="1979" y="18808"/>
                      </a:cubicBezTo>
                      <a:cubicBezTo>
                        <a:pt x="4097" y="25535"/>
                        <a:pt x="6712" y="28025"/>
                        <a:pt x="8581" y="34876"/>
                      </a:cubicBezTo>
                      <a:cubicBezTo>
                        <a:pt x="10325" y="41602"/>
                        <a:pt x="10076" y="47456"/>
                        <a:pt x="957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6" name="Freeform 4497">
                  <a:extLst>
                    <a:ext uri="{FF2B5EF4-FFF2-40B4-BE49-F238E27FC236}">
                      <a16:creationId xmlns:a16="http://schemas.microsoft.com/office/drawing/2014/main" id="{B6F532CA-6D61-DDE8-C490-1275FBB2CAE3}"/>
                    </a:ext>
                  </a:extLst>
                </p:cNvPr>
                <p:cNvSpPr/>
                <p:nvPr/>
              </p:nvSpPr>
              <p:spPr>
                <a:xfrm>
                  <a:off x="6101582" y="5777557"/>
                  <a:ext cx="10587" cy="51068"/>
                </a:xfrm>
                <a:custGeom>
                  <a:avLst/>
                  <a:gdLst>
                    <a:gd name="connsiteX0" fmla="*/ 10587 w 10587"/>
                    <a:gd name="connsiteY0" fmla="*/ 51068 h 51068"/>
                    <a:gd name="connsiteX1" fmla="*/ 5107 w 10587"/>
                    <a:gd name="connsiteY1" fmla="*/ 33132 h 51068"/>
                    <a:gd name="connsiteX2" fmla="*/ 5232 w 10587"/>
                    <a:gd name="connsiteY2" fmla="*/ 15694 h 51068"/>
                    <a:gd name="connsiteX3" fmla="*/ 0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10587" y="51068"/>
                      </a:moveTo>
                      <a:cubicBezTo>
                        <a:pt x="6602" y="43595"/>
                        <a:pt x="5481" y="37367"/>
                        <a:pt x="5107" y="33132"/>
                      </a:cubicBezTo>
                      <a:cubicBezTo>
                        <a:pt x="4609" y="26157"/>
                        <a:pt x="6104" y="22794"/>
                        <a:pt x="5232" y="15694"/>
                      </a:cubicBezTo>
                      <a:cubicBezTo>
                        <a:pt x="4484"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7" name="Freeform 4498">
                  <a:extLst>
                    <a:ext uri="{FF2B5EF4-FFF2-40B4-BE49-F238E27FC236}">
                      <a16:creationId xmlns:a16="http://schemas.microsoft.com/office/drawing/2014/main" id="{BB48E4EF-E6AC-D05A-01AE-5AEAAA672BD6}"/>
                    </a:ext>
                  </a:extLst>
                </p:cNvPr>
                <p:cNvSpPr/>
                <p:nvPr/>
              </p:nvSpPr>
              <p:spPr>
                <a:xfrm>
                  <a:off x="6084655" y="5762957"/>
                  <a:ext cx="26629" cy="26549"/>
                </a:xfrm>
                <a:custGeom>
                  <a:avLst/>
                  <a:gdLst>
                    <a:gd name="connsiteX0" fmla="*/ 26393 w 26629"/>
                    <a:gd name="connsiteY0" fmla="*/ 10739 h 26549"/>
                    <a:gd name="connsiteX1" fmla="*/ 15806 w 26629"/>
                    <a:gd name="connsiteY1" fmla="*/ 26308 h 26549"/>
                    <a:gd name="connsiteX2" fmla="*/ 236 w 26629"/>
                    <a:gd name="connsiteY2" fmla="*/ 15846 h 26549"/>
                    <a:gd name="connsiteX3" fmla="*/ 10823 w 26629"/>
                    <a:gd name="connsiteY3" fmla="*/ 276 h 26549"/>
                    <a:gd name="connsiteX4" fmla="*/ 26393 w 26629"/>
                    <a:gd name="connsiteY4" fmla="*/ 10739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49">
                      <a:moveTo>
                        <a:pt x="26393" y="10739"/>
                      </a:moveTo>
                      <a:cubicBezTo>
                        <a:pt x="27764" y="17963"/>
                        <a:pt x="23030" y="24938"/>
                        <a:pt x="15806" y="26308"/>
                      </a:cubicBezTo>
                      <a:cubicBezTo>
                        <a:pt x="8582" y="27679"/>
                        <a:pt x="1606" y="23070"/>
                        <a:pt x="236" y="15846"/>
                      </a:cubicBezTo>
                      <a:cubicBezTo>
                        <a:pt x="-1134" y="8621"/>
                        <a:pt x="3599" y="1646"/>
                        <a:pt x="10823" y="276"/>
                      </a:cubicBezTo>
                      <a:cubicBezTo>
                        <a:pt x="18048" y="-1219"/>
                        <a:pt x="25023" y="3514"/>
                        <a:pt x="26393" y="107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8" name="Freeform 4499">
                  <a:extLst>
                    <a:ext uri="{FF2B5EF4-FFF2-40B4-BE49-F238E27FC236}">
                      <a16:creationId xmlns:a16="http://schemas.microsoft.com/office/drawing/2014/main" id="{035C6179-811E-5462-ED29-39FC60C6DD45}"/>
                    </a:ext>
                  </a:extLst>
                </p:cNvPr>
                <p:cNvSpPr/>
                <p:nvPr/>
              </p:nvSpPr>
              <p:spPr>
                <a:xfrm>
                  <a:off x="6113671" y="5837470"/>
                  <a:ext cx="9767" cy="51317"/>
                </a:xfrm>
                <a:custGeom>
                  <a:avLst/>
                  <a:gdLst>
                    <a:gd name="connsiteX0" fmla="*/ 9460 w 9767"/>
                    <a:gd name="connsiteY0" fmla="*/ 51318 h 51317"/>
                    <a:gd name="connsiteX1" fmla="*/ 7840 w 9767"/>
                    <a:gd name="connsiteY1" fmla="*/ 32509 h 51317"/>
                    <a:gd name="connsiteX2" fmla="*/ 1364 w 9767"/>
                    <a:gd name="connsiteY2" fmla="*/ 16441 h 51317"/>
                    <a:gd name="connsiteX3" fmla="*/ 367 w 9767"/>
                    <a:gd name="connsiteY3" fmla="*/ 0 h 51317"/>
                  </a:gdLst>
                  <a:ahLst/>
                  <a:cxnLst>
                    <a:cxn ang="0">
                      <a:pos x="connsiteX0" y="connsiteY0"/>
                    </a:cxn>
                    <a:cxn ang="0">
                      <a:pos x="connsiteX1" y="connsiteY1"/>
                    </a:cxn>
                    <a:cxn ang="0">
                      <a:pos x="connsiteX2" y="connsiteY2"/>
                    </a:cxn>
                    <a:cxn ang="0">
                      <a:pos x="connsiteX3" y="connsiteY3"/>
                    </a:cxn>
                  </a:cxnLst>
                  <a:rect l="l" t="t" r="r" b="b"/>
                  <a:pathLst>
                    <a:path w="9767" h="51317">
                      <a:moveTo>
                        <a:pt x="9460" y="51318"/>
                      </a:moveTo>
                      <a:cubicBezTo>
                        <a:pt x="10332" y="42972"/>
                        <a:pt x="9211" y="36744"/>
                        <a:pt x="7840" y="32509"/>
                      </a:cubicBezTo>
                      <a:cubicBezTo>
                        <a:pt x="5723" y="25783"/>
                        <a:pt x="3107" y="23292"/>
                        <a:pt x="1364" y="16441"/>
                      </a:cubicBezTo>
                      <a:cubicBezTo>
                        <a:pt x="-380" y="9715"/>
                        <a:pt x="-131" y="3861"/>
                        <a:pt x="36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9" name="Freeform 4500">
                  <a:extLst>
                    <a:ext uri="{FF2B5EF4-FFF2-40B4-BE49-F238E27FC236}">
                      <a16:creationId xmlns:a16="http://schemas.microsoft.com/office/drawing/2014/main" id="{FB0C234F-D23D-34B7-401A-222C7B59F38B}"/>
                    </a:ext>
                  </a:extLst>
                </p:cNvPr>
                <p:cNvSpPr/>
                <p:nvPr/>
              </p:nvSpPr>
              <p:spPr>
                <a:xfrm>
                  <a:off x="6106689" y="5844071"/>
                  <a:ext cx="10587" cy="51068"/>
                </a:xfrm>
                <a:custGeom>
                  <a:avLst/>
                  <a:gdLst>
                    <a:gd name="connsiteX0" fmla="*/ 0 w 10587"/>
                    <a:gd name="connsiteY0" fmla="*/ 0 h 51068"/>
                    <a:gd name="connsiteX1" fmla="*/ 5481 w 10587"/>
                    <a:gd name="connsiteY1" fmla="*/ 17936 h 51068"/>
                    <a:gd name="connsiteX2" fmla="*/ 5356 w 10587"/>
                    <a:gd name="connsiteY2" fmla="*/ 35374 h 51068"/>
                    <a:gd name="connsiteX3" fmla="*/ 10587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0" y="0"/>
                      </a:moveTo>
                      <a:cubicBezTo>
                        <a:pt x="3986" y="7473"/>
                        <a:pt x="5107" y="13701"/>
                        <a:pt x="5481" y="17936"/>
                      </a:cubicBezTo>
                      <a:cubicBezTo>
                        <a:pt x="5979" y="24912"/>
                        <a:pt x="4484" y="28274"/>
                        <a:pt x="5356" y="35374"/>
                      </a:cubicBezTo>
                      <a:cubicBezTo>
                        <a:pt x="6228" y="42225"/>
                        <a:pt x="8595" y="47581"/>
                        <a:pt x="1058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60" name="Freeform 4501">
                  <a:extLst>
                    <a:ext uri="{FF2B5EF4-FFF2-40B4-BE49-F238E27FC236}">
                      <a16:creationId xmlns:a16="http://schemas.microsoft.com/office/drawing/2014/main" id="{6436689C-586A-D3A3-E631-E841ADA21F8B}"/>
                    </a:ext>
                  </a:extLst>
                </p:cNvPr>
                <p:cNvSpPr/>
                <p:nvPr/>
              </p:nvSpPr>
              <p:spPr>
                <a:xfrm>
                  <a:off x="6107693" y="5883195"/>
                  <a:ext cx="26385" cy="26509"/>
                </a:xfrm>
                <a:custGeom>
                  <a:avLst/>
                  <a:gdLst>
                    <a:gd name="connsiteX0" fmla="*/ 241 w 26385"/>
                    <a:gd name="connsiteY0" fmla="*/ 15806 h 26509"/>
                    <a:gd name="connsiteX1" fmla="*/ 10704 w 26385"/>
                    <a:gd name="connsiteY1" fmla="*/ 236 h 26509"/>
                    <a:gd name="connsiteX2" fmla="*/ 26149 w 26385"/>
                    <a:gd name="connsiteY2" fmla="*/ 10699 h 26509"/>
                    <a:gd name="connsiteX3" fmla="*/ 15686 w 26385"/>
                    <a:gd name="connsiteY3" fmla="*/ 26269 h 26509"/>
                    <a:gd name="connsiteX4" fmla="*/ 241 w 26385"/>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5" h="26509">
                      <a:moveTo>
                        <a:pt x="241" y="15806"/>
                      </a:moveTo>
                      <a:cubicBezTo>
                        <a:pt x="-1129" y="8581"/>
                        <a:pt x="3479" y="1606"/>
                        <a:pt x="10704" y="236"/>
                      </a:cubicBezTo>
                      <a:cubicBezTo>
                        <a:pt x="17803" y="-1134"/>
                        <a:pt x="24779" y="3599"/>
                        <a:pt x="26149" y="10699"/>
                      </a:cubicBezTo>
                      <a:cubicBezTo>
                        <a:pt x="27519" y="17923"/>
                        <a:pt x="22786" y="24898"/>
                        <a:pt x="15686" y="26269"/>
                      </a:cubicBezTo>
                      <a:cubicBezTo>
                        <a:pt x="8586" y="27639"/>
                        <a:pt x="1611" y="23030"/>
                        <a:pt x="241"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5" name="Graphic 2987">
                <a:extLst>
                  <a:ext uri="{FF2B5EF4-FFF2-40B4-BE49-F238E27FC236}">
                    <a16:creationId xmlns:a16="http://schemas.microsoft.com/office/drawing/2014/main" id="{0ECA70D3-D730-F3E3-BE01-287950E7B8A7}"/>
                  </a:ext>
                </a:extLst>
              </p:cNvPr>
              <p:cNvGrpSpPr/>
              <p:nvPr/>
            </p:nvGrpSpPr>
            <p:grpSpPr>
              <a:xfrm>
                <a:off x="6113926" y="5757392"/>
                <a:ext cx="49049" cy="146794"/>
                <a:chOff x="6113926" y="5757392"/>
                <a:chExt cx="49049" cy="146794"/>
              </a:xfrm>
              <a:grpFill/>
            </p:grpSpPr>
            <p:sp>
              <p:nvSpPr>
                <p:cNvPr id="4949" name="Freeform 4503">
                  <a:extLst>
                    <a:ext uri="{FF2B5EF4-FFF2-40B4-BE49-F238E27FC236}">
                      <a16:creationId xmlns:a16="http://schemas.microsoft.com/office/drawing/2014/main" id="{914FFAAE-56CF-BFA0-F133-A28E6FDD42DA}"/>
                    </a:ext>
                  </a:extLst>
                </p:cNvPr>
                <p:cNvSpPr/>
                <p:nvPr/>
              </p:nvSpPr>
              <p:spPr>
                <a:xfrm>
                  <a:off x="6124512" y="5778180"/>
                  <a:ext cx="9673" cy="51317"/>
                </a:xfrm>
                <a:custGeom>
                  <a:avLst/>
                  <a:gdLst>
                    <a:gd name="connsiteX0" fmla="*/ 362 w 9673"/>
                    <a:gd name="connsiteY0" fmla="*/ 0 h 51317"/>
                    <a:gd name="connsiteX1" fmla="*/ 1857 w 9673"/>
                    <a:gd name="connsiteY1" fmla="*/ 18684 h 51317"/>
                    <a:gd name="connsiteX2" fmla="*/ 8334 w 9673"/>
                    <a:gd name="connsiteY2" fmla="*/ 34876 h 51317"/>
                    <a:gd name="connsiteX3" fmla="*/ 9206 w 9673"/>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3" h="51317">
                      <a:moveTo>
                        <a:pt x="362" y="0"/>
                      </a:moveTo>
                      <a:cubicBezTo>
                        <a:pt x="-634" y="8345"/>
                        <a:pt x="611" y="14573"/>
                        <a:pt x="1857" y="18684"/>
                      </a:cubicBezTo>
                      <a:cubicBezTo>
                        <a:pt x="3850" y="25410"/>
                        <a:pt x="6590" y="28025"/>
                        <a:pt x="8334" y="34876"/>
                      </a:cubicBezTo>
                      <a:cubicBezTo>
                        <a:pt x="10078" y="41602"/>
                        <a:pt x="9828"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0" name="Freeform 4504">
                  <a:extLst>
                    <a:ext uri="{FF2B5EF4-FFF2-40B4-BE49-F238E27FC236}">
                      <a16:creationId xmlns:a16="http://schemas.microsoft.com/office/drawing/2014/main" id="{48C26024-6417-3A9F-2327-E450442D68D2}"/>
                    </a:ext>
                  </a:extLst>
                </p:cNvPr>
                <p:cNvSpPr/>
                <p:nvPr/>
              </p:nvSpPr>
              <p:spPr>
                <a:xfrm>
                  <a:off x="6130977" y="5771952"/>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107" y="37492"/>
                        <a:pt x="4858" y="33132"/>
                      </a:cubicBezTo>
                      <a:cubicBezTo>
                        <a:pt x="4360" y="26157"/>
                        <a:pt x="5854" y="22794"/>
                        <a:pt x="5107" y="15694"/>
                      </a:cubicBezTo>
                      <a:cubicBezTo>
                        <a:pt x="4360" y="8843"/>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1" name="Freeform 4505">
                  <a:extLst>
                    <a:ext uri="{FF2B5EF4-FFF2-40B4-BE49-F238E27FC236}">
                      <a16:creationId xmlns:a16="http://schemas.microsoft.com/office/drawing/2014/main" id="{720A16BB-5F93-6A26-C2B9-E562BE8D9C3B}"/>
                    </a:ext>
                  </a:extLst>
                </p:cNvPr>
                <p:cNvSpPr/>
                <p:nvPr/>
              </p:nvSpPr>
              <p:spPr>
                <a:xfrm>
                  <a:off x="6113926" y="5757392"/>
                  <a:ext cx="26624" cy="26471"/>
                </a:xfrm>
                <a:custGeom>
                  <a:avLst/>
                  <a:gdLst>
                    <a:gd name="connsiteX0" fmla="*/ 26393 w 26624"/>
                    <a:gd name="connsiteY0" fmla="*/ 10824 h 26471"/>
                    <a:gd name="connsiteX1" fmla="*/ 15806 w 26624"/>
                    <a:gd name="connsiteY1" fmla="*/ 26269 h 26471"/>
                    <a:gd name="connsiteX2" fmla="*/ 236 w 26624"/>
                    <a:gd name="connsiteY2" fmla="*/ 15681 h 26471"/>
                    <a:gd name="connsiteX3" fmla="*/ 10823 w 26624"/>
                    <a:gd name="connsiteY3" fmla="*/ 236 h 26471"/>
                    <a:gd name="connsiteX4" fmla="*/ 26393 w 26624"/>
                    <a:gd name="connsiteY4" fmla="*/ 10824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470">
                      <a:moveTo>
                        <a:pt x="26393" y="10824"/>
                      </a:moveTo>
                      <a:cubicBezTo>
                        <a:pt x="27763" y="18048"/>
                        <a:pt x="22906" y="24898"/>
                        <a:pt x="15806" y="26269"/>
                      </a:cubicBezTo>
                      <a:cubicBezTo>
                        <a:pt x="8582" y="27514"/>
                        <a:pt x="1606" y="22905"/>
                        <a:pt x="236" y="15681"/>
                      </a:cubicBezTo>
                      <a:cubicBezTo>
                        <a:pt x="-1134" y="8457"/>
                        <a:pt x="3599" y="1482"/>
                        <a:pt x="10823" y="236"/>
                      </a:cubicBezTo>
                      <a:cubicBezTo>
                        <a:pt x="18048" y="-1134"/>
                        <a:pt x="25023" y="3599"/>
                        <a:pt x="26393" y="1082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2" name="Freeform 4506">
                  <a:extLst>
                    <a:ext uri="{FF2B5EF4-FFF2-40B4-BE49-F238E27FC236}">
                      <a16:creationId xmlns:a16="http://schemas.microsoft.com/office/drawing/2014/main" id="{69297F66-46DE-832F-A81E-1CDA18A9883F}"/>
                    </a:ext>
                  </a:extLst>
                </p:cNvPr>
                <p:cNvSpPr/>
                <p:nvPr/>
              </p:nvSpPr>
              <p:spPr>
                <a:xfrm>
                  <a:off x="6142717" y="5831989"/>
                  <a:ext cx="9673" cy="51317"/>
                </a:xfrm>
                <a:custGeom>
                  <a:avLst/>
                  <a:gdLst>
                    <a:gd name="connsiteX0" fmla="*/ 9311 w 9673"/>
                    <a:gd name="connsiteY0" fmla="*/ 51318 h 51317"/>
                    <a:gd name="connsiteX1" fmla="*/ 7816 w 9673"/>
                    <a:gd name="connsiteY1" fmla="*/ 32634 h 51317"/>
                    <a:gd name="connsiteX2" fmla="*/ 1339 w 9673"/>
                    <a:gd name="connsiteY2" fmla="*/ 16441 h 51317"/>
                    <a:gd name="connsiteX3" fmla="*/ 468 w 9673"/>
                    <a:gd name="connsiteY3" fmla="*/ 0 h 51317"/>
                  </a:gdLst>
                  <a:ahLst/>
                  <a:cxnLst>
                    <a:cxn ang="0">
                      <a:pos x="connsiteX0" y="connsiteY0"/>
                    </a:cxn>
                    <a:cxn ang="0">
                      <a:pos x="connsiteX1" y="connsiteY1"/>
                    </a:cxn>
                    <a:cxn ang="0">
                      <a:pos x="connsiteX2" y="connsiteY2"/>
                    </a:cxn>
                    <a:cxn ang="0">
                      <a:pos x="connsiteX3" y="connsiteY3"/>
                    </a:cxn>
                  </a:cxnLst>
                  <a:rect l="l" t="t" r="r" b="b"/>
                  <a:pathLst>
                    <a:path w="9673" h="51317">
                      <a:moveTo>
                        <a:pt x="9311" y="51318"/>
                      </a:moveTo>
                      <a:cubicBezTo>
                        <a:pt x="10307" y="42972"/>
                        <a:pt x="9062" y="36744"/>
                        <a:pt x="7816" y="32634"/>
                      </a:cubicBezTo>
                      <a:cubicBezTo>
                        <a:pt x="5823" y="25908"/>
                        <a:pt x="3083" y="23292"/>
                        <a:pt x="1339" y="16441"/>
                      </a:cubicBezTo>
                      <a:cubicBezTo>
                        <a:pt x="-404" y="9715"/>
                        <a:pt x="-155" y="3861"/>
                        <a:pt x="4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3" name="Freeform 4507">
                  <a:extLst>
                    <a:ext uri="{FF2B5EF4-FFF2-40B4-BE49-F238E27FC236}">
                      <a16:creationId xmlns:a16="http://schemas.microsoft.com/office/drawing/2014/main" id="{B1094B2A-A6D4-7627-DD18-CC6B736AA12B}"/>
                    </a:ext>
                  </a:extLst>
                </p:cNvPr>
                <p:cNvSpPr/>
                <p:nvPr/>
              </p:nvSpPr>
              <p:spPr>
                <a:xfrm>
                  <a:off x="6135711" y="5838341"/>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5107" y="13701"/>
                        <a:pt x="5356" y="18061"/>
                      </a:cubicBezTo>
                      <a:cubicBezTo>
                        <a:pt x="5854" y="25036"/>
                        <a:pt x="4360" y="28399"/>
                        <a:pt x="5107" y="35499"/>
                      </a:cubicBezTo>
                      <a:cubicBezTo>
                        <a:pt x="5854" y="42350"/>
                        <a:pt x="8345"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54" name="Freeform 4508">
                  <a:extLst>
                    <a:ext uri="{FF2B5EF4-FFF2-40B4-BE49-F238E27FC236}">
                      <a16:creationId xmlns:a16="http://schemas.microsoft.com/office/drawing/2014/main" id="{0B2515EF-0D24-700A-3264-46B3D342D357}"/>
                    </a:ext>
                  </a:extLst>
                </p:cNvPr>
                <p:cNvSpPr/>
                <p:nvPr/>
              </p:nvSpPr>
              <p:spPr>
                <a:xfrm>
                  <a:off x="6136595" y="5877752"/>
                  <a:ext cx="26380" cy="26434"/>
                </a:xfrm>
                <a:custGeom>
                  <a:avLst/>
                  <a:gdLst>
                    <a:gd name="connsiteX0" fmla="*/ 236 w 26380"/>
                    <a:gd name="connsiteY0" fmla="*/ 15644 h 26434"/>
                    <a:gd name="connsiteX1" fmla="*/ 10699 w 26380"/>
                    <a:gd name="connsiteY1" fmla="*/ 199 h 26434"/>
                    <a:gd name="connsiteX2" fmla="*/ 26144 w 26380"/>
                    <a:gd name="connsiteY2" fmla="*/ 10911 h 26434"/>
                    <a:gd name="connsiteX3" fmla="*/ 15681 w 26380"/>
                    <a:gd name="connsiteY3" fmla="*/ 26231 h 26434"/>
                    <a:gd name="connsiteX4" fmla="*/ 236 w 26380"/>
                    <a:gd name="connsiteY4" fmla="*/ 15644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5644"/>
                      </a:moveTo>
                      <a:cubicBezTo>
                        <a:pt x="-1134" y="8419"/>
                        <a:pt x="3599" y="1444"/>
                        <a:pt x="10699" y="199"/>
                      </a:cubicBezTo>
                      <a:cubicBezTo>
                        <a:pt x="17923" y="-1047"/>
                        <a:pt x="24774" y="3686"/>
                        <a:pt x="26144" y="10911"/>
                      </a:cubicBezTo>
                      <a:cubicBezTo>
                        <a:pt x="27514" y="18135"/>
                        <a:pt x="22781" y="24986"/>
                        <a:pt x="15681" y="26231"/>
                      </a:cubicBezTo>
                      <a:cubicBezTo>
                        <a:pt x="8457" y="27477"/>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6" name="Graphic 2987">
                <a:extLst>
                  <a:ext uri="{FF2B5EF4-FFF2-40B4-BE49-F238E27FC236}">
                    <a16:creationId xmlns:a16="http://schemas.microsoft.com/office/drawing/2014/main" id="{8B4D3FCA-4904-B010-053C-AE8A7778447E}"/>
                  </a:ext>
                </a:extLst>
              </p:cNvPr>
              <p:cNvGrpSpPr/>
              <p:nvPr/>
            </p:nvGrpSpPr>
            <p:grpSpPr>
              <a:xfrm>
                <a:off x="6143077" y="5751953"/>
                <a:ext cx="48762" cy="147030"/>
                <a:chOff x="6143077" y="5751953"/>
                <a:chExt cx="48762" cy="147030"/>
              </a:xfrm>
              <a:grpFill/>
            </p:grpSpPr>
            <p:sp>
              <p:nvSpPr>
                <p:cNvPr id="4943" name="Freeform 4510">
                  <a:extLst>
                    <a:ext uri="{FF2B5EF4-FFF2-40B4-BE49-F238E27FC236}">
                      <a16:creationId xmlns:a16="http://schemas.microsoft.com/office/drawing/2014/main" id="{A40ABAD7-7438-570A-45BE-066DC6E7D5BB}"/>
                    </a:ext>
                  </a:extLst>
                </p:cNvPr>
                <p:cNvSpPr/>
                <p:nvPr/>
              </p:nvSpPr>
              <p:spPr>
                <a:xfrm>
                  <a:off x="6153783" y="5772949"/>
                  <a:ext cx="9621" cy="51318"/>
                </a:xfrm>
                <a:custGeom>
                  <a:avLst/>
                  <a:gdLst>
                    <a:gd name="connsiteX0" fmla="*/ 362 w 9621"/>
                    <a:gd name="connsiteY0" fmla="*/ 0 h 51318"/>
                    <a:gd name="connsiteX1" fmla="*/ 1857 w 9621"/>
                    <a:gd name="connsiteY1" fmla="*/ 18684 h 51318"/>
                    <a:gd name="connsiteX2" fmla="*/ 8334 w 9621"/>
                    <a:gd name="connsiteY2" fmla="*/ 34876 h 51318"/>
                    <a:gd name="connsiteX3" fmla="*/ 9206 w 9621"/>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621" h="51318">
                      <a:moveTo>
                        <a:pt x="362" y="0"/>
                      </a:moveTo>
                      <a:cubicBezTo>
                        <a:pt x="-634" y="8346"/>
                        <a:pt x="611" y="14573"/>
                        <a:pt x="1857" y="18684"/>
                      </a:cubicBezTo>
                      <a:cubicBezTo>
                        <a:pt x="3850" y="25410"/>
                        <a:pt x="6590" y="28025"/>
                        <a:pt x="8334" y="34876"/>
                      </a:cubicBezTo>
                      <a:cubicBezTo>
                        <a:pt x="10077" y="41602"/>
                        <a:pt x="9704" y="47456"/>
                        <a:pt x="9206"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4" name="Freeform 4511">
                  <a:extLst>
                    <a:ext uri="{FF2B5EF4-FFF2-40B4-BE49-F238E27FC236}">
                      <a16:creationId xmlns:a16="http://schemas.microsoft.com/office/drawing/2014/main" id="{E6766B40-B75C-F4E6-5E1C-24671364AC18}"/>
                    </a:ext>
                  </a:extLst>
                </p:cNvPr>
                <p:cNvSpPr/>
                <p:nvPr/>
              </p:nvSpPr>
              <p:spPr>
                <a:xfrm>
                  <a:off x="6160124" y="5766721"/>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854" y="22794"/>
                        <a:pt x="5107" y="15694"/>
                      </a:cubicBezTo>
                      <a:cubicBezTo>
                        <a:pt x="4360" y="8844"/>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5" name="Freeform 4512">
                  <a:extLst>
                    <a:ext uri="{FF2B5EF4-FFF2-40B4-BE49-F238E27FC236}">
                      <a16:creationId xmlns:a16="http://schemas.microsoft.com/office/drawing/2014/main" id="{4A969DF2-D057-0DBB-8E6F-380BE5ACFF5B}"/>
                    </a:ext>
                  </a:extLst>
                </p:cNvPr>
                <p:cNvSpPr/>
                <p:nvPr/>
              </p:nvSpPr>
              <p:spPr>
                <a:xfrm>
                  <a:off x="6143077" y="5751953"/>
                  <a:ext cx="26744" cy="26583"/>
                </a:xfrm>
                <a:custGeom>
                  <a:avLst/>
                  <a:gdLst>
                    <a:gd name="connsiteX0" fmla="*/ 26513 w 26744"/>
                    <a:gd name="connsiteY0" fmla="*/ 10907 h 26583"/>
                    <a:gd name="connsiteX1" fmla="*/ 15801 w 26744"/>
                    <a:gd name="connsiteY1" fmla="*/ 26352 h 26583"/>
                    <a:gd name="connsiteX2" fmla="*/ 231 w 26744"/>
                    <a:gd name="connsiteY2" fmla="*/ 15640 h 26583"/>
                    <a:gd name="connsiteX3" fmla="*/ 10944 w 26744"/>
                    <a:gd name="connsiteY3" fmla="*/ 195 h 26583"/>
                    <a:gd name="connsiteX4" fmla="*/ 26513 w 2674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83">
                      <a:moveTo>
                        <a:pt x="26513" y="10907"/>
                      </a:moveTo>
                      <a:cubicBezTo>
                        <a:pt x="27883" y="18131"/>
                        <a:pt x="23026" y="24982"/>
                        <a:pt x="15801" y="26352"/>
                      </a:cubicBezTo>
                      <a:cubicBezTo>
                        <a:pt x="8577" y="27722"/>
                        <a:pt x="1602" y="22865"/>
                        <a:pt x="231" y="15640"/>
                      </a:cubicBezTo>
                      <a:cubicBezTo>
                        <a:pt x="-1139" y="8416"/>
                        <a:pt x="3719" y="1565"/>
                        <a:pt x="10944" y="195"/>
                      </a:cubicBezTo>
                      <a:cubicBezTo>
                        <a:pt x="18168" y="-1051"/>
                        <a:pt x="25143" y="3807"/>
                        <a:pt x="26513"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6" name="Freeform 4513">
                  <a:extLst>
                    <a:ext uri="{FF2B5EF4-FFF2-40B4-BE49-F238E27FC236}">
                      <a16:creationId xmlns:a16="http://schemas.microsoft.com/office/drawing/2014/main" id="{194E228C-EB48-4B27-109E-12FF60B091BF}"/>
                    </a:ext>
                  </a:extLst>
                </p:cNvPr>
                <p:cNvSpPr/>
                <p:nvPr/>
              </p:nvSpPr>
              <p:spPr>
                <a:xfrm>
                  <a:off x="6171790" y="5826758"/>
                  <a:ext cx="9621" cy="51317"/>
                </a:xfrm>
                <a:custGeom>
                  <a:avLst/>
                  <a:gdLst>
                    <a:gd name="connsiteX0" fmla="*/ 9259 w 9621"/>
                    <a:gd name="connsiteY0" fmla="*/ 51318 h 51317"/>
                    <a:gd name="connsiteX1" fmla="*/ 7764 w 9621"/>
                    <a:gd name="connsiteY1" fmla="*/ 32634 h 51317"/>
                    <a:gd name="connsiteX2" fmla="*/ 1288 w 9621"/>
                    <a:gd name="connsiteY2" fmla="*/ 16442 h 51317"/>
                    <a:gd name="connsiteX3" fmla="*/ 41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51318"/>
                      </a:moveTo>
                      <a:cubicBezTo>
                        <a:pt x="10256" y="42973"/>
                        <a:pt x="9010" y="36745"/>
                        <a:pt x="7764" y="32634"/>
                      </a:cubicBezTo>
                      <a:cubicBezTo>
                        <a:pt x="5772" y="25908"/>
                        <a:pt x="3156"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7" name="Freeform 4514">
                  <a:extLst>
                    <a:ext uri="{FF2B5EF4-FFF2-40B4-BE49-F238E27FC236}">
                      <a16:creationId xmlns:a16="http://schemas.microsoft.com/office/drawing/2014/main" id="{0D76D859-0ADD-7D85-57F3-BF392249EF98}"/>
                    </a:ext>
                  </a:extLst>
                </p:cNvPr>
                <p:cNvSpPr/>
                <p:nvPr/>
              </p:nvSpPr>
              <p:spPr>
                <a:xfrm>
                  <a:off x="6164857" y="5833110"/>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345" y="47705"/>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8" name="Freeform 4515">
                  <a:extLst>
                    <a:ext uri="{FF2B5EF4-FFF2-40B4-BE49-F238E27FC236}">
                      <a16:creationId xmlns:a16="http://schemas.microsoft.com/office/drawing/2014/main" id="{2303E120-D5A8-0D22-3A50-127FEC7940FE}"/>
                    </a:ext>
                  </a:extLst>
                </p:cNvPr>
                <p:cNvSpPr/>
                <p:nvPr/>
              </p:nvSpPr>
              <p:spPr>
                <a:xfrm>
                  <a:off x="6165493" y="5872396"/>
                  <a:ext cx="26346" cy="26587"/>
                </a:xfrm>
                <a:custGeom>
                  <a:avLst/>
                  <a:gdLst>
                    <a:gd name="connsiteX0" fmla="*/ 236 w 26346"/>
                    <a:gd name="connsiteY0" fmla="*/ 15644 h 26587"/>
                    <a:gd name="connsiteX1" fmla="*/ 10823 w 26346"/>
                    <a:gd name="connsiteY1" fmla="*/ 199 h 26587"/>
                    <a:gd name="connsiteX2" fmla="*/ 26144 w 26346"/>
                    <a:gd name="connsiteY2" fmla="*/ 10911 h 26587"/>
                    <a:gd name="connsiteX3" fmla="*/ 15556 w 26346"/>
                    <a:gd name="connsiteY3" fmla="*/ 26356 h 26587"/>
                    <a:gd name="connsiteX4" fmla="*/ 236 w 26346"/>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87">
                      <a:moveTo>
                        <a:pt x="236" y="15644"/>
                      </a:moveTo>
                      <a:cubicBezTo>
                        <a:pt x="-1134" y="8420"/>
                        <a:pt x="3599" y="1569"/>
                        <a:pt x="10823" y="199"/>
                      </a:cubicBezTo>
                      <a:cubicBezTo>
                        <a:pt x="18048" y="-1047"/>
                        <a:pt x="24898" y="3686"/>
                        <a:pt x="26144" y="10911"/>
                      </a:cubicBezTo>
                      <a:cubicBezTo>
                        <a:pt x="27390" y="18135"/>
                        <a:pt x="22781" y="24986"/>
                        <a:pt x="15556" y="26356"/>
                      </a:cubicBezTo>
                      <a:cubicBezTo>
                        <a:pt x="8332" y="27726"/>
                        <a:pt x="1606" y="22868"/>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7" name="Graphic 2987">
                <a:extLst>
                  <a:ext uri="{FF2B5EF4-FFF2-40B4-BE49-F238E27FC236}">
                    <a16:creationId xmlns:a16="http://schemas.microsoft.com/office/drawing/2014/main" id="{FBDF4B08-C778-43BC-9282-EE9A635F0CA2}"/>
                  </a:ext>
                </a:extLst>
              </p:cNvPr>
              <p:cNvGrpSpPr/>
              <p:nvPr/>
            </p:nvGrpSpPr>
            <p:grpSpPr>
              <a:xfrm>
                <a:off x="6172473" y="5746717"/>
                <a:ext cx="48385" cy="146998"/>
                <a:chOff x="6172473" y="5746717"/>
                <a:chExt cx="48385" cy="146998"/>
              </a:xfrm>
              <a:grpFill/>
            </p:grpSpPr>
            <p:sp>
              <p:nvSpPr>
                <p:cNvPr id="4937" name="Freeform 4517">
                  <a:extLst>
                    <a:ext uri="{FF2B5EF4-FFF2-40B4-BE49-F238E27FC236}">
                      <a16:creationId xmlns:a16="http://schemas.microsoft.com/office/drawing/2014/main" id="{4E561783-B02A-93DE-3003-5896F89A2A61}"/>
                    </a:ext>
                  </a:extLst>
                </p:cNvPr>
                <p:cNvSpPr/>
                <p:nvPr/>
              </p:nvSpPr>
              <p:spPr>
                <a:xfrm>
                  <a:off x="6183033" y="5767593"/>
                  <a:ext cx="9517" cy="51442"/>
                </a:xfrm>
                <a:custGeom>
                  <a:avLst/>
                  <a:gdLst>
                    <a:gd name="connsiteX0" fmla="*/ 383 w 9517"/>
                    <a:gd name="connsiteY0" fmla="*/ 0 h 51442"/>
                    <a:gd name="connsiteX1" fmla="*/ 1754 w 9517"/>
                    <a:gd name="connsiteY1" fmla="*/ 18808 h 51442"/>
                    <a:gd name="connsiteX2" fmla="*/ 8230 w 9517"/>
                    <a:gd name="connsiteY2" fmla="*/ 35001 h 51442"/>
                    <a:gd name="connsiteX3" fmla="*/ 9102 w 951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517" h="51442">
                      <a:moveTo>
                        <a:pt x="383" y="0"/>
                      </a:moveTo>
                      <a:cubicBezTo>
                        <a:pt x="-613" y="8346"/>
                        <a:pt x="508" y="14573"/>
                        <a:pt x="1754" y="18808"/>
                      </a:cubicBezTo>
                      <a:cubicBezTo>
                        <a:pt x="3746" y="25535"/>
                        <a:pt x="6362" y="28150"/>
                        <a:pt x="8230" y="35001"/>
                      </a:cubicBezTo>
                      <a:cubicBezTo>
                        <a:pt x="9974" y="41727"/>
                        <a:pt x="9601" y="47581"/>
                        <a:pt x="910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8" name="Freeform 4518">
                  <a:extLst>
                    <a:ext uri="{FF2B5EF4-FFF2-40B4-BE49-F238E27FC236}">
                      <a16:creationId xmlns:a16="http://schemas.microsoft.com/office/drawing/2014/main" id="{EE66B043-B053-7D3F-B717-5D216EA0972C}"/>
                    </a:ext>
                  </a:extLst>
                </p:cNvPr>
                <p:cNvSpPr/>
                <p:nvPr/>
              </p:nvSpPr>
              <p:spPr>
                <a:xfrm>
                  <a:off x="6189270" y="5761365"/>
                  <a:ext cx="10213" cy="51193"/>
                </a:xfrm>
                <a:custGeom>
                  <a:avLst/>
                  <a:gdLst>
                    <a:gd name="connsiteX0" fmla="*/ 10214 w 10213"/>
                    <a:gd name="connsiteY0" fmla="*/ 51193 h 51193"/>
                    <a:gd name="connsiteX1" fmla="*/ 4858 w 10213"/>
                    <a:gd name="connsiteY1" fmla="*/ 33132 h 51193"/>
                    <a:gd name="connsiteX2" fmla="*/ 5107 w 10213"/>
                    <a:gd name="connsiteY2" fmla="*/ 15694 h 51193"/>
                    <a:gd name="connsiteX3" fmla="*/ 0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51193"/>
                      </a:moveTo>
                      <a:cubicBezTo>
                        <a:pt x="6353" y="43720"/>
                        <a:pt x="5232" y="37492"/>
                        <a:pt x="4858" y="33132"/>
                      </a:cubicBezTo>
                      <a:cubicBezTo>
                        <a:pt x="4360" y="26157"/>
                        <a:pt x="5979" y="22794"/>
                        <a:pt x="5107" y="15694"/>
                      </a:cubicBezTo>
                      <a:cubicBezTo>
                        <a:pt x="4360" y="8843"/>
                        <a:pt x="199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9" name="Freeform 4519">
                  <a:extLst>
                    <a:ext uri="{FF2B5EF4-FFF2-40B4-BE49-F238E27FC236}">
                      <a16:creationId xmlns:a16="http://schemas.microsoft.com/office/drawing/2014/main" id="{9E5C5B38-8620-44E7-F152-0F458A54A6C3}"/>
                    </a:ext>
                  </a:extLst>
                </p:cNvPr>
                <p:cNvSpPr/>
                <p:nvPr/>
              </p:nvSpPr>
              <p:spPr>
                <a:xfrm>
                  <a:off x="6172473" y="5746717"/>
                  <a:ext cx="26587" cy="26587"/>
                </a:xfrm>
                <a:custGeom>
                  <a:avLst/>
                  <a:gdLst>
                    <a:gd name="connsiteX0" fmla="*/ 26389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9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9" y="10911"/>
                      </a:moveTo>
                      <a:cubicBezTo>
                        <a:pt x="27634" y="18135"/>
                        <a:pt x="22901" y="24986"/>
                        <a:pt x="15677" y="26356"/>
                      </a:cubicBezTo>
                      <a:cubicBezTo>
                        <a:pt x="8452" y="27726"/>
                        <a:pt x="1477" y="22868"/>
                        <a:pt x="232" y="15644"/>
                      </a:cubicBezTo>
                      <a:cubicBezTo>
                        <a:pt x="-1139" y="8420"/>
                        <a:pt x="3719" y="1569"/>
                        <a:pt x="10943" y="199"/>
                      </a:cubicBezTo>
                      <a:cubicBezTo>
                        <a:pt x="18168" y="-1047"/>
                        <a:pt x="25018" y="3686"/>
                        <a:pt x="2638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0" name="Freeform 4520">
                  <a:extLst>
                    <a:ext uri="{FF2B5EF4-FFF2-40B4-BE49-F238E27FC236}">
                      <a16:creationId xmlns:a16="http://schemas.microsoft.com/office/drawing/2014/main" id="{26BAAD8C-DBDD-A3D8-83B2-CF9B5202F535}"/>
                    </a:ext>
                  </a:extLst>
                </p:cNvPr>
                <p:cNvSpPr/>
                <p:nvPr/>
              </p:nvSpPr>
              <p:spPr>
                <a:xfrm>
                  <a:off x="6200937" y="5821402"/>
                  <a:ext cx="9393" cy="51442"/>
                </a:xfrm>
                <a:custGeom>
                  <a:avLst/>
                  <a:gdLst>
                    <a:gd name="connsiteX0" fmla="*/ 9010 w 9393"/>
                    <a:gd name="connsiteY0" fmla="*/ 51442 h 51442"/>
                    <a:gd name="connsiteX1" fmla="*/ 7640 w 9393"/>
                    <a:gd name="connsiteY1" fmla="*/ 32634 h 51442"/>
                    <a:gd name="connsiteX2" fmla="*/ 1288 w 9393"/>
                    <a:gd name="connsiteY2" fmla="*/ 16442 h 51442"/>
                    <a:gd name="connsiteX3" fmla="*/ 416 w 9393"/>
                    <a:gd name="connsiteY3" fmla="*/ 0 h 51442"/>
                  </a:gdLst>
                  <a:ahLst/>
                  <a:cxnLst>
                    <a:cxn ang="0">
                      <a:pos x="connsiteX0" y="connsiteY0"/>
                    </a:cxn>
                    <a:cxn ang="0">
                      <a:pos x="connsiteX1" y="connsiteY1"/>
                    </a:cxn>
                    <a:cxn ang="0">
                      <a:pos x="connsiteX2" y="connsiteY2"/>
                    </a:cxn>
                    <a:cxn ang="0">
                      <a:pos x="connsiteX3" y="connsiteY3"/>
                    </a:cxn>
                  </a:cxnLst>
                  <a:rect l="l" t="t" r="r" b="b"/>
                  <a:pathLst>
                    <a:path w="9393" h="51442">
                      <a:moveTo>
                        <a:pt x="9010" y="51442"/>
                      </a:moveTo>
                      <a:cubicBezTo>
                        <a:pt x="10007" y="43097"/>
                        <a:pt x="8885" y="36869"/>
                        <a:pt x="7640" y="32634"/>
                      </a:cubicBezTo>
                      <a:cubicBezTo>
                        <a:pt x="5647" y="25908"/>
                        <a:pt x="3031" y="23292"/>
                        <a:pt x="1288" y="16442"/>
                      </a:cubicBezTo>
                      <a:cubicBezTo>
                        <a:pt x="-456" y="9715"/>
                        <a:pt x="-83" y="3861"/>
                        <a:pt x="41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1" name="Freeform 4521">
                  <a:extLst>
                    <a:ext uri="{FF2B5EF4-FFF2-40B4-BE49-F238E27FC236}">
                      <a16:creationId xmlns:a16="http://schemas.microsoft.com/office/drawing/2014/main" id="{FF2F851C-02FB-E49E-2059-BA0D8F1DCCBC}"/>
                    </a:ext>
                  </a:extLst>
                </p:cNvPr>
                <p:cNvSpPr/>
                <p:nvPr/>
              </p:nvSpPr>
              <p:spPr>
                <a:xfrm>
                  <a:off x="6194004" y="5827878"/>
                  <a:ext cx="10213" cy="51193"/>
                </a:xfrm>
                <a:custGeom>
                  <a:avLst/>
                  <a:gdLst>
                    <a:gd name="connsiteX0" fmla="*/ 0 w 10213"/>
                    <a:gd name="connsiteY0" fmla="*/ 0 h 51193"/>
                    <a:gd name="connsiteX1" fmla="*/ 5356 w 10213"/>
                    <a:gd name="connsiteY1" fmla="*/ 18061 h 51193"/>
                    <a:gd name="connsiteX2" fmla="*/ 5107 w 10213"/>
                    <a:gd name="connsiteY2" fmla="*/ 35499 h 51193"/>
                    <a:gd name="connsiteX3" fmla="*/ 10214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0" y="0"/>
                      </a:moveTo>
                      <a:cubicBezTo>
                        <a:pt x="3861" y="7474"/>
                        <a:pt x="4982" y="13701"/>
                        <a:pt x="5356" y="18061"/>
                      </a:cubicBezTo>
                      <a:cubicBezTo>
                        <a:pt x="5854" y="25036"/>
                        <a:pt x="4360" y="28399"/>
                        <a:pt x="5107" y="35499"/>
                      </a:cubicBezTo>
                      <a:cubicBezTo>
                        <a:pt x="5854" y="42350"/>
                        <a:pt x="8221" y="47706"/>
                        <a:pt x="10214"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42" name="Freeform 4522">
                  <a:extLst>
                    <a:ext uri="{FF2B5EF4-FFF2-40B4-BE49-F238E27FC236}">
                      <a16:creationId xmlns:a16="http://schemas.microsoft.com/office/drawing/2014/main" id="{66AAE7E2-0C71-CF36-CA4D-E4D7F98E4560}"/>
                    </a:ext>
                  </a:extLst>
                </p:cNvPr>
                <p:cNvSpPr/>
                <p:nvPr/>
              </p:nvSpPr>
              <p:spPr>
                <a:xfrm>
                  <a:off x="6194515" y="5867165"/>
                  <a:ext cx="26343" cy="26550"/>
                </a:xfrm>
                <a:custGeom>
                  <a:avLst/>
                  <a:gdLst>
                    <a:gd name="connsiteX0" fmla="*/ 236 w 26343"/>
                    <a:gd name="connsiteY0" fmla="*/ 15644 h 26550"/>
                    <a:gd name="connsiteX1" fmla="*/ 10824 w 26343"/>
                    <a:gd name="connsiteY1" fmla="*/ 199 h 26550"/>
                    <a:gd name="connsiteX2" fmla="*/ 26144 w 26343"/>
                    <a:gd name="connsiteY2" fmla="*/ 10911 h 26550"/>
                    <a:gd name="connsiteX3" fmla="*/ 15557 w 26343"/>
                    <a:gd name="connsiteY3" fmla="*/ 26356 h 26550"/>
                    <a:gd name="connsiteX4" fmla="*/ 236 w 26343"/>
                    <a:gd name="connsiteY4" fmla="*/ 15644 h 2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49">
                      <a:moveTo>
                        <a:pt x="236" y="15644"/>
                      </a:moveTo>
                      <a:cubicBezTo>
                        <a:pt x="-1134" y="8420"/>
                        <a:pt x="3599" y="1569"/>
                        <a:pt x="10824" y="199"/>
                      </a:cubicBezTo>
                      <a:cubicBezTo>
                        <a:pt x="18048" y="-1047"/>
                        <a:pt x="24899" y="3686"/>
                        <a:pt x="26144" y="10911"/>
                      </a:cubicBezTo>
                      <a:cubicBezTo>
                        <a:pt x="27390" y="18135"/>
                        <a:pt x="22657" y="24986"/>
                        <a:pt x="15557" y="26356"/>
                      </a:cubicBezTo>
                      <a:cubicBezTo>
                        <a:pt x="8457" y="27601"/>
                        <a:pt x="1606" y="22744"/>
                        <a:pt x="23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8" name="Graphic 2987">
                <a:extLst>
                  <a:ext uri="{FF2B5EF4-FFF2-40B4-BE49-F238E27FC236}">
                    <a16:creationId xmlns:a16="http://schemas.microsoft.com/office/drawing/2014/main" id="{856AC8CC-D181-73A7-185F-66AC4E60682F}"/>
                  </a:ext>
                </a:extLst>
              </p:cNvPr>
              <p:cNvGrpSpPr/>
              <p:nvPr/>
            </p:nvGrpSpPr>
            <p:grpSpPr>
              <a:xfrm>
                <a:off x="6201744" y="5741361"/>
                <a:ext cx="48011" cy="147034"/>
                <a:chOff x="6201744" y="5741361"/>
                <a:chExt cx="48011" cy="147034"/>
              </a:xfrm>
              <a:grpFill/>
            </p:grpSpPr>
            <p:sp>
              <p:nvSpPr>
                <p:cNvPr id="4931" name="Freeform 4524">
                  <a:extLst>
                    <a:ext uri="{FF2B5EF4-FFF2-40B4-BE49-F238E27FC236}">
                      <a16:creationId xmlns:a16="http://schemas.microsoft.com/office/drawing/2014/main" id="{620CB48B-0AAB-1362-4349-2EEFD0BF011F}"/>
                    </a:ext>
                  </a:extLst>
                </p:cNvPr>
                <p:cNvSpPr/>
                <p:nvPr/>
              </p:nvSpPr>
              <p:spPr>
                <a:xfrm>
                  <a:off x="6212304" y="5762237"/>
                  <a:ext cx="9372" cy="51442"/>
                </a:xfrm>
                <a:custGeom>
                  <a:avLst/>
                  <a:gdLst>
                    <a:gd name="connsiteX0" fmla="*/ 383 w 9372"/>
                    <a:gd name="connsiteY0" fmla="*/ 0 h 51442"/>
                    <a:gd name="connsiteX1" fmla="*/ 1754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5"/>
                        <a:pt x="508" y="14573"/>
                        <a:pt x="1754" y="18808"/>
                      </a:cubicBezTo>
                      <a:cubicBezTo>
                        <a:pt x="3746" y="25534"/>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2" name="Freeform 4525">
                  <a:extLst>
                    <a:ext uri="{FF2B5EF4-FFF2-40B4-BE49-F238E27FC236}">
                      <a16:creationId xmlns:a16="http://schemas.microsoft.com/office/drawing/2014/main" id="{CD1BC018-D0E2-7F69-FD91-C83742FD3D3F}"/>
                    </a:ext>
                  </a:extLst>
                </p:cNvPr>
                <p:cNvSpPr/>
                <p:nvPr/>
              </p:nvSpPr>
              <p:spPr>
                <a:xfrm>
                  <a:off x="6218791" y="5756134"/>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19"/>
                        <a:pt x="4858" y="37492"/>
                        <a:pt x="4609" y="33132"/>
                      </a:cubicBezTo>
                      <a:cubicBezTo>
                        <a:pt x="4111" y="26157"/>
                        <a:pt x="5730" y="22794"/>
                        <a:pt x="4983" y="15694"/>
                      </a:cubicBezTo>
                      <a:cubicBezTo>
                        <a:pt x="4235" y="8843"/>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3" name="Freeform 4526">
                  <a:extLst>
                    <a:ext uri="{FF2B5EF4-FFF2-40B4-BE49-F238E27FC236}">
                      <a16:creationId xmlns:a16="http://schemas.microsoft.com/office/drawing/2014/main" id="{B784689A-5E6F-A92A-D81B-ED2D91B7AD05}"/>
                    </a:ext>
                  </a:extLst>
                </p:cNvPr>
                <p:cNvSpPr/>
                <p:nvPr/>
              </p:nvSpPr>
              <p:spPr>
                <a:xfrm>
                  <a:off x="6201744" y="5741361"/>
                  <a:ext cx="26587" cy="26587"/>
                </a:xfrm>
                <a:custGeom>
                  <a:avLst/>
                  <a:gdLst>
                    <a:gd name="connsiteX0" fmla="*/ 26388 w 26587"/>
                    <a:gd name="connsiteY0" fmla="*/ 10911 h 26587"/>
                    <a:gd name="connsiteX1" fmla="*/ 15677 w 26587"/>
                    <a:gd name="connsiteY1" fmla="*/ 26356 h 26587"/>
                    <a:gd name="connsiteX2" fmla="*/ 232 w 26587"/>
                    <a:gd name="connsiteY2" fmla="*/ 15644 h 26587"/>
                    <a:gd name="connsiteX3" fmla="*/ 10943 w 26587"/>
                    <a:gd name="connsiteY3" fmla="*/ 199 h 26587"/>
                    <a:gd name="connsiteX4" fmla="*/ 26388 w 26587"/>
                    <a:gd name="connsiteY4" fmla="*/ 10911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 h="26587">
                      <a:moveTo>
                        <a:pt x="26388" y="10911"/>
                      </a:moveTo>
                      <a:cubicBezTo>
                        <a:pt x="27634" y="18135"/>
                        <a:pt x="22901" y="24986"/>
                        <a:pt x="15677" y="26356"/>
                      </a:cubicBezTo>
                      <a:cubicBezTo>
                        <a:pt x="8452" y="27726"/>
                        <a:pt x="1601" y="22868"/>
                        <a:pt x="232" y="15644"/>
                      </a:cubicBezTo>
                      <a:cubicBezTo>
                        <a:pt x="-1139" y="8420"/>
                        <a:pt x="3719" y="1569"/>
                        <a:pt x="10943" y="199"/>
                      </a:cubicBezTo>
                      <a:cubicBezTo>
                        <a:pt x="18168" y="-1047"/>
                        <a:pt x="25018" y="3686"/>
                        <a:pt x="26388"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4" name="Freeform 4527">
                  <a:extLst>
                    <a:ext uri="{FF2B5EF4-FFF2-40B4-BE49-F238E27FC236}">
                      <a16:creationId xmlns:a16="http://schemas.microsoft.com/office/drawing/2014/main" id="{ED512A21-4CF7-D81C-EC51-BEFFDB31EA80}"/>
                    </a:ext>
                  </a:extLst>
                </p:cNvPr>
                <p:cNvSpPr/>
                <p:nvPr/>
              </p:nvSpPr>
              <p:spPr>
                <a:xfrm>
                  <a:off x="6229980" y="5816046"/>
                  <a:ext cx="9372" cy="51442"/>
                </a:xfrm>
                <a:custGeom>
                  <a:avLst/>
                  <a:gdLst>
                    <a:gd name="connsiteX0" fmla="*/ 8990 w 9372"/>
                    <a:gd name="connsiteY0" fmla="*/ 51442 h 51442"/>
                    <a:gd name="connsiteX1" fmla="*/ 7619 w 9372"/>
                    <a:gd name="connsiteY1" fmla="*/ 32634 h 51442"/>
                    <a:gd name="connsiteX2" fmla="*/ 1267 w 9372"/>
                    <a:gd name="connsiteY2" fmla="*/ 16441 h 51442"/>
                    <a:gd name="connsiteX3" fmla="*/ 519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90" y="51442"/>
                      </a:moveTo>
                      <a:cubicBezTo>
                        <a:pt x="9986" y="43097"/>
                        <a:pt x="8865" y="36869"/>
                        <a:pt x="7619" y="32634"/>
                      </a:cubicBezTo>
                      <a:cubicBezTo>
                        <a:pt x="5626" y="25908"/>
                        <a:pt x="3011" y="23292"/>
                        <a:pt x="1267" y="16441"/>
                      </a:cubicBezTo>
                      <a:cubicBezTo>
                        <a:pt x="-477" y="9715"/>
                        <a:pt x="-103" y="3861"/>
                        <a:pt x="5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5" name="Freeform 4528">
                  <a:extLst>
                    <a:ext uri="{FF2B5EF4-FFF2-40B4-BE49-F238E27FC236}">
                      <a16:creationId xmlns:a16="http://schemas.microsoft.com/office/drawing/2014/main" id="{1B2DEC28-EAF9-7A5A-8071-2883D65BB99F}"/>
                    </a:ext>
                  </a:extLst>
                </p:cNvPr>
                <p:cNvSpPr/>
                <p:nvPr/>
              </p:nvSpPr>
              <p:spPr>
                <a:xfrm>
                  <a:off x="6223025" y="5822523"/>
                  <a:ext cx="9840" cy="51193"/>
                </a:xfrm>
                <a:custGeom>
                  <a:avLst/>
                  <a:gdLst>
                    <a:gd name="connsiteX0" fmla="*/ 0 w 9840"/>
                    <a:gd name="connsiteY0" fmla="*/ 0 h 51193"/>
                    <a:gd name="connsiteX1" fmla="*/ 5232 w 9840"/>
                    <a:gd name="connsiteY1" fmla="*/ 18061 h 51193"/>
                    <a:gd name="connsiteX2" fmla="*/ 4858 w 9840"/>
                    <a:gd name="connsiteY2" fmla="*/ 35499 h 51193"/>
                    <a:gd name="connsiteX3" fmla="*/ 984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0" y="0"/>
                      </a:moveTo>
                      <a:cubicBezTo>
                        <a:pt x="3862" y="7474"/>
                        <a:pt x="4983" y="13701"/>
                        <a:pt x="5232" y="18061"/>
                      </a:cubicBezTo>
                      <a:cubicBezTo>
                        <a:pt x="5730" y="25036"/>
                        <a:pt x="4111" y="28399"/>
                        <a:pt x="4858" y="35499"/>
                      </a:cubicBezTo>
                      <a:cubicBezTo>
                        <a:pt x="5605" y="42350"/>
                        <a:pt x="7972" y="47705"/>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6" name="Freeform 4529">
                  <a:extLst>
                    <a:ext uri="{FF2B5EF4-FFF2-40B4-BE49-F238E27FC236}">
                      <a16:creationId xmlns:a16="http://schemas.microsoft.com/office/drawing/2014/main" id="{E4C5A64F-1732-0066-4317-011765457679}"/>
                    </a:ext>
                  </a:extLst>
                </p:cNvPr>
                <p:cNvSpPr/>
                <p:nvPr/>
              </p:nvSpPr>
              <p:spPr>
                <a:xfrm>
                  <a:off x="6223450" y="5861809"/>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7" y="8419"/>
                        <a:pt x="3687" y="1569"/>
                        <a:pt x="10786" y="199"/>
                      </a:cubicBezTo>
                      <a:cubicBezTo>
                        <a:pt x="18011" y="-1047"/>
                        <a:pt x="24861" y="3686"/>
                        <a:pt x="26107" y="10911"/>
                      </a:cubicBezTo>
                      <a:cubicBezTo>
                        <a:pt x="27352" y="18135"/>
                        <a:pt x="22619" y="24986"/>
                        <a:pt x="15520" y="26356"/>
                      </a:cubicBezTo>
                      <a:cubicBezTo>
                        <a:pt x="8420" y="27726"/>
                        <a:pt x="1569"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699" name="Graphic 2987">
                <a:extLst>
                  <a:ext uri="{FF2B5EF4-FFF2-40B4-BE49-F238E27FC236}">
                    <a16:creationId xmlns:a16="http://schemas.microsoft.com/office/drawing/2014/main" id="{798373B8-435A-E9F2-C0E4-C71518C36E2C}"/>
                  </a:ext>
                </a:extLst>
              </p:cNvPr>
              <p:cNvGrpSpPr/>
              <p:nvPr/>
            </p:nvGrpSpPr>
            <p:grpSpPr>
              <a:xfrm>
                <a:off x="6230923" y="5736009"/>
                <a:ext cx="47853" cy="147155"/>
                <a:chOff x="6230923" y="5736009"/>
                <a:chExt cx="47853" cy="147155"/>
              </a:xfrm>
              <a:grpFill/>
            </p:grpSpPr>
            <p:sp>
              <p:nvSpPr>
                <p:cNvPr id="4925" name="Freeform 4531">
                  <a:extLst>
                    <a:ext uri="{FF2B5EF4-FFF2-40B4-BE49-F238E27FC236}">
                      <a16:creationId xmlns:a16="http://schemas.microsoft.com/office/drawing/2014/main" id="{10B73586-6020-276A-B03D-1CCDCC6DDA93}"/>
                    </a:ext>
                  </a:extLst>
                </p:cNvPr>
                <p:cNvSpPr/>
                <p:nvPr/>
              </p:nvSpPr>
              <p:spPr>
                <a:xfrm>
                  <a:off x="6241575" y="5757005"/>
                  <a:ext cx="9372" cy="51442"/>
                </a:xfrm>
                <a:custGeom>
                  <a:avLst/>
                  <a:gdLst>
                    <a:gd name="connsiteX0" fmla="*/ 383 w 9372"/>
                    <a:gd name="connsiteY0" fmla="*/ 0 h 51442"/>
                    <a:gd name="connsiteX1" fmla="*/ 1753 w 9372"/>
                    <a:gd name="connsiteY1" fmla="*/ 18808 h 51442"/>
                    <a:gd name="connsiteX2" fmla="*/ 8106 w 9372"/>
                    <a:gd name="connsiteY2" fmla="*/ 35001 h 51442"/>
                    <a:gd name="connsiteX3" fmla="*/ 8853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383" y="0"/>
                      </a:moveTo>
                      <a:cubicBezTo>
                        <a:pt x="-613" y="8346"/>
                        <a:pt x="508" y="14573"/>
                        <a:pt x="1753" y="18808"/>
                      </a:cubicBezTo>
                      <a:cubicBezTo>
                        <a:pt x="3746" y="25535"/>
                        <a:pt x="6362" y="28150"/>
                        <a:pt x="8106" y="35001"/>
                      </a:cubicBezTo>
                      <a:cubicBezTo>
                        <a:pt x="9850" y="41727"/>
                        <a:pt x="9476" y="47581"/>
                        <a:pt x="8853"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6" name="Freeform 4532">
                  <a:extLst>
                    <a:ext uri="{FF2B5EF4-FFF2-40B4-BE49-F238E27FC236}">
                      <a16:creationId xmlns:a16="http://schemas.microsoft.com/office/drawing/2014/main" id="{A691F7D5-4AEA-EC1B-4400-92DDED03C73B}"/>
                    </a:ext>
                  </a:extLst>
                </p:cNvPr>
                <p:cNvSpPr/>
                <p:nvPr/>
              </p:nvSpPr>
              <p:spPr>
                <a:xfrm>
                  <a:off x="6247937" y="5750777"/>
                  <a:ext cx="9840" cy="51193"/>
                </a:xfrm>
                <a:custGeom>
                  <a:avLst/>
                  <a:gdLst>
                    <a:gd name="connsiteX0" fmla="*/ 9840 w 9840"/>
                    <a:gd name="connsiteY0" fmla="*/ 51193 h 51193"/>
                    <a:gd name="connsiteX1" fmla="*/ 4609 w 9840"/>
                    <a:gd name="connsiteY1" fmla="*/ 33132 h 51193"/>
                    <a:gd name="connsiteX2" fmla="*/ 4983 w 9840"/>
                    <a:gd name="connsiteY2" fmla="*/ 15694 h 51193"/>
                    <a:gd name="connsiteX3" fmla="*/ 0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9840" y="51193"/>
                      </a:moveTo>
                      <a:cubicBezTo>
                        <a:pt x="5979" y="43720"/>
                        <a:pt x="4858" y="37492"/>
                        <a:pt x="4609" y="33132"/>
                      </a:cubicBezTo>
                      <a:cubicBezTo>
                        <a:pt x="4111" y="26157"/>
                        <a:pt x="5730" y="22794"/>
                        <a:pt x="4983" y="15694"/>
                      </a:cubicBezTo>
                      <a:cubicBezTo>
                        <a:pt x="4235" y="8844"/>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7" name="Freeform 4533">
                  <a:extLst>
                    <a:ext uri="{FF2B5EF4-FFF2-40B4-BE49-F238E27FC236}">
                      <a16:creationId xmlns:a16="http://schemas.microsoft.com/office/drawing/2014/main" id="{ADD99C98-82EA-B4BF-DA87-5337B880E69D}"/>
                    </a:ext>
                  </a:extLst>
                </p:cNvPr>
                <p:cNvSpPr/>
                <p:nvPr/>
              </p:nvSpPr>
              <p:spPr>
                <a:xfrm>
                  <a:off x="6230923" y="5736009"/>
                  <a:ext cx="26674" cy="26583"/>
                </a:xfrm>
                <a:custGeom>
                  <a:avLst/>
                  <a:gdLst>
                    <a:gd name="connsiteX0" fmla="*/ 26480 w 26674"/>
                    <a:gd name="connsiteY0" fmla="*/ 10907 h 26583"/>
                    <a:gd name="connsiteX1" fmla="*/ 15644 w 26674"/>
                    <a:gd name="connsiteY1" fmla="*/ 26352 h 26583"/>
                    <a:gd name="connsiteX2" fmla="*/ 199 w 26674"/>
                    <a:gd name="connsiteY2" fmla="*/ 15640 h 26583"/>
                    <a:gd name="connsiteX3" fmla="*/ 11035 w 26674"/>
                    <a:gd name="connsiteY3" fmla="*/ 195 h 26583"/>
                    <a:gd name="connsiteX4" fmla="*/ 26480 w 26674"/>
                    <a:gd name="connsiteY4" fmla="*/ 10907 h 2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583">
                      <a:moveTo>
                        <a:pt x="26480" y="10907"/>
                      </a:moveTo>
                      <a:cubicBezTo>
                        <a:pt x="27726" y="18131"/>
                        <a:pt x="22868" y="24982"/>
                        <a:pt x="15644" y="26352"/>
                      </a:cubicBezTo>
                      <a:cubicBezTo>
                        <a:pt x="8419" y="27722"/>
                        <a:pt x="1569" y="22865"/>
                        <a:pt x="199" y="15640"/>
                      </a:cubicBezTo>
                      <a:cubicBezTo>
                        <a:pt x="-1047" y="8416"/>
                        <a:pt x="3686" y="1565"/>
                        <a:pt x="11035" y="195"/>
                      </a:cubicBezTo>
                      <a:cubicBezTo>
                        <a:pt x="18259" y="-1051"/>
                        <a:pt x="25110" y="3807"/>
                        <a:pt x="26480" y="10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8" name="Freeform 4534">
                  <a:extLst>
                    <a:ext uri="{FF2B5EF4-FFF2-40B4-BE49-F238E27FC236}">
                      <a16:creationId xmlns:a16="http://schemas.microsoft.com/office/drawing/2014/main" id="{AB72547E-E62E-7D04-15F5-4FE1E24948E4}"/>
                    </a:ext>
                  </a:extLst>
                </p:cNvPr>
                <p:cNvSpPr/>
                <p:nvPr/>
              </p:nvSpPr>
              <p:spPr>
                <a:xfrm>
                  <a:off x="6259001" y="5810814"/>
                  <a:ext cx="9372" cy="51442"/>
                </a:xfrm>
                <a:custGeom>
                  <a:avLst/>
                  <a:gdLst>
                    <a:gd name="connsiteX0" fmla="*/ 8989 w 9372"/>
                    <a:gd name="connsiteY0" fmla="*/ 51442 h 51442"/>
                    <a:gd name="connsiteX1" fmla="*/ 7619 w 9372"/>
                    <a:gd name="connsiteY1" fmla="*/ 32634 h 51442"/>
                    <a:gd name="connsiteX2" fmla="*/ 1267 w 9372"/>
                    <a:gd name="connsiteY2" fmla="*/ 16442 h 51442"/>
                    <a:gd name="connsiteX3" fmla="*/ 520 w 9372"/>
                    <a:gd name="connsiteY3" fmla="*/ 0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51442"/>
                      </a:moveTo>
                      <a:cubicBezTo>
                        <a:pt x="9986" y="43097"/>
                        <a:pt x="8865" y="36869"/>
                        <a:pt x="7619" y="32634"/>
                      </a:cubicBezTo>
                      <a:cubicBezTo>
                        <a:pt x="5627" y="25908"/>
                        <a:pt x="3011" y="23292"/>
                        <a:pt x="1267" y="16442"/>
                      </a:cubicBezTo>
                      <a:cubicBezTo>
                        <a:pt x="-477" y="9715"/>
                        <a:pt x="-103" y="3861"/>
                        <a:pt x="5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9" name="Freeform 4535">
                  <a:extLst>
                    <a:ext uri="{FF2B5EF4-FFF2-40B4-BE49-F238E27FC236}">
                      <a16:creationId xmlns:a16="http://schemas.microsoft.com/office/drawing/2014/main" id="{6EFC4A67-5F98-08D7-9C17-695880EB1A41}"/>
                    </a:ext>
                  </a:extLst>
                </p:cNvPr>
                <p:cNvSpPr/>
                <p:nvPr/>
              </p:nvSpPr>
              <p:spPr>
                <a:xfrm>
                  <a:off x="6252172" y="5817291"/>
                  <a:ext cx="9839" cy="51193"/>
                </a:xfrm>
                <a:custGeom>
                  <a:avLst/>
                  <a:gdLst>
                    <a:gd name="connsiteX0" fmla="*/ 0 w 9839"/>
                    <a:gd name="connsiteY0" fmla="*/ 0 h 51193"/>
                    <a:gd name="connsiteX1" fmla="*/ 5231 w 9839"/>
                    <a:gd name="connsiteY1" fmla="*/ 18061 h 51193"/>
                    <a:gd name="connsiteX2" fmla="*/ 4858 w 9839"/>
                    <a:gd name="connsiteY2" fmla="*/ 35499 h 51193"/>
                    <a:gd name="connsiteX3" fmla="*/ 984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0" y="0"/>
                      </a:moveTo>
                      <a:cubicBezTo>
                        <a:pt x="3861" y="7474"/>
                        <a:pt x="4982" y="13701"/>
                        <a:pt x="5231" y="18061"/>
                      </a:cubicBezTo>
                      <a:cubicBezTo>
                        <a:pt x="5730" y="25036"/>
                        <a:pt x="4110" y="28399"/>
                        <a:pt x="4858" y="35499"/>
                      </a:cubicBezTo>
                      <a:cubicBezTo>
                        <a:pt x="5605" y="42350"/>
                        <a:pt x="7971" y="47706"/>
                        <a:pt x="984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30" name="Freeform 4536">
                  <a:extLst>
                    <a:ext uri="{FF2B5EF4-FFF2-40B4-BE49-F238E27FC236}">
                      <a16:creationId xmlns:a16="http://schemas.microsoft.com/office/drawing/2014/main" id="{7A755B11-DE05-07F5-4122-39E0EA4955B1}"/>
                    </a:ext>
                  </a:extLst>
                </p:cNvPr>
                <p:cNvSpPr/>
                <p:nvPr/>
              </p:nvSpPr>
              <p:spPr>
                <a:xfrm>
                  <a:off x="6252471" y="5856577"/>
                  <a:ext cx="26305" cy="26587"/>
                </a:xfrm>
                <a:custGeom>
                  <a:avLst/>
                  <a:gdLst>
                    <a:gd name="connsiteX0" fmla="*/ 199 w 26305"/>
                    <a:gd name="connsiteY0" fmla="*/ 15644 h 26587"/>
                    <a:gd name="connsiteX1" fmla="*/ 10786 w 26305"/>
                    <a:gd name="connsiteY1" fmla="*/ 199 h 26587"/>
                    <a:gd name="connsiteX2" fmla="*/ 26107 w 26305"/>
                    <a:gd name="connsiteY2" fmla="*/ 10911 h 26587"/>
                    <a:gd name="connsiteX3" fmla="*/ 15520 w 26305"/>
                    <a:gd name="connsiteY3" fmla="*/ 26356 h 26587"/>
                    <a:gd name="connsiteX4" fmla="*/ 199 w 26305"/>
                    <a:gd name="connsiteY4" fmla="*/ 15644 h 2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587">
                      <a:moveTo>
                        <a:pt x="199" y="15644"/>
                      </a:moveTo>
                      <a:cubicBezTo>
                        <a:pt x="-1046" y="8420"/>
                        <a:pt x="3686" y="1569"/>
                        <a:pt x="10786" y="199"/>
                      </a:cubicBezTo>
                      <a:cubicBezTo>
                        <a:pt x="18011" y="-1047"/>
                        <a:pt x="24737" y="3686"/>
                        <a:pt x="26107" y="10911"/>
                      </a:cubicBezTo>
                      <a:cubicBezTo>
                        <a:pt x="27353" y="18135"/>
                        <a:pt x="22619" y="24986"/>
                        <a:pt x="15520" y="26356"/>
                      </a:cubicBezTo>
                      <a:cubicBezTo>
                        <a:pt x="8420" y="27726"/>
                        <a:pt x="1444" y="22868"/>
                        <a:pt x="199"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0" name="Graphic 2987">
                <a:extLst>
                  <a:ext uri="{FF2B5EF4-FFF2-40B4-BE49-F238E27FC236}">
                    <a16:creationId xmlns:a16="http://schemas.microsoft.com/office/drawing/2014/main" id="{756F2BBD-7D31-BB57-DE8D-8A13D5D46F2B}"/>
                  </a:ext>
                </a:extLst>
              </p:cNvPr>
              <p:cNvGrpSpPr/>
              <p:nvPr/>
            </p:nvGrpSpPr>
            <p:grpSpPr>
              <a:xfrm>
                <a:off x="6260323" y="5730812"/>
                <a:ext cx="47476" cy="147088"/>
                <a:chOff x="6260323" y="5730812"/>
                <a:chExt cx="47476" cy="147088"/>
              </a:xfrm>
              <a:grpFill/>
            </p:grpSpPr>
            <p:sp>
              <p:nvSpPr>
                <p:cNvPr id="4919" name="Freeform 4538">
                  <a:extLst>
                    <a:ext uri="{FF2B5EF4-FFF2-40B4-BE49-F238E27FC236}">
                      <a16:creationId xmlns:a16="http://schemas.microsoft.com/office/drawing/2014/main" id="{DAD86AF3-9840-46D4-8F1A-141EFC708E79}"/>
                    </a:ext>
                  </a:extLst>
                </p:cNvPr>
                <p:cNvSpPr/>
                <p:nvPr/>
              </p:nvSpPr>
              <p:spPr>
                <a:xfrm>
                  <a:off x="6270644" y="5751649"/>
                  <a:ext cx="9233" cy="51442"/>
                </a:xfrm>
                <a:custGeom>
                  <a:avLst/>
                  <a:gdLst>
                    <a:gd name="connsiteX0" fmla="*/ 461 w 9233"/>
                    <a:gd name="connsiteY0" fmla="*/ 0 h 51442"/>
                    <a:gd name="connsiteX1" fmla="*/ 1707 w 9233"/>
                    <a:gd name="connsiteY1" fmla="*/ 18808 h 51442"/>
                    <a:gd name="connsiteX2" fmla="*/ 8059 w 9233"/>
                    <a:gd name="connsiteY2" fmla="*/ 35001 h 51442"/>
                    <a:gd name="connsiteX3" fmla="*/ 8807 w 9233"/>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233" h="51442">
                      <a:moveTo>
                        <a:pt x="461" y="0"/>
                      </a:moveTo>
                      <a:cubicBezTo>
                        <a:pt x="-660" y="8346"/>
                        <a:pt x="461" y="14573"/>
                        <a:pt x="1707" y="18808"/>
                      </a:cubicBezTo>
                      <a:cubicBezTo>
                        <a:pt x="3700" y="25534"/>
                        <a:pt x="6315" y="28150"/>
                        <a:pt x="8059" y="35001"/>
                      </a:cubicBezTo>
                      <a:cubicBezTo>
                        <a:pt x="9678" y="41727"/>
                        <a:pt x="9305" y="47581"/>
                        <a:pt x="880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0" name="Freeform 4539">
                  <a:extLst>
                    <a:ext uri="{FF2B5EF4-FFF2-40B4-BE49-F238E27FC236}">
                      <a16:creationId xmlns:a16="http://schemas.microsoft.com/office/drawing/2014/main" id="{79008A76-A80F-1927-6CE9-DA5AD03FA9E5}"/>
                    </a:ext>
                  </a:extLst>
                </p:cNvPr>
                <p:cNvSpPr/>
                <p:nvPr/>
              </p:nvSpPr>
              <p:spPr>
                <a:xfrm>
                  <a:off x="6277333" y="5745421"/>
                  <a:ext cx="9590" cy="51317"/>
                </a:xfrm>
                <a:custGeom>
                  <a:avLst/>
                  <a:gdLst>
                    <a:gd name="connsiteX0" fmla="*/ 9591 w 9590"/>
                    <a:gd name="connsiteY0" fmla="*/ 51318 h 51317"/>
                    <a:gd name="connsiteX1" fmla="*/ 4484 w 9590"/>
                    <a:gd name="connsiteY1" fmla="*/ 33257 h 51317"/>
                    <a:gd name="connsiteX2" fmla="*/ 4982 w 9590"/>
                    <a:gd name="connsiteY2" fmla="*/ 15819 h 51317"/>
                    <a:gd name="connsiteX3" fmla="*/ 0 w 9590"/>
                    <a:gd name="connsiteY3" fmla="*/ 0 h 51317"/>
                  </a:gdLst>
                  <a:ahLst/>
                  <a:cxnLst>
                    <a:cxn ang="0">
                      <a:pos x="connsiteX0" y="connsiteY0"/>
                    </a:cxn>
                    <a:cxn ang="0">
                      <a:pos x="connsiteX1" y="connsiteY1"/>
                    </a:cxn>
                    <a:cxn ang="0">
                      <a:pos x="connsiteX2" y="connsiteY2"/>
                    </a:cxn>
                    <a:cxn ang="0">
                      <a:pos x="connsiteX3" y="connsiteY3"/>
                    </a:cxn>
                  </a:cxnLst>
                  <a:rect l="l" t="t" r="r" b="b"/>
                  <a:pathLst>
                    <a:path w="9590" h="51317">
                      <a:moveTo>
                        <a:pt x="9591" y="51318"/>
                      </a:moveTo>
                      <a:cubicBezTo>
                        <a:pt x="5730" y="43844"/>
                        <a:pt x="4733" y="37616"/>
                        <a:pt x="4484" y="33257"/>
                      </a:cubicBezTo>
                      <a:cubicBezTo>
                        <a:pt x="4110" y="26282"/>
                        <a:pt x="5605" y="22919"/>
                        <a:pt x="4982"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1" name="Freeform 4540">
                  <a:extLst>
                    <a:ext uri="{FF2B5EF4-FFF2-40B4-BE49-F238E27FC236}">
                      <a16:creationId xmlns:a16="http://schemas.microsoft.com/office/drawing/2014/main" id="{DAACCA45-1A76-12B9-66DB-388A0D5BCA8B}"/>
                    </a:ext>
                  </a:extLst>
                </p:cNvPr>
                <p:cNvSpPr/>
                <p:nvPr/>
              </p:nvSpPr>
              <p:spPr>
                <a:xfrm>
                  <a:off x="6260323" y="5730812"/>
                  <a:ext cx="26546" cy="26516"/>
                </a:xfrm>
                <a:custGeom>
                  <a:avLst/>
                  <a:gdLst>
                    <a:gd name="connsiteX0" fmla="*/ 26352 w 26546"/>
                    <a:gd name="connsiteY0" fmla="*/ 10997 h 26516"/>
                    <a:gd name="connsiteX1" fmla="*/ 15516 w 26546"/>
                    <a:gd name="connsiteY1" fmla="*/ 26318 h 26516"/>
                    <a:gd name="connsiteX2" fmla="*/ 195 w 26546"/>
                    <a:gd name="connsiteY2" fmla="*/ 15606 h 26516"/>
                    <a:gd name="connsiteX3" fmla="*/ 11031 w 26546"/>
                    <a:gd name="connsiteY3" fmla="*/ 161 h 26516"/>
                    <a:gd name="connsiteX4" fmla="*/ 26352 w 26546"/>
                    <a:gd name="connsiteY4" fmla="*/ 10997 h 26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16">
                      <a:moveTo>
                        <a:pt x="26352" y="10997"/>
                      </a:moveTo>
                      <a:cubicBezTo>
                        <a:pt x="27598" y="18222"/>
                        <a:pt x="22740" y="25072"/>
                        <a:pt x="15516" y="26318"/>
                      </a:cubicBezTo>
                      <a:cubicBezTo>
                        <a:pt x="8291" y="27564"/>
                        <a:pt x="1440" y="22830"/>
                        <a:pt x="195" y="15606"/>
                      </a:cubicBezTo>
                      <a:cubicBezTo>
                        <a:pt x="-1051" y="8382"/>
                        <a:pt x="3807" y="1407"/>
                        <a:pt x="11031" y="161"/>
                      </a:cubicBezTo>
                      <a:cubicBezTo>
                        <a:pt x="18131" y="-960"/>
                        <a:pt x="25106" y="3898"/>
                        <a:pt x="26352" y="1099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2" name="Freeform 4541">
                  <a:extLst>
                    <a:ext uri="{FF2B5EF4-FFF2-40B4-BE49-F238E27FC236}">
                      <a16:creationId xmlns:a16="http://schemas.microsoft.com/office/drawing/2014/main" id="{FF03187C-4EF8-1B93-B382-B778FAA3AAED}"/>
                    </a:ext>
                  </a:extLst>
                </p:cNvPr>
                <p:cNvSpPr/>
                <p:nvPr/>
              </p:nvSpPr>
              <p:spPr>
                <a:xfrm>
                  <a:off x="6288116" y="5805458"/>
                  <a:ext cx="9178" cy="51566"/>
                </a:xfrm>
                <a:custGeom>
                  <a:avLst/>
                  <a:gdLst>
                    <a:gd name="connsiteX0" fmla="*/ 8772 w 9178"/>
                    <a:gd name="connsiteY0" fmla="*/ 51567 h 51566"/>
                    <a:gd name="connsiteX1" fmla="*/ 7527 w 9178"/>
                    <a:gd name="connsiteY1" fmla="*/ 32759 h 51566"/>
                    <a:gd name="connsiteX2" fmla="*/ 1174 w 9178"/>
                    <a:gd name="connsiteY2" fmla="*/ 16442 h 51566"/>
                    <a:gd name="connsiteX3" fmla="*/ 427 w 9178"/>
                    <a:gd name="connsiteY3" fmla="*/ 0 h 51566"/>
                  </a:gdLst>
                  <a:ahLst/>
                  <a:cxnLst>
                    <a:cxn ang="0">
                      <a:pos x="connsiteX0" y="connsiteY0"/>
                    </a:cxn>
                    <a:cxn ang="0">
                      <a:pos x="connsiteX1" y="connsiteY1"/>
                    </a:cxn>
                    <a:cxn ang="0">
                      <a:pos x="connsiteX2" y="connsiteY2"/>
                    </a:cxn>
                    <a:cxn ang="0">
                      <a:pos x="connsiteX3" y="connsiteY3"/>
                    </a:cxn>
                  </a:cxnLst>
                  <a:rect l="l" t="t" r="r" b="b"/>
                  <a:pathLst>
                    <a:path w="9178" h="51566">
                      <a:moveTo>
                        <a:pt x="8772" y="51567"/>
                      </a:moveTo>
                      <a:cubicBezTo>
                        <a:pt x="9769" y="43222"/>
                        <a:pt x="8772" y="36994"/>
                        <a:pt x="7527" y="32759"/>
                      </a:cubicBezTo>
                      <a:cubicBezTo>
                        <a:pt x="5534" y="26033"/>
                        <a:pt x="2918" y="23417"/>
                        <a:pt x="1174" y="16442"/>
                      </a:cubicBezTo>
                      <a:cubicBezTo>
                        <a:pt x="-445" y="9715"/>
                        <a:pt x="-72" y="3861"/>
                        <a:pt x="4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3" name="Freeform 4542">
                  <a:extLst>
                    <a:ext uri="{FF2B5EF4-FFF2-40B4-BE49-F238E27FC236}">
                      <a16:creationId xmlns:a16="http://schemas.microsoft.com/office/drawing/2014/main" id="{D7B42FBA-9D94-3978-A314-14E68ADA5CF2}"/>
                    </a:ext>
                  </a:extLst>
                </p:cNvPr>
                <p:cNvSpPr/>
                <p:nvPr/>
              </p:nvSpPr>
              <p:spPr>
                <a:xfrm>
                  <a:off x="6281194" y="5811935"/>
                  <a:ext cx="9715" cy="51193"/>
                </a:xfrm>
                <a:custGeom>
                  <a:avLst/>
                  <a:gdLst>
                    <a:gd name="connsiteX0" fmla="*/ 0 w 9715"/>
                    <a:gd name="connsiteY0" fmla="*/ 0 h 51193"/>
                    <a:gd name="connsiteX1" fmla="*/ 5107 w 9715"/>
                    <a:gd name="connsiteY1" fmla="*/ 18061 h 51193"/>
                    <a:gd name="connsiteX2" fmla="*/ 4733 w 9715"/>
                    <a:gd name="connsiteY2" fmla="*/ 35499 h 51193"/>
                    <a:gd name="connsiteX3" fmla="*/ 9715 w 9715"/>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715" h="51193">
                      <a:moveTo>
                        <a:pt x="0" y="0"/>
                      </a:moveTo>
                      <a:cubicBezTo>
                        <a:pt x="3861" y="7474"/>
                        <a:pt x="4858" y="13701"/>
                        <a:pt x="5107" y="18061"/>
                      </a:cubicBezTo>
                      <a:cubicBezTo>
                        <a:pt x="5481" y="25036"/>
                        <a:pt x="3986" y="28399"/>
                        <a:pt x="4733" y="35499"/>
                      </a:cubicBezTo>
                      <a:cubicBezTo>
                        <a:pt x="5481" y="42350"/>
                        <a:pt x="7847" y="47706"/>
                        <a:pt x="9715"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24" name="Freeform 4543">
                  <a:extLst>
                    <a:ext uri="{FF2B5EF4-FFF2-40B4-BE49-F238E27FC236}">
                      <a16:creationId xmlns:a16="http://schemas.microsoft.com/office/drawing/2014/main" id="{7D368A4D-A313-F122-376B-58FE16818A08}"/>
                    </a:ext>
                  </a:extLst>
                </p:cNvPr>
                <p:cNvSpPr/>
                <p:nvPr/>
              </p:nvSpPr>
              <p:spPr>
                <a:xfrm>
                  <a:off x="6281369" y="5851474"/>
                  <a:ext cx="26430" cy="26426"/>
                </a:xfrm>
                <a:custGeom>
                  <a:avLst/>
                  <a:gdLst>
                    <a:gd name="connsiteX0" fmla="*/ 199 w 26430"/>
                    <a:gd name="connsiteY0" fmla="*/ 15516 h 26426"/>
                    <a:gd name="connsiteX1" fmla="*/ 10911 w 26430"/>
                    <a:gd name="connsiteY1" fmla="*/ 195 h 26426"/>
                    <a:gd name="connsiteX2" fmla="*/ 26231 w 26430"/>
                    <a:gd name="connsiteY2" fmla="*/ 11031 h 26426"/>
                    <a:gd name="connsiteX3" fmla="*/ 15520 w 26430"/>
                    <a:gd name="connsiteY3" fmla="*/ 26227 h 26426"/>
                    <a:gd name="connsiteX4" fmla="*/ 199 w 26430"/>
                    <a:gd name="connsiteY4" fmla="*/ 15516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0" h="26426">
                      <a:moveTo>
                        <a:pt x="199" y="15516"/>
                      </a:moveTo>
                      <a:cubicBezTo>
                        <a:pt x="-1047" y="8291"/>
                        <a:pt x="3686" y="1316"/>
                        <a:pt x="10911" y="195"/>
                      </a:cubicBezTo>
                      <a:cubicBezTo>
                        <a:pt x="18135" y="-1051"/>
                        <a:pt x="24986" y="3807"/>
                        <a:pt x="26231" y="11031"/>
                      </a:cubicBezTo>
                      <a:cubicBezTo>
                        <a:pt x="27477" y="18256"/>
                        <a:pt x="22744" y="25106"/>
                        <a:pt x="15520" y="26227"/>
                      </a:cubicBezTo>
                      <a:cubicBezTo>
                        <a:pt x="8295" y="27473"/>
                        <a:pt x="1569" y="22740"/>
                        <a:pt x="199"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1" name="Graphic 2987">
                <a:extLst>
                  <a:ext uri="{FF2B5EF4-FFF2-40B4-BE49-F238E27FC236}">
                    <a16:creationId xmlns:a16="http://schemas.microsoft.com/office/drawing/2014/main" id="{48BD3E0F-3879-0C4A-46CB-4271E99915A4}"/>
                  </a:ext>
                </a:extLst>
              </p:cNvPr>
              <p:cNvGrpSpPr/>
              <p:nvPr/>
            </p:nvGrpSpPr>
            <p:grpSpPr>
              <a:xfrm>
                <a:off x="6289594" y="5725920"/>
                <a:ext cx="47098" cy="147114"/>
                <a:chOff x="6289594" y="5725920"/>
                <a:chExt cx="47098" cy="147114"/>
              </a:xfrm>
              <a:grpFill/>
            </p:grpSpPr>
            <p:sp>
              <p:nvSpPr>
                <p:cNvPr id="4913" name="Freeform 4545">
                  <a:extLst>
                    <a:ext uri="{FF2B5EF4-FFF2-40B4-BE49-F238E27FC236}">
                      <a16:creationId xmlns:a16="http://schemas.microsoft.com/office/drawing/2014/main" id="{D838E354-28C8-89CB-4826-0DFEEB229B8E}"/>
                    </a:ext>
                  </a:extLst>
                </p:cNvPr>
                <p:cNvSpPr/>
                <p:nvPr/>
              </p:nvSpPr>
              <p:spPr>
                <a:xfrm>
                  <a:off x="6300039" y="5746667"/>
                  <a:ext cx="9089" cy="51566"/>
                </a:xfrm>
                <a:custGeom>
                  <a:avLst/>
                  <a:gdLst>
                    <a:gd name="connsiteX0" fmla="*/ 461 w 9089"/>
                    <a:gd name="connsiteY0" fmla="*/ 0 h 51566"/>
                    <a:gd name="connsiteX1" fmla="*/ 1707 w 9089"/>
                    <a:gd name="connsiteY1" fmla="*/ 18808 h 51566"/>
                    <a:gd name="connsiteX2" fmla="*/ 7935 w 9089"/>
                    <a:gd name="connsiteY2" fmla="*/ 35125 h 51566"/>
                    <a:gd name="connsiteX3" fmla="*/ 8558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461" y="0"/>
                      </a:moveTo>
                      <a:cubicBezTo>
                        <a:pt x="-660" y="8345"/>
                        <a:pt x="461" y="14573"/>
                        <a:pt x="1707" y="18808"/>
                      </a:cubicBezTo>
                      <a:cubicBezTo>
                        <a:pt x="3700" y="25534"/>
                        <a:pt x="6315" y="28150"/>
                        <a:pt x="7935" y="35125"/>
                      </a:cubicBezTo>
                      <a:cubicBezTo>
                        <a:pt x="9554" y="41851"/>
                        <a:pt x="9180" y="47705"/>
                        <a:pt x="8558"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4" name="Freeform 4546">
                  <a:extLst>
                    <a:ext uri="{FF2B5EF4-FFF2-40B4-BE49-F238E27FC236}">
                      <a16:creationId xmlns:a16="http://schemas.microsoft.com/office/drawing/2014/main" id="{6360BC3A-4C8C-CED1-D23D-C5DF8A573E40}"/>
                    </a:ext>
                  </a:extLst>
                </p:cNvPr>
                <p:cNvSpPr/>
                <p:nvPr/>
              </p:nvSpPr>
              <p:spPr>
                <a:xfrm>
                  <a:off x="6306604" y="5740564"/>
                  <a:ext cx="9466" cy="51317"/>
                </a:xfrm>
                <a:custGeom>
                  <a:avLst/>
                  <a:gdLst>
                    <a:gd name="connsiteX0" fmla="*/ 9466 w 9466"/>
                    <a:gd name="connsiteY0" fmla="*/ 51318 h 51317"/>
                    <a:gd name="connsiteX1" fmla="*/ 4360 w 9466"/>
                    <a:gd name="connsiteY1" fmla="*/ 33257 h 51317"/>
                    <a:gd name="connsiteX2" fmla="*/ 4858 w 9466"/>
                    <a:gd name="connsiteY2" fmla="*/ 15819 h 51317"/>
                    <a:gd name="connsiteX3" fmla="*/ 0 w 9466"/>
                    <a:gd name="connsiteY3" fmla="*/ 0 h 51317"/>
                  </a:gdLst>
                  <a:ahLst/>
                  <a:cxnLst>
                    <a:cxn ang="0">
                      <a:pos x="connsiteX0" y="connsiteY0"/>
                    </a:cxn>
                    <a:cxn ang="0">
                      <a:pos x="connsiteX1" y="connsiteY1"/>
                    </a:cxn>
                    <a:cxn ang="0">
                      <a:pos x="connsiteX2" y="connsiteY2"/>
                    </a:cxn>
                    <a:cxn ang="0">
                      <a:pos x="connsiteX3" y="connsiteY3"/>
                    </a:cxn>
                  </a:cxnLst>
                  <a:rect l="l" t="t" r="r" b="b"/>
                  <a:pathLst>
                    <a:path w="9466" h="51317">
                      <a:moveTo>
                        <a:pt x="9466" y="51318"/>
                      </a:moveTo>
                      <a:cubicBezTo>
                        <a:pt x="5605" y="43844"/>
                        <a:pt x="4609" y="37492"/>
                        <a:pt x="4360" y="33257"/>
                      </a:cubicBezTo>
                      <a:cubicBezTo>
                        <a:pt x="3986"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5" name="Freeform 4547">
                  <a:extLst>
                    <a:ext uri="{FF2B5EF4-FFF2-40B4-BE49-F238E27FC236}">
                      <a16:creationId xmlns:a16="http://schemas.microsoft.com/office/drawing/2014/main" id="{6248AFC6-0EC6-AEA8-59A6-B0BE31375656}"/>
                    </a:ext>
                  </a:extLst>
                </p:cNvPr>
                <p:cNvSpPr/>
                <p:nvPr/>
              </p:nvSpPr>
              <p:spPr>
                <a:xfrm>
                  <a:off x="6289594" y="5725920"/>
                  <a:ext cx="26546" cy="26546"/>
                </a:xfrm>
                <a:custGeom>
                  <a:avLst/>
                  <a:gdLst>
                    <a:gd name="connsiteX0" fmla="*/ 26352 w 26546"/>
                    <a:gd name="connsiteY0" fmla="*/ 11031 h 26546"/>
                    <a:gd name="connsiteX1" fmla="*/ 15516 w 26546"/>
                    <a:gd name="connsiteY1" fmla="*/ 26352 h 26546"/>
                    <a:gd name="connsiteX2" fmla="*/ 195 w 26546"/>
                    <a:gd name="connsiteY2" fmla="*/ 15515 h 26546"/>
                    <a:gd name="connsiteX3" fmla="*/ 11031 w 26546"/>
                    <a:gd name="connsiteY3" fmla="*/ 195 h 26546"/>
                    <a:gd name="connsiteX4" fmla="*/ 26352 w 26546"/>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352" y="11031"/>
                      </a:moveTo>
                      <a:cubicBezTo>
                        <a:pt x="27598" y="18255"/>
                        <a:pt x="22740" y="25106"/>
                        <a:pt x="15516" y="26352"/>
                      </a:cubicBezTo>
                      <a:cubicBezTo>
                        <a:pt x="8291" y="27597"/>
                        <a:pt x="1440" y="22740"/>
                        <a:pt x="195" y="15515"/>
                      </a:cubicBezTo>
                      <a:cubicBezTo>
                        <a:pt x="-1051" y="8291"/>
                        <a:pt x="3807" y="1440"/>
                        <a:pt x="11031" y="195"/>
                      </a:cubicBezTo>
                      <a:cubicBezTo>
                        <a:pt x="18256" y="-1051"/>
                        <a:pt x="25106" y="3807"/>
                        <a:pt x="26352"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6" name="Freeform 4548">
                  <a:extLst>
                    <a:ext uri="{FF2B5EF4-FFF2-40B4-BE49-F238E27FC236}">
                      <a16:creationId xmlns:a16="http://schemas.microsoft.com/office/drawing/2014/main" id="{0EEF63A6-826B-0850-56B0-70BF4EEBDEA6}"/>
                    </a:ext>
                  </a:extLst>
                </p:cNvPr>
                <p:cNvSpPr/>
                <p:nvPr/>
              </p:nvSpPr>
              <p:spPr>
                <a:xfrm>
                  <a:off x="6317407" y="5800600"/>
                  <a:ext cx="9089" cy="51567"/>
                </a:xfrm>
                <a:custGeom>
                  <a:avLst/>
                  <a:gdLst>
                    <a:gd name="connsiteX0" fmla="*/ 8628 w 9089"/>
                    <a:gd name="connsiteY0" fmla="*/ 51567 h 51567"/>
                    <a:gd name="connsiteX1" fmla="*/ 7383 w 9089"/>
                    <a:gd name="connsiteY1" fmla="*/ 32759 h 51567"/>
                    <a:gd name="connsiteX2" fmla="*/ 1155 w 9089"/>
                    <a:gd name="connsiteY2" fmla="*/ 16442 h 51567"/>
                    <a:gd name="connsiteX3" fmla="*/ 532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8628" y="51567"/>
                      </a:moveTo>
                      <a:cubicBezTo>
                        <a:pt x="9749" y="43222"/>
                        <a:pt x="8628" y="36994"/>
                        <a:pt x="7383" y="32759"/>
                      </a:cubicBezTo>
                      <a:cubicBezTo>
                        <a:pt x="5390" y="26033"/>
                        <a:pt x="2774"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7" name="Freeform 4549">
                  <a:extLst>
                    <a:ext uri="{FF2B5EF4-FFF2-40B4-BE49-F238E27FC236}">
                      <a16:creationId xmlns:a16="http://schemas.microsoft.com/office/drawing/2014/main" id="{B42511BD-43C3-D5D9-0396-F0E57D6D9262}"/>
                    </a:ext>
                  </a:extLst>
                </p:cNvPr>
                <p:cNvSpPr/>
                <p:nvPr/>
              </p:nvSpPr>
              <p:spPr>
                <a:xfrm>
                  <a:off x="6310340" y="5807078"/>
                  <a:ext cx="9466" cy="51317"/>
                </a:xfrm>
                <a:custGeom>
                  <a:avLst/>
                  <a:gdLst>
                    <a:gd name="connsiteX0" fmla="*/ 0 w 9466"/>
                    <a:gd name="connsiteY0" fmla="*/ 0 h 51317"/>
                    <a:gd name="connsiteX1" fmla="*/ 5107 w 9466"/>
                    <a:gd name="connsiteY1" fmla="*/ 18061 h 51317"/>
                    <a:gd name="connsiteX2" fmla="*/ 4609 w 9466"/>
                    <a:gd name="connsiteY2" fmla="*/ 35499 h 51317"/>
                    <a:gd name="connsiteX3" fmla="*/ 9467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0" y="0"/>
                      </a:moveTo>
                      <a:cubicBezTo>
                        <a:pt x="3861" y="7473"/>
                        <a:pt x="4858" y="13826"/>
                        <a:pt x="5107" y="18061"/>
                      </a:cubicBezTo>
                      <a:cubicBezTo>
                        <a:pt x="5481" y="25036"/>
                        <a:pt x="3986" y="28399"/>
                        <a:pt x="4609" y="35499"/>
                      </a:cubicBezTo>
                      <a:cubicBezTo>
                        <a:pt x="5356"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8" name="Freeform 4550">
                  <a:extLst>
                    <a:ext uri="{FF2B5EF4-FFF2-40B4-BE49-F238E27FC236}">
                      <a16:creationId xmlns:a16="http://schemas.microsoft.com/office/drawing/2014/main" id="{13609B3E-FCF9-827D-90AB-1CB8DD2A4578}"/>
                    </a:ext>
                  </a:extLst>
                </p:cNvPr>
                <p:cNvSpPr/>
                <p:nvPr/>
              </p:nvSpPr>
              <p:spPr>
                <a:xfrm>
                  <a:off x="6310395" y="5846617"/>
                  <a:ext cx="26297" cy="26418"/>
                </a:xfrm>
                <a:custGeom>
                  <a:avLst/>
                  <a:gdLst>
                    <a:gd name="connsiteX0" fmla="*/ 195 w 26297"/>
                    <a:gd name="connsiteY0" fmla="*/ 15391 h 26418"/>
                    <a:gd name="connsiteX1" fmla="*/ 10907 w 26297"/>
                    <a:gd name="connsiteY1" fmla="*/ 195 h 26418"/>
                    <a:gd name="connsiteX2" fmla="*/ 26103 w 26297"/>
                    <a:gd name="connsiteY2" fmla="*/ 11031 h 26418"/>
                    <a:gd name="connsiteX3" fmla="*/ 15391 w 26297"/>
                    <a:gd name="connsiteY3" fmla="*/ 26227 h 26418"/>
                    <a:gd name="connsiteX4" fmla="*/ 195 w 26297"/>
                    <a:gd name="connsiteY4" fmla="*/ 15391 h 26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18">
                      <a:moveTo>
                        <a:pt x="195" y="15391"/>
                      </a:moveTo>
                      <a:cubicBezTo>
                        <a:pt x="-1051" y="8166"/>
                        <a:pt x="3807" y="1316"/>
                        <a:pt x="10907" y="195"/>
                      </a:cubicBezTo>
                      <a:cubicBezTo>
                        <a:pt x="18131" y="-1051"/>
                        <a:pt x="24857" y="3807"/>
                        <a:pt x="26103" y="11031"/>
                      </a:cubicBezTo>
                      <a:cubicBezTo>
                        <a:pt x="27348" y="18255"/>
                        <a:pt x="22491" y="25106"/>
                        <a:pt x="15391" y="26227"/>
                      </a:cubicBezTo>
                      <a:cubicBezTo>
                        <a:pt x="8291" y="27473"/>
                        <a:pt x="1440" y="22490"/>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2" name="Graphic 2987">
                <a:extLst>
                  <a:ext uri="{FF2B5EF4-FFF2-40B4-BE49-F238E27FC236}">
                    <a16:creationId xmlns:a16="http://schemas.microsoft.com/office/drawing/2014/main" id="{191F5D7D-12CE-48AF-D4B6-92A8389C6074}"/>
                  </a:ext>
                </a:extLst>
              </p:cNvPr>
              <p:cNvGrpSpPr/>
              <p:nvPr/>
            </p:nvGrpSpPr>
            <p:grpSpPr>
              <a:xfrm>
                <a:off x="6318865" y="5720938"/>
                <a:ext cx="46849" cy="147118"/>
                <a:chOff x="6318865" y="5720938"/>
                <a:chExt cx="46849" cy="147118"/>
              </a:xfrm>
              <a:grpFill/>
            </p:grpSpPr>
            <p:sp>
              <p:nvSpPr>
                <p:cNvPr id="4907" name="Freeform 4552">
                  <a:extLst>
                    <a:ext uri="{FF2B5EF4-FFF2-40B4-BE49-F238E27FC236}">
                      <a16:creationId xmlns:a16="http://schemas.microsoft.com/office/drawing/2014/main" id="{FFC9A1F8-31B9-4D98-26B9-A3E8B8F7634A}"/>
                    </a:ext>
                  </a:extLst>
                </p:cNvPr>
                <p:cNvSpPr/>
                <p:nvPr/>
              </p:nvSpPr>
              <p:spPr>
                <a:xfrm>
                  <a:off x="6329307" y="5741809"/>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578" y="25535"/>
                        <a:pt x="6194"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8" name="Freeform 4553">
                  <a:extLst>
                    <a:ext uri="{FF2B5EF4-FFF2-40B4-BE49-F238E27FC236}">
                      <a16:creationId xmlns:a16="http://schemas.microsoft.com/office/drawing/2014/main" id="{D830C1FB-308F-B092-F7B5-AA6EA773F574}"/>
                    </a:ext>
                  </a:extLst>
                </p:cNvPr>
                <p:cNvSpPr/>
                <p:nvPr/>
              </p:nvSpPr>
              <p:spPr>
                <a:xfrm>
                  <a:off x="6335875" y="5735581"/>
                  <a:ext cx="9466" cy="51318"/>
                </a:xfrm>
                <a:custGeom>
                  <a:avLst/>
                  <a:gdLst>
                    <a:gd name="connsiteX0" fmla="*/ 9466 w 9466"/>
                    <a:gd name="connsiteY0" fmla="*/ 51318 h 51318"/>
                    <a:gd name="connsiteX1" fmla="*/ 4359 w 9466"/>
                    <a:gd name="connsiteY1" fmla="*/ 33257 h 51318"/>
                    <a:gd name="connsiteX2" fmla="*/ 4858 w 9466"/>
                    <a:gd name="connsiteY2" fmla="*/ 15819 h 51318"/>
                    <a:gd name="connsiteX3" fmla="*/ 0 w 9466"/>
                    <a:gd name="connsiteY3" fmla="*/ 0 h 51318"/>
                  </a:gdLst>
                  <a:ahLst/>
                  <a:cxnLst>
                    <a:cxn ang="0">
                      <a:pos x="connsiteX0" y="connsiteY0"/>
                    </a:cxn>
                    <a:cxn ang="0">
                      <a:pos x="connsiteX1" y="connsiteY1"/>
                    </a:cxn>
                    <a:cxn ang="0">
                      <a:pos x="connsiteX2" y="connsiteY2"/>
                    </a:cxn>
                    <a:cxn ang="0">
                      <a:pos x="connsiteX3" y="connsiteY3"/>
                    </a:cxn>
                  </a:cxnLst>
                  <a:rect l="l" t="t" r="r" b="b"/>
                  <a:pathLst>
                    <a:path w="9466" h="51318">
                      <a:moveTo>
                        <a:pt x="9466" y="51318"/>
                      </a:moveTo>
                      <a:cubicBezTo>
                        <a:pt x="5730" y="43845"/>
                        <a:pt x="4609" y="37492"/>
                        <a:pt x="4359" y="33257"/>
                      </a:cubicBezTo>
                      <a:cubicBezTo>
                        <a:pt x="3986" y="26282"/>
                        <a:pt x="5605"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9" name="Freeform 4554">
                  <a:extLst>
                    <a:ext uri="{FF2B5EF4-FFF2-40B4-BE49-F238E27FC236}">
                      <a16:creationId xmlns:a16="http://schemas.microsoft.com/office/drawing/2014/main" id="{6726B72A-7082-6773-99F9-6C84BB77D133}"/>
                    </a:ext>
                  </a:extLst>
                </p:cNvPr>
                <p:cNvSpPr/>
                <p:nvPr/>
              </p:nvSpPr>
              <p:spPr>
                <a:xfrm>
                  <a:off x="6318865" y="5720938"/>
                  <a:ext cx="26670" cy="26546"/>
                </a:xfrm>
                <a:custGeom>
                  <a:avLst/>
                  <a:gdLst>
                    <a:gd name="connsiteX0" fmla="*/ 26476 w 26670"/>
                    <a:gd name="connsiteY0" fmla="*/ 11032 h 26546"/>
                    <a:gd name="connsiteX1" fmla="*/ 15515 w 26670"/>
                    <a:gd name="connsiteY1" fmla="*/ 26352 h 26546"/>
                    <a:gd name="connsiteX2" fmla="*/ 195 w 26670"/>
                    <a:gd name="connsiteY2" fmla="*/ 15515 h 26546"/>
                    <a:gd name="connsiteX3" fmla="*/ 11156 w 26670"/>
                    <a:gd name="connsiteY3" fmla="*/ 195 h 26546"/>
                    <a:gd name="connsiteX4" fmla="*/ 26476 w 26670"/>
                    <a:gd name="connsiteY4" fmla="*/ 1103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476" y="11032"/>
                      </a:moveTo>
                      <a:cubicBezTo>
                        <a:pt x="27722" y="18256"/>
                        <a:pt x="22864" y="25106"/>
                        <a:pt x="15515" y="26352"/>
                      </a:cubicBezTo>
                      <a:cubicBezTo>
                        <a:pt x="8291" y="27598"/>
                        <a:pt x="1440" y="22740"/>
                        <a:pt x="195" y="15515"/>
                      </a:cubicBezTo>
                      <a:cubicBezTo>
                        <a:pt x="-1051" y="8291"/>
                        <a:pt x="3807" y="1440"/>
                        <a:pt x="11156" y="195"/>
                      </a:cubicBezTo>
                      <a:cubicBezTo>
                        <a:pt x="18380" y="-1051"/>
                        <a:pt x="25231" y="3807"/>
                        <a:pt x="26476" y="110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0" name="Freeform 4555">
                  <a:extLst>
                    <a:ext uri="{FF2B5EF4-FFF2-40B4-BE49-F238E27FC236}">
                      <a16:creationId xmlns:a16="http://schemas.microsoft.com/office/drawing/2014/main" id="{80B4B410-A0BB-21EE-B4A6-6D61DF5E463A}"/>
                    </a:ext>
                  </a:extLst>
                </p:cNvPr>
                <p:cNvSpPr/>
                <p:nvPr/>
              </p:nvSpPr>
              <p:spPr>
                <a:xfrm>
                  <a:off x="6346553" y="5795743"/>
                  <a:ext cx="8968" cy="51566"/>
                </a:xfrm>
                <a:custGeom>
                  <a:avLst/>
                  <a:gdLst>
                    <a:gd name="connsiteX0" fmla="*/ 8504 w 8968"/>
                    <a:gd name="connsiteY0" fmla="*/ 51567 h 51566"/>
                    <a:gd name="connsiteX1" fmla="*/ 7383 w 8968"/>
                    <a:gd name="connsiteY1" fmla="*/ 32759 h 51566"/>
                    <a:gd name="connsiteX2" fmla="*/ 1155 w 8968"/>
                    <a:gd name="connsiteY2" fmla="*/ 16442 h 51566"/>
                    <a:gd name="connsiteX3" fmla="*/ 532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8504" y="51567"/>
                      </a:moveTo>
                      <a:cubicBezTo>
                        <a:pt x="9625" y="43222"/>
                        <a:pt x="8504" y="36994"/>
                        <a:pt x="7383" y="32759"/>
                      </a:cubicBezTo>
                      <a:cubicBezTo>
                        <a:pt x="5514" y="26033"/>
                        <a:pt x="2899" y="23417"/>
                        <a:pt x="1155" y="16442"/>
                      </a:cubicBezTo>
                      <a:cubicBezTo>
                        <a:pt x="-464" y="9715"/>
                        <a:pt x="-91" y="3861"/>
                        <a:pt x="53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1" name="Freeform 4556">
                  <a:extLst>
                    <a:ext uri="{FF2B5EF4-FFF2-40B4-BE49-F238E27FC236}">
                      <a16:creationId xmlns:a16="http://schemas.microsoft.com/office/drawing/2014/main" id="{54A67334-9C68-6722-7816-E3F23A08D53B}"/>
                    </a:ext>
                  </a:extLst>
                </p:cNvPr>
                <p:cNvSpPr/>
                <p:nvPr/>
              </p:nvSpPr>
              <p:spPr>
                <a:xfrm>
                  <a:off x="6339612" y="5802095"/>
                  <a:ext cx="9466" cy="51318"/>
                </a:xfrm>
                <a:custGeom>
                  <a:avLst/>
                  <a:gdLst>
                    <a:gd name="connsiteX0" fmla="*/ 0 w 9466"/>
                    <a:gd name="connsiteY0" fmla="*/ 0 h 51318"/>
                    <a:gd name="connsiteX1" fmla="*/ 5107 w 9466"/>
                    <a:gd name="connsiteY1" fmla="*/ 18061 h 51318"/>
                    <a:gd name="connsiteX2" fmla="*/ 4609 w 9466"/>
                    <a:gd name="connsiteY2" fmla="*/ 35499 h 51318"/>
                    <a:gd name="connsiteX3" fmla="*/ 9467 w 9466"/>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466" h="51318">
                      <a:moveTo>
                        <a:pt x="0" y="0"/>
                      </a:moveTo>
                      <a:cubicBezTo>
                        <a:pt x="3737" y="7474"/>
                        <a:pt x="4858" y="13826"/>
                        <a:pt x="5107" y="18061"/>
                      </a:cubicBezTo>
                      <a:cubicBezTo>
                        <a:pt x="5481" y="25036"/>
                        <a:pt x="3861" y="28400"/>
                        <a:pt x="4609" y="35499"/>
                      </a:cubicBezTo>
                      <a:cubicBezTo>
                        <a:pt x="5232" y="42350"/>
                        <a:pt x="7598" y="47830"/>
                        <a:pt x="9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12" name="Freeform 4557">
                  <a:extLst>
                    <a:ext uri="{FF2B5EF4-FFF2-40B4-BE49-F238E27FC236}">
                      <a16:creationId xmlns:a16="http://schemas.microsoft.com/office/drawing/2014/main" id="{AC2D5DEC-0489-EB81-556F-61FB8BA33D32}"/>
                    </a:ext>
                  </a:extLst>
                </p:cNvPr>
                <p:cNvSpPr/>
                <p:nvPr/>
              </p:nvSpPr>
              <p:spPr>
                <a:xfrm>
                  <a:off x="6339417" y="5841634"/>
                  <a:ext cx="26297" cy="26422"/>
                </a:xfrm>
                <a:custGeom>
                  <a:avLst/>
                  <a:gdLst>
                    <a:gd name="connsiteX0" fmla="*/ 195 w 26297"/>
                    <a:gd name="connsiteY0" fmla="*/ 15391 h 26422"/>
                    <a:gd name="connsiteX1" fmla="*/ 10907 w 26297"/>
                    <a:gd name="connsiteY1" fmla="*/ 195 h 26422"/>
                    <a:gd name="connsiteX2" fmla="*/ 26103 w 26297"/>
                    <a:gd name="connsiteY2" fmla="*/ 11032 h 26422"/>
                    <a:gd name="connsiteX3" fmla="*/ 15391 w 26297"/>
                    <a:gd name="connsiteY3" fmla="*/ 26228 h 26422"/>
                    <a:gd name="connsiteX4" fmla="*/ 195 w 26297"/>
                    <a:gd name="connsiteY4" fmla="*/ 15391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422">
                      <a:moveTo>
                        <a:pt x="195" y="15391"/>
                      </a:moveTo>
                      <a:cubicBezTo>
                        <a:pt x="-1051" y="8167"/>
                        <a:pt x="3807" y="1316"/>
                        <a:pt x="10907" y="195"/>
                      </a:cubicBezTo>
                      <a:cubicBezTo>
                        <a:pt x="18131" y="-1051"/>
                        <a:pt x="24858" y="3807"/>
                        <a:pt x="26103" y="11032"/>
                      </a:cubicBezTo>
                      <a:cubicBezTo>
                        <a:pt x="27348" y="18256"/>
                        <a:pt x="22491" y="25106"/>
                        <a:pt x="15391" y="26228"/>
                      </a:cubicBezTo>
                      <a:cubicBezTo>
                        <a:pt x="8291" y="27473"/>
                        <a:pt x="1441" y="22615"/>
                        <a:pt x="195" y="153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3" name="Graphic 2987">
                <a:extLst>
                  <a:ext uri="{FF2B5EF4-FFF2-40B4-BE49-F238E27FC236}">
                    <a16:creationId xmlns:a16="http://schemas.microsoft.com/office/drawing/2014/main" id="{C7D74DC7-4C17-4D51-8916-088F9C75EFF4}"/>
                  </a:ext>
                </a:extLst>
              </p:cNvPr>
              <p:cNvGrpSpPr/>
              <p:nvPr/>
            </p:nvGrpSpPr>
            <p:grpSpPr>
              <a:xfrm>
                <a:off x="6348140" y="5716048"/>
                <a:ext cx="46721" cy="147150"/>
                <a:chOff x="6348140" y="5716048"/>
                <a:chExt cx="46721" cy="147150"/>
              </a:xfrm>
              <a:grpFill/>
            </p:grpSpPr>
            <p:sp>
              <p:nvSpPr>
                <p:cNvPr id="4901" name="Freeform 4559">
                  <a:extLst>
                    <a:ext uri="{FF2B5EF4-FFF2-40B4-BE49-F238E27FC236}">
                      <a16:creationId xmlns:a16="http://schemas.microsoft.com/office/drawing/2014/main" id="{BD7012FE-F114-1A7B-2083-3359CA8D3903}"/>
                    </a:ext>
                  </a:extLst>
                </p:cNvPr>
                <p:cNvSpPr/>
                <p:nvPr/>
              </p:nvSpPr>
              <p:spPr>
                <a:xfrm>
                  <a:off x="6358578" y="5736827"/>
                  <a:ext cx="8968" cy="51567"/>
                </a:xfrm>
                <a:custGeom>
                  <a:avLst/>
                  <a:gdLst>
                    <a:gd name="connsiteX0" fmla="*/ 464 w 8968"/>
                    <a:gd name="connsiteY0" fmla="*/ 0 h 51567"/>
                    <a:gd name="connsiteX1" fmla="*/ 1585 w 8968"/>
                    <a:gd name="connsiteY1" fmla="*/ 18808 h 51567"/>
                    <a:gd name="connsiteX2" fmla="*/ 7813 w 8968"/>
                    <a:gd name="connsiteY2" fmla="*/ 35125 h 51567"/>
                    <a:gd name="connsiteX3" fmla="*/ 8436 w 896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8" h="51567">
                      <a:moveTo>
                        <a:pt x="464" y="0"/>
                      </a:moveTo>
                      <a:cubicBezTo>
                        <a:pt x="-657" y="8346"/>
                        <a:pt x="464" y="14573"/>
                        <a:pt x="1585" y="18808"/>
                      </a:cubicBezTo>
                      <a:cubicBezTo>
                        <a:pt x="3454" y="25535"/>
                        <a:pt x="6070" y="28150"/>
                        <a:pt x="7813" y="35125"/>
                      </a:cubicBezTo>
                      <a:cubicBezTo>
                        <a:pt x="9432" y="41852"/>
                        <a:pt x="9059" y="47706"/>
                        <a:pt x="843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2" name="Freeform 4560">
                  <a:extLst>
                    <a:ext uri="{FF2B5EF4-FFF2-40B4-BE49-F238E27FC236}">
                      <a16:creationId xmlns:a16="http://schemas.microsoft.com/office/drawing/2014/main" id="{1E54366E-D389-A6CE-9FA2-D9B4F761EA7A}"/>
                    </a:ext>
                  </a:extLst>
                </p:cNvPr>
                <p:cNvSpPr/>
                <p:nvPr/>
              </p:nvSpPr>
              <p:spPr>
                <a:xfrm>
                  <a:off x="6365270" y="5730724"/>
                  <a:ext cx="9217" cy="51317"/>
                </a:xfrm>
                <a:custGeom>
                  <a:avLst/>
                  <a:gdLst>
                    <a:gd name="connsiteX0" fmla="*/ 9217 w 9217"/>
                    <a:gd name="connsiteY0" fmla="*/ 51318 h 51317"/>
                    <a:gd name="connsiteX1" fmla="*/ 4235 w 9217"/>
                    <a:gd name="connsiteY1" fmla="*/ 33257 h 51317"/>
                    <a:gd name="connsiteX2" fmla="*/ 4858 w 9217"/>
                    <a:gd name="connsiteY2" fmla="*/ 15819 h 51317"/>
                    <a:gd name="connsiteX3" fmla="*/ 0 w 9217"/>
                    <a:gd name="connsiteY3" fmla="*/ 0 h 51317"/>
                  </a:gdLst>
                  <a:ahLst/>
                  <a:cxnLst>
                    <a:cxn ang="0">
                      <a:pos x="connsiteX0" y="connsiteY0"/>
                    </a:cxn>
                    <a:cxn ang="0">
                      <a:pos x="connsiteX1" y="connsiteY1"/>
                    </a:cxn>
                    <a:cxn ang="0">
                      <a:pos x="connsiteX2" y="connsiteY2"/>
                    </a:cxn>
                    <a:cxn ang="0">
                      <a:pos x="connsiteX3" y="connsiteY3"/>
                    </a:cxn>
                  </a:cxnLst>
                  <a:rect l="l" t="t" r="r" b="b"/>
                  <a:pathLst>
                    <a:path w="9217" h="51317">
                      <a:moveTo>
                        <a:pt x="9217" y="51318"/>
                      </a:moveTo>
                      <a:cubicBezTo>
                        <a:pt x="5481" y="43844"/>
                        <a:pt x="4484" y="37492"/>
                        <a:pt x="4235" y="33257"/>
                      </a:cubicBezTo>
                      <a:cubicBezTo>
                        <a:pt x="3861" y="26281"/>
                        <a:pt x="5481" y="22919"/>
                        <a:pt x="4858" y="15819"/>
                      </a:cubicBezTo>
                      <a:cubicBezTo>
                        <a:pt x="4235"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3" name="Freeform 4561">
                  <a:extLst>
                    <a:ext uri="{FF2B5EF4-FFF2-40B4-BE49-F238E27FC236}">
                      <a16:creationId xmlns:a16="http://schemas.microsoft.com/office/drawing/2014/main" id="{7D17BE28-14AA-05A8-0F63-38901F17D53D}"/>
                    </a:ext>
                  </a:extLst>
                </p:cNvPr>
                <p:cNvSpPr/>
                <p:nvPr/>
              </p:nvSpPr>
              <p:spPr>
                <a:xfrm>
                  <a:off x="6348140" y="5716048"/>
                  <a:ext cx="26663" cy="26579"/>
                </a:xfrm>
                <a:custGeom>
                  <a:avLst/>
                  <a:gdLst>
                    <a:gd name="connsiteX0" fmla="*/ 26473 w 26663"/>
                    <a:gd name="connsiteY0" fmla="*/ 11064 h 26579"/>
                    <a:gd name="connsiteX1" fmla="*/ 15511 w 26663"/>
                    <a:gd name="connsiteY1" fmla="*/ 26384 h 26579"/>
                    <a:gd name="connsiteX2" fmla="*/ 191 w 26663"/>
                    <a:gd name="connsiteY2" fmla="*/ 15548 h 26579"/>
                    <a:gd name="connsiteX3" fmla="*/ 11152 w 26663"/>
                    <a:gd name="connsiteY3" fmla="*/ 227 h 26579"/>
                    <a:gd name="connsiteX4" fmla="*/ 26473 w 26663"/>
                    <a:gd name="connsiteY4" fmla="*/ 1106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3" h="26579">
                      <a:moveTo>
                        <a:pt x="26473" y="11064"/>
                      </a:moveTo>
                      <a:cubicBezTo>
                        <a:pt x="27718" y="18288"/>
                        <a:pt x="22736" y="25139"/>
                        <a:pt x="15511" y="26384"/>
                      </a:cubicBezTo>
                      <a:cubicBezTo>
                        <a:pt x="8287" y="27630"/>
                        <a:pt x="1436" y="22772"/>
                        <a:pt x="191" y="15548"/>
                      </a:cubicBezTo>
                      <a:cubicBezTo>
                        <a:pt x="-1055" y="8323"/>
                        <a:pt x="3928" y="1473"/>
                        <a:pt x="11152" y="227"/>
                      </a:cubicBezTo>
                      <a:cubicBezTo>
                        <a:pt x="18501" y="-1143"/>
                        <a:pt x="25352" y="3839"/>
                        <a:pt x="26473"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4" name="Freeform 4562">
                  <a:extLst>
                    <a:ext uri="{FF2B5EF4-FFF2-40B4-BE49-F238E27FC236}">
                      <a16:creationId xmlns:a16="http://schemas.microsoft.com/office/drawing/2014/main" id="{301C9E34-6649-6392-36EA-3205C834A43C}"/>
                    </a:ext>
                  </a:extLst>
                </p:cNvPr>
                <p:cNvSpPr/>
                <p:nvPr/>
              </p:nvSpPr>
              <p:spPr>
                <a:xfrm>
                  <a:off x="6375624" y="5790885"/>
                  <a:ext cx="8919" cy="51567"/>
                </a:xfrm>
                <a:custGeom>
                  <a:avLst/>
                  <a:gdLst>
                    <a:gd name="connsiteX0" fmla="*/ 8455 w 8919"/>
                    <a:gd name="connsiteY0" fmla="*/ 51567 h 51567"/>
                    <a:gd name="connsiteX1" fmla="*/ 7334 w 8919"/>
                    <a:gd name="connsiteY1" fmla="*/ 32759 h 51567"/>
                    <a:gd name="connsiteX2" fmla="*/ 1106 w 8919"/>
                    <a:gd name="connsiteY2" fmla="*/ 16442 h 51567"/>
                    <a:gd name="connsiteX3" fmla="*/ 483 w 8919"/>
                    <a:gd name="connsiteY3" fmla="*/ 0 h 51567"/>
                  </a:gdLst>
                  <a:ahLst/>
                  <a:cxnLst>
                    <a:cxn ang="0">
                      <a:pos x="connsiteX0" y="connsiteY0"/>
                    </a:cxn>
                    <a:cxn ang="0">
                      <a:pos x="connsiteX1" y="connsiteY1"/>
                    </a:cxn>
                    <a:cxn ang="0">
                      <a:pos x="connsiteX2" y="connsiteY2"/>
                    </a:cxn>
                    <a:cxn ang="0">
                      <a:pos x="connsiteX3" y="connsiteY3"/>
                    </a:cxn>
                  </a:cxnLst>
                  <a:rect l="l" t="t" r="r" b="b"/>
                  <a:pathLst>
                    <a:path w="8919" h="51567">
                      <a:moveTo>
                        <a:pt x="8455" y="51567"/>
                      </a:moveTo>
                      <a:cubicBezTo>
                        <a:pt x="9576" y="43222"/>
                        <a:pt x="8455" y="36994"/>
                        <a:pt x="7334" y="32759"/>
                      </a:cubicBezTo>
                      <a:cubicBezTo>
                        <a:pt x="5466" y="26033"/>
                        <a:pt x="2850" y="23417"/>
                        <a:pt x="1106" y="16442"/>
                      </a:cubicBezTo>
                      <a:cubicBezTo>
                        <a:pt x="-513" y="9715"/>
                        <a:pt x="-15" y="3861"/>
                        <a:pt x="4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5" name="Freeform 4563">
                  <a:extLst>
                    <a:ext uri="{FF2B5EF4-FFF2-40B4-BE49-F238E27FC236}">
                      <a16:creationId xmlns:a16="http://schemas.microsoft.com/office/drawing/2014/main" id="{193B545A-20F5-52CE-8D45-F5368BAC0D86}"/>
                    </a:ext>
                  </a:extLst>
                </p:cNvPr>
                <p:cNvSpPr/>
                <p:nvPr/>
              </p:nvSpPr>
              <p:spPr>
                <a:xfrm>
                  <a:off x="6368758" y="5797237"/>
                  <a:ext cx="9341" cy="51317"/>
                </a:xfrm>
                <a:custGeom>
                  <a:avLst/>
                  <a:gdLst>
                    <a:gd name="connsiteX0" fmla="*/ 0 w 9341"/>
                    <a:gd name="connsiteY0" fmla="*/ 0 h 51317"/>
                    <a:gd name="connsiteX1" fmla="*/ 4982 w 9341"/>
                    <a:gd name="connsiteY1" fmla="*/ 18061 h 51317"/>
                    <a:gd name="connsiteX2" fmla="*/ 4484 w 9341"/>
                    <a:gd name="connsiteY2" fmla="*/ 35499 h 51317"/>
                    <a:gd name="connsiteX3" fmla="*/ 9342 w 934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341" h="51317">
                      <a:moveTo>
                        <a:pt x="0" y="0"/>
                      </a:moveTo>
                      <a:cubicBezTo>
                        <a:pt x="3737" y="7474"/>
                        <a:pt x="4733" y="13826"/>
                        <a:pt x="4982" y="18061"/>
                      </a:cubicBezTo>
                      <a:cubicBezTo>
                        <a:pt x="5356" y="25036"/>
                        <a:pt x="3737" y="28399"/>
                        <a:pt x="4484" y="35499"/>
                      </a:cubicBezTo>
                      <a:cubicBezTo>
                        <a:pt x="5107" y="42350"/>
                        <a:pt x="7474" y="47830"/>
                        <a:pt x="9342"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6" name="Freeform 4564">
                  <a:extLst>
                    <a:ext uri="{FF2B5EF4-FFF2-40B4-BE49-F238E27FC236}">
                      <a16:creationId xmlns:a16="http://schemas.microsoft.com/office/drawing/2014/main" id="{511C0CF2-15AC-023E-13B0-09A83A09939C}"/>
                    </a:ext>
                  </a:extLst>
                </p:cNvPr>
                <p:cNvSpPr/>
                <p:nvPr/>
              </p:nvSpPr>
              <p:spPr>
                <a:xfrm>
                  <a:off x="6368439" y="5836652"/>
                  <a:ext cx="26422" cy="26546"/>
                </a:xfrm>
                <a:custGeom>
                  <a:avLst/>
                  <a:gdLst>
                    <a:gd name="connsiteX0" fmla="*/ 195 w 26422"/>
                    <a:gd name="connsiteY0" fmla="*/ 15516 h 26546"/>
                    <a:gd name="connsiteX1" fmla="*/ 11031 w 26422"/>
                    <a:gd name="connsiteY1" fmla="*/ 195 h 26546"/>
                    <a:gd name="connsiteX2" fmla="*/ 26228 w 26422"/>
                    <a:gd name="connsiteY2" fmla="*/ 11031 h 26546"/>
                    <a:gd name="connsiteX3" fmla="*/ 15391 w 26422"/>
                    <a:gd name="connsiteY3" fmla="*/ 26352 h 26546"/>
                    <a:gd name="connsiteX4" fmla="*/ 195 w 26422"/>
                    <a:gd name="connsiteY4" fmla="*/ 15516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195" y="15516"/>
                      </a:moveTo>
                      <a:cubicBezTo>
                        <a:pt x="-1051" y="8291"/>
                        <a:pt x="3807" y="1440"/>
                        <a:pt x="11031" y="195"/>
                      </a:cubicBezTo>
                      <a:cubicBezTo>
                        <a:pt x="18256" y="-1051"/>
                        <a:pt x="24982" y="3807"/>
                        <a:pt x="26228" y="11031"/>
                      </a:cubicBezTo>
                      <a:cubicBezTo>
                        <a:pt x="27473" y="18256"/>
                        <a:pt x="22615" y="25106"/>
                        <a:pt x="15391" y="26352"/>
                      </a:cubicBezTo>
                      <a:cubicBezTo>
                        <a:pt x="8291" y="27598"/>
                        <a:pt x="1440" y="22740"/>
                        <a:pt x="195" y="155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4" name="Graphic 2987">
                <a:extLst>
                  <a:ext uri="{FF2B5EF4-FFF2-40B4-BE49-F238E27FC236}">
                    <a16:creationId xmlns:a16="http://schemas.microsoft.com/office/drawing/2014/main" id="{DBF78470-98E6-D65F-7F35-9A7EB18F2335}"/>
                  </a:ext>
                </a:extLst>
              </p:cNvPr>
              <p:cNvGrpSpPr/>
              <p:nvPr/>
            </p:nvGrpSpPr>
            <p:grpSpPr>
              <a:xfrm>
                <a:off x="6377535" y="5711098"/>
                <a:ext cx="46441" cy="147242"/>
                <a:chOff x="6377535" y="5711098"/>
                <a:chExt cx="46441" cy="147242"/>
              </a:xfrm>
              <a:grpFill/>
            </p:grpSpPr>
            <p:sp>
              <p:nvSpPr>
                <p:cNvPr id="4895" name="Freeform 4566">
                  <a:extLst>
                    <a:ext uri="{FF2B5EF4-FFF2-40B4-BE49-F238E27FC236}">
                      <a16:creationId xmlns:a16="http://schemas.microsoft.com/office/drawing/2014/main" id="{E067DA53-4DA9-39F8-C118-B6EF06E67B77}"/>
                    </a:ext>
                  </a:extLst>
                </p:cNvPr>
                <p:cNvSpPr/>
                <p:nvPr/>
              </p:nvSpPr>
              <p:spPr>
                <a:xfrm>
                  <a:off x="6387950" y="5731969"/>
                  <a:ext cx="8801" cy="51566"/>
                </a:xfrm>
                <a:custGeom>
                  <a:avLst/>
                  <a:gdLst>
                    <a:gd name="connsiteX0" fmla="*/ 488 w 8801"/>
                    <a:gd name="connsiteY0" fmla="*/ 0 h 51566"/>
                    <a:gd name="connsiteX1" fmla="*/ 1609 w 8801"/>
                    <a:gd name="connsiteY1" fmla="*/ 18808 h 51566"/>
                    <a:gd name="connsiteX2" fmla="*/ 7712 w 8801"/>
                    <a:gd name="connsiteY2" fmla="*/ 35125 h 51566"/>
                    <a:gd name="connsiteX3" fmla="*/ 8211 w 880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1" h="51566">
                      <a:moveTo>
                        <a:pt x="488" y="0"/>
                      </a:moveTo>
                      <a:cubicBezTo>
                        <a:pt x="-633" y="8345"/>
                        <a:pt x="363" y="14573"/>
                        <a:pt x="1609" y="18808"/>
                      </a:cubicBezTo>
                      <a:cubicBezTo>
                        <a:pt x="3477" y="25534"/>
                        <a:pt x="6093" y="28150"/>
                        <a:pt x="7712" y="35125"/>
                      </a:cubicBezTo>
                      <a:cubicBezTo>
                        <a:pt x="9331" y="41851"/>
                        <a:pt x="8833" y="47705"/>
                        <a:pt x="821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6" name="Freeform 4567">
                  <a:extLst>
                    <a:ext uri="{FF2B5EF4-FFF2-40B4-BE49-F238E27FC236}">
                      <a16:creationId xmlns:a16="http://schemas.microsoft.com/office/drawing/2014/main" id="{FFAA15C4-439F-4D00-6BC9-AB383ACA983E}"/>
                    </a:ext>
                  </a:extLst>
                </p:cNvPr>
                <p:cNvSpPr/>
                <p:nvPr/>
              </p:nvSpPr>
              <p:spPr>
                <a:xfrm>
                  <a:off x="6394542" y="5725617"/>
                  <a:ext cx="9092" cy="51442"/>
                </a:xfrm>
                <a:custGeom>
                  <a:avLst/>
                  <a:gdLst>
                    <a:gd name="connsiteX0" fmla="*/ 9092 w 9092"/>
                    <a:gd name="connsiteY0" fmla="*/ 51442 h 51442"/>
                    <a:gd name="connsiteX1" fmla="*/ 4111 w 9092"/>
                    <a:gd name="connsiteY1" fmla="*/ 33257 h 51442"/>
                    <a:gd name="connsiteX2" fmla="*/ 4733 w 9092"/>
                    <a:gd name="connsiteY2" fmla="*/ 15819 h 51442"/>
                    <a:gd name="connsiteX3" fmla="*/ 0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51442"/>
                      </a:moveTo>
                      <a:cubicBezTo>
                        <a:pt x="5356" y="43969"/>
                        <a:pt x="4359" y="37616"/>
                        <a:pt x="4111" y="33257"/>
                      </a:cubicBezTo>
                      <a:cubicBezTo>
                        <a:pt x="3737" y="26281"/>
                        <a:pt x="5356" y="22919"/>
                        <a:pt x="4733"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7" name="Freeform 4568">
                  <a:extLst>
                    <a:ext uri="{FF2B5EF4-FFF2-40B4-BE49-F238E27FC236}">
                      <a16:creationId xmlns:a16="http://schemas.microsoft.com/office/drawing/2014/main" id="{D4A7E8F6-997C-06FA-6B7F-1DBB2004E65C}"/>
                    </a:ext>
                  </a:extLst>
                </p:cNvPr>
                <p:cNvSpPr/>
                <p:nvPr/>
              </p:nvSpPr>
              <p:spPr>
                <a:xfrm>
                  <a:off x="6377535" y="5711098"/>
                  <a:ext cx="26633" cy="26546"/>
                </a:xfrm>
                <a:custGeom>
                  <a:avLst/>
                  <a:gdLst>
                    <a:gd name="connsiteX0" fmla="*/ 26473 w 26633"/>
                    <a:gd name="connsiteY0" fmla="*/ 11031 h 26546"/>
                    <a:gd name="connsiteX1" fmla="*/ 15511 w 26633"/>
                    <a:gd name="connsiteY1" fmla="*/ 26352 h 26546"/>
                    <a:gd name="connsiteX2" fmla="*/ 191 w 26633"/>
                    <a:gd name="connsiteY2" fmla="*/ 15515 h 26546"/>
                    <a:gd name="connsiteX3" fmla="*/ 11152 w 26633"/>
                    <a:gd name="connsiteY3" fmla="*/ 195 h 26546"/>
                    <a:gd name="connsiteX4" fmla="*/ 26473 w 26633"/>
                    <a:gd name="connsiteY4" fmla="*/ 11031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545">
                      <a:moveTo>
                        <a:pt x="26473" y="11031"/>
                      </a:moveTo>
                      <a:cubicBezTo>
                        <a:pt x="27593" y="18255"/>
                        <a:pt x="22736" y="25106"/>
                        <a:pt x="15511" y="26352"/>
                      </a:cubicBezTo>
                      <a:cubicBezTo>
                        <a:pt x="8287" y="27597"/>
                        <a:pt x="1436" y="22740"/>
                        <a:pt x="191" y="15515"/>
                      </a:cubicBezTo>
                      <a:cubicBezTo>
                        <a:pt x="-1055" y="8291"/>
                        <a:pt x="3928" y="1440"/>
                        <a:pt x="11152" y="195"/>
                      </a:cubicBezTo>
                      <a:cubicBezTo>
                        <a:pt x="18376" y="-1051"/>
                        <a:pt x="25227" y="3807"/>
                        <a:pt x="26473" y="110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8" name="Freeform 4569">
                  <a:extLst>
                    <a:ext uri="{FF2B5EF4-FFF2-40B4-BE49-F238E27FC236}">
                      <a16:creationId xmlns:a16="http://schemas.microsoft.com/office/drawing/2014/main" id="{E9C6CE8F-32BE-1350-419B-5D44C4423CB2}"/>
                    </a:ext>
                  </a:extLst>
                </p:cNvPr>
                <p:cNvSpPr/>
                <p:nvPr/>
              </p:nvSpPr>
              <p:spPr>
                <a:xfrm>
                  <a:off x="6404786" y="5785778"/>
                  <a:ext cx="8802" cy="51691"/>
                </a:xfrm>
                <a:custGeom>
                  <a:avLst/>
                  <a:gdLst>
                    <a:gd name="connsiteX0" fmla="*/ 8314 w 8802"/>
                    <a:gd name="connsiteY0" fmla="*/ 51692 h 51691"/>
                    <a:gd name="connsiteX1" fmla="*/ 7194 w 8802"/>
                    <a:gd name="connsiteY1" fmla="*/ 32883 h 51691"/>
                    <a:gd name="connsiteX2" fmla="*/ 1090 w 8802"/>
                    <a:gd name="connsiteY2" fmla="*/ 16566 h 51691"/>
                    <a:gd name="connsiteX3" fmla="*/ 592 w 8802"/>
                    <a:gd name="connsiteY3" fmla="*/ 0 h 51691"/>
                  </a:gdLst>
                  <a:ahLst/>
                  <a:cxnLst>
                    <a:cxn ang="0">
                      <a:pos x="connsiteX0" y="connsiteY0"/>
                    </a:cxn>
                    <a:cxn ang="0">
                      <a:pos x="connsiteX1" y="connsiteY1"/>
                    </a:cxn>
                    <a:cxn ang="0">
                      <a:pos x="connsiteX2" y="connsiteY2"/>
                    </a:cxn>
                    <a:cxn ang="0">
                      <a:pos x="connsiteX3" y="connsiteY3"/>
                    </a:cxn>
                  </a:cxnLst>
                  <a:rect l="l" t="t" r="r" b="b"/>
                  <a:pathLst>
                    <a:path w="8802" h="51690">
                      <a:moveTo>
                        <a:pt x="8314" y="51692"/>
                      </a:moveTo>
                      <a:cubicBezTo>
                        <a:pt x="9436" y="43346"/>
                        <a:pt x="8439" y="37118"/>
                        <a:pt x="7194" y="32883"/>
                      </a:cubicBezTo>
                      <a:cubicBezTo>
                        <a:pt x="5325" y="26157"/>
                        <a:pt x="2709" y="23542"/>
                        <a:pt x="1090" y="16566"/>
                      </a:cubicBezTo>
                      <a:cubicBezTo>
                        <a:pt x="-530" y="9840"/>
                        <a:pt x="-31" y="3986"/>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9" name="Freeform 4570">
                  <a:extLst>
                    <a:ext uri="{FF2B5EF4-FFF2-40B4-BE49-F238E27FC236}">
                      <a16:creationId xmlns:a16="http://schemas.microsoft.com/office/drawing/2014/main" id="{1CAF02FB-7316-BE17-0490-B56700D15F13}"/>
                    </a:ext>
                  </a:extLst>
                </p:cNvPr>
                <p:cNvSpPr/>
                <p:nvPr/>
              </p:nvSpPr>
              <p:spPr>
                <a:xfrm>
                  <a:off x="6397905" y="5792255"/>
                  <a:ext cx="9092" cy="51442"/>
                </a:xfrm>
                <a:custGeom>
                  <a:avLst/>
                  <a:gdLst>
                    <a:gd name="connsiteX0" fmla="*/ 0 w 9092"/>
                    <a:gd name="connsiteY0" fmla="*/ 0 h 51442"/>
                    <a:gd name="connsiteX1" fmla="*/ 4982 w 9092"/>
                    <a:gd name="connsiteY1" fmla="*/ 18185 h 51442"/>
                    <a:gd name="connsiteX2" fmla="*/ 4359 w 9092"/>
                    <a:gd name="connsiteY2" fmla="*/ 35623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2" y="18185"/>
                      </a:cubicBezTo>
                      <a:cubicBezTo>
                        <a:pt x="5356" y="25161"/>
                        <a:pt x="3737" y="28523"/>
                        <a:pt x="4359" y="35623"/>
                      </a:cubicBezTo>
                      <a:cubicBezTo>
                        <a:pt x="4982" y="42474"/>
                        <a:pt x="7348"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900" name="Freeform 4571">
                  <a:extLst>
                    <a:ext uri="{FF2B5EF4-FFF2-40B4-BE49-F238E27FC236}">
                      <a16:creationId xmlns:a16="http://schemas.microsoft.com/office/drawing/2014/main" id="{268F72D8-16C6-DB18-A90F-9247F399E08A}"/>
                    </a:ext>
                  </a:extLst>
                </p:cNvPr>
                <p:cNvSpPr/>
                <p:nvPr/>
              </p:nvSpPr>
              <p:spPr>
                <a:xfrm>
                  <a:off x="6397585" y="5831794"/>
                  <a:ext cx="26391" cy="26546"/>
                </a:xfrm>
                <a:custGeom>
                  <a:avLst/>
                  <a:gdLst>
                    <a:gd name="connsiteX0" fmla="*/ 195 w 26391"/>
                    <a:gd name="connsiteY0" fmla="*/ 15515 h 26546"/>
                    <a:gd name="connsiteX1" fmla="*/ 11031 w 26391"/>
                    <a:gd name="connsiteY1" fmla="*/ 195 h 26546"/>
                    <a:gd name="connsiteX2" fmla="*/ 26227 w 26391"/>
                    <a:gd name="connsiteY2" fmla="*/ 11031 h 26546"/>
                    <a:gd name="connsiteX3" fmla="*/ 15391 w 26391"/>
                    <a:gd name="connsiteY3" fmla="*/ 26352 h 26546"/>
                    <a:gd name="connsiteX4" fmla="*/ 195 w 26391"/>
                    <a:gd name="connsiteY4" fmla="*/ 15515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1" h="26545">
                      <a:moveTo>
                        <a:pt x="195" y="15515"/>
                      </a:moveTo>
                      <a:cubicBezTo>
                        <a:pt x="-1051" y="8291"/>
                        <a:pt x="3807" y="1440"/>
                        <a:pt x="11031" y="195"/>
                      </a:cubicBezTo>
                      <a:cubicBezTo>
                        <a:pt x="18256" y="-1051"/>
                        <a:pt x="24982" y="3807"/>
                        <a:pt x="26227" y="11031"/>
                      </a:cubicBezTo>
                      <a:cubicBezTo>
                        <a:pt x="27348" y="18255"/>
                        <a:pt x="22615" y="25106"/>
                        <a:pt x="15391" y="26352"/>
                      </a:cubicBezTo>
                      <a:cubicBezTo>
                        <a:pt x="8167" y="27597"/>
                        <a:pt x="1316" y="22740"/>
                        <a:pt x="195" y="1551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5" name="Graphic 2987">
                <a:extLst>
                  <a:ext uri="{FF2B5EF4-FFF2-40B4-BE49-F238E27FC236}">
                    <a16:creationId xmlns:a16="http://schemas.microsoft.com/office/drawing/2014/main" id="{37BE0382-3792-D62E-18EF-5256344E5FED}"/>
                  </a:ext>
                </a:extLst>
              </p:cNvPr>
              <p:cNvGrpSpPr/>
              <p:nvPr/>
            </p:nvGrpSpPr>
            <p:grpSpPr>
              <a:xfrm>
                <a:off x="6406837" y="5706119"/>
                <a:ext cx="46034" cy="147363"/>
                <a:chOff x="6406837" y="5706119"/>
                <a:chExt cx="46034" cy="147363"/>
              </a:xfrm>
              <a:grpFill/>
            </p:grpSpPr>
            <p:sp>
              <p:nvSpPr>
                <p:cNvPr id="4889" name="Freeform 4573">
                  <a:extLst>
                    <a:ext uri="{FF2B5EF4-FFF2-40B4-BE49-F238E27FC236}">
                      <a16:creationId xmlns:a16="http://schemas.microsoft.com/office/drawing/2014/main" id="{4AE91DDD-29DB-E41C-9BA7-43346DD1374E}"/>
                    </a:ext>
                  </a:extLst>
                </p:cNvPr>
                <p:cNvSpPr/>
                <p:nvPr/>
              </p:nvSpPr>
              <p:spPr>
                <a:xfrm>
                  <a:off x="6417218" y="5726987"/>
                  <a:ext cx="8681" cy="51691"/>
                </a:xfrm>
                <a:custGeom>
                  <a:avLst/>
                  <a:gdLst>
                    <a:gd name="connsiteX0" fmla="*/ 491 w 8681"/>
                    <a:gd name="connsiteY0" fmla="*/ 0 h 51691"/>
                    <a:gd name="connsiteX1" fmla="*/ 1488 w 8681"/>
                    <a:gd name="connsiteY1" fmla="*/ 18808 h 51691"/>
                    <a:gd name="connsiteX2" fmla="*/ 7591 w 8681"/>
                    <a:gd name="connsiteY2" fmla="*/ 35125 h 51691"/>
                    <a:gd name="connsiteX3" fmla="*/ 8089 w 868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681" h="51690">
                      <a:moveTo>
                        <a:pt x="491" y="0"/>
                      </a:moveTo>
                      <a:cubicBezTo>
                        <a:pt x="-629" y="8346"/>
                        <a:pt x="367" y="14573"/>
                        <a:pt x="1488" y="18808"/>
                      </a:cubicBezTo>
                      <a:cubicBezTo>
                        <a:pt x="3356" y="25535"/>
                        <a:pt x="5972" y="28150"/>
                        <a:pt x="7591" y="35125"/>
                      </a:cubicBezTo>
                      <a:cubicBezTo>
                        <a:pt x="9210" y="41852"/>
                        <a:pt x="8713" y="47706"/>
                        <a:pt x="8089"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0" name="Freeform 4574">
                  <a:extLst>
                    <a:ext uri="{FF2B5EF4-FFF2-40B4-BE49-F238E27FC236}">
                      <a16:creationId xmlns:a16="http://schemas.microsoft.com/office/drawing/2014/main" id="{8B5809E1-CDAF-B44B-AA3B-F08F45B464C7}"/>
                    </a:ext>
                  </a:extLst>
                </p:cNvPr>
                <p:cNvSpPr/>
                <p:nvPr/>
              </p:nvSpPr>
              <p:spPr>
                <a:xfrm>
                  <a:off x="6423812" y="5720759"/>
                  <a:ext cx="9093" cy="51442"/>
                </a:xfrm>
                <a:custGeom>
                  <a:avLst/>
                  <a:gdLst>
                    <a:gd name="connsiteX0" fmla="*/ 9093 w 9093"/>
                    <a:gd name="connsiteY0" fmla="*/ 51442 h 51442"/>
                    <a:gd name="connsiteX1" fmla="*/ 4111 w 9093"/>
                    <a:gd name="connsiteY1" fmla="*/ 33257 h 51442"/>
                    <a:gd name="connsiteX2" fmla="*/ 4733 w 9093"/>
                    <a:gd name="connsiteY2" fmla="*/ 15819 h 51442"/>
                    <a:gd name="connsiteX3" fmla="*/ 0 w 9093"/>
                    <a:gd name="connsiteY3" fmla="*/ 0 h 51442"/>
                  </a:gdLst>
                  <a:ahLst/>
                  <a:cxnLst>
                    <a:cxn ang="0">
                      <a:pos x="connsiteX0" y="connsiteY0"/>
                    </a:cxn>
                    <a:cxn ang="0">
                      <a:pos x="connsiteX1" y="connsiteY1"/>
                    </a:cxn>
                    <a:cxn ang="0">
                      <a:pos x="connsiteX2" y="connsiteY2"/>
                    </a:cxn>
                    <a:cxn ang="0">
                      <a:pos x="connsiteX3" y="connsiteY3"/>
                    </a:cxn>
                  </a:cxnLst>
                  <a:rect l="l" t="t" r="r" b="b"/>
                  <a:pathLst>
                    <a:path w="9093" h="51442">
                      <a:moveTo>
                        <a:pt x="9093" y="51442"/>
                      </a:moveTo>
                      <a:cubicBezTo>
                        <a:pt x="5356" y="43845"/>
                        <a:pt x="4360" y="37617"/>
                        <a:pt x="4111" y="33257"/>
                      </a:cubicBezTo>
                      <a:cubicBezTo>
                        <a:pt x="3737" y="26282"/>
                        <a:pt x="5356"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1" name="Freeform 4575">
                  <a:extLst>
                    <a:ext uri="{FF2B5EF4-FFF2-40B4-BE49-F238E27FC236}">
                      <a16:creationId xmlns:a16="http://schemas.microsoft.com/office/drawing/2014/main" id="{51077C14-50BE-5500-D583-EE5530A785F8}"/>
                    </a:ext>
                  </a:extLst>
                </p:cNvPr>
                <p:cNvSpPr/>
                <p:nvPr/>
              </p:nvSpPr>
              <p:spPr>
                <a:xfrm>
                  <a:off x="6406837" y="5706119"/>
                  <a:ext cx="26603" cy="26542"/>
                </a:xfrm>
                <a:custGeom>
                  <a:avLst/>
                  <a:gdLst>
                    <a:gd name="connsiteX0" fmla="*/ 26442 w 26603"/>
                    <a:gd name="connsiteY0" fmla="*/ 11152 h 26542"/>
                    <a:gd name="connsiteX1" fmla="*/ 15357 w 26603"/>
                    <a:gd name="connsiteY1" fmla="*/ 26348 h 26542"/>
                    <a:gd name="connsiteX2" fmla="*/ 161 w 26603"/>
                    <a:gd name="connsiteY2" fmla="*/ 15511 h 26542"/>
                    <a:gd name="connsiteX3" fmla="*/ 11122 w 26603"/>
                    <a:gd name="connsiteY3" fmla="*/ 191 h 26542"/>
                    <a:gd name="connsiteX4" fmla="*/ 26442 w 26603"/>
                    <a:gd name="connsiteY4" fmla="*/ 11152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3" h="26542">
                      <a:moveTo>
                        <a:pt x="26442" y="11152"/>
                      </a:moveTo>
                      <a:cubicBezTo>
                        <a:pt x="27564" y="18376"/>
                        <a:pt x="22706" y="25103"/>
                        <a:pt x="15357" y="26348"/>
                      </a:cubicBezTo>
                      <a:cubicBezTo>
                        <a:pt x="8133" y="27594"/>
                        <a:pt x="1281" y="22736"/>
                        <a:pt x="161" y="15511"/>
                      </a:cubicBezTo>
                      <a:cubicBezTo>
                        <a:pt x="-961" y="8287"/>
                        <a:pt x="3897" y="1436"/>
                        <a:pt x="11122" y="191"/>
                      </a:cubicBezTo>
                      <a:cubicBezTo>
                        <a:pt x="18470" y="-1055"/>
                        <a:pt x="25322" y="3928"/>
                        <a:pt x="26442"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2" name="Freeform 4576">
                  <a:extLst>
                    <a:ext uri="{FF2B5EF4-FFF2-40B4-BE49-F238E27FC236}">
                      <a16:creationId xmlns:a16="http://schemas.microsoft.com/office/drawing/2014/main" id="{48C52964-7D09-EE58-474E-D6AC2C7AE95C}"/>
                    </a:ext>
                  </a:extLst>
                </p:cNvPr>
                <p:cNvSpPr/>
                <p:nvPr/>
              </p:nvSpPr>
              <p:spPr>
                <a:xfrm>
                  <a:off x="6433933" y="5781045"/>
                  <a:ext cx="8681" cy="51566"/>
                </a:xfrm>
                <a:custGeom>
                  <a:avLst/>
                  <a:gdLst>
                    <a:gd name="connsiteX0" fmla="*/ 8190 w 8681"/>
                    <a:gd name="connsiteY0" fmla="*/ 51567 h 51566"/>
                    <a:gd name="connsiteX1" fmla="*/ 7193 w 8681"/>
                    <a:gd name="connsiteY1" fmla="*/ 32758 h 51566"/>
                    <a:gd name="connsiteX2" fmla="*/ 1090 w 8681"/>
                    <a:gd name="connsiteY2" fmla="*/ 16441 h 51566"/>
                    <a:gd name="connsiteX3" fmla="*/ 592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8190" y="51567"/>
                      </a:moveTo>
                      <a:cubicBezTo>
                        <a:pt x="9310" y="43222"/>
                        <a:pt x="8315" y="36994"/>
                        <a:pt x="7193" y="32758"/>
                      </a:cubicBezTo>
                      <a:cubicBezTo>
                        <a:pt x="5325" y="26033"/>
                        <a:pt x="2709" y="23292"/>
                        <a:pt x="1090" y="16441"/>
                      </a:cubicBezTo>
                      <a:cubicBezTo>
                        <a:pt x="-529" y="9715"/>
                        <a:pt x="-31" y="3861"/>
                        <a:pt x="5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3" name="Freeform 4577">
                  <a:extLst>
                    <a:ext uri="{FF2B5EF4-FFF2-40B4-BE49-F238E27FC236}">
                      <a16:creationId xmlns:a16="http://schemas.microsoft.com/office/drawing/2014/main" id="{4FFF263B-AB7C-085D-6CD0-71CC329DBBC7}"/>
                    </a:ext>
                  </a:extLst>
                </p:cNvPr>
                <p:cNvSpPr/>
                <p:nvPr/>
              </p:nvSpPr>
              <p:spPr>
                <a:xfrm>
                  <a:off x="6427051" y="5787397"/>
                  <a:ext cx="9092" cy="51442"/>
                </a:xfrm>
                <a:custGeom>
                  <a:avLst/>
                  <a:gdLst>
                    <a:gd name="connsiteX0" fmla="*/ 0 w 9092"/>
                    <a:gd name="connsiteY0" fmla="*/ 0 h 51442"/>
                    <a:gd name="connsiteX1" fmla="*/ 4983 w 9092"/>
                    <a:gd name="connsiteY1" fmla="*/ 18186 h 51442"/>
                    <a:gd name="connsiteX2" fmla="*/ 4360 w 9092"/>
                    <a:gd name="connsiteY2" fmla="*/ 35624 h 51442"/>
                    <a:gd name="connsiteX3" fmla="*/ 9092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0" y="0"/>
                      </a:moveTo>
                      <a:cubicBezTo>
                        <a:pt x="3737" y="7474"/>
                        <a:pt x="4733" y="13826"/>
                        <a:pt x="4983" y="18186"/>
                      </a:cubicBezTo>
                      <a:cubicBezTo>
                        <a:pt x="5356" y="25161"/>
                        <a:pt x="3737" y="28524"/>
                        <a:pt x="4360" y="35624"/>
                      </a:cubicBezTo>
                      <a:cubicBezTo>
                        <a:pt x="4983" y="42474"/>
                        <a:pt x="7225" y="47955"/>
                        <a:pt x="9092"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94" name="Freeform 4578">
                  <a:extLst>
                    <a:ext uri="{FF2B5EF4-FFF2-40B4-BE49-F238E27FC236}">
                      <a16:creationId xmlns:a16="http://schemas.microsoft.com/office/drawing/2014/main" id="{6B019260-AA6B-2BAA-B044-168353708DBE}"/>
                    </a:ext>
                  </a:extLst>
                </p:cNvPr>
                <p:cNvSpPr/>
                <p:nvPr/>
              </p:nvSpPr>
              <p:spPr>
                <a:xfrm>
                  <a:off x="6426641" y="5826974"/>
                  <a:ext cx="26229" cy="26509"/>
                </a:xfrm>
                <a:custGeom>
                  <a:avLst/>
                  <a:gdLst>
                    <a:gd name="connsiteX0" fmla="*/ 161 w 26229"/>
                    <a:gd name="connsiteY0" fmla="*/ 15478 h 26509"/>
                    <a:gd name="connsiteX1" fmla="*/ 10998 w 26229"/>
                    <a:gd name="connsiteY1" fmla="*/ 158 h 26509"/>
                    <a:gd name="connsiteX2" fmla="*/ 26069 w 26229"/>
                    <a:gd name="connsiteY2" fmla="*/ 11243 h 26509"/>
                    <a:gd name="connsiteX3" fmla="*/ 15233 w 26229"/>
                    <a:gd name="connsiteY3" fmla="*/ 26315 h 26509"/>
                    <a:gd name="connsiteX4" fmla="*/ 161 w 26229"/>
                    <a:gd name="connsiteY4" fmla="*/ 15478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509">
                      <a:moveTo>
                        <a:pt x="161" y="15478"/>
                      </a:moveTo>
                      <a:cubicBezTo>
                        <a:pt x="-960" y="8254"/>
                        <a:pt x="3898" y="1403"/>
                        <a:pt x="10998" y="158"/>
                      </a:cubicBezTo>
                      <a:cubicBezTo>
                        <a:pt x="18222" y="-963"/>
                        <a:pt x="24948" y="4019"/>
                        <a:pt x="26069" y="11243"/>
                      </a:cubicBezTo>
                      <a:cubicBezTo>
                        <a:pt x="27190" y="18468"/>
                        <a:pt x="22332" y="25194"/>
                        <a:pt x="15233" y="26315"/>
                      </a:cubicBezTo>
                      <a:cubicBezTo>
                        <a:pt x="8008" y="27560"/>
                        <a:pt x="1282" y="22702"/>
                        <a:pt x="161" y="154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6" name="Graphic 2987">
                <a:extLst>
                  <a:ext uri="{FF2B5EF4-FFF2-40B4-BE49-F238E27FC236}">
                    <a16:creationId xmlns:a16="http://schemas.microsoft.com/office/drawing/2014/main" id="{1F45FD26-70C8-8174-1FAD-ADAC43888C15}"/>
                  </a:ext>
                </a:extLst>
              </p:cNvPr>
              <p:cNvGrpSpPr/>
              <p:nvPr/>
            </p:nvGrpSpPr>
            <p:grpSpPr>
              <a:xfrm>
                <a:off x="6436232" y="5701544"/>
                <a:ext cx="45785" cy="147417"/>
                <a:chOff x="6436232" y="5701544"/>
                <a:chExt cx="45785" cy="147417"/>
              </a:xfrm>
              <a:grpFill/>
            </p:grpSpPr>
            <p:sp>
              <p:nvSpPr>
                <p:cNvPr id="4883" name="Freeform 4580">
                  <a:extLst>
                    <a:ext uri="{FF2B5EF4-FFF2-40B4-BE49-F238E27FC236}">
                      <a16:creationId xmlns:a16="http://schemas.microsoft.com/office/drawing/2014/main" id="{B6F5FB97-3A04-776C-6D9B-36C3BE4C3E5B}"/>
                    </a:ext>
                  </a:extLst>
                </p:cNvPr>
                <p:cNvSpPr/>
                <p:nvPr/>
              </p:nvSpPr>
              <p:spPr>
                <a:xfrm>
                  <a:off x="6446558" y="5722378"/>
                  <a:ext cx="8736" cy="51567"/>
                </a:xfrm>
                <a:custGeom>
                  <a:avLst/>
                  <a:gdLst>
                    <a:gd name="connsiteX0" fmla="*/ 546 w 8736"/>
                    <a:gd name="connsiteY0" fmla="*/ 0 h 51567"/>
                    <a:gd name="connsiteX1" fmla="*/ 1543 w 8736"/>
                    <a:gd name="connsiteY1" fmla="*/ 18808 h 51567"/>
                    <a:gd name="connsiteX2" fmla="*/ 7646 w 8736"/>
                    <a:gd name="connsiteY2" fmla="*/ 35125 h 51567"/>
                    <a:gd name="connsiteX3" fmla="*/ 8145 w 8736"/>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736" h="51567">
                      <a:moveTo>
                        <a:pt x="546" y="0"/>
                      </a:moveTo>
                      <a:cubicBezTo>
                        <a:pt x="-699" y="8346"/>
                        <a:pt x="422" y="14573"/>
                        <a:pt x="1543" y="18808"/>
                      </a:cubicBezTo>
                      <a:cubicBezTo>
                        <a:pt x="3412" y="25535"/>
                        <a:pt x="6027" y="28275"/>
                        <a:pt x="7646" y="35125"/>
                      </a:cubicBezTo>
                      <a:cubicBezTo>
                        <a:pt x="9266" y="41852"/>
                        <a:pt x="8768" y="47706"/>
                        <a:pt x="81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4" name="Freeform 4581">
                  <a:extLst>
                    <a:ext uri="{FF2B5EF4-FFF2-40B4-BE49-F238E27FC236}">
                      <a16:creationId xmlns:a16="http://schemas.microsoft.com/office/drawing/2014/main" id="{A71C6DD7-C4DE-C389-AE3F-F2EE593A7F9D}"/>
                    </a:ext>
                  </a:extLst>
                </p:cNvPr>
                <p:cNvSpPr/>
                <p:nvPr/>
              </p:nvSpPr>
              <p:spPr>
                <a:xfrm>
                  <a:off x="6453332" y="5716275"/>
                  <a:ext cx="8843" cy="51442"/>
                </a:xfrm>
                <a:custGeom>
                  <a:avLst/>
                  <a:gdLst>
                    <a:gd name="connsiteX0" fmla="*/ 8844 w 8843"/>
                    <a:gd name="connsiteY0" fmla="*/ 51442 h 51442"/>
                    <a:gd name="connsiteX1" fmla="*/ 3986 w 8843"/>
                    <a:gd name="connsiteY1" fmla="*/ 33257 h 51442"/>
                    <a:gd name="connsiteX2" fmla="*/ 4733 w 8843"/>
                    <a:gd name="connsiteY2" fmla="*/ 15819 h 51442"/>
                    <a:gd name="connsiteX3" fmla="*/ 0 w 8843"/>
                    <a:gd name="connsiteY3" fmla="*/ 0 h 51442"/>
                  </a:gdLst>
                  <a:ahLst/>
                  <a:cxnLst>
                    <a:cxn ang="0">
                      <a:pos x="connsiteX0" y="connsiteY0"/>
                    </a:cxn>
                    <a:cxn ang="0">
                      <a:pos x="connsiteX1" y="connsiteY1"/>
                    </a:cxn>
                    <a:cxn ang="0">
                      <a:pos x="connsiteX2" y="connsiteY2"/>
                    </a:cxn>
                    <a:cxn ang="0">
                      <a:pos x="connsiteX3" y="connsiteY3"/>
                    </a:cxn>
                  </a:cxnLst>
                  <a:rect l="l" t="t" r="r" b="b"/>
                  <a:pathLst>
                    <a:path w="8843" h="51442">
                      <a:moveTo>
                        <a:pt x="8844" y="51442"/>
                      </a:moveTo>
                      <a:cubicBezTo>
                        <a:pt x="5107" y="43844"/>
                        <a:pt x="4111" y="37616"/>
                        <a:pt x="3986" y="33257"/>
                      </a:cubicBezTo>
                      <a:cubicBezTo>
                        <a:pt x="3613" y="26281"/>
                        <a:pt x="5232" y="22919"/>
                        <a:pt x="4733"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5" name="Freeform 4582">
                  <a:extLst>
                    <a:ext uri="{FF2B5EF4-FFF2-40B4-BE49-F238E27FC236}">
                      <a16:creationId xmlns:a16="http://schemas.microsoft.com/office/drawing/2014/main" id="{12BF9BE2-F16C-5F3B-BD2C-C58F163F3FF3}"/>
                    </a:ext>
                  </a:extLst>
                </p:cNvPr>
                <p:cNvSpPr/>
                <p:nvPr/>
              </p:nvSpPr>
              <p:spPr>
                <a:xfrm>
                  <a:off x="6436232" y="5701544"/>
                  <a:ext cx="26599" cy="26472"/>
                </a:xfrm>
                <a:custGeom>
                  <a:avLst/>
                  <a:gdLst>
                    <a:gd name="connsiteX0" fmla="*/ 26442 w 26599"/>
                    <a:gd name="connsiteY0" fmla="*/ 11243 h 26472"/>
                    <a:gd name="connsiteX1" fmla="*/ 15357 w 26599"/>
                    <a:gd name="connsiteY1" fmla="*/ 26315 h 26472"/>
                    <a:gd name="connsiteX2" fmla="*/ 161 w 26599"/>
                    <a:gd name="connsiteY2" fmla="*/ 15229 h 26472"/>
                    <a:gd name="connsiteX3" fmla="*/ 11246 w 26599"/>
                    <a:gd name="connsiteY3" fmla="*/ 158 h 26472"/>
                    <a:gd name="connsiteX4" fmla="*/ 26442 w 26599"/>
                    <a:gd name="connsiteY4" fmla="*/ 11243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2">
                      <a:moveTo>
                        <a:pt x="26442" y="11243"/>
                      </a:moveTo>
                      <a:cubicBezTo>
                        <a:pt x="27563" y="18468"/>
                        <a:pt x="22581" y="25194"/>
                        <a:pt x="15357" y="26315"/>
                      </a:cubicBezTo>
                      <a:cubicBezTo>
                        <a:pt x="8132" y="27436"/>
                        <a:pt x="1282" y="22453"/>
                        <a:pt x="161" y="15229"/>
                      </a:cubicBezTo>
                      <a:cubicBezTo>
                        <a:pt x="-960" y="8005"/>
                        <a:pt x="3897" y="1279"/>
                        <a:pt x="11246" y="158"/>
                      </a:cubicBezTo>
                      <a:cubicBezTo>
                        <a:pt x="18595" y="-963"/>
                        <a:pt x="25321" y="4019"/>
                        <a:pt x="26442"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6" name="Freeform 4583">
                  <a:extLst>
                    <a:ext uri="{FF2B5EF4-FFF2-40B4-BE49-F238E27FC236}">
                      <a16:creationId xmlns:a16="http://schemas.microsoft.com/office/drawing/2014/main" id="{652D77C5-E59E-2A86-A8BC-DD3ED9EF6533}"/>
                    </a:ext>
                  </a:extLst>
                </p:cNvPr>
                <p:cNvSpPr/>
                <p:nvPr/>
              </p:nvSpPr>
              <p:spPr>
                <a:xfrm>
                  <a:off x="6463079" y="5776561"/>
                  <a:ext cx="8680" cy="51567"/>
                </a:xfrm>
                <a:custGeom>
                  <a:avLst/>
                  <a:gdLst>
                    <a:gd name="connsiteX0" fmla="*/ 8189 w 8680"/>
                    <a:gd name="connsiteY0" fmla="*/ 51567 h 51567"/>
                    <a:gd name="connsiteX1" fmla="*/ 7193 w 8680"/>
                    <a:gd name="connsiteY1" fmla="*/ 32759 h 51567"/>
                    <a:gd name="connsiteX2" fmla="*/ 1089 w 8680"/>
                    <a:gd name="connsiteY2" fmla="*/ 16442 h 51567"/>
                    <a:gd name="connsiteX3" fmla="*/ 591 w 8680"/>
                    <a:gd name="connsiteY3" fmla="*/ 0 h 51567"/>
                  </a:gdLst>
                  <a:ahLst/>
                  <a:cxnLst>
                    <a:cxn ang="0">
                      <a:pos x="connsiteX0" y="connsiteY0"/>
                    </a:cxn>
                    <a:cxn ang="0">
                      <a:pos x="connsiteX1" y="connsiteY1"/>
                    </a:cxn>
                    <a:cxn ang="0">
                      <a:pos x="connsiteX2" y="connsiteY2"/>
                    </a:cxn>
                    <a:cxn ang="0">
                      <a:pos x="connsiteX3" y="connsiteY3"/>
                    </a:cxn>
                  </a:cxnLst>
                  <a:rect l="l" t="t" r="r" b="b"/>
                  <a:pathLst>
                    <a:path w="8680" h="51567">
                      <a:moveTo>
                        <a:pt x="8189" y="51567"/>
                      </a:moveTo>
                      <a:cubicBezTo>
                        <a:pt x="9311" y="43222"/>
                        <a:pt x="8314" y="36994"/>
                        <a:pt x="7193" y="32759"/>
                      </a:cubicBezTo>
                      <a:cubicBezTo>
                        <a:pt x="5325" y="26033"/>
                        <a:pt x="2709" y="23292"/>
                        <a:pt x="1089" y="16442"/>
                      </a:cubicBezTo>
                      <a:cubicBezTo>
                        <a:pt x="-529" y="9715"/>
                        <a:pt x="-31" y="3861"/>
                        <a:pt x="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7" name="Freeform 4584">
                  <a:extLst>
                    <a:ext uri="{FF2B5EF4-FFF2-40B4-BE49-F238E27FC236}">
                      <a16:creationId xmlns:a16="http://schemas.microsoft.com/office/drawing/2014/main" id="{02FD91D9-6CD5-D4E0-12A8-51E6D8EC1085}"/>
                    </a:ext>
                  </a:extLst>
                </p:cNvPr>
                <p:cNvSpPr/>
                <p:nvPr/>
              </p:nvSpPr>
              <p:spPr>
                <a:xfrm>
                  <a:off x="6456198" y="5782789"/>
                  <a:ext cx="8967" cy="51442"/>
                </a:xfrm>
                <a:custGeom>
                  <a:avLst/>
                  <a:gdLst>
                    <a:gd name="connsiteX0" fmla="*/ 0 w 8967"/>
                    <a:gd name="connsiteY0" fmla="*/ 0 h 51442"/>
                    <a:gd name="connsiteX1" fmla="*/ 4857 w 8967"/>
                    <a:gd name="connsiteY1" fmla="*/ 18185 h 51442"/>
                    <a:gd name="connsiteX2" fmla="*/ 4235 w 8967"/>
                    <a:gd name="connsiteY2" fmla="*/ 35624 h 51442"/>
                    <a:gd name="connsiteX3" fmla="*/ 8968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0" y="0"/>
                      </a:moveTo>
                      <a:cubicBezTo>
                        <a:pt x="3737" y="7598"/>
                        <a:pt x="4733" y="13826"/>
                        <a:pt x="4857" y="18185"/>
                      </a:cubicBezTo>
                      <a:cubicBezTo>
                        <a:pt x="5231" y="25161"/>
                        <a:pt x="3612" y="28524"/>
                        <a:pt x="4235" y="35624"/>
                      </a:cubicBezTo>
                      <a:cubicBezTo>
                        <a:pt x="4857" y="42474"/>
                        <a:pt x="7100" y="47955"/>
                        <a:pt x="896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8" name="Freeform 4585">
                  <a:extLst>
                    <a:ext uri="{FF2B5EF4-FFF2-40B4-BE49-F238E27FC236}">
                      <a16:creationId xmlns:a16="http://schemas.microsoft.com/office/drawing/2014/main" id="{6DC8A053-D5F0-C372-B7AF-551CF562A776}"/>
                    </a:ext>
                  </a:extLst>
                </p:cNvPr>
                <p:cNvSpPr/>
                <p:nvPr/>
              </p:nvSpPr>
              <p:spPr>
                <a:xfrm>
                  <a:off x="6455663" y="5822490"/>
                  <a:ext cx="26354" cy="26471"/>
                </a:xfrm>
                <a:custGeom>
                  <a:avLst/>
                  <a:gdLst>
                    <a:gd name="connsiteX0" fmla="*/ 161 w 26354"/>
                    <a:gd name="connsiteY0" fmla="*/ 15229 h 26471"/>
                    <a:gd name="connsiteX1" fmla="*/ 11122 w 26354"/>
                    <a:gd name="connsiteY1" fmla="*/ 158 h 26471"/>
                    <a:gd name="connsiteX2" fmla="*/ 26194 w 26354"/>
                    <a:gd name="connsiteY2" fmla="*/ 11243 h 26471"/>
                    <a:gd name="connsiteX3" fmla="*/ 15232 w 26354"/>
                    <a:gd name="connsiteY3" fmla="*/ 26314 h 26471"/>
                    <a:gd name="connsiteX4" fmla="*/ 161 w 26354"/>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470">
                      <a:moveTo>
                        <a:pt x="161" y="15229"/>
                      </a:moveTo>
                      <a:cubicBezTo>
                        <a:pt x="-960" y="8005"/>
                        <a:pt x="3897" y="1279"/>
                        <a:pt x="11122" y="158"/>
                      </a:cubicBezTo>
                      <a:cubicBezTo>
                        <a:pt x="18346" y="-963"/>
                        <a:pt x="25072" y="4019"/>
                        <a:pt x="26194" y="11243"/>
                      </a:cubicBezTo>
                      <a:cubicBezTo>
                        <a:pt x="27314" y="18468"/>
                        <a:pt x="22457" y="25193"/>
                        <a:pt x="15232" y="26314"/>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7" name="Graphic 2987">
                <a:extLst>
                  <a:ext uri="{FF2B5EF4-FFF2-40B4-BE49-F238E27FC236}">
                    <a16:creationId xmlns:a16="http://schemas.microsoft.com/office/drawing/2014/main" id="{1771B48E-8623-FEF7-D01D-DC8171A563E1}"/>
                  </a:ext>
                </a:extLst>
              </p:cNvPr>
              <p:cNvGrpSpPr/>
              <p:nvPr/>
            </p:nvGrpSpPr>
            <p:grpSpPr>
              <a:xfrm>
                <a:off x="6465631" y="5696935"/>
                <a:ext cx="45408" cy="147514"/>
                <a:chOff x="6465631" y="5696935"/>
                <a:chExt cx="45408" cy="147514"/>
              </a:xfrm>
              <a:grpFill/>
            </p:grpSpPr>
            <p:sp>
              <p:nvSpPr>
                <p:cNvPr id="4877" name="Freeform 4587">
                  <a:extLst>
                    <a:ext uri="{FF2B5EF4-FFF2-40B4-BE49-F238E27FC236}">
                      <a16:creationId xmlns:a16="http://schemas.microsoft.com/office/drawing/2014/main" id="{0066DC09-A735-D25A-6BC3-3C8168ED632E}"/>
                    </a:ext>
                  </a:extLst>
                </p:cNvPr>
                <p:cNvSpPr/>
                <p:nvPr/>
              </p:nvSpPr>
              <p:spPr>
                <a:xfrm>
                  <a:off x="6475803" y="5717770"/>
                  <a:ext cx="8575" cy="51567"/>
                </a:xfrm>
                <a:custGeom>
                  <a:avLst/>
                  <a:gdLst>
                    <a:gd name="connsiteX0" fmla="*/ 573 w 8575"/>
                    <a:gd name="connsiteY0" fmla="*/ 0 h 51567"/>
                    <a:gd name="connsiteX1" fmla="*/ 1569 w 8575"/>
                    <a:gd name="connsiteY1" fmla="*/ 18808 h 51567"/>
                    <a:gd name="connsiteX2" fmla="*/ 7548 w 8575"/>
                    <a:gd name="connsiteY2" fmla="*/ 35125 h 51567"/>
                    <a:gd name="connsiteX3" fmla="*/ 7921 w 85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575" h="51567">
                      <a:moveTo>
                        <a:pt x="573" y="0"/>
                      </a:moveTo>
                      <a:cubicBezTo>
                        <a:pt x="-673" y="8346"/>
                        <a:pt x="323" y="14573"/>
                        <a:pt x="1569" y="18808"/>
                      </a:cubicBezTo>
                      <a:cubicBezTo>
                        <a:pt x="3437" y="25535"/>
                        <a:pt x="6053" y="28274"/>
                        <a:pt x="7548" y="35125"/>
                      </a:cubicBezTo>
                      <a:cubicBezTo>
                        <a:pt x="9042" y="41852"/>
                        <a:pt x="8668" y="47706"/>
                        <a:pt x="79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8" name="Freeform 4588">
                  <a:extLst>
                    <a:ext uri="{FF2B5EF4-FFF2-40B4-BE49-F238E27FC236}">
                      <a16:creationId xmlns:a16="http://schemas.microsoft.com/office/drawing/2014/main" id="{1D9B328E-2BA1-A752-E05A-CA38807EADBB}"/>
                    </a:ext>
                  </a:extLst>
                </p:cNvPr>
                <p:cNvSpPr/>
                <p:nvPr/>
              </p:nvSpPr>
              <p:spPr>
                <a:xfrm>
                  <a:off x="6482729" y="5711666"/>
                  <a:ext cx="8718" cy="51442"/>
                </a:xfrm>
                <a:custGeom>
                  <a:avLst/>
                  <a:gdLst>
                    <a:gd name="connsiteX0" fmla="*/ 8718 w 8718"/>
                    <a:gd name="connsiteY0" fmla="*/ 51442 h 51442"/>
                    <a:gd name="connsiteX1" fmla="*/ 3861 w 8718"/>
                    <a:gd name="connsiteY1" fmla="*/ 33257 h 51442"/>
                    <a:gd name="connsiteX2" fmla="*/ 4609 w 8718"/>
                    <a:gd name="connsiteY2" fmla="*/ 15819 h 51442"/>
                    <a:gd name="connsiteX3" fmla="*/ 0 w 8718"/>
                    <a:gd name="connsiteY3" fmla="*/ 0 h 51442"/>
                  </a:gdLst>
                  <a:ahLst/>
                  <a:cxnLst>
                    <a:cxn ang="0">
                      <a:pos x="connsiteX0" y="connsiteY0"/>
                    </a:cxn>
                    <a:cxn ang="0">
                      <a:pos x="connsiteX1" y="connsiteY1"/>
                    </a:cxn>
                    <a:cxn ang="0">
                      <a:pos x="connsiteX2" y="connsiteY2"/>
                    </a:cxn>
                    <a:cxn ang="0">
                      <a:pos x="connsiteX3" y="connsiteY3"/>
                    </a:cxn>
                  </a:cxnLst>
                  <a:rect l="l" t="t" r="r" b="b"/>
                  <a:pathLst>
                    <a:path w="8718" h="51442">
                      <a:moveTo>
                        <a:pt x="8718" y="51442"/>
                      </a:moveTo>
                      <a:cubicBezTo>
                        <a:pt x="4982" y="43844"/>
                        <a:pt x="4110" y="37616"/>
                        <a:pt x="3861" y="33257"/>
                      </a:cubicBezTo>
                      <a:cubicBezTo>
                        <a:pt x="3612" y="26281"/>
                        <a:pt x="5231" y="22919"/>
                        <a:pt x="4609" y="15819"/>
                      </a:cubicBezTo>
                      <a:cubicBezTo>
                        <a:pt x="3986" y="8968"/>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9" name="Freeform 4589">
                  <a:extLst>
                    <a:ext uri="{FF2B5EF4-FFF2-40B4-BE49-F238E27FC236}">
                      <a16:creationId xmlns:a16="http://schemas.microsoft.com/office/drawing/2014/main" id="{A22F07AD-3FBF-B9AB-6054-CD1B1440B2EC}"/>
                    </a:ext>
                  </a:extLst>
                </p:cNvPr>
                <p:cNvSpPr/>
                <p:nvPr/>
              </p:nvSpPr>
              <p:spPr>
                <a:xfrm>
                  <a:off x="6465631" y="5696935"/>
                  <a:ext cx="26597" cy="26596"/>
                </a:xfrm>
                <a:custGeom>
                  <a:avLst/>
                  <a:gdLst>
                    <a:gd name="connsiteX0" fmla="*/ 26440 w 26597"/>
                    <a:gd name="connsiteY0" fmla="*/ 11243 h 26596"/>
                    <a:gd name="connsiteX1" fmla="*/ 15354 w 26597"/>
                    <a:gd name="connsiteY1" fmla="*/ 26439 h 26596"/>
                    <a:gd name="connsiteX2" fmla="*/ 157 w 26597"/>
                    <a:gd name="connsiteY2" fmla="*/ 15354 h 26596"/>
                    <a:gd name="connsiteX3" fmla="*/ 11243 w 26597"/>
                    <a:gd name="connsiteY3" fmla="*/ 158 h 26596"/>
                    <a:gd name="connsiteX4" fmla="*/ 26440 w 26597"/>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7" h="26595">
                      <a:moveTo>
                        <a:pt x="26440" y="11243"/>
                      </a:moveTo>
                      <a:cubicBezTo>
                        <a:pt x="27560" y="18468"/>
                        <a:pt x="22578" y="25194"/>
                        <a:pt x="15354" y="26439"/>
                      </a:cubicBezTo>
                      <a:cubicBezTo>
                        <a:pt x="8129" y="27560"/>
                        <a:pt x="1279" y="22578"/>
                        <a:pt x="157" y="15354"/>
                      </a:cubicBezTo>
                      <a:cubicBezTo>
                        <a:pt x="-963" y="8129"/>
                        <a:pt x="4019" y="1403"/>
                        <a:pt x="11243" y="158"/>
                      </a:cubicBezTo>
                      <a:cubicBezTo>
                        <a:pt x="18468" y="-963"/>
                        <a:pt x="25318" y="4019"/>
                        <a:pt x="26440"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0" name="Freeform 4590">
                  <a:extLst>
                    <a:ext uri="{FF2B5EF4-FFF2-40B4-BE49-F238E27FC236}">
                      <a16:creationId xmlns:a16="http://schemas.microsoft.com/office/drawing/2014/main" id="{7EC59217-502B-1217-5570-7641FE20FFF0}"/>
                    </a:ext>
                  </a:extLst>
                </p:cNvPr>
                <p:cNvSpPr/>
                <p:nvPr/>
              </p:nvSpPr>
              <p:spPr>
                <a:xfrm>
                  <a:off x="6492459" y="5772077"/>
                  <a:ext cx="8529" cy="51566"/>
                </a:xfrm>
                <a:custGeom>
                  <a:avLst/>
                  <a:gdLst>
                    <a:gd name="connsiteX0" fmla="*/ 7957 w 8529"/>
                    <a:gd name="connsiteY0" fmla="*/ 51567 h 51566"/>
                    <a:gd name="connsiteX1" fmla="*/ 6960 w 8529"/>
                    <a:gd name="connsiteY1" fmla="*/ 32758 h 51566"/>
                    <a:gd name="connsiteX2" fmla="*/ 982 w 8529"/>
                    <a:gd name="connsiteY2" fmla="*/ 16441 h 51566"/>
                    <a:gd name="connsiteX3" fmla="*/ 608 w 8529"/>
                    <a:gd name="connsiteY3" fmla="*/ 0 h 51566"/>
                  </a:gdLst>
                  <a:ahLst/>
                  <a:cxnLst>
                    <a:cxn ang="0">
                      <a:pos x="connsiteX0" y="connsiteY0"/>
                    </a:cxn>
                    <a:cxn ang="0">
                      <a:pos x="connsiteX1" y="connsiteY1"/>
                    </a:cxn>
                    <a:cxn ang="0">
                      <a:pos x="connsiteX2" y="connsiteY2"/>
                    </a:cxn>
                    <a:cxn ang="0">
                      <a:pos x="connsiteX3" y="connsiteY3"/>
                    </a:cxn>
                  </a:cxnLst>
                  <a:rect l="l" t="t" r="r" b="b"/>
                  <a:pathLst>
                    <a:path w="8529" h="51566">
                      <a:moveTo>
                        <a:pt x="7957" y="51567"/>
                      </a:moveTo>
                      <a:cubicBezTo>
                        <a:pt x="9202" y="43222"/>
                        <a:pt x="8206" y="36994"/>
                        <a:pt x="6960" y="32758"/>
                      </a:cubicBezTo>
                      <a:cubicBezTo>
                        <a:pt x="5092" y="26033"/>
                        <a:pt x="2601" y="23292"/>
                        <a:pt x="982" y="16441"/>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1" name="Freeform 4591">
                  <a:extLst>
                    <a:ext uri="{FF2B5EF4-FFF2-40B4-BE49-F238E27FC236}">
                      <a16:creationId xmlns:a16="http://schemas.microsoft.com/office/drawing/2014/main" id="{7C25B013-E8AF-BEB8-BC8B-C2641B5F6EF3}"/>
                    </a:ext>
                  </a:extLst>
                </p:cNvPr>
                <p:cNvSpPr/>
                <p:nvPr/>
              </p:nvSpPr>
              <p:spPr>
                <a:xfrm>
                  <a:off x="6485469" y="5778305"/>
                  <a:ext cx="8719" cy="51442"/>
                </a:xfrm>
                <a:custGeom>
                  <a:avLst/>
                  <a:gdLst>
                    <a:gd name="connsiteX0" fmla="*/ 0 w 8719"/>
                    <a:gd name="connsiteY0" fmla="*/ 0 h 51442"/>
                    <a:gd name="connsiteX1" fmla="*/ 4858 w 8719"/>
                    <a:gd name="connsiteY1" fmla="*/ 18185 h 51442"/>
                    <a:gd name="connsiteX2" fmla="*/ 4111 w 8719"/>
                    <a:gd name="connsiteY2" fmla="*/ 35623 h 51442"/>
                    <a:gd name="connsiteX3" fmla="*/ 8719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0" y="0"/>
                      </a:moveTo>
                      <a:cubicBezTo>
                        <a:pt x="3737" y="7598"/>
                        <a:pt x="4609" y="13826"/>
                        <a:pt x="4858" y="18185"/>
                      </a:cubicBezTo>
                      <a:cubicBezTo>
                        <a:pt x="5231" y="25161"/>
                        <a:pt x="3488" y="28523"/>
                        <a:pt x="4111" y="35623"/>
                      </a:cubicBezTo>
                      <a:cubicBezTo>
                        <a:pt x="4733" y="42474"/>
                        <a:pt x="6975" y="47954"/>
                        <a:pt x="87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82" name="Freeform 4592">
                  <a:extLst>
                    <a:ext uri="{FF2B5EF4-FFF2-40B4-BE49-F238E27FC236}">
                      <a16:creationId xmlns:a16="http://schemas.microsoft.com/office/drawing/2014/main" id="{2CEA83DF-4D63-53C8-F3C1-513D08D2B574}"/>
                    </a:ext>
                  </a:extLst>
                </p:cNvPr>
                <p:cNvSpPr/>
                <p:nvPr/>
              </p:nvSpPr>
              <p:spPr>
                <a:xfrm>
                  <a:off x="6484685" y="5818005"/>
                  <a:ext cx="26353" cy="26444"/>
                </a:xfrm>
                <a:custGeom>
                  <a:avLst/>
                  <a:gdLst>
                    <a:gd name="connsiteX0" fmla="*/ 161 w 26353"/>
                    <a:gd name="connsiteY0" fmla="*/ 15229 h 26444"/>
                    <a:gd name="connsiteX1" fmla="*/ 11122 w 26353"/>
                    <a:gd name="connsiteY1" fmla="*/ 158 h 26444"/>
                    <a:gd name="connsiteX2" fmla="*/ 26193 w 26353"/>
                    <a:gd name="connsiteY2" fmla="*/ 11243 h 26444"/>
                    <a:gd name="connsiteX3" fmla="*/ 15233 w 26353"/>
                    <a:gd name="connsiteY3" fmla="*/ 26315 h 26444"/>
                    <a:gd name="connsiteX4" fmla="*/ 161 w 26353"/>
                    <a:gd name="connsiteY4" fmla="*/ 15229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 h="26444">
                      <a:moveTo>
                        <a:pt x="161" y="15229"/>
                      </a:moveTo>
                      <a:cubicBezTo>
                        <a:pt x="-961" y="8005"/>
                        <a:pt x="3897" y="1279"/>
                        <a:pt x="11122" y="158"/>
                      </a:cubicBezTo>
                      <a:cubicBezTo>
                        <a:pt x="18347" y="-963"/>
                        <a:pt x="25072" y="4019"/>
                        <a:pt x="26193" y="11243"/>
                      </a:cubicBezTo>
                      <a:cubicBezTo>
                        <a:pt x="27314" y="18468"/>
                        <a:pt x="22456" y="25194"/>
                        <a:pt x="15233" y="26315"/>
                      </a:cubicBezTo>
                      <a:cubicBezTo>
                        <a:pt x="8133" y="27311"/>
                        <a:pt x="1406"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8" name="Graphic 2987">
                <a:extLst>
                  <a:ext uri="{FF2B5EF4-FFF2-40B4-BE49-F238E27FC236}">
                    <a16:creationId xmlns:a16="http://schemas.microsoft.com/office/drawing/2014/main" id="{C66B9860-C7EB-8DAD-6F7F-87E439E3B20A}"/>
                  </a:ext>
                </a:extLst>
              </p:cNvPr>
              <p:cNvGrpSpPr/>
              <p:nvPr/>
            </p:nvGrpSpPr>
            <p:grpSpPr>
              <a:xfrm>
                <a:off x="6495027" y="5692448"/>
                <a:ext cx="45155" cy="147420"/>
                <a:chOff x="6495027" y="5692448"/>
                <a:chExt cx="45155" cy="147420"/>
              </a:xfrm>
              <a:grpFill/>
            </p:grpSpPr>
            <p:sp>
              <p:nvSpPr>
                <p:cNvPr id="4871" name="Freeform 4594">
                  <a:extLst>
                    <a:ext uri="{FF2B5EF4-FFF2-40B4-BE49-F238E27FC236}">
                      <a16:creationId xmlns:a16="http://schemas.microsoft.com/office/drawing/2014/main" id="{5BF332CE-9C59-6CBB-92F2-987A5B56209E}"/>
                    </a:ext>
                  </a:extLst>
                </p:cNvPr>
                <p:cNvSpPr/>
                <p:nvPr/>
              </p:nvSpPr>
              <p:spPr>
                <a:xfrm>
                  <a:off x="6505195" y="5713286"/>
                  <a:ext cx="8408" cy="51566"/>
                </a:xfrm>
                <a:custGeom>
                  <a:avLst/>
                  <a:gdLst>
                    <a:gd name="connsiteX0" fmla="*/ 577 w 8408"/>
                    <a:gd name="connsiteY0" fmla="*/ 0 h 51566"/>
                    <a:gd name="connsiteX1" fmla="*/ 1449 w 8408"/>
                    <a:gd name="connsiteY1" fmla="*/ 18808 h 51566"/>
                    <a:gd name="connsiteX2" fmla="*/ 7427 w 8408"/>
                    <a:gd name="connsiteY2" fmla="*/ 35125 h 51566"/>
                    <a:gd name="connsiteX3" fmla="*/ 7801 w 8408"/>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408" h="51566">
                      <a:moveTo>
                        <a:pt x="577" y="0"/>
                      </a:moveTo>
                      <a:cubicBezTo>
                        <a:pt x="-669" y="8345"/>
                        <a:pt x="327" y="14573"/>
                        <a:pt x="1449" y="18808"/>
                      </a:cubicBezTo>
                      <a:cubicBezTo>
                        <a:pt x="3317" y="25534"/>
                        <a:pt x="5808" y="28274"/>
                        <a:pt x="7427" y="35125"/>
                      </a:cubicBezTo>
                      <a:cubicBezTo>
                        <a:pt x="8922" y="41851"/>
                        <a:pt x="8424" y="47705"/>
                        <a:pt x="780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2" name="Freeform 4595">
                  <a:extLst>
                    <a:ext uri="{FF2B5EF4-FFF2-40B4-BE49-F238E27FC236}">
                      <a16:creationId xmlns:a16="http://schemas.microsoft.com/office/drawing/2014/main" id="{01605099-5E39-66B0-14BB-F6ED446559AD}"/>
                    </a:ext>
                  </a:extLst>
                </p:cNvPr>
                <p:cNvSpPr/>
                <p:nvPr/>
              </p:nvSpPr>
              <p:spPr>
                <a:xfrm>
                  <a:off x="6511875" y="5707182"/>
                  <a:ext cx="8719" cy="51442"/>
                </a:xfrm>
                <a:custGeom>
                  <a:avLst/>
                  <a:gdLst>
                    <a:gd name="connsiteX0" fmla="*/ 8719 w 8719"/>
                    <a:gd name="connsiteY0" fmla="*/ 51442 h 51442"/>
                    <a:gd name="connsiteX1" fmla="*/ 3861 w 8719"/>
                    <a:gd name="connsiteY1" fmla="*/ 33257 h 51442"/>
                    <a:gd name="connsiteX2" fmla="*/ 4609 w 8719"/>
                    <a:gd name="connsiteY2" fmla="*/ 15819 h 51442"/>
                    <a:gd name="connsiteX3" fmla="*/ 0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51442"/>
                      </a:moveTo>
                      <a:cubicBezTo>
                        <a:pt x="5107" y="43845"/>
                        <a:pt x="4111" y="37617"/>
                        <a:pt x="3861" y="33257"/>
                      </a:cubicBezTo>
                      <a:cubicBezTo>
                        <a:pt x="3613" y="26282"/>
                        <a:pt x="5231" y="22919"/>
                        <a:pt x="4609" y="15819"/>
                      </a:cubicBezTo>
                      <a:cubicBezTo>
                        <a:pt x="4111" y="8968"/>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3" name="Freeform 4596">
                  <a:extLst>
                    <a:ext uri="{FF2B5EF4-FFF2-40B4-BE49-F238E27FC236}">
                      <a16:creationId xmlns:a16="http://schemas.microsoft.com/office/drawing/2014/main" id="{ABEBC704-084A-CC9A-6ED1-C463D55F166F}"/>
                    </a:ext>
                  </a:extLst>
                </p:cNvPr>
                <p:cNvSpPr/>
                <p:nvPr/>
              </p:nvSpPr>
              <p:spPr>
                <a:xfrm>
                  <a:off x="6495027" y="5692448"/>
                  <a:ext cx="26596" cy="26599"/>
                </a:xfrm>
                <a:custGeom>
                  <a:avLst/>
                  <a:gdLst>
                    <a:gd name="connsiteX0" fmla="*/ 26439 w 26596"/>
                    <a:gd name="connsiteY0" fmla="*/ 11246 h 26599"/>
                    <a:gd name="connsiteX1" fmla="*/ 15353 w 26596"/>
                    <a:gd name="connsiteY1" fmla="*/ 26442 h 26599"/>
                    <a:gd name="connsiteX2" fmla="*/ 158 w 26596"/>
                    <a:gd name="connsiteY2" fmla="*/ 15357 h 26599"/>
                    <a:gd name="connsiteX3" fmla="*/ 11243 w 26596"/>
                    <a:gd name="connsiteY3" fmla="*/ 161 h 26599"/>
                    <a:gd name="connsiteX4" fmla="*/ 26439 w 26596"/>
                    <a:gd name="connsiteY4" fmla="*/ 11246 h 2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599">
                      <a:moveTo>
                        <a:pt x="26439" y="11246"/>
                      </a:moveTo>
                      <a:cubicBezTo>
                        <a:pt x="27560" y="18471"/>
                        <a:pt x="22578" y="25321"/>
                        <a:pt x="15353" y="26442"/>
                      </a:cubicBezTo>
                      <a:cubicBezTo>
                        <a:pt x="8129" y="27563"/>
                        <a:pt x="1278" y="22581"/>
                        <a:pt x="158" y="15357"/>
                      </a:cubicBezTo>
                      <a:cubicBezTo>
                        <a:pt x="-964" y="8132"/>
                        <a:pt x="4019" y="1406"/>
                        <a:pt x="11243" y="161"/>
                      </a:cubicBezTo>
                      <a:cubicBezTo>
                        <a:pt x="18592" y="-960"/>
                        <a:pt x="25318" y="3897"/>
                        <a:pt x="26439" y="112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4" name="Freeform 4597">
                  <a:extLst>
                    <a:ext uri="{FF2B5EF4-FFF2-40B4-BE49-F238E27FC236}">
                      <a16:creationId xmlns:a16="http://schemas.microsoft.com/office/drawing/2014/main" id="{7FCF42A7-1C16-8381-7AF0-B9D2C998FFA6}"/>
                    </a:ext>
                  </a:extLst>
                </p:cNvPr>
                <p:cNvSpPr/>
                <p:nvPr/>
              </p:nvSpPr>
              <p:spPr>
                <a:xfrm>
                  <a:off x="6521605" y="5767593"/>
                  <a:ext cx="8409" cy="51567"/>
                </a:xfrm>
                <a:custGeom>
                  <a:avLst/>
                  <a:gdLst>
                    <a:gd name="connsiteX0" fmla="*/ 7833 w 8409"/>
                    <a:gd name="connsiteY0" fmla="*/ 51567 h 51567"/>
                    <a:gd name="connsiteX1" fmla="*/ 6961 w 8409"/>
                    <a:gd name="connsiteY1" fmla="*/ 32759 h 51567"/>
                    <a:gd name="connsiteX2" fmla="*/ 981 w 8409"/>
                    <a:gd name="connsiteY2" fmla="*/ 16442 h 51567"/>
                    <a:gd name="connsiteX3" fmla="*/ 608 w 8409"/>
                    <a:gd name="connsiteY3" fmla="*/ 0 h 51567"/>
                  </a:gdLst>
                  <a:ahLst/>
                  <a:cxnLst>
                    <a:cxn ang="0">
                      <a:pos x="connsiteX0" y="connsiteY0"/>
                    </a:cxn>
                    <a:cxn ang="0">
                      <a:pos x="connsiteX1" y="connsiteY1"/>
                    </a:cxn>
                    <a:cxn ang="0">
                      <a:pos x="connsiteX2" y="connsiteY2"/>
                    </a:cxn>
                    <a:cxn ang="0">
                      <a:pos x="connsiteX3" y="connsiteY3"/>
                    </a:cxn>
                  </a:cxnLst>
                  <a:rect l="l" t="t" r="r" b="b"/>
                  <a:pathLst>
                    <a:path w="8409" h="51567">
                      <a:moveTo>
                        <a:pt x="7833" y="51567"/>
                      </a:moveTo>
                      <a:cubicBezTo>
                        <a:pt x="9078" y="43222"/>
                        <a:pt x="8081" y="36994"/>
                        <a:pt x="6961" y="32759"/>
                      </a:cubicBezTo>
                      <a:cubicBezTo>
                        <a:pt x="5092" y="26033"/>
                        <a:pt x="2601" y="23292"/>
                        <a:pt x="981" y="16442"/>
                      </a:cubicBezTo>
                      <a:cubicBezTo>
                        <a:pt x="-513" y="9715"/>
                        <a:pt x="-15" y="3861"/>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5" name="Freeform 4598">
                  <a:extLst>
                    <a:ext uri="{FF2B5EF4-FFF2-40B4-BE49-F238E27FC236}">
                      <a16:creationId xmlns:a16="http://schemas.microsoft.com/office/drawing/2014/main" id="{6C8EDB52-D940-EAA5-5AF7-F7FB39285C33}"/>
                    </a:ext>
                  </a:extLst>
                </p:cNvPr>
                <p:cNvSpPr/>
                <p:nvPr/>
              </p:nvSpPr>
              <p:spPr>
                <a:xfrm>
                  <a:off x="6514740" y="5773696"/>
                  <a:ext cx="8718" cy="51442"/>
                </a:xfrm>
                <a:custGeom>
                  <a:avLst/>
                  <a:gdLst>
                    <a:gd name="connsiteX0" fmla="*/ 0 w 8718"/>
                    <a:gd name="connsiteY0" fmla="*/ 0 h 51442"/>
                    <a:gd name="connsiteX1" fmla="*/ 4857 w 8718"/>
                    <a:gd name="connsiteY1" fmla="*/ 18186 h 51442"/>
                    <a:gd name="connsiteX2" fmla="*/ 4110 w 8718"/>
                    <a:gd name="connsiteY2" fmla="*/ 35624 h 51442"/>
                    <a:gd name="connsiteX3" fmla="*/ 8718 w 8718"/>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8" h="51442">
                      <a:moveTo>
                        <a:pt x="0" y="0"/>
                      </a:moveTo>
                      <a:cubicBezTo>
                        <a:pt x="3737" y="7598"/>
                        <a:pt x="4609" y="13826"/>
                        <a:pt x="4857" y="18186"/>
                      </a:cubicBezTo>
                      <a:cubicBezTo>
                        <a:pt x="5107" y="25161"/>
                        <a:pt x="3487" y="28524"/>
                        <a:pt x="4110" y="35624"/>
                      </a:cubicBezTo>
                      <a:cubicBezTo>
                        <a:pt x="4732" y="42474"/>
                        <a:pt x="6975" y="47955"/>
                        <a:pt x="8718"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6" name="Freeform 4599">
                  <a:extLst>
                    <a:ext uri="{FF2B5EF4-FFF2-40B4-BE49-F238E27FC236}">
                      <a16:creationId xmlns:a16="http://schemas.microsoft.com/office/drawing/2014/main" id="{59D18526-F653-78C8-B828-5743F3289AA2}"/>
                    </a:ext>
                  </a:extLst>
                </p:cNvPr>
                <p:cNvSpPr/>
                <p:nvPr/>
              </p:nvSpPr>
              <p:spPr>
                <a:xfrm>
                  <a:off x="6513831" y="5813397"/>
                  <a:ext cx="26351" cy="26472"/>
                </a:xfrm>
                <a:custGeom>
                  <a:avLst/>
                  <a:gdLst>
                    <a:gd name="connsiteX0" fmla="*/ 161 w 26351"/>
                    <a:gd name="connsiteY0" fmla="*/ 15229 h 26472"/>
                    <a:gd name="connsiteX1" fmla="*/ 11122 w 26351"/>
                    <a:gd name="connsiteY1" fmla="*/ 158 h 26472"/>
                    <a:gd name="connsiteX2" fmla="*/ 26194 w 26351"/>
                    <a:gd name="connsiteY2" fmla="*/ 11243 h 26472"/>
                    <a:gd name="connsiteX3" fmla="*/ 15232 w 26351"/>
                    <a:gd name="connsiteY3" fmla="*/ 26315 h 26472"/>
                    <a:gd name="connsiteX4" fmla="*/ 161 w 26351"/>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472">
                      <a:moveTo>
                        <a:pt x="161" y="15229"/>
                      </a:moveTo>
                      <a:cubicBezTo>
                        <a:pt x="-960" y="8005"/>
                        <a:pt x="3898" y="1279"/>
                        <a:pt x="11122" y="158"/>
                      </a:cubicBezTo>
                      <a:cubicBezTo>
                        <a:pt x="18346" y="-963"/>
                        <a:pt x="25072" y="4019"/>
                        <a:pt x="26194" y="11243"/>
                      </a:cubicBezTo>
                      <a:cubicBezTo>
                        <a:pt x="27315" y="18468"/>
                        <a:pt x="22332" y="25194"/>
                        <a:pt x="15232" y="26315"/>
                      </a:cubicBezTo>
                      <a:cubicBezTo>
                        <a:pt x="8008" y="27436"/>
                        <a:pt x="1282" y="22453"/>
                        <a:pt x="161"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09" name="Graphic 2987">
                <a:extLst>
                  <a:ext uri="{FF2B5EF4-FFF2-40B4-BE49-F238E27FC236}">
                    <a16:creationId xmlns:a16="http://schemas.microsoft.com/office/drawing/2014/main" id="{0048636B-E421-5C8E-0FD7-24087AD132FF}"/>
                  </a:ext>
                </a:extLst>
              </p:cNvPr>
              <p:cNvGrpSpPr/>
              <p:nvPr/>
            </p:nvGrpSpPr>
            <p:grpSpPr>
              <a:xfrm>
                <a:off x="6524298" y="5687843"/>
                <a:ext cx="45031" cy="147542"/>
                <a:chOff x="6524298" y="5687843"/>
                <a:chExt cx="45031" cy="147542"/>
              </a:xfrm>
              <a:grpFill/>
            </p:grpSpPr>
            <p:sp>
              <p:nvSpPr>
                <p:cNvPr id="4865" name="Freeform 4601">
                  <a:extLst>
                    <a:ext uri="{FF2B5EF4-FFF2-40B4-BE49-F238E27FC236}">
                      <a16:creationId xmlns:a16="http://schemas.microsoft.com/office/drawing/2014/main" id="{1DA7B620-7322-5782-48B7-F3F32C839403}"/>
                    </a:ext>
                  </a:extLst>
                </p:cNvPr>
                <p:cNvSpPr/>
                <p:nvPr/>
              </p:nvSpPr>
              <p:spPr>
                <a:xfrm>
                  <a:off x="6534590" y="5708677"/>
                  <a:ext cx="8408" cy="51691"/>
                </a:xfrm>
                <a:custGeom>
                  <a:avLst/>
                  <a:gdLst>
                    <a:gd name="connsiteX0" fmla="*/ 576 w 8408"/>
                    <a:gd name="connsiteY0" fmla="*/ 0 h 51691"/>
                    <a:gd name="connsiteX1" fmla="*/ 1448 w 8408"/>
                    <a:gd name="connsiteY1" fmla="*/ 18808 h 51691"/>
                    <a:gd name="connsiteX2" fmla="*/ 7427 w 8408"/>
                    <a:gd name="connsiteY2" fmla="*/ 35125 h 51691"/>
                    <a:gd name="connsiteX3" fmla="*/ 7801 w 8408"/>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408" h="51690">
                      <a:moveTo>
                        <a:pt x="576" y="0"/>
                      </a:moveTo>
                      <a:cubicBezTo>
                        <a:pt x="-669" y="8346"/>
                        <a:pt x="328" y="14573"/>
                        <a:pt x="1448" y="18808"/>
                      </a:cubicBezTo>
                      <a:cubicBezTo>
                        <a:pt x="3317" y="25535"/>
                        <a:pt x="5808" y="28275"/>
                        <a:pt x="7427" y="35125"/>
                      </a:cubicBezTo>
                      <a:cubicBezTo>
                        <a:pt x="8922" y="41852"/>
                        <a:pt x="8424" y="47706"/>
                        <a:pt x="7801"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6" name="Freeform 4602">
                  <a:extLst>
                    <a:ext uri="{FF2B5EF4-FFF2-40B4-BE49-F238E27FC236}">
                      <a16:creationId xmlns:a16="http://schemas.microsoft.com/office/drawing/2014/main" id="{65643919-5E6B-660B-7056-636A7CF0B997}"/>
                    </a:ext>
                  </a:extLst>
                </p:cNvPr>
                <p:cNvSpPr/>
                <p:nvPr/>
              </p:nvSpPr>
              <p:spPr>
                <a:xfrm>
                  <a:off x="6541395" y="5702573"/>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8" y="43845"/>
                        <a:pt x="3861" y="37617"/>
                        <a:pt x="3737" y="33257"/>
                      </a:cubicBezTo>
                      <a:cubicBezTo>
                        <a:pt x="3488" y="26282"/>
                        <a:pt x="5107" y="22919"/>
                        <a:pt x="4609" y="15819"/>
                      </a:cubicBezTo>
                      <a:cubicBezTo>
                        <a:pt x="4111" y="8968"/>
                        <a:pt x="186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7" name="Freeform 4603">
                  <a:extLst>
                    <a:ext uri="{FF2B5EF4-FFF2-40B4-BE49-F238E27FC236}">
                      <a16:creationId xmlns:a16="http://schemas.microsoft.com/office/drawing/2014/main" id="{9DEA06D8-89C5-5A96-BA69-879EEFC0245E}"/>
                    </a:ext>
                  </a:extLst>
                </p:cNvPr>
                <p:cNvSpPr/>
                <p:nvPr/>
              </p:nvSpPr>
              <p:spPr>
                <a:xfrm>
                  <a:off x="6524298" y="5687843"/>
                  <a:ext cx="26721" cy="26596"/>
                </a:xfrm>
                <a:custGeom>
                  <a:avLst/>
                  <a:gdLst>
                    <a:gd name="connsiteX0" fmla="*/ 26564 w 26721"/>
                    <a:gd name="connsiteY0" fmla="*/ 11243 h 26596"/>
                    <a:gd name="connsiteX1" fmla="*/ 15354 w 26721"/>
                    <a:gd name="connsiteY1" fmla="*/ 26439 h 26596"/>
                    <a:gd name="connsiteX2" fmla="*/ 158 w 26721"/>
                    <a:gd name="connsiteY2" fmla="*/ 15354 h 26596"/>
                    <a:gd name="connsiteX3" fmla="*/ 11368 w 26721"/>
                    <a:gd name="connsiteY3" fmla="*/ 158 h 26596"/>
                    <a:gd name="connsiteX4" fmla="*/ 26564 w 26721"/>
                    <a:gd name="connsiteY4" fmla="*/ 11243 h 2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1" h="26595">
                      <a:moveTo>
                        <a:pt x="26564" y="11243"/>
                      </a:moveTo>
                      <a:cubicBezTo>
                        <a:pt x="27685" y="18468"/>
                        <a:pt x="22702" y="25318"/>
                        <a:pt x="15354" y="26439"/>
                      </a:cubicBezTo>
                      <a:cubicBezTo>
                        <a:pt x="8005" y="27560"/>
                        <a:pt x="1279" y="22578"/>
                        <a:pt x="158" y="15354"/>
                      </a:cubicBezTo>
                      <a:cubicBezTo>
                        <a:pt x="-964" y="8129"/>
                        <a:pt x="4019" y="1279"/>
                        <a:pt x="11368" y="158"/>
                      </a:cubicBezTo>
                      <a:cubicBezTo>
                        <a:pt x="18717" y="-964"/>
                        <a:pt x="25443" y="4019"/>
                        <a:pt x="26564" y="112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8" name="Freeform 4604">
                  <a:extLst>
                    <a:ext uri="{FF2B5EF4-FFF2-40B4-BE49-F238E27FC236}">
                      <a16:creationId xmlns:a16="http://schemas.microsoft.com/office/drawing/2014/main" id="{97B6CB86-499A-3FA8-7B74-6E9D8AC0D1BE}"/>
                    </a:ext>
                  </a:extLst>
                </p:cNvPr>
                <p:cNvSpPr/>
                <p:nvPr/>
              </p:nvSpPr>
              <p:spPr>
                <a:xfrm>
                  <a:off x="6550752" y="5762859"/>
                  <a:ext cx="8409" cy="51691"/>
                </a:xfrm>
                <a:custGeom>
                  <a:avLst/>
                  <a:gdLst>
                    <a:gd name="connsiteX0" fmla="*/ 7832 w 8409"/>
                    <a:gd name="connsiteY0" fmla="*/ 51691 h 51691"/>
                    <a:gd name="connsiteX1" fmla="*/ 6960 w 8409"/>
                    <a:gd name="connsiteY1" fmla="*/ 32883 h 51691"/>
                    <a:gd name="connsiteX2" fmla="*/ 982 w 8409"/>
                    <a:gd name="connsiteY2" fmla="*/ 16566 h 51691"/>
                    <a:gd name="connsiteX3" fmla="*/ 608 w 8409"/>
                    <a:gd name="connsiteY3" fmla="*/ 0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51691"/>
                      </a:moveTo>
                      <a:cubicBezTo>
                        <a:pt x="9078" y="43346"/>
                        <a:pt x="8082" y="37118"/>
                        <a:pt x="6960" y="32883"/>
                      </a:cubicBezTo>
                      <a:cubicBezTo>
                        <a:pt x="5092" y="26157"/>
                        <a:pt x="2601" y="23417"/>
                        <a:pt x="982" y="16566"/>
                      </a:cubicBezTo>
                      <a:cubicBezTo>
                        <a:pt x="-513" y="9840"/>
                        <a:pt x="-15" y="3986"/>
                        <a:pt x="6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9" name="Freeform 4605">
                  <a:extLst>
                    <a:ext uri="{FF2B5EF4-FFF2-40B4-BE49-F238E27FC236}">
                      <a16:creationId xmlns:a16="http://schemas.microsoft.com/office/drawing/2014/main" id="{F294627A-929C-B703-CA86-D7DFC7EDC264}"/>
                    </a:ext>
                  </a:extLst>
                </p:cNvPr>
                <p:cNvSpPr/>
                <p:nvPr/>
              </p:nvSpPr>
              <p:spPr>
                <a:xfrm>
                  <a:off x="6543886" y="5769212"/>
                  <a:ext cx="8594" cy="51442"/>
                </a:xfrm>
                <a:custGeom>
                  <a:avLst/>
                  <a:gdLst>
                    <a:gd name="connsiteX0" fmla="*/ 0 w 8594"/>
                    <a:gd name="connsiteY0" fmla="*/ 0 h 51442"/>
                    <a:gd name="connsiteX1" fmla="*/ 4733 w 8594"/>
                    <a:gd name="connsiteY1" fmla="*/ 18185 h 51442"/>
                    <a:gd name="connsiteX2" fmla="*/ 3986 w 8594"/>
                    <a:gd name="connsiteY2" fmla="*/ 35623 h 51442"/>
                    <a:gd name="connsiteX3" fmla="*/ 8595 w 8594"/>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594" h="51442">
                      <a:moveTo>
                        <a:pt x="0" y="0"/>
                      </a:moveTo>
                      <a:cubicBezTo>
                        <a:pt x="3612" y="7598"/>
                        <a:pt x="4609" y="13826"/>
                        <a:pt x="4733" y="18185"/>
                      </a:cubicBezTo>
                      <a:cubicBezTo>
                        <a:pt x="4983" y="25161"/>
                        <a:pt x="3363" y="28524"/>
                        <a:pt x="3986" y="35623"/>
                      </a:cubicBezTo>
                      <a:cubicBezTo>
                        <a:pt x="4484" y="42474"/>
                        <a:pt x="6726" y="47955"/>
                        <a:pt x="8595"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70" name="Freeform 4606">
                  <a:extLst>
                    <a:ext uri="{FF2B5EF4-FFF2-40B4-BE49-F238E27FC236}">
                      <a16:creationId xmlns:a16="http://schemas.microsoft.com/office/drawing/2014/main" id="{24D6159D-6E10-7687-EC8C-E8BB8851F72E}"/>
                    </a:ext>
                  </a:extLst>
                </p:cNvPr>
                <p:cNvSpPr/>
                <p:nvPr/>
              </p:nvSpPr>
              <p:spPr>
                <a:xfrm>
                  <a:off x="6542981" y="5808913"/>
                  <a:ext cx="26347" cy="26471"/>
                </a:xfrm>
                <a:custGeom>
                  <a:avLst/>
                  <a:gdLst>
                    <a:gd name="connsiteX0" fmla="*/ 158 w 26347"/>
                    <a:gd name="connsiteY0" fmla="*/ 15229 h 26471"/>
                    <a:gd name="connsiteX1" fmla="*/ 11243 w 26347"/>
                    <a:gd name="connsiteY1" fmla="*/ 158 h 26471"/>
                    <a:gd name="connsiteX2" fmla="*/ 26191 w 26347"/>
                    <a:gd name="connsiteY2" fmla="*/ 11243 h 26471"/>
                    <a:gd name="connsiteX3" fmla="*/ 15105 w 26347"/>
                    <a:gd name="connsiteY3" fmla="*/ 26314 h 26471"/>
                    <a:gd name="connsiteX4" fmla="*/ 158 w 26347"/>
                    <a:gd name="connsiteY4" fmla="*/ 1522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0">
                      <a:moveTo>
                        <a:pt x="158" y="15229"/>
                      </a:moveTo>
                      <a:cubicBezTo>
                        <a:pt x="-964" y="8004"/>
                        <a:pt x="4019" y="1279"/>
                        <a:pt x="11243" y="158"/>
                      </a:cubicBezTo>
                      <a:cubicBezTo>
                        <a:pt x="18468" y="-964"/>
                        <a:pt x="25194" y="4019"/>
                        <a:pt x="26191" y="11243"/>
                      </a:cubicBezTo>
                      <a:cubicBezTo>
                        <a:pt x="27311" y="18468"/>
                        <a:pt x="22329" y="25193"/>
                        <a:pt x="15105" y="26314"/>
                      </a:cubicBezTo>
                      <a:cubicBezTo>
                        <a:pt x="7880" y="27435"/>
                        <a:pt x="1154"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0" name="Graphic 2987">
                <a:extLst>
                  <a:ext uri="{FF2B5EF4-FFF2-40B4-BE49-F238E27FC236}">
                    <a16:creationId xmlns:a16="http://schemas.microsoft.com/office/drawing/2014/main" id="{C5C85019-38E7-A27D-3575-737F1929885C}"/>
                  </a:ext>
                </a:extLst>
              </p:cNvPr>
              <p:cNvGrpSpPr/>
              <p:nvPr/>
            </p:nvGrpSpPr>
            <p:grpSpPr>
              <a:xfrm>
                <a:off x="6553818" y="5683237"/>
                <a:ext cx="44532" cy="147663"/>
                <a:chOff x="6553818" y="5683237"/>
                <a:chExt cx="44532" cy="147663"/>
              </a:xfrm>
              <a:grpFill/>
            </p:grpSpPr>
            <p:sp>
              <p:nvSpPr>
                <p:cNvPr id="4859" name="Freeform 4608">
                  <a:extLst>
                    <a:ext uri="{FF2B5EF4-FFF2-40B4-BE49-F238E27FC236}">
                      <a16:creationId xmlns:a16="http://schemas.microsoft.com/office/drawing/2014/main" id="{F7786DBB-C0BC-4F00-F593-EE7A52F571D6}"/>
                    </a:ext>
                  </a:extLst>
                </p:cNvPr>
                <p:cNvSpPr/>
                <p:nvPr/>
              </p:nvSpPr>
              <p:spPr>
                <a:xfrm>
                  <a:off x="6563986" y="5704068"/>
                  <a:ext cx="8270" cy="51691"/>
                </a:xfrm>
                <a:custGeom>
                  <a:avLst/>
                  <a:gdLst>
                    <a:gd name="connsiteX0" fmla="*/ 577 w 8270"/>
                    <a:gd name="connsiteY0" fmla="*/ 0 h 51691"/>
                    <a:gd name="connsiteX1" fmla="*/ 1448 w 8270"/>
                    <a:gd name="connsiteY1" fmla="*/ 18808 h 51691"/>
                    <a:gd name="connsiteX2" fmla="*/ 7303 w 8270"/>
                    <a:gd name="connsiteY2" fmla="*/ 35125 h 51691"/>
                    <a:gd name="connsiteX3" fmla="*/ 7552 w 8270"/>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270" h="51690">
                      <a:moveTo>
                        <a:pt x="577" y="0"/>
                      </a:moveTo>
                      <a:cubicBezTo>
                        <a:pt x="-669" y="8346"/>
                        <a:pt x="328" y="14573"/>
                        <a:pt x="1448" y="18808"/>
                      </a:cubicBezTo>
                      <a:cubicBezTo>
                        <a:pt x="3192" y="25535"/>
                        <a:pt x="5808" y="28275"/>
                        <a:pt x="7303" y="35125"/>
                      </a:cubicBezTo>
                      <a:cubicBezTo>
                        <a:pt x="8798" y="41852"/>
                        <a:pt x="8300" y="47706"/>
                        <a:pt x="7552"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0" name="Freeform 4609">
                  <a:extLst>
                    <a:ext uri="{FF2B5EF4-FFF2-40B4-BE49-F238E27FC236}">
                      <a16:creationId xmlns:a16="http://schemas.microsoft.com/office/drawing/2014/main" id="{0B58CC8A-8D9A-FCBB-7041-908ABC0C9FDE}"/>
                    </a:ext>
                  </a:extLst>
                </p:cNvPr>
                <p:cNvSpPr/>
                <p:nvPr/>
              </p:nvSpPr>
              <p:spPr>
                <a:xfrm>
                  <a:off x="6570666" y="5698090"/>
                  <a:ext cx="8469" cy="51442"/>
                </a:xfrm>
                <a:custGeom>
                  <a:avLst/>
                  <a:gdLst>
                    <a:gd name="connsiteX0" fmla="*/ 8470 w 8469"/>
                    <a:gd name="connsiteY0" fmla="*/ 51442 h 51442"/>
                    <a:gd name="connsiteX1" fmla="*/ 3737 w 8469"/>
                    <a:gd name="connsiteY1" fmla="*/ 33257 h 51442"/>
                    <a:gd name="connsiteX2" fmla="*/ 4609 w 8469"/>
                    <a:gd name="connsiteY2" fmla="*/ 15819 h 51442"/>
                    <a:gd name="connsiteX3" fmla="*/ 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51442"/>
                      </a:moveTo>
                      <a:cubicBezTo>
                        <a:pt x="4857" y="43844"/>
                        <a:pt x="3861" y="37616"/>
                        <a:pt x="3737" y="33257"/>
                      </a:cubicBezTo>
                      <a:cubicBezTo>
                        <a:pt x="3487" y="26281"/>
                        <a:pt x="5107" y="22919"/>
                        <a:pt x="4609" y="15819"/>
                      </a:cubicBezTo>
                      <a:cubicBezTo>
                        <a:pt x="4110" y="8968"/>
                        <a:pt x="1868"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1" name="Freeform 4610">
                  <a:extLst>
                    <a:ext uri="{FF2B5EF4-FFF2-40B4-BE49-F238E27FC236}">
                      <a16:creationId xmlns:a16="http://schemas.microsoft.com/office/drawing/2014/main" id="{2C32A08B-1DA4-FA4E-54E0-A7035090ADF8}"/>
                    </a:ext>
                  </a:extLst>
                </p:cNvPr>
                <p:cNvSpPr/>
                <p:nvPr/>
              </p:nvSpPr>
              <p:spPr>
                <a:xfrm>
                  <a:off x="6553818" y="5683237"/>
                  <a:ext cx="26593" cy="26593"/>
                </a:xfrm>
                <a:custGeom>
                  <a:avLst/>
                  <a:gdLst>
                    <a:gd name="connsiteX0" fmla="*/ 26439 w 26593"/>
                    <a:gd name="connsiteY0" fmla="*/ 11365 h 26593"/>
                    <a:gd name="connsiteX1" fmla="*/ 15229 w 26593"/>
                    <a:gd name="connsiteY1" fmla="*/ 26436 h 26593"/>
                    <a:gd name="connsiteX2" fmla="*/ 157 w 26593"/>
                    <a:gd name="connsiteY2" fmla="*/ 15351 h 26593"/>
                    <a:gd name="connsiteX3" fmla="*/ 11368 w 26593"/>
                    <a:gd name="connsiteY3" fmla="*/ 154 h 26593"/>
                    <a:gd name="connsiteX4" fmla="*/ 26439 w 26593"/>
                    <a:gd name="connsiteY4" fmla="*/ 11365 h 26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2">
                      <a:moveTo>
                        <a:pt x="26439" y="11365"/>
                      </a:moveTo>
                      <a:cubicBezTo>
                        <a:pt x="27560" y="18589"/>
                        <a:pt x="22453" y="25315"/>
                        <a:pt x="15229" y="26436"/>
                      </a:cubicBezTo>
                      <a:cubicBezTo>
                        <a:pt x="8005" y="27557"/>
                        <a:pt x="1154" y="22575"/>
                        <a:pt x="157" y="15351"/>
                      </a:cubicBezTo>
                      <a:cubicBezTo>
                        <a:pt x="-963" y="8126"/>
                        <a:pt x="4019" y="1276"/>
                        <a:pt x="11368" y="154"/>
                      </a:cubicBezTo>
                      <a:cubicBezTo>
                        <a:pt x="18592" y="-967"/>
                        <a:pt x="25318" y="4140"/>
                        <a:pt x="26439"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2" name="Freeform 4611">
                  <a:extLst>
                    <a:ext uri="{FF2B5EF4-FFF2-40B4-BE49-F238E27FC236}">
                      <a16:creationId xmlns:a16="http://schemas.microsoft.com/office/drawing/2014/main" id="{93875578-5384-FBFB-CD87-CC9BAB242AF5}"/>
                    </a:ext>
                  </a:extLst>
                </p:cNvPr>
                <p:cNvSpPr/>
                <p:nvPr/>
              </p:nvSpPr>
              <p:spPr>
                <a:xfrm>
                  <a:off x="6580036" y="5758375"/>
                  <a:ext cx="8270" cy="51691"/>
                </a:xfrm>
                <a:custGeom>
                  <a:avLst/>
                  <a:gdLst>
                    <a:gd name="connsiteX0" fmla="*/ 7694 w 8270"/>
                    <a:gd name="connsiteY0" fmla="*/ 51691 h 51691"/>
                    <a:gd name="connsiteX1" fmla="*/ 6822 w 8270"/>
                    <a:gd name="connsiteY1" fmla="*/ 32883 h 51691"/>
                    <a:gd name="connsiteX2" fmla="*/ 968 w 8270"/>
                    <a:gd name="connsiteY2" fmla="*/ 16566 h 51691"/>
                    <a:gd name="connsiteX3" fmla="*/ 719 w 8270"/>
                    <a:gd name="connsiteY3" fmla="*/ 0 h 51691"/>
                  </a:gdLst>
                  <a:ahLst/>
                  <a:cxnLst>
                    <a:cxn ang="0">
                      <a:pos x="connsiteX0" y="connsiteY0"/>
                    </a:cxn>
                    <a:cxn ang="0">
                      <a:pos x="connsiteX1" y="connsiteY1"/>
                    </a:cxn>
                    <a:cxn ang="0">
                      <a:pos x="connsiteX2" y="connsiteY2"/>
                    </a:cxn>
                    <a:cxn ang="0">
                      <a:pos x="connsiteX3" y="connsiteY3"/>
                    </a:cxn>
                  </a:cxnLst>
                  <a:rect l="l" t="t" r="r" b="b"/>
                  <a:pathLst>
                    <a:path w="8270" h="51690">
                      <a:moveTo>
                        <a:pt x="7694" y="51691"/>
                      </a:moveTo>
                      <a:cubicBezTo>
                        <a:pt x="8939" y="43346"/>
                        <a:pt x="7943" y="37118"/>
                        <a:pt x="6822" y="32883"/>
                      </a:cubicBezTo>
                      <a:cubicBezTo>
                        <a:pt x="5078" y="26157"/>
                        <a:pt x="2462" y="23417"/>
                        <a:pt x="968" y="16566"/>
                      </a:cubicBezTo>
                      <a:cubicBezTo>
                        <a:pt x="-527" y="9840"/>
                        <a:pt x="-28" y="3986"/>
                        <a:pt x="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3" name="Freeform 4612">
                  <a:extLst>
                    <a:ext uri="{FF2B5EF4-FFF2-40B4-BE49-F238E27FC236}">
                      <a16:creationId xmlns:a16="http://schemas.microsoft.com/office/drawing/2014/main" id="{255A29EE-DA66-D574-260C-07A92B87B1F5}"/>
                    </a:ext>
                  </a:extLst>
                </p:cNvPr>
                <p:cNvSpPr/>
                <p:nvPr/>
              </p:nvSpPr>
              <p:spPr>
                <a:xfrm>
                  <a:off x="6573157" y="5764603"/>
                  <a:ext cx="8345" cy="51442"/>
                </a:xfrm>
                <a:custGeom>
                  <a:avLst/>
                  <a:gdLst>
                    <a:gd name="connsiteX0" fmla="*/ 0 w 8345"/>
                    <a:gd name="connsiteY0" fmla="*/ 0 h 51442"/>
                    <a:gd name="connsiteX1" fmla="*/ 4733 w 8345"/>
                    <a:gd name="connsiteY1" fmla="*/ 18185 h 51442"/>
                    <a:gd name="connsiteX2" fmla="*/ 3862 w 8345"/>
                    <a:gd name="connsiteY2" fmla="*/ 35623 h 51442"/>
                    <a:gd name="connsiteX3" fmla="*/ 8346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0" y="0"/>
                      </a:moveTo>
                      <a:cubicBezTo>
                        <a:pt x="3613" y="7598"/>
                        <a:pt x="4609" y="13826"/>
                        <a:pt x="4733" y="18185"/>
                      </a:cubicBezTo>
                      <a:cubicBezTo>
                        <a:pt x="4983" y="25161"/>
                        <a:pt x="3363" y="28524"/>
                        <a:pt x="3862" y="35623"/>
                      </a:cubicBezTo>
                      <a:cubicBezTo>
                        <a:pt x="4360" y="42474"/>
                        <a:pt x="6602" y="47955"/>
                        <a:pt x="8346"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64" name="Freeform 4613">
                  <a:extLst>
                    <a:ext uri="{FF2B5EF4-FFF2-40B4-BE49-F238E27FC236}">
                      <a16:creationId xmlns:a16="http://schemas.microsoft.com/office/drawing/2014/main" id="{7474A621-9F93-8CA8-336A-2D935168D6AB}"/>
                    </a:ext>
                  </a:extLst>
                </p:cNvPr>
                <p:cNvSpPr/>
                <p:nvPr/>
              </p:nvSpPr>
              <p:spPr>
                <a:xfrm>
                  <a:off x="6572003" y="5804429"/>
                  <a:ext cx="26347" cy="26472"/>
                </a:xfrm>
                <a:custGeom>
                  <a:avLst/>
                  <a:gdLst>
                    <a:gd name="connsiteX0" fmla="*/ 158 w 26347"/>
                    <a:gd name="connsiteY0" fmla="*/ 15229 h 26472"/>
                    <a:gd name="connsiteX1" fmla="*/ 11243 w 26347"/>
                    <a:gd name="connsiteY1" fmla="*/ 158 h 26472"/>
                    <a:gd name="connsiteX2" fmla="*/ 26190 w 26347"/>
                    <a:gd name="connsiteY2" fmla="*/ 11243 h 26472"/>
                    <a:gd name="connsiteX3" fmla="*/ 15105 w 26347"/>
                    <a:gd name="connsiteY3" fmla="*/ 26315 h 26472"/>
                    <a:gd name="connsiteX4" fmla="*/ 158 w 26347"/>
                    <a:gd name="connsiteY4" fmla="*/ 15229 h 26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472">
                      <a:moveTo>
                        <a:pt x="158" y="15229"/>
                      </a:moveTo>
                      <a:cubicBezTo>
                        <a:pt x="-964" y="8005"/>
                        <a:pt x="4019" y="1279"/>
                        <a:pt x="11243" y="158"/>
                      </a:cubicBezTo>
                      <a:cubicBezTo>
                        <a:pt x="18467" y="-963"/>
                        <a:pt x="25194" y="4019"/>
                        <a:pt x="26190" y="11243"/>
                      </a:cubicBezTo>
                      <a:cubicBezTo>
                        <a:pt x="27311" y="18468"/>
                        <a:pt x="22329" y="25194"/>
                        <a:pt x="15105" y="26315"/>
                      </a:cubicBezTo>
                      <a:cubicBezTo>
                        <a:pt x="8005" y="27436"/>
                        <a:pt x="1278" y="22453"/>
                        <a:pt x="158" y="1522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1" name="Graphic 2987">
                <a:extLst>
                  <a:ext uri="{FF2B5EF4-FFF2-40B4-BE49-F238E27FC236}">
                    <a16:creationId xmlns:a16="http://schemas.microsoft.com/office/drawing/2014/main" id="{7022EEFF-58B0-B381-78D4-3EE3B769F2A5}"/>
                  </a:ext>
                </a:extLst>
              </p:cNvPr>
              <p:cNvGrpSpPr/>
              <p:nvPr/>
            </p:nvGrpSpPr>
            <p:grpSpPr>
              <a:xfrm>
                <a:off x="6583216" y="5679030"/>
                <a:ext cx="44253" cy="147511"/>
                <a:chOff x="6583216" y="5679030"/>
                <a:chExt cx="44253" cy="147511"/>
              </a:xfrm>
              <a:grpFill/>
            </p:grpSpPr>
            <p:sp>
              <p:nvSpPr>
                <p:cNvPr id="4853" name="Freeform 4615">
                  <a:extLst>
                    <a:ext uri="{FF2B5EF4-FFF2-40B4-BE49-F238E27FC236}">
                      <a16:creationId xmlns:a16="http://schemas.microsoft.com/office/drawing/2014/main" id="{EB77FE9F-5711-533E-EE6F-E271E196EBB5}"/>
                    </a:ext>
                  </a:extLst>
                </p:cNvPr>
                <p:cNvSpPr/>
                <p:nvPr/>
              </p:nvSpPr>
              <p:spPr>
                <a:xfrm>
                  <a:off x="6593348" y="5699833"/>
                  <a:ext cx="8179" cy="51691"/>
                </a:xfrm>
                <a:custGeom>
                  <a:avLst/>
                  <a:gdLst>
                    <a:gd name="connsiteX0" fmla="*/ 610 w 8179"/>
                    <a:gd name="connsiteY0" fmla="*/ 0 h 51691"/>
                    <a:gd name="connsiteX1" fmla="*/ 1357 w 8179"/>
                    <a:gd name="connsiteY1" fmla="*/ 18808 h 51691"/>
                    <a:gd name="connsiteX2" fmla="*/ 7211 w 8179"/>
                    <a:gd name="connsiteY2" fmla="*/ 35250 h 51691"/>
                    <a:gd name="connsiteX3" fmla="*/ 7461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610" y="0"/>
                      </a:moveTo>
                      <a:cubicBezTo>
                        <a:pt x="-636" y="8346"/>
                        <a:pt x="236" y="14573"/>
                        <a:pt x="1357" y="18808"/>
                      </a:cubicBezTo>
                      <a:cubicBezTo>
                        <a:pt x="3101" y="25535"/>
                        <a:pt x="5717" y="28275"/>
                        <a:pt x="7211" y="35250"/>
                      </a:cubicBezTo>
                      <a:cubicBezTo>
                        <a:pt x="8706" y="41976"/>
                        <a:pt x="8208" y="47830"/>
                        <a:pt x="746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4" name="Freeform 4616">
                  <a:extLst>
                    <a:ext uri="{FF2B5EF4-FFF2-40B4-BE49-F238E27FC236}">
                      <a16:creationId xmlns:a16="http://schemas.microsoft.com/office/drawing/2014/main" id="{59CCFF36-B382-80CD-53D7-EE4F857F49DB}"/>
                    </a:ext>
                  </a:extLst>
                </p:cNvPr>
                <p:cNvSpPr/>
                <p:nvPr/>
              </p:nvSpPr>
              <p:spPr>
                <a:xfrm>
                  <a:off x="6600062" y="5693730"/>
                  <a:ext cx="8345" cy="51566"/>
                </a:xfrm>
                <a:custGeom>
                  <a:avLst/>
                  <a:gdLst>
                    <a:gd name="connsiteX0" fmla="*/ 8345 w 8345"/>
                    <a:gd name="connsiteY0" fmla="*/ 51567 h 51566"/>
                    <a:gd name="connsiteX1" fmla="*/ 3612 w 8345"/>
                    <a:gd name="connsiteY1" fmla="*/ 33381 h 51566"/>
                    <a:gd name="connsiteX2" fmla="*/ 4484 w 8345"/>
                    <a:gd name="connsiteY2" fmla="*/ 15943 h 51566"/>
                    <a:gd name="connsiteX3" fmla="*/ 0 w 8345"/>
                    <a:gd name="connsiteY3" fmla="*/ 0 h 51566"/>
                  </a:gdLst>
                  <a:ahLst/>
                  <a:cxnLst>
                    <a:cxn ang="0">
                      <a:pos x="connsiteX0" y="connsiteY0"/>
                    </a:cxn>
                    <a:cxn ang="0">
                      <a:pos x="connsiteX1" y="connsiteY1"/>
                    </a:cxn>
                    <a:cxn ang="0">
                      <a:pos x="connsiteX2" y="connsiteY2"/>
                    </a:cxn>
                    <a:cxn ang="0">
                      <a:pos x="connsiteX3" y="connsiteY3"/>
                    </a:cxn>
                  </a:cxnLst>
                  <a:rect l="l" t="t" r="r" b="b"/>
                  <a:pathLst>
                    <a:path w="8345" h="51566">
                      <a:moveTo>
                        <a:pt x="8345" y="51567"/>
                      </a:moveTo>
                      <a:cubicBezTo>
                        <a:pt x="4733" y="43969"/>
                        <a:pt x="3861" y="37741"/>
                        <a:pt x="3612" y="33381"/>
                      </a:cubicBezTo>
                      <a:cubicBezTo>
                        <a:pt x="3363" y="26406"/>
                        <a:pt x="5107"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5" name="Freeform 4617">
                  <a:extLst>
                    <a:ext uri="{FF2B5EF4-FFF2-40B4-BE49-F238E27FC236}">
                      <a16:creationId xmlns:a16="http://schemas.microsoft.com/office/drawing/2014/main" id="{E37E0181-F2F5-4B55-41C2-977E6196216C}"/>
                    </a:ext>
                  </a:extLst>
                </p:cNvPr>
                <p:cNvSpPr/>
                <p:nvPr/>
              </p:nvSpPr>
              <p:spPr>
                <a:xfrm>
                  <a:off x="6583216" y="5679030"/>
                  <a:ext cx="26563" cy="26410"/>
                </a:xfrm>
                <a:custGeom>
                  <a:avLst/>
                  <a:gdLst>
                    <a:gd name="connsiteX0" fmla="*/ 26437 w 26563"/>
                    <a:gd name="connsiteY0" fmla="*/ 11337 h 26410"/>
                    <a:gd name="connsiteX1" fmla="*/ 15226 w 26563"/>
                    <a:gd name="connsiteY1" fmla="*/ 26284 h 26410"/>
                    <a:gd name="connsiteX2" fmla="*/ 154 w 26563"/>
                    <a:gd name="connsiteY2" fmla="*/ 15074 h 26410"/>
                    <a:gd name="connsiteX3" fmla="*/ 11365 w 26563"/>
                    <a:gd name="connsiteY3" fmla="*/ 127 h 26410"/>
                    <a:gd name="connsiteX4" fmla="*/ 26437 w 26563"/>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3" h="26410">
                      <a:moveTo>
                        <a:pt x="26437" y="11337"/>
                      </a:moveTo>
                      <a:cubicBezTo>
                        <a:pt x="27433" y="18561"/>
                        <a:pt x="22451" y="25288"/>
                        <a:pt x="15226" y="26284"/>
                      </a:cubicBezTo>
                      <a:cubicBezTo>
                        <a:pt x="8002" y="27281"/>
                        <a:pt x="1151" y="22298"/>
                        <a:pt x="154" y="15074"/>
                      </a:cubicBezTo>
                      <a:cubicBezTo>
                        <a:pt x="-966" y="7849"/>
                        <a:pt x="4140" y="1123"/>
                        <a:pt x="11365" y="127"/>
                      </a:cubicBezTo>
                      <a:cubicBezTo>
                        <a:pt x="18714" y="-870"/>
                        <a:pt x="25440" y="4113"/>
                        <a:pt x="26437"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6" name="Freeform 4618">
                  <a:extLst>
                    <a:ext uri="{FF2B5EF4-FFF2-40B4-BE49-F238E27FC236}">
                      <a16:creationId xmlns:a16="http://schemas.microsoft.com/office/drawing/2014/main" id="{DB0286CB-839C-0F4F-1F8B-00512B34D4E0}"/>
                    </a:ext>
                  </a:extLst>
                </p:cNvPr>
                <p:cNvSpPr/>
                <p:nvPr/>
              </p:nvSpPr>
              <p:spPr>
                <a:xfrm>
                  <a:off x="6609351" y="5754141"/>
                  <a:ext cx="8135" cy="51691"/>
                </a:xfrm>
                <a:custGeom>
                  <a:avLst/>
                  <a:gdLst>
                    <a:gd name="connsiteX0" fmla="*/ 7526 w 8135"/>
                    <a:gd name="connsiteY0" fmla="*/ 51691 h 51691"/>
                    <a:gd name="connsiteX1" fmla="*/ 6779 w 8135"/>
                    <a:gd name="connsiteY1" fmla="*/ 32883 h 51691"/>
                    <a:gd name="connsiteX2" fmla="*/ 925 w 8135"/>
                    <a:gd name="connsiteY2" fmla="*/ 16441 h 51691"/>
                    <a:gd name="connsiteX3" fmla="*/ 675 w 8135"/>
                    <a:gd name="connsiteY3" fmla="*/ 0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51691"/>
                      </a:moveTo>
                      <a:cubicBezTo>
                        <a:pt x="8772" y="43346"/>
                        <a:pt x="7900" y="37118"/>
                        <a:pt x="6779" y="32883"/>
                      </a:cubicBezTo>
                      <a:cubicBezTo>
                        <a:pt x="5035" y="26157"/>
                        <a:pt x="2419" y="23417"/>
                        <a:pt x="925" y="16441"/>
                      </a:cubicBezTo>
                      <a:cubicBezTo>
                        <a:pt x="-570" y="9715"/>
                        <a:pt x="53" y="3861"/>
                        <a:pt x="6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7" name="Freeform 4619">
                  <a:extLst>
                    <a:ext uri="{FF2B5EF4-FFF2-40B4-BE49-F238E27FC236}">
                      <a16:creationId xmlns:a16="http://schemas.microsoft.com/office/drawing/2014/main" id="{656ABE24-EAEE-3FB2-49E4-86CD26A2D555}"/>
                    </a:ext>
                  </a:extLst>
                </p:cNvPr>
                <p:cNvSpPr/>
                <p:nvPr/>
              </p:nvSpPr>
              <p:spPr>
                <a:xfrm>
                  <a:off x="6602428" y="5760368"/>
                  <a:ext cx="8345" cy="51566"/>
                </a:xfrm>
                <a:custGeom>
                  <a:avLst/>
                  <a:gdLst>
                    <a:gd name="connsiteX0" fmla="*/ 0 w 8345"/>
                    <a:gd name="connsiteY0" fmla="*/ 0 h 51566"/>
                    <a:gd name="connsiteX1" fmla="*/ 4733 w 8345"/>
                    <a:gd name="connsiteY1" fmla="*/ 18185 h 51566"/>
                    <a:gd name="connsiteX2" fmla="*/ 3861 w 8345"/>
                    <a:gd name="connsiteY2" fmla="*/ 35623 h 51566"/>
                    <a:gd name="connsiteX3" fmla="*/ 8345 w 8345"/>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345" h="51566">
                      <a:moveTo>
                        <a:pt x="0" y="0"/>
                      </a:moveTo>
                      <a:cubicBezTo>
                        <a:pt x="3612" y="7598"/>
                        <a:pt x="4484" y="13826"/>
                        <a:pt x="4733" y="18185"/>
                      </a:cubicBezTo>
                      <a:cubicBezTo>
                        <a:pt x="4982" y="25161"/>
                        <a:pt x="3363" y="28523"/>
                        <a:pt x="3861" y="35623"/>
                      </a:cubicBezTo>
                      <a:cubicBezTo>
                        <a:pt x="4359" y="42474"/>
                        <a:pt x="6601" y="47954"/>
                        <a:pt x="834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8" name="Freeform 4620">
                  <a:extLst>
                    <a:ext uri="{FF2B5EF4-FFF2-40B4-BE49-F238E27FC236}">
                      <a16:creationId xmlns:a16="http://schemas.microsoft.com/office/drawing/2014/main" id="{0CB58BEC-BAAB-47E7-6A3A-FE8E1B352F62}"/>
                    </a:ext>
                  </a:extLst>
                </p:cNvPr>
                <p:cNvSpPr/>
                <p:nvPr/>
              </p:nvSpPr>
              <p:spPr>
                <a:xfrm>
                  <a:off x="6601150" y="5800100"/>
                  <a:ext cx="26319" cy="26441"/>
                </a:xfrm>
                <a:custGeom>
                  <a:avLst/>
                  <a:gdLst>
                    <a:gd name="connsiteX0" fmla="*/ 157 w 26319"/>
                    <a:gd name="connsiteY0" fmla="*/ 15074 h 26441"/>
                    <a:gd name="connsiteX1" fmla="*/ 11243 w 26319"/>
                    <a:gd name="connsiteY1" fmla="*/ 127 h 26441"/>
                    <a:gd name="connsiteX2" fmla="*/ 26190 w 26319"/>
                    <a:gd name="connsiteY2" fmla="*/ 11337 h 26441"/>
                    <a:gd name="connsiteX3" fmla="*/ 15105 w 26319"/>
                    <a:gd name="connsiteY3" fmla="*/ 26284 h 26441"/>
                    <a:gd name="connsiteX4" fmla="*/ 157 w 26319"/>
                    <a:gd name="connsiteY4" fmla="*/ 15074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41">
                      <a:moveTo>
                        <a:pt x="157" y="15074"/>
                      </a:moveTo>
                      <a:cubicBezTo>
                        <a:pt x="-963" y="7849"/>
                        <a:pt x="4019" y="1123"/>
                        <a:pt x="11243" y="127"/>
                      </a:cubicBezTo>
                      <a:cubicBezTo>
                        <a:pt x="18468" y="-870"/>
                        <a:pt x="25194" y="4113"/>
                        <a:pt x="26190" y="11337"/>
                      </a:cubicBezTo>
                      <a:cubicBezTo>
                        <a:pt x="27187" y="18561"/>
                        <a:pt x="22329" y="25288"/>
                        <a:pt x="15105" y="26284"/>
                      </a:cubicBezTo>
                      <a:cubicBezTo>
                        <a:pt x="7880" y="27405"/>
                        <a:pt x="1154" y="22423"/>
                        <a:pt x="15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2" name="Graphic 2987">
                <a:extLst>
                  <a:ext uri="{FF2B5EF4-FFF2-40B4-BE49-F238E27FC236}">
                    <a16:creationId xmlns:a16="http://schemas.microsoft.com/office/drawing/2014/main" id="{4DB60867-3639-3CE8-DDAE-6116FF1F06EC}"/>
                  </a:ext>
                </a:extLst>
              </p:cNvPr>
              <p:cNvGrpSpPr/>
              <p:nvPr/>
            </p:nvGrpSpPr>
            <p:grpSpPr>
              <a:xfrm>
                <a:off x="6612640" y="5674889"/>
                <a:ext cx="43972" cy="147539"/>
                <a:chOff x="6612640" y="5674889"/>
                <a:chExt cx="43972" cy="147539"/>
              </a:xfrm>
              <a:grpFill/>
            </p:grpSpPr>
            <p:sp>
              <p:nvSpPr>
                <p:cNvPr id="4847" name="Freeform 4622">
                  <a:extLst>
                    <a:ext uri="{FF2B5EF4-FFF2-40B4-BE49-F238E27FC236}">
                      <a16:creationId xmlns:a16="http://schemas.microsoft.com/office/drawing/2014/main" id="{0F04BCA4-AB2C-FF19-FC58-21B5CC313B1C}"/>
                    </a:ext>
                  </a:extLst>
                </p:cNvPr>
                <p:cNvSpPr/>
                <p:nvPr/>
              </p:nvSpPr>
              <p:spPr>
                <a:xfrm>
                  <a:off x="6622689" y="5695598"/>
                  <a:ext cx="8191" cy="51691"/>
                </a:xfrm>
                <a:custGeom>
                  <a:avLst/>
                  <a:gdLst>
                    <a:gd name="connsiteX0" fmla="*/ 665 w 8191"/>
                    <a:gd name="connsiteY0" fmla="*/ 0 h 51691"/>
                    <a:gd name="connsiteX1" fmla="*/ 1412 w 8191"/>
                    <a:gd name="connsiteY1" fmla="*/ 18808 h 51691"/>
                    <a:gd name="connsiteX2" fmla="*/ 7267 w 8191"/>
                    <a:gd name="connsiteY2" fmla="*/ 35250 h 51691"/>
                    <a:gd name="connsiteX3" fmla="*/ 7516 w 819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90" h="51690">
                      <a:moveTo>
                        <a:pt x="665" y="0"/>
                      </a:moveTo>
                      <a:cubicBezTo>
                        <a:pt x="-705" y="8346"/>
                        <a:pt x="291" y="14573"/>
                        <a:pt x="1412" y="18808"/>
                      </a:cubicBezTo>
                      <a:cubicBezTo>
                        <a:pt x="3156" y="25534"/>
                        <a:pt x="5772" y="28274"/>
                        <a:pt x="7267" y="35250"/>
                      </a:cubicBezTo>
                      <a:cubicBezTo>
                        <a:pt x="8762" y="41976"/>
                        <a:pt x="8138" y="47830"/>
                        <a:pt x="751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8" name="Freeform 4623">
                  <a:extLst>
                    <a:ext uri="{FF2B5EF4-FFF2-40B4-BE49-F238E27FC236}">
                      <a16:creationId xmlns:a16="http://schemas.microsoft.com/office/drawing/2014/main" id="{22BBEB48-F17D-FB02-A489-27BAEFFFC944}"/>
                    </a:ext>
                  </a:extLst>
                </p:cNvPr>
                <p:cNvSpPr/>
                <p:nvPr/>
              </p:nvSpPr>
              <p:spPr>
                <a:xfrm>
                  <a:off x="6629707" y="5689619"/>
                  <a:ext cx="8095" cy="51567"/>
                </a:xfrm>
                <a:custGeom>
                  <a:avLst/>
                  <a:gdLst>
                    <a:gd name="connsiteX0" fmla="*/ 8096 w 8095"/>
                    <a:gd name="connsiteY0" fmla="*/ 51567 h 51567"/>
                    <a:gd name="connsiteX1" fmla="*/ 3487 w 8095"/>
                    <a:gd name="connsiteY1" fmla="*/ 33382 h 51567"/>
                    <a:gd name="connsiteX2" fmla="*/ 4484 w 8095"/>
                    <a:gd name="connsiteY2" fmla="*/ 15943 h 51567"/>
                    <a:gd name="connsiteX3" fmla="*/ 0 w 8095"/>
                    <a:gd name="connsiteY3" fmla="*/ 0 h 51567"/>
                  </a:gdLst>
                  <a:ahLst/>
                  <a:cxnLst>
                    <a:cxn ang="0">
                      <a:pos x="connsiteX0" y="connsiteY0"/>
                    </a:cxn>
                    <a:cxn ang="0">
                      <a:pos x="connsiteX1" y="connsiteY1"/>
                    </a:cxn>
                    <a:cxn ang="0">
                      <a:pos x="connsiteX2" y="connsiteY2"/>
                    </a:cxn>
                    <a:cxn ang="0">
                      <a:pos x="connsiteX3" y="connsiteY3"/>
                    </a:cxn>
                  </a:cxnLst>
                  <a:rect l="l" t="t" r="r" b="b"/>
                  <a:pathLst>
                    <a:path w="8095" h="51567">
                      <a:moveTo>
                        <a:pt x="8096" y="51567"/>
                      </a:moveTo>
                      <a:cubicBezTo>
                        <a:pt x="4484" y="43969"/>
                        <a:pt x="3612" y="37741"/>
                        <a:pt x="3487" y="33382"/>
                      </a:cubicBezTo>
                      <a:cubicBezTo>
                        <a:pt x="3239" y="26407"/>
                        <a:pt x="4982" y="23043"/>
                        <a:pt x="4484" y="15943"/>
                      </a:cubicBezTo>
                      <a:cubicBezTo>
                        <a:pt x="3986"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9" name="Freeform 4624">
                  <a:extLst>
                    <a:ext uri="{FF2B5EF4-FFF2-40B4-BE49-F238E27FC236}">
                      <a16:creationId xmlns:a16="http://schemas.microsoft.com/office/drawing/2014/main" id="{9789F8FA-1BD8-6F09-AA44-EF57E694C7F8}"/>
                    </a:ext>
                  </a:extLst>
                </p:cNvPr>
                <p:cNvSpPr/>
                <p:nvPr/>
              </p:nvSpPr>
              <p:spPr>
                <a:xfrm>
                  <a:off x="6612640" y="5674889"/>
                  <a:ext cx="26659" cy="26441"/>
                </a:xfrm>
                <a:custGeom>
                  <a:avLst/>
                  <a:gdLst>
                    <a:gd name="connsiteX0" fmla="*/ 26533 w 26659"/>
                    <a:gd name="connsiteY0" fmla="*/ 11368 h 26441"/>
                    <a:gd name="connsiteX1" fmla="*/ 15198 w 26659"/>
                    <a:gd name="connsiteY1" fmla="*/ 26315 h 26441"/>
                    <a:gd name="connsiteX2" fmla="*/ 127 w 26659"/>
                    <a:gd name="connsiteY2" fmla="*/ 15104 h 26441"/>
                    <a:gd name="connsiteX3" fmla="*/ 11461 w 26659"/>
                    <a:gd name="connsiteY3" fmla="*/ 157 h 26441"/>
                    <a:gd name="connsiteX4" fmla="*/ 26533 w 26659"/>
                    <a:gd name="connsiteY4" fmla="*/ 1136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41">
                      <a:moveTo>
                        <a:pt x="26533" y="11368"/>
                      </a:moveTo>
                      <a:cubicBezTo>
                        <a:pt x="27529" y="18592"/>
                        <a:pt x="22547" y="25318"/>
                        <a:pt x="15198" y="26315"/>
                      </a:cubicBezTo>
                      <a:cubicBezTo>
                        <a:pt x="7974" y="27311"/>
                        <a:pt x="1247" y="22329"/>
                        <a:pt x="127" y="15104"/>
                      </a:cubicBezTo>
                      <a:cubicBezTo>
                        <a:pt x="-870" y="7880"/>
                        <a:pt x="4112" y="1154"/>
                        <a:pt x="11461" y="157"/>
                      </a:cubicBezTo>
                      <a:cubicBezTo>
                        <a:pt x="18686" y="-964"/>
                        <a:pt x="25412" y="4019"/>
                        <a:pt x="26533" y="113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0" name="Freeform 4625">
                  <a:extLst>
                    <a:ext uri="{FF2B5EF4-FFF2-40B4-BE49-F238E27FC236}">
                      <a16:creationId xmlns:a16="http://schemas.microsoft.com/office/drawing/2014/main" id="{77CAD702-290D-6A86-BBFC-FBAF6AFE4A10}"/>
                    </a:ext>
                  </a:extLst>
                </p:cNvPr>
                <p:cNvSpPr/>
                <p:nvPr/>
              </p:nvSpPr>
              <p:spPr>
                <a:xfrm>
                  <a:off x="6638497" y="5750030"/>
                  <a:ext cx="8136" cy="51691"/>
                </a:xfrm>
                <a:custGeom>
                  <a:avLst/>
                  <a:gdLst>
                    <a:gd name="connsiteX0" fmla="*/ 7527 w 8136"/>
                    <a:gd name="connsiteY0" fmla="*/ 51691 h 51691"/>
                    <a:gd name="connsiteX1" fmla="*/ 6779 w 8136"/>
                    <a:gd name="connsiteY1" fmla="*/ 32883 h 51691"/>
                    <a:gd name="connsiteX2" fmla="*/ 925 w 8136"/>
                    <a:gd name="connsiteY2" fmla="*/ 16442 h 51691"/>
                    <a:gd name="connsiteX3" fmla="*/ 676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7527" y="51691"/>
                      </a:moveTo>
                      <a:cubicBezTo>
                        <a:pt x="8772" y="43346"/>
                        <a:pt x="7900" y="37118"/>
                        <a:pt x="6779" y="32883"/>
                      </a:cubicBezTo>
                      <a:cubicBezTo>
                        <a:pt x="5035" y="26157"/>
                        <a:pt x="2544" y="23417"/>
                        <a:pt x="925" y="16442"/>
                      </a:cubicBezTo>
                      <a:cubicBezTo>
                        <a:pt x="-570" y="9715"/>
                        <a:pt x="53" y="3861"/>
                        <a:pt x="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1" name="Freeform 4626">
                  <a:extLst>
                    <a:ext uri="{FF2B5EF4-FFF2-40B4-BE49-F238E27FC236}">
                      <a16:creationId xmlns:a16="http://schemas.microsoft.com/office/drawing/2014/main" id="{E763004F-F9A0-0325-D96E-AE1D50804E22}"/>
                    </a:ext>
                  </a:extLst>
                </p:cNvPr>
                <p:cNvSpPr/>
                <p:nvPr/>
              </p:nvSpPr>
              <p:spPr>
                <a:xfrm>
                  <a:off x="6631699" y="5756134"/>
                  <a:ext cx="8221" cy="51566"/>
                </a:xfrm>
                <a:custGeom>
                  <a:avLst/>
                  <a:gdLst>
                    <a:gd name="connsiteX0" fmla="*/ 0 w 8221"/>
                    <a:gd name="connsiteY0" fmla="*/ 0 h 51566"/>
                    <a:gd name="connsiteX1" fmla="*/ 4609 w 8221"/>
                    <a:gd name="connsiteY1" fmla="*/ 18185 h 51566"/>
                    <a:gd name="connsiteX2" fmla="*/ 3737 w 8221"/>
                    <a:gd name="connsiteY2" fmla="*/ 35623 h 51566"/>
                    <a:gd name="connsiteX3" fmla="*/ 8221 w 822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221" h="51566">
                      <a:moveTo>
                        <a:pt x="0" y="0"/>
                      </a:moveTo>
                      <a:cubicBezTo>
                        <a:pt x="3613" y="7598"/>
                        <a:pt x="4485" y="13826"/>
                        <a:pt x="4609" y="18185"/>
                      </a:cubicBezTo>
                      <a:cubicBezTo>
                        <a:pt x="4858" y="25161"/>
                        <a:pt x="3114" y="28523"/>
                        <a:pt x="3737" y="35623"/>
                      </a:cubicBezTo>
                      <a:cubicBezTo>
                        <a:pt x="4235" y="42474"/>
                        <a:pt x="6477" y="47954"/>
                        <a:pt x="822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52" name="Freeform 4627">
                  <a:extLst>
                    <a:ext uri="{FF2B5EF4-FFF2-40B4-BE49-F238E27FC236}">
                      <a16:creationId xmlns:a16="http://schemas.microsoft.com/office/drawing/2014/main" id="{DFACDABE-48AF-0934-7B1D-851D0B98BC4C}"/>
                    </a:ext>
                  </a:extLst>
                </p:cNvPr>
                <p:cNvSpPr/>
                <p:nvPr/>
              </p:nvSpPr>
              <p:spPr>
                <a:xfrm>
                  <a:off x="6630327" y="5795990"/>
                  <a:ext cx="26286" cy="26438"/>
                </a:xfrm>
                <a:custGeom>
                  <a:avLst/>
                  <a:gdLst>
                    <a:gd name="connsiteX0" fmla="*/ 127 w 26286"/>
                    <a:gd name="connsiteY0" fmla="*/ 15074 h 26438"/>
                    <a:gd name="connsiteX1" fmla="*/ 11213 w 26286"/>
                    <a:gd name="connsiteY1" fmla="*/ 127 h 26438"/>
                    <a:gd name="connsiteX2" fmla="*/ 26159 w 26286"/>
                    <a:gd name="connsiteY2" fmla="*/ 11337 h 26438"/>
                    <a:gd name="connsiteX3" fmla="*/ 15074 w 26286"/>
                    <a:gd name="connsiteY3" fmla="*/ 26284 h 26438"/>
                    <a:gd name="connsiteX4" fmla="*/ 127 w 26286"/>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438">
                      <a:moveTo>
                        <a:pt x="127" y="15074"/>
                      </a:moveTo>
                      <a:cubicBezTo>
                        <a:pt x="-870" y="7849"/>
                        <a:pt x="4113" y="1123"/>
                        <a:pt x="11213" y="127"/>
                      </a:cubicBezTo>
                      <a:cubicBezTo>
                        <a:pt x="18437" y="-870"/>
                        <a:pt x="25163" y="4113"/>
                        <a:pt x="26159" y="11337"/>
                      </a:cubicBezTo>
                      <a:cubicBezTo>
                        <a:pt x="27156" y="18561"/>
                        <a:pt x="22174" y="25287"/>
                        <a:pt x="15074" y="26284"/>
                      </a:cubicBezTo>
                      <a:cubicBezTo>
                        <a:pt x="7849" y="27405"/>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3" name="Graphic 2987">
                <a:extLst>
                  <a:ext uri="{FF2B5EF4-FFF2-40B4-BE49-F238E27FC236}">
                    <a16:creationId xmlns:a16="http://schemas.microsoft.com/office/drawing/2014/main" id="{06787EDF-DAB1-496C-F1C7-9869BC2BC496}"/>
                  </a:ext>
                </a:extLst>
              </p:cNvPr>
              <p:cNvGrpSpPr/>
              <p:nvPr/>
            </p:nvGrpSpPr>
            <p:grpSpPr>
              <a:xfrm>
                <a:off x="6642036" y="5670657"/>
                <a:ext cx="43876" cy="147660"/>
                <a:chOff x="6642036" y="5670657"/>
                <a:chExt cx="43876" cy="147660"/>
              </a:xfrm>
              <a:grpFill/>
            </p:grpSpPr>
            <p:sp>
              <p:nvSpPr>
                <p:cNvPr id="4841" name="Freeform 4629">
                  <a:extLst>
                    <a:ext uri="{FF2B5EF4-FFF2-40B4-BE49-F238E27FC236}">
                      <a16:creationId xmlns:a16="http://schemas.microsoft.com/office/drawing/2014/main" id="{0DD076B0-7BAF-9B6A-53CB-213029418F13}"/>
                    </a:ext>
                  </a:extLst>
                </p:cNvPr>
                <p:cNvSpPr/>
                <p:nvPr/>
              </p:nvSpPr>
              <p:spPr>
                <a:xfrm>
                  <a:off x="6652079" y="5691363"/>
                  <a:ext cx="7935" cy="51691"/>
                </a:xfrm>
                <a:custGeom>
                  <a:avLst/>
                  <a:gdLst>
                    <a:gd name="connsiteX0" fmla="*/ 670 w 7935"/>
                    <a:gd name="connsiteY0" fmla="*/ 0 h 51691"/>
                    <a:gd name="connsiteX1" fmla="*/ 1293 w 7935"/>
                    <a:gd name="connsiteY1" fmla="*/ 18808 h 51691"/>
                    <a:gd name="connsiteX2" fmla="*/ 7023 w 7935"/>
                    <a:gd name="connsiteY2" fmla="*/ 35250 h 51691"/>
                    <a:gd name="connsiteX3" fmla="*/ 7147 w 793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935" h="51690">
                      <a:moveTo>
                        <a:pt x="670" y="0"/>
                      </a:moveTo>
                      <a:cubicBezTo>
                        <a:pt x="-700" y="8346"/>
                        <a:pt x="297" y="14573"/>
                        <a:pt x="1293" y="18808"/>
                      </a:cubicBezTo>
                      <a:cubicBezTo>
                        <a:pt x="3037" y="25534"/>
                        <a:pt x="5528" y="28274"/>
                        <a:pt x="7023" y="35250"/>
                      </a:cubicBezTo>
                      <a:cubicBezTo>
                        <a:pt x="8517" y="41976"/>
                        <a:pt x="7895" y="47830"/>
                        <a:pt x="71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2" name="Freeform 4630">
                  <a:extLst>
                    <a:ext uri="{FF2B5EF4-FFF2-40B4-BE49-F238E27FC236}">
                      <a16:creationId xmlns:a16="http://schemas.microsoft.com/office/drawing/2014/main" id="{9FB7C8D1-04B7-83D2-35E7-9F67D02E7626}"/>
                    </a:ext>
                  </a:extLst>
                </p:cNvPr>
                <p:cNvSpPr/>
                <p:nvPr/>
              </p:nvSpPr>
              <p:spPr>
                <a:xfrm>
                  <a:off x="6658977" y="5685384"/>
                  <a:ext cx="8096" cy="51567"/>
                </a:xfrm>
                <a:custGeom>
                  <a:avLst/>
                  <a:gdLst>
                    <a:gd name="connsiteX0" fmla="*/ 8097 w 8096"/>
                    <a:gd name="connsiteY0" fmla="*/ 51567 h 51567"/>
                    <a:gd name="connsiteX1" fmla="*/ 3488 w 8096"/>
                    <a:gd name="connsiteY1" fmla="*/ 33382 h 51567"/>
                    <a:gd name="connsiteX2" fmla="*/ 4484 w 8096"/>
                    <a:gd name="connsiteY2" fmla="*/ 15943 h 51567"/>
                    <a:gd name="connsiteX3" fmla="*/ 0 w 8096"/>
                    <a:gd name="connsiteY3" fmla="*/ 0 h 51567"/>
                  </a:gdLst>
                  <a:ahLst/>
                  <a:cxnLst>
                    <a:cxn ang="0">
                      <a:pos x="connsiteX0" y="connsiteY0"/>
                    </a:cxn>
                    <a:cxn ang="0">
                      <a:pos x="connsiteX1" y="connsiteY1"/>
                    </a:cxn>
                    <a:cxn ang="0">
                      <a:pos x="connsiteX2" y="connsiteY2"/>
                    </a:cxn>
                    <a:cxn ang="0">
                      <a:pos x="connsiteX3" y="connsiteY3"/>
                    </a:cxn>
                  </a:cxnLst>
                  <a:rect l="l" t="t" r="r" b="b"/>
                  <a:pathLst>
                    <a:path w="8096" h="51567">
                      <a:moveTo>
                        <a:pt x="8097" y="51567"/>
                      </a:moveTo>
                      <a:cubicBezTo>
                        <a:pt x="4484" y="43969"/>
                        <a:pt x="3613" y="37617"/>
                        <a:pt x="3488" y="33382"/>
                      </a:cubicBezTo>
                      <a:cubicBezTo>
                        <a:pt x="3239" y="26406"/>
                        <a:pt x="4983" y="23043"/>
                        <a:pt x="4484" y="15943"/>
                      </a:cubicBezTo>
                      <a:cubicBezTo>
                        <a:pt x="3986" y="9093"/>
                        <a:pt x="186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3" name="Freeform 4631">
                  <a:extLst>
                    <a:ext uri="{FF2B5EF4-FFF2-40B4-BE49-F238E27FC236}">
                      <a16:creationId xmlns:a16="http://schemas.microsoft.com/office/drawing/2014/main" id="{91F8956F-961E-2A71-3AB9-085F7EC7F207}"/>
                    </a:ext>
                  </a:extLst>
                </p:cNvPr>
                <p:cNvSpPr/>
                <p:nvPr/>
              </p:nvSpPr>
              <p:spPr>
                <a:xfrm>
                  <a:off x="6642036" y="5670657"/>
                  <a:ext cx="26659" cy="26438"/>
                </a:xfrm>
                <a:custGeom>
                  <a:avLst/>
                  <a:gdLst>
                    <a:gd name="connsiteX0" fmla="*/ 26533 w 26659"/>
                    <a:gd name="connsiteY0" fmla="*/ 11365 h 26438"/>
                    <a:gd name="connsiteX1" fmla="*/ 15198 w 26659"/>
                    <a:gd name="connsiteY1" fmla="*/ 26312 h 26438"/>
                    <a:gd name="connsiteX2" fmla="*/ 127 w 26659"/>
                    <a:gd name="connsiteY2" fmla="*/ 15101 h 26438"/>
                    <a:gd name="connsiteX3" fmla="*/ 11461 w 26659"/>
                    <a:gd name="connsiteY3" fmla="*/ 154 h 26438"/>
                    <a:gd name="connsiteX4" fmla="*/ 26533 w 26659"/>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438">
                      <a:moveTo>
                        <a:pt x="26533" y="11365"/>
                      </a:moveTo>
                      <a:cubicBezTo>
                        <a:pt x="27530" y="18589"/>
                        <a:pt x="22547" y="25315"/>
                        <a:pt x="15198" y="26312"/>
                      </a:cubicBezTo>
                      <a:cubicBezTo>
                        <a:pt x="7849" y="27308"/>
                        <a:pt x="1247" y="22326"/>
                        <a:pt x="127" y="15101"/>
                      </a:cubicBezTo>
                      <a:cubicBezTo>
                        <a:pt x="-870" y="7877"/>
                        <a:pt x="4113" y="1151"/>
                        <a:pt x="11461" y="154"/>
                      </a:cubicBezTo>
                      <a:cubicBezTo>
                        <a:pt x="18810" y="-967"/>
                        <a:pt x="25536" y="4140"/>
                        <a:pt x="26533"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4" name="Freeform 4632">
                  <a:extLst>
                    <a:ext uri="{FF2B5EF4-FFF2-40B4-BE49-F238E27FC236}">
                      <a16:creationId xmlns:a16="http://schemas.microsoft.com/office/drawing/2014/main" id="{8E04584E-D562-3259-6662-C5B698891D61}"/>
                    </a:ext>
                  </a:extLst>
                </p:cNvPr>
                <p:cNvSpPr/>
                <p:nvPr/>
              </p:nvSpPr>
              <p:spPr>
                <a:xfrm>
                  <a:off x="6667905" y="5745795"/>
                  <a:ext cx="7935" cy="51816"/>
                </a:xfrm>
                <a:custGeom>
                  <a:avLst/>
                  <a:gdLst>
                    <a:gd name="connsiteX0" fmla="*/ 7265 w 7935"/>
                    <a:gd name="connsiteY0" fmla="*/ 51816 h 51816"/>
                    <a:gd name="connsiteX1" fmla="*/ 6642 w 7935"/>
                    <a:gd name="connsiteY1" fmla="*/ 33008 h 51816"/>
                    <a:gd name="connsiteX2" fmla="*/ 913 w 7935"/>
                    <a:gd name="connsiteY2" fmla="*/ 16566 h 51816"/>
                    <a:gd name="connsiteX3" fmla="*/ 788 w 7935"/>
                    <a:gd name="connsiteY3" fmla="*/ 0 h 51816"/>
                  </a:gdLst>
                  <a:ahLst/>
                  <a:cxnLst>
                    <a:cxn ang="0">
                      <a:pos x="connsiteX0" y="connsiteY0"/>
                    </a:cxn>
                    <a:cxn ang="0">
                      <a:pos x="connsiteX1" y="connsiteY1"/>
                    </a:cxn>
                    <a:cxn ang="0">
                      <a:pos x="connsiteX2" y="connsiteY2"/>
                    </a:cxn>
                    <a:cxn ang="0">
                      <a:pos x="connsiteX3" y="connsiteY3"/>
                    </a:cxn>
                  </a:cxnLst>
                  <a:rect l="l" t="t" r="r" b="b"/>
                  <a:pathLst>
                    <a:path w="7935" h="51816">
                      <a:moveTo>
                        <a:pt x="7265" y="51816"/>
                      </a:moveTo>
                      <a:cubicBezTo>
                        <a:pt x="8636" y="43471"/>
                        <a:pt x="7639" y="37243"/>
                        <a:pt x="6642" y="33008"/>
                      </a:cubicBezTo>
                      <a:cubicBezTo>
                        <a:pt x="4898" y="26282"/>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5" name="Freeform 4633">
                  <a:extLst>
                    <a:ext uri="{FF2B5EF4-FFF2-40B4-BE49-F238E27FC236}">
                      <a16:creationId xmlns:a16="http://schemas.microsoft.com/office/drawing/2014/main" id="{856B5F8E-FAAE-6F9F-137A-8912046273B1}"/>
                    </a:ext>
                  </a:extLst>
                </p:cNvPr>
                <p:cNvSpPr/>
                <p:nvPr/>
              </p:nvSpPr>
              <p:spPr>
                <a:xfrm>
                  <a:off x="6660971" y="5752023"/>
                  <a:ext cx="8095" cy="51567"/>
                </a:xfrm>
                <a:custGeom>
                  <a:avLst/>
                  <a:gdLst>
                    <a:gd name="connsiteX0" fmla="*/ 0 w 8095"/>
                    <a:gd name="connsiteY0" fmla="*/ 0 h 51567"/>
                    <a:gd name="connsiteX1" fmla="*/ 4609 w 8095"/>
                    <a:gd name="connsiteY1" fmla="*/ 18185 h 51567"/>
                    <a:gd name="connsiteX2" fmla="*/ 3612 w 8095"/>
                    <a:gd name="connsiteY2" fmla="*/ 35624 h 51567"/>
                    <a:gd name="connsiteX3" fmla="*/ 8096 w 809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095" h="51567">
                      <a:moveTo>
                        <a:pt x="0" y="0"/>
                      </a:moveTo>
                      <a:cubicBezTo>
                        <a:pt x="3612" y="7598"/>
                        <a:pt x="4484" y="13950"/>
                        <a:pt x="4609" y="18185"/>
                      </a:cubicBezTo>
                      <a:cubicBezTo>
                        <a:pt x="4857" y="25161"/>
                        <a:pt x="3114" y="28524"/>
                        <a:pt x="3612" y="35624"/>
                      </a:cubicBezTo>
                      <a:cubicBezTo>
                        <a:pt x="4110" y="42474"/>
                        <a:pt x="6228" y="47955"/>
                        <a:pt x="809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6" name="Freeform 4634">
                  <a:extLst>
                    <a:ext uri="{FF2B5EF4-FFF2-40B4-BE49-F238E27FC236}">
                      <a16:creationId xmlns:a16="http://schemas.microsoft.com/office/drawing/2014/main" id="{E6F9A615-CA3D-59F8-23F0-0067A3DA964C}"/>
                    </a:ext>
                  </a:extLst>
                </p:cNvPr>
                <p:cNvSpPr/>
                <p:nvPr/>
              </p:nvSpPr>
              <p:spPr>
                <a:xfrm>
                  <a:off x="6659473" y="5791879"/>
                  <a:ext cx="26438" cy="26438"/>
                </a:xfrm>
                <a:custGeom>
                  <a:avLst/>
                  <a:gdLst>
                    <a:gd name="connsiteX0" fmla="*/ 127 w 26438"/>
                    <a:gd name="connsiteY0" fmla="*/ 15074 h 26438"/>
                    <a:gd name="connsiteX1" fmla="*/ 11337 w 26438"/>
                    <a:gd name="connsiteY1" fmla="*/ 127 h 26438"/>
                    <a:gd name="connsiteX2" fmla="*/ 26284 w 26438"/>
                    <a:gd name="connsiteY2" fmla="*/ 11337 h 26438"/>
                    <a:gd name="connsiteX3" fmla="*/ 15074 w 26438"/>
                    <a:gd name="connsiteY3" fmla="*/ 26284 h 26438"/>
                    <a:gd name="connsiteX4" fmla="*/ 127 w 26438"/>
                    <a:gd name="connsiteY4" fmla="*/ 15074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8" h="26438">
                      <a:moveTo>
                        <a:pt x="127" y="15074"/>
                      </a:moveTo>
                      <a:cubicBezTo>
                        <a:pt x="-869" y="7850"/>
                        <a:pt x="4113" y="1123"/>
                        <a:pt x="11337" y="127"/>
                      </a:cubicBezTo>
                      <a:cubicBezTo>
                        <a:pt x="18562" y="-870"/>
                        <a:pt x="25163" y="4113"/>
                        <a:pt x="26284" y="11337"/>
                      </a:cubicBezTo>
                      <a:cubicBezTo>
                        <a:pt x="27405" y="18561"/>
                        <a:pt x="22298" y="25288"/>
                        <a:pt x="15074" y="26284"/>
                      </a:cubicBezTo>
                      <a:cubicBezTo>
                        <a:pt x="7850" y="27405"/>
                        <a:pt x="1123"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4" name="Graphic 2987">
                <a:extLst>
                  <a:ext uri="{FF2B5EF4-FFF2-40B4-BE49-F238E27FC236}">
                    <a16:creationId xmlns:a16="http://schemas.microsoft.com/office/drawing/2014/main" id="{67516658-DE65-2066-A9E2-DEA1260D859B}"/>
                  </a:ext>
                </a:extLst>
              </p:cNvPr>
              <p:cNvGrpSpPr/>
              <p:nvPr/>
            </p:nvGrpSpPr>
            <p:grpSpPr>
              <a:xfrm>
                <a:off x="6671683" y="5666450"/>
                <a:ext cx="43223" cy="147826"/>
                <a:chOff x="6671683" y="5666450"/>
                <a:chExt cx="43223" cy="147826"/>
              </a:xfrm>
              <a:grpFill/>
            </p:grpSpPr>
            <p:sp>
              <p:nvSpPr>
                <p:cNvPr id="4835" name="Freeform 4636">
                  <a:extLst>
                    <a:ext uri="{FF2B5EF4-FFF2-40B4-BE49-F238E27FC236}">
                      <a16:creationId xmlns:a16="http://schemas.microsoft.com/office/drawing/2014/main" id="{81B63605-5DAB-E115-29F0-EBE5B652911F}"/>
                    </a:ext>
                  </a:extLst>
                </p:cNvPr>
                <p:cNvSpPr/>
                <p:nvPr/>
              </p:nvSpPr>
              <p:spPr>
                <a:xfrm>
                  <a:off x="6681569" y="5687253"/>
                  <a:ext cx="7966" cy="51815"/>
                </a:xfrm>
                <a:custGeom>
                  <a:avLst/>
                  <a:gdLst>
                    <a:gd name="connsiteX0" fmla="*/ 701 w 7966"/>
                    <a:gd name="connsiteY0" fmla="*/ 0 h 51815"/>
                    <a:gd name="connsiteX1" fmla="*/ 1324 w 7966"/>
                    <a:gd name="connsiteY1" fmla="*/ 18808 h 51815"/>
                    <a:gd name="connsiteX2" fmla="*/ 7054 w 7966"/>
                    <a:gd name="connsiteY2" fmla="*/ 35250 h 51815"/>
                    <a:gd name="connsiteX3" fmla="*/ 7178 w 7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966" h="51815">
                      <a:moveTo>
                        <a:pt x="701" y="0"/>
                      </a:moveTo>
                      <a:cubicBezTo>
                        <a:pt x="-669" y="8345"/>
                        <a:pt x="203" y="14573"/>
                        <a:pt x="1324" y="18808"/>
                      </a:cubicBezTo>
                      <a:cubicBezTo>
                        <a:pt x="3068" y="25534"/>
                        <a:pt x="5559" y="28274"/>
                        <a:pt x="7054" y="35250"/>
                      </a:cubicBezTo>
                      <a:cubicBezTo>
                        <a:pt x="8548" y="41976"/>
                        <a:pt x="7926"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6" name="Freeform 4637">
                  <a:extLst>
                    <a:ext uri="{FF2B5EF4-FFF2-40B4-BE49-F238E27FC236}">
                      <a16:creationId xmlns:a16="http://schemas.microsoft.com/office/drawing/2014/main" id="{4438C259-1ACD-575F-9EFE-FF04078558B7}"/>
                    </a:ext>
                  </a:extLst>
                </p:cNvPr>
                <p:cNvSpPr/>
                <p:nvPr/>
              </p:nvSpPr>
              <p:spPr>
                <a:xfrm>
                  <a:off x="6688497" y="5681274"/>
                  <a:ext cx="7847" cy="51566"/>
                </a:xfrm>
                <a:custGeom>
                  <a:avLst/>
                  <a:gdLst>
                    <a:gd name="connsiteX0" fmla="*/ 7847 w 7847"/>
                    <a:gd name="connsiteY0" fmla="*/ 51567 h 51566"/>
                    <a:gd name="connsiteX1" fmla="*/ 3363 w 7847"/>
                    <a:gd name="connsiteY1" fmla="*/ 33381 h 51566"/>
                    <a:gd name="connsiteX2" fmla="*/ 4360 w 7847"/>
                    <a:gd name="connsiteY2" fmla="*/ 15943 h 51566"/>
                    <a:gd name="connsiteX3" fmla="*/ 0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7847" y="51567"/>
                      </a:moveTo>
                      <a:cubicBezTo>
                        <a:pt x="4235" y="43969"/>
                        <a:pt x="3488" y="37616"/>
                        <a:pt x="3363" y="33381"/>
                      </a:cubicBezTo>
                      <a:cubicBezTo>
                        <a:pt x="3114" y="26406"/>
                        <a:pt x="4858"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7" name="Freeform 4638">
                  <a:extLst>
                    <a:ext uri="{FF2B5EF4-FFF2-40B4-BE49-F238E27FC236}">
                      <a16:creationId xmlns:a16="http://schemas.microsoft.com/office/drawing/2014/main" id="{B6E0BD2B-EF9B-0626-0947-4B6BE50D6C68}"/>
                    </a:ext>
                  </a:extLst>
                </p:cNvPr>
                <p:cNvSpPr/>
                <p:nvPr/>
              </p:nvSpPr>
              <p:spPr>
                <a:xfrm>
                  <a:off x="6671683" y="5666450"/>
                  <a:ext cx="26530" cy="26410"/>
                </a:xfrm>
                <a:custGeom>
                  <a:avLst/>
                  <a:gdLst>
                    <a:gd name="connsiteX0" fmla="*/ 26406 w 26530"/>
                    <a:gd name="connsiteY0" fmla="*/ 11337 h 26410"/>
                    <a:gd name="connsiteX1" fmla="*/ 15071 w 26530"/>
                    <a:gd name="connsiteY1" fmla="*/ 26284 h 26410"/>
                    <a:gd name="connsiteX2" fmla="*/ 124 w 26530"/>
                    <a:gd name="connsiteY2" fmla="*/ 15074 h 26410"/>
                    <a:gd name="connsiteX3" fmla="*/ 11459 w 26530"/>
                    <a:gd name="connsiteY3" fmla="*/ 127 h 26410"/>
                    <a:gd name="connsiteX4" fmla="*/ 26406 w 26530"/>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10">
                      <a:moveTo>
                        <a:pt x="26406" y="11337"/>
                      </a:moveTo>
                      <a:cubicBezTo>
                        <a:pt x="27402" y="18561"/>
                        <a:pt x="22295" y="25287"/>
                        <a:pt x="15071" y="26284"/>
                      </a:cubicBezTo>
                      <a:cubicBezTo>
                        <a:pt x="7847" y="27280"/>
                        <a:pt x="1120" y="22298"/>
                        <a:pt x="124" y="15074"/>
                      </a:cubicBezTo>
                      <a:cubicBezTo>
                        <a:pt x="-872" y="7849"/>
                        <a:pt x="4234" y="1123"/>
                        <a:pt x="11459" y="127"/>
                      </a:cubicBezTo>
                      <a:cubicBezTo>
                        <a:pt x="18683" y="-870"/>
                        <a:pt x="25284" y="4112"/>
                        <a:pt x="26406"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8" name="Freeform 4639">
                  <a:extLst>
                    <a:ext uri="{FF2B5EF4-FFF2-40B4-BE49-F238E27FC236}">
                      <a16:creationId xmlns:a16="http://schemas.microsoft.com/office/drawing/2014/main" id="{3807EBCC-A00C-52F9-D5BC-CAD01C8209DC}"/>
                    </a:ext>
                  </a:extLst>
                </p:cNvPr>
                <p:cNvSpPr/>
                <p:nvPr/>
              </p:nvSpPr>
              <p:spPr>
                <a:xfrm>
                  <a:off x="6697051" y="5741560"/>
                  <a:ext cx="7966" cy="51816"/>
                </a:xfrm>
                <a:custGeom>
                  <a:avLst/>
                  <a:gdLst>
                    <a:gd name="connsiteX0" fmla="*/ 7266 w 7966"/>
                    <a:gd name="connsiteY0" fmla="*/ 51816 h 51816"/>
                    <a:gd name="connsiteX1" fmla="*/ 6643 w 7966"/>
                    <a:gd name="connsiteY1" fmla="*/ 33008 h 51816"/>
                    <a:gd name="connsiteX2" fmla="*/ 913 w 7966"/>
                    <a:gd name="connsiteY2" fmla="*/ 16566 h 51816"/>
                    <a:gd name="connsiteX3" fmla="*/ 78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266" y="51816"/>
                      </a:moveTo>
                      <a:cubicBezTo>
                        <a:pt x="8636" y="43471"/>
                        <a:pt x="7764" y="37243"/>
                        <a:pt x="6643" y="33008"/>
                      </a:cubicBezTo>
                      <a:cubicBezTo>
                        <a:pt x="4899" y="26281"/>
                        <a:pt x="2408" y="23542"/>
                        <a:pt x="913" y="16566"/>
                      </a:cubicBezTo>
                      <a:cubicBezTo>
                        <a:pt x="-582" y="9840"/>
                        <a:pt x="41" y="3986"/>
                        <a:pt x="7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9" name="Freeform 4640">
                  <a:extLst>
                    <a:ext uri="{FF2B5EF4-FFF2-40B4-BE49-F238E27FC236}">
                      <a16:creationId xmlns:a16="http://schemas.microsoft.com/office/drawing/2014/main" id="{2CE69AD1-8546-B176-2EC4-C403D84805A8}"/>
                    </a:ext>
                  </a:extLst>
                </p:cNvPr>
                <p:cNvSpPr/>
                <p:nvPr/>
              </p:nvSpPr>
              <p:spPr>
                <a:xfrm>
                  <a:off x="6690241" y="5747788"/>
                  <a:ext cx="7847" cy="51567"/>
                </a:xfrm>
                <a:custGeom>
                  <a:avLst/>
                  <a:gdLst>
                    <a:gd name="connsiteX0" fmla="*/ 0 w 7847"/>
                    <a:gd name="connsiteY0" fmla="*/ 0 h 51567"/>
                    <a:gd name="connsiteX1" fmla="*/ 4484 w 7847"/>
                    <a:gd name="connsiteY1" fmla="*/ 18185 h 51567"/>
                    <a:gd name="connsiteX2" fmla="*/ 3488 w 7847"/>
                    <a:gd name="connsiteY2" fmla="*/ 35623 h 51567"/>
                    <a:gd name="connsiteX3" fmla="*/ 7847 w 784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847" h="51567">
                      <a:moveTo>
                        <a:pt x="0" y="0"/>
                      </a:moveTo>
                      <a:cubicBezTo>
                        <a:pt x="3612" y="7598"/>
                        <a:pt x="4359" y="13950"/>
                        <a:pt x="4484" y="18185"/>
                      </a:cubicBezTo>
                      <a:cubicBezTo>
                        <a:pt x="4733" y="25161"/>
                        <a:pt x="2989" y="28524"/>
                        <a:pt x="3488" y="35623"/>
                      </a:cubicBezTo>
                      <a:cubicBezTo>
                        <a:pt x="3986" y="42474"/>
                        <a:pt x="6103" y="47955"/>
                        <a:pt x="7847"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40" name="Freeform 4641">
                  <a:extLst>
                    <a:ext uri="{FF2B5EF4-FFF2-40B4-BE49-F238E27FC236}">
                      <a16:creationId xmlns:a16="http://schemas.microsoft.com/office/drawing/2014/main" id="{E743ED06-C0E0-16C4-9ED9-ADA3D0E22D67}"/>
                    </a:ext>
                  </a:extLst>
                </p:cNvPr>
                <p:cNvSpPr/>
                <p:nvPr/>
              </p:nvSpPr>
              <p:spPr>
                <a:xfrm>
                  <a:off x="6688620" y="5787769"/>
                  <a:ext cx="26286" cy="26507"/>
                </a:xfrm>
                <a:custGeom>
                  <a:avLst/>
                  <a:gdLst>
                    <a:gd name="connsiteX0" fmla="*/ 127 w 26286"/>
                    <a:gd name="connsiteY0" fmla="*/ 15074 h 26507"/>
                    <a:gd name="connsiteX1" fmla="*/ 11337 w 26286"/>
                    <a:gd name="connsiteY1" fmla="*/ 127 h 26507"/>
                    <a:gd name="connsiteX2" fmla="*/ 26160 w 26286"/>
                    <a:gd name="connsiteY2" fmla="*/ 11461 h 26507"/>
                    <a:gd name="connsiteX3" fmla="*/ 14949 w 26286"/>
                    <a:gd name="connsiteY3" fmla="*/ 26408 h 26507"/>
                    <a:gd name="connsiteX4" fmla="*/ 127 w 26286"/>
                    <a:gd name="connsiteY4" fmla="*/ 15074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06">
                      <a:moveTo>
                        <a:pt x="127" y="15074"/>
                      </a:moveTo>
                      <a:cubicBezTo>
                        <a:pt x="-870" y="7849"/>
                        <a:pt x="4113" y="1123"/>
                        <a:pt x="11337" y="127"/>
                      </a:cubicBezTo>
                      <a:cubicBezTo>
                        <a:pt x="18561" y="-870"/>
                        <a:pt x="25163" y="4113"/>
                        <a:pt x="26160" y="11461"/>
                      </a:cubicBezTo>
                      <a:cubicBezTo>
                        <a:pt x="27156" y="18686"/>
                        <a:pt x="22174" y="25412"/>
                        <a:pt x="14949" y="26408"/>
                      </a:cubicBezTo>
                      <a:cubicBezTo>
                        <a:pt x="7725" y="27280"/>
                        <a:pt x="1124" y="22298"/>
                        <a:pt x="127" y="150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5" name="Graphic 2987">
                <a:extLst>
                  <a:ext uri="{FF2B5EF4-FFF2-40B4-BE49-F238E27FC236}">
                    <a16:creationId xmlns:a16="http://schemas.microsoft.com/office/drawing/2014/main" id="{8CA82B8A-4B25-B122-9370-DB18011F8F80}"/>
                  </a:ext>
                </a:extLst>
              </p:cNvPr>
              <p:cNvGrpSpPr/>
              <p:nvPr/>
            </p:nvGrpSpPr>
            <p:grpSpPr>
              <a:xfrm>
                <a:off x="6701078" y="5662311"/>
                <a:ext cx="42971" cy="147757"/>
                <a:chOff x="6701078" y="5662311"/>
                <a:chExt cx="42971" cy="147757"/>
              </a:xfrm>
              <a:grpFill/>
            </p:grpSpPr>
            <p:sp>
              <p:nvSpPr>
                <p:cNvPr id="4829" name="Freeform 4643">
                  <a:extLst>
                    <a:ext uri="{FF2B5EF4-FFF2-40B4-BE49-F238E27FC236}">
                      <a16:creationId xmlns:a16="http://schemas.microsoft.com/office/drawing/2014/main" id="{B94821E4-78D1-F1E8-7E50-E8340876506B}"/>
                    </a:ext>
                  </a:extLst>
                </p:cNvPr>
                <p:cNvSpPr/>
                <p:nvPr/>
              </p:nvSpPr>
              <p:spPr>
                <a:xfrm>
                  <a:off x="6710964" y="5683018"/>
                  <a:ext cx="7915" cy="51816"/>
                </a:xfrm>
                <a:custGeom>
                  <a:avLst/>
                  <a:gdLst>
                    <a:gd name="connsiteX0" fmla="*/ 702 w 7915"/>
                    <a:gd name="connsiteY0" fmla="*/ 0 h 51816"/>
                    <a:gd name="connsiteX1" fmla="*/ 1324 w 7915"/>
                    <a:gd name="connsiteY1" fmla="*/ 18808 h 51816"/>
                    <a:gd name="connsiteX2" fmla="*/ 7053 w 7915"/>
                    <a:gd name="connsiteY2" fmla="*/ 35250 h 51816"/>
                    <a:gd name="connsiteX3" fmla="*/ 717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02" y="0"/>
                      </a:moveTo>
                      <a:cubicBezTo>
                        <a:pt x="-669" y="8346"/>
                        <a:pt x="203" y="14573"/>
                        <a:pt x="1324" y="18808"/>
                      </a:cubicBezTo>
                      <a:cubicBezTo>
                        <a:pt x="3068" y="25535"/>
                        <a:pt x="5559" y="28275"/>
                        <a:pt x="7053" y="35250"/>
                      </a:cubicBezTo>
                      <a:cubicBezTo>
                        <a:pt x="8424" y="41976"/>
                        <a:pt x="7925" y="47830"/>
                        <a:pt x="717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0" name="Freeform 4644">
                  <a:extLst>
                    <a:ext uri="{FF2B5EF4-FFF2-40B4-BE49-F238E27FC236}">
                      <a16:creationId xmlns:a16="http://schemas.microsoft.com/office/drawing/2014/main" id="{64F52D6C-0C96-8DCD-0C78-019C3701E1DB}"/>
                    </a:ext>
                  </a:extLst>
                </p:cNvPr>
                <p:cNvSpPr/>
                <p:nvPr/>
              </p:nvSpPr>
              <p:spPr>
                <a:xfrm>
                  <a:off x="6718018" y="5676915"/>
                  <a:ext cx="7722" cy="51691"/>
                </a:xfrm>
                <a:custGeom>
                  <a:avLst/>
                  <a:gdLst>
                    <a:gd name="connsiteX0" fmla="*/ 7723 w 7722"/>
                    <a:gd name="connsiteY0" fmla="*/ 51691 h 51691"/>
                    <a:gd name="connsiteX1" fmla="*/ 3239 w 7722"/>
                    <a:gd name="connsiteY1" fmla="*/ 33381 h 51691"/>
                    <a:gd name="connsiteX2" fmla="*/ 4360 w 7722"/>
                    <a:gd name="connsiteY2" fmla="*/ 15943 h 51691"/>
                    <a:gd name="connsiteX3" fmla="*/ 0 w 7722"/>
                    <a:gd name="connsiteY3" fmla="*/ 0 h 51691"/>
                  </a:gdLst>
                  <a:ahLst/>
                  <a:cxnLst>
                    <a:cxn ang="0">
                      <a:pos x="connsiteX0" y="connsiteY0"/>
                    </a:cxn>
                    <a:cxn ang="0">
                      <a:pos x="connsiteX1" y="connsiteY1"/>
                    </a:cxn>
                    <a:cxn ang="0">
                      <a:pos x="connsiteX2" y="connsiteY2"/>
                    </a:cxn>
                    <a:cxn ang="0">
                      <a:pos x="connsiteX3" y="connsiteY3"/>
                    </a:cxn>
                  </a:cxnLst>
                  <a:rect l="l" t="t" r="r" b="b"/>
                  <a:pathLst>
                    <a:path w="7722" h="51690">
                      <a:moveTo>
                        <a:pt x="7723" y="51691"/>
                      </a:moveTo>
                      <a:cubicBezTo>
                        <a:pt x="4235" y="44094"/>
                        <a:pt x="3363" y="37741"/>
                        <a:pt x="3239" y="33381"/>
                      </a:cubicBezTo>
                      <a:cubicBezTo>
                        <a:pt x="3114" y="26406"/>
                        <a:pt x="4733" y="23043"/>
                        <a:pt x="4360" y="15943"/>
                      </a:cubicBezTo>
                      <a:cubicBezTo>
                        <a:pt x="3861" y="9093"/>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1" name="Freeform 4645">
                  <a:extLst>
                    <a:ext uri="{FF2B5EF4-FFF2-40B4-BE49-F238E27FC236}">
                      <a16:creationId xmlns:a16="http://schemas.microsoft.com/office/drawing/2014/main" id="{BE3A7162-33D4-7E10-84CD-0D3A257C3098}"/>
                    </a:ext>
                  </a:extLst>
                </p:cNvPr>
                <p:cNvSpPr/>
                <p:nvPr/>
              </p:nvSpPr>
              <p:spPr>
                <a:xfrm>
                  <a:off x="6701078" y="5662311"/>
                  <a:ext cx="26530" cy="26438"/>
                </a:xfrm>
                <a:custGeom>
                  <a:avLst/>
                  <a:gdLst>
                    <a:gd name="connsiteX0" fmla="*/ 26406 w 26530"/>
                    <a:gd name="connsiteY0" fmla="*/ 11365 h 26438"/>
                    <a:gd name="connsiteX1" fmla="*/ 15071 w 26530"/>
                    <a:gd name="connsiteY1" fmla="*/ 26312 h 26438"/>
                    <a:gd name="connsiteX2" fmla="*/ 124 w 26530"/>
                    <a:gd name="connsiteY2" fmla="*/ 15102 h 26438"/>
                    <a:gd name="connsiteX3" fmla="*/ 11459 w 26530"/>
                    <a:gd name="connsiteY3" fmla="*/ 154 h 26438"/>
                    <a:gd name="connsiteX4" fmla="*/ 26406 w 26530"/>
                    <a:gd name="connsiteY4" fmla="*/ 11365 h 26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438">
                      <a:moveTo>
                        <a:pt x="26406" y="11365"/>
                      </a:moveTo>
                      <a:cubicBezTo>
                        <a:pt x="27402" y="18589"/>
                        <a:pt x="22296" y="25315"/>
                        <a:pt x="15071" y="26312"/>
                      </a:cubicBezTo>
                      <a:cubicBezTo>
                        <a:pt x="7847" y="27308"/>
                        <a:pt x="1121" y="22326"/>
                        <a:pt x="124" y="15102"/>
                      </a:cubicBezTo>
                      <a:cubicBezTo>
                        <a:pt x="-872" y="7877"/>
                        <a:pt x="4235" y="1151"/>
                        <a:pt x="11459" y="154"/>
                      </a:cubicBezTo>
                      <a:cubicBezTo>
                        <a:pt x="18683" y="-967"/>
                        <a:pt x="25410" y="4140"/>
                        <a:pt x="26406"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2" name="Freeform 4646">
                  <a:extLst>
                    <a:ext uri="{FF2B5EF4-FFF2-40B4-BE49-F238E27FC236}">
                      <a16:creationId xmlns:a16="http://schemas.microsoft.com/office/drawing/2014/main" id="{5F0B8754-E8AD-167C-80BE-21AB037C4608}"/>
                    </a:ext>
                  </a:extLst>
                </p:cNvPr>
                <p:cNvSpPr/>
                <p:nvPr/>
              </p:nvSpPr>
              <p:spPr>
                <a:xfrm>
                  <a:off x="6726373" y="5737450"/>
                  <a:ext cx="7915" cy="51815"/>
                </a:xfrm>
                <a:custGeom>
                  <a:avLst/>
                  <a:gdLst>
                    <a:gd name="connsiteX0" fmla="*/ 7214 w 7915"/>
                    <a:gd name="connsiteY0" fmla="*/ 51816 h 51815"/>
                    <a:gd name="connsiteX1" fmla="*/ 6592 w 7915"/>
                    <a:gd name="connsiteY1" fmla="*/ 33008 h 51815"/>
                    <a:gd name="connsiteX2" fmla="*/ 863 w 7915"/>
                    <a:gd name="connsiteY2" fmla="*/ 16566 h 51815"/>
                    <a:gd name="connsiteX3" fmla="*/ 738 w 7915"/>
                    <a:gd name="connsiteY3" fmla="*/ 0 h 51815"/>
                  </a:gdLst>
                  <a:ahLst/>
                  <a:cxnLst>
                    <a:cxn ang="0">
                      <a:pos x="connsiteX0" y="connsiteY0"/>
                    </a:cxn>
                    <a:cxn ang="0">
                      <a:pos x="connsiteX1" y="connsiteY1"/>
                    </a:cxn>
                    <a:cxn ang="0">
                      <a:pos x="connsiteX2" y="connsiteY2"/>
                    </a:cxn>
                    <a:cxn ang="0">
                      <a:pos x="connsiteX3" y="connsiteY3"/>
                    </a:cxn>
                  </a:cxnLst>
                  <a:rect l="l" t="t" r="r" b="b"/>
                  <a:pathLst>
                    <a:path w="7915" h="51815">
                      <a:moveTo>
                        <a:pt x="7214" y="51816"/>
                      </a:moveTo>
                      <a:cubicBezTo>
                        <a:pt x="8585" y="43471"/>
                        <a:pt x="7713" y="37243"/>
                        <a:pt x="6592" y="33008"/>
                      </a:cubicBezTo>
                      <a:cubicBezTo>
                        <a:pt x="4848" y="26281"/>
                        <a:pt x="2357" y="23541"/>
                        <a:pt x="863" y="16566"/>
                      </a:cubicBezTo>
                      <a:cubicBezTo>
                        <a:pt x="-508" y="9840"/>
                        <a:pt x="-9" y="3986"/>
                        <a:pt x="73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3" name="Freeform 4647">
                  <a:extLst>
                    <a:ext uri="{FF2B5EF4-FFF2-40B4-BE49-F238E27FC236}">
                      <a16:creationId xmlns:a16="http://schemas.microsoft.com/office/drawing/2014/main" id="{8AC20117-5768-9F02-1077-1672DF849849}"/>
                    </a:ext>
                  </a:extLst>
                </p:cNvPr>
                <p:cNvSpPr/>
                <p:nvPr/>
              </p:nvSpPr>
              <p:spPr>
                <a:xfrm>
                  <a:off x="6719512" y="5743678"/>
                  <a:ext cx="7847" cy="51691"/>
                </a:xfrm>
                <a:custGeom>
                  <a:avLst/>
                  <a:gdLst>
                    <a:gd name="connsiteX0" fmla="*/ 0 w 7847"/>
                    <a:gd name="connsiteY0" fmla="*/ 0 h 51691"/>
                    <a:gd name="connsiteX1" fmla="*/ 4485 w 7847"/>
                    <a:gd name="connsiteY1" fmla="*/ 18310 h 51691"/>
                    <a:gd name="connsiteX2" fmla="*/ 3488 w 7847"/>
                    <a:gd name="connsiteY2" fmla="*/ 35748 h 51691"/>
                    <a:gd name="connsiteX3" fmla="*/ 7847 w 7847"/>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847" h="51690">
                      <a:moveTo>
                        <a:pt x="0" y="0"/>
                      </a:moveTo>
                      <a:cubicBezTo>
                        <a:pt x="3488" y="7598"/>
                        <a:pt x="4360" y="13950"/>
                        <a:pt x="4485" y="18310"/>
                      </a:cubicBezTo>
                      <a:cubicBezTo>
                        <a:pt x="4609" y="25285"/>
                        <a:pt x="2990" y="28648"/>
                        <a:pt x="3488" y="35748"/>
                      </a:cubicBezTo>
                      <a:cubicBezTo>
                        <a:pt x="3986" y="42599"/>
                        <a:pt x="6104" y="48079"/>
                        <a:pt x="784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34" name="Freeform 4648">
                  <a:extLst>
                    <a:ext uri="{FF2B5EF4-FFF2-40B4-BE49-F238E27FC236}">
                      <a16:creationId xmlns:a16="http://schemas.microsoft.com/office/drawing/2014/main" id="{0AC05666-3AE5-EF6A-63F4-9B67E537116D}"/>
                    </a:ext>
                  </a:extLst>
                </p:cNvPr>
                <p:cNvSpPr/>
                <p:nvPr/>
              </p:nvSpPr>
              <p:spPr>
                <a:xfrm>
                  <a:off x="6717767" y="5783534"/>
                  <a:ext cx="26283" cy="26535"/>
                </a:xfrm>
                <a:custGeom>
                  <a:avLst/>
                  <a:gdLst>
                    <a:gd name="connsiteX0" fmla="*/ 127 w 26283"/>
                    <a:gd name="connsiteY0" fmla="*/ 15073 h 26535"/>
                    <a:gd name="connsiteX1" fmla="*/ 11337 w 26283"/>
                    <a:gd name="connsiteY1" fmla="*/ 127 h 26535"/>
                    <a:gd name="connsiteX2" fmla="*/ 26159 w 26283"/>
                    <a:gd name="connsiteY2" fmla="*/ 11462 h 26535"/>
                    <a:gd name="connsiteX3" fmla="*/ 14949 w 26283"/>
                    <a:gd name="connsiteY3" fmla="*/ 26408 h 26535"/>
                    <a:gd name="connsiteX4" fmla="*/ 127 w 26283"/>
                    <a:gd name="connsiteY4" fmla="*/ 15073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5">
                      <a:moveTo>
                        <a:pt x="127" y="15073"/>
                      </a:moveTo>
                      <a:cubicBezTo>
                        <a:pt x="-870" y="7849"/>
                        <a:pt x="4112" y="1123"/>
                        <a:pt x="11337" y="127"/>
                      </a:cubicBezTo>
                      <a:cubicBezTo>
                        <a:pt x="18561" y="-870"/>
                        <a:pt x="25162" y="4113"/>
                        <a:pt x="26159" y="11462"/>
                      </a:cubicBezTo>
                      <a:cubicBezTo>
                        <a:pt x="27156" y="18810"/>
                        <a:pt x="22048" y="25412"/>
                        <a:pt x="14949" y="26408"/>
                      </a:cubicBezTo>
                      <a:cubicBezTo>
                        <a:pt x="7725" y="27405"/>
                        <a:pt x="1123" y="22423"/>
                        <a:pt x="127" y="150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6" name="Graphic 2987">
                <a:extLst>
                  <a:ext uri="{FF2B5EF4-FFF2-40B4-BE49-F238E27FC236}">
                    <a16:creationId xmlns:a16="http://schemas.microsoft.com/office/drawing/2014/main" id="{D04C15D7-3C5B-FC6B-A18F-7A1257DC515B}"/>
                  </a:ext>
                </a:extLst>
              </p:cNvPr>
              <p:cNvGrpSpPr/>
              <p:nvPr/>
            </p:nvGrpSpPr>
            <p:grpSpPr>
              <a:xfrm>
                <a:off x="6730474" y="5658259"/>
                <a:ext cx="42847" cy="147819"/>
                <a:chOff x="6730474" y="5658259"/>
                <a:chExt cx="42847" cy="147819"/>
              </a:xfrm>
              <a:grpFill/>
            </p:grpSpPr>
            <p:sp>
              <p:nvSpPr>
                <p:cNvPr id="4823" name="Freeform 4650">
                  <a:extLst>
                    <a:ext uri="{FF2B5EF4-FFF2-40B4-BE49-F238E27FC236}">
                      <a16:creationId xmlns:a16="http://schemas.microsoft.com/office/drawing/2014/main" id="{301147D3-BDA5-B9E0-EA07-49A6F70F98AC}"/>
                    </a:ext>
                  </a:extLst>
                </p:cNvPr>
                <p:cNvSpPr/>
                <p:nvPr/>
              </p:nvSpPr>
              <p:spPr>
                <a:xfrm>
                  <a:off x="6740354" y="5679032"/>
                  <a:ext cx="7745" cy="51691"/>
                </a:xfrm>
                <a:custGeom>
                  <a:avLst/>
                  <a:gdLst>
                    <a:gd name="connsiteX0" fmla="*/ 707 w 7745"/>
                    <a:gd name="connsiteY0" fmla="*/ 0 h 51691"/>
                    <a:gd name="connsiteX1" fmla="*/ 1205 w 7745"/>
                    <a:gd name="connsiteY1" fmla="*/ 18808 h 51691"/>
                    <a:gd name="connsiteX2" fmla="*/ 6935 w 7745"/>
                    <a:gd name="connsiteY2" fmla="*/ 35250 h 51691"/>
                    <a:gd name="connsiteX3" fmla="*/ 6935 w 774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744" h="51690">
                      <a:moveTo>
                        <a:pt x="707" y="0"/>
                      </a:moveTo>
                      <a:cubicBezTo>
                        <a:pt x="-663" y="8345"/>
                        <a:pt x="209" y="14573"/>
                        <a:pt x="1205" y="18808"/>
                      </a:cubicBezTo>
                      <a:cubicBezTo>
                        <a:pt x="2949" y="25659"/>
                        <a:pt x="5441" y="28399"/>
                        <a:pt x="6935" y="35250"/>
                      </a:cubicBezTo>
                      <a:cubicBezTo>
                        <a:pt x="8305" y="41976"/>
                        <a:pt x="7683" y="47830"/>
                        <a:pt x="6935"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4" name="Freeform 4651">
                  <a:extLst>
                    <a:ext uri="{FF2B5EF4-FFF2-40B4-BE49-F238E27FC236}">
                      <a16:creationId xmlns:a16="http://schemas.microsoft.com/office/drawing/2014/main" id="{F20D8E85-0F19-A1BC-0880-D909670BAA52}"/>
                    </a:ext>
                  </a:extLst>
                </p:cNvPr>
                <p:cNvSpPr/>
                <p:nvPr/>
              </p:nvSpPr>
              <p:spPr>
                <a:xfrm>
                  <a:off x="6747289" y="5673178"/>
                  <a:ext cx="7722" cy="51566"/>
                </a:xfrm>
                <a:custGeom>
                  <a:avLst/>
                  <a:gdLst>
                    <a:gd name="connsiteX0" fmla="*/ 7723 w 7722"/>
                    <a:gd name="connsiteY0" fmla="*/ 51567 h 51566"/>
                    <a:gd name="connsiteX1" fmla="*/ 3239 w 7722"/>
                    <a:gd name="connsiteY1" fmla="*/ 33257 h 51566"/>
                    <a:gd name="connsiteX2" fmla="*/ 4359 w 7722"/>
                    <a:gd name="connsiteY2" fmla="*/ 15943 h 51566"/>
                    <a:gd name="connsiteX3" fmla="*/ 0 w 7722"/>
                    <a:gd name="connsiteY3" fmla="*/ 0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51567"/>
                      </a:moveTo>
                      <a:cubicBezTo>
                        <a:pt x="4235" y="43969"/>
                        <a:pt x="3363" y="37616"/>
                        <a:pt x="3239" y="33257"/>
                      </a:cubicBezTo>
                      <a:cubicBezTo>
                        <a:pt x="3114" y="26281"/>
                        <a:pt x="4858" y="22919"/>
                        <a:pt x="4359" y="15943"/>
                      </a:cubicBezTo>
                      <a:cubicBezTo>
                        <a:pt x="3986" y="9092"/>
                        <a:pt x="1744"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5" name="Freeform 4652">
                  <a:extLst>
                    <a:ext uri="{FF2B5EF4-FFF2-40B4-BE49-F238E27FC236}">
                      <a16:creationId xmlns:a16="http://schemas.microsoft.com/office/drawing/2014/main" id="{03CB2265-C097-9F8B-9CFA-A9518F4D2265}"/>
                    </a:ext>
                  </a:extLst>
                </p:cNvPr>
                <p:cNvSpPr/>
                <p:nvPr/>
              </p:nvSpPr>
              <p:spPr>
                <a:xfrm>
                  <a:off x="6730474" y="5658259"/>
                  <a:ext cx="26654" cy="26500"/>
                </a:xfrm>
                <a:custGeom>
                  <a:avLst/>
                  <a:gdLst>
                    <a:gd name="connsiteX0" fmla="*/ 26530 w 26654"/>
                    <a:gd name="connsiteY0" fmla="*/ 11556 h 26500"/>
                    <a:gd name="connsiteX1" fmla="*/ 15071 w 26654"/>
                    <a:gd name="connsiteY1" fmla="*/ 26378 h 26500"/>
                    <a:gd name="connsiteX2" fmla="*/ 124 w 26654"/>
                    <a:gd name="connsiteY2" fmla="*/ 14919 h 26500"/>
                    <a:gd name="connsiteX3" fmla="*/ 11584 w 26654"/>
                    <a:gd name="connsiteY3" fmla="*/ 97 h 26500"/>
                    <a:gd name="connsiteX4" fmla="*/ 26530 w 26654"/>
                    <a:gd name="connsiteY4" fmla="*/ 11556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99">
                      <a:moveTo>
                        <a:pt x="26530" y="11556"/>
                      </a:moveTo>
                      <a:cubicBezTo>
                        <a:pt x="27527" y="18781"/>
                        <a:pt x="22420" y="25506"/>
                        <a:pt x="15071" y="26378"/>
                      </a:cubicBezTo>
                      <a:cubicBezTo>
                        <a:pt x="7847" y="27375"/>
                        <a:pt x="1121" y="22144"/>
                        <a:pt x="124" y="14919"/>
                      </a:cubicBezTo>
                      <a:cubicBezTo>
                        <a:pt x="-872" y="7695"/>
                        <a:pt x="4235" y="969"/>
                        <a:pt x="11584" y="97"/>
                      </a:cubicBezTo>
                      <a:cubicBezTo>
                        <a:pt x="18808" y="-775"/>
                        <a:pt x="25534" y="4332"/>
                        <a:pt x="26530"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6" name="Freeform 4653">
                  <a:extLst>
                    <a:ext uri="{FF2B5EF4-FFF2-40B4-BE49-F238E27FC236}">
                      <a16:creationId xmlns:a16="http://schemas.microsoft.com/office/drawing/2014/main" id="{55B996BF-694D-20D9-F436-7BED047DE9D9}"/>
                    </a:ext>
                  </a:extLst>
                </p:cNvPr>
                <p:cNvSpPr/>
                <p:nvPr/>
              </p:nvSpPr>
              <p:spPr>
                <a:xfrm>
                  <a:off x="6755820" y="5733713"/>
                  <a:ext cx="7620" cy="51691"/>
                </a:xfrm>
                <a:custGeom>
                  <a:avLst/>
                  <a:gdLst>
                    <a:gd name="connsiteX0" fmla="*/ 6914 w 7620"/>
                    <a:gd name="connsiteY0" fmla="*/ 51691 h 51691"/>
                    <a:gd name="connsiteX1" fmla="*/ 6416 w 7620"/>
                    <a:gd name="connsiteY1" fmla="*/ 32883 h 51691"/>
                    <a:gd name="connsiteX2" fmla="*/ 810 w 7620"/>
                    <a:gd name="connsiteY2" fmla="*/ 16442 h 51691"/>
                    <a:gd name="connsiteX3" fmla="*/ 810 w 7620"/>
                    <a:gd name="connsiteY3" fmla="*/ 0 h 51691"/>
                  </a:gdLst>
                  <a:ahLst/>
                  <a:cxnLst>
                    <a:cxn ang="0">
                      <a:pos x="connsiteX0" y="connsiteY0"/>
                    </a:cxn>
                    <a:cxn ang="0">
                      <a:pos x="connsiteX1" y="connsiteY1"/>
                    </a:cxn>
                    <a:cxn ang="0">
                      <a:pos x="connsiteX2" y="connsiteY2"/>
                    </a:cxn>
                    <a:cxn ang="0">
                      <a:pos x="connsiteX3" y="connsiteY3"/>
                    </a:cxn>
                  </a:cxnLst>
                  <a:rect l="l" t="t" r="r" b="b"/>
                  <a:pathLst>
                    <a:path w="7620" h="51690">
                      <a:moveTo>
                        <a:pt x="6914" y="51691"/>
                      </a:moveTo>
                      <a:cubicBezTo>
                        <a:pt x="8284" y="43346"/>
                        <a:pt x="7412" y="37118"/>
                        <a:pt x="6416" y="32883"/>
                      </a:cubicBezTo>
                      <a:cubicBezTo>
                        <a:pt x="4672" y="26033"/>
                        <a:pt x="2180"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7" name="Freeform 4654">
                  <a:extLst>
                    <a:ext uri="{FF2B5EF4-FFF2-40B4-BE49-F238E27FC236}">
                      <a16:creationId xmlns:a16="http://schemas.microsoft.com/office/drawing/2014/main" id="{439F7C32-4870-2C45-442B-1F33FB8DE51E}"/>
                    </a:ext>
                  </a:extLst>
                </p:cNvPr>
                <p:cNvSpPr/>
                <p:nvPr/>
              </p:nvSpPr>
              <p:spPr>
                <a:xfrm>
                  <a:off x="6748784" y="5739692"/>
                  <a:ext cx="7722" cy="51566"/>
                </a:xfrm>
                <a:custGeom>
                  <a:avLst/>
                  <a:gdLst>
                    <a:gd name="connsiteX0" fmla="*/ 0 w 7722"/>
                    <a:gd name="connsiteY0" fmla="*/ 0 h 51566"/>
                    <a:gd name="connsiteX1" fmla="*/ 4484 w 7722"/>
                    <a:gd name="connsiteY1" fmla="*/ 18310 h 51566"/>
                    <a:gd name="connsiteX2" fmla="*/ 3363 w 7722"/>
                    <a:gd name="connsiteY2" fmla="*/ 35623 h 51566"/>
                    <a:gd name="connsiteX3" fmla="*/ 7723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0" y="0"/>
                      </a:moveTo>
                      <a:cubicBezTo>
                        <a:pt x="3487" y="7598"/>
                        <a:pt x="4359" y="13950"/>
                        <a:pt x="4484" y="18310"/>
                      </a:cubicBezTo>
                      <a:cubicBezTo>
                        <a:pt x="4609" y="25285"/>
                        <a:pt x="2989" y="28648"/>
                        <a:pt x="3363" y="35623"/>
                      </a:cubicBezTo>
                      <a:cubicBezTo>
                        <a:pt x="3737" y="42474"/>
                        <a:pt x="5979" y="47955"/>
                        <a:pt x="772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8" name="Freeform 4655">
                  <a:extLst>
                    <a:ext uri="{FF2B5EF4-FFF2-40B4-BE49-F238E27FC236}">
                      <a16:creationId xmlns:a16="http://schemas.microsoft.com/office/drawing/2014/main" id="{E4D110E2-C36F-61DD-EF3D-BBE43E3CD80D}"/>
                    </a:ext>
                  </a:extLst>
                </p:cNvPr>
                <p:cNvSpPr/>
                <p:nvPr/>
              </p:nvSpPr>
              <p:spPr>
                <a:xfrm>
                  <a:off x="6746915" y="5779578"/>
                  <a:ext cx="26406" cy="26500"/>
                </a:xfrm>
                <a:custGeom>
                  <a:avLst/>
                  <a:gdLst>
                    <a:gd name="connsiteX0" fmla="*/ 124 w 26406"/>
                    <a:gd name="connsiteY0" fmla="*/ 14919 h 26500"/>
                    <a:gd name="connsiteX1" fmla="*/ 11459 w 26406"/>
                    <a:gd name="connsiteY1" fmla="*/ 97 h 26500"/>
                    <a:gd name="connsiteX2" fmla="*/ 26282 w 26406"/>
                    <a:gd name="connsiteY2" fmla="*/ 11556 h 26500"/>
                    <a:gd name="connsiteX3" fmla="*/ 14947 w 26406"/>
                    <a:gd name="connsiteY3" fmla="*/ 26379 h 26500"/>
                    <a:gd name="connsiteX4" fmla="*/ 124 w 26406"/>
                    <a:gd name="connsiteY4" fmla="*/ 14919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499">
                      <a:moveTo>
                        <a:pt x="124" y="14919"/>
                      </a:moveTo>
                      <a:cubicBezTo>
                        <a:pt x="-872" y="7695"/>
                        <a:pt x="4235" y="969"/>
                        <a:pt x="11459" y="97"/>
                      </a:cubicBezTo>
                      <a:cubicBezTo>
                        <a:pt x="18683" y="-775"/>
                        <a:pt x="25285" y="4332"/>
                        <a:pt x="26282" y="11556"/>
                      </a:cubicBezTo>
                      <a:cubicBezTo>
                        <a:pt x="27278" y="18781"/>
                        <a:pt x="22171" y="25507"/>
                        <a:pt x="14947" y="26379"/>
                      </a:cubicBezTo>
                      <a:cubicBezTo>
                        <a:pt x="7722" y="27375"/>
                        <a:pt x="1121"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7" name="Graphic 2987">
                <a:extLst>
                  <a:ext uri="{FF2B5EF4-FFF2-40B4-BE49-F238E27FC236}">
                    <a16:creationId xmlns:a16="http://schemas.microsoft.com/office/drawing/2014/main" id="{16987D0E-D86D-BF65-4577-662D5BB51210}"/>
                  </a:ext>
                </a:extLst>
              </p:cNvPr>
              <p:cNvGrpSpPr/>
              <p:nvPr/>
            </p:nvGrpSpPr>
            <p:grpSpPr>
              <a:xfrm>
                <a:off x="6759869" y="5654397"/>
                <a:ext cx="42598" cy="147919"/>
                <a:chOff x="6759869" y="5654397"/>
                <a:chExt cx="42598" cy="147919"/>
              </a:xfrm>
              <a:grpFill/>
            </p:grpSpPr>
            <p:sp>
              <p:nvSpPr>
                <p:cNvPr id="4817" name="Freeform 4657">
                  <a:extLst>
                    <a:ext uri="{FF2B5EF4-FFF2-40B4-BE49-F238E27FC236}">
                      <a16:creationId xmlns:a16="http://schemas.microsoft.com/office/drawing/2014/main" id="{985DBB3F-113F-E595-2752-8844BA61FECF}"/>
                    </a:ext>
                  </a:extLst>
                </p:cNvPr>
                <p:cNvSpPr/>
                <p:nvPr/>
              </p:nvSpPr>
              <p:spPr>
                <a:xfrm>
                  <a:off x="6769874" y="5675171"/>
                  <a:ext cx="7620" cy="51691"/>
                </a:xfrm>
                <a:custGeom>
                  <a:avLst/>
                  <a:gdLst>
                    <a:gd name="connsiteX0" fmla="*/ 707 w 7620"/>
                    <a:gd name="connsiteY0" fmla="*/ 0 h 51691"/>
                    <a:gd name="connsiteX1" fmla="*/ 1205 w 7620"/>
                    <a:gd name="connsiteY1" fmla="*/ 18808 h 51691"/>
                    <a:gd name="connsiteX2" fmla="*/ 6810 w 7620"/>
                    <a:gd name="connsiteY2" fmla="*/ 35250 h 51691"/>
                    <a:gd name="connsiteX3" fmla="*/ 6810 w 7620"/>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0" h="51690">
                      <a:moveTo>
                        <a:pt x="707" y="0"/>
                      </a:moveTo>
                      <a:cubicBezTo>
                        <a:pt x="-663" y="8345"/>
                        <a:pt x="209" y="14573"/>
                        <a:pt x="1205" y="18808"/>
                      </a:cubicBezTo>
                      <a:cubicBezTo>
                        <a:pt x="2949" y="25659"/>
                        <a:pt x="5440" y="28399"/>
                        <a:pt x="6810" y="35250"/>
                      </a:cubicBezTo>
                      <a:cubicBezTo>
                        <a:pt x="8180" y="41976"/>
                        <a:pt x="7558" y="47830"/>
                        <a:pt x="6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8" name="Freeform 4658">
                  <a:extLst>
                    <a:ext uri="{FF2B5EF4-FFF2-40B4-BE49-F238E27FC236}">
                      <a16:creationId xmlns:a16="http://schemas.microsoft.com/office/drawing/2014/main" id="{87687592-EA18-2883-66D0-50BEE59AEE05}"/>
                    </a:ext>
                  </a:extLst>
                </p:cNvPr>
                <p:cNvSpPr/>
                <p:nvPr/>
              </p:nvSpPr>
              <p:spPr>
                <a:xfrm>
                  <a:off x="6776934" y="5669317"/>
                  <a:ext cx="7473" cy="51566"/>
                </a:xfrm>
                <a:custGeom>
                  <a:avLst/>
                  <a:gdLst>
                    <a:gd name="connsiteX0" fmla="*/ 7473 w 7473"/>
                    <a:gd name="connsiteY0" fmla="*/ 51567 h 51566"/>
                    <a:gd name="connsiteX1" fmla="*/ 3114 w 7473"/>
                    <a:gd name="connsiteY1" fmla="*/ 33257 h 51566"/>
                    <a:gd name="connsiteX2" fmla="*/ 4235 w 7473"/>
                    <a:gd name="connsiteY2" fmla="*/ 15943 h 51566"/>
                    <a:gd name="connsiteX3" fmla="*/ 0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7473" y="51567"/>
                      </a:moveTo>
                      <a:cubicBezTo>
                        <a:pt x="3986" y="43969"/>
                        <a:pt x="3114" y="37616"/>
                        <a:pt x="3114" y="33257"/>
                      </a:cubicBezTo>
                      <a:cubicBezTo>
                        <a:pt x="2989" y="26281"/>
                        <a:pt x="4733" y="22919"/>
                        <a:pt x="4235" y="15943"/>
                      </a:cubicBezTo>
                      <a:cubicBezTo>
                        <a:pt x="3861" y="9092"/>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9" name="Freeform 4659">
                  <a:extLst>
                    <a:ext uri="{FF2B5EF4-FFF2-40B4-BE49-F238E27FC236}">
                      <a16:creationId xmlns:a16="http://schemas.microsoft.com/office/drawing/2014/main" id="{5EDB6405-BFE8-8178-3D44-11256378EAE2}"/>
                    </a:ext>
                  </a:extLst>
                </p:cNvPr>
                <p:cNvSpPr/>
                <p:nvPr/>
              </p:nvSpPr>
              <p:spPr>
                <a:xfrm>
                  <a:off x="6759869" y="5654397"/>
                  <a:ext cx="26652" cy="26475"/>
                </a:xfrm>
                <a:custGeom>
                  <a:avLst/>
                  <a:gdLst>
                    <a:gd name="connsiteX0" fmla="*/ 26531 w 26652"/>
                    <a:gd name="connsiteY0" fmla="*/ 11556 h 26475"/>
                    <a:gd name="connsiteX1" fmla="*/ 15071 w 26652"/>
                    <a:gd name="connsiteY1" fmla="*/ 26378 h 26475"/>
                    <a:gd name="connsiteX2" fmla="*/ 124 w 26652"/>
                    <a:gd name="connsiteY2" fmla="*/ 14919 h 26475"/>
                    <a:gd name="connsiteX3" fmla="*/ 11584 w 26652"/>
                    <a:gd name="connsiteY3" fmla="*/ 97 h 26475"/>
                    <a:gd name="connsiteX4" fmla="*/ 26531 w 26652"/>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2" h="26474">
                      <a:moveTo>
                        <a:pt x="26531" y="11556"/>
                      </a:moveTo>
                      <a:cubicBezTo>
                        <a:pt x="27527" y="18781"/>
                        <a:pt x="22296" y="25506"/>
                        <a:pt x="15071" y="26378"/>
                      </a:cubicBezTo>
                      <a:cubicBezTo>
                        <a:pt x="7847" y="27250"/>
                        <a:pt x="1121" y="22144"/>
                        <a:pt x="124" y="14919"/>
                      </a:cubicBezTo>
                      <a:cubicBezTo>
                        <a:pt x="-872" y="7695"/>
                        <a:pt x="4235" y="969"/>
                        <a:pt x="11584" y="97"/>
                      </a:cubicBezTo>
                      <a:cubicBezTo>
                        <a:pt x="18932" y="-775"/>
                        <a:pt x="25659" y="4332"/>
                        <a:pt x="26531"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0" name="Freeform 4660">
                  <a:extLst>
                    <a:ext uri="{FF2B5EF4-FFF2-40B4-BE49-F238E27FC236}">
                      <a16:creationId xmlns:a16="http://schemas.microsoft.com/office/drawing/2014/main" id="{FD150CAB-7EEB-CAFB-501F-2215F6975165}"/>
                    </a:ext>
                  </a:extLst>
                </p:cNvPr>
                <p:cNvSpPr/>
                <p:nvPr/>
              </p:nvSpPr>
              <p:spPr>
                <a:xfrm>
                  <a:off x="6784966" y="5729852"/>
                  <a:ext cx="7621" cy="51691"/>
                </a:xfrm>
                <a:custGeom>
                  <a:avLst/>
                  <a:gdLst>
                    <a:gd name="connsiteX0" fmla="*/ 6914 w 7621"/>
                    <a:gd name="connsiteY0" fmla="*/ 51691 h 51691"/>
                    <a:gd name="connsiteX1" fmla="*/ 6416 w 7621"/>
                    <a:gd name="connsiteY1" fmla="*/ 32883 h 51691"/>
                    <a:gd name="connsiteX2" fmla="*/ 810 w 7621"/>
                    <a:gd name="connsiteY2" fmla="*/ 16442 h 51691"/>
                    <a:gd name="connsiteX3" fmla="*/ 810 w 7621"/>
                    <a:gd name="connsiteY3" fmla="*/ 0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51691"/>
                      </a:moveTo>
                      <a:cubicBezTo>
                        <a:pt x="8284" y="43346"/>
                        <a:pt x="7412" y="37118"/>
                        <a:pt x="6416" y="32883"/>
                      </a:cubicBezTo>
                      <a:cubicBezTo>
                        <a:pt x="4796" y="26033"/>
                        <a:pt x="2181" y="23292"/>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1" name="Freeform 4661">
                  <a:extLst>
                    <a:ext uri="{FF2B5EF4-FFF2-40B4-BE49-F238E27FC236}">
                      <a16:creationId xmlns:a16="http://schemas.microsoft.com/office/drawing/2014/main" id="{C693FFD9-76AC-CC45-E6F0-DB1E2D1F3097}"/>
                    </a:ext>
                  </a:extLst>
                </p:cNvPr>
                <p:cNvSpPr/>
                <p:nvPr/>
              </p:nvSpPr>
              <p:spPr>
                <a:xfrm>
                  <a:off x="6778179" y="5735831"/>
                  <a:ext cx="7473" cy="51566"/>
                </a:xfrm>
                <a:custGeom>
                  <a:avLst/>
                  <a:gdLst>
                    <a:gd name="connsiteX0" fmla="*/ 0 w 7473"/>
                    <a:gd name="connsiteY0" fmla="*/ 0 h 51566"/>
                    <a:gd name="connsiteX1" fmla="*/ 4360 w 7473"/>
                    <a:gd name="connsiteY1" fmla="*/ 18310 h 51566"/>
                    <a:gd name="connsiteX2" fmla="*/ 3239 w 7473"/>
                    <a:gd name="connsiteY2" fmla="*/ 35623 h 51566"/>
                    <a:gd name="connsiteX3" fmla="*/ 7474 w 7473"/>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473" h="51566">
                      <a:moveTo>
                        <a:pt x="0" y="0"/>
                      </a:moveTo>
                      <a:cubicBezTo>
                        <a:pt x="3488" y="7598"/>
                        <a:pt x="4360" y="13950"/>
                        <a:pt x="4360" y="18310"/>
                      </a:cubicBezTo>
                      <a:cubicBezTo>
                        <a:pt x="4484" y="25285"/>
                        <a:pt x="2741" y="28648"/>
                        <a:pt x="3239" y="35623"/>
                      </a:cubicBezTo>
                      <a:cubicBezTo>
                        <a:pt x="3612" y="42474"/>
                        <a:pt x="5855" y="48079"/>
                        <a:pt x="7474"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22" name="Freeform 4662">
                  <a:extLst>
                    <a:ext uri="{FF2B5EF4-FFF2-40B4-BE49-F238E27FC236}">
                      <a16:creationId xmlns:a16="http://schemas.microsoft.com/office/drawing/2014/main" id="{7D2FEF8D-4F29-A66F-64F0-1C955A64BAF0}"/>
                    </a:ext>
                  </a:extLst>
                </p:cNvPr>
                <p:cNvSpPr/>
                <p:nvPr/>
              </p:nvSpPr>
              <p:spPr>
                <a:xfrm>
                  <a:off x="6776062" y="5775841"/>
                  <a:ext cx="26405" cy="26475"/>
                </a:xfrm>
                <a:custGeom>
                  <a:avLst/>
                  <a:gdLst>
                    <a:gd name="connsiteX0" fmla="*/ 124 w 26405"/>
                    <a:gd name="connsiteY0" fmla="*/ 14919 h 26475"/>
                    <a:gd name="connsiteX1" fmla="*/ 11459 w 26405"/>
                    <a:gd name="connsiteY1" fmla="*/ 97 h 26475"/>
                    <a:gd name="connsiteX2" fmla="*/ 26281 w 26405"/>
                    <a:gd name="connsiteY2" fmla="*/ 11556 h 26475"/>
                    <a:gd name="connsiteX3" fmla="*/ 14947 w 26405"/>
                    <a:gd name="connsiteY3" fmla="*/ 26378 h 26475"/>
                    <a:gd name="connsiteX4" fmla="*/ 124 w 26405"/>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 h="26474">
                      <a:moveTo>
                        <a:pt x="124" y="14919"/>
                      </a:moveTo>
                      <a:cubicBezTo>
                        <a:pt x="-872" y="7695"/>
                        <a:pt x="4234" y="969"/>
                        <a:pt x="11459" y="97"/>
                      </a:cubicBezTo>
                      <a:cubicBezTo>
                        <a:pt x="18683" y="-775"/>
                        <a:pt x="25284" y="4332"/>
                        <a:pt x="26281" y="11556"/>
                      </a:cubicBezTo>
                      <a:cubicBezTo>
                        <a:pt x="27278" y="18781"/>
                        <a:pt x="22171" y="25506"/>
                        <a:pt x="14947" y="26378"/>
                      </a:cubicBezTo>
                      <a:cubicBezTo>
                        <a:pt x="7722" y="27250"/>
                        <a:pt x="1120"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8" name="Graphic 2987">
                <a:extLst>
                  <a:ext uri="{FF2B5EF4-FFF2-40B4-BE49-F238E27FC236}">
                    <a16:creationId xmlns:a16="http://schemas.microsoft.com/office/drawing/2014/main" id="{45B79712-11AE-C067-592A-96E0344635B5}"/>
                  </a:ext>
                </a:extLst>
              </p:cNvPr>
              <p:cNvGrpSpPr/>
              <p:nvPr/>
            </p:nvGrpSpPr>
            <p:grpSpPr>
              <a:xfrm>
                <a:off x="6789392" y="5650633"/>
                <a:ext cx="42320" cy="147946"/>
                <a:chOff x="6789392" y="5650633"/>
                <a:chExt cx="42320" cy="147946"/>
              </a:xfrm>
              <a:grpFill/>
            </p:grpSpPr>
            <p:sp>
              <p:nvSpPr>
                <p:cNvPr id="4811" name="Freeform 4664">
                  <a:extLst>
                    <a:ext uri="{FF2B5EF4-FFF2-40B4-BE49-F238E27FC236}">
                      <a16:creationId xmlns:a16="http://schemas.microsoft.com/office/drawing/2014/main" id="{B1E864F2-9291-3D62-FE37-397C84F6331C}"/>
                    </a:ext>
                  </a:extLst>
                </p:cNvPr>
                <p:cNvSpPr/>
                <p:nvPr/>
              </p:nvSpPr>
              <p:spPr>
                <a:xfrm>
                  <a:off x="6799361" y="5671434"/>
                  <a:ext cx="7653" cy="51691"/>
                </a:xfrm>
                <a:custGeom>
                  <a:avLst/>
                  <a:gdLst>
                    <a:gd name="connsiteX0" fmla="*/ 740 w 7653"/>
                    <a:gd name="connsiteY0" fmla="*/ 0 h 51691"/>
                    <a:gd name="connsiteX1" fmla="*/ 1238 w 7653"/>
                    <a:gd name="connsiteY1" fmla="*/ 18808 h 51691"/>
                    <a:gd name="connsiteX2" fmla="*/ 6844 w 7653"/>
                    <a:gd name="connsiteY2" fmla="*/ 35250 h 51691"/>
                    <a:gd name="connsiteX3" fmla="*/ 6844 w 7653"/>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53" h="51690">
                      <a:moveTo>
                        <a:pt x="740" y="0"/>
                      </a:moveTo>
                      <a:cubicBezTo>
                        <a:pt x="-630" y="8346"/>
                        <a:pt x="118" y="14573"/>
                        <a:pt x="1238" y="18808"/>
                      </a:cubicBezTo>
                      <a:cubicBezTo>
                        <a:pt x="2858" y="25659"/>
                        <a:pt x="5474" y="28399"/>
                        <a:pt x="6844" y="35250"/>
                      </a:cubicBezTo>
                      <a:cubicBezTo>
                        <a:pt x="8213" y="41976"/>
                        <a:pt x="7591" y="47830"/>
                        <a:pt x="6844"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2" name="Freeform 4665">
                  <a:extLst>
                    <a:ext uri="{FF2B5EF4-FFF2-40B4-BE49-F238E27FC236}">
                      <a16:creationId xmlns:a16="http://schemas.microsoft.com/office/drawing/2014/main" id="{67DB00A0-6ABC-9EF5-1915-6D2C5DFCE2F9}"/>
                    </a:ext>
                  </a:extLst>
                </p:cNvPr>
                <p:cNvSpPr/>
                <p:nvPr/>
              </p:nvSpPr>
              <p:spPr>
                <a:xfrm>
                  <a:off x="6806454" y="5665456"/>
                  <a:ext cx="7348" cy="51691"/>
                </a:xfrm>
                <a:custGeom>
                  <a:avLst/>
                  <a:gdLst>
                    <a:gd name="connsiteX0" fmla="*/ 7348 w 7348"/>
                    <a:gd name="connsiteY0" fmla="*/ 51691 h 51691"/>
                    <a:gd name="connsiteX1" fmla="*/ 2989 w 7348"/>
                    <a:gd name="connsiteY1" fmla="*/ 33381 h 51691"/>
                    <a:gd name="connsiteX2" fmla="*/ 4235 w 7348"/>
                    <a:gd name="connsiteY2" fmla="*/ 15943 h 51691"/>
                    <a:gd name="connsiteX3" fmla="*/ 0 w 7348"/>
                    <a:gd name="connsiteY3" fmla="*/ 0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51691"/>
                      </a:moveTo>
                      <a:cubicBezTo>
                        <a:pt x="3861" y="44093"/>
                        <a:pt x="3114" y="37741"/>
                        <a:pt x="2989" y="33381"/>
                      </a:cubicBezTo>
                      <a:cubicBezTo>
                        <a:pt x="2865" y="26406"/>
                        <a:pt x="4609" y="23043"/>
                        <a:pt x="4235" y="15943"/>
                      </a:cubicBezTo>
                      <a:cubicBezTo>
                        <a:pt x="3861" y="9092"/>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3" name="Freeform 4666">
                  <a:extLst>
                    <a:ext uri="{FF2B5EF4-FFF2-40B4-BE49-F238E27FC236}">
                      <a16:creationId xmlns:a16="http://schemas.microsoft.com/office/drawing/2014/main" id="{30B67C3D-8ECB-6AB0-DDC6-B095197715CA}"/>
                    </a:ext>
                  </a:extLst>
                </p:cNvPr>
                <p:cNvSpPr/>
                <p:nvPr/>
              </p:nvSpPr>
              <p:spPr>
                <a:xfrm>
                  <a:off x="6789392" y="5650633"/>
                  <a:ext cx="26624" cy="26527"/>
                </a:xfrm>
                <a:custGeom>
                  <a:avLst/>
                  <a:gdLst>
                    <a:gd name="connsiteX0" fmla="*/ 26528 w 26624"/>
                    <a:gd name="connsiteY0" fmla="*/ 11584 h 26527"/>
                    <a:gd name="connsiteX1" fmla="*/ 15068 w 26624"/>
                    <a:gd name="connsiteY1" fmla="*/ 26406 h 26527"/>
                    <a:gd name="connsiteX2" fmla="*/ 122 w 26624"/>
                    <a:gd name="connsiteY2" fmla="*/ 14947 h 26527"/>
                    <a:gd name="connsiteX3" fmla="*/ 11581 w 26624"/>
                    <a:gd name="connsiteY3" fmla="*/ 124 h 26527"/>
                    <a:gd name="connsiteX4" fmla="*/ 26528 w 26624"/>
                    <a:gd name="connsiteY4" fmla="*/ 11584 h 26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4" h="26527">
                      <a:moveTo>
                        <a:pt x="26528" y="11584"/>
                      </a:moveTo>
                      <a:cubicBezTo>
                        <a:pt x="27400" y="18808"/>
                        <a:pt x="22293" y="25534"/>
                        <a:pt x="15068" y="26406"/>
                      </a:cubicBezTo>
                      <a:cubicBezTo>
                        <a:pt x="7844" y="27402"/>
                        <a:pt x="1118" y="22171"/>
                        <a:pt x="122" y="14947"/>
                      </a:cubicBezTo>
                      <a:cubicBezTo>
                        <a:pt x="-875" y="7722"/>
                        <a:pt x="4356" y="996"/>
                        <a:pt x="11581" y="124"/>
                      </a:cubicBezTo>
                      <a:cubicBezTo>
                        <a:pt x="18929" y="-872"/>
                        <a:pt x="25656" y="4235"/>
                        <a:pt x="26528" y="115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4" name="Freeform 4667">
                  <a:extLst>
                    <a:ext uri="{FF2B5EF4-FFF2-40B4-BE49-F238E27FC236}">
                      <a16:creationId xmlns:a16="http://schemas.microsoft.com/office/drawing/2014/main" id="{068B7D2A-2378-1CB8-DF8C-58D019288847}"/>
                    </a:ext>
                  </a:extLst>
                </p:cNvPr>
                <p:cNvSpPr/>
                <p:nvPr/>
              </p:nvSpPr>
              <p:spPr>
                <a:xfrm>
                  <a:off x="6814238" y="5725990"/>
                  <a:ext cx="7653" cy="51816"/>
                </a:xfrm>
                <a:custGeom>
                  <a:avLst/>
                  <a:gdLst>
                    <a:gd name="connsiteX0" fmla="*/ 6914 w 7653"/>
                    <a:gd name="connsiteY0" fmla="*/ 51816 h 51816"/>
                    <a:gd name="connsiteX1" fmla="*/ 6416 w 7653"/>
                    <a:gd name="connsiteY1" fmla="*/ 33008 h 51816"/>
                    <a:gd name="connsiteX2" fmla="*/ 810 w 7653"/>
                    <a:gd name="connsiteY2" fmla="*/ 16442 h 51816"/>
                    <a:gd name="connsiteX3" fmla="*/ 810 w 7653"/>
                    <a:gd name="connsiteY3" fmla="*/ 0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51816"/>
                      </a:moveTo>
                      <a:cubicBezTo>
                        <a:pt x="8284" y="43471"/>
                        <a:pt x="7536" y="37243"/>
                        <a:pt x="6416" y="33008"/>
                      </a:cubicBezTo>
                      <a:cubicBezTo>
                        <a:pt x="4796" y="26157"/>
                        <a:pt x="2305" y="23417"/>
                        <a:pt x="810" y="16442"/>
                      </a:cubicBezTo>
                      <a:cubicBezTo>
                        <a:pt x="-559" y="9715"/>
                        <a:pt x="63" y="3861"/>
                        <a:pt x="8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5" name="Freeform 4668">
                  <a:extLst>
                    <a:ext uri="{FF2B5EF4-FFF2-40B4-BE49-F238E27FC236}">
                      <a16:creationId xmlns:a16="http://schemas.microsoft.com/office/drawing/2014/main" id="{AD042E2A-4A95-1D11-ABB9-F3ABA4C77C56}"/>
                    </a:ext>
                  </a:extLst>
                </p:cNvPr>
                <p:cNvSpPr/>
                <p:nvPr/>
              </p:nvSpPr>
              <p:spPr>
                <a:xfrm>
                  <a:off x="6807451" y="5732094"/>
                  <a:ext cx="7473" cy="51567"/>
                </a:xfrm>
                <a:custGeom>
                  <a:avLst/>
                  <a:gdLst>
                    <a:gd name="connsiteX0" fmla="*/ 0 w 7473"/>
                    <a:gd name="connsiteY0" fmla="*/ 0 h 51567"/>
                    <a:gd name="connsiteX1" fmla="*/ 4359 w 7473"/>
                    <a:gd name="connsiteY1" fmla="*/ 18310 h 51567"/>
                    <a:gd name="connsiteX2" fmla="*/ 3238 w 7473"/>
                    <a:gd name="connsiteY2" fmla="*/ 35624 h 51567"/>
                    <a:gd name="connsiteX3" fmla="*/ 7473 w 7473"/>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473" h="51567">
                      <a:moveTo>
                        <a:pt x="0" y="0"/>
                      </a:moveTo>
                      <a:cubicBezTo>
                        <a:pt x="3487" y="7598"/>
                        <a:pt x="4235" y="13950"/>
                        <a:pt x="4359" y="18310"/>
                      </a:cubicBezTo>
                      <a:cubicBezTo>
                        <a:pt x="4484" y="25285"/>
                        <a:pt x="2740" y="28648"/>
                        <a:pt x="3238" y="35624"/>
                      </a:cubicBezTo>
                      <a:cubicBezTo>
                        <a:pt x="3612" y="42474"/>
                        <a:pt x="5729" y="48079"/>
                        <a:pt x="7473"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6" name="Freeform 4669">
                  <a:extLst>
                    <a:ext uri="{FF2B5EF4-FFF2-40B4-BE49-F238E27FC236}">
                      <a16:creationId xmlns:a16="http://schemas.microsoft.com/office/drawing/2014/main" id="{83D67596-95F8-8B1A-96B5-D4A7B155648E}"/>
                    </a:ext>
                  </a:extLst>
                </p:cNvPr>
                <p:cNvSpPr/>
                <p:nvPr/>
              </p:nvSpPr>
              <p:spPr>
                <a:xfrm>
                  <a:off x="6805333" y="5772104"/>
                  <a:ext cx="26380" cy="26475"/>
                </a:xfrm>
                <a:custGeom>
                  <a:avLst/>
                  <a:gdLst>
                    <a:gd name="connsiteX0" fmla="*/ 124 w 26380"/>
                    <a:gd name="connsiteY0" fmla="*/ 14919 h 26475"/>
                    <a:gd name="connsiteX1" fmla="*/ 11459 w 26380"/>
                    <a:gd name="connsiteY1" fmla="*/ 97 h 26475"/>
                    <a:gd name="connsiteX2" fmla="*/ 26281 w 26380"/>
                    <a:gd name="connsiteY2" fmla="*/ 11556 h 26475"/>
                    <a:gd name="connsiteX3" fmla="*/ 14947 w 26380"/>
                    <a:gd name="connsiteY3" fmla="*/ 26379 h 26475"/>
                    <a:gd name="connsiteX4" fmla="*/ 124 w 2638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4919"/>
                      </a:moveTo>
                      <a:cubicBezTo>
                        <a:pt x="-872" y="7695"/>
                        <a:pt x="4235" y="969"/>
                        <a:pt x="11459" y="97"/>
                      </a:cubicBezTo>
                      <a:cubicBezTo>
                        <a:pt x="18683" y="-775"/>
                        <a:pt x="25285" y="4332"/>
                        <a:pt x="26281" y="11556"/>
                      </a:cubicBezTo>
                      <a:cubicBezTo>
                        <a:pt x="27153" y="18781"/>
                        <a:pt x="22171" y="25507"/>
                        <a:pt x="14947" y="26379"/>
                      </a:cubicBezTo>
                      <a:cubicBezTo>
                        <a:pt x="7597" y="27251"/>
                        <a:pt x="996" y="22144"/>
                        <a:pt x="124"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19" name="Graphic 2987">
                <a:extLst>
                  <a:ext uri="{FF2B5EF4-FFF2-40B4-BE49-F238E27FC236}">
                    <a16:creationId xmlns:a16="http://schemas.microsoft.com/office/drawing/2014/main" id="{EF47AC3C-2312-6110-791F-EAD81009D1E3}"/>
                  </a:ext>
                </a:extLst>
              </p:cNvPr>
              <p:cNvGrpSpPr/>
              <p:nvPr/>
            </p:nvGrpSpPr>
            <p:grpSpPr>
              <a:xfrm>
                <a:off x="6818937" y="5646799"/>
                <a:ext cx="41795" cy="147946"/>
                <a:chOff x="6818937" y="5646799"/>
                <a:chExt cx="41795" cy="147946"/>
              </a:xfrm>
              <a:grpFill/>
            </p:grpSpPr>
            <p:sp>
              <p:nvSpPr>
                <p:cNvPr id="4805" name="Freeform 4671">
                  <a:extLst>
                    <a:ext uri="{FF2B5EF4-FFF2-40B4-BE49-F238E27FC236}">
                      <a16:creationId xmlns:a16="http://schemas.microsoft.com/office/drawing/2014/main" id="{6FB0A30D-B35B-BF6C-E44C-B6D0B1F557E9}"/>
                    </a:ext>
                  </a:extLst>
                </p:cNvPr>
                <p:cNvSpPr/>
                <p:nvPr/>
              </p:nvSpPr>
              <p:spPr>
                <a:xfrm>
                  <a:off x="6828695" y="5667573"/>
                  <a:ext cx="7581" cy="51940"/>
                </a:xfrm>
                <a:custGeom>
                  <a:avLst/>
                  <a:gdLst>
                    <a:gd name="connsiteX0" fmla="*/ 802 w 7581"/>
                    <a:gd name="connsiteY0" fmla="*/ 0 h 51940"/>
                    <a:gd name="connsiteX1" fmla="*/ 1176 w 7581"/>
                    <a:gd name="connsiteY1" fmla="*/ 18808 h 51940"/>
                    <a:gd name="connsiteX2" fmla="*/ 6781 w 7581"/>
                    <a:gd name="connsiteY2" fmla="*/ 35374 h 51940"/>
                    <a:gd name="connsiteX3" fmla="*/ 6656 w 758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581" h="51940">
                      <a:moveTo>
                        <a:pt x="802" y="0"/>
                      </a:moveTo>
                      <a:cubicBezTo>
                        <a:pt x="-693" y="8346"/>
                        <a:pt x="179" y="14573"/>
                        <a:pt x="1176" y="18808"/>
                      </a:cubicBezTo>
                      <a:cubicBezTo>
                        <a:pt x="2795" y="25659"/>
                        <a:pt x="5286" y="28399"/>
                        <a:pt x="6781" y="35374"/>
                      </a:cubicBezTo>
                      <a:cubicBezTo>
                        <a:pt x="8151" y="42101"/>
                        <a:pt x="7528" y="47955"/>
                        <a:pt x="665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6" name="Freeform 4672">
                  <a:extLst>
                    <a:ext uri="{FF2B5EF4-FFF2-40B4-BE49-F238E27FC236}">
                      <a16:creationId xmlns:a16="http://schemas.microsoft.com/office/drawing/2014/main" id="{AA3739B6-8E58-32BC-C113-9315414DFEC6}"/>
                    </a:ext>
                  </a:extLst>
                </p:cNvPr>
                <p:cNvSpPr/>
                <p:nvPr/>
              </p:nvSpPr>
              <p:spPr>
                <a:xfrm>
                  <a:off x="6835849" y="5661594"/>
                  <a:ext cx="7349" cy="51691"/>
                </a:xfrm>
                <a:custGeom>
                  <a:avLst/>
                  <a:gdLst>
                    <a:gd name="connsiteX0" fmla="*/ 7349 w 7349"/>
                    <a:gd name="connsiteY0" fmla="*/ 51692 h 51691"/>
                    <a:gd name="connsiteX1" fmla="*/ 2989 w 7349"/>
                    <a:gd name="connsiteY1" fmla="*/ 33382 h 51691"/>
                    <a:gd name="connsiteX2" fmla="*/ 4235 w 7349"/>
                    <a:gd name="connsiteY2" fmla="*/ 15943 h 51691"/>
                    <a:gd name="connsiteX3" fmla="*/ 0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7349" y="51692"/>
                      </a:moveTo>
                      <a:cubicBezTo>
                        <a:pt x="3861" y="43969"/>
                        <a:pt x="3114" y="37741"/>
                        <a:pt x="2989" y="33382"/>
                      </a:cubicBezTo>
                      <a:cubicBezTo>
                        <a:pt x="2865" y="26407"/>
                        <a:pt x="4609" y="23043"/>
                        <a:pt x="4235" y="15943"/>
                      </a:cubicBezTo>
                      <a:cubicBezTo>
                        <a:pt x="3861"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7" name="Freeform 4673">
                  <a:extLst>
                    <a:ext uri="{FF2B5EF4-FFF2-40B4-BE49-F238E27FC236}">
                      <a16:creationId xmlns:a16="http://schemas.microsoft.com/office/drawing/2014/main" id="{DFEDB2C5-8C74-6280-4BB7-9AF840779674}"/>
                    </a:ext>
                  </a:extLst>
                </p:cNvPr>
                <p:cNvSpPr/>
                <p:nvPr/>
              </p:nvSpPr>
              <p:spPr>
                <a:xfrm>
                  <a:off x="6818937" y="5646799"/>
                  <a:ext cx="26599" cy="26475"/>
                </a:xfrm>
                <a:custGeom>
                  <a:avLst/>
                  <a:gdLst>
                    <a:gd name="connsiteX0" fmla="*/ 26503 w 26599"/>
                    <a:gd name="connsiteY0" fmla="*/ 11556 h 26475"/>
                    <a:gd name="connsiteX1" fmla="*/ 14919 w 26599"/>
                    <a:gd name="connsiteY1" fmla="*/ 26379 h 26475"/>
                    <a:gd name="connsiteX2" fmla="*/ 97 w 26599"/>
                    <a:gd name="connsiteY2" fmla="*/ 14919 h 26475"/>
                    <a:gd name="connsiteX3" fmla="*/ 11681 w 26599"/>
                    <a:gd name="connsiteY3" fmla="*/ 97 h 26475"/>
                    <a:gd name="connsiteX4" fmla="*/ 26503 w 26599"/>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474">
                      <a:moveTo>
                        <a:pt x="26503" y="11556"/>
                      </a:moveTo>
                      <a:cubicBezTo>
                        <a:pt x="27375" y="18781"/>
                        <a:pt x="22268" y="25507"/>
                        <a:pt x="14919" y="26379"/>
                      </a:cubicBezTo>
                      <a:cubicBezTo>
                        <a:pt x="7570" y="27250"/>
                        <a:pt x="969" y="22144"/>
                        <a:pt x="97" y="14919"/>
                      </a:cubicBezTo>
                      <a:cubicBezTo>
                        <a:pt x="-775" y="7695"/>
                        <a:pt x="4331" y="969"/>
                        <a:pt x="11681" y="97"/>
                      </a:cubicBezTo>
                      <a:cubicBezTo>
                        <a:pt x="18904" y="-775"/>
                        <a:pt x="25631" y="4332"/>
                        <a:pt x="26503"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8" name="Freeform 4674">
                  <a:extLst>
                    <a:ext uri="{FF2B5EF4-FFF2-40B4-BE49-F238E27FC236}">
                      <a16:creationId xmlns:a16="http://schemas.microsoft.com/office/drawing/2014/main" id="{8708B920-C677-FF2A-5B50-451233E536E3}"/>
                    </a:ext>
                  </a:extLst>
                </p:cNvPr>
                <p:cNvSpPr/>
                <p:nvPr/>
              </p:nvSpPr>
              <p:spPr>
                <a:xfrm>
                  <a:off x="6843768" y="5722129"/>
                  <a:ext cx="7456" cy="51940"/>
                </a:xfrm>
                <a:custGeom>
                  <a:avLst/>
                  <a:gdLst>
                    <a:gd name="connsiteX0" fmla="*/ 6655 w 7456"/>
                    <a:gd name="connsiteY0" fmla="*/ 51940 h 51940"/>
                    <a:gd name="connsiteX1" fmla="*/ 6281 w 7456"/>
                    <a:gd name="connsiteY1" fmla="*/ 33132 h 51940"/>
                    <a:gd name="connsiteX2" fmla="*/ 801 w 7456"/>
                    <a:gd name="connsiteY2" fmla="*/ 16566 h 51940"/>
                    <a:gd name="connsiteX3" fmla="*/ 926 w 7456"/>
                    <a:gd name="connsiteY3" fmla="*/ 0 h 51940"/>
                  </a:gdLst>
                  <a:ahLst/>
                  <a:cxnLst>
                    <a:cxn ang="0">
                      <a:pos x="connsiteX0" y="connsiteY0"/>
                    </a:cxn>
                    <a:cxn ang="0">
                      <a:pos x="connsiteX1" y="connsiteY1"/>
                    </a:cxn>
                    <a:cxn ang="0">
                      <a:pos x="connsiteX2" y="connsiteY2"/>
                    </a:cxn>
                    <a:cxn ang="0">
                      <a:pos x="connsiteX3" y="connsiteY3"/>
                    </a:cxn>
                  </a:cxnLst>
                  <a:rect l="l" t="t" r="r" b="b"/>
                  <a:pathLst>
                    <a:path w="7456" h="51940">
                      <a:moveTo>
                        <a:pt x="6655" y="51940"/>
                      </a:moveTo>
                      <a:cubicBezTo>
                        <a:pt x="8149" y="43595"/>
                        <a:pt x="7278" y="37367"/>
                        <a:pt x="6281" y="33132"/>
                      </a:cubicBezTo>
                      <a:cubicBezTo>
                        <a:pt x="4662" y="26281"/>
                        <a:pt x="2171" y="23541"/>
                        <a:pt x="801" y="16566"/>
                      </a:cubicBezTo>
                      <a:cubicBezTo>
                        <a:pt x="-569" y="9840"/>
                        <a:pt x="54" y="3986"/>
                        <a:pt x="9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9" name="Freeform 4675">
                  <a:extLst>
                    <a:ext uri="{FF2B5EF4-FFF2-40B4-BE49-F238E27FC236}">
                      <a16:creationId xmlns:a16="http://schemas.microsoft.com/office/drawing/2014/main" id="{24890ED2-CF10-BBF4-036D-D3FFE8DC3398}"/>
                    </a:ext>
                  </a:extLst>
                </p:cNvPr>
                <p:cNvSpPr/>
                <p:nvPr/>
              </p:nvSpPr>
              <p:spPr>
                <a:xfrm>
                  <a:off x="6836846" y="5728232"/>
                  <a:ext cx="7348" cy="51691"/>
                </a:xfrm>
                <a:custGeom>
                  <a:avLst/>
                  <a:gdLst>
                    <a:gd name="connsiteX0" fmla="*/ 0 w 7348"/>
                    <a:gd name="connsiteY0" fmla="*/ 0 h 51691"/>
                    <a:gd name="connsiteX1" fmla="*/ 4359 w 7348"/>
                    <a:gd name="connsiteY1" fmla="*/ 18310 h 51691"/>
                    <a:gd name="connsiteX2" fmla="*/ 3114 w 7348"/>
                    <a:gd name="connsiteY2" fmla="*/ 35748 h 51691"/>
                    <a:gd name="connsiteX3" fmla="*/ 7348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0" y="0"/>
                      </a:moveTo>
                      <a:cubicBezTo>
                        <a:pt x="3487" y="7723"/>
                        <a:pt x="4235" y="13950"/>
                        <a:pt x="4359" y="18310"/>
                      </a:cubicBezTo>
                      <a:cubicBezTo>
                        <a:pt x="4484" y="25285"/>
                        <a:pt x="2740" y="28648"/>
                        <a:pt x="3114" y="35748"/>
                      </a:cubicBezTo>
                      <a:cubicBezTo>
                        <a:pt x="3487" y="42599"/>
                        <a:pt x="5605" y="48204"/>
                        <a:pt x="734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10" name="Freeform 4676">
                  <a:extLst>
                    <a:ext uri="{FF2B5EF4-FFF2-40B4-BE49-F238E27FC236}">
                      <a16:creationId xmlns:a16="http://schemas.microsoft.com/office/drawing/2014/main" id="{86CCA840-AE18-5BFD-CA4A-5DE4D4F3AAE0}"/>
                    </a:ext>
                  </a:extLst>
                </p:cNvPr>
                <p:cNvSpPr/>
                <p:nvPr/>
              </p:nvSpPr>
              <p:spPr>
                <a:xfrm>
                  <a:off x="6834505" y="5768243"/>
                  <a:ext cx="26228" cy="26502"/>
                </a:xfrm>
                <a:custGeom>
                  <a:avLst/>
                  <a:gdLst>
                    <a:gd name="connsiteX0" fmla="*/ 99 w 26228"/>
                    <a:gd name="connsiteY0" fmla="*/ 14919 h 26502"/>
                    <a:gd name="connsiteX1" fmla="*/ 11433 w 26228"/>
                    <a:gd name="connsiteY1" fmla="*/ 97 h 26502"/>
                    <a:gd name="connsiteX2" fmla="*/ 26131 w 26228"/>
                    <a:gd name="connsiteY2" fmla="*/ 11556 h 26502"/>
                    <a:gd name="connsiteX3" fmla="*/ 14797 w 26228"/>
                    <a:gd name="connsiteY3" fmla="*/ 26379 h 26502"/>
                    <a:gd name="connsiteX4" fmla="*/ 99 w 26228"/>
                    <a:gd name="connsiteY4" fmla="*/ 14919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7" h="26502">
                      <a:moveTo>
                        <a:pt x="99" y="14919"/>
                      </a:moveTo>
                      <a:cubicBezTo>
                        <a:pt x="-773" y="7695"/>
                        <a:pt x="4209" y="969"/>
                        <a:pt x="11433" y="97"/>
                      </a:cubicBezTo>
                      <a:cubicBezTo>
                        <a:pt x="18658" y="-775"/>
                        <a:pt x="25259" y="4332"/>
                        <a:pt x="26131" y="11556"/>
                      </a:cubicBezTo>
                      <a:cubicBezTo>
                        <a:pt x="27003" y="18781"/>
                        <a:pt x="21897" y="25507"/>
                        <a:pt x="14797" y="26379"/>
                      </a:cubicBezTo>
                      <a:cubicBezTo>
                        <a:pt x="7697" y="27375"/>
                        <a:pt x="1095" y="22268"/>
                        <a:pt x="99"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0" name="Graphic 2987">
                <a:extLst>
                  <a:ext uri="{FF2B5EF4-FFF2-40B4-BE49-F238E27FC236}">
                    <a16:creationId xmlns:a16="http://schemas.microsoft.com/office/drawing/2014/main" id="{306EB24D-CD07-B5E9-B271-BF930551A710}"/>
                  </a:ext>
                </a:extLst>
              </p:cNvPr>
              <p:cNvGrpSpPr/>
              <p:nvPr/>
            </p:nvGrpSpPr>
            <p:grpSpPr>
              <a:xfrm>
                <a:off x="6848458" y="5643035"/>
                <a:ext cx="41670" cy="147946"/>
                <a:chOff x="6848458" y="5643035"/>
                <a:chExt cx="41670" cy="147946"/>
              </a:xfrm>
              <a:grpFill/>
            </p:grpSpPr>
            <p:sp>
              <p:nvSpPr>
                <p:cNvPr id="4799" name="Freeform 4678">
                  <a:extLst>
                    <a:ext uri="{FF2B5EF4-FFF2-40B4-BE49-F238E27FC236}">
                      <a16:creationId xmlns:a16="http://schemas.microsoft.com/office/drawing/2014/main" id="{9050707F-1830-98E5-FB81-11732E047B82}"/>
                    </a:ext>
                  </a:extLst>
                </p:cNvPr>
                <p:cNvSpPr/>
                <p:nvPr/>
              </p:nvSpPr>
              <p:spPr>
                <a:xfrm>
                  <a:off x="6858215" y="5663712"/>
                  <a:ext cx="7419" cy="51940"/>
                </a:xfrm>
                <a:custGeom>
                  <a:avLst/>
                  <a:gdLst>
                    <a:gd name="connsiteX0" fmla="*/ 802 w 7419"/>
                    <a:gd name="connsiteY0" fmla="*/ 0 h 51940"/>
                    <a:gd name="connsiteX1" fmla="*/ 1176 w 7419"/>
                    <a:gd name="connsiteY1" fmla="*/ 18808 h 51940"/>
                    <a:gd name="connsiteX2" fmla="*/ 6656 w 7419"/>
                    <a:gd name="connsiteY2" fmla="*/ 35374 h 51940"/>
                    <a:gd name="connsiteX3" fmla="*/ 6532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802" y="0"/>
                      </a:moveTo>
                      <a:cubicBezTo>
                        <a:pt x="-693" y="8346"/>
                        <a:pt x="179" y="14573"/>
                        <a:pt x="1176" y="18808"/>
                      </a:cubicBezTo>
                      <a:cubicBezTo>
                        <a:pt x="2795" y="25659"/>
                        <a:pt x="5287" y="28399"/>
                        <a:pt x="6656" y="35374"/>
                      </a:cubicBezTo>
                      <a:cubicBezTo>
                        <a:pt x="8026" y="42101"/>
                        <a:pt x="7279" y="47955"/>
                        <a:pt x="6532"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0" name="Freeform 4679">
                  <a:extLst>
                    <a:ext uri="{FF2B5EF4-FFF2-40B4-BE49-F238E27FC236}">
                      <a16:creationId xmlns:a16="http://schemas.microsoft.com/office/drawing/2014/main" id="{C09A17A7-D988-2A99-BD5F-1F07182FA5F1}"/>
                    </a:ext>
                  </a:extLst>
                </p:cNvPr>
                <p:cNvSpPr/>
                <p:nvPr/>
              </p:nvSpPr>
              <p:spPr>
                <a:xfrm>
                  <a:off x="6865369" y="5657857"/>
                  <a:ext cx="7099" cy="51691"/>
                </a:xfrm>
                <a:custGeom>
                  <a:avLst/>
                  <a:gdLst>
                    <a:gd name="connsiteX0" fmla="*/ 7100 w 7099"/>
                    <a:gd name="connsiteY0" fmla="*/ 51691 h 51691"/>
                    <a:gd name="connsiteX1" fmla="*/ 2865 w 7099"/>
                    <a:gd name="connsiteY1" fmla="*/ 33381 h 51691"/>
                    <a:gd name="connsiteX2" fmla="*/ 4111 w 7099"/>
                    <a:gd name="connsiteY2" fmla="*/ 15943 h 51691"/>
                    <a:gd name="connsiteX3" fmla="*/ 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7100" y="51691"/>
                      </a:moveTo>
                      <a:cubicBezTo>
                        <a:pt x="3612" y="43969"/>
                        <a:pt x="2865" y="37741"/>
                        <a:pt x="2865" y="33381"/>
                      </a:cubicBezTo>
                      <a:cubicBezTo>
                        <a:pt x="2741" y="26406"/>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1" name="Freeform 4680">
                  <a:extLst>
                    <a:ext uri="{FF2B5EF4-FFF2-40B4-BE49-F238E27FC236}">
                      <a16:creationId xmlns:a16="http://schemas.microsoft.com/office/drawing/2014/main" id="{73BF5C3D-E464-2248-D31C-1721E597A9AA}"/>
                    </a:ext>
                  </a:extLst>
                </p:cNvPr>
                <p:cNvSpPr/>
                <p:nvPr/>
              </p:nvSpPr>
              <p:spPr>
                <a:xfrm>
                  <a:off x="6848458" y="5643035"/>
                  <a:ext cx="26599" cy="26502"/>
                </a:xfrm>
                <a:custGeom>
                  <a:avLst/>
                  <a:gdLst>
                    <a:gd name="connsiteX0" fmla="*/ 26503 w 26599"/>
                    <a:gd name="connsiteY0" fmla="*/ 11583 h 26502"/>
                    <a:gd name="connsiteX1" fmla="*/ 14919 w 26599"/>
                    <a:gd name="connsiteY1" fmla="*/ 26406 h 26502"/>
                    <a:gd name="connsiteX2" fmla="*/ 97 w 26599"/>
                    <a:gd name="connsiteY2" fmla="*/ 14947 h 26502"/>
                    <a:gd name="connsiteX3" fmla="*/ 11681 w 26599"/>
                    <a:gd name="connsiteY3" fmla="*/ 124 h 26502"/>
                    <a:gd name="connsiteX4" fmla="*/ 26503 w 26599"/>
                    <a:gd name="connsiteY4" fmla="*/ 11583 h 26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9" h="26502">
                      <a:moveTo>
                        <a:pt x="26503" y="11583"/>
                      </a:moveTo>
                      <a:cubicBezTo>
                        <a:pt x="27375" y="18808"/>
                        <a:pt x="22268" y="25534"/>
                        <a:pt x="14919" y="26406"/>
                      </a:cubicBezTo>
                      <a:cubicBezTo>
                        <a:pt x="7570" y="27278"/>
                        <a:pt x="969" y="22171"/>
                        <a:pt x="97" y="14947"/>
                      </a:cubicBezTo>
                      <a:cubicBezTo>
                        <a:pt x="-775" y="7722"/>
                        <a:pt x="4331" y="996"/>
                        <a:pt x="11681" y="124"/>
                      </a:cubicBezTo>
                      <a:cubicBezTo>
                        <a:pt x="18905" y="-872"/>
                        <a:pt x="25631" y="4234"/>
                        <a:pt x="26503" y="1158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2" name="Freeform 4681">
                  <a:extLst>
                    <a:ext uri="{FF2B5EF4-FFF2-40B4-BE49-F238E27FC236}">
                      <a16:creationId xmlns:a16="http://schemas.microsoft.com/office/drawing/2014/main" id="{CCED01A4-C2B2-9397-2835-E4E81684158A}"/>
                    </a:ext>
                  </a:extLst>
                </p:cNvPr>
                <p:cNvSpPr/>
                <p:nvPr/>
              </p:nvSpPr>
              <p:spPr>
                <a:xfrm>
                  <a:off x="6872951" y="5718268"/>
                  <a:ext cx="7419" cy="51940"/>
                </a:xfrm>
                <a:custGeom>
                  <a:avLst/>
                  <a:gdLst>
                    <a:gd name="connsiteX0" fmla="*/ 6618 w 7419"/>
                    <a:gd name="connsiteY0" fmla="*/ 51940 h 51940"/>
                    <a:gd name="connsiteX1" fmla="*/ 6244 w 7419"/>
                    <a:gd name="connsiteY1" fmla="*/ 33132 h 51940"/>
                    <a:gd name="connsiteX2" fmla="*/ 763 w 7419"/>
                    <a:gd name="connsiteY2" fmla="*/ 16566 h 51940"/>
                    <a:gd name="connsiteX3" fmla="*/ 888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6618" y="51940"/>
                      </a:moveTo>
                      <a:cubicBezTo>
                        <a:pt x="8113" y="43595"/>
                        <a:pt x="7241" y="37367"/>
                        <a:pt x="6244" y="33132"/>
                      </a:cubicBezTo>
                      <a:cubicBezTo>
                        <a:pt x="4625" y="26281"/>
                        <a:pt x="2134" y="23541"/>
                        <a:pt x="763" y="16566"/>
                      </a:cubicBezTo>
                      <a:cubicBezTo>
                        <a:pt x="-607" y="9840"/>
                        <a:pt x="141" y="3986"/>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3" name="Freeform 4682">
                  <a:extLst>
                    <a:ext uri="{FF2B5EF4-FFF2-40B4-BE49-F238E27FC236}">
                      <a16:creationId xmlns:a16="http://schemas.microsoft.com/office/drawing/2014/main" id="{49DEE8E6-E903-8C9C-42AE-8C536E0A27AF}"/>
                    </a:ext>
                  </a:extLst>
                </p:cNvPr>
                <p:cNvSpPr/>
                <p:nvPr/>
              </p:nvSpPr>
              <p:spPr>
                <a:xfrm>
                  <a:off x="6866117" y="5724496"/>
                  <a:ext cx="7099" cy="51691"/>
                </a:xfrm>
                <a:custGeom>
                  <a:avLst/>
                  <a:gdLst>
                    <a:gd name="connsiteX0" fmla="*/ 0 w 7099"/>
                    <a:gd name="connsiteY0" fmla="*/ 0 h 51691"/>
                    <a:gd name="connsiteX1" fmla="*/ 4235 w 7099"/>
                    <a:gd name="connsiteY1" fmla="*/ 18310 h 51691"/>
                    <a:gd name="connsiteX2" fmla="*/ 2989 w 7099"/>
                    <a:gd name="connsiteY2" fmla="*/ 35748 h 51691"/>
                    <a:gd name="connsiteX3" fmla="*/ 7100 w 709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099" h="51690">
                      <a:moveTo>
                        <a:pt x="0" y="0"/>
                      </a:moveTo>
                      <a:cubicBezTo>
                        <a:pt x="3488" y="7723"/>
                        <a:pt x="4235" y="13950"/>
                        <a:pt x="4235" y="18310"/>
                      </a:cubicBezTo>
                      <a:cubicBezTo>
                        <a:pt x="4360" y="25285"/>
                        <a:pt x="2616" y="28648"/>
                        <a:pt x="2989" y="35748"/>
                      </a:cubicBezTo>
                      <a:cubicBezTo>
                        <a:pt x="3363" y="42599"/>
                        <a:pt x="5481" y="48204"/>
                        <a:pt x="710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804" name="Freeform 4683">
                  <a:extLst>
                    <a:ext uri="{FF2B5EF4-FFF2-40B4-BE49-F238E27FC236}">
                      <a16:creationId xmlns:a16="http://schemas.microsoft.com/office/drawing/2014/main" id="{54E6F19D-CFF8-C516-E21B-95A9744C4E52}"/>
                    </a:ext>
                  </a:extLst>
                </p:cNvPr>
                <p:cNvSpPr/>
                <p:nvPr/>
              </p:nvSpPr>
              <p:spPr>
                <a:xfrm>
                  <a:off x="6863778" y="5764506"/>
                  <a:ext cx="26350" cy="26475"/>
                </a:xfrm>
                <a:custGeom>
                  <a:avLst/>
                  <a:gdLst>
                    <a:gd name="connsiteX0" fmla="*/ 97 w 26350"/>
                    <a:gd name="connsiteY0" fmla="*/ 14919 h 26475"/>
                    <a:gd name="connsiteX1" fmla="*/ 11556 w 26350"/>
                    <a:gd name="connsiteY1" fmla="*/ 97 h 26475"/>
                    <a:gd name="connsiteX2" fmla="*/ 26254 w 26350"/>
                    <a:gd name="connsiteY2" fmla="*/ 11556 h 26475"/>
                    <a:gd name="connsiteX3" fmla="*/ 14795 w 26350"/>
                    <a:gd name="connsiteY3" fmla="*/ 26378 h 26475"/>
                    <a:gd name="connsiteX4" fmla="*/ 97 w 26350"/>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4919"/>
                      </a:moveTo>
                      <a:cubicBezTo>
                        <a:pt x="-775" y="7695"/>
                        <a:pt x="4332" y="969"/>
                        <a:pt x="11556" y="97"/>
                      </a:cubicBezTo>
                      <a:cubicBezTo>
                        <a:pt x="18781" y="-775"/>
                        <a:pt x="25383" y="4332"/>
                        <a:pt x="26254" y="11556"/>
                      </a:cubicBezTo>
                      <a:cubicBezTo>
                        <a:pt x="27126" y="18781"/>
                        <a:pt x="22019" y="25507"/>
                        <a:pt x="14795" y="26378"/>
                      </a:cubicBezTo>
                      <a:cubicBezTo>
                        <a:pt x="7570" y="27250"/>
                        <a:pt x="969" y="22144"/>
                        <a:pt x="97"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1" name="Graphic 2987">
                <a:extLst>
                  <a:ext uri="{FF2B5EF4-FFF2-40B4-BE49-F238E27FC236}">
                    <a16:creationId xmlns:a16="http://schemas.microsoft.com/office/drawing/2014/main" id="{CC6C4995-7C3F-CE88-C6EE-F917490C3402}"/>
                  </a:ext>
                </a:extLst>
              </p:cNvPr>
              <p:cNvGrpSpPr/>
              <p:nvPr/>
            </p:nvGrpSpPr>
            <p:grpSpPr>
              <a:xfrm>
                <a:off x="6877978" y="5639326"/>
                <a:ext cx="41297" cy="147919"/>
                <a:chOff x="6877978" y="5639326"/>
                <a:chExt cx="41297" cy="147919"/>
              </a:xfrm>
              <a:grpFill/>
            </p:grpSpPr>
            <p:sp>
              <p:nvSpPr>
                <p:cNvPr id="4793" name="Freeform 4685">
                  <a:extLst>
                    <a:ext uri="{FF2B5EF4-FFF2-40B4-BE49-F238E27FC236}">
                      <a16:creationId xmlns:a16="http://schemas.microsoft.com/office/drawing/2014/main" id="{601424DE-6E9D-222D-BA15-CE5643BA9EFA}"/>
                    </a:ext>
                  </a:extLst>
                </p:cNvPr>
                <p:cNvSpPr/>
                <p:nvPr/>
              </p:nvSpPr>
              <p:spPr>
                <a:xfrm>
                  <a:off x="6887576" y="5659975"/>
                  <a:ext cx="7454" cy="51815"/>
                </a:xfrm>
                <a:custGeom>
                  <a:avLst/>
                  <a:gdLst>
                    <a:gd name="connsiteX0" fmla="*/ 838 w 7454"/>
                    <a:gd name="connsiteY0" fmla="*/ 0 h 51815"/>
                    <a:gd name="connsiteX1" fmla="*/ 1211 w 7454"/>
                    <a:gd name="connsiteY1" fmla="*/ 18808 h 51815"/>
                    <a:gd name="connsiteX2" fmla="*/ 6691 w 7454"/>
                    <a:gd name="connsiteY2" fmla="*/ 35374 h 51815"/>
                    <a:gd name="connsiteX3" fmla="*/ 6567 w 7454"/>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454" h="51815">
                      <a:moveTo>
                        <a:pt x="838" y="0"/>
                      </a:moveTo>
                      <a:cubicBezTo>
                        <a:pt x="-658" y="8345"/>
                        <a:pt x="89" y="14573"/>
                        <a:pt x="1211" y="18808"/>
                      </a:cubicBezTo>
                      <a:cubicBezTo>
                        <a:pt x="2830" y="25659"/>
                        <a:pt x="5321" y="28399"/>
                        <a:pt x="6691" y="35374"/>
                      </a:cubicBezTo>
                      <a:cubicBezTo>
                        <a:pt x="8061" y="42100"/>
                        <a:pt x="7314" y="47954"/>
                        <a:pt x="6567"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4" name="Freeform 4686">
                  <a:extLst>
                    <a:ext uri="{FF2B5EF4-FFF2-40B4-BE49-F238E27FC236}">
                      <a16:creationId xmlns:a16="http://schemas.microsoft.com/office/drawing/2014/main" id="{BA9634CD-BAD6-21D2-77A3-65C7D281A43D}"/>
                    </a:ext>
                  </a:extLst>
                </p:cNvPr>
                <p:cNvSpPr/>
                <p:nvPr/>
              </p:nvSpPr>
              <p:spPr>
                <a:xfrm>
                  <a:off x="6894890" y="5654245"/>
                  <a:ext cx="6975" cy="51567"/>
                </a:xfrm>
                <a:custGeom>
                  <a:avLst/>
                  <a:gdLst>
                    <a:gd name="connsiteX0" fmla="*/ 6975 w 6975"/>
                    <a:gd name="connsiteY0" fmla="*/ 51567 h 51567"/>
                    <a:gd name="connsiteX1" fmla="*/ 2741 w 6975"/>
                    <a:gd name="connsiteY1" fmla="*/ 33257 h 51567"/>
                    <a:gd name="connsiteX2" fmla="*/ 4111 w 6975"/>
                    <a:gd name="connsiteY2" fmla="*/ 15943 h 51567"/>
                    <a:gd name="connsiteX3" fmla="*/ 0 w 6975"/>
                    <a:gd name="connsiteY3" fmla="*/ 0 h 51567"/>
                  </a:gdLst>
                  <a:ahLst/>
                  <a:cxnLst>
                    <a:cxn ang="0">
                      <a:pos x="connsiteX0" y="connsiteY0"/>
                    </a:cxn>
                    <a:cxn ang="0">
                      <a:pos x="connsiteX1" y="connsiteY1"/>
                    </a:cxn>
                    <a:cxn ang="0">
                      <a:pos x="connsiteX2" y="connsiteY2"/>
                    </a:cxn>
                    <a:cxn ang="0">
                      <a:pos x="connsiteX3" y="connsiteY3"/>
                    </a:cxn>
                  </a:cxnLst>
                  <a:rect l="l" t="t" r="r" b="b"/>
                  <a:pathLst>
                    <a:path w="6975" h="51567">
                      <a:moveTo>
                        <a:pt x="6975" y="51567"/>
                      </a:moveTo>
                      <a:cubicBezTo>
                        <a:pt x="3488" y="43845"/>
                        <a:pt x="2741" y="37617"/>
                        <a:pt x="2741" y="33257"/>
                      </a:cubicBezTo>
                      <a:cubicBezTo>
                        <a:pt x="2616" y="26282"/>
                        <a:pt x="4484" y="23043"/>
                        <a:pt x="4111" y="15943"/>
                      </a:cubicBezTo>
                      <a:cubicBezTo>
                        <a:pt x="3737" y="9093"/>
                        <a:pt x="1619"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5" name="Freeform 4687">
                  <a:extLst>
                    <a:ext uri="{FF2B5EF4-FFF2-40B4-BE49-F238E27FC236}">
                      <a16:creationId xmlns:a16="http://schemas.microsoft.com/office/drawing/2014/main" id="{599B767F-A6B4-0293-F221-F889038CCE81}"/>
                    </a:ext>
                  </a:extLst>
                </p:cNvPr>
                <p:cNvSpPr/>
                <p:nvPr/>
              </p:nvSpPr>
              <p:spPr>
                <a:xfrm>
                  <a:off x="6877978" y="5639326"/>
                  <a:ext cx="26598" cy="26475"/>
                </a:xfrm>
                <a:custGeom>
                  <a:avLst/>
                  <a:gdLst>
                    <a:gd name="connsiteX0" fmla="*/ 26503 w 26598"/>
                    <a:gd name="connsiteY0" fmla="*/ 11681 h 26475"/>
                    <a:gd name="connsiteX1" fmla="*/ 14919 w 26598"/>
                    <a:gd name="connsiteY1" fmla="*/ 26379 h 26475"/>
                    <a:gd name="connsiteX2" fmla="*/ 97 w 26598"/>
                    <a:gd name="connsiteY2" fmla="*/ 14919 h 26475"/>
                    <a:gd name="connsiteX3" fmla="*/ 11681 w 26598"/>
                    <a:gd name="connsiteY3" fmla="*/ 97 h 26475"/>
                    <a:gd name="connsiteX4" fmla="*/ 26503 w 26598"/>
                    <a:gd name="connsiteY4" fmla="*/ 11681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8" h="26474">
                      <a:moveTo>
                        <a:pt x="26503" y="11681"/>
                      </a:moveTo>
                      <a:cubicBezTo>
                        <a:pt x="27375" y="18905"/>
                        <a:pt x="22143" y="25507"/>
                        <a:pt x="14919" y="26379"/>
                      </a:cubicBezTo>
                      <a:cubicBezTo>
                        <a:pt x="7570" y="27251"/>
                        <a:pt x="969" y="22144"/>
                        <a:pt x="97" y="14919"/>
                      </a:cubicBezTo>
                      <a:cubicBezTo>
                        <a:pt x="-775" y="7695"/>
                        <a:pt x="4331" y="969"/>
                        <a:pt x="11681" y="97"/>
                      </a:cubicBezTo>
                      <a:cubicBezTo>
                        <a:pt x="18905" y="-775"/>
                        <a:pt x="25631" y="4332"/>
                        <a:pt x="26503"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6" name="Freeform 4688">
                  <a:extLst>
                    <a:ext uri="{FF2B5EF4-FFF2-40B4-BE49-F238E27FC236}">
                      <a16:creationId xmlns:a16="http://schemas.microsoft.com/office/drawing/2014/main" id="{8AE3FF98-E326-119F-777C-530A47990015}"/>
                    </a:ext>
                  </a:extLst>
                </p:cNvPr>
                <p:cNvSpPr/>
                <p:nvPr/>
              </p:nvSpPr>
              <p:spPr>
                <a:xfrm>
                  <a:off x="6902347" y="5714780"/>
                  <a:ext cx="7338" cy="51816"/>
                </a:xfrm>
                <a:custGeom>
                  <a:avLst/>
                  <a:gdLst>
                    <a:gd name="connsiteX0" fmla="*/ 6493 w 7338"/>
                    <a:gd name="connsiteY0" fmla="*/ 51816 h 51816"/>
                    <a:gd name="connsiteX1" fmla="*/ 6244 w 7338"/>
                    <a:gd name="connsiteY1" fmla="*/ 33008 h 51816"/>
                    <a:gd name="connsiteX2" fmla="*/ 764 w 7338"/>
                    <a:gd name="connsiteY2" fmla="*/ 16442 h 51816"/>
                    <a:gd name="connsiteX3" fmla="*/ 888 w 7338"/>
                    <a:gd name="connsiteY3" fmla="*/ 0 h 51816"/>
                  </a:gdLst>
                  <a:ahLst/>
                  <a:cxnLst>
                    <a:cxn ang="0">
                      <a:pos x="connsiteX0" y="connsiteY0"/>
                    </a:cxn>
                    <a:cxn ang="0">
                      <a:pos x="connsiteX1" y="connsiteY1"/>
                    </a:cxn>
                    <a:cxn ang="0">
                      <a:pos x="connsiteX2" y="connsiteY2"/>
                    </a:cxn>
                    <a:cxn ang="0">
                      <a:pos x="connsiteX3" y="connsiteY3"/>
                    </a:cxn>
                  </a:cxnLst>
                  <a:rect l="l" t="t" r="r" b="b"/>
                  <a:pathLst>
                    <a:path w="7338" h="51816">
                      <a:moveTo>
                        <a:pt x="6493" y="51816"/>
                      </a:moveTo>
                      <a:cubicBezTo>
                        <a:pt x="7988" y="43595"/>
                        <a:pt x="7240" y="37243"/>
                        <a:pt x="6244" y="33008"/>
                      </a:cubicBezTo>
                      <a:cubicBezTo>
                        <a:pt x="4625" y="26157"/>
                        <a:pt x="2134" y="23417"/>
                        <a:pt x="764" y="16442"/>
                      </a:cubicBezTo>
                      <a:cubicBezTo>
                        <a:pt x="-607" y="9715"/>
                        <a:pt x="140" y="3861"/>
                        <a:pt x="8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7" name="Freeform 4689">
                  <a:extLst>
                    <a:ext uri="{FF2B5EF4-FFF2-40B4-BE49-F238E27FC236}">
                      <a16:creationId xmlns:a16="http://schemas.microsoft.com/office/drawing/2014/main" id="{DA3A054F-2EA5-83AB-F2FC-9269CA8880FF}"/>
                    </a:ext>
                  </a:extLst>
                </p:cNvPr>
                <p:cNvSpPr/>
                <p:nvPr/>
              </p:nvSpPr>
              <p:spPr>
                <a:xfrm>
                  <a:off x="6895388" y="5720759"/>
                  <a:ext cx="7099" cy="51567"/>
                </a:xfrm>
                <a:custGeom>
                  <a:avLst/>
                  <a:gdLst>
                    <a:gd name="connsiteX0" fmla="*/ 0 w 7099"/>
                    <a:gd name="connsiteY0" fmla="*/ 0 h 51567"/>
                    <a:gd name="connsiteX1" fmla="*/ 4235 w 7099"/>
                    <a:gd name="connsiteY1" fmla="*/ 18310 h 51567"/>
                    <a:gd name="connsiteX2" fmla="*/ 2989 w 7099"/>
                    <a:gd name="connsiteY2" fmla="*/ 35624 h 51567"/>
                    <a:gd name="connsiteX3" fmla="*/ 7099 w 7099"/>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099" h="51567">
                      <a:moveTo>
                        <a:pt x="0" y="0"/>
                      </a:moveTo>
                      <a:cubicBezTo>
                        <a:pt x="3487" y="7723"/>
                        <a:pt x="4235" y="13951"/>
                        <a:pt x="4235" y="18310"/>
                      </a:cubicBezTo>
                      <a:cubicBezTo>
                        <a:pt x="4359" y="25285"/>
                        <a:pt x="2615" y="28524"/>
                        <a:pt x="2989" y="35624"/>
                      </a:cubicBezTo>
                      <a:cubicBezTo>
                        <a:pt x="3363" y="42474"/>
                        <a:pt x="5481" y="48079"/>
                        <a:pt x="7099"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8" name="Freeform 4690">
                  <a:extLst>
                    <a:ext uri="{FF2B5EF4-FFF2-40B4-BE49-F238E27FC236}">
                      <a16:creationId xmlns:a16="http://schemas.microsoft.com/office/drawing/2014/main" id="{543FA602-2438-CB07-7B58-1D5E2C195783}"/>
                    </a:ext>
                  </a:extLst>
                </p:cNvPr>
                <p:cNvSpPr/>
                <p:nvPr/>
              </p:nvSpPr>
              <p:spPr>
                <a:xfrm>
                  <a:off x="6892925" y="5760771"/>
                  <a:ext cx="26350" cy="26473"/>
                </a:xfrm>
                <a:custGeom>
                  <a:avLst/>
                  <a:gdLst>
                    <a:gd name="connsiteX0" fmla="*/ 97 w 26350"/>
                    <a:gd name="connsiteY0" fmla="*/ 14917 h 26473"/>
                    <a:gd name="connsiteX1" fmla="*/ 11556 w 26350"/>
                    <a:gd name="connsiteY1" fmla="*/ 95 h 26473"/>
                    <a:gd name="connsiteX2" fmla="*/ 26254 w 26350"/>
                    <a:gd name="connsiteY2" fmla="*/ 11679 h 26473"/>
                    <a:gd name="connsiteX3" fmla="*/ 14795 w 26350"/>
                    <a:gd name="connsiteY3" fmla="*/ 26377 h 26473"/>
                    <a:gd name="connsiteX4" fmla="*/ 97 w 26350"/>
                    <a:gd name="connsiteY4" fmla="*/ 14917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3">
                      <a:moveTo>
                        <a:pt x="97" y="14917"/>
                      </a:moveTo>
                      <a:cubicBezTo>
                        <a:pt x="-775" y="7693"/>
                        <a:pt x="4331" y="967"/>
                        <a:pt x="11556" y="95"/>
                      </a:cubicBezTo>
                      <a:cubicBezTo>
                        <a:pt x="18781" y="-777"/>
                        <a:pt x="25382" y="4455"/>
                        <a:pt x="26254" y="11679"/>
                      </a:cubicBezTo>
                      <a:cubicBezTo>
                        <a:pt x="27126" y="18903"/>
                        <a:pt x="22018" y="25505"/>
                        <a:pt x="14795" y="26377"/>
                      </a:cubicBezTo>
                      <a:cubicBezTo>
                        <a:pt x="7570" y="27249"/>
                        <a:pt x="968" y="22142"/>
                        <a:pt x="97" y="149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2" name="Graphic 2987">
                <a:extLst>
                  <a:ext uri="{FF2B5EF4-FFF2-40B4-BE49-F238E27FC236}">
                    <a16:creationId xmlns:a16="http://schemas.microsoft.com/office/drawing/2014/main" id="{9C2FE355-659C-7C8F-6E3C-ED2D4D4625CF}"/>
                  </a:ext>
                </a:extLst>
              </p:cNvPr>
              <p:cNvGrpSpPr/>
              <p:nvPr/>
            </p:nvGrpSpPr>
            <p:grpSpPr>
              <a:xfrm>
                <a:off x="6907500" y="5635840"/>
                <a:ext cx="41046" cy="148040"/>
                <a:chOff x="6907500" y="5635840"/>
                <a:chExt cx="41046" cy="148040"/>
              </a:xfrm>
              <a:grpFill/>
            </p:grpSpPr>
            <p:sp>
              <p:nvSpPr>
                <p:cNvPr id="4787" name="Freeform 4692">
                  <a:extLst>
                    <a:ext uri="{FF2B5EF4-FFF2-40B4-BE49-F238E27FC236}">
                      <a16:creationId xmlns:a16="http://schemas.microsoft.com/office/drawing/2014/main" id="{F6648B5F-D8DD-1CA7-91EA-21F9A457C5BD}"/>
                    </a:ext>
                  </a:extLst>
                </p:cNvPr>
                <p:cNvSpPr/>
                <p:nvPr/>
              </p:nvSpPr>
              <p:spPr>
                <a:xfrm>
                  <a:off x="6917088" y="5656487"/>
                  <a:ext cx="7329" cy="51815"/>
                </a:xfrm>
                <a:custGeom>
                  <a:avLst/>
                  <a:gdLst>
                    <a:gd name="connsiteX0" fmla="*/ 845 w 7329"/>
                    <a:gd name="connsiteY0" fmla="*/ 0 h 51815"/>
                    <a:gd name="connsiteX1" fmla="*/ 1094 w 7329"/>
                    <a:gd name="connsiteY1" fmla="*/ 18808 h 51815"/>
                    <a:gd name="connsiteX2" fmla="*/ 6574 w 7329"/>
                    <a:gd name="connsiteY2" fmla="*/ 35374 h 51815"/>
                    <a:gd name="connsiteX3" fmla="*/ 6326 w 7329"/>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329" h="51815">
                      <a:moveTo>
                        <a:pt x="845" y="0"/>
                      </a:moveTo>
                      <a:cubicBezTo>
                        <a:pt x="-649" y="8220"/>
                        <a:pt x="98" y="14573"/>
                        <a:pt x="1094" y="18808"/>
                      </a:cubicBezTo>
                      <a:cubicBezTo>
                        <a:pt x="2713" y="25659"/>
                        <a:pt x="5204" y="28399"/>
                        <a:pt x="6574" y="35374"/>
                      </a:cubicBezTo>
                      <a:cubicBezTo>
                        <a:pt x="7944" y="42100"/>
                        <a:pt x="7197" y="47954"/>
                        <a:pt x="632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8" name="Freeform 4693">
                  <a:extLst>
                    <a:ext uri="{FF2B5EF4-FFF2-40B4-BE49-F238E27FC236}">
                      <a16:creationId xmlns:a16="http://schemas.microsoft.com/office/drawing/2014/main" id="{33C25A89-B07E-4A29-61D0-AC5640015E2C}"/>
                    </a:ext>
                  </a:extLst>
                </p:cNvPr>
                <p:cNvSpPr/>
                <p:nvPr/>
              </p:nvSpPr>
              <p:spPr>
                <a:xfrm>
                  <a:off x="6924285" y="5650882"/>
                  <a:ext cx="6975" cy="51566"/>
                </a:xfrm>
                <a:custGeom>
                  <a:avLst/>
                  <a:gdLst>
                    <a:gd name="connsiteX0" fmla="*/ 6975 w 6975"/>
                    <a:gd name="connsiteY0" fmla="*/ 51567 h 51566"/>
                    <a:gd name="connsiteX1" fmla="*/ 2741 w 6975"/>
                    <a:gd name="connsiteY1" fmla="*/ 33257 h 51566"/>
                    <a:gd name="connsiteX2" fmla="*/ 4111 w 6975"/>
                    <a:gd name="connsiteY2" fmla="*/ 15943 h 51566"/>
                    <a:gd name="connsiteX3" fmla="*/ 0 w 6975"/>
                    <a:gd name="connsiteY3" fmla="*/ 0 h 51566"/>
                  </a:gdLst>
                  <a:ahLst/>
                  <a:cxnLst>
                    <a:cxn ang="0">
                      <a:pos x="connsiteX0" y="connsiteY0"/>
                    </a:cxn>
                    <a:cxn ang="0">
                      <a:pos x="connsiteX1" y="connsiteY1"/>
                    </a:cxn>
                    <a:cxn ang="0">
                      <a:pos x="connsiteX2" y="connsiteY2"/>
                    </a:cxn>
                    <a:cxn ang="0">
                      <a:pos x="connsiteX3" y="connsiteY3"/>
                    </a:cxn>
                  </a:cxnLst>
                  <a:rect l="l" t="t" r="r" b="b"/>
                  <a:pathLst>
                    <a:path w="6975" h="51566">
                      <a:moveTo>
                        <a:pt x="6975" y="51567"/>
                      </a:moveTo>
                      <a:cubicBezTo>
                        <a:pt x="3613" y="43844"/>
                        <a:pt x="2865" y="37616"/>
                        <a:pt x="2741" y="33257"/>
                      </a:cubicBezTo>
                      <a:cubicBezTo>
                        <a:pt x="2741" y="26281"/>
                        <a:pt x="4485" y="23043"/>
                        <a:pt x="4111" y="15943"/>
                      </a:cubicBezTo>
                      <a:cubicBezTo>
                        <a:pt x="3737" y="9093"/>
                        <a:pt x="1744"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9" name="Freeform 4694">
                  <a:extLst>
                    <a:ext uri="{FF2B5EF4-FFF2-40B4-BE49-F238E27FC236}">
                      <a16:creationId xmlns:a16="http://schemas.microsoft.com/office/drawing/2014/main" id="{15E9A37E-B60B-AD3F-1DDB-120D6AE074FE}"/>
                    </a:ext>
                  </a:extLst>
                </p:cNvPr>
                <p:cNvSpPr/>
                <p:nvPr/>
              </p:nvSpPr>
              <p:spPr>
                <a:xfrm>
                  <a:off x="6907500" y="5635840"/>
                  <a:ext cx="26596" cy="26471"/>
                </a:xfrm>
                <a:custGeom>
                  <a:avLst/>
                  <a:gdLst>
                    <a:gd name="connsiteX0" fmla="*/ 26501 w 26596"/>
                    <a:gd name="connsiteY0" fmla="*/ 11679 h 26471"/>
                    <a:gd name="connsiteX1" fmla="*/ 14917 w 26596"/>
                    <a:gd name="connsiteY1" fmla="*/ 26377 h 26471"/>
                    <a:gd name="connsiteX2" fmla="*/ 95 w 26596"/>
                    <a:gd name="connsiteY2" fmla="*/ 14793 h 26471"/>
                    <a:gd name="connsiteX3" fmla="*/ 11679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917" y="26377"/>
                      </a:cubicBezTo>
                      <a:cubicBezTo>
                        <a:pt x="7693" y="27249"/>
                        <a:pt x="967" y="22017"/>
                        <a:pt x="95" y="14793"/>
                      </a:cubicBezTo>
                      <a:cubicBezTo>
                        <a:pt x="-777" y="7568"/>
                        <a:pt x="4454" y="967"/>
                        <a:pt x="11679" y="95"/>
                      </a:cubicBezTo>
                      <a:cubicBezTo>
                        <a:pt x="19028"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0" name="Freeform 4695">
                  <a:extLst>
                    <a:ext uri="{FF2B5EF4-FFF2-40B4-BE49-F238E27FC236}">
                      <a16:creationId xmlns:a16="http://schemas.microsoft.com/office/drawing/2014/main" id="{BBD4134A-E648-2D3C-C548-59E4573CC9FF}"/>
                    </a:ext>
                  </a:extLst>
                </p:cNvPr>
                <p:cNvSpPr/>
                <p:nvPr/>
              </p:nvSpPr>
              <p:spPr>
                <a:xfrm>
                  <a:off x="6931805" y="5711417"/>
                  <a:ext cx="7152" cy="51816"/>
                </a:xfrm>
                <a:custGeom>
                  <a:avLst/>
                  <a:gdLst>
                    <a:gd name="connsiteX0" fmla="*/ 6307 w 7152"/>
                    <a:gd name="connsiteY0" fmla="*/ 51816 h 51816"/>
                    <a:gd name="connsiteX1" fmla="*/ 6058 w 7152"/>
                    <a:gd name="connsiteY1" fmla="*/ 33008 h 51816"/>
                    <a:gd name="connsiteX2" fmla="*/ 702 w 7152"/>
                    <a:gd name="connsiteY2" fmla="*/ 16442 h 51816"/>
                    <a:gd name="connsiteX3" fmla="*/ 951 w 7152"/>
                    <a:gd name="connsiteY3" fmla="*/ 0 h 51816"/>
                  </a:gdLst>
                  <a:ahLst/>
                  <a:cxnLst>
                    <a:cxn ang="0">
                      <a:pos x="connsiteX0" y="connsiteY0"/>
                    </a:cxn>
                    <a:cxn ang="0">
                      <a:pos x="connsiteX1" y="connsiteY1"/>
                    </a:cxn>
                    <a:cxn ang="0">
                      <a:pos x="connsiteX2" y="connsiteY2"/>
                    </a:cxn>
                    <a:cxn ang="0">
                      <a:pos x="connsiteX3" y="connsiteY3"/>
                    </a:cxn>
                  </a:cxnLst>
                  <a:rect l="l" t="t" r="r" b="b"/>
                  <a:pathLst>
                    <a:path w="7152" h="51816">
                      <a:moveTo>
                        <a:pt x="6307" y="51816"/>
                      </a:moveTo>
                      <a:cubicBezTo>
                        <a:pt x="7802" y="43595"/>
                        <a:pt x="7054" y="37243"/>
                        <a:pt x="6058" y="33008"/>
                      </a:cubicBezTo>
                      <a:cubicBezTo>
                        <a:pt x="4438" y="26157"/>
                        <a:pt x="1947" y="23417"/>
                        <a:pt x="702" y="16442"/>
                      </a:cubicBezTo>
                      <a:cubicBezTo>
                        <a:pt x="-544" y="9715"/>
                        <a:pt x="79" y="3862"/>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1" name="Freeform 4696">
                  <a:extLst>
                    <a:ext uri="{FF2B5EF4-FFF2-40B4-BE49-F238E27FC236}">
                      <a16:creationId xmlns:a16="http://schemas.microsoft.com/office/drawing/2014/main" id="{D49EFE6F-E1BD-7D42-853D-DFBD054BCB45}"/>
                    </a:ext>
                  </a:extLst>
                </p:cNvPr>
                <p:cNvSpPr/>
                <p:nvPr/>
              </p:nvSpPr>
              <p:spPr>
                <a:xfrm>
                  <a:off x="6924784" y="5717271"/>
                  <a:ext cx="6975" cy="51567"/>
                </a:xfrm>
                <a:custGeom>
                  <a:avLst/>
                  <a:gdLst>
                    <a:gd name="connsiteX0" fmla="*/ 0 w 6975"/>
                    <a:gd name="connsiteY0" fmla="*/ 0 h 51567"/>
                    <a:gd name="connsiteX1" fmla="*/ 4235 w 6975"/>
                    <a:gd name="connsiteY1" fmla="*/ 18310 h 51567"/>
                    <a:gd name="connsiteX2" fmla="*/ 2865 w 6975"/>
                    <a:gd name="connsiteY2" fmla="*/ 35624 h 51567"/>
                    <a:gd name="connsiteX3" fmla="*/ 6975 w 697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975" h="51567">
                      <a:moveTo>
                        <a:pt x="0" y="0"/>
                      </a:moveTo>
                      <a:cubicBezTo>
                        <a:pt x="3363" y="7723"/>
                        <a:pt x="4111" y="13951"/>
                        <a:pt x="4235" y="18310"/>
                      </a:cubicBezTo>
                      <a:cubicBezTo>
                        <a:pt x="4235" y="25285"/>
                        <a:pt x="2491" y="28524"/>
                        <a:pt x="2865" y="35624"/>
                      </a:cubicBezTo>
                      <a:cubicBezTo>
                        <a:pt x="3239" y="42474"/>
                        <a:pt x="5231" y="48079"/>
                        <a:pt x="6975"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92" name="Freeform 4697">
                  <a:extLst>
                    <a:ext uri="{FF2B5EF4-FFF2-40B4-BE49-F238E27FC236}">
                      <a16:creationId xmlns:a16="http://schemas.microsoft.com/office/drawing/2014/main" id="{4CCCAE6C-6C8D-AF1A-9FB7-F25BD0134E22}"/>
                    </a:ext>
                  </a:extLst>
                </p:cNvPr>
                <p:cNvSpPr/>
                <p:nvPr/>
              </p:nvSpPr>
              <p:spPr>
                <a:xfrm>
                  <a:off x="6922195" y="5757408"/>
                  <a:ext cx="26350" cy="26471"/>
                </a:xfrm>
                <a:custGeom>
                  <a:avLst/>
                  <a:gdLst>
                    <a:gd name="connsiteX0" fmla="*/ 97 w 26350"/>
                    <a:gd name="connsiteY0" fmla="*/ 14793 h 26471"/>
                    <a:gd name="connsiteX1" fmla="*/ 11556 w 26350"/>
                    <a:gd name="connsiteY1" fmla="*/ 95 h 26471"/>
                    <a:gd name="connsiteX2" fmla="*/ 26254 w 26350"/>
                    <a:gd name="connsiteY2" fmla="*/ 11679 h 26471"/>
                    <a:gd name="connsiteX3" fmla="*/ 14795 w 26350"/>
                    <a:gd name="connsiteY3" fmla="*/ 26377 h 26471"/>
                    <a:gd name="connsiteX4" fmla="*/ 97 w 26350"/>
                    <a:gd name="connsiteY4" fmla="*/ 1479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0">
                      <a:moveTo>
                        <a:pt x="97" y="14793"/>
                      </a:moveTo>
                      <a:cubicBezTo>
                        <a:pt x="-775" y="7569"/>
                        <a:pt x="4332" y="967"/>
                        <a:pt x="11556" y="95"/>
                      </a:cubicBezTo>
                      <a:cubicBezTo>
                        <a:pt x="18781" y="-777"/>
                        <a:pt x="25383" y="4455"/>
                        <a:pt x="26254" y="11679"/>
                      </a:cubicBezTo>
                      <a:cubicBezTo>
                        <a:pt x="27126" y="18903"/>
                        <a:pt x="22019" y="25505"/>
                        <a:pt x="14795" y="26377"/>
                      </a:cubicBezTo>
                      <a:cubicBezTo>
                        <a:pt x="7570" y="27248"/>
                        <a:pt x="969" y="22017"/>
                        <a:pt x="97"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3" name="Graphic 2987">
                <a:extLst>
                  <a:ext uri="{FF2B5EF4-FFF2-40B4-BE49-F238E27FC236}">
                    <a16:creationId xmlns:a16="http://schemas.microsoft.com/office/drawing/2014/main" id="{E44A3F39-DF33-AC05-5445-A1A984833CC7}"/>
                  </a:ext>
                </a:extLst>
              </p:cNvPr>
              <p:cNvGrpSpPr/>
              <p:nvPr/>
            </p:nvGrpSpPr>
            <p:grpSpPr>
              <a:xfrm>
                <a:off x="6936895" y="5632475"/>
                <a:ext cx="40795" cy="147943"/>
                <a:chOff x="6936895" y="5632475"/>
                <a:chExt cx="40795" cy="147943"/>
              </a:xfrm>
              <a:grpFill/>
            </p:grpSpPr>
            <p:sp>
              <p:nvSpPr>
                <p:cNvPr id="4781" name="Freeform 4699">
                  <a:extLst>
                    <a:ext uri="{FF2B5EF4-FFF2-40B4-BE49-F238E27FC236}">
                      <a16:creationId xmlns:a16="http://schemas.microsoft.com/office/drawing/2014/main" id="{7738F567-3FB2-B91D-4EC3-C664C6E93D40}"/>
                    </a:ext>
                  </a:extLst>
                </p:cNvPr>
                <p:cNvSpPr/>
                <p:nvPr/>
              </p:nvSpPr>
              <p:spPr>
                <a:xfrm>
                  <a:off x="6946608" y="5653124"/>
                  <a:ext cx="7151" cy="51816"/>
                </a:xfrm>
                <a:custGeom>
                  <a:avLst/>
                  <a:gdLst>
                    <a:gd name="connsiteX0" fmla="*/ 845 w 7151"/>
                    <a:gd name="connsiteY0" fmla="*/ 0 h 51816"/>
                    <a:gd name="connsiteX1" fmla="*/ 1094 w 7151"/>
                    <a:gd name="connsiteY1" fmla="*/ 18808 h 51816"/>
                    <a:gd name="connsiteX2" fmla="*/ 6450 w 7151"/>
                    <a:gd name="connsiteY2" fmla="*/ 35374 h 51816"/>
                    <a:gd name="connsiteX3" fmla="*/ 6201 w 715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51" h="51816">
                      <a:moveTo>
                        <a:pt x="845" y="0"/>
                      </a:moveTo>
                      <a:cubicBezTo>
                        <a:pt x="-649" y="8221"/>
                        <a:pt x="98" y="14573"/>
                        <a:pt x="1094" y="18808"/>
                      </a:cubicBezTo>
                      <a:cubicBezTo>
                        <a:pt x="2713" y="25659"/>
                        <a:pt x="5204" y="28399"/>
                        <a:pt x="6450" y="35374"/>
                      </a:cubicBezTo>
                      <a:cubicBezTo>
                        <a:pt x="7696" y="42101"/>
                        <a:pt x="7073" y="47955"/>
                        <a:pt x="620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2" name="Freeform 4700">
                  <a:extLst>
                    <a:ext uri="{FF2B5EF4-FFF2-40B4-BE49-F238E27FC236}">
                      <a16:creationId xmlns:a16="http://schemas.microsoft.com/office/drawing/2014/main" id="{8FC6008A-A65F-7D74-FCC8-728ECE97C38F}"/>
                    </a:ext>
                  </a:extLst>
                </p:cNvPr>
                <p:cNvSpPr/>
                <p:nvPr/>
              </p:nvSpPr>
              <p:spPr>
                <a:xfrm>
                  <a:off x="6953806" y="5647395"/>
                  <a:ext cx="6850" cy="51566"/>
                </a:xfrm>
                <a:custGeom>
                  <a:avLst/>
                  <a:gdLst>
                    <a:gd name="connsiteX0" fmla="*/ 6851 w 6850"/>
                    <a:gd name="connsiteY0" fmla="*/ 51567 h 51566"/>
                    <a:gd name="connsiteX1" fmla="*/ 2740 w 6850"/>
                    <a:gd name="connsiteY1" fmla="*/ 33257 h 51566"/>
                    <a:gd name="connsiteX2" fmla="*/ 4110 w 6850"/>
                    <a:gd name="connsiteY2" fmla="*/ 15943 h 51566"/>
                    <a:gd name="connsiteX3" fmla="*/ 0 w 6850"/>
                    <a:gd name="connsiteY3" fmla="*/ 0 h 51566"/>
                  </a:gdLst>
                  <a:ahLst/>
                  <a:cxnLst>
                    <a:cxn ang="0">
                      <a:pos x="connsiteX0" y="connsiteY0"/>
                    </a:cxn>
                    <a:cxn ang="0">
                      <a:pos x="connsiteX1" y="connsiteY1"/>
                    </a:cxn>
                    <a:cxn ang="0">
                      <a:pos x="connsiteX2" y="connsiteY2"/>
                    </a:cxn>
                    <a:cxn ang="0">
                      <a:pos x="connsiteX3" y="connsiteY3"/>
                    </a:cxn>
                  </a:cxnLst>
                  <a:rect l="l" t="t" r="r" b="b"/>
                  <a:pathLst>
                    <a:path w="6850" h="51566">
                      <a:moveTo>
                        <a:pt x="6851" y="51567"/>
                      </a:moveTo>
                      <a:cubicBezTo>
                        <a:pt x="3487" y="43844"/>
                        <a:pt x="2740" y="37616"/>
                        <a:pt x="2740" y="33257"/>
                      </a:cubicBezTo>
                      <a:cubicBezTo>
                        <a:pt x="2740" y="26281"/>
                        <a:pt x="4484" y="23043"/>
                        <a:pt x="4110" y="15943"/>
                      </a:cubicBezTo>
                      <a:cubicBezTo>
                        <a:pt x="3861" y="9093"/>
                        <a:pt x="1743" y="3488"/>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3" name="Freeform 4701">
                  <a:extLst>
                    <a:ext uri="{FF2B5EF4-FFF2-40B4-BE49-F238E27FC236}">
                      <a16:creationId xmlns:a16="http://schemas.microsoft.com/office/drawing/2014/main" id="{0ACAFC79-8401-D0BE-E7C3-97C0C93A5377}"/>
                    </a:ext>
                  </a:extLst>
                </p:cNvPr>
                <p:cNvSpPr/>
                <p:nvPr/>
              </p:nvSpPr>
              <p:spPr>
                <a:xfrm>
                  <a:off x="6936895" y="5632475"/>
                  <a:ext cx="26720" cy="26473"/>
                </a:xfrm>
                <a:custGeom>
                  <a:avLst/>
                  <a:gdLst>
                    <a:gd name="connsiteX0" fmla="*/ 26626 w 26720"/>
                    <a:gd name="connsiteY0" fmla="*/ 11681 h 26473"/>
                    <a:gd name="connsiteX1" fmla="*/ 14917 w 26720"/>
                    <a:gd name="connsiteY1" fmla="*/ 26378 h 26473"/>
                    <a:gd name="connsiteX2" fmla="*/ 95 w 26720"/>
                    <a:gd name="connsiteY2" fmla="*/ 14795 h 26473"/>
                    <a:gd name="connsiteX3" fmla="*/ 11803 w 26720"/>
                    <a:gd name="connsiteY3" fmla="*/ 97 h 26473"/>
                    <a:gd name="connsiteX4" fmla="*/ 26626 w 26720"/>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473">
                      <a:moveTo>
                        <a:pt x="26626" y="11681"/>
                      </a:moveTo>
                      <a:cubicBezTo>
                        <a:pt x="27498" y="18905"/>
                        <a:pt x="22267" y="25507"/>
                        <a:pt x="14917" y="26378"/>
                      </a:cubicBezTo>
                      <a:cubicBezTo>
                        <a:pt x="7569" y="27250"/>
                        <a:pt x="967" y="22019"/>
                        <a:pt x="95" y="14795"/>
                      </a:cubicBezTo>
                      <a:cubicBezTo>
                        <a:pt x="-777" y="7570"/>
                        <a:pt x="4455" y="969"/>
                        <a:pt x="11803" y="97"/>
                      </a:cubicBezTo>
                      <a:cubicBezTo>
                        <a:pt x="19153" y="-775"/>
                        <a:pt x="25754" y="4332"/>
                        <a:pt x="26626"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4" name="Freeform 4702">
                  <a:extLst>
                    <a:ext uri="{FF2B5EF4-FFF2-40B4-BE49-F238E27FC236}">
                      <a16:creationId xmlns:a16="http://schemas.microsoft.com/office/drawing/2014/main" id="{0B3AACAD-B817-3335-1084-296261D9A184}"/>
                    </a:ext>
                  </a:extLst>
                </p:cNvPr>
                <p:cNvSpPr/>
                <p:nvPr/>
              </p:nvSpPr>
              <p:spPr>
                <a:xfrm>
                  <a:off x="6961076" y="5707929"/>
                  <a:ext cx="7151" cy="51816"/>
                </a:xfrm>
                <a:custGeom>
                  <a:avLst/>
                  <a:gdLst>
                    <a:gd name="connsiteX0" fmla="*/ 6307 w 7151"/>
                    <a:gd name="connsiteY0" fmla="*/ 51816 h 51816"/>
                    <a:gd name="connsiteX1" fmla="*/ 6057 w 7151"/>
                    <a:gd name="connsiteY1" fmla="*/ 33008 h 51816"/>
                    <a:gd name="connsiteX2" fmla="*/ 701 w 7151"/>
                    <a:gd name="connsiteY2" fmla="*/ 16442 h 51816"/>
                    <a:gd name="connsiteX3" fmla="*/ 951 w 7151"/>
                    <a:gd name="connsiteY3" fmla="*/ 0 h 51816"/>
                  </a:gdLst>
                  <a:ahLst/>
                  <a:cxnLst>
                    <a:cxn ang="0">
                      <a:pos x="connsiteX0" y="connsiteY0"/>
                    </a:cxn>
                    <a:cxn ang="0">
                      <a:pos x="connsiteX1" y="connsiteY1"/>
                    </a:cxn>
                    <a:cxn ang="0">
                      <a:pos x="connsiteX2" y="connsiteY2"/>
                    </a:cxn>
                    <a:cxn ang="0">
                      <a:pos x="connsiteX3" y="connsiteY3"/>
                    </a:cxn>
                  </a:cxnLst>
                  <a:rect l="l" t="t" r="r" b="b"/>
                  <a:pathLst>
                    <a:path w="7151" h="51816">
                      <a:moveTo>
                        <a:pt x="6307" y="51816"/>
                      </a:moveTo>
                      <a:cubicBezTo>
                        <a:pt x="7801" y="43595"/>
                        <a:pt x="7054" y="37243"/>
                        <a:pt x="6057" y="33008"/>
                      </a:cubicBezTo>
                      <a:cubicBezTo>
                        <a:pt x="4438" y="26157"/>
                        <a:pt x="2072" y="23417"/>
                        <a:pt x="701" y="16442"/>
                      </a:cubicBezTo>
                      <a:cubicBezTo>
                        <a:pt x="-544" y="9715"/>
                        <a:pt x="79" y="3861"/>
                        <a:pt x="95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5" name="Freeform 4703">
                  <a:extLst>
                    <a:ext uri="{FF2B5EF4-FFF2-40B4-BE49-F238E27FC236}">
                      <a16:creationId xmlns:a16="http://schemas.microsoft.com/office/drawing/2014/main" id="{AE559443-F2BC-9788-815F-4BECB9F2CCC7}"/>
                    </a:ext>
                  </a:extLst>
                </p:cNvPr>
                <p:cNvSpPr/>
                <p:nvPr/>
              </p:nvSpPr>
              <p:spPr>
                <a:xfrm>
                  <a:off x="6954179" y="5713908"/>
                  <a:ext cx="6725" cy="51567"/>
                </a:xfrm>
                <a:custGeom>
                  <a:avLst/>
                  <a:gdLst>
                    <a:gd name="connsiteX0" fmla="*/ 0 w 6725"/>
                    <a:gd name="connsiteY0" fmla="*/ 0 h 51567"/>
                    <a:gd name="connsiteX1" fmla="*/ 4111 w 6725"/>
                    <a:gd name="connsiteY1" fmla="*/ 18310 h 51567"/>
                    <a:gd name="connsiteX2" fmla="*/ 2741 w 6725"/>
                    <a:gd name="connsiteY2" fmla="*/ 35624 h 51567"/>
                    <a:gd name="connsiteX3" fmla="*/ 6726 w 6725"/>
                    <a:gd name="connsiteY3" fmla="*/ 51567 h 51567"/>
                  </a:gdLst>
                  <a:ahLst/>
                  <a:cxnLst>
                    <a:cxn ang="0">
                      <a:pos x="connsiteX0" y="connsiteY0"/>
                    </a:cxn>
                    <a:cxn ang="0">
                      <a:pos x="connsiteX1" y="connsiteY1"/>
                    </a:cxn>
                    <a:cxn ang="0">
                      <a:pos x="connsiteX2" y="connsiteY2"/>
                    </a:cxn>
                    <a:cxn ang="0">
                      <a:pos x="connsiteX3" y="connsiteY3"/>
                    </a:cxn>
                  </a:cxnLst>
                  <a:rect l="l" t="t" r="r" b="b"/>
                  <a:pathLst>
                    <a:path w="6724" h="51567">
                      <a:moveTo>
                        <a:pt x="0" y="0"/>
                      </a:moveTo>
                      <a:cubicBezTo>
                        <a:pt x="3363" y="7723"/>
                        <a:pt x="4111" y="13950"/>
                        <a:pt x="4111" y="18310"/>
                      </a:cubicBezTo>
                      <a:cubicBezTo>
                        <a:pt x="4111" y="25285"/>
                        <a:pt x="2367" y="28524"/>
                        <a:pt x="2741" y="35624"/>
                      </a:cubicBezTo>
                      <a:cubicBezTo>
                        <a:pt x="3114" y="42474"/>
                        <a:pt x="5107" y="48079"/>
                        <a:pt x="6726"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6" name="Freeform 4704">
                  <a:extLst>
                    <a:ext uri="{FF2B5EF4-FFF2-40B4-BE49-F238E27FC236}">
                      <a16:creationId xmlns:a16="http://schemas.microsoft.com/office/drawing/2014/main" id="{481F3D20-79D8-74EF-F009-ABBF6157C9E7}"/>
                    </a:ext>
                  </a:extLst>
                </p:cNvPr>
                <p:cNvSpPr/>
                <p:nvPr/>
              </p:nvSpPr>
              <p:spPr>
                <a:xfrm>
                  <a:off x="6951344" y="5753921"/>
                  <a:ext cx="26346" cy="26498"/>
                </a:xfrm>
                <a:custGeom>
                  <a:avLst/>
                  <a:gdLst>
                    <a:gd name="connsiteX0" fmla="*/ 95 w 26346"/>
                    <a:gd name="connsiteY0" fmla="*/ 14793 h 26498"/>
                    <a:gd name="connsiteX1" fmla="*/ 11679 w 26346"/>
                    <a:gd name="connsiteY1" fmla="*/ 95 h 26498"/>
                    <a:gd name="connsiteX2" fmla="*/ 26252 w 26346"/>
                    <a:gd name="connsiteY2" fmla="*/ 11679 h 26498"/>
                    <a:gd name="connsiteX3" fmla="*/ 14668 w 26346"/>
                    <a:gd name="connsiteY3" fmla="*/ 26376 h 26498"/>
                    <a:gd name="connsiteX4" fmla="*/ 95 w 26346"/>
                    <a:gd name="connsiteY4" fmla="*/ 14793 h 2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98">
                      <a:moveTo>
                        <a:pt x="95" y="14793"/>
                      </a:moveTo>
                      <a:cubicBezTo>
                        <a:pt x="-777" y="7569"/>
                        <a:pt x="4454" y="967"/>
                        <a:pt x="11679" y="95"/>
                      </a:cubicBezTo>
                      <a:cubicBezTo>
                        <a:pt x="18903" y="-777"/>
                        <a:pt x="25504" y="4455"/>
                        <a:pt x="26252" y="11679"/>
                      </a:cubicBezTo>
                      <a:cubicBezTo>
                        <a:pt x="27124" y="18903"/>
                        <a:pt x="21893" y="25505"/>
                        <a:pt x="14668" y="26376"/>
                      </a:cubicBezTo>
                      <a:cubicBezTo>
                        <a:pt x="7568" y="27373"/>
                        <a:pt x="966" y="22142"/>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4" name="Graphic 2987">
                <a:extLst>
                  <a:ext uri="{FF2B5EF4-FFF2-40B4-BE49-F238E27FC236}">
                    <a16:creationId xmlns:a16="http://schemas.microsoft.com/office/drawing/2014/main" id="{31EB74CB-849C-623F-E0BB-4A52F966366B}"/>
                  </a:ext>
                </a:extLst>
              </p:cNvPr>
              <p:cNvGrpSpPr/>
              <p:nvPr/>
            </p:nvGrpSpPr>
            <p:grpSpPr>
              <a:xfrm>
                <a:off x="6966540" y="5628990"/>
                <a:ext cx="40421" cy="148140"/>
                <a:chOff x="6966540" y="5628990"/>
                <a:chExt cx="40421" cy="148140"/>
              </a:xfrm>
              <a:grpFill/>
            </p:grpSpPr>
            <p:sp>
              <p:nvSpPr>
                <p:cNvPr id="4775" name="Freeform 4706">
                  <a:extLst>
                    <a:ext uri="{FF2B5EF4-FFF2-40B4-BE49-F238E27FC236}">
                      <a16:creationId xmlns:a16="http://schemas.microsoft.com/office/drawing/2014/main" id="{DAFA1AAC-A10C-D856-1B2F-B956846A0331}"/>
                    </a:ext>
                  </a:extLst>
                </p:cNvPr>
                <p:cNvSpPr/>
                <p:nvPr/>
              </p:nvSpPr>
              <p:spPr>
                <a:xfrm>
                  <a:off x="6976120" y="5649636"/>
                  <a:ext cx="7000" cy="51940"/>
                </a:xfrm>
                <a:custGeom>
                  <a:avLst/>
                  <a:gdLst>
                    <a:gd name="connsiteX0" fmla="*/ 854 w 7000"/>
                    <a:gd name="connsiteY0" fmla="*/ 0 h 51940"/>
                    <a:gd name="connsiteX1" fmla="*/ 978 w 7000"/>
                    <a:gd name="connsiteY1" fmla="*/ 18808 h 51940"/>
                    <a:gd name="connsiteX2" fmla="*/ 6334 w 7000"/>
                    <a:gd name="connsiteY2" fmla="*/ 35374 h 51940"/>
                    <a:gd name="connsiteX3" fmla="*/ 6085 w 700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000" h="51940">
                      <a:moveTo>
                        <a:pt x="854" y="0"/>
                      </a:moveTo>
                      <a:cubicBezTo>
                        <a:pt x="-641" y="8221"/>
                        <a:pt x="106" y="14573"/>
                        <a:pt x="978" y="18808"/>
                      </a:cubicBezTo>
                      <a:cubicBezTo>
                        <a:pt x="2598" y="25659"/>
                        <a:pt x="4964" y="28399"/>
                        <a:pt x="6334" y="35374"/>
                      </a:cubicBezTo>
                      <a:cubicBezTo>
                        <a:pt x="7580" y="42101"/>
                        <a:pt x="6832" y="47955"/>
                        <a:pt x="608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6" name="Freeform 4707">
                  <a:extLst>
                    <a:ext uri="{FF2B5EF4-FFF2-40B4-BE49-F238E27FC236}">
                      <a16:creationId xmlns:a16="http://schemas.microsoft.com/office/drawing/2014/main" id="{31E0847B-E80C-4F78-8DAE-DFE539DB31FF}"/>
                    </a:ext>
                  </a:extLst>
                </p:cNvPr>
                <p:cNvSpPr/>
                <p:nvPr/>
              </p:nvSpPr>
              <p:spPr>
                <a:xfrm>
                  <a:off x="6983450" y="5643907"/>
                  <a:ext cx="6601" cy="51691"/>
                </a:xfrm>
                <a:custGeom>
                  <a:avLst/>
                  <a:gdLst>
                    <a:gd name="connsiteX0" fmla="*/ 6602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7" name="Freeform 4708">
                  <a:extLst>
                    <a:ext uri="{FF2B5EF4-FFF2-40B4-BE49-F238E27FC236}">
                      <a16:creationId xmlns:a16="http://schemas.microsoft.com/office/drawing/2014/main" id="{F1C4593D-622F-2118-22FD-ED28AF16B9A9}"/>
                    </a:ext>
                  </a:extLst>
                </p:cNvPr>
                <p:cNvSpPr/>
                <p:nvPr/>
              </p:nvSpPr>
              <p:spPr>
                <a:xfrm>
                  <a:off x="6966540" y="5628990"/>
                  <a:ext cx="26596" cy="26471"/>
                </a:xfrm>
                <a:custGeom>
                  <a:avLst/>
                  <a:gdLst>
                    <a:gd name="connsiteX0" fmla="*/ 26501 w 26596"/>
                    <a:gd name="connsiteY0" fmla="*/ 11679 h 26471"/>
                    <a:gd name="connsiteX1" fmla="*/ 14793 w 26596"/>
                    <a:gd name="connsiteY1" fmla="*/ 26376 h 26471"/>
                    <a:gd name="connsiteX2" fmla="*/ 95 w 26596"/>
                    <a:gd name="connsiteY2" fmla="*/ 14793 h 26471"/>
                    <a:gd name="connsiteX3" fmla="*/ 11803 w 26596"/>
                    <a:gd name="connsiteY3" fmla="*/ 95 h 26471"/>
                    <a:gd name="connsiteX4" fmla="*/ 26501 w 26596"/>
                    <a:gd name="connsiteY4" fmla="*/ 11679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0">
                      <a:moveTo>
                        <a:pt x="26501" y="11679"/>
                      </a:moveTo>
                      <a:cubicBezTo>
                        <a:pt x="27373" y="18903"/>
                        <a:pt x="22142" y="25505"/>
                        <a:pt x="14793" y="26376"/>
                      </a:cubicBezTo>
                      <a:cubicBezTo>
                        <a:pt x="7444" y="27248"/>
                        <a:pt x="967" y="22017"/>
                        <a:pt x="95" y="14793"/>
                      </a:cubicBezTo>
                      <a:cubicBezTo>
                        <a:pt x="-777" y="7569"/>
                        <a:pt x="4454" y="967"/>
                        <a:pt x="11803" y="95"/>
                      </a:cubicBezTo>
                      <a:cubicBezTo>
                        <a:pt x="19153" y="-777"/>
                        <a:pt x="25629" y="4455"/>
                        <a:pt x="26501" y="116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8" name="Freeform 4709">
                  <a:extLst>
                    <a:ext uri="{FF2B5EF4-FFF2-40B4-BE49-F238E27FC236}">
                      <a16:creationId xmlns:a16="http://schemas.microsoft.com/office/drawing/2014/main" id="{4E5EE4DC-DFED-F60C-9EDA-863A591A1A37}"/>
                    </a:ext>
                  </a:extLst>
                </p:cNvPr>
                <p:cNvSpPr/>
                <p:nvPr/>
              </p:nvSpPr>
              <p:spPr>
                <a:xfrm>
                  <a:off x="6990507" y="5704442"/>
                  <a:ext cx="7000" cy="51940"/>
                </a:xfrm>
                <a:custGeom>
                  <a:avLst/>
                  <a:gdLst>
                    <a:gd name="connsiteX0" fmla="*/ 6146 w 7000"/>
                    <a:gd name="connsiteY0" fmla="*/ 51941 h 51940"/>
                    <a:gd name="connsiteX1" fmla="*/ 6022 w 7000"/>
                    <a:gd name="connsiteY1" fmla="*/ 33132 h 51940"/>
                    <a:gd name="connsiteX2" fmla="*/ 667 w 7000"/>
                    <a:gd name="connsiteY2" fmla="*/ 16566 h 51940"/>
                    <a:gd name="connsiteX3" fmla="*/ 915 w 7000"/>
                    <a:gd name="connsiteY3" fmla="*/ 0 h 51940"/>
                  </a:gdLst>
                  <a:ahLst/>
                  <a:cxnLst>
                    <a:cxn ang="0">
                      <a:pos x="connsiteX0" y="connsiteY0"/>
                    </a:cxn>
                    <a:cxn ang="0">
                      <a:pos x="connsiteX1" y="connsiteY1"/>
                    </a:cxn>
                    <a:cxn ang="0">
                      <a:pos x="connsiteX2" y="connsiteY2"/>
                    </a:cxn>
                    <a:cxn ang="0">
                      <a:pos x="connsiteX3" y="connsiteY3"/>
                    </a:cxn>
                  </a:cxnLst>
                  <a:rect l="l" t="t" r="r" b="b"/>
                  <a:pathLst>
                    <a:path w="7000" h="51940">
                      <a:moveTo>
                        <a:pt x="6146" y="51941"/>
                      </a:moveTo>
                      <a:cubicBezTo>
                        <a:pt x="7642" y="43720"/>
                        <a:pt x="6894" y="37367"/>
                        <a:pt x="6022" y="33132"/>
                      </a:cubicBezTo>
                      <a:cubicBezTo>
                        <a:pt x="4403" y="26282"/>
                        <a:pt x="2037" y="23542"/>
                        <a:pt x="667" y="16566"/>
                      </a:cubicBezTo>
                      <a:cubicBezTo>
                        <a:pt x="-579" y="9840"/>
                        <a:pt x="168" y="3986"/>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9" name="Freeform 4710">
                  <a:extLst>
                    <a:ext uri="{FF2B5EF4-FFF2-40B4-BE49-F238E27FC236}">
                      <a16:creationId xmlns:a16="http://schemas.microsoft.com/office/drawing/2014/main" id="{2478D4A3-7385-A63C-1E68-C9ED194B912E}"/>
                    </a:ext>
                  </a:extLst>
                </p:cNvPr>
                <p:cNvSpPr/>
                <p:nvPr/>
              </p:nvSpPr>
              <p:spPr>
                <a:xfrm>
                  <a:off x="6983575" y="5710421"/>
                  <a:ext cx="6726" cy="51691"/>
                </a:xfrm>
                <a:custGeom>
                  <a:avLst/>
                  <a:gdLst>
                    <a:gd name="connsiteX0" fmla="*/ 0 w 6726"/>
                    <a:gd name="connsiteY0" fmla="*/ 0 h 51691"/>
                    <a:gd name="connsiteX1" fmla="*/ 4111 w 6726"/>
                    <a:gd name="connsiteY1" fmla="*/ 18310 h 51691"/>
                    <a:gd name="connsiteX2" fmla="*/ 2741 w 6726"/>
                    <a:gd name="connsiteY2" fmla="*/ 35623 h 51691"/>
                    <a:gd name="connsiteX3" fmla="*/ 6727 w 672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725" h="51690">
                      <a:moveTo>
                        <a:pt x="0" y="0"/>
                      </a:moveTo>
                      <a:cubicBezTo>
                        <a:pt x="3363" y="7723"/>
                        <a:pt x="4111" y="13950"/>
                        <a:pt x="4111" y="18310"/>
                      </a:cubicBezTo>
                      <a:cubicBezTo>
                        <a:pt x="4111" y="25285"/>
                        <a:pt x="2367" y="28524"/>
                        <a:pt x="2741" y="35623"/>
                      </a:cubicBezTo>
                      <a:cubicBezTo>
                        <a:pt x="2989" y="42474"/>
                        <a:pt x="5107" y="48079"/>
                        <a:pt x="6727"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80" name="Freeform 4711">
                  <a:extLst>
                    <a:ext uri="{FF2B5EF4-FFF2-40B4-BE49-F238E27FC236}">
                      <a16:creationId xmlns:a16="http://schemas.microsoft.com/office/drawing/2014/main" id="{106D1F7E-5ECC-90AA-9375-4B0C4D183468}"/>
                    </a:ext>
                  </a:extLst>
                </p:cNvPr>
                <p:cNvSpPr/>
                <p:nvPr/>
              </p:nvSpPr>
              <p:spPr>
                <a:xfrm>
                  <a:off x="6980615" y="5750558"/>
                  <a:ext cx="26346" cy="26572"/>
                </a:xfrm>
                <a:custGeom>
                  <a:avLst/>
                  <a:gdLst>
                    <a:gd name="connsiteX0" fmla="*/ 95 w 26346"/>
                    <a:gd name="connsiteY0" fmla="*/ 14793 h 26572"/>
                    <a:gd name="connsiteX1" fmla="*/ 11679 w 26346"/>
                    <a:gd name="connsiteY1" fmla="*/ 95 h 26572"/>
                    <a:gd name="connsiteX2" fmla="*/ 26252 w 26346"/>
                    <a:gd name="connsiteY2" fmla="*/ 11803 h 26572"/>
                    <a:gd name="connsiteX3" fmla="*/ 14668 w 26346"/>
                    <a:gd name="connsiteY3" fmla="*/ 26501 h 26572"/>
                    <a:gd name="connsiteX4" fmla="*/ 95 w 26346"/>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72">
                      <a:moveTo>
                        <a:pt x="95" y="14793"/>
                      </a:moveTo>
                      <a:cubicBezTo>
                        <a:pt x="-777" y="7568"/>
                        <a:pt x="4454" y="967"/>
                        <a:pt x="11679" y="95"/>
                      </a:cubicBezTo>
                      <a:cubicBezTo>
                        <a:pt x="18903" y="-777"/>
                        <a:pt x="25504" y="4454"/>
                        <a:pt x="26252" y="11803"/>
                      </a:cubicBezTo>
                      <a:cubicBezTo>
                        <a:pt x="27124" y="19028"/>
                        <a:pt x="21893" y="25629"/>
                        <a:pt x="14668" y="26501"/>
                      </a:cubicBezTo>
                      <a:cubicBezTo>
                        <a:pt x="7568" y="27248"/>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5" name="Graphic 2987">
                <a:extLst>
                  <a:ext uri="{FF2B5EF4-FFF2-40B4-BE49-F238E27FC236}">
                    <a16:creationId xmlns:a16="http://schemas.microsoft.com/office/drawing/2014/main" id="{D5176C80-C05C-4419-A356-59290DB9122C}"/>
                  </a:ext>
                </a:extLst>
              </p:cNvPr>
              <p:cNvGrpSpPr/>
              <p:nvPr/>
            </p:nvGrpSpPr>
            <p:grpSpPr>
              <a:xfrm>
                <a:off x="6996062" y="5625625"/>
                <a:ext cx="40171" cy="148142"/>
                <a:chOff x="6996062" y="5625625"/>
                <a:chExt cx="40171" cy="148142"/>
              </a:xfrm>
              <a:grpFill/>
            </p:grpSpPr>
            <p:sp>
              <p:nvSpPr>
                <p:cNvPr id="4769" name="Freeform 4713">
                  <a:extLst>
                    <a:ext uri="{FF2B5EF4-FFF2-40B4-BE49-F238E27FC236}">
                      <a16:creationId xmlns:a16="http://schemas.microsoft.com/office/drawing/2014/main" id="{F3525DF3-2DE0-A212-048A-E6DC9A864ABB}"/>
                    </a:ext>
                  </a:extLst>
                </p:cNvPr>
                <p:cNvSpPr/>
                <p:nvPr/>
              </p:nvSpPr>
              <p:spPr>
                <a:xfrm>
                  <a:off x="7005549" y="5646274"/>
                  <a:ext cx="7091" cy="51940"/>
                </a:xfrm>
                <a:custGeom>
                  <a:avLst/>
                  <a:gdLst>
                    <a:gd name="connsiteX0" fmla="*/ 945 w 7091"/>
                    <a:gd name="connsiteY0" fmla="*/ 0 h 51940"/>
                    <a:gd name="connsiteX1" fmla="*/ 1069 w 7091"/>
                    <a:gd name="connsiteY1" fmla="*/ 18808 h 51940"/>
                    <a:gd name="connsiteX2" fmla="*/ 6425 w 7091"/>
                    <a:gd name="connsiteY2" fmla="*/ 35374 h 51940"/>
                    <a:gd name="connsiteX3" fmla="*/ 6176 w 709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7091" h="51940">
                      <a:moveTo>
                        <a:pt x="945" y="0"/>
                      </a:moveTo>
                      <a:cubicBezTo>
                        <a:pt x="-675" y="8221"/>
                        <a:pt x="73" y="14573"/>
                        <a:pt x="1069" y="18808"/>
                      </a:cubicBezTo>
                      <a:cubicBezTo>
                        <a:pt x="2564" y="25659"/>
                        <a:pt x="5055" y="28399"/>
                        <a:pt x="6425" y="35374"/>
                      </a:cubicBezTo>
                      <a:cubicBezTo>
                        <a:pt x="7671" y="42101"/>
                        <a:pt x="6923" y="48079"/>
                        <a:pt x="617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0" name="Freeform 4714">
                  <a:extLst>
                    <a:ext uri="{FF2B5EF4-FFF2-40B4-BE49-F238E27FC236}">
                      <a16:creationId xmlns:a16="http://schemas.microsoft.com/office/drawing/2014/main" id="{F855D489-9ED9-38AA-975D-111920209BCE}"/>
                    </a:ext>
                  </a:extLst>
                </p:cNvPr>
                <p:cNvSpPr/>
                <p:nvPr/>
              </p:nvSpPr>
              <p:spPr>
                <a:xfrm>
                  <a:off x="7012846" y="5640419"/>
                  <a:ext cx="6601" cy="51691"/>
                </a:xfrm>
                <a:custGeom>
                  <a:avLst/>
                  <a:gdLst>
                    <a:gd name="connsiteX0" fmla="*/ 6601 w 6601"/>
                    <a:gd name="connsiteY0" fmla="*/ 51691 h 51691"/>
                    <a:gd name="connsiteX1" fmla="*/ 2491 w 6601"/>
                    <a:gd name="connsiteY1" fmla="*/ 33381 h 51691"/>
                    <a:gd name="connsiteX2" fmla="*/ 3986 w 6601"/>
                    <a:gd name="connsiteY2" fmla="*/ 16068 h 51691"/>
                    <a:gd name="connsiteX3" fmla="*/ 0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51691"/>
                      </a:moveTo>
                      <a:cubicBezTo>
                        <a:pt x="3239" y="43969"/>
                        <a:pt x="2491" y="37741"/>
                        <a:pt x="2491" y="33381"/>
                      </a:cubicBezTo>
                      <a:cubicBezTo>
                        <a:pt x="2491" y="26406"/>
                        <a:pt x="4235" y="23168"/>
                        <a:pt x="3986" y="16068"/>
                      </a:cubicBezTo>
                      <a:cubicBezTo>
                        <a:pt x="373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1" name="Freeform 4715">
                  <a:extLst>
                    <a:ext uri="{FF2B5EF4-FFF2-40B4-BE49-F238E27FC236}">
                      <a16:creationId xmlns:a16="http://schemas.microsoft.com/office/drawing/2014/main" id="{17306896-BCAB-BA08-107D-18255E8F1A40}"/>
                    </a:ext>
                  </a:extLst>
                </p:cNvPr>
                <p:cNvSpPr/>
                <p:nvPr/>
              </p:nvSpPr>
              <p:spPr>
                <a:xfrm>
                  <a:off x="6996062" y="5625625"/>
                  <a:ext cx="26592" cy="26473"/>
                </a:xfrm>
                <a:custGeom>
                  <a:avLst/>
                  <a:gdLst>
                    <a:gd name="connsiteX0" fmla="*/ 26499 w 26592"/>
                    <a:gd name="connsiteY0" fmla="*/ 11681 h 26473"/>
                    <a:gd name="connsiteX1" fmla="*/ 14791 w 26592"/>
                    <a:gd name="connsiteY1" fmla="*/ 26378 h 26473"/>
                    <a:gd name="connsiteX2" fmla="*/ 93 w 26592"/>
                    <a:gd name="connsiteY2" fmla="*/ 14795 h 26473"/>
                    <a:gd name="connsiteX3" fmla="*/ 11802 w 26592"/>
                    <a:gd name="connsiteY3" fmla="*/ 97 h 26473"/>
                    <a:gd name="connsiteX4" fmla="*/ 26499 w 26592"/>
                    <a:gd name="connsiteY4" fmla="*/ 11681 h 2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73">
                      <a:moveTo>
                        <a:pt x="26499" y="11681"/>
                      </a:moveTo>
                      <a:cubicBezTo>
                        <a:pt x="27371" y="18905"/>
                        <a:pt x="22015" y="25506"/>
                        <a:pt x="14791" y="26378"/>
                      </a:cubicBezTo>
                      <a:cubicBezTo>
                        <a:pt x="7442" y="27250"/>
                        <a:pt x="965" y="22019"/>
                        <a:pt x="93" y="14795"/>
                      </a:cubicBezTo>
                      <a:cubicBezTo>
                        <a:pt x="-779" y="7570"/>
                        <a:pt x="4577" y="968"/>
                        <a:pt x="11802" y="97"/>
                      </a:cubicBezTo>
                      <a:cubicBezTo>
                        <a:pt x="19026" y="-775"/>
                        <a:pt x="25752" y="4332"/>
                        <a:pt x="26499" y="116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2" name="Freeform 4716">
                  <a:extLst>
                    <a:ext uri="{FF2B5EF4-FFF2-40B4-BE49-F238E27FC236}">
                      <a16:creationId xmlns:a16="http://schemas.microsoft.com/office/drawing/2014/main" id="{E5884D52-D654-913A-2CB7-4AFBDC9C8147}"/>
                    </a:ext>
                  </a:extLst>
                </p:cNvPr>
                <p:cNvSpPr/>
                <p:nvPr/>
              </p:nvSpPr>
              <p:spPr>
                <a:xfrm>
                  <a:off x="7019902" y="5701079"/>
                  <a:ext cx="6914" cy="51940"/>
                </a:xfrm>
                <a:custGeom>
                  <a:avLst/>
                  <a:gdLst>
                    <a:gd name="connsiteX0" fmla="*/ 6022 w 6914"/>
                    <a:gd name="connsiteY0" fmla="*/ 51941 h 51940"/>
                    <a:gd name="connsiteX1" fmla="*/ 5898 w 6914"/>
                    <a:gd name="connsiteY1" fmla="*/ 33132 h 51940"/>
                    <a:gd name="connsiteX2" fmla="*/ 667 w 6914"/>
                    <a:gd name="connsiteY2" fmla="*/ 16566 h 51940"/>
                    <a:gd name="connsiteX3" fmla="*/ 915 w 6914"/>
                    <a:gd name="connsiteY3" fmla="*/ 0 h 51940"/>
                  </a:gdLst>
                  <a:ahLst/>
                  <a:cxnLst>
                    <a:cxn ang="0">
                      <a:pos x="connsiteX0" y="connsiteY0"/>
                    </a:cxn>
                    <a:cxn ang="0">
                      <a:pos x="connsiteX1" y="connsiteY1"/>
                    </a:cxn>
                    <a:cxn ang="0">
                      <a:pos x="connsiteX2" y="connsiteY2"/>
                    </a:cxn>
                    <a:cxn ang="0">
                      <a:pos x="connsiteX3" y="connsiteY3"/>
                    </a:cxn>
                  </a:cxnLst>
                  <a:rect l="l" t="t" r="r" b="b"/>
                  <a:pathLst>
                    <a:path w="6914" h="51940">
                      <a:moveTo>
                        <a:pt x="6022" y="51941"/>
                      </a:moveTo>
                      <a:cubicBezTo>
                        <a:pt x="7517" y="43720"/>
                        <a:pt x="6894" y="37367"/>
                        <a:pt x="5898" y="33132"/>
                      </a:cubicBezTo>
                      <a:cubicBezTo>
                        <a:pt x="4403" y="26281"/>
                        <a:pt x="1912" y="23542"/>
                        <a:pt x="667" y="16566"/>
                      </a:cubicBezTo>
                      <a:cubicBezTo>
                        <a:pt x="-579" y="9840"/>
                        <a:pt x="168" y="3861"/>
                        <a:pt x="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3" name="Freeform 4717">
                  <a:extLst>
                    <a:ext uri="{FF2B5EF4-FFF2-40B4-BE49-F238E27FC236}">
                      <a16:creationId xmlns:a16="http://schemas.microsoft.com/office/drawing/2014/main" id="{15519707-1011-4A18-7AEB-442A17239FE0}"/>
                    </a:ext>
                  </a:extLst>
                </p:cNvPr>
                <p:cNvSpPr/>
                <p:nvPr/>
              </p:nvSpPr>
              <p:spPr>
                <a:xfrm>
                  <a:off x="7012971" y="5707058"/>
                  <a:ext cx="6601" cy="51691"/>
                </a:xfrm>
                <a:custGeom>
                  <a:avLst/>
                  <a:gdLst>
                    <a:gd name="connsiteX0" fmla="*/ 0 w 6601"/>
                    <a:gd name="connsiteY0" fmla="*/ 0 h 51691"/>
                    <a:gd name="connsiteX1" fmla="*/ 4110 w 6601"/>
                    <a:gd name="connsiteY1" fmla="*/ 18310 h 51691"/>
                    <a:gd name="connsiteX2" fmla="*/ 2615 w 6601"/>
                    <a:gd name="connsiteY2" fmla="*/ 35623 h 51691"/>
                    <a:gd name="connsiteX3" fmla="*/ 6601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0" y="0"/>
                      </a:moveTo>
                      <a:cubicBezTo>
                        <a:pt x="3363" y="7723"/>
                        <a:pt x="4110" y="13950"/>
                        <a:pt x="4110" y="18310"/>
                      </a:cubicBezTo>
                      <a:cubicBezTo>
                        <a:pt x="4110" y="25285"/>
                        <a:pt x="2366" y="28523"/>
                        <a:pt x="2615" y="35623"/>
                      </a:cubicBezTo>
                      <a:cubicBezTo>
                        <a:pt x="2865" y="42474"/>
                        <a:pt x="4982" y="48079"/>
                        <a:pt x="6601"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74" name="Freeform 4718">
                  <a:extLst>
                    <a:ext uri="{FF2B5EF4-FFF2-40B4-BE49-F238E27FC236}">
                      <a16:creationId xmlns:a16="http://schemas.microsoft.com/office/drawing/2014/main" id="{B0E8E1E0-5683-A8CB-9602-14384103474C}"/>
                    </a:ext>
                  </a:extLst>
                </p:cNvPr>
                <p:cNvSpPr/>
                <p:nvPr/>
              </p:nvSpPr>
              <p:spPr>
                <a:xfrm>
                  <a:off x="7009886" y="5747195"/>
                  <a:ext cx="26347" cy="26572"/>
                </a:xfrm>
                <a:custGeom>
                  <a:avLst/>
                  <a:gdLst>
                    <a:gd name="connsiteX0" fmla="*/ 95 w 26347"/>
                    <a:gd name="connsiteY0" fmla="*/ 14793 h 26572"/>
                    <a:gd name="connsiteX1" fmla="*/ 11679 w 26347"/>
                    <a:gd name="connsiteY1" fmla="*/ 95 h 26572"/>
                    <a:gd name="connsiteX2" fmla="*/ 26253 w 26347"/>
                    <a:gd name="connsiteY2" fmla="*/ 11803 h 26572"/>
                    <a:gd name="connsiteX3" fmla="*/ 14669 w 26347"/>
                    <a:gd name="connsiteY3" fmla="*/ 26501 h 26572"/>
                    <a:gd name="connsiteX4" fmla="*/ 95 w 26347"/>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7" h="26572">
                      <a:moveTo>
                        <a:pt x="95" y="14793"/>
                      </a:moveTo>
                      <a:cubicBezTo>
                        <a:pt x="-777" y="7568"/>
                        <a:pt x="4455" y="967"/>
                        <a:pt x="11679" y="95"/>
                      </a:cubicBezTo>
                      <a:cubicBezTo>
                        <a:pt x="18903" y="-777"/>
                        <a:pt x="25381" y="4454"/>
                        <a:pt x="26253" y="11803"/>
                      </a:cubicBezTo>
                      <a:cubicBezTo>
                        <a:pt x="27125" y="19028"/>
                        <a:pt x="21893" y="25629"/>
                        <a:pt x="14669" y="26501"/>
                      </a:cubicBezTo>
                      <a:cubicBezTo>
                        <a:pt x="7444" y="27249"/>
                        <a:pt x="967" y="22017"/>
                        <a:pt x="95"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6" name="Graphic 2987">
                <a:extLst>
                  <a:ext uri="{FF2B5EF4-FFF2-40B4-BE49-F238E27FC236}">
                    <a16:creationId xmlns:a16="http://schemas.microsoft.com/office/drawing/2014/main" id="{8C892E68-4802-6D82-ACCF-2D1CD9521874}"/>
                  </a:ext>
                </a:extLst>
              </p:cNvPr>
              <p:cNvGrpSpPr/>
              <p:nvPr/>
            </p:nvGrpSpPr>
            <p:grpSpPr>
              <a:xfrm>
                <a:off x="7025457" y="5622139"/>
                <a:ext cx="40022" cy="148066"/>
                <a:chOff x="7025457" y="5622139"/>
                <a:chExt cx="40022" cy="148066"/>
              </a:xfrm>
              <a:grpFill/>
            </p:grpSpPr>
            <p:sp>
              <p:nvSpPr>
                <p:cNvPr id="4763" name="Freeform 4720">
                  <a:extLst>
                    <a:ext uri="{FF2B5EF4-FFF2-40B4-BE49-F238E27FC236}">
                      <a16:creationId xmlns:a16="http://schemas.microsoft.com/office/drawing/2014/main" id="{6C4CE02F-0037-00A7-C1B0-72C9E816F586}"/>
                    </a:ext>
                  </a:extLst>
                </p:cNvPr>
                <p:cNvSpPr/>
                <p:nvPr/>
              </p:nvSpPr>
              <p:spPr>
                <a:xfrm>
                  <a:off x="7035069" y="5642786"/>
                  <a:ext cx="6959" cy="51940"/>
                </a:xfrm>
                <a:custGeom>
                  <a:avLst/>
                  <a:gdLst>
                    <a:gd name="connsiteX0" fmla="*/ 945 w 6959"/>
                    <a:gd name="connsiteY0" fmla="*/ 0 h 51940"/>
                    <a:gd name="connsiteX1" fmla="*/ 1069 w 6959"/>
                    <a:gd name="connsiteY1" fmla="*/ 18808 h 51940"/>
                    <a:gd name="connsiteX2" fmla="*/ 6301 w 6959"/>
                    <a:gd name="connsiteY2" fmla="*/ 35374 h 51940"/>
                    <a:gd name="connsiteX3" fmla="*/ 5927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0"/>
                      </a:moveTo>
                      <a:cubicBezTo>
                        <a:pt x="-675" y="8221"/>
                        <a:pt x="73" y="14573"/>
                        <a:pt x="1069" y="18808"/>
                      </a:cubicBezTo>
                      <a:cubicBezTo>
                        <a:pt x="2564" y="25659"/>
                        <a:pt x="5055" y="28399"/>
                        <a:pt x="6301" y="35374"/>
                      </a:cubicBezTo>
                      <a:cubicBezTo>
                        <a:pt x="7546" y="42225"/>
                        <a:pt x="6799" y="48079"/>
                        <a:pt x="5927"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4" name="Freeform 4721">
                  <a:extLst>
                    <a:ext uri="{FF2B5EF4-FFF2-40B4-BE49-F238E27FC236}">
                      <a16:creationId xmlns:a16="http://schemas.microsoft.com/office/drawing/2014/main" id="{5A003461-8EE7-CC45-45F6-AAAC364B0CBA}"/>
                    </a:ext>
                  </a:extLst>
                </p:cNvPr>
                <p:cNvSpPr/>
                <p:nvPr/>
              </p:nvSpPr>
              <p:spPr>
                <a:xfrm>
                  <a:off x="7042491" y="5637056"/>
                  <a:ext cx="6476" cy="51691"/>
                </a:xfrm>
                <a:custGeom>
                  <a:avLst/>
                  <a:gdLst>
                    <a:gd name="connsiteX0" fmla="*/ 6476 w 6476"/>
                    <a:gd name="connsiteY0" fmla="*/ 51692 h 51691"/>
                    <a:gd name="connsiteX1" fmla="*/ 2491 w 6476"/>
                    <a:gd name="connsiteY1" fmla="*/ 33382 h 51691"/>
                    <a:gd name="connsiteX2" fmla="*/ 3985 w 6476"/>
                    <a:gd name="connsiteY2" fmla="*/ 16068 h 51691"/>
                    <a:gd name="connsiteX3" fmla="*/ 0 w 6476"/>
                    <a:gd name="connsiteY3" fmla="*/ 0 h 51691"/>
                  </a:gdLst>
                  <a:ahLst/>
                  <a:cxnLst>
                    <a:cxn ang="0">
                      <a:pos x="connsiteX0" y="connsiteY0"/>
                    </a:cxn>
                    <a:cxn ang="0">
                      <a:pos x="connsiteX1" y="connsiteY1"/>
                    </a:cxn>
                    <a:cxn ang="0">
                      <a:pos x="connsiteX2" y="connsiteY2"/>
                    </a:cxn>
                    <a:cxn ang="0">
                      <a:pos x="connsiteX3" y="connsiteY3"/>
                    </a:cxn>
                  </a:cxnLst>
                  <a:rect l="l" t="t" r="r" b="b"/>
                  <a:pathLst>
                    <a:path w="6476" h="51690">
                      <a:moveTo>
                        <a:pt x="6476" y="51692"/>
                      </a:moveTo>
                      <a:cubicBezTo>
                        <a:pt x="3114" y="43969"/>
                        <a:pt x="2491" y="37741"/>
                        <a:pt x="2491" y="33382"/>
                      </a:cubicBezTo>
                      <a:cubicBezTo>
                        <a:pt x="2491" y="26407"/>
                        <a:pt x="4235" y="23043"/>
                        <a:pt x="3985" y="16068"/>
                      </a:cubicBezTo>
                      <a:cubicBezTo>
                        <a:pt x="3737" y="9218"/>
                        <a:pt x="1743"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5" name="Freeform 4722">
                  <a:extLst>
                    <a:ext uri="{FF2B5EF4-FFF2-40B4-BE49-F238E27FC236}">
                      <a16:creationId xmlns:a16="http://schemas.microsoft.com/office/drawing/2014/main" id="{B7593801-ED63-2673-0C50-AACFA37DE7FC}"/>
                    </a:ext>
                  </a:extLst>
                </p:cNvPr>
                <p:cNvSpPr/>
                <p:nvPr/>
              </p:nvSpPr>
              <p:spPr>
                <a:xfrm>
                  <a:off x="7025457" y="5622139"/>
                  <a:ext cx="26694" cy="26471"/>
                </a:xfrm>
                <a:custGeom>
                  <a:avLst/>
                  <a:gdLst>
                    <a:gd name="connsiteX0" fmla="*/ 26624 w 26694"/>
                    <a:gd name="connsiteY0" fmla="*/ 11803 h 26471"/>
                    <a:gd name="connsiteX1" fmla="*/ 14791 w 26694"/>
                    <a:gd name="connsiteY1" fmla="*/ 26376 h 26471"/>
                    <a:gd name="connsiteX2" fmla="*/ 93 w 26694"/>
                    <a:gd name="connsiteY2" fmla="*/ 14793 h 26471"/>
                    <a:gd name="connsiteX3" fmla="*/ 11802 w 26694"/>
                    <a:gd name="connsiteY3" fmla="*/ 95 h 26471"/>
                    <a:gd name="connsiteX4" fmla="*/ 26624 w 26694"/>
                    <a:gd name="connsiteY4" fmla="*/ 11803 h 26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 h="26470">
                      <a:moveTo>
                        <a:pt x="26624" y="11803"/>
                      </a:moveTo>
                      <a:cubicBezTo>
                        <a:pt x="27371" y="19152"/>
                        <a:pt x="22140" y="25504"/>
                        <a:pt x="14791" y="26376"/>
                      </a:cubicBezTo>
                      <a:cubicBezTo>
                        <a:pt x="7442" y="27248"/>
                        <a:pt x="965" y="22017"/>
                        <a:pt x="93" y="14793"/>
                      </a:cubicBezTo>
                      <a:cubicBezTo>
                        <a:pt x="-779" y="7568"/>
                        <a:pt x="4578" y="967"/>
                        <a:pt x="11802" y="95"/>
                      </a:cubicBezTo>
                      <a:cubicBezTo>
                        <a:pt x="19275" y="-777"/>
                        <a:pt x="25877" y="4454"/>
                        <a:pt x="26624" y="118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6" name="Freeform 4723">
                  <a:extLst>
                    <a:ext uri="{FF2B5EF4-FFF2-40B4-BE49-F238E27FC236}">
                      <a16:creationId xmlns:a16="http://schemas.microsoft.com/office/drawing/2014/main" id="{88D03354-A0BE-7B3A-AE0F-F38E445F3ED2}"/>
                    </a:ext>
                  </a:extLst>
                </p:cNvPr>
                <p:cNvSpPr/>
                <p:nvPr/>
              </p:nvSpPr>
              <p:spPr>
                <a:xfrm>
                  <a:off x="7049180" y="5697591"/>
                  <a:ext cx="6959" cy="51940"/>
                </a:xfrm>
                <a:custGeom>
                  <a:avLst/>
                  <a:gdLst>
                    <a:gd name="connsiteX0" fmla="*/ 6015 w 6959"/>
                    <a:gd name="connsiteY0" fmla="*/ 51941 h 51940"/>
                    <a:gd name="connsiteX1" fmla="*/ 5890 w 6959"/>
                    <a:gd name="connsiteY1" fmla="*/ 33132 h 51940"/>
                    <a:gd name="connsiteX2" fmla="*/ 659 w 6959"/>
                    <a:gd name="connsiteY2" fmla="*/ 16566 h 51940"/>
                    <a:gd name="connsiteX3" fmla="*/ 1033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51941"/>
                      </a:moveTo>
                      <a:cubicBezTo>
                        <a:pt x="7634" y="43720"/>
                        <a:pt x="6887" y="37367"/>
                        <a:pt x="5890" y="33132"/>
                      </a:cubicBezTo>
                      <a:cubicBezTo>
                        <a:pt x="4395" y="26281"/>
                        <a:pt x="1905" y="23541"/>
                        <a:pt x="659" y="16566"/>
                      </a:cubicBezTo>
                      <a:cubicBezTo>
                        <a:pt x="-586" y="9715"/>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7" name="Freeform 4724">
                  <a:extLst>
                    <a:ext uri="{FF2B5EF4-FFF2-40B4-BE49-F238E27FC236}">
                      <a16:creationId xmlns:a16="http://schemas.microsoft.com/office/drawing/2014/main" id="{91D8083D-E23F-DD7E-8AC2-ED6B94F7ED42}"/>
                    </a:ext>
                  </a:extLst>
                </p:cNvPr>
                <p:cNvSpPr/>
                <p:nvPr/>
              </p:nvSpPr>
              <p:spPr>
                <a:xfrm>
                  <a:off x="7042366" y="5703694"/>
                  <a:ext cx="6476" cy="51691"/>
                </a:xfrm>
                <a:custGeom>
                  <a:avLst/>
                  <a:gdLst>
                    <a:gd name="connsiteX0" fmla="*/ 0 w 6476"/>
                    <a:gd name="connsiteY0" fmla="*/ 0 h 51691"/>
                    <a:gd name="connsiteX1" fmla="*/ 3986 w 6476"/>
                    <a:gd name="connsiteY1" fmla="*/ 18310 h 51691"/>
                    <a:gd name="connsiteX2" fmla="*/ 2491 w 6476"/>
                    <a:gd name="connsiteY2" fmla="*/ 35624 h 51691"/>
                    <a:gd name="connsiteX3" fmla="*/ 6476 w 6476"/>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476" h="51690">
                      <a:moveTo>
                        <a:pt x="0" y="0"/>
                      </a:moveTo>
                      <a:cubicBezTo>
                        <a:pt x="3363" y="7723"/>
                        <a:pt x="3986" y="13950"/>
                        <a:pt x="3986" y="18310"/>
                      </a:cubicBezTo>
                      <a:cubicBezTo>
                        <a:pt x="3986" y="25285"/>
                        <a:pt x="2242" y="28524"/>
                        <a:pt x="2491" y="35624"/>
                      </a:cubicBezTo>
                      <a:cubicBezTo>
                        <a:pt x="2740" y="42474"/>
                        <a:pt x="4733" y="48079"/>
                        <a:pt x="6476"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8" name="Freeform 4725">
                  <a:extLst>
                    <a:ext uri="{FF2B5EF4-FFF2-40B4-BE49-F238E27FC236}">
                      <a16:creationId xmlns:a16="http://schemas.microsoft.com/office/drawing/2014/main" id="{F66D4BA2-01B0-927D-A643-2B286BE7F9C7}"/>
                    </a:ext>
                  </a:extLst>
                </p:cNvPr>
                <p:cNvSpPr/>
                <p:nvPr/>
              </p:nvSpPr>
              <p:spPr>
                <a:xfrm>
                  <a:off x="7039157" y="5743709"/>
                  <a:ext cx="26322" cy="26496"/>
                </a:xfrm>
                <a:custGeom>
                  <a:avLst/>
                  <a:gdLst>
                    <a:gd name="connsiteX0" fmla="*/ 95 w 26322"/>
                    <a:gd name="connsiteY0" fmla="*/ 14791 h 26496"/>
                    <a:gd name="connsiteX1" fmla="*/ 11679 w 26322"/>
                    <a:gd name="connsiteY1" fmla="*/ 93 h 26496"/>
                    <a:gd name="connsiteX2" fmla="*/ 26252 w 26322"/>
                    <a:gd name="connsiteY2" fmla="*/ 11802 h 26496"/>
                    <a:gd name="connsiteX3" fmla="*/ 14668 w 26322"/>
                    <a:gd name="connsiteY3" fmla="*/ 26375 h 26496"/>
                    <a:gd name="connsiteX4" fmla="*/ 95 w 26322"/>
                    <a:gd name="connsiteY4" fmla="*/ 14791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2" h="26495">
                      <a:moveTo>
                        <a:pt x="95" y="14791"/>
                      </a:moveTo>
                      <a:cubicBezTo>
                        <a:pt x="-777" y="7567"/>
                        <a:pt x="4454" y="965"/>
                        <a:pt x="11679" y="93"/>
                      </a:cubicBezTo>
                      <a:cubicBezTo>
                        <a:pt x="18903" y="-779"/>
                        <a:pt x="25380" y="4577"/>
                        <a:pt x="26252" y="11802"/>
                      </a:cubicBezTo>
                      <a:cubicBezTo>
                        <a:pt x="26999" y="19150"/>
                        <a:pt x="21768" y="25503"/>
                        <a:pt x="14668" y="26375"/>
                      </a:cubicBezTo>
                      <a:cubicBezTo>
                        <a:pt x="7443" y="27371"/>
                        <a:pt x="842" y="22140"/>
                        <a:pt x="95" y="1479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7" name="Graphic 2987">
                <a:extLst>
                  <a:ext uri="{FF2B5EF4-FFF2-40B4-BE49-F238E27FC236}">
                    <a16:creationId xmlns:a16="http://schemas.microsoft.com/office/drawing/2014/main" id="{2E5B2C83-CD65-C102-320E-4F2116304CDB}"/>
                  </a:ext>
                </a:extLst>
              </p:cNvPr>
              <p:cNvGrpSpPr/>
              <p:nvPr/>
            </p:nvGrpSpPr>
            <p:grpSpPr>
              <a:xfrm>
                <a:off x="7055124" y="5618926"/>
                <a:ext cx="39751" cy="148239"/>
                <a:chOff x="7055124" y="5618926"/>
                <a:chExt cx="39751" cy="148239"/>
              </a:xfrm>
              <a:grpFill/>
            </p:grpSpPr>
            <p:sp>
              <p:nvSpPr>
                <p:cNvPr id="4757" name="Freeform 4727">
                  <a:extLst>
                    <a:ext uri="{FF2B5EF4-FFF2-40B4-BE49-F238E27FC236}">
                      <a16:creationId xmlns:a16="http://schemas.microsoft.com/office/drawing/2014/main" id="{898850AF-5AA9-0D71-C811-3E030887E9D2}"/>
                    </a:ext>
                  </a:extLst>
                </p:cNvPr>
                <p:cNvSpPr/>
                <p:nvPr/>
              </p:nvSpPr>
              <p:spPr>
                <a:xfrm>
                  <a:off x="7064704" y="5639672"/>
                  <a:ext cx="6844" cy="51940"/>
                </a:xfrm>
                <a:custGeom>
                  <a:avLst/>
                  <a:gdLst>
                    <a:gd name="connsiteX0" fmla="*/ 954 w 6844"/>
                    <a:gd name="connsiteY0" fmla="*/ 0 h 51940"/>
                    <a:gd name="connsiteX1" fmla="*/ 954 w 6844"/>
                    <a:gd name="connsiteY1" fmla="*/ 18808 h 51940"/>
                    <a:gd name="connsiteX2" fmla="*/ 6186 w 6844"/>
                    <a:gd name="connsiteY2" fmla="*/ 35499 h 51940"/>
                    <a:gd name="connsiteX3" fmla="*/ 5812 w 684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43" h="51940">
                      <a:moveTo>
                        <a:pt x="954" y="0"/>
                      </a:moveTo>
                      <a:cubicBezTo>
                        <a:pt x="-665" y="8221"/>
                        <a:pt x="82" y="14573"/>
                        <a:pt x="954" y="18808"/>
                      </a:cubicBezTo>
                      <a:cubicBezTo>
                        <a:pt x="2449" y="25659"/>
                        <a:pt x="4940" y="28399"/>
                        <a:pt x="6186" y="35499"/>
                      </a:cubicBezTo>
                      <a:cubicBezTo>
                        <a:pt x="7432" y="42350"/>
                        <a:pt x="6684" y="48079"/>
                        <a:pt x="581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8" name="Freeform 4728">
                  <a:extLst>
                    <a:ext uri="{FF2B5EF4-FFF2-40B4-BE49-F238E27FC236}">
                      <a16:creationId xmlns:a16="http://schemas.microsoft.com/office/drawing/2014/main" id="{9E8AFDB2-427D-89B1-B717-9E67A2BD204A}"/>
                    </a:ext>
                  </a:extLst>
                </p:cNvPr>
                <p:cNvSpPr/>
                <p:nvPr/>
              </p:nvSpPr>
              <p:spPr>
                <a:xfrm>
                  <a:off x="7072136" y="5633818"/>
                  <a:ext cx="6227" cy="51816"/>
                </a:xfrm>
                <a:custGeom>
                  <a:avLst/>
                  <a:gdLst>
                    <a:gd name="connsiteX0" fmla="*/ 6228 w 6227"/>
                    <a:gd name="connsiteY0" fmla="*/ 51816 h 51816"/>
                    <a:gd name="connsiteX1" fmla="*/ 2242 w 6227"/>
                    <a:gd name="connsiteY1" fmla="*/ 33381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1"/>
                      </a:cubicBezTo>
                      <a:cubicBezTo>
                        <a:pt x="2242"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9" name="Freeform 4729">
                  <a:extLst>
                    <a:ext uri="{FF2B5EF4-FFF2-40B4-BE49-F238E27FC236}">
                      <a16:creationId xmlns:a16="http://schemas.microsoft.com/office/drawing/2014/main" id="{6610DD6C-FBD5-9C7A-6CE2-BAFF9B50B8C1}"/>
                    </a:ext>
                  </a:extLst>
                </p:cNvPr>
                <p:cNvSpPr/>
                <p:nvPr/>
              </p:nvSpPr>
              <p:spPr>
                <a:xfrm>
                  <a:off x="7055124" y="5618926"/>
                  <a:ext cx="26672" cy="26546"/>
                </a:xfrm>
                <a:custGeom>
                  <a:avLst/>
                  <a:gdLst>
                    <a:gd name="connsiteX0" fmla="*/ 26602 w 26672"/>
                    <a:gd name="connsiteY0" fmla="*/ 11902 h 26546"/>
                    <a:gd name="connsiteX1" fmla="*/ 14769 w 26672"/>
                    <a:gd name="connsiteY1" fmla="*/ 26476 h 26546"/>
                    <a:gd name="connsiteX2" fmla="*/ 71 w 26672"/>
                    <a:gd name="connsiteY2" fmla="*/ 14643 h 26546"/>
                    <a:gd name="connsiteX3" fmla="*/ 11904 w 26672"/>
                    <a:gd name="connsiteY3" fmla="*/ 70 h 26546"/>
                    <a:gd name="connsiteX4" fmla="*/ 26602 w 26672"/>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5">
                      <a:moveTo>
                        <a:pt x="26602" y="11902"/>
                      </a:moveTo>
                      <a:cubicBezTo>
                        <a:pt x="27349" y="19127"/>
                        <a:pt x="22118" y="25728"/>
                        <a:pt x="14769" y="26476"/>
                      </a:cubicBezTo>
                      <a:cubicBezTo>
                        <a:pt x="7420" y="27223"/>
                        <a:pt x="943" y="21992"/>
                        <a:pt x="71" y="14643"/>
                      </a:cubicBezTo>
                      <a:cubicBezTo>
                        <a:pt x="-676" y="7418"/>
                        <a:pt x="4556" y="817"/>
                        <a:pt x="11904" y="70"/>
                      </a:cubicBezTo>
                      <a:cubicBezTo>
                        <a:pt x="19253" y="-678"/>
                        <a:pt x="25855" y="4678"/>
                        <a:pt x="26602"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0" name="Freeform 4730">
                  <a:extLst>
                    <a:ext uri="{FF2B5EF4-FFF2-40B4-BE49-F238E27FC236}">
                      <a16:creationId xmlns:a16="http://schemas.microsoft.com/office/drawing/2014/main" id="{B00C47AE-76CE-F404-8B2D-B58612D217EB}"/>
                    </a:ext>
                  </a:extLst>
                </p:cNvPr>
                <p:cNvSpPr/>
                <p:nvPr/>
              </p:nvSpPr>
              <p:spPr>
                <a:xfrm>
                  <a:off x="7078576" y="5694602"/>
                  <a:ext cx="6845" cy="51940"/>
                </a:xfrm>
                <a:custGeom>
                  <a:avLst/>
                  <a:gdLst>
                    <a:gd name="connsiteX0" fmla="*/ 5891 w 6845"/>
                    <a:gd name="connsiteY0" fmla="*/ 51940 h 51940"/>
                    <a:gd name="connsiteX1" fmla="*/ 5891 w 6845"/>
                    <a:gd name="connsiteY1" fmla="*/ 33132 h 51940"/>
                    <a:gd name="connsiteX2" fmla="*/ 659 w 6845"/>
                    <a:gd name="connsiteY2" fmla="*/ 16441 h 51940"/>
                    <a:gd name="connsiteX3" fmla="*/ 1033 w 6845"/>
                    <a:gd name="connsiteY3" fmla="*/ 0 h 51940"/>
                  </a:gdLst>
                  <a:ahLst/>
                  <a:cxnLst>
                    <a:cxn ang="0">
                      <a:pos x="connsiteX0" y="connsiteY0"/>
                    </a:cxn>
                    <a:cxn ang="0">
                      <a:pos x="connsiteX1" y="connsiteY1"/>
                    </a:cxn>
                    <a:cxn ang="0">
                      <a:pos x="connsiteX2" y="connsiteY2"/>
                    </a:cxn>
                    <a:cxn ang="0">
                      <a:pos x="connsiteX3" y="connsiteY3"/>
                    </a:cxn>
                  </a:cxnLst>
                  <a:rect l="l" t="t" r="r" b="b"/>
                  <a:pathLst>
                    <a:path w="6845" h="51940">
                      <a:moveTo>
                        <a:pt x="5891" y="51940"/>
                      </a:moveTo>
                      <a:cubicBezTo>
                        <a:pt x="7510" y="43719"/>
                        <a:pt x="6763" y="37367"/>
                        <a:pt x="5891" y="33132"/>
                      </a:cubicBezTo>
                      <a:cubicBezTo>
                        <a:pt x="4396" y="26281"/>
                        <a:pt x="1905" y="23541"/>
                        <a:pt x="659" y="16441"/>
                      </a:cubicBezTo>
                      <a:cubicBezTo>
                        <a:pt x="-586" y="9591"/>
                        <a:pt x="161" y="3861"/>
                        <a:pt x="10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1" name="Freeform 4731">
                  <a:extLst>
                    <a:ext uri="{FF2B5EF4-FFF2-40B4-BE49-F238E27FC236}">
                      <a16:creationId xmlns:a16="http://schemas.microsoft.com/office/drawing/2014/main" id="{51E6F195-7EF9-5E8E-6746-A165C2F81B30}"/>
                    </a:ext>
                  </a:extLst>
                </p:cNvPr>
                <p:cNvSpPr/>
                <p:nvPr/>
              </p:nvSpPr>
              <p:spPr>
                <a:xfrm>
                  <a:off x="7071762" y="5700456"/>
                  <a:ext cx="6352" cy="51815"/>
                </a:xfrm>
                <a:custGeom>
                  <a:avLst/>
                  <a:gdLst>
                    <a:gd name="connsiteX0" fmla="*/ 0 w 6352"/>
                    <a:gd name="connsiteY0" fmla="*/ 0 h 51815"/>
                    <a:gd name="connsiteX1" fmla="*/ 3986 w 6352"/>
                    <a:gd name="connsiteY1" fmla="*/ 18434 h 51815"/>
                    <a:gd name="connsiteX2" fmla="*/ 2491 w 6352"/>
                    <a:gd name="connsiteY2" fmla="*/ 35748 h 51815"/>
                    <a:gd name="connsiteX3" fmla="*/ 6353 w 6352"/>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352" h="51815">
                      <a:moveTo>
                        <a:pt x="0" y="0"/>
                      </a:moveTo>
                      <a:cubicBezTo>
                        <a:pt x="3363" y="7723"/>
                        <a:pt x="3986" y="14075"/>
                        <a:pt x="3986" y="18434"/>
                      </a:cubicBezTo>
                      <a:cubicBezTo>
                        <a:pt x="3986" y="25409"/>
                        <a:pt x="2117" y="28648"/>
                        <a:pt x="2491" y="35748"/>
                      </a:cubicBezTo>
                      <a:cubicBezTo>
                        <a:pt x="2740" y="42599"/>
                        <a:pt x="4733" y="48204"/>
                        <a:pt x="635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62" name="Freeform 4732">
                  <a:extLst>
                    <a:ext uri="{FF2B5EF4-FFF2-40B4-BE49-F238E27FC236}">
                      <a16:creationId xmlns:a16="http://schemas.microsoft.com/office/drawing/2014/main" id="{FE405B00-03FE-B2C8-8FA7-882690D54D8A}"/>
                    </a:ext>
                  </a:extLst>
                </p:cNvPr>
                <p:cNvSpPr/>
                <p:nvPr/>
              </p:nvSpPr>
              <p:spPr>
                <a:xfrm>
                  <a:off x="7068452" y="5740618"/>
                  <a:ext cx="26423" cy="26546"/>
                </a:xfrm>
                <a:custGeom>
                  <a:avLst/>
                  <a:gdLst>
                    <a:gd name="connsiteX0" fmla="*/ 71 w 26423"/>
                    <a:gd name="connsiteY0" fmla="*/ 14643 h 26546"/>
                    <a:gd name="connsiteX1" fmla="*/ 11780 w 26423"/>
                    <a:gd name="connsiteY1" fmla="*/ 70 h 26546"/>
                    <a:gd name="connsiteX2" fmla="*/ 26353 w 26423"/>
                    <a:gd name="connsiteY2" fmla="*/ 11903 h 26546"/>
                    <a:gd name="connsiteX3" fmla="*/ 14644 w 26423"/>
                    <a:gd name="connsiteY3" fmla="*/ 26476 h 26546"/>
                    <a:gd name="connsiteX4" fmla="*/ 71 w 26423"/>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3" h="26545">
                      <a:moveTo>
                        <a:pt x="71" y="14643"/>
                      </a:moveTo>
                      <a:cubicBezTo>
                        <a:pt x="-676" y="7418"/>
                        <a:pt x="4555" y="817"/>
                        <a:pt x="11780" y="70"/>
                      </a:cubicBezTo>
                      <a:cubicBezTo>
                        <a:pt x="19004" y="-678"/>
                        <a:pt x="25481" y="4678"/>
                        <a:pt x="26353" y="11903"/>
                      </a:cubicBezTo>
                      <a:cubicBezTo>
                        <a:pt x="27100" y="19127"/>
                        <a:pt x="21869" y="25728"/>
                        <a:pt x="14644" y="26476"/>
                      </a:cubicBezTo>
                      <a:cubicBezTo>
                        <a:pt x="7296" y="27223"/>
                        <a:pt x="818" y="21992"/>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8" name="Graphic 2987">
                <a:extLst>
                  <a:ext uri="{FF2B5EF4-FFF2-40B4-BE49-F238E27FC236}">
                    <a16:creationId xmlns:a16="http://schemas.microsoft.com/office/drawing/2014/main" id="{E4D42F23-42A1-79CE-8379-DAC4122C1F53}"/>
                  </a:ext>
                </a:extLst>
              </p:cNvPr>
              <p:cNvGrpSpPr/>
              <p:nvPr/>
            </p:nvGrpSpPr>
            <p:grpSpPr>
              <a:xfrm>
                <a:off x="7084769" y="5615935"/>
                <a:ext cx="39253" cy="148239"/>
                <a:chOff x="7084769" y="5615935"/>
                <a:chExt cx="39253" cy="148239"/>
              </a:xfrm>
              <a:grpFill/>
            </p:grpSpPr>
            <p:sp>
              <p:nvSpPr>
                <p:cNvPr id="4751" name="Freeform 4734">
                  <a:extLst>
                    <a:ext uri="{FF2B5EF4-FFF2-40B4-BE49-F238E27FC236}">
                      <a16:creationId xmlns:a16="http://schemas.microsoft.com/office/drawing/2014/main" id="{B351E727-B3C9-CB60-4637-C636E0724616}"/>
                    </a:ext>
                  </a:extLst>
                </p:cNvPr>
                <p:cNvSpPr/>
                <p:nvPr/>
              </p:nvSpPr>
              <p:spPr>
                <a:xfrm>
                  <a:off x="7094184" y="5636558"/>
                  <a:ext cx="6852" cy="51940"/>
                </a:xfrm>
                <a:custGeom>
                  <a:avLst/>
                  <a:gdLst>
                    <a:gd name="connsiteX0" fmla="*/ 995 w 6852"/>
                    <a:gd name="connsiteY0" fmla="*/ 0 h 51940"/>
                    <a:gd name="connsiteX1" fmla="*/ 995 w 6852"/>
                    <a:gd name="connsiteY1" fmla="*/ 18808 h 51940"/>
                    <a:gd name="connsiteX2" fmla="*/ 6226 w 6852"/>
                    <a:gd name="connsiteY2" fmla="*/ 35499 h 51940"/>
                    <a:gd name="connsiteX3" fmla="*/ 5852 w 685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851" h="51940">
                      <a:moveTo>
                        <a:pt x="995" y="0"/>
                      </a:moveTo>
                      <a:cubicBezTo>
                        <a:pt x="-625" y="8221"/>
                        <a:pt x="-2" y="14573"/>
                        <a:pt x="995" y="18808"/>
                      </a:cubicBezTo>
                      <a:cubicBezTo>
                        <a:pt x="2489" y="25659"/>
                        <a:pt x="4980" y="28399"/>
                        <a:pt x="6226" y="35499"/>
                      </a:cubicBezTo>
                      <a:cubicBezTo>
                        <a:pt x="7472" y="42350"/>
                        <a:pt x="6600" y="48079"/>
                        <a:pt x="5852"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2" name="Freeform 4735">
                  <a:extLst>
                    <a:ext uri="{FF2B5EF4-FFF2-40B4-BE49-F238E27FC236}">
                      <a16:creationId xmlns:a16="http://schemas.microsoft.com/office/drawing/2014/main" id="{76A09D9D-E093-F15D-715C-94ACA17D0514}"/>
                    </a:ext>
                  </a:extLst>
                </p:cNvPr>
                <p:cNvSpPr/>
                <p:nvPr/>
              </p:nvSpPr>
              <p:spPr>
                <a:xfrm>
                  <a:off x="7101531" y="5630828"/>
                  <a:ext cx="6227" cy="51816"/>
                </a:xfrm>
                <a:custGeom>
                  <a:avLst/>
                  <a:gdLst>
                    <a:gd name="connsiteX0" fmla="*/ 6228 w 6227"/>
                    <a:gd name="connsiteY0" fmla="*/ 51816 h 51816"/>
                    <a:gd name="connsiteX1" fmla="*/ 2242 w 6227"/>
                    <a:gd name="connsiteY1" fmla="*/ 33382 h 51816"/>
                    <a:gd name="connsiteX2" fmla="*/ 3861 w 6227"/>
                    <a:gd name="connsiteY2" fmla="*/ 16068 h 51816"/>
                    <a:gd name="connsiteX3" fmla="*/ 0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51816"/>
                      </a:moveTo>
                      <a:cubicBezTo>
                        <a:pt x="2865" y="44094"/>
                        <a:pt x="2242" y="37741"/>
                        <a:pt x="2242" y="33382"/>
                      </a:cubicBezTo>
                      <a:cubicBezTo>
                        <a:pt x="2242" y="26407"/>
                        <a:pt x="4110" y="23168"/>
                        <a:pt x="3861"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3" name="Freeform 4736">
                  <a:extLst>
                    <a:ext uri="{FF2B5EF4-FFF2-40B4-BE49-F238E27FC236}">
                      <a16:creationId xmlns:a16="http://schemas.microsoft.com/office/drawing/2014/main" id="{79065BA3-7337-FBE2-13D6-438FF62C1772}"/>
                    </a:ext>
                  </a:extLst>
                </p:cNvPr>
                <p:cNvSpPr/>
                <p:nvPr/>
              </p:nvSpPr>
              <p:spPr>
                <a:xfrm>
                  <a:off x="7084769" y="5615935"/>
                  <a:ext cx="26548" cy="26548"/>
                </a:xfrm>
                <a:custGeom>
                  <a:avLst/>
                  <a:gdLst>
                    <a:gd name="connsiteX0" fmla="*/ 26477 w 26548"/>
                    <a:gd name="connsiteY0" fmla="*/ 11904 h 26548"/>
                    <a:gd name="connsiteX1" fmla="*/ 14644 w 26548"/>
                    <a:gd name="connsiteY1" fmla="*/ 26477 h 26548"/>
                    <a:gd name="connsiteX2" fmla="*/ 71 w 26548"/>
                    <a:gd name="connsiteY2" fmla="*/ 14644 h 26548"/>
                    <a:gd name="connsiteX3" fmla="*/ 11904 w 26548"/>
                    <a:gd name="connsiteY3" fmla="*/ 71 h 26548"/>
                    <a:gd name="connsiteX4" fmla="*/ 26477 w 26548"/>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8" h="26548">
                      <a:moveTo>
                        <a:pt x="26477" y="11904"/>
                      </a:moveTo>
                      <a:cubicBezTo>
                        <a:pt x="27225" y="19128"/>
                        <a:pt x="21993" y="25730"/>
                        <a:pt x="14644" y="26477"/>
                      </a:cubicBezTo>
                      <a:cubicBezTo>
                        <a:pt x="7296" y="27225"/>
                        <a:pt x="818" y="21993"/>
                        <a:pt x="71" y="14644"/>
                      </a:cubicBezTo>
                      <a:cubicBezTo>
                        <a:pt x="-676" y="7420"/>
                        <a:pt x="4555" y="818"/>
                        <a:pt x="11904" y="71"/>
                      </a:cubicBezTo>
                      <a:cubicBezTo>
                        <a:pt x="19253" y="-677"/>
                        <a:pt x="25730" y="4555"/>
                        <a:pt x="26477"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4" name="Freeform 4737">
                  <a:extLst>
                    <a:ext uri="{FF2B5EF4-FFF2-40B4-BE49-F238E27FC236}">
                      <a16:creationId xmlns:a16="http://schemas.microsoft.com/office/drawing/2014/main" id="{7A36A312-E79B-7E31-8894-C1E3FF33E2D7}"/>
                    </a:ext>
                  </a:extLst>
                </p:cNvPr>
                <p:cNvSpPr/>
                <p:nvPr/>
              </p:nvSpPr>
              <p:spPr>
                <a:xfrm>
                  <a:off x="7107879" y="5691612"/>
                  <a:ext cx="6812" cy="51940"/>
                </a:xfrm>
                <a:custGeom>
                  <a:avLst/>
                  <a:gdLst>
                    <a:gd name="connsiteX0" fmla="*/ 5858 w 6812"/>
                    <a:gd name="connsiteY0" fmla="*/ 51941 h 51940"/>
                    <a:gd name="connsiteX1" fmla="*/ 5858 w 6812"/>
                    <a:gd name="connsiteY1" fmla="*/ 33132 h 51940"/>
                    <a:gd name="connsiteX2" fmla="*/ 627 w 6812"/>
                    <a:gd name="connsiteY2" fmla="*/ 16442 h 51940"/>
                    <a:gd name="connsiteX3" fmla="*/ 1000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51941"/>
                      </a:moveTo>
                      <a:cubicBezTo>
                        <a:pt x="7477" y="43720"/>
                        <a:pt x="6730" y="37367"/>
                        <a:pt x="5858" y="33132"/>
                      </a:cubicBezTo>
                      <a:cubicBezTo>
                        <a:pt x="4364" y="26282"/>
                        <a:pt x="1872" y="23542"/>
                        <a:pt x="627" y="16442"/>
                      </a:cubicBezTo>
                      <a:cubicBezTo>
                        <a:pt x="-619" y="9591"/>
                        <a:pt x="253" y="3737"/>
                        <a:pt x="10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5" name="Freeform 4738">
                  <a:extLst>
                    <a:ext uri="{FF2B5EF4-FFF2-40B4-BE49-F238E27FC236}">
                      <a16:creationId xmlns:a16="http://schemas.microsoft.com/office/drawing/2014/main" id="{B3672193-6ED6-A42D-B56D-DF0D59D3D6C0}"/>
                    </a:ext>
                  </a:extLst>
                </p:cNvPr>
                <p:cNvSpPr/>
                <p:nvPr/>
              </p:nvSpPr>
              <p:spPr>
                <a:xfrm>
                  <a:off x="7101157" y="5697467"/>
                  <a:ext cx="6227" cy="51816"/>
                </a:xfrm>
                <a:custGeom>
                  <a:avLst/>
                  <a:gdLst>
                    <a:gd name="connsiteX0" fmla="*/ 0 w 6227"/>
                    <a:gd name="connsiteY0" fmla="*/ 0 h 51816"/>
                    <a:gd name="connsiteX1" fmla="*/ 3986 w 6227"/>
                    <a:gd name="connsiteY1" fmla="*/ 18435 h 51816"/>
                    <a:gd name="connsiteX2" fmla="*/ 2367 w 6227"/>
                    <a:gd name="connsiteY2" fmla="*/ 35748 h 51816"/>
                    <a:gd name="connsiteX3" fmla="*/ 6228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0" y="0"/>
                      </a:moveTo>
                      <a:cubicBezTo>
                        <a:pt x="3363" y="7723"/>
                        <a:pt x="3986" y="14075"/>
                        <a:pt x="3986" y="18435"/>
                      </a:cubicBezTo>
                      <a:cubicBezTo>
                        <a:pt x="3986" y="25410"/>
                        <a:pt x="2118" y="28648"/>
                        <a:pt x="2367" y="35748"/>
                      </a:cubicBezTo>
                      <a:cubicBezTo>
                        <a:pt x="2616" y="42599"/>
                        <a:pt x="4609" y="48204"/>
                        <a:pt x="622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6" name="Freeform 4739">
                  <a:extLst>
                    <a:ext uri="{FF2B5EF4-FFF2-40B4-BE49-F238E27FC236}">
                      <a16:creationId xmlns:a16="http://schemas.microsoft.com/office/drawing/2014/main" id="{5628CFE8-EDB9-D4DC-CAC8-47D5F791A49F}"/>
                    </a:ext>
                  </a:extLst>
                </p:cNvPr>
                <p:cNvSpPr/>
                <p:nvPr/>
              </p:nvSpPr>
              <p:spPr>
                <a:xfrm>
                  <a:off x="7097723" y="5737629"/>
                  <a:ext cx="26298" cy="26545"/>
                </a:xfrm>
                <a:custGeom>
                  <a:avLst/>
                  <a:gdLst>
                    <a:gd name="connsiteX0" fmla="*/ 71 w 26298"/>
                    <a:gd name="connsiteY0" fmla="*/ 14643 h 26545"/>
                    <a:gd name="connsiteX1" fmla="*/ 11780 w 26298"/>
                    <a:gd name="connsiteY1" fmla="*/ 70 h 26545"/>
                    <a:gd name="connsiteX2" fmla="*/ 26228 w 26298"/>
                    <a:gd name="connsiteY2" fmla="*/ 11903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3" y="-678"/>
                        <a:pt x="25481" y="4678"/>
                        <a:pt x="26228" y="11903"/>
                      </a:cubicBezTo>
                      <a:cubicBezTo>
                        <a:pt x="26975" y="19127"/>
                        <a:pt x="21744" y="25728"/>
                        <a:pt x="14519" y="26476"/>
                      </a:cubicBezTo>
                      <a:cubicBezTo>
                        <a:pt x="7295"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29" name="Graphic 2987">
                <a:extLst>
                  <a:ext uri="{FF2B5EF4-FFF2-40B4-BE49-F238E27FC236}">
                    <a16:creationId xmlns:a16="http://schemas.microsoft.com/office/drawing/2014/main" id="{6C981F73-E2A1-C6EB-BD4B-810C9A646395}"/>
                  </a:ext>
                </a:extLst>
              </p:cNvPr>
              <p:cNvGrpSpPr/>
              <p:nvPr/>
            </p:nvGrpSpPr>
            <p:grpSpPr>
              <a:xfrm>
                <a:off x="7114415" y="5612822"/>
                <a:ext cx="38877" cy="148362"/>
                <a:chOff x="7114415" y="5612822"/>
                <a:chExt cx="38877" cy="148362"/>
              </a:xfrm>
              <a:grpFill/>
            </p:grpSpPr>
            <p:sp>
              <p:nvSpPr>
                <p:cNvPr id="4745" name="Freeform 4741">
                  <a:extLst>
                    <a:ext uri="{FF2B5EF4-FFF2-40B4-BE49-F238E27FC236}">
                      <a16:creationId xmlns:a16="http://schemas.microsoft.com/office/drawing/2014/main" id="{C18E7554-E35C-5BB4-6F37-DDE9D4F802CB}"/>
                    </a:ext>
                  </a:extLst>
                </p:cNvPr>
                <p:cNvSpPr/>
                <p:nvPr/>
              </p:nvSpPr>
              <p:spPr>
                <a:xfrm>
                  <a:off x="7123704" y="5633568"/>
                  <a:ext cx="6722" cy="51940"/>
                </a:xfrm>
                <a:custGeom>
                  <a:avLst/>
                  <a:gdLst>
                    <a:gd name="connsiteX0" fmla="*/ 995 w 6722"/>
                    <a:gd name="connsiteY0" fmla="*/ 0 h 51940"/>
                    <a:gd name="connsiteX1" fmla="*/ 995 w 6722"/>
                    <a:gd name="connsiteY1" fmla="*/ 18808 h 51940"/>
                    <a:gd name="connsiteX2" fmla="*/ 6101 w 6722"/>
                    <a:gd name="connsiteY2" fmla="*/ 35499 h 51940"/>
                    <a:gd name="connsiteX3" fmla="*/ 5603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995" y="0"/>
                      </a:moveTo>
                      <a:cubicBezTo>
                        <a:pt x="-625" y="8221"/>
                        <a:pt x="-2" y="14573"/>
                        <a:pt x="995" y="18808"/>
                      </a:cubicBezTo>
                      <a:cubicBezTo>
                        <a:pt x="2489" y="25659"/>
                        <a:pt x="4980" y="28399"/>
                        <a:pt x="6101" y="35499"/>
                      </a:cubicBezTo>
                      <a:cubicBezTo>
                        <a:pt x="7347" y="42350"/>
                        <a:pt x="6475" y="48204"/>
                        <a:pt x="560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6" name="Freeform 4742">
                  <a:extLst>
                    <a:ext uri="{FF2B5EF4-FFF2-40B4-BE49-F238E27FC236}">
                      <a16:creationId xmlns:a16="http://schemas.microsoft.com/office/drawing/2014/main" id="{D5BF9381-5237-D4F0-4303-A07FB18CA5E5}"/>
                    </a:ext>
                  </a:extLst>
                </p:cNvPr>
                <p:cNvSpPr/>
                <p:nvPr/>
              </p:nvSpPr>
              <p:spPr>
                <a:xfrm>
                  <a:off x="7131176" y="5627839"/>
                  <a:ext cx="6103" cy="51816"/>
                </a:xfrm>
                <a:custGeom>
                  <a:avLst/>
                  <a:gdLst>
                    <a:gd name="connsiteX0" fmla="*/ 6103 w 6103"/>
                    <a:gd name="connsiteY0" fmla="*/ 51816 h 51816"/>
                    <a:gd name="connsiteX1" fmla="*/ 2242 w 6103"/>
                    <a:gd name="connsiteY1" fmla="*/ 33381 h 51816"/>
                    <a:gd name="connsiteX2" fmla="*/ 3861 w 6103"/>
                    <a:gd name="connsiteY2" fmla="*/ 16068 h 51816"/>
                    <a:gd name="connsiteX3" fmla="*/ 0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51816"/>
                      </a:moveTo>
                      <a:cubicBezTo>
                        <a:pt x="2865" y="44094"/>
                        <a:pt x="2242" y="37741"/>
                        <a:pt x="2242" y="33381"/>
                      </a:cubicBezTo>
                      <a:cubicBezTo>
                        <a:pt x="2367" y="26406"/>
                        <a:pt x="4110" y="23168"/>
                        <a:pt x="3861"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7" name="Freeform 4743">
                  <a:extLst>
                    <a:ext uri="{FF2B5EF4-FFF2-40B4-BE49-F238E27FC236}">
                      <a16:creationId xmlns:a16="http://schemas.microsoft.com/office/drawing/2014/main" id="{5DDD8D29-1C20-285C-B204-3C6CBC50FCE5}"/>
                    </a:ext>
                  </a:extLst>
                </p:cNvPr>
                <p:cNvSpPr/>
                <p:nvPr/>
              </p:nvSpPr>
              <p:spPr>
                <a:xfrm>
                  <a:off x="7114415" y="5612822"/>
                  <a:ext cx="26545" cy="26546"/>
                </a:xfrm>
                <a:custGeom>
                  <a:avLst/>
                  <a:gdLst>
                    <a:gd name="connsiteX0" fmla="*/ 26476 w 26545"/>
                    <a:gd name="connsiteY0" fmla="*/ 11902 h 26546"/>
                    <a:gd name="connsiteX1" fmla="*/ 14643 w 26545"/>
                    <a:gd name="connsiteY1" fmla="*/ 26476 h 26546"/>
                    <a:gd name="connsiteX2" fmla="*/ 70 w 26545"/>
                    <a:gd name="connsiteY2" fmla="*/ 14643 h 26546"/>
                    <a:gd name="connsiteX3" fmla="*/ 11903 w 26545"/>
                    <a:gd name="connsiteY3" fmla="*/ 70 h 26546"/>
                    <a:gd name="connsiteX4" fmla="*/ 26476 w 26545"/>
                    <a:gd name="connsiteY4" fmla="*/ 1190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476" y="11902"/>
                      </a:moveTo>
                      <a:cubicBezTo>
                        <a:pt x="27223" y="19127"/>
                        <a:pt x="21867" y="25729"/>
                        <a:pt x="14643" y="26476"/>
                      </a:cubicBezTo>
                      <a:cubicBezTo>
                        <a:pt x="7294" y="27223"/>
                        <a:pt x="817" y="21992"/>
                        <a:pt x="70" y="14643"/>
                      </a:cubicBezTo>
                      <a:cubicBezTo>
                        <a:pt x="-678" y="7294"/>
                        <a:pt x="4678" y="817"/>
                        <a:pt x="11903" y="70"/>
                      </a:cubicBezTo>
                      <a:cubicBezTo>
                        <a:pt x="19127" y="-678"/>
                        <a:pt x="25728" y="4678"/>
                        <a:pt x="26476" y="119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8" name="Freeform 4744">
                  <a:extLst>
                    <a:ext uri="{FF2B5EF4-FFF2-40B4-BE49-F238E27FC236}">
                      <a16:creationId xmlns:a16="http://schemas.microsoft.com/office/drawing/2014/main" id="{5EA7BA0E-1F75-0D91-FD43-5FA40F6CF683}"/>
                    </a:ext>
                  </a:extLst>
                </p:cNvPr>
                <p:cNvSpPr/>
                <p:nvPr/>
              </p:nvSpPr>
              <p:spPr>
                <a:xfrm>
                  <a:off x="7137281" y="5688498"/>
                  <a:ext cx="6721" cy="51940"/>
                </a:xfrm>
                <a:custGeom>
                  <a:avLst/>
                  <a:gdLst>
                    <a:gd name="connsiteX0" fmla="*/ 5727 w 6721"/>
                    <a:gd name="connsiteY0" fmla="*/ 51941 h 51940"/>
                    <a:gd name="connsiteX1" fmla="*/ 5727 w 6721"/>
                    <a:gd name="connsiteY1" fmla="*/ 33132 h 51940"/>
                    <a:gd name="connsiteX2" fmla="*/ 621 w 6721"/>
                    <a:gd name="connsiteY2" fmla="*/ 16442 h 51940"/>
                    <a:gd name="connsiteX3" fmla="*/ 1118 w 6721"/>
                    <a:gd name="connsiteY3" fmla="*/ 0 h 51940"/>
                  </a:gdLst>
                  <a:ahLst/>
                  <a:cxnLst>
                    <a:cxn ang="0">
                      <a:pos x="connsiteX0" y="connsiteY0"/>
                    </a:cxn>
                    <a:cxn ang="0">
                      <a:pos x="connsiteX1" y="connsiteY1"/>
                    </a:cxn>
                    <a:cxn ang="0">
                      <a:pos x="connsiteX2" y="connsiteY2"/>
                    </a:cxn>
                    <a:cxn ang="0">
                      <a:pos x="connsiteX3" y="connsiteY3"/>
                    </a:cxn>
                  </a:cxnLst>
                  <a:rect l="l" t="t" r="r" b="b"/>
                  <a:pathLst>
                    <a:path w="6721" h="51940">
                      <a:moveTo>
                        <a:pt x="5727" y="51941"/>
                      </a:moveTo>
                      <a:cubicBezTo>
                        <a:pt x="7346" y="43720"/>
                        <a:pt x="6724" y="37367"/>
                        <a:pt x="5727" y="33132"/>
                      </a:cubicBezTo>
                      <a:cubicBezTo>
                        <a:pt x="4232" y="26282"/>
                        <a:pt x="1866" y="23542"/>
                        <a:pt x="621" y="16442"/>
                      </a:cubicBezTo>
                      <a:cubicBezTo>
                        <a:pt x="-625" y="9591"/>
                        <a:pt x="247" y="3737"/>
                        <a:pt x="111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9" name="Freeform 4745">
                  <a:extLst>
                    <a:ext uri="{FF2B5EF4-FFF2-40B4-BE49-F238E27FC236}">
                      <a16:creationId xmlns:a16="http://schemas.microsoft.com/office/drawing/2014/main" id="{F72CDDBE-8BBD-DC41-56CC-3FA72A4DD7CB}"/>
                    </a:ext>
                  </a:extLst>
                </p:cNvPr>
                <p:cNvSpPr/>
                <p:nvPr/>
              </p:nvSpPr>
              <p:spPr>
                <a:xfrm>
                  <a:off x="7130552" y="5694477"/>
                  <a:ext cx="6103" cy="51816"/>
                </a:xfrm>
                <a:custGeom>
                  <a:avLst/>
                  <a:gdLst>
                    <a:gd name="connsiteX0" fmla="*/ 0 w 6103"/>
                    <a:gd name="connsiteY0" fmla="*/ 0 h 51816"/>
                    <a:gd name="connsiteX1" fmla="*/ 3862 w 6103"/>
                    <a:gd name="connsiteY1" fmla="*/ 18435 h 51816"/>
                    <a:gd name="connsiteX2" fmla="*/ 2243 w 6103"/>
                    <a:gd name="connsiteY2" fmla="*/ 35748 h 51816"/>
                    <a:gd name="connsiteX3" fmla="*/ 6104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0" y="0"/>
                      </a:moveTo>
                      <a:cubicBezTo>
                        <a:pt x="3239" y="7723"/>
                        <a:pt x="3862" y="14075"/>
                        <a:pt x="3862" y="18435"/>
                      </a:cubicBezTo>
                      <a:cubicBezTo>
                        <a:pt x="3862" y="25410"/>
                        <a:pt x="1993" y="28648"/>
                        <a:pt x="2243" y="35748"/>
                      </a:cubicBezTo>
                      <a:cubicBezTo>
                        <a:pt x="2491" y="42599"/>
                        <a:pt x="4485" y="48204"/>
                        <a:pt x="6104"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50" name="Freeform 4746">
                  <a:extLst>
                    <a:ext uri="{FF2B5EF4-FFF2-40B4-BE49-F238E27FC236}">
                      <a16:creationId xmlns:a16="http://schemas.microsoft.com/office/drawing/2014/main" id="{86403CB3-BEF2-D671-33D5-70CBB3D41B63}"/>
                    </a:ext>
                  </a:extLst>
                </p:cNvPr>
                <p:cNvSpPr/>
                <p:nvPr/>
              </p:nvSpPr>
              <p:spPr>
                <a:xfrm>
                  <a:off x="7126994" y="5734640"/>
                  <a:ext cx="26298" cy="26545"/>
                </a:xfrm>
                <a:custGeom>
                  <a:avLst/>
                  <a:gdLst>
                    <a:gd name="connsiteX0" fmla="*/ 71 w 26298"/>
                    <a:gd name="connsiteY0" fmla="*/ 14643 h 26545"/>
                    <a:gd name="connsiteX1" fmla="*/ 11780 w 26298"/>
                    <a:gd name="connsiteY1" fmla="*/ 70 h 26545"/>
                    <a:gd name="connsiteX2" fmla="*/ 26228 w 26298"/>
                    <a:gd name="connsiteY2" fmla="*/ 11902 h 26545"/>
                    <a:gd name="connsiteX3" fmla="*/ 14519 w 26298"/>
                    <a:gd name="connsiteY3" fmla="*/ 26476 h 26545"/>
                    <a:gd name="connsiteX4" fmla="*/ 71 w 26298"/>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45">
                      <a:moveTo>
                        <a:pt x="71" y="14643"/>
                      </a:moveTo>
                      <a:cubicBezTo>
                        <a:pt x="-676" y="7418"/>
                        <a:pt x="4555" y="817"/>
                        <a:pt x="11780" y="70"/>
                      </a:cubicBezTo>
                      <a:cubicBezTo>
                        <a:pt x="19004" y="-678"/>
                        <a:pt x="25481" y="4678"/>
                        <a:pt x="26228" y="11902"/>
                      </a:cubicBezTo>
                      <a:cubicBezTo>
                        <a:pt x="26975" y="19127"/>
                        <a:pt x="21744" y="25728"/>
                        <a:pt x="14519"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0" name="Graphic 2987">
                <a:extLst>
                  <a:ext uri="{FF2B5EF4-FFF2-40B4-BE49-F238E27FC236}">
                    <a16:creationId xmlns:a16="http://schemas.microsoft.com/office/drawing/2014/main" id="{EE413127-49EE-3BA2-C940-60E0695B378E}"/>
                  </a:ext>
                </a:extLst>
              </p:cNvPr>
              <p:cNvGrpSpPr/>
              <p:nvPr/>
            </p:nvGrpSpPr>
            <p:grpSpPr>
              <a:xfrm>
                <a:off x="7143811" y="5609833"/>
                <a:ext cx="38877" cy="148362"/>
                <a:chOff x="7143811" y="5609833"/>
                <a:chExt cx="38877" cy="148362"/>
              </a:xfrm>
              <a:grpFill/>
            </p:grpSpPr>
            <p:sp>
              <p:nvSpPr>
                <p:cNvPr id="4739" name="Freeform 4748">
                  <a:extLst>
                    <a:ext uri="{FF2B5EF4-FFF2-40B4-BE49-F238E27FC236}">
                      <a16:creationId xmlns:a16="http://schemas.microsoft.com/office/drawing/2014/main" id="{8710AAC3-02D8-B124-0027-B9882789C18A}"/>
                    </a:ext>
                  </a:extLst>
                </p:cNvPr>
                <p:cNvSpPr/>
                <p:nvPr/>
              </p:nvSpPr>
              <p:spPr>
                <a:xfrm>
                  <a:off x="7153338" y="5630454"/>
                  <a:ext cx="6553" cy="51940"/>
                </a:xfrm>
                <a:custGeom>
                  <a:avLst/>
                  <a:gdLst>
                    <a:gd name="connsiteX0" fmla="*/ 1006 w 6553"/>
                    <a:gd name="connsiteY0" fmla="*/ 0 h 51940"/>
                    <a:gd name="connsiteX1" fmla="*/ 881 w 6553"/>
                    <a:gd name="connsiteY1" fmla="*/ 18808 h 51940"/>
                    <a:gd name="connsiteX2" fmla="*/ 5988 w 6553"/>
                    <a:gd name="connsiteY2" fmla="*/ 35499 h 51940"/>
                    <a:gd name="connsiteX3" fmla="*/ 5490 w 655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0"/>
                      </a:moveTo>
                      <a:cubicBezTo>
                        <a:pt x="-614" y="8221"/>
                        <a:pt x="9" y="14573"/>
                        <a:pt x="881" y="18808"/>
                      </a:cubicBezTo>
                      <a:cubicBezTo>
                        <a:pt x="2376" y="25659"/>
                        <a:pt x="4742" y="28399"/>
                        <a:pt x="5988" y="35499"/>
                      </a:cubicBezTo>
                      <a:cubicBezTo>
                        <a:pt x="7109" y="42350"/>
                        <a:pt x="6362" y="48204"/>
                        <a:pt x="54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0" name="Freeform 4749">
                  <a:extLst>
                    <a:ext uri="{FF2B5EF4-FFF2-40B4-BE49-F238E27FC236}">
                      <a16:creationId xmlns:a16="http://schemas.microsoft.com/office/drawing/2014/main" id="{0CE53B6C-C97C-5F45-8D4B-D2AC646D6692}"/>
                    </a:ext>
                  </a:extLst>
                </p:cNvPr>
                <p:cNvSpPr/>
                <p:nvPr/>
              </p:nvSpPr>
              <p:spPr>
                <a:xfrm>
                  <a:off x="7160821" y="5624725"/>
                  <a:ext cx="5853" cy="51816"/>
                </a:xfrm>
                <a:custGeom>
                  <a:avLst/>
                  <a:gdLst>
                    <a:gd name="connsiteX0" fmla="*/ 5854 w 5853"/>
                    <a:gd name="connsiteY0" fmla="*/ 51816 h 51816"/>
                    <a:gd name="connsiteX1" fmla="*/ 1993 w 5853"/>
                    <a:gd name="connsiteY1" fmla="*/ 33381 h 51816"/>
                    <a:gd name="connsiteX2" fmla="*/ 3737 w 5853"/>
                    <a:gd name="connsiteY2" fmla="*/ 16068 h 51816"/>
                    <a:gd name="connsiteX3" fmla="*/ 0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51816"/>
                      </a:moveTo>
                      <a:cubicBezTo>
                        <a:pt x="2615" y="44094"/>
                        <a:pt x="1993" y="37741"/>
                        <a:pt x="1993" y="33381"/>
                      </a:cubicBezTo>
                      <a:cubicBezTo>
                        <a:pt x="2117" y="26406"/>
                        <a:pt x="3861" y="23168"/>
                        <a:pt x="3737"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1" name="Freeform 4750">
                  <a:extLst>
                    <a:ext uri="{FF2B5EF4-FFF2-40B4-BE49-F238E27FC236}">
                      <a16:creationId xmlns:a16="http://schemas.microsoft.com/office/drawing/2014/main" id="{2A70F4F4-1CF8-0807-37C9-F099FFFEB00C}"/>
                    </a:ext>
                  </a:extLst>
                </p:cNvPr>
                <p:cNvSpPr/>
                <p:nvPr/>
              </p:nvSpPr>
              <p:spPr>
                <a:xfrm>
                  <a:off x="7143811" y="5609833"/>
                  <a:ext cx="26670" cy="26546"/>
                </a:xfrm>
                <a:custGeom>
                  <a:avLst/>
                  <a:gdLst>
                    <a:gd name="connsiteX0" fmla="*/ 26600 w 26670"/>
                    <a:gd name="connsiteY0" fmla="*/ 11903 h 26546"/>
                    <a:gd name="connsiteX1" fmla="*/ 14643 w 26670"/>
                    <a:gd name="connsiteY1" fmla="*/ 26476 h 26546"/>
                    <a:gd name="connsiteX2" fmla="*/ 70 w 26670"/>
                    <a:gd name="connsiteY2" fmla="*/ 14643 h 26546"/>
                    <a:gd name="connsiteX3" fmla="*/ 12027 w 26670"/>
                    <a:gd name="connsiteY3" fmla="*/ 70 h 26546"/>
                    <a:gd name="connsiteX4" fmla="*/ 26600 w 26670"/>
                    <a:gd name="connsiteY4" fmla="*/ 1190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00" y="11903"/>
                      </a:moveTo>
                      <a:cubicBezTo>
                        <a:pt x="27348" y="19127"/>
                        <a:pt x="21992" y="25728"/>
                        <a:pt x="14643" y="26476"/>
                      </a:cubicBezTo>
                      <a:cubicBezTo>
                        <a:pt x="7294" y="27223"/>
                        <a:pt x="817" y="21992"/>
                        <a:pt x="70" y="14643"/>
                      </a:cubicBezTo>
                      <a:cubicBezTo>
                        <a:pt x="-678" y="7418"/>
                        <a:pt x="4678" y="817"/>
                        <a:pt x="12027" y="70"/>
                      </a:cubicBezTo>
                      <a:cubicBezTo>
                        <a:pt x="19377" y="-678"/>
                        <a:pt x="25853" y="4678"/>
                        <a:pt x="26600" y="119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2" name="Freeform 4751">
                  <a:extLst>
                    <a:ext uri="{FF2B5EF4-FFF2-40B4-BE49-F238E27FC236}">
                      <a16:creationId xmlns:a16="http://schemas.microsoft.com/office/drawing/2014/main" id="{4D1BFDFF-DBB1-7605-CA17-70718F59D623}"/>
                    </a:ext>
                  </a:extLst>
                </p:cNvPr>
                <p:cNvSpPr/>
                <p:nvPr/>
              </p:nvSpPr>
              <p:spPr>
                <a:xfrm>
                  <a:off x="7166856" y="5685509"/>
                  <a:ext cx="6553" cy="51940"/>
                </a:xfrm>
                <a:custGeom>
                  <a:avLst/>
                  <a:gdLst>
                    <a:gd name="connsiteX0" fmla="*/ 5548 w 6553"/>
                    <a:gd name="connsiteY0" fmla="*/ 51941 h 51940"/>
                    <a:gd name="connsiteX1" fmla="*/ 5673 w 6553"/>
                    <a:gd name="connsiteY1" fmla="*/ 33132 h 51940"/>
                    <a:gd name="connsiteX2" fmla="*/ 565 w 6553"/>
                    <a:gd name="connsiteY2" fmla="*/ 16442 h 51940"/>
                    <a:gd name="connsiteX3" fmla="*/ 1063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51941"/>
                      </a:moveTo>
                      <a:cubicBezTo>
                        <a:pt x="7167" y="43720"/>
                        <a:pt x="6544" y="37367"/>
                        <a:pt x="5673" y="33132"/>
                      </a:cubicBezTo>
                      <a:cubicBezTo>
                        <a:pt x="4177" y="26281"/>
                        <a:pt x="1811" y="23417"/>
                        <a:pt x="565" y="16442"/>
                      </a:cubicBezTo>
                      <a:cubicBezTo>
                        <a:pt x="-555" y="9591"/>
                        <a:pt x="192" y="3737"/>
                        <a:pt x="10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3" name="Freeform 4752">
                  <a:extLst>
                    <a:ext uri="{FF2B5EF4-FFF2-40B4-BE49-F238E27FC236}">
                      <a16:creationId xmlns:a16="http://schemas.microsoft.com/office/drawing/2014/main" id="{45DA9E47-4488-8208-0349-F42A8FBA0C1F}"/>
                    </a:ext>
                  </a:extLst>
                </p:cNvPr>
                <p:cNvSpPr/>
                <p:nvPr/>
              </p:nvSpPr>
              <p:spPr>
                <a:xfrm>
                  <a:off x="7159949" y="5691363"/>
                  <a:ext cx="5978" cy="51816"/>
                </a:xfrm>
                <a:custGeom>
                  <a:avLst/>
                  <a:gdLst>
                    <a:gd name="connsiteX0" fmla="*/ 0 w 5978"/>
                    <a:gd name="connsiteY0" fmla="*/ 0 h 51816"/>
                    <a:gd name="connsiteX1" fmla="*/ 3861 w 5978"/>
                    <a:gd name="connsiteY1" fmla="*/ 18435 h 51816"/>
                    <a:gd name="connsiteX2" fmla="*/ 2242 w 5978"/>
                    <a:gd name="connsiteY2" fmla="*/ 35748 h 51816"/>
                    <a:gd name="connsiteX3" fmla="*/ 5979 w 5978"/>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978" h="51816">
                      <a:moveTo>
                        <a:pt x="0" y="0"/>
                      </a:moveTo>
                      <a:cubicBezTo>
                        <a:pt x="3239" y="7723"/>
                        <a:pt x="3861" y="14075"/>
                        <a:pt x="3861" y="18435"/>
                      </a:cubicBezTo>
                      <a:cubicBezTo>
                        <a:pt x="3737" y="25410"/>
                        <a:pt x="1993" y="28648"/>
                        <a:pt x="2242" y="35748"/>
                      </a:cubicBezTo>
                      <a:cubicBezTo>
                        <a:pt x="2491" y="42599"/>
                        <a:pt x="4359" y="48204"/>
                        <a:pt x="5979"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44" name="Freeform 4753">
                  <a:extLst>
                    <a:ext uri="{FF2B5EF4-FFF2-40B4-BE49-F238E27FC236}">
                      <a16:creationId xmlns:a16="http://schemas.microsoft.com/office/drawing/2014/main" id="{55F297B8-0542-51F8-8EF5-8171D5135CF3}"/>
                    </a:ext>
                  </a:extLst>
                </p:cNvPr>
                <p:cNvSpPr/>
                <p:nvPr/>
              </p:nvSpPr>
              <p:spPr>
                <a:xfrm>
                  <a:off x="7156265" y="5731650"/>
                  <a:ext cx="26422" cy="26545"/>
                </a:xfrm>
                <a:custGeom>
                  <a:avLst/>
                  <a:gdLst>
                    <a:gd name="connsiteX0" fmla="*/ 71 w 26422"/>
                    <a:gd name="connsiteY0" fmla="*/ 14643 h 26545"/>
                    <a:gd name="connsiteX1" fmla="*/ 11904 w 26422"/>
                    <a:gd name="connsiteY1" fmla="*/ 70 h 26545"/>
                    <a:gd name="connsiteX2" fmla="*/ 26353 w 26422"/>
                    <a:gd name="connsiteY2" fmla="*/ 11903 h 26545"/>
                    <a:gd name="connsiteX3" fmla="*/ 14520 w 26422"/>
                    <a:gd name="connsiteY3" fmla="*/ 26476 h 26545"/>
                    <a:gd name="connsiteX4" fmla="*/ 71 w 26422"/>
                    <a:gd name="connsiteY4" fmla="*/ 14643 h 2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71" y="14643"/>
                      </a:moveTo>
                      <a:cubicBezTo>
                        <a:pt x="-676" y="7418"/>
                        <a:pt x="4556" y="817"/>
                        <a:pt x="11904" y="70"/>
                      </a:cubicBezTo>
                      <a:cubicBezTo>
                        <a:pt x="19129" y="-678"/>
                        <a:pt x="25606" y="4678"/>
                        <a:pt x="26353" y="11903"/>
                      </a:cubicBezTo>
                      <a:cubicBezTo>
                        <a:pt x="27101" y="19127"/>
                        <a:pt x="21745" y="25728"/>
                        <a:pt x="14520" y="26476"/>
                      </a:cubicBezTo>
                      <a:cubicBezTo>
                        <a:pt x="7296" y="27223"/>
                        <a:pt x="818" y="21867"/>
                        <a:pt x="71"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1" name="Graphic 2987">
                <a:extLst>
                  <a:ext uri="{FF2B5EF4-FFF2-40B4-BE49-F238E27FC236}">
                    <a16:creationId xmlns:a16="http://schemas.microsoft.com/office/drawing/2014/main" id="{8BB14749-EF66-C96E-D503-B2FC255ABF4A}"/>
                  </a:ext>
                </a:extLst>
              </p:cNvPr>
              <p:cNvGrpSpPr/>
              <p:nvPr/>
            </p:nvGrpSpPr>
            <p:grpSpPr>
              <a:xfrm>
                <a:off x="7173455" y="5606842"/>
                <a:ext cx="38503" cy="148241"/>
                <a:chOff x="7173455" y="5606842"/>
                <a:chExt cx="38503" cy="148241"/>
              </a:xfrm>
              <a:grpFill/>
            </p:grpSpPr>
            <p:sp>
              <p:nvSpPr>
                <p:cNvPr id="4733" name="Freeform 4755">
                  <a:extLst>
                    <a:ext uri="{FF2B5EF4-FFF2-40B4-BE49-F238E27FC236}">
                      <a16:creationId xmlns:a16="http://schemas.microsoft.com/office/drawing/2014/main" id="{A2DB376F-12B7-0048-DCF8-D48F34A7B8B8}"/>
                    </a:ext>
                  </a:extLst>
                </p:cNvPr>
                <p:cNvSpPr/>
                <p:nvPr/>
              </p:nvSpPr>
              <p:spPr>
                <a:xfrm>
                  <a:off x="7182807" y="5627465"/>
                  <a:ext cx="6604" cy="52065"/>
                </a:xfrm>
                <a:custGeom>
                  <a:avLst/>
                  <a:gdLst>
                    <a:gd name="connsiteX0" fmla="*/ 1057 w 6604"/>
                    <a:gd name="connsiteY0" fmla="*/ 0 h 52065"/>
                    <a:gd name="connsiteX1" fmla="*/ 932 w 6604"/>
                    <a:gd name="connsiteY1" fmla="*/ 18808 h 52065"/>
                    <a:gd name="connsiteX2" fmla="*/ 6039 w 6604"/>
                    <a:gd name="connsiteY2" fmla="*/ 35499 h 52065"/>
                    <a:gd name="connsiteX3" fmla="*/ 5541 w 660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604" h="52065">
                      <a:moveTo>
                        <a:pt x="1057" y="0"/>
                      </a:moveTo>
                      <a:cubicBezTo>
                        <a:pt x="-687" y="8221"/>
                        <a:pt x="60" y="14573"/>
                        <a:pt x="932" y="18808"/>
                      </a:cubicBezTo>
                      <a:cubicBezTo>
                        <a:pt x="2427" y="25659"/>
                        <a:pt x="4793" y="28524"/>
                        <a:pt x="6039" y="35499"/>
                      </a:cubicBezTo>
                      <a:cubicBezTo>
                        <a:pt x="7160" y="42350"/>
                        <a:pt x="6413" y="48204"/>
                        <a:pt x="554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4" name="Freeform 4756">
                  <a:extLst>
                    <a:ext uri="{FF2B5EF4-FFF2-40B4-BE49-F238E27FC236}">
                      <a16:creationId xmlns:a16="http://schemas.microsoft.com/office/drawing/2014/main" id="{BEA17D82-1B24-3904-64B3-21C75745E326}"/>
                    </a:ext>
                  </a:extLst>
                </p:cNvPr>
                <p:cNvSpPr/>
                <p:nvPr/>
              </p:nvSpPr>
              <p:spPr>
                <a:xfrm>
                  <a:off x="7190465" y="5621736"/>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4094"/>
                        <a:pt x="1868" y="37741"/>
                        <a:pt x="1993" y="33381"/>
                      </a:cubicBezTo>
                      <a:cubicBezTo>
                        <a:pt x="2117" y="26406"/>
                        <a:pt x="3861" y="23168"/>
                        <a:pt x="3737" y="16068"/>
                      </a:cubicBezTo>
                      <a:cubicBezTo>
                        <a:pt x="3612"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5" name="Freeform 4757">
                  <a:extLst>
                    <a:ext uri="{FF2B5EF4-FFF2-40B4-BE49-F238E27FC236}">
                      <a16:creationId xmlns:a16="http://schemas.microsoft.com/office/drawing/2014/main" id="{00F85F73-B57C-5EB9-8212-6515BC54F4B4}"/>
                    </a:ext>
                  </a:extLst>
                </p:cNvPr>
                <p:cNvSpPr/>
                <p:nvPr/>
              </p:nvSpPr>
              <p:spPr>
                <a:xfrm>
                  <a:off x="7173455" y="5606842"/>
                  <a:ext cx="26670" cy="26548"/>
                </a:xfrm>
                <a:custGeom>
                  <a:avLst/>
                  <a:gdLst>
                    <a:gd name="connsiteX0" fmla="*/ 26600 w 26670"/>
                    <a:gd name="connsiteY0" fmla="*/ 11904 h 26548"/>
                    <a:gd name="connsiteX1" fmla="*/ 14643 w 26670"/>
                    <a:gd name="connsiteY1" fmla="*/ 26477 h 26548"/>
                    <a:gd name="connsiteX2" fmla="*/ 70 w 26670"/>
                    <a:gd name="connsiteY2" fmla="*/ 14644 h 26548"/>
                    <a:gd name="connsiteX3" fmla="*/ 12027 w 26670"/>
                    <a:gd name="connsiteY3" fmla="*/ 71 h 26548"/>
                    <a:gd name="connsiteX4" fmla="*/ 26600 w 26670"/>
                    <a:gd name="connsiteY4" fmla="*/ 11904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8">
                      <a:moveTo>
                        <a:pt x="26600" y="11904"/>
                      </a:moveTo>
                      <a:cubicBezTo>
                        <a:pt x="27348" y="19128"/>
                        <a:pt x="21992" y="25730"/>
                        <a:pt x="14643" y="26477"/>
                      </a:cubicBezTo>
                      <a:cubicBezTo>
                        <a:pt x="7294" y="27225"/>
                        <a:pt x="817" y="21993"/>
                        <a:pt x="70" y="14644"/>
                      </a:cubicBezTo>
                      <a:cubicBezTo>
                        <a:pt x="-678" y="7420"/>
                        <a:pt x="4678" y="818"/>
                        <a:pt x="12027" y="71"/>
                      </a:cubicBezTo>
                      <a:cubicBezTo>
                        <a:pt x="19376" y="-676"/>
                        <a:pt x="25853" y="4555"/>
                        <a:pt x="26600" y="119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6" name="Freeform 4758">
                  <a:extLst>
                    <a:ext uri="{FF2B5EF4-FFF2-40B4-BE49-F238E27FC236}">
                      <a16:creationId xmlns:a16="http://schemas.microsoft.com/office/drawing/2014/main" id="{98B283AF-60AE-F38E-6C1E-E721DEC66C07}"/>
                    </a:ext>
                  </a:extLst>
                </p:cNvPr>
                <p:cNvSpPr/>
                <p:nvPr/>
              </p:nvSpPr>
              <p:spPr>
                <a:xfrm>
                  <a:off x="7196127" y="5682395"/>
                  <a:ext cx="6553" cy="52065"/>
                </a:xfrm>
                <a:custGeom>
                  <a:avLst/>
                  <a:gdLst>
                    <a:gd name="connsiteX0" fmla="*/ 5548 w 6553"/>
                    <a:gd name="connsiteY0" fmla="*/ 52065 h 52065"/>
                    <a:gd name="connsiteX1" fmla="*/ 5672 w 6553"/>
                    <a:gd name="connsiteY1" fmla="*/ 33257 h 52065"/>
                    <a:gd name="connsiteX2" fmla="*/ 566 w 6553"/>
                    <a:gd name="connsiteY2" fmla="*/ 16566 h 52065"/>
                    <a:gd name="connsiteX3" fmla="*/ 1064 w 6553"/>
                    <a:gd name="connsiteY3" fmla="*/ 0 h 52065"/>
                  </a:gdLst>
                  <a:ahLst/>
                  <a:cxnLst>
                    <a:cxn ang="0">
                      <a:pos x="connsiteX0" y="connsiteY0"/>
                    </a:cxn>
                    <a:cxn ang="0">
                      <a:pos x="connsiteX1" y="connsiteY1"/>
                    </a:cxn>
                    <a:cxn ang="0">
                      <a:pos x="connsiteX2" y="connsiteY2"/>
                    </a:cxn>
                    <a:cxn ang="0">
                      <a:pos x="connsiteX3" y="connsiteY3"/>
                    </a:cxn>
                  </a:cxnLst>
                  <a:rect l="l" t="t" r="r" b="b"/>
                  <a:pathLst>
                    <a:path w="6553" h="52065">
                      <a:moveTo>
                        <a:pt x="5548" y="52065"/>
                      </a:moveTo>
                      <a:cubicBezTo>
                        <a:pt x="7167" y="43844"/>
                        <a:pt x="6544" y="37492"/>
                        <a:pt x="5672" y="33257"/>
                      </a:cubicBezTo>
                      <a:cubicBezTo>
                        <a:pt x="4178" y="26406"/>
                        <a:pt x="1811" y="23542"/>
                        <a:pt x="566" y="16566"/>
                      </a:cubicBezTo>
                      <a:cubicBezTo>
                        <a:pt x="-555" y="9715"/>
                        <a:pt x="192" y="3861"/>
                        <a:pt x="1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7" name="Freeform 4759">
                  <a:extLst>
                    <a:ext uri="{FF2B5EF4-FFF2-40B4-BE49-F238E27FC236}">
                      <a16:creationId xmlns:a16="http://schemas.microsoft.com/office/drawing/2014/main" id="{A76D3BAC-7B2E-DA05-5533-2F0872B99216}"/>
                    </a:ext>
                  </a:extLst>
                </p:cNvPr>
                <p:cNvSpPr/>
                <p:nvPr/>
              </p:nvSpPr>
              <p:spPr>
                <a:xfrm>
                  <a:off x="7189344" y="5688374"/>
                  <a:ext cx="5729" cy="51816"/>
                </a:xfrm>
                <a:custGeom>
                  <a:avLst/>
                  <a:gdLst>
                    <a:gd name="connsiteX0" fmla="*/ 0 w 5729"/>
                    <a:gd name="connsiteY0" fmla="*/ 0 h 51816"/>
                    <a:gd name="connsiteX1" fmla="*/ 3737 w 5729"/>
                    <a:gd name="connsiteY1" fmla="*/ 18434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4"/>
                      </a:cubicBezTo>
                      <a:cubicBezTo>
                        <a:pt x="3612" y="25409"/>
                        <a:pt x="1869" y="28648"/>
                        <a:pt x="1993" y="35748"/>
                      </a:cubicBezTo>
                      <a:cubicBezTo>
                        <a:pt x="2242"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8" name="Freeform 4760">
                  <a:extLst>
                    <a:ext uri="{FF2B5EF4-FFF2-40B4-BE49-F238E27FC236}">
                      <a16:creationId xmlns:a16="http://schemas.microsoft.com/office/drawing/2014/main" id="{69B22C79-5FF5-C7CA-F345-A8BD5977B2D4}"/>
                    </a:ext>
                  </a:extLst>
                </p:cNvPr>
                <p:cNvSpPr/>
                <p:nvPr/>
              </p:nvSpPr>
              <p:spPr>
                <a:xfrm>
                  <a:off x="7185538" y="5728536"/>
                  <a:ext cx="26420" cy="26546"/>
                </a:xfrm>
                <a:custGeom>
                  <a:avLst/>
                  <a:gdLst>
                    <a:gd name="connsiteX0" fmla="*/ 70 w 26420"/>
                    <a:gd name="connsiteY0" fmla="*/ 14643 h 26546"/>
                    <a:gd name="connsiteX1" fmla="*/ 11903 w 26420"/>
                    <a:gd name="connsiteY1" fmla="*/ 70 h 26546"/>
                    <a:gd name="connsiteX2" fmla="*/ 26351 w 26420"/>
                    <a:gd name="connsiteY2" fmla="*/ 11903 h 26546"/>
                    <a:gd name="connsiteX3" fmla="*/ 14518 w 26420"/>
                    <a:gd name="connsiteY3" fmla="*/ 26476 h 26546"/>
                    <a:gd name="connsiteX4" fmla="*/ 70 w 26420"/>
                    <a:gd name="connsiteY4" fmla="*/ 14643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70" y="14643"/>
                      </a:moveTo>
                      <a:cubicBezTo>
                        <a:pt x="-678" y="7418"/>
                        <a:pt x="4678" y="817"/>
                        <a:pt x="11903" y="70"/>
                      </a:cubicBezTo>
                      <a:cubicBezTo>
                        <a:pt x="19127" y="-678"/>
                        <a:pt x="25604" y="4678"/>
                        <a:pt x="26351" y="11903"/>
                      </a:cubicBezTo>
                      <a:cubicBezTo>
                        <a:pt x="27098" y="19127"/>
                        <a:pt x="21743" y="25728"/>
                        <a:pt x="14518" y="26476"/>
                      </a:cubicBezTo>
                      <a:cubicBezTo>
                        <a:pt x="7293" y="27223"/>
                        <a:pt x="817" y="21992"/>
                        <a:pt x="70" y="146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2" name="Graphic 2987">
                <a:extLst>
                  <a:ext uri="{FF2B5EF4-FFF2-40B4-BE49-F238E27FC236}">
                    <a16:creationId xmlns:a16="http://schemas.microsoft.com/office/drawing/2014/main" id="{691E0ACD-F463-DB05-D53B-3866C8382F3A}"/>
                  </a:ext>
                </a:extLst>
              </p:cNvPr>
              <p:cNvGrpSpPr/>
              <p:nvPr/>
            </p:nvGrpSpPr>
            <p:grpSpPr>
              <a:xfrm>
                <a:off x="7203100" y="5603854"/>
                <a:ext cx="38129" cy="148343"/>
                <a:chOff x="7203100" y="5603854"/>
                <a:chExt cx="38129" cy="148343"/>
              </a:xfrm>
              <a:grpFill/>
            </p:grpSpPr>
            <p:sp>
              <p:nvSpPr>
                <p:cNvPr id="4727" name="Freeform 4762">
                  <a:extLst>
                    <a:ext uri="{FF2B5EF4-FFF2-40B4-BE49-F238E27FC236}">
                      <a16:creationId xmlns:a16="http://schemas.microsoft.com/office/drawing/2014/main" id="{25F7B49B-B203-00A2-8DFF-D502B59ABE56}"/>
                    </a:ext>
                  </a:extLst>
                </p:cNvPr>
                <p:cNvSpPr/>
                <p:nvPr/>
              </p:nvSpPr>
              <p:spPr>
                <a:xfrm>
                  <a:off x="7212285" y="5624476"/>
                  <a:ext cx="6486" cy="51940"/>
                </a:xfrm>
                <a:custGeom>
                  <a:avLst/>
                  <a:gdLst>
                    <a:gd name="connsiteX0" fmla="*/ 1098 w 6486"/>
                    <a:gd name="connsiteY0" fmla="*/ 0 h 51940"/>
                    <a:gd name="connsiteX1" fmla="*/ 973 w 6486"/>
                    <a:gd name="connsiteY1" fmla="*/ 18808 h 51940"/>
                    <a:gd name="connsiteX2" fmla="*/ 5956 w 6486"/>
                    <a:gd name="connsiteY2" fmla="*/ 35499 h 51940"/>
                    <a:gd name="connsiteX3" fmla="*/ 5333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1098" y="0"/>
                      </a:moveTo>
                      <a:cubicBezTo>
                        <a:pt x="-646" y="8221"/>
                        <a:pt x="-22" y="14573"/>
                        <a:pt x="973" y="18808"/>
                      </a:cubicBezTo>
                      <a:cubicBezTo>
                        <a:pt x="2468" y="25659"/>
                        <a:pt x="4835" y="28524"/>
                        <a:pt x="5956" y="35499"/>
                      </a:cubicBezTo>
                      <a:cubicBezTo>
                        <a:pt x="7077" y="42350"/>
                        <a:pt x="6205" y="48079"/>
                        <a:pt x="53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8" name="Freeform 4763">
                  <a:extLst>
                    <a:ext uri="{FF2B5EF4-FFF2-40B4-BE49-F238E27FC236}">
                      <a16:creationId xmlns:a16="http://schemas.microsoft.com/office/drawing/2014/main" id="{3A91F584-D51B-8F5E-C9D5-D3167269203E}"/>
                    </a:ext>
                  </a:extLst>
                </p:cNvPr>
                <p:cNvSpPr/>
                <p:nvPr/>
              </p:nvSpPr>
              <p:spPr>
                <a:xfrm>
                  <a:off x="7219861" y="5618871"/>
                  <a:ext cx="5729" cy="51816"/>
                </a:xfrm>
                <a:custGeom>
                  <a:avLst/>
                  <a:gdLst>
                    <a:gd name="connsiteX0" fmla="*/ 5729 w 5729"/>
                    <a:gd name="connsiteY0" fmla="*/ 51816 h 51816"/>
                    <a:gd name="connsiteX1" fmla="*/ 1993 w 5729"/>
                    <a:gd name="connsiteY1" fmla="*/ 33381 h 51816"/>
                    <a:gd name="connsiteX2" fmla="*/ 3737 w 5729"/>
                    <a:gd name="connsiteY2" fmla="*/ 16068 h 51816"/>
                    <a:gd name="connsiteX3" fmla="*/ 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51816"/>
                      </a:moveTo>
                      <a:cubicBezTo>
                        <a:pt x="2491" y="43969"/>
                        <a:pt x="1868" y="37741"/>
                        <a:pt x="1993" y="33381"/>
                      </a:cubicBezTo>
                      <a:cubicBezTo>
                        <a:pt x="2117" y="26406"/>
                        <a:pt x="3986" y="23168"/>
                        <a:pt x="3737" y="16068"/>
                      </a:cubicBezTo>
                      <a:cubicBezTo>
                        <a:pt x="3612"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9" name="Freeform 4764">
                  <a:extLst>
                    <a:ext uri="{FF2B5EF4-FFF2-40B4-BE49-F238E27FC236}">
                      <a16:creationId xmlns:a16="http://schemas.microsoft.com/office/drawing/2014/main" id="{CB729925-92C0-489C-DA6C-6A4C01917CE3}"/>
                    </a:ext>
                  </a:extLst>
                </p:cNvPr>
                <p:cNvSpPr/>
                <p:nvPr/>
              </p:nvSpPr>
              <p:spPr>
                <a:xfrm>
                  <a:off x="7203100" y="5603854"/>
                  <a:ext cx="26544" cy="26401"/>
                </a:xfrm>
                <a:custGeom>
                  <a:avLst/>
                  <a:gdLst>
                    <a:gd name="connsiteX0" fmla="*/ 26476 w 26544"/>
                    <a:gd name="connsiteY0" fmla="*/ 12027 h 26401"/>
                    <a:gd name="connsiteX1" fmla="*/ 14519 w 26544"/>
                    <a:gd name="connsiteY1" fmla="*/ 26351 h 26401"/>
                    <a:gd name="connsiteX2" fmla="*/ 70 w 26544"/>
                    <a:gd name="connsiteY2" fmla="*/ 14518 h 26401"/>
                    <a:gd name="connsiteX3" fmla="*/ 12027 w 26544"/>
                    <a:gd name="connsiteY3" fmla="*/ 70 h 26401"/>
                    <a:gd name="connsiteX4" fmla="*/ 26476 w 26544"/>
                    <a:gd name="connsiteY4" fmla="*/ 12027 h 2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4" h="26401">
                      <a:moveTo>
                        <a:pt x="26476" y="12027"/>
                      </a:moveTo>
                      <a:cubicBezTo>
                        <a:pt x="27223" y="19376"/>
                        <a:pt x="21743" y="25728"/>
                        <a:pt x="14519" y="26351"/>
                      </a:cubicBezTo>
                      <a:cubicBezTo>
                        <a:pt x="7169" y="26974"/>
                        <a:pt x="692" y="21743"/>
                        <a:pt x="70" y="14518"/>
                      </a:cubicBezTo>
                      <a:cubicBezTo>
                        <a:pt x="-678" y="7294"/>
                        <a:pt x="4678" y="692"/>
                        <a:pt x="12027" y="70"/>
                      </a:cubicBezTo>
                      <a:cubicBezTo>
                        <a:pt x="19376" y="-678"/>
                        <a:pt x="25853" y="4678"/>
                        <a:pt x="26476"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0" name="Freeform 4765">
                  <a:extLst>
                    <a:ext uri="{FF2B5EF4-FFF2-40B4-BE49-F238E27FC236}">
                      <a16:creationId xmlns:a16="http://schemas.microsoft.com/office/drawing/2014/main" id="{9C09CFA4-5451-13A6-BFF3-FD2F232CB5DD}"/>
                    </a:ext>
                  </a:extLst>
                </p:cNvPr>
                <p:cNvSpPr/>
                <p:nvPr/>
              </p:nvSpPr>
              <p:spPr>
                <a:xfrm>
                  <a:off x="7225558" y="5679655"/>
                  <a:ext cx="6486" cy="51940"/>
                </a:xfrm>
                <a:custGeom>
                  <a:avLst/>
                  <a:gdLst>
                    <a:gd name="connsiteX0" fmla="*/ 5389 w 6486"/>
                    <a:gd name="connsiteY0" fmla="*/ 51941 h 51940"/>
                    <a:gd name="connsiteX1" fmla="*/ 5513 w 6486"/>
                    <a:gd name="connsiteY1" fmla="*/ 33132 h 51940"/>
                    <a:gd name="connsiteX2" fmla="*/ 531 w 6486"/>
                    <a:gd name="connsiteY2" fmla="*/ 16442 h 51940"/>
                    <a:gd name="connsiteX3" fmla="*/ 1153 w 6486"/>
                    <a:gd name="connsiteY3" fmla="*/ 0 h 51940"/>
                  </a:gdLst>
                  <a:ahLst/>
                  <a:cxnLst>
                    <a:cxn ang="0">
                      <a:pos x="connsiteX0" y="connsiteY0"/>
                    </a:cxn>
                    <a:cxn ang="0">
                      <a:pos x="connsiteX1" y="connsiteY1"/>
                    </a:cxn>
                    <a:cxn ang="0">
                      <a:pos x="connsiteX2" y="connsiteY2"/>
                    </a:cxn>
                    <a:cxn ang="0">
                      <a:pos x="connsiteX3" y="connsiteY3"/>
                    </a:cxn>
                  </a:cxnLst>
                  <a:rect l="l" t="t" r="r" b="b"/>
                  <a:pathLst>
                    <a:path w="6486" h="51940">
                      <a:moveTo>
                        <a:pt x="5389" y="51941"/>
                      </a:moveTo>
                      <a:cubicBezTo>
                        <a:pt x="7132" y="43720"/>
                        <a:pt x="6509" y="37367"/>
                        <a:pt x="5513" y="33132"/>
                      </a:cubicBezTo>
                      <a:cubicBezTo>
                        <a:pt x="4143" y="26282"/>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1" name="Freeform 4766">
                  <a:extLst>
                    <a:ext uri="{FF2B5EF4-FFF2-40B4-BE49-F238E27FC236}">
                      <a16:creationId xmlns:a16="http://schemas.microsoft.com/office/drawing/2014/main" id="{65CCEF1C-5C77-A310-EFE7-CE2A73AB09B3}"/>
                    </a:ext>
                  </a:extLst>
                </p:cNvPr>
                <p:cNvSpPr/>
                <p:nvPr/>
              </p:nvSpPr>
              <p:spPr>
                <a:xfrm>
                  <a:off x="7218864" y="5685384"/>
                  <a:ext cx="5729" cy="51816"/>
                </a:xfrm>
                <a:custGeom>
                  <a:avLst/>
                  <a:gdLst>
                    <a:gd name="connsiteX0" fmla="*/ 0 w 5729"/>
                    <a:gd name="connsiteY0" fmla="*/ 0 h 51816"/>
                    <a:gd name="connsiteX1" fmla="*/ 3737 w 5729"/>
                    <a:gd name="connsiteY1" fmla="*/ 18435 h 51816"/>
                    <a:gd name="connsiteX2" fmla="*/ 1993 w 5729"/>
                    <a:gd name="connsiteY2" fmla="*/ 35748 h 51816"/>
                    <a:gd name="connsiteX3" fmla="*/ 573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0" y="0"/>
                      </a:moveTo>
                      <a:cubicBezTo>
                        <a:pt x="3239" y="7723"/>
                        <a:pt x="3861" y="14075"/>
                        <a:pt x="3737" y="18435"/>
                      </a:cubicBezTo>
                      <a:cubicBezTo>
                        <a:pt x="3612" y="25410"/>
                        <a:pt x="1869" y="28648"/>
                        <a:pt x="1993" y="35748"/>
                      </a:cubicBezTo>
                      <a:cubicBezTo>
                        <a:pt x="2117" y="42599"/>
                        <a:pt x="4111" y="48204"/>
                        <a:pt x="573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32" name="Freeform 4767">
                  <a:extLst>
                    <a:ext uri="{FF2B5EF4-FFF2-40B4-BE49-F238E27FC236}">
                      <a16:creationId xmlns:a16="http://schemas.microsoft.com/office/drawing/2014/main" id="{6B59BA07-B139-46B8-DAE4-B023F2D4D3FC}"/>
                    </a:ext>
                  </a:extLst>
                </p:cNvPr>
                <p:cNvSpPr/>
                <p:nvPr/>
              </p:nvSpPr>
              <p:spPr>
                <a:xfrm>
                  <a:off x="7214933" y="5725692"/>
                  <a:ext cx="26296" cy="26505"/>
                </a:xfrm>
                <a:custGeom>
                  <a:avLst/>
                  <a:gdLst>
                    <a:gd name="connsiteX0" fmla="*/ 70 w 26296"/>
                    <a:gd name="connsiteY0" fmla="*/ 14498 h 26505"/>
                    <a:gd name="connsiteX1" fmla="*/ 11903 w 26296"/>
                    <a:gd name="connsiteY1" fmla="*/ 49 h 26505"/>
                    <a:gd name="connsiteX2" fmla="*/ 26226 w 26296"/>
                    <a:gd name="connsiteY2" fmla="*/ 12131 h 26505"/>
                    <a:gd name="connsiteX3" fmla="*/ 14394 w 26296"/>
                    <a:gd name="connsiteY3" fmla="*/ 26455 h 26505"/>
                    <a:gd name="connsiteX4" fmla="*/ 70 w 26296"/>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4498"/>
                      </a:moveTo>
                      <a:cubicBezTo>
                        <a:pt x="-678" y="7273"/>
                        <a:pt x="4678" y="672"/>
                        <a:pt x="11903" y="49"/>
                      </a:cubicBezTo>
                      <a:cubicBezTo>
                        <a:pt x="19127" y="-574"/>
                        <a:pt x="25604" y="4782"/>
                        <a:pt x="26226" y="12131"/>
                      </a:cubicBezTo>
                      <a:cubicBezTo>
                        <a:pt x="26974" y="19480"/>
                        <a:pt x="21618" y="25832"/>
                        <a:pt x="14394" y="26455"/>
                      </a:cubicBezTo>
                      <a:cubicBezTo>
                        <a:pt x="7170" y="27078"/>
                        <a:pt x="692" y="21847"/>
                        <a:pt x="7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3" name="Graphic 2987">
                <a:extLst>
                  <a:ext uri="{FF2B5EF4-FFF2-40B4-BE49-F238E27FC236}">
                    <a16:creationId xmlns:a16="http://schemas.microsoft.com/office/drawing/2014/main" id="{174552E7-28B6-C21E-1FFB-F5EB2C40F22C}"/>
                  </a:ext>
                </a:extLst>
              </p:cNvPr>
              <p:cNvGrpSpPr/>
              <p:nvPr/>
            </p:nvGrpSpPr>
            <p:grpSpPr>
              <a:xfrm>
                <a:off x="7232622" y="5601238"/>
                <a:ext cx="37859" cy="148342"/>
                <a:chOff x="7232622" y="5601238"/>
                <a:chExt cx="37859" cy="148342"/>
              </a:xfrm>
              <a:grpFill/>
            </p:grpSpPr>
            <p:sp>
              <p:nvSpPr>
                <p:cNvPr id="4721" name="Freeform 4769">
                  <a:extLst>
                    <a:ext uri="{FF2B5EF4-FFF2-40B4-BE49-F238E27FC236}">
                      <a16:creationId xmlns:a16="http://schemas.microsoft.com/office/drawing/2014/main" id="{F2646B29-063A-D077-8047-84E2126DED09}"/>
                    </a:ext>
                  </a:extLst>
                </p:cNvPr>
                <p:cNvSpPr/>
                <p:nvPr/>
              </p:nvSpPr>
              <p:spPr>
                <a:xfrm>
                  <a:off x="7241918" y="5621736"/>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1"/>
                        <a:pt x="-11" y="14573"/>
                        <a:pt x="861" y="18808"/>
                      </a:cubicBezTo>
                      <a:cubicBezTo>
                        <a:pt x="2232" y="25659"/>
                        <a:pt x="4722" y="28524"/>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2" name="Freeform 4770">
                  <a:extLst>
                    <a:ext uri="{FF2B5EF4-FFF2-40B4-BE49-F238E27FC236}">
                      <a16:creationId xmlns:a16="http://schemas.microsoft.com/office/drawing/2014/main" id="{3BE97DB4-94F3-814A-40FB-B81CE266940F}"/>
                    </a:ext>
                  </a:extLst>
                </p:cNvPr>
                <p:cNvSpPr/>
                <p:nvPr/>
              </p:nvSpPr>
              <p:spPr>
                <a:xfrm>
                  <a:off x="7249630" y="5616130"/>
                  <a:ext cx="5479" cy="51816"/>
                </a:xfrm>
                <a:custGeom>
                  <a:avLst/>
                  <a:gdLst>
                    <a:gd name="connsiteX0" fmla="*/ 5480 w 5479"/>
                    <a:gd name="connsiteY0" fmla="*/ 51816 h 51816"/>
                    <a:gd name="connsiteX1" fmla="*/ 1743 w 5479"/>
                    <a:gd name="connsiteY1" fmla="*/ 33381 h 51816"/>
                    <a:gd name="connsiteX2" fmla="*/ 3612 w 5479"/>
                    <a:gd name="connsiteY2" fmla="*/ 16068 h 51816"/>
                    <a:gd name="connsiteX3" fmla="*/ 0 w 5479"/>
                    <a:gd name="connsiteY3" fmla="*/ 0 h 51816"/>
                  </a:gdLst>
                  <a:ahLst/>
                  <a:cxnLst>
                    <a:cxn ang="0">
                      <a:pos x="connsiteX0" y="connsiteY0"/>
                    </a:cxn>
                    <a:cxn ang="0">
                      <a:pos x="connsiteX1" y="connsiteY1"/>
                    </a:cxn>
                    <a:cxn ang="0">
                      <a:pos x="connsiteX2" y="connsiteY2"/>
                    </a:cxn>
                    <a:cxn ang="0">
                      <a:pos x="connsiteX3" y="connsiteY3"/>
                    </a:cxn>
                  </a:cxnLst>
                  <a:rect l="l" t="t" r="r" b="b"/>
                  <a:pathLst>
                    <a:path w="5479" h="51816">
                      <a:moveTo>
                        <a:pt x="5480" y="51816"/>
                      </a:moveTo>
                      <a:cubicBezTo>
                        <a:pt x="2242" y="43969"/>
                        <a:pt x="1743" y="37741"/>
                        <a:pt x="1743" y="33381"/>
                      </a:cubicBezTo>
                      <a:cubicBezTo>
                        <a:pt x="1868" y="26406"/>
                        <a:pt x="3737" y="23168"/>
                        <a:pt x="3612" y="16068"/>
                      </a:cubicBezTo>
                      <a:cubicBezTo>
                        <a:pt x="3487" y="9218"/>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3" name="Freeform 4771">
                  <a:extLst>
                    <a:ext uri="{FF2B5EF4-FFF2-40B4-BE49-F238E27FC236}">
                      <a16:creationId xmlns:a16="http://schemas.microsoft.com/office/drawing/2014/main" id="{ED4574E2-1AC5-834F-9E2C-569CBFB72048}"/>
                    </a:ext>
                  </a:extLst>
                </p:cNvPr>
                <p:cNvSpPr/>
                <p:nvPr/>
              </p:nvSpPr>
              <p:spPr>
                <a:xfrm>
                  <a:off x="7232622" y="5601238"/>
                  <a:ext cx="26648" cy="26400"/>
                </a:xfrm>
                <a:custGeom>
                  <a:avLst/>
                  <a:gdLst>
                    <a:gd name="connsiteX0" fmla="*/ 26599 w 26648"/>
                    <a:gd name="connsiteY0" fmla="*/ 12027 h 26400"/>
                    <a:gd name="connsiteX1" fmla="*/ 14517 w 26648"/>
                    <a:gd name="connsiteY1" fmla="*/ 26351 h 26400"/>
                    <a:gd name="connsiteX2" fmla="*/ 68 w 26648"/>
                    <a:gd name="connsiteY2" fmla="*/ 14394 h 26400"/>
                    <a:gd name="connsiteX3" fmla="*/ 12026 w 26648"/>
                    <a:gd name="connsiteY3" fmla="*/ 70 h 26400"/>
                    <a:gd name="connsiteX4" fmla="*/ 26599 w 26648"/>
                    <a:gd name="connsiteY4" fmla="*/ 12027 h 2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400">
                      <a:moveTo>
                        <a:pt x="26599" y="12027"/>
                      </a:moveTo>
                      <a:cubicBezTo>
                        <a:pt x="27222" y="19376"/>
                        <a:pt x="21866" y="25728"/>
                        <a:pt x="14517" y="26351"/>
                      </a:cubicBezTo>
                      <a:cubicBezTo>
                        <a:pt x="7168" y="26974"/>
                        <a:pt x="691" y="21618"/>
                        <a:pt x="68" y="14394"/>
                      </a:cubicBezTo>
                      <a:cubicBezTo>
                        <a:pt x="-679" y="7045"/>
                        <a:pt x="4802" y="693"/>
                        <a:pt x="12026" y="70"/>
                      </a:cubicBezTo>
                      <a:cubicBezTo>
                        <a:pt x="19499" y="-678"/>
                        <a:pt x="25976" y="4678"/>
                        <a:pt x="26599" y="1202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4" name="Freeform 4772">
                  <a:extLst>
                    <a:ext uri="{FF2B5EF4-FFF2-40B4-BE49-F238E27FC236}">
                      <a16:creationId xmlns:a16="http://schemas.microsoft.com/office/drawing/2014/main" id="{667FAAA2-5755-3116-8CED-33EA0A9C8D17}"/>
                    </a:ext>
                  </a:extLst>
                </p:cNvPr>
                <p:cNvSpPr/>
                <p:nvPr/>
              </p:nvSpPr>
              <p:spPr>
                <a:xfrm>
                  <a:off x="7255078" y="5677039"/>
                  <a:ext cx="6374" cy="51940"/>
                </a:xfrm>
                <a:custGeom>
                  <a:avLst/>
                  <a:gdLst>
                    <a:gd name="connsiteX0" fmla="*/ 5264 w 6374"/>
                    <a:gd name="connsiteY0" fmla="*/ 51940 h 51940"/>
                    <a:gd name="connsiteX1" fmla="*/ 5513 w 6374"/>
                    <a:gd name="connsiteY1" fmla="*/ 33132 h 51940"/>
                    <a:gd name="connsiteX2" fmla="*/ 531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651" y="23417"/>
                        <a:pt x="531" y="16442"/>
                      </a:cubicBezTo>
                      <a:cubicBezTo>
                        <a:pt x="-591" y="9591"/>
                        <a:pt x="281"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5" name="Freeform 4773">
                  <a:extLst>
                    <a:ext uri="{FF2B5EF4-FFF2-40B4-BE49-F238E27FC236}">
                      <a16:creationId xmlns:a16="http://schemas.microsoft.com/office/drawing/2014/main" id="{4C6E4D20-6F15-5583-E921-E13B1B8441EC}"/>
                    </a:ext>
                  </a:extLst>
                </p:cNvPr>
                <p:cNvSpPr/>
                <p:nvPr/>
              </p:nvSpPr>
              <p:spPr>
                <a:xfrm>
                  <a:off x="7248260" y="5682644"/>
                  <a:ext cx="5605" cy="51816"/>
                </a:xfrm>
                <a:custGeom>
                  <a:avLst/>
                  <a:gdLst>
                    <a:gd name="connsiteX0" fmla="*/ 0 w 5605"/>
                    <a:gd name="connsiteY0" fmla="*/ 0 h 51816"/>
                    <a:gd name="connsiteX1" fmla="*/ 3737 w 5605"/>
                    <a:gd name="connsiteY1" fmla="*/ 18435 h 51816"/>
                    <a:gd name="connsiteX2" fmla="*/ 1993 w 5605"/>
                    <a:gd name="connsiteY2" fmla="*/ 35748 h 51816"/>
                    <a:gd name="connsiteX3" fmla="*/ 5605 w 560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605" h="51816">
                      <a:moveTo>
                        <a:pt x="0" y="0"/>
                      </a:moveTo>
                      <a:cubicBezTo>
                        <a:pt x="3239" y="7847"/>
                        <a:pt x="3737" y="14075"/>
                        <a:pt x="3737" y="18435"/>
                      </a:cubicBezTo>
                      <a:cubicBezTo>
                        <a:pt x="3613" y="25410"/>
                        <a:pt x="1744" y="28648"/>
                        <a:pt x="1993" y="35748"/>
                      </a:cubicBezTo>
                      <a:cubicBezTo>
                        <a:pt x="2118" y="42599"/>
                        <a:pt x="4111" y="48204"/>
                        <a:pt x="560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6" name="Freeform 4774">
                  <a:extLst>
                    <a:ext uri="{FF2B5EF4-FFF2-40B4-BE49-F238E27FC236}">
                      <a16:creationId xmlns:a16="http://schemas.microsoft.com/office/drawing/2014/main" id="{079E9C44-6DD3-A88D-0486-9564AAC1CB8F}"/>
                    </a:ext>
                  </a:extLst>
                </p:cNvPr>
                <p:cNvSpPr/>
                <p:nvPr/>
              </p:nvSpPr>
              <p:spPr>
                <a:xfrm>
                  <a:off x="7244204" y="5723076"/>
                  <a:ext cx="26277" cy="26504"/>
                </a:xfrm>
                <a:custGeom>
                  <a:avLst/>
                  <a:gdLst>
                    <a:gd name="connsiteX0" fmla="*/ 70 w 26277"/>
                    <a:gd name="connsiteY0" fmla="*/ 14374 h 26504"/>
                    <a:gd name="connsiteX1" fmla="*/ 11903 w 26277"/>
                    <a:gd name="connsiteY1" fmla="*/ 49 h 26504"/>
                    <a:gd name="connsiteX2" fmla="*/ 26227 w 26277"/>
                    <a:gd name="connsiteY2" fmla="*/ 12131 h 26504"/>
                    <a:gd name="connsiteX3" fmla="*/ 14394 w 26277"/>
                    <a:gd name="connsiteY3" fmla="*/ 26456 h 26504"/>
                    <a:gd name="connsiteX4" fmla="*/ 70 w 26277"/>
                    <a:gd name="connsiteY4" fmla="*/ 1437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504">
                      <a:moveTo>
                        <a:pt x="70" y="14374"/>
                      </a:moveTo>
                      <a:cubicBezTo>
                        <a:pt x="-678" y="7024"/>
                        <a:pt x="4678" y="672"/>
                        <a:pt x="11903" y="49"/>
                      </a:cubicBezTo>
                      <a:cubicBezTo>
                        <a:pt x="19127" y="-573"/>
                        <a:pt x="25605" y="4782"/>
                        <a:pt x="26227" y="12131"/>
                      </a:cubicBezTo>
                      <a:cubicBezTo>
                        <a:pt x="26850" y="19480"/>
                        <a:pt x="21619" y="25833"/>
                        <a:pt x="14394" y="26456"/>
                      </a:cubicBezTo>
                      <a:cubicBezTo>
                        <a:pt x="7170" y="27078"/>
                        <a:pt x="693" y="21723"/>
                        <a:pt x="70" y="143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4" name="Graphic 2987">
                <a:extLst>
                  <a:ext uri="{FF2B5EF4-FFF2-40B4-BE49-F238E27FC236}">
                    <a16:creationId xmlns:a16="http://schemas.microsoft.com/office/drawing/2014/main" id="{714143AA-B9A6-7F5C-74DE-901A0006855E}"/>
                  </a:ext>
                </a:extLst>
              </p:cNvPr>
              <p:cNvGrpSpPr/>
              <p:nvPr/>
            </p:nvGrpSpPr>
            <p:grpSpPr>
              <a:xfrm>
                <a:off x="7262285" y="5598519"/>
                <a:ext cx="37590" cy="148446"/>
                <a:chOff x="7262285" y="5598519"/>
                <a:chExt cx="37590" cy="148446"/>
              </a:xfrm>
              <a:grpFill/>
            </p:grpSpPr>
            <p:sp>
              <p:nvSpPr>
                <p:cNvPr id="4715" name="Freeform 4776">
                  <a:extLst>
                    <a:ext uri="{FF2B5EF4-FFF2-40B4-BE49-F238E27FC236}">
                      <a16:creationId xmlns:a16="http://schemas.microsoft.com/office/drawing/2014/main" id="{B64D1CFC-CC5F-1E61-4279-E131A5508DC6}"/>
                    </a:ext>
                  </a:extLst>
                </p:cNvPr>
                <p:cNvSpPr/>
                <p:nvPr/>
              </p:nvSpPr>
              <p:spPr>
                <a:xfrm>
                  <a:off x="7271563" y="5619120"/>
                  <a:ext cx="6374" cy="51940"/>
                </a:xfrm>
                <a:custGeom>
                  <a:avLst/>
                  <a:gdLst>
                    <a:gd name="connsiteX0" fmla="*/ 1111 w 6374"/>
                    <a:gd name="connsiteY0" fmla="*/ 0 h 51940"/>
                    <a:gd name="connsiteX1" fmla="*/ 861 w 6374"/>
                    <a:gd name="connsiteY1" fmla="*/ 18808 h 51940"/>
                    <a:gd name="connsiteX2" fmla="*/ 5844 w 6374"/>
                    <a:gd name="connsiteY2" fmla="*/ 35499 h 51940"/>
                    <a:gd name="connsiteX3" fmla="*/ 5221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0"/>
                      </a:moveTo>
                      <a:cubicBezTo>
                        <a:pt x="-633" y="8220"/>
                        <a:pt x="-11" y="14573"/>
                        <a:pt x="861" y="18808"/>
                      </a:cubicBezTo>
                      <a:cubicBezTo>
                        <a:pt x="2231" y="25659"/>
                        <a:pt x="4722" y="28523"/>
                        <a:pt x="5844" y="35499"/>
                      </a:cubicBezTo>
                      <a:cubicBezTo>
                        <a:pt x="6964" y="42350"/>
                        <a:pt x="6093" y="48204"/>
                        <a:pt x="522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6" name="Freeform 4777">
                  <a:extLst>
                    <a:ext uri="{FF2B5EF4-FFF2-40B4-BE49-F238E27FC236}">
                      <a16:creationId xmlns:a16="http://schemas.microsoft.com/office/drawing/2014/main" id="{DDBACB17-DB69-2BF6-CA54-FBECB954EA8A}"/>
                    </a:ext>
                  </a:extLst>
                </p:cNvPr>
                <p:cNvSpPr/>
                <p:nvPr/>
              </p:nvSpPr>
              <p:spPr>
                <a:xfrm>
                  <a:off x="7279274" y="5613515"/>
                  <a:ext cx="5356" cy="51816"/>
                </a:xfrm>
                <a:custGeom>
                  <a:avLst/>
                  <a:gdLst>
                    <a:gd name="connsiteX0" fmla="*/ 5357 w 5356"/>
                    <a:gd name="connsiteY0" fmla="*/ 51816 h 51816"/>
                    <a:gd name="connsiteX1" fmla="*/ 1744 w 5356"/>
                    <a:gd name="connsiteY1" fmla="*/ 33381 h 51816"/>
                    <a:gd name="connsiteX2" fmla="*/ 3613 w 5356"/>
                    <a:gd name="connsiteY2" fmla="*/ 16068 h 51816"/>
                    <a:gd name="connsiteX3" fmla="*/ 0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5357" y="51816"/>
                      </a:moveTo>
                      <a:cubicBezTo>
                        <a:pt x="2118" y="43969"/>
                        <a:pt x="1619" y="37741"/>
                        <a:pt x="1744" y="33381"/>
                      </a:cubicBezTo>
                      <a:cubicBezTo>
                        <a:pt x="1869" y="26406"/>
                        <a:pt x="3737" y="23168"/>
                        <a:pt x="3613" y="16068"/>
                      </a:cubicBezTo>
                      <a:cubicBezTo>
                        <a:pt x="3488"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7" name="Freeform 4778">
                  <a:extLst>
                    <a:ext uri="{FF2B5EF4-FFF2-40B4-BE49-F238E27FC236}">
                      <a16:creationId xmlns:a16="http://schemas.microsoft.com/office/drawing/2014/main" id="{9118F058-D3D1-9010-68B3-07928A262004}"/>
                    </a:ext>
                  </a:extLst>
                </p:cNvPr>
                <p:cNvSpPr/>
                <p:nvPr/>
              </p:nvSpPr>
              <p:spPr>
                <a:xfrm>
                  <a:off x="7262285" y="5598519"/>
                  <a:ext cx="26629" cy="26380"/>
                </a:xfrm>
                <a:custGeom>
                  <a:avLst/>
                  <a:gdLst>
                    <a:gd name="connsiteX0" fmla="*/ 26580 w 26629"/>
                    <a:gd name="connsiteY0" fmla="*/ 12007 h 26380"/>
                    <a:gd name="connsiteX1" fmla="*/ 14498 w 26629"/>
                    <a:gd name="connsiteY1" fmla="*/ 26331 h 26380"/>
                    <a:gd name="connsiteX2" fmla="*/ 49 w 26629"/>
                    <a:gd name="connsiteY2" fmla="*/ 14374 h 26380"/>
                    <a:gd name="connsiteX3" fmla="*/ 12132 w 26629"/>
                    <a:gd name="connsiteY3" fmla="*/ 49 h 26380"/>
                    <a:gd name="connsiteX4" fmla="*/ 26580 w 26629"/>
                    <a:gd name="connsiteY4" fmla="*/ 12007 h 2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380">
                      <a:moveTo>
                        <a:pt x="26580" y="12007"/>
                      </a:moveTo>
                      <a:cubicBezTo>
                        <a:pt x="27203" y="19356"/>
                        <a:pt x="21847" y="25708"/>
                        <a:pt x="14498" y="26331"/>
                      </a:cubicBezTo>
                      <a:cubicBezTo>
                        <a:pt x="7149" y="26954"/>
                        <a:pt x="672" y="21598"/>
                        <a:pt x="49" y="14374"/>
                      </a:cubicBezTo>
                      <a:cubicBezTo>
                        <a:pt x="-573" y="7024"/>
                        <a:pt x="4782" y="672"/>
                        <a:pt x="12132" y="49"/>
                      </a:cubicBezTo>
                      <a:cubicBezTo>
                        <a:pt x="19480" y="-573"/>
                        <a:pt x="25957" y="4782"/>
                        <a:pt x="2658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8" name="Freeform 4779">
                  <a:extLst>
                    <a:ext uri="{FF2B5EF4-FFF2-40B4-BE49-F238E27FC236}">
                      <a16:creationId xmlns:a16="http://schemas.microsoft.com/office/drawing/2014/main" id="{2D39A902-4D74-3C0A-1CD7-653582146A91}"/>
                    </a:ext>
                  </a:extLst>
                </p:cNvPr>
                <p:cNvSpPr/>
                <p:nvPr/>
              </p:nvSpPr>
              <p:spPr>
                <a:xfrm>
                  <a:off x="7284349" y="5674299"/>
                  <a:ext cx="6374" cy="51940"/>
                </a:xfrm>
                <a:custGeom>
                  <a:avLst/>
                  <a:gdLst>
                    <a:gd name="connsiteX0" fmla="*/ 5264 w 6374"/>
                    <a:gd name="connsiteY0" fmla="*/ 51940 h 51940"/>
                    <a:gd name="connsiteX1" fmla="*/ 5513 w 6374"/>
                    <a:gd name="connsiteY1" fmla="*/ 33132 h 51940"/>
                    <a:gd name="connsiteX2" fmla="*/ 530 w 6374"/>
                    <a:gd name="connsiteY2" fmla="*/ 16442 h 51940"/>
                    <a:gd name="connsiteX3" fmla="*/ 1153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51940"/>
                      </a:moveTo>
                      <a:cubicBezTo>
                        <a:pt x="7008" y="43719"/>
                        <a:pt x="6385" y="37367"/>
                        <a:pt x="5513" y="33132"/>
                      </a:cubicBezTo>
                      <a:cubicBezTo>
                        <a:pt x="4143" y="26281"/>
                        <a:pt x="1776" y="23417"/>
                        <a:pt x="530" y="16442"/>
                      </a:cubicBezTo>
                      <a:cubicBezTo>
                        <a:pt x="-590" y="9591"/>
                        <a:pt x="282" y="3737"/>
                        <a:pt x="11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9" name="Freeform 4780">
                  <a:extLst>
                    <a:ext uri="{FF2B5EF4-FFF2-40B4-BE49-F238E27FC236}">
                      <a16:creationId xmlns:a16="http://schemas.microsoft.com/office/drawing/2014/main" id="{A970C273-DEB9-E8BF-E7C8-962E61A461B2}"/>
                    </a:ext>
                  </a:extLst>
                </p:cNvPr>
                <p:cNvSpPr/>
                <p:nvPr/>
              </p:nvSpPr>
              <p:spPr>
                <a:xfrm>
                  <a:off x="7277656" y="5680029"/>
                  <a:ext cx="5355" cy="51816"/>
                </a:xfrm>
                <a:custGeom>
                  <a:avLst/>
                  <a:gdLst>
                    <a:gd name="connsiteX0" fmla="*/ 0 w 5355"/>
                    <a:gd name="connsiteY0" fmla="*/ 0 h 51816"/>
                    <a:gd name="connsiteX1" fmla="*/ 3612 w 5355"/>
                    <a:gd name="connsiteY1" fmla="*/ 18435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5"/>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20" name="Freeform 4781">
                  <a:extLst>
                    <a:ext uri="{FF2B5EF4-FFF2-40B4-BE49-F238E27FC236}">
                      <a16:creationId xmlns:a16="http://schemas.microsoft.com/office/drawing/2014/main" id="{7BFDD8BF-9E50-76A1-C98C-B9F8F455E2A5}"/>
                    </a:ext>
                  </a:extLst>
                </p:cNvPr>
                <p:cNvSpPr/>
                <p:nvPr/>
              </p:nvSpPr>
              <p:spPr>
                <a:xfrm>
                  <a:off x="7273495" y="5720461"/>
                  <a:ext cx="26380" cy="26504"/>
                </a:xfrm>
                <a:custGeom>
                  <a:avLst/>
                  <a:gdLst>
                    <a:gd name="connsiteX0" fmla="*/ 50 w 26380"/>
                    <a:gd name="connsiteY0" fmla="*/ 14373 h 26504"/>
                    <a:gd name="connsiteX1" fmla="*/ 12007 w 26380"/>
                    <a:gd name="connsiteY1" fmla="*/ 49 h 26504"/>
                    <a:gd name="connsiteX2" fmla="*/ 26332 w 26380"/>
                    <a:gd name="connsiteY2" fmla="*/ 12131 h 26504"/>
                    <a:gd name="connsiteX3" fmla="*/ 14374 w 26380"/>
                    <a:gd name="connsiteY3" fmla="*/ 26455 h 26504"/>
                    <a:gd name="connsiteX4" fmla="*/ 50 w 26380"/>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504">
                      <a:moveTo>
                        <a:pt x="50" y="14373"/>
                      </a:moveTo>
                      <a:cubicBezTo>
                        <a:pt x="-572" y="7024"/>
                        <a:pt x="4659" y="672"/>
                        <a:pt x="12007" y="49"/>
                      </a:cubicBezTo>
                      <a:cubicBezTo>
                        <a:pt x="19232" y="-573"/>
                        <a:pt x="25709" y="4782"/>
                        <a:pt x="26332" y="12131"/>
                      </a:cubicBezTo>
                      <a:cubicBezTo>
                        <a:pt x="26954" y="19480"/>
                        <a:pt x="21598" y="25833"/>
                        <a:pt x="14374" y="26455"/>
                      </a:cubicBezTo>
                      <a:cubicBezTo>
                        <a:pt x="7150" y="27078"/>
                        <a:pt x="798" y="21722"/>
                        <a:pt x="5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5" name="Graphic 2987">
                <a:extLst>
                  <a:ext uri="{FF2B5EF4-FFF2-40B4-BE49-F238E27FC236}">
                    <a16:creationId xmlns:a16="http://schemas.microsoft.com/office/drawing/2014/main" id="{7232CA3B-F297-F50F-9C3F-8C61E036DA7E}"/>
                  </a:ext>
                </a:extLst>
              </p:cNvPr>
              <p:cNvGrpSpPr/>
              <p:nvPr/>
            </p:nvGrpSpPr>
            <p:grpSpPr>
              <a:xfrm>
                <a:off x="7291930" y="5595884"/>
                <a:ext cx="37341" cy="148465"/>
                <a:chOff x="7291930" y="5595884"/>
                <a:chExt cx="37341" cy="148465"/>
              </a:xfrm>
              <a:grpFill/>
            </p:grpSpPr>
            <p:sp>
              <p:nvSpPr>
                <p:cNvPr id="4709" name="Freeform 4783">
                  <a:extLst>
                    <a:ext uri="{FF2B5EF4-FFF2-40B4-BE49-F238E27FC236}">
                      <a16:creationId xmlns:a16="http://schemas.microsoft.com/office/drawing/2014/main" id="{FDE0EA65-D0B5-F3A4-701D-9E19939EDD6F}"/>
                    </a:ext>
                  </a:extLst>
                </p:cNvPr>
                <p:cNvSpPr/>
                <p:nvPr/>
              </p:nvSpPr>
              <p:spPr>
                <a:xfrm>
                  <a:off x="7301070" y="5616504"/>
                  <a:ext cx="6133" cy="51940"/>
                </a:xfrm>
                <a:custGeom>
                  <a:avLst/>
                  <a:gdLst>
                    <a:gd name="connsiteX0" fmla="*/ 1124 w 6133"/>
                    <a:gd name="connsiteY0" fmla="*/ 0 h 51940"/>
                    <a:gd name="connsiteX1" fmla="*/ 750 w 6133"/>
                    <a:gd name="connsiteY1" fmla="*/ 18808 h 51940"/>
                    <a:gd name="connsiteX2" fmla="*/ 5607 w 6133"/>
                    <a:gd name="connsiteY2" fmla="*/ 35499 h 51940"/>
                    <a:gd name="connsiteX3" fmla="*/ 4860 w 613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33" h="51940">
                      <a:moveTo>
                        <a:pt x="1124" y="0"/>
                      </a:moveTo>
                      <a:cubicBezTo>
                        <a:pt x="-620" y="8221"/>
                        <a:pt x="2" y="14573"/>
                        <a:pt x="750" y="18808"/>
                      </a:cubicBezTo>
                      <a:cubicBezTo>
                        <a:pt x="2120" y="25659"/>
                        <a:pt x="4487" y="28524"/>
                        <a:pt x="5607" y="35499"/>
                      </a:cubicBezTo>
                      <a:cubicBezTo>
                        <a:pt x="6729" y="42350"/>
                        <a:pt x="5857" y="48204"/>
                        <a:pt x="486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0" name="Freeform 4784">
                  <a:extLst>
                    <a:ext uri="{FF2B5EF4-FFF2-40B4-BE49-F238E27FC236}">
                      <a16:creationId xmlns:a16="http://schemas.microsoft.com/office/drawing/2014/main" id="{72F17D29-3800-54E4-7CF2-7537D8946BA0}"/>
                    </a:ext>
                  </a:extLst>
                </p:cNvPr>
                <p:cNvSpPr/>
                <p:nvPr/>
              </p:nvSpPr>
              <p:spPr>
                <a:xfrm>
                  <a:off x="7308795" y="5610899"/>
                  <a:ext cx="5355" cy="51816"/>
                </a:xfrm>
                <a:custGeom>
                  <a:avLst/>
                  <a:gdLst>
                    <a:gd name="connsiteX0" fmla="*/ 5356 w 5355"/>
                    <a:gd name="connsiteY0" fmla="*/ 51816 h 51816"/>
                    <a:gd name="connsiteX1" fmla="*/ 1743 w 5355"/>
                    <a:gd name="connsiteY1" fmla="*/ 33381 h 51816"/>
                    <a:gd name="connsiteX2" fmla="*/ 3612 w 5355"/>
                    <a:gd name="connsiteY2" fmla="*/ 16068 h 51816"/>
                    <a:gd name="connsiteX3" fmla="*/ 0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51816"/>
                      </a:moveTo>
                      <a:cubicBezTo>
                        <a:pt x="2242" y="43969"/>
                        <a:pt x="1619" y="37741"/>
                        <a:pt x="1743" y="33381"/>
                      </a:cubicBezTo>
                      <a:cubicBezTo>
                        <a:pt x="1868" y="26406"/>
                        <a:pt x="3737" y="23168"/>
                        <a:pt x="3612" y="16068"/>
                      </a:cubicBezTo>
                      <a:cubicBezTo>
                        <a:pt x="3487" y="9217"/>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1" name="Freeform 4785">
                  <a:extLst>
                    <a:ext uri="{FF2B5EF4-FFF2-40B4-BE49-F238E27FC236}">
                      <a16:creationId xmlns:a16="http://schemas.microsoft.com/office/drawing/2014/main" id="{52F313B1-88A4-868E-26E0-EEF760BEE123}"/>
                    </a:ext>
                  </a:extLst>
                </p:cNvPr>
                <p:cNvSpPr/>
                <p:nvPr/>
              </p:nvSpPr>
              <p:spPr>
                <a:xfrm>
                  <a:off x="7291930" y="5595884"/>
                  <a:ext cx="26629" cy="26523"/>
                </a:xfrm>
                <a:custGeom>
                  <a:avLst/>
                  <a:gdLst>
                    <a:gd name="connsiteX0" fmla="*/ 26580 w 26629"/>
                    <a:gd name="connsiteY0" fmla="*/ 12026 h 26523"/>
                    <a:gd name="connsiteX1" fmla="*/ 14498 w 26629"/>
                    <a:gd name="connsiteY1" fmla="*/ 26474 h 26523"/>
                    <a:gd name="connsiteX2" fmla="*/ 49 w 26629"/>
                    <a:gd name="connsiteY2" fmla="*/ 14517 h 26523"/>
                    <a:gd name="connsiteX3" fmla="*/ 12132 w 26629"/>
                    <a:gd name="connsiteY3" fmla="*/ 68 h 26523"/>
                    <a:gd name="connsiteX4" fmla="*/ 26580 w 26629"/>
                    <a:gd name="connsiteY4" fmla="*/ 12026 h 26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23">
                      <a:moveTo>
                        <a:pt x="26580" y="12026"/>
                      </a:moveTo>
                      <a:cubicBezTo>
                        <a:pt x="27203" y="19375"/>
                        <a:pt x="21847" y="25727"/>
                        <a:pt x="14498" y="26474"/>
                      </a:cubicBezTo>
                      <a:cubicBezTo>
                        <a:pt x="7149" y="27097"/>
                        <a:pt x="672" y="21741"/>
                        <a:pt x="49" y="14517"/>
                      </a:cubicBezTo>
                      <a:cubicBezTo>
                        <a:pt x="-573" y="7168"/>
                        <a:pt x="4782" y="816"/>
                        <a:pt x="12132" y="68"/>
                      </a:cubicBezTo>
                      <a:cubicBezTo>
                        <a:pt x="19480" y="-679"/>
                        <a:pt x="25957" y="4802"/>
                        <a:pt x="26580" y="120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2" name="Freeform 4786">
                  <a:extLst>
                    <a:ext uri="{FF2B5EF4-FFF2-40B4-BE49-F238E27FC236}">
                      <a16:creationId xmlns:a16="http://schemas.microsoft.com/office/drawing/2014/main" id="{FD04D791-BAA3-18A2-36D1-07211EE4B82C}"/>
                    </a:ext>
                  </a:extLst>
                </p:cNvPr>
                <p:cNvSpPr/>
                <p:nvPr/>
              </p:nvSpPr>
              <p:spPr>
                <a:xfrm>
                  <a:off x="7313999" y="5671683"/>
                  <a:ext cx="6133" cy="51940"/>
                </a:xfrm>
                <a:custGeom>
                  <a:avLst/>
                  <a:gdLst>
                    <a:gd name="connsiteX0" fmla="*/ 5010 w 6133"/>
                    <a:gd name="connsiteY0" fmla="*/ 51940 h 51940"/>
                    <a:gd name="connsiteX1" fmla="*/ 5384 w 6133"/>
                    <a:gd name="connsiteY1" fmla="*/ 33132 h 51940"/>
                    <a:gd name="connsiteX2" fmla="*/ 526 w 6133"/>
                    <a:gd name="connsiteY2" fmla="*/ 16441 h 51940"/>
                    <a:gd name="connsiteX3" fmla="*/ 1273 w 6133"/>
                    <a:gd name="connsiteY3" fmla="*/ 0 h 51940"/>
                  </a:gdLst>
                  <a:ahLst/>
                  <a:cxnLst>
                    <a:cxn ang="0">
                      <a:pos x="connsiteX0" y="connsiteY0"/>
                    </a:cxn>
                    <a:cxn ang="0">
                      <a:pos x="connsiteX1" y="connsiteY1"/>
                    </a:cxn>
                    <a:cxn ang="0">
                      <a:pos x="connsiteX2" y="connsiteY2"/>
                    </a:cxn>
                    <a:cxn ang="0">
                      <a:pos x="connsiteX3" y="connsiteY3"/>
                    </a:cxn>
                  </a:cxnLst>
                  <a:rect l="l" t="t" r="r" b="b"/>
                  <a:pathLst>
                    <a:path w="6133" h="51940">
                      <a:moveTo>
                        <a:pt x="5010" y="51940"/>
                      </a:moveTo>
                      <a:cubicBezTo>
                        <a:pt x="6754" y="43719"/>
                        <a:pt x="6131" y="37367"/>
                        <a:pt x="5384" y="33132"/>
                      </a:cubicBezTo>
                      <a:cubicBezTo>
                        <a:pt x="4014" y="26281"/>
                        <a:pt x="1647" y="23417"/>
                        <a:pt x="526" y="16441"/>
                      </a:cubicBezTo>
                      <a:cubicBezTo>
                        <a:pt x="-595" y="9591"/>
                        <a:pt x="276" y="3737"/>
                        <a:pt x="12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3" name="Freeform 4787">
                  <a:extLst>
                    <a:ext uri="{FF2B5EF4-FFF2-40B4-BE49-F238E27FC236}">
                      <a16:creationId xmlns:a16="http://schemas.microsoft.com/office/drawing/2014/main" id="{A6A41F06-6025-8413-3428-16446B00BFD8}"/>
                    </a:ext>
                  </a:extLst>
                </p:cNvPr>
                <p:cNvSpPr/>
                <p:nvPr/>
              </p:nvSpPr>
              <p:spPr>
                <a:xfrm>
                  <a:off x="7307176" y="5677413"/>
                  <a:ext cx="5355" cy="51816"/>
                </a:xfrm>
                <a:custGeom>
                  <a:avLst/>
                  <a:gdLst>
                    <a:gd name="connsiteX0" fmla="*/ 0 w 5355"/>
                    <a:gd name="connsiteY0" fmla="*/ 0 h 51816"/>
                    <a:gd name="connsiteX1" fmla="*/ 3612 w 5355"/>
                    <a:gd name="connsiteY1" fmla="*/ 18434 h 51816"/>
                    <a:gd name="connsiteX2" fmla="*/ 1743 w 5355"/>
                    <a:gd name="connsiteY2" fmla="*/ 35748 h 51816"/>
                    <a:gd name="connsiteX3" fmla="*/ 5356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0" y="0"/>
                      </a:moveTo>
                      <a:cubicBezTo>
                        <a:pt x="3238" y="7847"/>
                        <a:pt x="3737" y="14075"/>
                        <a:pt x="3612" y="18434"/>
                      </a:cubicBezTo>
                      <a:cubicBezTo>
                        <a:pt x="3487" y="25410"/>
                        <a:pt x="1619" y="28648"/>
                        <a:pt x="1743" y="35748"/>
                      </a:cubicBezTo>
                      <a:cubicBezTo>
                        <a:pt x="1868" y="42599"/>
                        <a:pt x="3737" y="48204"/>
                        <a:pt x="535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14" name="Freeform 4788">
                  <a:extLst>
                    <a:ext uri="{FF2B5EF4-FFF2-40B4-BE49-F238E27FC236}">
                      <a16:creationId xmlns:a16="http://schemas.microsoft.com/office/drawing/2014/main" id="{1C6D8CA5-DD3A-4EF2-DF70-201459B918CB}"/>
                    </a:ext>
                  </a:extLst>
                </p:cNvPr>
                <p:cNvSpPr/>
                <p:nvPr/>
              </p:nvSpPr>
              <p:spPr>
                <a:xfrm>
                  <a:off x="7302891" y="5717845"/>
                  <a:ext cx="26379" cy="26504"/>
                </a:xfrm>
                <a:custGeom>
                  <a:avLst/>
                  <a:gdLst>
                    <a:gd name="connsiteX0" fmla="*/ 49 w 26379"/>
                    <a:gd name="connsiteY0" fmla="*/ 14373 h 26504"/>
                    <a:gd name="connsiteX1" fmla="*/ 12007 w 26379"/>
                    <a:gd name="connsiteY1" fmla="*/ 49 h 26504"/>
                    <a:gd name="connsiteX2" fmla="*/ 26331 w 26379"/>
                    <a:gd name="connsiteY2" fmla="*/ 12131 h 26504"/>
                    <a:gd name="connsiteX3" fmla="*/ 14374 w 26379"/>
                    <a:gd name="connsiteY3" fmla="*/ 26455 h 26504"/>
                    <a:gd name="connsiteX4" fmla="*/ 49 w 2637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9" h="26504">
                      <a:moveTo>
                        <a:pt x="49" y="14373"/>
                      </a:moveTo>
                      <a:cubicBezTo>
                        <a:pt x="-573" y="7024"/>
                        <a:pt x="4782" y="672"/>
                        <a:pt x="12007" y="49"/>
                      </a:cubicBezTo>
                      <a:cubicBezTo>
                        <a:pt x="19231" y="-574"/>
                        <a:pt x="25708" y="4783"/>
                        <a:pt x="26331" y="12131"/>
                      </a:cubicBezTo>
                      <a:cubicBezTo>
                        <a:pt x="26953" y="19480"/>
                        <a:pt x="21597" y="25833"/>
                        <a:pt x="14374" y="26455"/>
                      </a:cubicBezTo>
                      <a:cubicBezTo>
                        <a:pt x="7149" y="27078"/>
                        <a:pt x="672"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6" name="Graphic 2987">
                <a:extLst>
                  <a:ext uri="{FF2B5EF4-FFF2-40B4-BE49-F238E27FC236}">
                    <a16:creationId xmlns:a16="http://schemas.microsoft.com/office/drawing/2014/main" id="{4389D734-AE42-7AE3-7C4D-E46215DC3BCF}"/>
                  </a:ext>
                </a:extLst>
              </p:cNvPr>
              <p:cNvGrpSpPr/>
              <p:nvPr/>
            </p:nvGrpSpPr>
            <p:grpSpPr>
              <a:xfrm>
                <a:off x="7321575" y="5593163"/>
                <a:ext cx="36826" cy="148571"/>
                <a:chOff x="7321575" y="5593163"/>
                <a:chExt cx="36826" cy="148571"/>
              </a:xfrm>
              <a:grpFill/>
            </p:grpSpPr>
            <p:sp>
              <p:nvSpPr>
                <p:cNvPr id="4703" name="Freeform 4790">
                  <a:extLst>
                    <a:ext uri="{FF2B5EF4-FFF2-40B4-BE49-F238E27FC236}">
                      <a16:creationId xmlns:a16="http://schemas.microsoft.com/office/drawing/2014/main" id="{EAD5FA40-7E41-AC42-5BFD-46891D0E4A05}"/>
                    </a:ext>
                  </a:extLst>
                </p:cNvPr>
                <p:cNvSpPr/>
                <p:nvPr/>
              </p:nvSpPr>
              <p:spPr>
                <a:xfrm>
                  <a:off x="7330670" y="5613888"/>
                  <a:ext cx="6151" cy="51940"/>
                </a:xfrm>
                <a:custGeom>
                  <a:avLst/>
                  <a:gdLst>
                    <a:gd name="connsiteX0" fmla="*/ 1168 w 6151"/>
                    <a:gd name="connsiteY0" fmla="*/ 0 h 51940"/>
                    <a:gd name="connsiteX1" fmla="*/ 794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8" y="0"/>
                      </a:moveTo>
                      <a:cubicBezTo>
                        <a:pt x="-576" y="8221"/>
                        <a:pt x="-77" y="14573"/>
                        <a:pt x="794"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4" name="Freeform 4791">
                  <a:extLst>
                    <a:ext uri="{FF2B5EF4-FFF2-40B4-BE49-F238E27FC236}">
                      <a16:creationId xmlns:a16="http://schemas.microsoft.com/office/drawing/2014/main" id="{D18155A5-5FE0-B21E-52A2-243AACF8767B}"/>
                    </a:ext>
                  </a:extLst>
                </p:cNvPr>
                <p:cNvSpPr/>
                <p:nvPr/>
              </p:nvSpPr>
              <p:spPr>
                <a:xfrm>
                  <a:off x="7338315" y="5608283"/>
                  <a:ext cx="5231" cy="51816"/>
                </a:xfrm>
                <a:custGeom>
                  <a:avLst/>
                  <a:gdLst>
                    <a:gd name="connsiteX0" fmla="*/ 5231 w 5231"/>
                    <a:gd name="connsiteY0" fmla="*/ 51816 h 51816"/>
                    <a:gd name="connsiteX1" fmla="*/ 1619 w 5231"/>
                    <a:gd name="connsiteY1" fmla="*/ 33382 h 51816"/>
                    <a:gd name="connsiteX2" fmla="*/ 3612 w 5231"/>
                    <a:gd name="connsiteY2" fmla="*/ 16068 h 51816"/>
                    <a:gd name="connsiteX3" fmla="*/ 0 w 5231"/>
                    <a:gd name="connsiteY3" fmla="*/ 0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51816"/>
                      </a:moveTo>
                      <a:cubicBezTo>
                        <a:pt x="2117" y="43969"/>
                        <a:pt x="1495" y="37741"/>
                        <a:pt x="1619" y="33382"/>
                      </a:cubicBezTo>
                      <a:cubicBezTo>
                        <a:pt x="1743" y="26407"/>
                        <a:pt x="3612" y="23168"/>
                        <a:pt x="3612" y="16068"/>
                      </a:cubicBezTo>
                      <a:cubicBezTo>
                        <a:pt x="3487" y="9218"/>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5" name="Freeform 4792">
                  <a:extLst>
                    <a:ext uri="{FF2B5EF4-FFF2-40B4-BE49-F238E27FC236}">
                      <a16:creationId xmlns:a16="http://schemas.microsoft.com/office/drawing/2014/main" id="{CC40D268-A2DD-3867-C98D-C23786705719}"/>
                    </a:ext>
                  </a:extLst>
                </p:cNvPr>
                <p:cNvSpPr/>
                <p:nvPr/>
              </p:nvSpPr>
              <p:spPr>
                <a:xfrm>
                  <a:off x="7321575" y="5593163"/>
                  <a:ext cx="26628" cy="26629"/>
                </a:xfrm>
                <a:custGeom>
                  <a:avLst/>
                  <a:gdLst>
                    <a:gd name="connsiteX0" fmla="*/ 26580 w 26628"/>
                    <a:gd name="connsiteY0" fmla="*/ 12131 h 26629"/>
                    <a:gd name="connsiteX1" fmla="*/ 14498 w 26628"/>
                    <a:gd name="connsiteY1" fmla="*/ 26580 h 26629"/>
                    <a:gd name="connsiteX2" fmla="*/ 49 w 26628"/>
                    <a:gd name="connsiteY2" fmla="*/ 14498 h 26629"/>
                    <a:gd name="connsiteX3" fmla="*/ 12132 w 26628"/>
                    <a:gd name="connsiteY3" fmla="*/ 49 h 26629"/>
                    <a:gd name="connsiteX4" fmla="*/ 26580 w 26628"/>
                    <a:gd name="connsiteY4" fmla="*/ 12131 h 2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8" h="26629">
                      <a:moveTo>
                        <a:pt x="26580" y="12131"/>
                      </a:moveTo>
                      <a:cubicBezTo>
                        <a:pt x="27203" y="19480"/>
                        <a:pt x="21722" y="25833"/>
                        <a:pt x="14498" y="26580"/>
                      </a:cubicBezTo>
                      <a:cubicBezTo>
                        <a:pt x="7149" y="27203"/>
                        <a:pt x="797" y="21847"/>
                        <a:pt x="49" y="14498"/>
                      </a:cubicBezTo>
                      <a:cubicBezTo>
                        <a:pt x="-573" y="7149"/>
                        <a:pt x="4782" y="797"/>
                        <a:pt x="12132" y="49"/>
                      </a:cubicBezTo>
                      <a:cubicBezTo>
                        <a:pt x="19480" y="-573"/>
                        <a:pt x="25957" y="4782"/>
                        <a:pt x="26580"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6" name="Freeform 4793">
                  <a:extLst>
                    <a:ext uri="{FF2B5EF4-FFF2-40B4-BE49-F238E27FC236}">
                      <a16:creationId xmlns:a16="http://schemas.microsoft.com/office/drawing/2014/main" id="{AB86D068-E234-4B11-CFDB-3E2EDC90566F}"/>
                    </a:ext>
                  </a:extLst>
                </p:cNvPr>
                <p:cNvSpPr/>
                <p:nvPr/>
              </p:nvSpPr>
              <p:spPr>
                <a:xfrm>
                  <a:off x="7343421" y="5669067"/>
                  <a:ext cx="6151" cy="51940"/>
                </a:xfrm>
                <a:custGeom>
                  <a:avLst/>
                  <a:gdLst>
                    <a:gd name="connsiteX0" fmla="*/ 4984 w 6151"/>
                    <a:gd name="connsiteY0" fmla="*/ 51941 h 51940"/>
                    <a:gd name="connsiteX1" fmla="*/ 5357 w 6151"/>
                    <a:gd name="connsiteY1" fmla="*/ 33132 h 51940"/>
                    <a:gd name="connsiteX2" fmla="*/ 499 w 6151"/>
                    <a:gd name="connsiteY2" fmla="*/ 16442 h 51940"/>
                    <a:gd name="connsiteX3" fmla="*/ 1246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51941"/>
                      </a:moveTo>
                      <a:cubicBezTo>
                        <a:pt x="6727" y="43720"/>
                        <a:pt x="6229" y="37367"/>
                        <a:pt x="5357" y="33132"/>
                      </a:cubicBezTo>
                      <a:cubicBezTo>
                        <a:pt x="3987" y="26282"/>
                        <a:pt x="1620" y="23417"/>
                        <a:pt x="499" y="16442"/>
                      </a:cubicBezTo>
                      <a:cubicBezTo>
                        <a:pt x="-622" y="9591"/>
                        <a:pt x="375" y="3737"/>
                        <a:pt x="12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7" name="Freeform 4794">
                  <a:extLst>
                    <a:ext uri="{FF2B5EF4-FFF2-40B4-BE49-F238E27FC236}">
                      <a16:creationId xmlns:a16="http://schemas.microsoft.com/office/drawing/2014/main" id="{74E44064-C01E-4643-29E1-86973C9F75A3}"/>
                    </a:ext>
                  </a:extLst>
                </p:cNvPr>
                <p:cNvSpPr/>
                <p:nvPr/>
              </p:nvSpPr>
              <p:spPr>
                <a:xfrm>
                  <a:off x="7336571" y="5674797"/>
                  <a:ext cx="5231" cy="51815"/>
                </a:xfrm>
                <a:custGeom>
                  <a:avLst/>
                  <a:gdLst>
                    <a:gd name="connsiteX0" fmla="*/ 0 w 5231"/>
                    <a:gd name="connsiteY0" fmla="*/ 0 h 51815"/>
                    <a:gd name="connsiteX1" fmla="*/ 3612 w 5231"/>
                    <a:gd name="connsiteY1" fmla="*/ 18434 h 51815"/>
                    <a:gd name="connsiteX2" fmla="*/ 1744 w 5231"/>
                    <a:gd name="connsiteY2" fmla="*/ 35748 h 51815"/>
                    <a:gd name="connsiteX3" fmla="*/ 5231 w 523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5231" h="51815">
                      <a:moveTo>
                        <a:pt x="0" y="0"/>
                      </a:moveTo>
                      <a:cubicBezTo>
                        <a:pt x="3114" y="7847"/>
                        <a:pt x="3737" y="14075"/>
                        <a:pt x="3612" y="18434"/>
                      </a:cubicBezTo>
                      <a:cubicBezTo>
                        <a:pt x="3487" y="25409"/>
                        <a:pt x="1619" y="28648"/>
                        <a:pt x="1744" y="35748"/>
                      </a:cubicBezTo>
                      <a:cubicBezTo>
                        <a:pt x="1868" y="42599"/>
                        <a:pt x="3737" y="48204"/>
                        <a:pt x="523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8" name="Freeform 4795">
                  <a:extLst>
                    <a:ext uri="{FF2B5EF4-FFF2-40B4-BE49-F238E27FC236}">
                      <a16:creationId xmlns:a16="http://schemas.microsoft.com/office/drawing/2014/main" id="{870E2F51-D0AB-4AE6-9A6B-FEC974FD2E30}"/>
                    </a:ext>
                  </a:extLst>
                </p:cNvPr>
                <p:cNvSpPr/>
                <p:nvPr/>
              </p:nvSpPr>
              <p:spPr>
                <a:xfrm>
                  <a:off x="7332162" y="5715229"/>
                  <a:ext cx="26239" cy="26504"/>
                </a:xfrm>
                <a:custGeom>
                  <a:avLst/>
                  <a:gdLst>
                    <a:gd name="connsiteX0" fmla="*/ 49 w 26239"/>
                    <a:gd name="connsiteY0" fmla="*/ 14373 h 26504"/>
                    <a:gd name="connsiteX1" fmla="*/ 12007 w 26239"/>
                    <a:gd name="connsiteY1" fmla="*/ 49 h 26504"/>
                    <a:gd name="connsiteX2" fmla="*/ 26207 w 26239"/>
                    <a:gd name="connsiteY2" fmla="*/ 12131 h 26504"/>
                    <a:gd name="connsiteX3" fmla="*/ 14249 w 26239"/>
                    <a:gd name="connsiteY3" fmla="*/ 26455 h 26504"/>
                    <a:gd name="connsiteX4" fmla="*/ 49 w 26239"/>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504">
                      <a:moveTo>
                        <a:pt x="49" y="14373"/>
                      </a:moveTo>
                      <a:cubicBezTo>
                        <a:pt x="-573" y="7024"/>
                        <a:pt x="4782" y="672"/>
                        <a:pt x="12007" y="49"/>
                      </a:cubicBezTo>
                      <a:cubicBezTo>
                        <a:pt x="19232" y="-574"/>
                        <a:pt x="25708" y="4782"/>
                        <a:pt x="26207" y="12131"/>
                      </a:cubicBezTo>
                      <a:cubicBezTo>
                        <a:pt x="26705" y="19480"/>
                        <a:pt x="21474" y="25832"/>
                        <a:pt x="14249" y="26455"/>
                      </a:cubicBezTo>
                      <a:cubicBezTo>
                        <a:pt x="7149" y="27078"/>
                        <a:pt x="673" y="21722"/>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7" name="Graphic 2987">
                <a:extLst>
                  <a:ext uri="{FF2B5EF4-FFF2-40B4-BE49-F238E27FC236}">
                    <a16:creationId xmlns:a16="http://schemas.microsoft.com/office/drawing/2014/main" id="{07455128-4473-170A-BF27-2F969207F4C8}"/>
                  </a:ext>
                </a:extLst>
              </p:cNvPr>
              <p:cNvGrpSpPr/>
              <p:nvPr/>
            </p:nvGrpSpPr>
            <p:grpSpPr>
              <a:xfrm>
                <a:off x="7351096" y="5590547"/>
                <a:ext cx="36717" cy="148571"/>
                <a:chOff x="7351096" y="5590547"/>
                <a:chExt cx="36717" cy="148571"/>
              </a:xfrm>
              <a:grpFill/>
            </p:grpSpPr>
            <p:sp>
              <p:nvSpPr>
                <p:cNvPr id="4697" name="Freeform 4797">
                  <a:extLst>
                    <a:ext uri="{FF2B5EF4-FFF2-40B4-BE49-F238E27FC236}">
                      <a16:creationId xmlns:a16="http://schemas.microsoft.com/office/drawing/2014/main" id="{077B4FF2-DE95-ABF1-FFAD-E32776812D7D}"/>
                    </a:ext>
                  </a:extLst>
                </p:cNvPr>
                <p:cNvSpPr/>
                <p:nvPr/>
              </p:nvSpPr>
              <p:spPr>
                <a:xfrm>
                  <a:off x="7360314" y="5611148"/>
                  <a:ext cx="6151" cy="51940"/>
                </a:xfrm>
                <a:custGeom>
                  <a:avLst/>
                  <a:gdLst>
                    <a:gd name="connsiteX0" fmla="*/ 1169 w 6151"/>
                    <a:gd name="connsiteY0" fmla="*/ 0 h 51940"/>
                    <a:gd name="connsiteX1" fmla="*/ 795 w 6151"/>
                    <a:gd name="connsiteY1" fmla="*/ 18808 h 51940"/>
                    <a:gd name="connsiteX2" fmla="*/ 5652 w 6151"/>
                    <a:gd name="connsiteY2" fmla="*/ 35499 h 51940"/>
                    <a:gd name="connsiteX3" fmla="*/ 4905 w 6151"/>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0"/>
                      </a:moveTo>
                      <a:cubicBezTo>
                        <a:pt x="-575" y="8221"/>
                        <a:pt x="-77" y="14573"/>
                        <a:pt x="795" y="18808"/>
                      </a:cubicBezTo>
                      <a:cubicBezTo>
                        <a:pt x="2165" y="25659"/>
                        <a:pt x="4532" y="28524"/>
                        <a:pt x="5652" y="35499"/>
                      </a:cubicBezTo>
                      <a:cubicBezTo>
                        <a:pt x="6774" y="42350"/>
                        <a:pt x="5777" y="48204"/>
                        <a:pt x="4905"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8" name="Freeform 4798">
                  <a:extLst>
                    <a:ext uri="{FF2B5EF4-FFF2-40B4-BE49-F238E27FC236}">
                      <a16:creationId xmlns:a16="http://schemas.microsoft.com/office/drawing/2014/main" id="{6C1258F5-9877-D5C4-2A38-13100C229E97}"/>
                    </a:ext>
                  </a:extLst>
                </p:cNvPr>
                <p:cNvSpPr/>
                <p:nvPr/>
              </p:nvSpPr>
              <p:spPr>
                <a:xfrm>
                  <a:off x="7368084" y="5605668"/>
                  <a:ext cx="4982" cy="51816"/>
                </a:xfrm>
                <a:custGeom>
                  <a:avLst/>
                  <a:gdLst>
                    <a:gd name="connsiteX0" fmla="*/ 4983 w 4982"/>
                    <a:gd name="connsiteY0" fmla="*/ 51816 h 51816"/>
                    <a:gd name="connsiteX1" fmla="*/ 1495 w 4982"/>
                    <a:gd name="connsiteY1" fmla="*/ 33381 h 51816"/>
                    <a:gd name="connsiteX2" fmla="*/ 3488 w 4982"/>
                    <a:gd name="connsiteY2" fmla="*/ 16068 h 51816"/>
                    <a:gd name="connsiteX3" fmla="*/ 0 w 4982"/>
                    <a:gd name="connsiteY3" fmla="*/ 0 h 51816"/>
                  </a:gdLst>
                  <a:ahLst/>
                  <a:cxnLst>
                    <a:cxn ang="0">
                      <a:pos x="connsiteX0" y="connsiteY0"/>
                    </a:cxn>
                    <a:cxn ang="0">
                      <a:pos x="connsiteX1" y="connsiteY1"/>
                    </a:cxn>
                    <a:cxn ang="0">
                      <a:pos x="connsiteX2" y="connsiteY2"/>
                    </a:cxn>
                    <a:cxn ang="0">
                      <a:pos x="connsiteX3" y="connsiteY3"/>
                    </a:cxn>
                  </a:cxnLst>
                  <a:rect l="l" t="t" r="r" b="b"/>
                  <a:pathLst>
                    <a:path w="4982" h="51816">
                      <a:moveTo>
                        <a:pt x="4983" y="51816"/>
                      </a:moveTo>
                      <a:cubicBezTo>
                        <a:pt x="1869" y="43969"/>
                        <a:pt x="1371" y="37741"/>
                        <a:pt x="1495" y="33381"/>
                      </a:cubicBezTo>
                      <a:cubicBezTo>
                        <a:pt x="1744" y="26406"/>
                        <a:pt x="3613" y="23168"/>
                        <a:pt x="3488" y="16068"/>
                      </a:cubicBezTo>
                      <a:cubicBezTo>
                        <a:pt x="3363" y="9217"/>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9" name="Freeform 4799">
                  <a:extLst>
                    <a:ext uri="{FF2B5EF4-FFF2-40B4-BE49-F238E27FC236}">
                      <a16:creationId xmlns:a16="http://schemas.microsoft.com/office/drawing/2014/main" id="{D9EA6066-E726-6891-CB76-8B681A6065AB}"/>
                    </a:ext>
                  </a:extLst>
                </p:cNvPr>
                <p:cNvSpPr/>
                <p:nvPr/>
              </p:nvSpPr>
              <p:spPr>
                <a:xfrm>
                  <a:off x="7351096" y="5590547"/>
                  <a:ext cx="26627" cy="26648"/>
                </a:xfrm>
                <a:custGeom>
                  <a:avLst/>
                  <a:gdLst>
                    <a:gd name="connsiteX0" fmla="*/ 26579 w 26627"/>
                    <a:gd name="connsiteY0" fmla="*/ 12131 h 26648"/>
                    <a:gd name="connsiteX1" fmla="*/ 14373 w 26627"/>
                    <a:gd name="connsiteY1" fmla="*/ 26580 h 26648"/>
                    <a:gd name="connsiteX2" fmla="*/ 48 w 26627"/>
                    <a:gd name="connsiteY2" fmla="*/ 14498 h 26648"/>
                    <a:gd name="connsiteX3" fmla="*/ 12255 w 26627"/>
                    <a:gd name="connsiteY3" fmla="*/ 49 h 26648"/>
                    <a:gd name="connsiteX4" fmla="*/ 26579 w 26627"/>
                    <a:gd name="connsiteY4" fmla="*/ 12131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648">
                      <a:moveTo>
                        <a:pt x="26579" y="12131"/>
                      </a:moveTo>
                      <a:cubicBezTo>
                        <a:pt x="27202" y="19480"/>
                        <a:pt x="21721" y="25833"/>
                        <a:pt x="14373" y="26580"/>
                      </a:cubicBezTo>
                      <a:cubicBezTo>
                        <a:pt x="7023" y="27327"/>
                        <a:pt x="671" y="21847"/>
                        <a:pt x="48" y="14498"/>
                      </a:cubicBezTo>
                      <a:cubicBezTo>
                        <a:pt x="-574" y="7149"/>
                        <a:pt x="4906" y="797"/>
                        <a:pt x="12255" y="49"/>
                      </a:cubicBezTo>
                      <a:cubicBezTo>
                        <a:pt x="19604" y="-574"/>
                        <a:pt x="26081" y="4783"/>
                        <a:pt x="26579" y="121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0" name="Freeform 4800">
                  <a:extLst>
                    <a:ext uri="{FF2B5EF4-FFF2-40B4-BE49-F238E27FC236}">
                      <a16:creationId xmlns:a16="http://schemas.microsoft.com/office/drawing/2014/main" id="{2135B7FB-22D0-790B-D909-2BB64982ADF5}"/>
                    </a:ext>
                  </a:extLst>
                </p:cNvPr>
                <p:cNvSpPr/>
                <p:nvPr/>
              </p:nvSpPr>
              <p:spPr>
                <a:xfrm>
                  <a:off x="7372692" y="5666452"/>
                  <a:ext cx="6151" cy="51940"/>
                </a:xfrm>
                <a:custGeom>
                  <a:avLst/>
                  <a:gdLst>
                    <a:gd name="connsiteX0" fmla="*/ 4983 w 6151"/>
                    <a:gd name="connsiteY0" fmla="*/ 51941 h 51940"/>
                    <a:gd name="connsiteX1" fmla="*/ 5357 w 6151"/>
                    <a:gd name="connsiteY1" fmla="*/ 33132 h 51940"/>
                    <a:gd name="connsiteX2" fmla="*/ 499 w 6151"/>
                    <a:gd name="connsiteY2" fmla="*/ 16442 h 51940"/>
                    <a:gd name="connsiteX3" fmla="*/ 1247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4983" y="51941"/>
                      </a:moveTo>
                      <a:cubicBezTo>
                        <a:pt x="6727" y="43720"/>
                        <a:pt x="6229" y="37367"/>
                        <a:pt x="5357" y="33132"/>
                      </a:cubicBezTo>
                      <a:cubicBezTo>
                        <a:pt x="3987" y="26281"/>
                        <a:pt x="1620" y="23417"/>
                        <a:pt x="499" y="16442"/>
                      </a:cubicBezTo>
                      <a:cubicBezTo>
                        <a:pt x="-622" y="9591"/>
                        <a:pt x="375" y="3737"/>
                        <a:pt x="12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1" name="Freeform 4801">
                  <a:extLst>
                    <a:ext uri="{FF2B5EF4-FFF2-40B4-BE49-F238E27FC236}">
                      <a16:creationId xmlns:a16="http://schemas.microsoft.com/office/drawing/2014/main" id="{125B78D6-34E9-5F72-8385-2C2211939B55}"/>
                    </a:ext>
                  </a:extLst>
                </p:cNvPr>
                <p:cNvSpPr/>
                <p:nvPr/>
              </p:nvSpPr>
              <p:spPr>
                <a:xfrm>
                  <a:off x="7366091" y="5672181"/>
                  <a:ext cx="4982" cy="51816"/>
                </a:xfrm>
                <a:custGeom>
                  <a:avLst/>
                  <a:gdLst>
                    <a:gd name="connsiteX0" fmla="*/ 0 w 4982"/>
                    <a:gd name="connsiteY0" fmla="*/ 0 h 51816"/>
                    <a:gd name="connsiteX1" fmla="*/ 3487 w 4982"/>
                    <a:gd name="connsiteY1" fmla="*/ 18435 h 51816"/>
                    <a:gd name="connsiteX2" fmla="*/ 1495 w 4982"/>
                    <a:gd name="connsiteY2" fmla="*/ 35748 h 51816"/>
                    <a:gd name="connsiteX3" fmla="*/ 4983 w 4982"/>
                    <a:gd name="connsiteY3" fmla="*/ 51816 h 51816"/>
                  </a:gdLst>
                  <a:ahLst/>
                  <a:cxnLst>
                    <a:cxn ang="0">
                      <a:pos x="connsiteX0" y="connsiteY0"/>
                    </a:cxn>
                    <a:cxn ang="0">
                      <a:pos x="connsiteX1" y="connsiteY1"/>
                    </a:cxn>
                    <a:cxn ang="0">
                      <a:pos x="connsiteX2" y="connsiteY2"/>
                    </a:cxn>
                    <a:cxn ang="0">
                      <a:pos x="connsiteX3" y="connsiteY3"/>
                    </a:cxn>
                  </a:cxnLst>
                  <a:rect l="l" t="t" r="r" b="b"/>
                  <a:pathLst>
                    <a:path w="4982" h="51816">
                      <a:moveTo>
                        <a:pt x="0" y="0"/>
                      </a:moveTo>
                      <a:cubicBezTo>
                        <a:pt x="3114" y="7847"/>
                        <a:pt x="3612" y="14075"/>
                        <a:pt x="3487" y="18435"/>
                      </a:cubicBezTo>
                      <a:cubicBezTo>
                        <a:pt x="3239" y="25410"/>
                        <a:pt x="1495" y="28648"/>
                        <a:pt x="1495" y="35748"/>
                      </a:cubicBezTo>
                      <a:cubicBezTo>
                        <a:pt x="1619" y="42599"/>
                        <a:pt x="3487" y="48204"/>
                        <a:pt x="4983"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702" name="Freeform 4802">
                  <a:extLst>
                    <a:ext uri="{FF2B5EF4-FFF2-40B4-BE49-F238E27FC236}">
                      <a16:creationId xmlns:a16="http://schemas.microsoft.com/office/drawing/2014/main" id="{299F2D86-B576-5061-A6FC-4F5D68FC471A}"/>
                    </a:ext>
                  </a:extLst>
                </p:cNvPr>
                <p:cNvSpPr/>
                <p:nvPr/>
              </p:nvSpPr>
              <p:spPr>
                <a:xfrm>
                  <a:off x="7361558" y="5712613"/>
                  <a:ext cx="26255" cy="26504"/>
                </a:xfrm>
                <a:custGeom>
                  <a:avLst/>
                  <a:gdLst>
                    <a:gd name="connsiteX0" fmla="*/ 49 w 26255"/>
                    <a:gd name="connsiteY0" fmla="*/ 14373 h 26504"/>
                    <a:gd name="connsiteX1" fmla="*/ 12006 w 26255"/>
                    <a:gd name="connsiteY1" fmla="*/ 49 h 26504"/>
                    <a:gd name="connsiteX2" fmla="*/ 26206 w 26255"/>
                    <a:gd name="connsiteY2" fmla="*/ 12131 h 26504"/>
                    <a:gd name="connsiteX3" fmla="*/ 14248 w 26255"/>
                    <a:gd name="connsiteY3" fmla="*/ 26455 h 26504"/>
                    <a:gd name="connsiteX4" fmla="*/ 49 w 26255"/>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04">
                      <a:moveTo>
                        <a:pt x="49" y="14373"/>
                      </a:moveTo>
                      <a:cubicBezTo>
                        <a:pt x="-574" y="7024"/>
                        <a:pt x="4783" y="672"/>
                        <a:pt x="12006" y="49"/>
                      </a:cubicBezTo>
                      <a:cubicBezTo>
                        <a:pt x="19231" y="-573"/>
                        <a:pt x="25584" y="4782"/>
                        <a:pt x="26206" y="12131"/>
                      </a:cubicBezTo>
                      <a:cubicBezTo>
                        <a:pt x="26829" y="19480"/>
                        <a:pt x="21473" y="25833"/>
                        <a:pt x="14248" y="26455"/>
                      </a:cubicBezTo>
                      <a:cubicBezTo>
                        <a:pt x="7025" y="27078"/>
                        <a:pt x="672" y="21723"/>
                        <a:pt x="4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8" name="Graphic 2987">
                <a:extLst>
                  <a:ext uri="{FF2B5EF4-FFF2-40B4-BE49-F238E27FC236}">
                    <a16:creationId xmlns:a16="http://schemas.microsoft.com/office/drawing/2014/main" id="{F5911EEB-B734-AE91-0CF5-BAAD244B1970}"/>
                  </a:ext>
                </a:extLst>
              </p:cNvPr>
              <p:cNvGrpSpPr/>
              <p:nvPr/>
            </p:nvGrpSpPr>
            <p:grpSpPr>
              <a:xfrm>
                <a:off x="7380741" y="5588198"/>
                <a:ext cx="36467" cy="148428"/>
                <a:chOff x="7380741" y="5588198"/>
                <a:chExt cx="36467" cy="148428"/>
              </a:xfrm>
              <a:grpFill/>
            </p:grpSpPr>
            <p:sp>
              <p:nvSpPr>
                <p:cNvPr id="4691" name="Freeform 4804">
                  <a:extLst>
                    <a:ext uri="{FF2B5EF4-FFF2-40B4-BE49-F238E27FC236}">
                      <a16:creationId xmlns:a16="http://schemas.microsoft.com/office/drawing/2014/main" id="{EE7FD3CF-0CD7-EBD2-98F9-41513C7E674E}"/>
                    </a:ext>
                  </a:extLst>
                </p:cNvPr>
                <p:cNvSpPr/>
                <p:nvPr/>
              </p:nvSpPr>
              <p:spPr>
                <a:xfrm>
                  <a:off x="7389772" y="5608782"/>
                  <a:ext cx="6029" cy="52065"/>
                </a:xfrm>
                <a:custGeom>
                  <a:avLst/>
                  <a:gdLst>
                    <a:gd name="connsiteX0" fmla="*/ 1231 w 6029"/>
                    <a:gd name="connsiteY0" fmla="*/ 0 h 52065"/>
                    <a:gd name="connsiteX1" fmla="*/ 733 w 6029"/>
                    <a:gd name="connsiteY1" fmla="*/ 18808 h 52065"/>
                    <a:gd name="connsiteX2" fmla="*/ 5590 w 6029"/>
                    <a:gd name="connsiteY2" fmla="*/ 35624 h 52065"/>
                    <a:gd name="connsiteX3" fmla="*/ 4718 w 602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6029" h="52065">
                      <a:moveTo>
                        <a:pt x="1231" y="0"/>
                      </a:moveTo>
                      <a:cubicBezTo>
                        <a:pt x="-638" y="8221"/>
                        <a:pt x="-15" y="14573"/>
                        <a:pt x="733" y="18808"/>
                      </a:cubicBezTo>
                      <a:cubicBezTo>
                        <a:pt x="2103" y="25659"/>
                        <a:pt x="4469" y="28524"/>
                        <a:pt x="5590" y="35624"/>
                      </a:cubicBezTo>
                      <a:cubicBezTo>
                        <a:pt x="6586" y="42474"/>
                        <a:pt x="5714" y="48328"/>
                        <a:pt x="471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2" name="Freeform 4805">
                  <a:extLst>
                    <a:ext uri="{FF2B5EF4-FFF2-40B4-BE49-F238E27FC236}">
                      <a16:creationId xmlns:a16="http://schemas.microsoft.com/office/drawing/2014/main" id="{19270FBA-C8A4-3027-0765-9C9080657008}"/>
                    </a:ext>
                  </a:extLst>
                </p:cNvPr>
                <p:cNvSpPr/>
                <p:nvPr/>
              </p:nvSpPr>
              <p:spPr>
                <a:xfrm>
                  <a:off x="7397604" y="5603177"/>
                  <a:ext cx="4982" cy="51940"/>
                </a:xfrm>
                <a:custGeom>
                  <a:avLst/>
                  <a:gdLst>
                    <a:gd name="connsiteX0" fmla="*/ 4983 w 4982"/>
                    <a:gd name="connsiteY0" fmla="*/ 51940 h 51940"/>
                    <a:gd name="connsiteX1" fmla="*/ 1495 w 4982"/>
                    <a:gd name="connsiteY1" fmla="*/ 33506 h 51940"/>
                    <a:gd name="connsiteX2" fmla="*/ 3488 w 4982"/>
                    <a:gd name="connsiteY2" fmla="*/ 16192 h 51940"/>
                    <a:gd name="connsiteX3" fmla="*/ 0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51940"/>
                      </a:moveTo>
                      <a:cubicBezTo>
                        <a:pt x="1869" y="44093"/>
                        <a:pt x="1371" y="37741"/>
                        <a:pt x="1495" y="33506"/>
                      </a:cubicBezTo>
                      <a:cubicBezTo>
                        <a:pt x="1744" y="26530"/>
                        <a:pt x="3613" y="23292"/>
                        <a:pt x="3488" y="16192"/>
                      </a:cubicBezTo>
                      <a:cubicBezTo>
                        <a:pt x="3363"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3" name="Freeform 4806">
                  <a:extLst>
                    <a:ext uri="{FF2B5EF4-FFF2-40B4-BE49-F238E27FC236}">
                      <a16:creationId xmlns:a16="http://schemas.microsoft.com/office/drawing/2014/main" id="{970AE808-D11C-F6DB-5DE8-E3AE0C04E936}"/>
                    </a:ext>
                  </a:extLst>
                </p:cNvPr>
                <p:cNvSpPr/>
                <p:nvPr/>
              </p:nvSpPr>
              <p:spPr>
                <a:xfrm>
                  <a:off x="7380741" y="5588198"/>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8"/>
                        <a:pt x="21721" y="25940"/>
                        <a:pt x="14373" y="26438"/>
                      </a:cubicBezTo>
                      <a:cubicBezTo>
                        <a:pt x="7023" y="26937"/>
                        <a:pt x="671" y="21581"/>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4" name="Freeform 4807">
                  <a:extLst>
                    <a:ext uri="{FF2B5EF4-FFF2-40B4-BE49-F238E27FC236}">
                      <a16:creationId xmlns:a16="http://schemas.microsoft.com/office/drawing/2014/main" id="{E02098E3-70DC-378C-E5F3-6ECCF8AF9780}"/>
                    </a:ext>
                  </a:extLst>
                </p:cNvPr>
                <p:cNvSpPr/>
                <p:nvPr/>
              </p:nvSpPr>
              <p:spPr>
                <a:xfrm>
                  <a:off x="7402396" y="5663961"/>
                  <a:ext cx="5905" cy="52065"/>
                </a:xfrm>
                <a:custGeom>
                  <a:avLst/>
                  <a:gdLst>
                    <a:gd name="connsiteX0" fmla="*/ 4675 w 5905"/>
                    <a:gd name="connsiteY0" fmla="*/ 52065 h 52065"/>
                    <a:gd name="connsiteX1" fmla="*/ 5173 w 5905"/>
                    <a:gd name="connsiteY1" fmla="*/ 33257 h 52065"/>
                    <a:gd name="connsiteX2" fmla="*/ 440 w 5905"/>
                    <a:gd name="connsiteY2" fmla="*/ 16442 h 52065"/>
                    <a:gd name="connsiteX3" fmla="*/ 1312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52065"/>
                      </a:moveTo>
                      <a:cubicBezTo>
                        <a:pt x="6543" y="43845"/>
                        <a:pt x="5921" y="37492"/>
                        <a:pt x="5173" y="33257"/>
                      </a:cubicBezTo>
                      <a:cubicBezTo>
                        <a:pt x="3803" y="26407"/>
                        <a:pt x="1436"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5" name="Freeform 4808">
                  <a:extLst>
                    <a:ext uri="{FF2B5EF4-FFF2-40B4-BE49-F238E27FC236}">
                      <a16:creationId xmlns:a16="http://schemas.microsoft.com/office/drawing/2014/main" id="{53ECE052-4158-EA4D-852A-609730F75AA2}"/>
                    </a:ext>
                  </a:extLst>
                </p:cNvPr>
                <p:cNvSpPr/>
                <p:nvPr/>
              </p:nvSpPr>
              <p:spPr>
                <a:xfrm>
                  <a:off x="7395612" y="5669690"/>
                  <a:ext cx="4982" cy="51940"/>
                </a:xfrm>
                <a:custGeom>
                  <a:avLst/>
                  <a:gdLst>
                    <a:gd name="connsiteX0" fmla="*/ 0 w 4982"/>
                    <a:gd name="connsiteY0" fmla="*/ 0 h 51940"/>
                    <a:gd name="connsiteX1" fmla="*/ 3488 w 4982"/>
                    <a:gd name="connsiteY1" fmla="*/ 18434 h 51940"/>
                    <a:gd name="connsiteX2" fmla="*/ 1495 w 4982"/>
                    <a:gd name="connsiteY2" fmla="*/ 35748 h 51940"/>
                    <a:gd name="connsiteX3" fmla="*/ 4983 w 498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2" y="14199"/>
                        <a:pt x="3488" y="18434"/>
                      </a:cubicBezTo>
                      <a:cubicBezTo>
                        <a:pt x="3239" y="25409"/>
                        <a:pt x="1370" y="28648"/>
                        <a:pt x="1495" y="35748"/>
                      </a:cubicBezTo>
                      <a:cubicBezTo>
                        <a:pt x="1619" y="42599"/>
                        <a:pt x="3363" y="48204"/>
                        <a:pt x="498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6" name="Freeform 4809">
                  <a:extLst>
                    <a:ext uri="{FF2B5EF4-FFF2-40B4-BE49-F238E27FC236}">
                      <a16:creationId xmlns:a16="http://schemas.microsoft.com/office/drawing/2014/main" id="{279DF887-DDE2-BC2C-1007-8DA815A596B7}"/>
                    </a:ext>
                  </a:extLst>
                </p:cNvPr>
                <p:cNvSpPr/>
                <p:nvPr/>
              </p:nvSpPr>
              <p:spPr>
                <a:xfrm>
                  <a:off x="7390830" y="5710140"/>
                  <a:ext cx="26378" cy="26486"/>
                </a:xfrm>
                <a:custGeom>
                  <a:avLst/>
                  <a:gdLst>
                    <a:gd name="connsiteX0" fmla="*/ 48 w 26378"/>
                    <a:gd name="connsiteY0" fmla="*/ 14231 h 26486"/>
                    <a:gd name="connsiteX1" fmla="*/ 12131 w 26378"/>
                    <a:gd name="connsiteY1" fmla="*/ 32 h 26486"/>
                    <a:gd name="connsiteX2" fmla="*/ 26330 w 26378"/>
                    <a:gd name="connsiteY2" fmla="*/ 12239 h 26486"/>
                    <a:gd name="connsiteX3" fmla="*/ 14248 w 26378"/>
                    <a:gd name="connsiteY3" fmla="*/ 26438 h 26486"/>
                    <a:gd name="connsiteX4" fmla="*/ 48 w 26378"/>
                    <a:gd name="connsiteY4" fmla="*/ 14231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86">
                      <a:moveTo>
                        <a:pt x="48" y="14231"/>
                      </a:moveTo>
                      <a:cubicBezTo>
                        <a:pt x="-574" y="6883"/>
                        <a:pt x="4906" y="530"/>
                        <a:pt x="12131" y="32"/>
                      </a:cubicBezTo>
                      <a:cubicBezTo>
                        <a:pt x="19355" y="-466"/>
                        <a:pt x="25707" y="4890"/>
                        <a:pt x="26330" y="12239"/>
                      </a:cubicBezTo>
                      <a:cubicBezTo>
                        <a:pt x="26953" y="19587"/>
                        <a:pt x="21473" y="25940"/>
                        <a:pt x="14248" y="26438"/>
                      </a:cubicBezTo>
                      <a:cubicBezTo>
                        <a:pt x="7023" y="27061"/>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39" name="Graphic 2987">
                <a:extLst>
                  <a:ext uri="{FF2B5EF4-FFF2-40B4-BE49-F238E27FC236}">
                    <a16:creationId xmlns:a16="http://schemas.microsoft.com/office/drawing/2014/main" id="{CB41B02D-40CB-8654-52AF-78A89011AA2C}"/>
                  </a:ext>
                </a:extLst>
              </p:cNvPr>
              <p:cNvGrpSpPr/>
              <p:nvPr/>
            </p:nvGrpSpPr>
            <p:grpSpPr>
              <a:xfrm>
                <a:off x="7410386" y="5585956"/>
                <a:ext cx="36218" cy="148412"/>
                <a:chOff x="7410386" y="5585956"/>
                <a:chExt cx="36218" cy="148412"/>
              </a:xfrm>
              <a:grpFill/>
            </p:grpSpPr>
            <p:sp>
              <p:nvSpPr>
                <p:cNvPr id="4685" name="Freeform 4811">
                  <a:extLst>
                    <a:ext uri="{FF2B5EF4-FFF2-40B4-BE49-F238E27FC236}">
                      <a16:creationId xmlns:a16="http://schemas.microsoft.com/office/drawing/2014/main" id="{2B51BF1E-7878-CF37-FB91-0E6C581D4EB8}"/>
                    </a:ext>
                  </a:extLst>
                </p:cNvPr>
                <p:cNvSpPr/>
                <p:nvPr/>
              </p:nvSpPr>
              <p:spPr>
                <a:xfrm>
                  <a:off x="7419371" y="5606415"/>
                  <a:ext cx="5951" cy="52065"/>
                </a:xfrm>
                <a:custGeom>
                  <a:avLst/>
                  <a:gdLst>
                    <a:gd name="connsiteX0" fmla="*/ 1277 w 5951"/>
                    <a:gd name="connsiteY0" fmla="*/ 0 h 52065"/>
                    <a:gd name="connsiteX1" fmla="*/ 778 w 5951"/>
                    <a:gd name="connsiteY1" fmla="*/ 18808 h 52065"/>
                    <a:gd name="connsiteX2" fmla="*/ 5511 w 5951"/>
                    <a:gd name="connsiteY2" fmla="*/ 35624 h 52065"/>
                    <a:gd name="connsiteX3" fmla="*/ 4640 w 595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51" h="52065">
                      <a:moveTo>
                        <a:pt x="1277" y="0"/>
                      </a:moveTo>
                      <a:cubicBezTo>
                        <a:pt x="-592" y="8221"/>
                        <a:pt x="-93" y="14573"/>
                        <a:pt x="778" y="18808"/>
                      </a:cubicBezTo>
                      <a:cubicBezTo>
                        <a:pt x="2149" y="25659"/>
                        <a:pt x="4515" y="28524"/>
                        <a:pt x="5511" y="35624"/>
                      </a:cubicBezTo>
                      <a:cubicBezTo>
                        <a:pt x="6508" y="42474"/>
                        <a:pt x="5636" y="48328"/>
                        <a:pt x="46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6" name="Freeform 4812">
                  <a:extLst>
                    <a:ext uri="{FF2B5EF4-FFF2-40B4-BE49-F238E27FC236}">
                      <a16:creationId xmlns:a16="http://schemas.microsoft.com/office/drawing/2014/main" id="{75AD7C70-5AC2-4CEF-EC0E-ADDEA9151037}"/>
                    </a:ext>
                  </a:extLst>
                </p:cNvPr>
                <p:cNvSpPr/>
                <p:nvPr/>
              </p:nvSpPr>
              <p:spPr>
                <a:xfrm>
                  <a:off x="7427249" y="5600934"/>
                  <a:ext cx="4857" cy="51940"/>
                </a:xfrm>
                <a:custGeom>
                  <a:avLst/>
                  <a:gdLst>
                    <a:gd name="connsiteX0" fmla="*/ 4858 w 4857"/>
                    <a:gd name="connsiteY0" fmla="*/ 51941 h 51940"/>
                    <a:gd name="connsiteX1" fmla="*/ 1371 w 4857"/>
                    <a:gd name="connsiteY1" fmla="*/ 33506 h 51940"/>
                    <a:gd name="connsiteX2" fmla="*/ 3488 w 4857"/>
                    <a:gd name="connsiteY2" fmla="*/ 16193 h 51940"/>
                    <a:gd name="connsiteX3" fmla="*/ 0 w 4857"/>
                    <a:gd name="connsiteY3" fmla="*/ 0 h 51940"/>
                  </a:gdLst>
                  <a:ahLst/>
                  <a:cxnLst>
                    <a:cxn ang="0">
                      <a:pos x="connsiteX0" y="connsiteY0"/>
                    </a:cxn>
                    <a:cxn ang="0">
                      <a:pos x="connsiteX1" y="connsiteY1"/>
                    </a:cxn>
                    <a:cxn ang="0">
                      <a:pos x="connsiteX2" y="connsiteY2"/>
                    </a:cxn>
                    <a:cxn ang="0">
                      <a:pos x="connsiteX3" y="connsiteY3"/>
                    </a:cxn>
                  </a:cxnLst>
                  <a:rect l="l" t="t" r="r" b="b"/>
                  <a:pathLst>
                    <a:path w="4857" h="51940">
                      <a:moveTo>
                        <a:pt x="4858" y="51941"/>
                      </a:moveTo>
                      <a:cubicBezTo>
                        <a:pt x="1744" y="44094"/>
                        <a:pt x="1246" y="37741"/>
                        <a:pt x="1371" y="33506"/>
                      </a:cubicBezTo>
                      <a:cubicBezTo>
                        <a:pt x="1619" y="26531"/>
                        <a:pt x="3488" y="23292"/>
                        <a:pt x="3488" y="16193"/>
                      </a:cubicBezTo>
                      <a:cubicBezTo>
                        <a:pt x="3488" y="9342"/>
                        <a:pt x="1619"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7" name="Freeform 4813">
                  <a:extLst>
                    <a:ext uri="{FF2B5EF4-FFF2-40B4-BE49-F238E27FC236}">
                      <a16:creationId xmlns:a16="http://schemas.microsoft.com/office/drawing/2014/main" id="{05CEB21E-82A3-8165-3D5D-7943937C5D41}"/>
                    </a:ext>
                  </a:extLst>
                </p:cNvPr>
                <p:cNvSpPr/>
                <p:nvPr/>
              </p:nvSpPr>
              <p:spPr>
                <a:xfrm>
                  <a:off x="7410386" y="5585956"/>
                  <a:ext cx="26627" cy="26470"/>
                </a:xfrm>
                <a:custGeom>
                  <a:avLst/>
                  <a:gdLst>
                    <a:gd name="connsiteX0" fmla="*/ 26579 w 26627"/>
                    <a:gd name="connsiteY0" fmla="*/ 12239 h 26470"/>
                    <a:gd name="connsiteX1" fmla="*/ 14373 w 26627"/>
                    <a:gd name="connsiteY1" fmla="*/ 26438 h 26470"/>
                    <a:gd name="connsiteX2" fmla="*/ 48 w 26627"/>
                    <a:gd name="connsiteY2" fmla="*/ 14231 h 26470"/>
                    <a:gd name="connsiteX3" fmla="*/ 12255 w 26627"/>
                    <a:gd name="connsiteY3" fmla="*/ 32 h 26470"/>
                    <a:gd name="connsiteX4" fmla="*/ 26579 w 26627"/>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470">
                      <a:moveTo>
                        <a:pt x="26579" y="12239"/>
                      </a:moveTo>
                      <a:cubicBezTo>
                        <a:pt x="27202" y="19587"/>
                        <a:pt x="21721" y="25940"/>
                        <a:pt x="14373" y="26438"/>
                      </a:cubicBezTo>
                      <a:cubicBezTo>
                        <a:pt x="7023" y="26937"/>
                        <a:pt x="671" y="21580"/>
                        <a:pt x="48" y="14231"/>
                      </a:cubicBezTo>
                      <a:cubicBezTo>
                        <a:pt x="-574" y="6883"/>
                        <a:pt x="4906" y="530"/>
                        <a:pt x="12255" y="32"/>
                      </a:cubicBezTo>
                      <a:cubicBezTo>
                        <a:pt x="19604" y="-466"/>
                        <a:pt x="26081" y="4890"/>
                        <a:pt x="2657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8" name="Freeform 4814">
                  <a:extLst>
                    <a:ext uri="{FF2B5EF4-FFF2-40B4-BE49-F238E27FC236}">
                      <a16:creationId xmlns:a16="http://schemas.microsoft.com/office/drawing/2014/main" id="{A2519138-73FB-6444-D597-5077B5261E4E}"/>
                    </a:ext>
                  </a:extLst>
                </p:cNvPr>
                <p:cNvSpPr/>
                <p:nvPr/>
              </p:nvSpPr>
              <p:spPr>
                <a:xfrm>
                  <a:off x="7431791" y="5661719"/>
                  <a:ext cx="5951" cy="52065"/>
                </a:xfrm>
                <a:custGeom>
                  <a:avLst/>
                  <a:gdLst>
                    <a:gd name="connsiteX0" fmla="*/ 4675 w 5951"/>
                    <a:gd name="connsiteY0" fmla="*/ 52065 h 52065"/>
                    <a:gd name="connsiteX1" fmla="*/ 5173 w 5951"/>
                    <a:gd name="connsiteY1" fmla="*/ 33257 h 52065"/>
                    <a:gd name="connsiteX2" fmla="*/ 440 w 5951"/>
                    <a:gd name="connsiteY2" fmla="*/ 16442 h 52065"/>
                    <a:gd name="connsiteX3" fmla="*/ 1312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4675" y="52065"/>
                      </a:moveTo>
                      <a:cubicBezTo>
                        <a:pt x="6543" y="43844"/>
                        <a:pt x="6045" y="37492"/>
                        <a:pt x="5173" y="33257"/>
                      </a:cubicBezTo>
                      <a:cubicBezTo>
                        <a:pt x="3803" y="26406"/>
                        <a:pt x="1561" y="23542"/>
                        <a:pt x="440" y="16442"/>
                      </a:cubicBezTo>
                      <a:cubicBezTo>
                        <a:pt x="-557" y="9591"/>
                        <a:pt x="315" y="3737"/>
                        <a:pt x="13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9" name="Freeform 4815">
                  <a:extLst>
                    <a:ext uri="{FF2B5EF4-FFF2-40B4-BE49-F238E27FC236}">
                      <a16:creationId xmlns:a16="http://schemas.microsoft.com/office/drawing/2014/main" id="{7F66EB88-E97C-1704-5D62-4B87763C3B87}"/>
                    </a:ext>
                  </a:extLst>
                </p:cNvPr>
                <p:cNvSpPr/>
                <p:nvPr/>
              </p:nvSpPr>
              <p:spPr>
                <a:xfrm>
                  <a:off x="7425007" y="5667448"/>
                  <a:ext cx="4982" cy="51940"/>
                </a:xfrm>
                <a:custGeom>
                  <a:avLst/>
                  <a:gdLst>
                    <a:gd name="connsiteX0" fmla="*/ 0 w 4982"/>
                    <a:gd name="connsiteY0" fmla="*/ 0 h 51940"/>
                    <a:gd name="connsiteX1" fmla="*/ 3488 w 4982"/>
                    <a:gd name="connsiteY1" fmla="*/ 18435 h 51940"/>
                    <a:gd name="connsiteX2" fmla="*/ 1495 w 4982"/>
                    <a:gd name="connsiteY2" fmla="*/ 35748 h 51940"/>
                    <a:gd name="connsiteX3" fmla="*/ 4983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0" y="0"/>
                      </a:moveTo>
                      <a:cubicBezTo>
                        <a:pt x="3114" y="7847"/>
                        <a:pt x="3613" y="14200"/>
                        <a:pt x="3488" y="18435"/>
                      </a:cubicBezTo>
                      <a:cubicBezTo>
                        <a:pt x="3239" y="25410"/>
                        <a:pt x="1370" y="28648"/>
                        <a:pt x="1495" y="35748"/>
                      </a:cubicBezTo>
                      <a:cubicBezTo>
                        <a:pt x="1495" y="42599"/>
                        <a:pt x="3363" y="48204"/>
                        <a:pt x="498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90" name="Freeform 4816">
                  <a:extLst>
                    <a:ext uri="{FF2B5EF4-FFF2-40B4-BE49-F238E27FC236}">
                      <a16:creationId xmlns:a16="http://schemas.microsoft.com/office/drawing/2014/main" id="{13B3776B-3DD9-6FF2-F2B9-616B9D2F1E67}"/>
                    </a:ext>
                  </a:extLst>
                </p:cNvPr>
                <p:cNvSpPr/>
                <p:nvPr/>
              </p:nvSpPr>
              <p:spPr>
                <a:xfrm>
                  <a:off x="7420226" y="5707897"/>
                  <a:ext cx="26378" cy="26470"/>
                </a:xfrm>
                <a:custGeom>
                  <a:avLst/>
                  <a:gdLst>
                    <a:gd name="connsiteX0" fmla="*/ 48 w 26378"/>
                    <a:gd name="connsiteY0" fmla="*/ 14232 h 26470"/>
                    <a:gd name="connsiteX1" fmla="*/ 12131 w 26378"/>
                    <a:gd name="connsiteY1" fmla="*/ 32 h 26470"/>
                    <a:gd name="connsiteX2" fmla="*/ 26330 w 26378"/>
                    <a:gd name="connsiteY2" fmla="*/ 12239 h 26470"/>
                    <a:gd name="connsiteX3" fmla="*/ 14248 w 26378"/>
                    <a:gd name="connsiteY3" fmla="*/ 26439 h 26470"/>
                    <a:gd name="connsiteX4" fmla="*/ 48 w 26378"/>
                    <a:gd name="connsiteY4" fmla="*/ 14232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470">
                      <a:moveTo>
                        <a:pt x="48" y="14232"/>
                      </a:moveTo>
                      <a:cubicBezTo>
                        <a:pt x="-574" y="6883"/>
                        <a:pt x="4906" y="530"/>
                        <a:pt x="12131" y="32"/>
                      </a:cubicBezTo>
                      <a:cubicBezTo>
                        <a:pt x="19355" y="-466"/>
                        <a:pt x="25707" y="4890"/>
                        <a:pt x="26330" y="12239"/>
                      </a:cubicBezTo>
                      <a:cubicBezTo>
                        <a:pt x="26953" y="19588"/>
                        <a:pt x="21473" y="25940"/>
                        <a:pt x="14248" y="26439"/>
                      </a:cubicBezTo>
                      <a:cubicBezTo>
                        <a:pt x="7023" y="26937"/>
                        <a:pt x="547" y="21581"/>
                        <a:pt x="48" y="1423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0" name="Graphic 2987">
                <a:extLst>
                  <a:ext uri="{FF2B5EF4-FFF2-40B4-BE49-F238E27FC236}">
                    <a16:creationId xmlns:a16="http://schemas.microsoft.com/office/drawing/2014/main" id="{4B855206-9E5D-4EC4-DC2A-6BFB5D4CE33D}"/>
                  </a:ext>
                </a:extLst>
              </p:cNvPr>
              <p:cNvGrpSpPr/>
              <p:nvPr/>
            </p:nvGrpSpPr>
            <p:grpSpPr>
              <a:xfrm>
                <a:off x="7440156" y="5583590"/>
                <a:ext cx="35702" cy="148536"/>
                <a:chOff x="7440156" y="5583590"/>
                <a:chExt cx="35702" cy="148536"/>
              </a:xfrm>
              <a:grpFill/>
            </p:grpSpPr>
            <p:sp>
              <p:nvSpPr>
                <p:cNvPr id="4679" name="Freeform 4818">
                  <a:extLst>
                    <a:ext uri="{FF2B5EF4-FFF2-40B4-BE49-F238E27FC236}">
                      <a16:creationId xmlns:a16="http://schemas.microsoft.com/office/drawing/2014/main" id="{0289893B-5E5A-CA2F-F375-51B2752AF23E}"/>
                    </a:ext>
                  </a:extLst>
                </p:cNvPr>
                <p:cNvSpPr/>
                <p:nvPr/>
              </p:nvSpPr>
              <p:spPr>
                <a:xfrm>
                  <a:off x="7449016" y="5604173"/>
                  <a:ext cx="5927" cy="52065"/>
                </a:xfrm>
                <a:custGeom>
                  <a:avLst/>
                  <a:gdLst>
                    <a:gd name="connsiteX0" fmla="*/ 1277 w 5927"/>
                    <a:gd name="connsiteY0" fmla="*/ 0 h 52065"/>
                    <a:gd name="connsiteX1" fmla="*/ 778 w 5927"/>
                    <a:gd name="connsiteY1" fmla="*/ 18808 h 52065"/>
                    <a:gd name="connsiteX2" fmla="*/ 5511 w 5927"/>
                    <a:gd name="connsiteY2" fmla="*/ 35623 h 52065"/>
                    <a:gd name="connsiteX3" fmla="*/ 4639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1277" y="0"/>
                      </a:moveTo>
                      <a:cubicBezTo>
                        <a:pt x="-592" y="8221"/>
                        <a:pt x="-93" y="14573"/>
                        <a:pt x="778" y="18808"/>
                      </a:cubicBezTo>
                      <a:cubicBezTo>
                        <a:pt x="2149" y="25659"/>
                        <a:pt x="4391" y="28524"/>
                        <a:pt x="5511" y="35623"/>
                      </a:cubicBezTo>
                      <a:cubicBezTo>
                        <a:pt x="6508" y="42474"/>
                        <a:pt x="5511" y="48328"/>
                        <a:pt x="463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0" name="Freeform 4819">
                  <a:extLst>
                    <a:ext uri="{FF2B5EF4-FFF2-40B4-BE49-F238E27FC236}">
                      <a16:creationId xmlns:a16="http://schemas.microsoft.com/office/drawing/2014/main" id="{97450D1C-34E4-0C8C-07CF-50FA5E879921}"/>
                    </a:ext>
                  </a:extLst>
                </p:cNvPr>
                <p:cNvSpPr/>
                <p:nvPr/>
              </p:nvSpPr>
              <p:spPr>
                <a:xfrm>
                  <a:off x="7457018" y="5598568"/>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3"/>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1" name="Freeform 4820">
                  <a:extLst>
                    <a:ext uri="{FF2B5EF4-FFF2-40B4-BE49-F238E27FC236}">
                      <a16:creationId xmlns:a16="http://schemas.microsoft.com/office/drawing/2014/main" id="{E748BD41-8E7E-CC4F-17DA-1087D41C39CF}"/>
                    </a:ext>
                  </a:extLst>
                </p:cNvPr>
                <p:cNvSpPr/>
                <p:nvPr/>
              </p:nvSpPr>
              <p:spPr>
                <a:xfrm>
                  <a:off x="7440156" y="5583590"/>
                  <a:ext cx="26609" cy="26469"/>
                </a:xfrm>
                <a:custGeom>
                  <a:avLst/>
                  <a:gdLst>
                    <a:gd name="connsiteX0" fmla="*/ 26578 w 26609"/>
                    <a:gd name="connsiteY0" fmla="*/ 12238 h 26469"/>
                    <a:gd name="connsiteX1" fmla="*/ 14371 w 26609"/>
                    <a:gd name="connsiteY1" fmla="*/ 26438 h 26469"/>
                    <a:gd name="connsiteX2" fmla="*/ 47 w 26609"/>
                    <a:gd name="connsiteY2" fmla="*/ 14231 h 26469"/>
                    <a:gd name="connsiteX3" fmla="*/ 12254 w 26609"/>
                    <a:gd name="connsiteY3" fmla="*/ 31 h 26469"/>
                    <a:gd name="connsiteX4" fmla="*/ 26578 w 26609"/>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9" h="26469">
                      <a:moveTo>
                        <a:pt x="26578" y="12238"/>
                      </a:moveTo>
                      <a:cubicBezTo>
                        <a:pt x="27076" y="19587"/>
                        <a:pt x="21596" y="25939"/>
                        <a:pt x="14371" y="26438"/>
                      </a:cubicBezTo>
                      <a:cubicBezTo>
                        <a:pt x="7022" y="26936"/>
                        <a:pt x="670" y="21580"/>
                        <a:pt x="47" y="14231"/>
                      </a:cubicBezTo>
                      <a:cubicBezTo>
                        <a:pt x="-575" y="6882"/>
                        <a:pt x="5029" y="529"/>
                        <a:pt x="12254" y="31"/>
                      </a:cubicBezTo>
                      <a:cubicBezTo>
                        <a:pt x="19603" y="-467"/>
                        <a:pt x="25955" y="5014"/>
                        <a:pt x="26578"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2" name="Freeform 4821">
                  <a:extLst>
                    <a:ext uri="{FF2B5EF4-FFF2-40B4-BE49-F238E27FC236}">
                      <a16:creationId xmlns:a16="http://schemas.microsoft.com/office/drawing/2014/main" id="{5158BC1F-AD20-D16D-D0A6-296B5C3195A4}"/>
                    </a:ext>
                  </a:extLst>
                </p:cNvPr>
                <p:cNvSpPr/>
                <p:nvPr/>
              </p:nvSpPr>
              <p:spPr>
                <a:xfrm>
                  <a:off x="7461087" y="5659601"/>
                  <a:ext cx="5927" cy="52065"/>
                </a:xfrm>
                <a:custGeom>
                  <a:avLst/>
                  <a:gdLst>
                    <a:gd name="connsiteX0" fmla="*/ 4651 w 5927"/>
                    <a:gd name="connsiteY0" fmla="*/ 52065 h 52065"/>
                    <a:gd name="connsiteX1" fmla="*/ 5149 w 5927"/>
                    <a:gd name="connsiteY1" fmla="*/ 33257 h 52065"/>
                    <a:gd name="connsiteX2" fmla="*/ 416 w 5927"/>
                    <a:gd name="connsiteY2" fmla="*/ 16441 h 52065"/>
                    <a:gd name="connsiteX3" fmla="*/ 1288 w 5927"/>
                    <a:gd name="connsiteY3" fmla="*/ 0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52065"/>
                      </a:moveTo>
                      <a:cubicBezTo>
                        <a:pt x="6520" y="43844"/>
                        <a:pt x="6021" y="37492"/>
                        <a:pt x="5149" y="33257"/>
                      </a:cubicBezTo>
                      <a:cubicBezTo>
                        <a:pt x="3904" y="26406"/>
                        <a:pt x="1537" y="23541"/>
                        <a:pt x="416" y="16441"/>
                      </a:cubicBezTo>
                      <a:cubicBezTo>
                        <a:pt x="-580" y="9591"/>
                        <a:pt x="416" y="3737"/>
                        <a:pt x="12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3" name="Freeform 4822">
                  <a:extLst>
                    <a:ext uri="{FF2B5EF4-FFF2-40B4-BE49-F238E27FC236}">
                      <a16:creationId xmlns:a16="http://schemas.microsoft.com/office/drawing/2014/main" id="{3B051937-8FB0-4515-7B33-56B868B8C60E}"/>
                    </a:ext>
                  </a:extLst>
                </p:cNvPr>
                <p:cNvSpPr/>
                <p:nvPr/>
              </p:nvSpPr>
              <p:spPr>
                <a:xfrm>
                  <a:off x="7454527" y="5665206"/>
                  <a:ext cx="4608" cy="51940"/>
                </a:xfrm>
                <a:custGeom>
                  <a:avLst/>
                  <a:gdLst>
                    <a:gd name="connsiteX0" fmla="*/ 0 w 4608"/>
                    <a:gd name="connsiteY0" fmla="*/ 0 h 51940"/>
                    <a:gd name="connsiteX1" fmla="*/ 3363 w 4608"/>
                    <a:gd name="connsiteY1" fmla="*/ 18435 h 51940"/>
                    <a:gd name="connsiteX2" fmla="*/ 1246 w 4608"/>
                    <a:gd name="connsiteY2" fmla="*/ 35748 h 51940"/>
                    <a:gd name="connsiteX3" fmla="*/ 4609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0" y="0"/>
                      </a:moveTo>
                      <a:cubicBezTo>
                        <a:pt x="3114" y="7847"/>
                        <a:pt x="3488" y="14200"/>
                        <a:pt x="3363" y="18435"/>
                      </a:cubicBezTo>
                      <a:cubicBezTo>
                        <a:pt x="3114" y="25410"/>
                        <a:pt x="1246" y="28648"/>
                        <a:pt x="1246" y="35748"/>
                      </a:cubicBezTo>
                      <a:cubicBezTo>
                        <a:pt x="1246" y="42599"/>
                        <a:pt x="3114" y="48204"/>
                        <a:pt x="460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84" name="Freeform 4823">
                  <a:extLst>
                    <a:ext uri="{FF2B5EF4-FFF2-40B4-BE49-F238E27FC236}">
                      <a16:creationId xmlns:a16="http://schemas.microsoft.com/office/drawing/2014/main" id="{EC5480A2-5828-8ED2-7D2D-6BCBB3EBDE1D}"/>
                    </a:ext>
                  </a:extLst>
                </p:cNvPr>
                <p:cNvSpPr/>
                <p:nvPr/>
              </p:nvSpPr>
              <p:spPr>
                <a:xfrm>
                  <a:off x="7449497" y="5705656"/>
                  <a:ext cx="26361" cy="26469"/>
                </a:xfrm>
                <a:custGeom>
                  <a:avLst/>
                  <a:gdLst>
                    <a:gd name="connsiteX0" fmla="*/ 48 w 26361"/>
                    <a:gd name="connsiteY0" fmla="*/ 14231 h 26469"/>
                    <a:gd name="connsiteX1" fmla="*/ 12130 w 26361"/>
                    <a:gd name="connsiteY1" fmla="*/ 31 h 26469"/>
                    <a:gd name="connsiteX2" fmla="*/ 26330 w 26361"/>
                    <a:gd name="connsiteY2" fmla="*/ 12238 h 26469"/>
                    <a:gd name="connsiteX3" fmla="*/ 14247 w 26361"/>
                    <a:gd name="connsiteY3" fmla="*/ 26438 h 26469"/>
                    <a:gd name="connsiteX4" fmla="*/ 48 w 26361"/>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1" h="26469">
                      <a:moveTo>
                        <a:pt x="48" y="14231"/>
                      </a:moveTo>
                      <a:cubicBezTo>
                        <a:pt x="-574" y="6882"/>
                        <a:pt x="4905" y="530"/>
                        <a:pt x="12130" y="31"/>
                      </a:cubicBezTo>
                      <a:cubicBezTo>
                        <a:pt x="19355" y="-467"/>
                        <a:pt x="25707" y="5014"/>
                        <a:pt x="26330" y="12238"/>
                      </a:cubicBezTo>
                      <a:cubicBezTo>
                        <a:pt x="26828" y="19587"/>
                        <a:pt x="21472" y="25940"/>
                        <a:pt x="14247" y="26438"/>
                      </a:cubicBezTo>
                      <a:cubicBezTo>
                        <a:pt x="7023" y="26936"/>
                        <a:pt x="671" y="21580"/>
                        <a:pt x="48"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1" name="Graphic 2987">
                <a:extLst>
                  <a:ext uri="{FF2B5EF4-FFF2-40B4-BE49-F238E27FC236}">
                    <a16:creationId xmlns:a16="http://schemas.microsoft.com/office/drawing/2014/main" id="{D12AC9A9-66FC-67B9-058E-C18ED4D890DA}"/>
                  </a:ext>
                </a:extLst>
              </p:cNvPr>
              <p:cNvGrpSpPr/>
              <p:nvPr/>
            </p:nvGrpSpPr>
            <p:grpSpPr>
              <a:xfrm>
                <a:off x="7469817" y="5581348"/>
                <a:ext cx="35437" cy="148660"/>
                <a:chOff x="7469817" y="5581348"/>
                <a:chExt cx="35437" cy="148660"/>
              </a:xfrm>
              <a:grpFill/>
            </p:grpSpPr>
            <p:sp>
              <p:nvSpPr>
                <p:cNvPr id="4673" name="Freeform 4825">
                  <a:extLst>
                    <a:ext uri="{FF2B5EF4-FFF2-40B4-BE49-F238E27FC236}">
                      <a16:creationId xmlns:a16="http://schemas.microsoft.com/office/drawing/2014/main" id="{D0EC4C6C-0B8F-FCE7-8BD3-601287986353}"/>
                    </a:ext>
                  </a:extLst>
                </p:cNvPr>
                <p:cNvSpPr/>
                <p:nvPr/>
              </p:nvSpPr>
              <p:spPr>
                <a:xfrm>
                  <a:off x="7478644" y="5601931"/>
                  <a:ext cx="5815" cy="52065"/>
                </a:xfrm>
                <a:custGeom>
                  <a:avLst/>
                  <a:gdLst>
                    <a:gd name="connsiteX0" fmla="*/ 1293 w 5815"/>
                    <a:gd name="connsiteY0" fmla="*/ 0 h 52065"/>
                    <a:gd name="connsiteX1" fmla="*/ 670 w 5815"/>
                    <a:gd name="connsiteY1" fmla="*/ 18808 h 52065"/>
                    <a:gd name="connsiteX2" fmla="*/ 5403 w 5815"/>
                    <a:gd name="connsiteY2" fmla="*/ 35623 h 52065"/>
                    <a:gd name="connsiteX3" fmla="*/ 4407 w 581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815" h="52065">
                      <a:moveTo>
                        <a:pt x="1293" y="0"/>
                      </a:moveTo>
                      <a:cubicBezTo>
                        <a:pt x="-575" y="8221"/>
                        <a:pt x="-77" y="14573"/>
                        <a:pt x="670" y="18808"/>
                      </a:cubicBezTo>
                      <a:cubicBezTo>
                        <a:pt x="1916" y="25659"/>
                        <a:pt x="4283" y="28523"/>
                        <a:pt x="5403" y="35623"/>
                      </a:cubicBezTo>
                      <a:cubicBezTo>
                        <a:pt x="6400" y="42474"/>
                        <a:pt x="5403" y="48328"/>
                        <a:pt x="440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4" name="Freeform 4826">
                  <a:extLst>
                    <a:ext uri="{FF2B5EF4-FFF2-40B4-BE49-F238E27FC236}">
                      <a16:creationId xmlns:a16="http://schemas.microsoft.com/office/drawing/2014/main" id="{87A3E296-9CB5-B0CD-7AEE-27EA2481104F}"/>
                    </a:ext>
                  </a:extLst>
                </p:cNvPr>
                <p:cNvSpPr/>
                <p:nvPr/>
              </p:nvSpPr>
              <p:spPr>
                <a:xfrm>
                  <a:off x="7486539" y="5596326"/>
                  <a:ext cx="4608" cy="52065"/>
                </a:xfrm>
                <a:custGeom>
                  <a:avLst/>
                  <a:gdLst>
                    <a:gd name="connsiteX0" fmla="*/ 4609 w 4608"/>
                    <a:gd name="connsiteY0" fmla="*/ 52065 h 52065"/>
                    <a:gd name="connsiteX1" fmla="*/ 1246 w 4608"/>
                    <a:gd name="connsiteY1" fmla="*/ 33506 h 52065"/>
                    <a:gd name="connsiteX2" fmla="*/ 3363 w 4608"/>
                    <a:gd name="connsiteY2" fmla="*/ 16193 h 52065"/>
                    <a:gd name="connsiteX3" fmla="*/ 0 w 4608"/>
                    <a:gd name="connsiteY3" fmla="*/ 0 h 52065"/>
                  </a:gdLst>
                  <a:ahLst/>
                  <a:cxnLst>
                    <a:cxn ang="0">
                      <a:pos x="connsiteX0" y="connsiteY0"/>
                    </a:cxn>
                    <a:cxn ang="0">
                      <a:pos x="connsiteX1" y="connsiteY1"/>
                    </a:cxn>
                    <a:cxn ang="0">
                      <a:pos x="connsiteX2" y="connsiteY2"/>
                    </a:cxn>
                    <a:cxn ang="0">
                      <a:pos x="connsiteX3" y="connsiteY3"/>
                    </a:cxn>
                  </a:cxnLst>
                  <a:rect l="l" t="t" r="r" b="b"/>
                  <a:pathLst>
                    <a:path w="4608" h="52065">
                      <a:moveTo>
                        <a:pt x="4609" y="52065"/>
                      </a:moveTo>
                      <a:cubicBezTo>
                        <a:pt x="1495" y="44218"/>
                        <a:pt x="1121" y="37866"/>
                        <a:pt x="1246" y="33506"/>
                      </a:cubicBezTo>
                      <a:cubicBezTo>
                        <a:pt x="1495" y="26531"/>
                        <a:pt x="3363" y="23292"/>
                        <a:pt x="3363" y="16193"/>
                      </a:cubicBezTo>
                      <a:cubicBezTo>
                        <a:pt x="3363" y="9342"/>
                        <a:pt x="1495" y="3737"/>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5" name="Freeform 4827">
                  <a:extLst>
                    <a:ext uri="{FF2B5EF4-FFF2-40B4-BE49-F238E27FC236}">
                      <a16:creationId xmlns:a16="http://schemas.microsoft.com/office/drawing/2014/main" id="{27109BC0-159B-DF16-E229-1D4C111E2EC8}"/>
                    </a:ext>
                  </a:extLst>
                </p:cNvPr>
                <p:cNvSpPr/>
                <p:nvPr/>
              </p:nvSpPr>
              <p:spPr>
                <a:xfrm>
                  <a:off x="7469817" y="5581348"/>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39"/>
                        <a:pt x="14231" y="26438"/>
                      </a:cubicBezTo>
                      <a:cubicBezTo>
                        <a:pt x="6882" y="26936"/>
                        <a:pt x="529" y="21580"/>
                        <a:pt x="32" y="14231"/>
                      </a:cubicBezTo>
                      <a:cubicBezTo>
                        <a:pt x="-467" y="6882"/>
                        <a:pt x="5013" y="529"/>
                        <a:pt x="12363" y="31"/>
                      </a:cubicBezTo>
                      <a:cubicBezTo>
                        <a:pt x="19711" y="-467"/>
                        <a:pt x="25939"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6" name="Freeform 4828">
                  <a:extLst>
                    <a:ext uri="{FF2B5EF4-FFF2-40B4-BE49-F238E27FC236}">
                      <a16:creationId xmlns:a16="http://schemas.microsoft.com/office/drawing/2014/main" id="{E7B59D73-D186-4407-9C2A-E3E94006EF87}"/>
                    </a:ext>
                  </a:extLst>
                </p:cNvPr>
                <p:cNvSpPr/>
                <p:nvPr/>
              </p:nvSpPr>
              <p:spPr>
                <a:xfrm>
                  <a:off x="7490735" y="5657359"/>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5"/>
                        <a:pt x="5768" y="37492"/>
                        <a:pt x="5021" y="33257"/>
                      </a:cubicBezTo>
                      <a:cubicBezTo>
                        <a:pt x="3776" y="26406"/>
                        <a:pt x="1409" y="23542"/>
                        <a:pt x="413" y="16442"/>
                      </a:cubicBezTo>
                      <a:cubicBezTo>
                        <a:pt x="-583"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7" name="Freeform 4829">
                  <a:extLst>
                    <a:ext uri="{FF2B5EF4-FFF2-40B4-BE49-F238E27FC236}">
                      <a16:creationId xmlns:a16="http://schemas.microsoft.com/office/drawing/2014/main" id="{1836CAF1-0222-BCFB-DEC3-7376D62490FA}"/>
                    </a:ext>
                  </a:extLst>
                </p:cNvPr>
                <p:cNvSpPr/>
                <p:nvPr/>
              </p:nvSpPr>
              <p:spPr>
                <a:xfrm>
                  <a:off x="7484047" y="5662964"/>
                  <a:ext cx="4608" cy="52065"/>
                </a:xfrm>
                <a:custGeom>
                  <a:avLst/>
                  <a:gdLst>
                    <a:gd name="connsiteX0" fmla="*/ 0 w 4608"/>
                    <a:gd name="connsiteY0" fmla="*/ 0 h 52065"/>
                    <a:gd name="connsiteX1" fmla="*/ 3363 w 4608"/>
                    <a:gd name="connsiteY1" fmla="*/ 18559 h 52065"/>
                    <a:gd name="connsiteX2" fmla="*/ 1246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3114" y="7847"/>
                        <a:pt x="3488" y="14199"/>
                        <a:pt x="3363" y="18559"/>
                      </a:cubicBezTo>
                      <a:cubicBezTo>
                        <a:pt x="3114" y="25534"/>
                        <a:pt x="1246" y="28773"/>
                        <a:pt x="1246" y="35873"/>
                      </a:cubicBezTo>
                      <a:cubicBezTo>
                        <a:pt x="1246" y="42723"/>
                        <a:pt x="3114" y="48328"/>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8" name="Freeform 4830">
                  <a:extLst>
                    <a:ext uri="{FF2B5EF4-FFF2-40B4-BE49-F238E27FC236}">
                      <a16:creationId xmlns:a16="http://schemas.microsoft.com/office/drawing/2014/main" id="{9E96946D-83B1-0576-C733-97275637DC77}"/>
                    </a:ext>
                  </a:extLst>
                </p:cNvPr>
                <p:cNvSpPr/>
                <p:nvPr/>
              </p:nvSpPr>
              <p:spPr>
                <a:xfrm>
                  <a:off x="7478909" y="5703539"/>
                  <a:ext cx="26345" cy="26469"/>
                </a:xfrm>
                <a:custGeom>
                  <a:avLst/>
                  <a:gdLst>
                    <a:gd name="connsiteX0" fmla="*/ 32 w 26345"/>
                    <a:gd name="connsiteY0" fmla="*/ 14231 h 26469"/>
                    <a:gd name="connsiteX1" fmla="*/ 12238 w 26345"/>
                    <a:gd name="connsiteY1" fmla="*/ 31 h 26469"/>
                    <a:gd name="connsiteX2" fmla="*/ 26314 w 26345"/>
                    <a:gd name="connsiteY2" fmla="*/ 12238 h 26469"/>
                    <a:gd name="connsiteX3" fmla="*/ 14107 w 26345"/>
                    <a:gd name="connsiteY3" fmla="*/ 26438 h 26469"/>
                    <a:gd name="connsiteX4" fmla="*/ 32 w 26345"/>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2" y="14231"/>
                      </a:moveTo>
                      <a:cubicBezTo>
                        <a:pt x="-466" y="6882"/>
                        <a:pt x="4890" y="529"/>
                        <a:pt x="12238" y="31"/>
                      </a:cubicBezTo>
                      <a:cubicBezTo>
                        <a:pt x="19588" y="-467"/>
                        <a:pt x="25816" y="5014"/>
                        <a:pt x="26314" y="12238"/>
                      </a:cubicBezTo>
                      <a:cubicBezTo>
                        <a:pt x="26812" y="19587"/>
                        <a:pt x="21456" y="25939"/>
                        <a:pt x="14107" y="26438"/>
                      </a:cubicBezTo>
                      <a:cubicBezTo>
                        <a:pt x="6883" y="26936"/>
                        <a:pt x="655"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2" name="Graphic 2987">
                <a:extLst>
                  <a:ext uri="{FF2B5EF4-FFF2-40B4-BE49-F238E27FC236}">
                    <a16:creationId xmlns:a16="http://schemas.microsoft.com/office/drawing/2014/main" id="{E8C64CB5-C401-67DC-2CC6-2BDA520A8894}"/>
                  </a:ext>
                </a:extLst>
              </p:cNvPr>
              <p:cNvGrpSpPr/>
              <p:nvPr/>
            </p:nvGrpSpPr>
            <p:grpSpPr>
              <a:xfrm>
                <a:off x="7499462" y="5579105"/>
                <a:ext cx="35187" cy="148660"/>
                <a:chOff x="7499462" y="5579105"/>
                <a:chExt cx="35187" cy="148660"/>
              </a:xfrm>
              <a:grpFill/>
            </p:grpSpPr>
            <p:sp>
              <p:nvSpPr>
                <p:cNvPr id="4667" name="Freeform 4832">
                  <a:extLst>
                    <a:ext uri="{FF2B5EF4-FFF2-40B4-BE49-F238E27FC236}">
                      <a16:creationId xmlns:a16="http://schemas.microsoft.com/office/drawing/2014/main" id="{18FD8974-5F96-D731-54E6-FDE0723DFE6A}"/>
                    </a:ext>
                  </a:extLst>
                </p:cNvPr>
                <p:cNvSpPr/>
                <p:nvPr/>
              </p:nvSpPr>
              <p:spPr>
                <a:xfrm>
                  <a:off x="7508289" y="5599689"/>
                  <a:ext cx="5691" cy="52065"/>
                </a:xfrm>
                <a:custGeom>
                  <a:avLst/>
                  <a:gdLst>
                    <a:gd name="connsiteX0" fmla="*/ 1293 w 5691"/>
                    <a:gd name="connsiteY0" fmla="*/ 0 h 52065"/>
                    <a:gd name="connsiteX1" fmla="*/ 670 w 5691"/>
                    <a:gd name="connsiteY1" fmla="*/ 18808 h 52065"/>
                    <a:gd name="connsiteX2" fmla="*/ 5278 w 5691"/>
                    <a:gd name="connsiteY2" fmla="*/ 35624 h 52065"/>
                    <a:gd name="connsiteX3" fmla="*/ 4283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1293" y="0"/>
                      </a:moveTo>
                      <a:cubicBezTo>
                        <a:pt x="-575" y="8221"/>
                        <a:pt x="-77" y="14573"/>
                        <a:pt x="670" y="18808"/>
                      </a:cubicBezTo>
                      <a:cubicBezTo>
                        <a:pt x="1916" y="25659"/>
                        <a:pt x="4283" y="28524"/>
                        <a:pt x="5278" y="35624"/>
                      </a:cubicBezTo>
                      <a:cubicBezTo>
                        <a:pt x="6275" y="42474"/>
                        <a:pt x="5278" y="48328"/>
                        <a:pt x="42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8" name="Freeform 4833">
                  <a:extLst>
                    <a:ext uri="{FF2B5EF4-FFF2-40B4-BE49-F238E27FC236}">
                      <a16:creationId xmlns:a16="http://schemas.microsoft.com/office/drawing/2014/main" id="{4E345849-032F-0BFF-475C-6E36C20828CD}"/>
                    </a:ext>
                  </a:extLst>
                </p:cNvPr>
                <p:cNvSpPr/>
                <p:nvPr/>
              </p:nvSpPr>
              <p:spPr>
                <a:xfrm>
                  <a:off x="7516183" y="5594084"/>
                  <a:ext cx="4483" cy="52065"/>
                </a:xfrm>
                <a:custGeom>
                  <a:avLst/>
                  <a:gdLst>
                    <a:gd name="connsiteX0" fmla="*/ 4484 w 4483"/>
                    <a:gd name="connsiteY0" fmla="*/ 52065 h 52065"/>
                    <a:gd name="connsiteX1" fmla="*/ 1121 w 4483"/>
                    <a:gd name="connsiteY1" fmla="*/ 33506 h 52065"/>
                    <a:gd name="connsiteX2" fmla="*/ 3363 w 4483"/>
                    <a:gd name="connsiteY2" fmla="*/ 16192 h 52065"/>
                    <a:gd name="connsiteX3" fmla="*/ 0 w 4483"/>
                    <a:gd name="connsiteY3" fmla="*/ 0 h 52065"/>
                  </a:gdLst>
                  <a:ahLst/>
                  <a:cxnLst>
                    <a:cxn ang="0">
                      <a:pos x="connsiteX0" y="connsiteY0"/>
                    </a:cxn>
                    <a:cxn ang="0">
                      <a:pos x="connsiteX1" y="connsiteY1"/>
                    </a:cxn>
                    <a:cxn ang="0">
                      <a:pos x="connsiteX2" y="connsiteY2"/>
                    </a:cxn>
                    <a:cxn ang="0">
                      <a:pos x="connsiteX3" y="connsiteY3"/>
                    </a:cxn>
                  </a:cxnLst>
                  <a:rect l="l" t="t" r="r" b="b"/>
                  <a:pathLst>
                    <a:path w="4483" h="52065">
                      <a:moveTo>
                        <a:pt x="4484" y="52065"/>
                      </a:moveTo>
                      <a:cubicBezTo>
                        <a:pt x="1495" y="44218"/>
                        <a:pt x="997" y="37866"/>
                        <a:pt x="1121" y="33506"/>
                      </a:cubicBezTo>
                      <a:cubicBezTo>
                        <a:pt x="1370" y="26531"/>
                        <a:pt x="3363" y="23292"/>
                        <a:pt x="3363" y="16192"/>
                      </a:cubicBezTo>
                      <a:cubicBezTo>
                        <a:pt x="3363" y="9342"/>
                        <a:pt x="1619"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9" name="Freeform 4834">
                  <a:extLst>
                    <a:ext uri="{FF2B5EF4-FFF2-40B4-BE49-F238E27FC236}">
                      <a16:creationId xmlns:a16="http://schemas.microsoft.com/office/drawing/2014/main" id="{D65B2840-C381-DBEC-4402-E5DF09086FE2}"/>
                    </a:ext>
                  </a:extLst>
                </p:cNvPr>
                <p:cNvSpPr/>
                <p:nvPr/>
              </p:nvSpPr>
              <p:spPr>
                <a:xfrm>
                  <a:off x="7499462" y="5579105"/>
                  <a:ext cx="26593" cy="26469"/>
                </a:xfrm>
                <a:custGeom>
                  <a:avLst/>
                  <a:gdLst>
                    <a:gd name="connsiteX0" fmla="*/ 26562 w 26593"/>
                    <a:gd name="connsiteY0" fmla="*/ 12238 h 26469"/>
                    <a:gd name="connsiteX1" fmla="*/ 14231 w 26593"/>
                    <a:gd name="connsiteY1" fmla="*/ 26438 h 26469"/>
                    <a:gd name="connsiteX2" fmla="*/ 32 w 26593"/>
                    <a:gd name="connsiteY2" fmla="*/ 14231 h 26469"/>
                    <a:gd name="connsiteX3" fmla="*/ 12363 w 26593"/>
                    <a:gd name="connsiteY3" fmla="*/ 31 h 26469"/>
                    <a:gd name="connsiteX4" fmla="*/ 26562 w 26593"/>
                    <a:gd name="connsiteY4" fmla="*/ 12238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2238"/>
                      </a:moveTo>
                      <a:cubicBezTo>
                        <a:pt x="27060" y="19587"/>
                        <a:pt x="21580" y="25940"/>
                        <a:pt x="14231" y="26438"/>
                      </a:cubicBezTo>
                      <a:cubicBezTo>
                        <a:pt x="6882" y="26936"/>
                        <a:pt x="529" y="21580"/>
                        <a:pt x="32" y="14231"/>
                      </a:cubicBezTo>
                      <a:cubicBezTo>
                        <a:pt x="-467" y="6882"/>
                        <a:pt x="5013" y="530"/>
                        <a:pt x="12363" y="31"/>
                      </a:cubicBezTo>
                      <a:cubicBezTo>
                        <a:pt x="19711" y="-467"/>
                        <a:pt x="26064" y="5014"/>
                        <a:pt x="26562" y="1223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0" name="Freeform 4835">
                  <a:extLst>
                    <a:ext uri="{FF2B5EF4-FFF2-40B4-BE49-F238E27FC236}">
                      <a16:creationId xmlns:a16="http://schemas.microsoft.com/office/drawing/2014/main" id="{1A086E05-1E03-3707-8B67-12C32459CDEC}"/>
                    </a:ext>
                  </a:extLst>
                </p:cNvPr>
                <p:cNvSpPr/>
                <p:nvPr/>
              </p:nvSpPr>
              <p:spPr>
                <a:xfrm>
                  <a:off x="7520130" y="5655117"/>
                  <a:ext cx="5691" cy="52065"/>
                </a:xfrm>
                <a:custGeom>
                  <a:avLst/>
                  <a:gdLst>
                    <a:gd name="connsiteX0" fmla="*/ 4398 w 5691"/>
                    <a:gd name="connsiteY0" fmla="*/ 52065 h 52065"/>
                    <a:gd name="connsiteX1" fmla="*/ 5021 w 5691"/>
                    <a:gd name="connsiteY1" fmla="*/ 33257 h 52065"/>
                    <a:gd name="connsiteX2" fmla="*/ 413 w 5691"/>
                    <a:gd name="connsiteY2" fmla="*/ 16442 h 52065"/>
                    <a:gd name="connsiteX3" fmla="*/ 1409 w 5691"/>
                    <a:gd name="connsiteY3" fmla="*/ 0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52065"/>
                      </a:moveTo>
                      <a:cubicBezTo>
                        <a:pt x="6267" y="43844"/>
                        <a:pt x="5769" y="37492"/>
                        <a:pt x="5021" y="33257"/>
                      </a:cubicBezTo>
                      <a:cubicBezTo>
                        <a:pt x="3775" y="26406"/>
                        <a:pt x="1409" y="23542"/>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1" name="Freeform 4836">
                  <a:extLst>
                    <a:ext uri="{FF2B5EF4-FFF2-40B4-BE49-F238E27FC236}">
                      <a16:creationId xmlns:a16="http://schemas.microsoft.com/office/drawing/2014/main" id="{237D7A65-421F-77A8-9A0C-DD180BA2DB76}"/>
                    </a:ext>
                  </a:extLst>
                </p:cNvPr>
                <p:cNvSpPr/>
                <p:nvPr/>
              </p:nvSpPr>
              <p:spPr>
                <a:xfrm>
                  <a:off x="7513443" y="5660722"/>
                  <a:ext cx="4608" cy="52065"/>
                </a:xfrm>
                <a:custGeom>
                  <a:avLst/>
                  <a:gdLst>
                    <a:gd name="connsiteX0" fmla="*/ 0 w 4608"/>
                    <a:gd name="connsiteY0" fmla="*/ 0 h 52065"/>
                    <a:gd name="connsiteX1" fmla="*/ 3363 w 4608"/>
                    <a:gd name="connsiteY1" fmla="*/ 18559 h 52065"/>
                    <a:gd name="connsiteX2" fmla="*/ 1245 w 4608"/>
                    <a:gd name="connsiteY2" fmla="*/ 35873 h 52065"/>
                    <a:gd name="connsiteX3" fmla="*/ 4609 w 460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608" h="52065">
                      <a:moveTo>
                        <a:pt x="0" y="0"/>
                      </a:moveTo>
                      <a:cubicBezTo>
                        <a:pt x="2989" y="7847"/>
                        <a:pt x="3487" y="14199"/>
                        <a:pt x="3363" y="18559"/>
                      </a:cubicBezTo>
                      <a:cubicBezTo>
                        <a:pt x="3114" y="25534"/>
                        <a:pt x="1245" y="28773"/>
                        <a:pt x="1245" y="35873"/>
                      </a:cubicBezTo>
                      <a:cubicBezTo>
                        <a:pt x="1245" y="42723"/>
                        <a:pt x="3114" y="48453"/>
                        <a:pt x="46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72" name="Freeform 4837">
                  <a:extLst>
                    <a:ext uri="{FF2B5EF4-FFF2-40B4-BE49-F238E27FC236}">
                      <a16:creationId xmlns:a16="http://schemas.microsoft.com/office/drawing/2014/main" id="{A274C57D-1AA8-7062-9B65-45A8E82241B2}"/>
                    </a:ext>
                  </a:extLst>
                </p:cNvPr>
                <p:cNvSpPr/>
                <p:nvPr/>
              </p:nvSpPr>
              <p:spPr>
                <a:xfrm>
                  <a:off x="7508305" y="5701296"/>
                  <a:ext cx="26344" cy="26469"/>
                </a:xfrm>
                <a:custGeom>
                  <a:avLst/>
                  <a:gdLst>
                    <a:gd name="connsiteX0" fmla="*/ 31 w 26344"/>
                    <a:gd name="connsiteY0" fmla="*/ 14231 h 26469"/>
                    <a:gd name="connsiteX1" fmla="*/ 12239 w 26344"/>
                    <a:gd name="connsiteY1" fmla="*/ 31 h 26469"/>
                    <a:gd name="connsiteX2" fmla="*/ 26313 w 26344"/>
                    <a:gd name="connsiteY2" fmla="*/ 12238 h 26469"/>
                    <a:gd name="connsiteX3" fmla="*/ 14106 w 26344"/>
                    <a:gd name="connsiteY3" fmla="*/ 26438 h 26469"/>
                    <a:gd name="connsiteX4" fmla="*/ 31 w 26344"/>
                    <a:gd name="connsiteY4" fmla="*/ 14231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1" y="14231"/>
                      </a:moveTo>
                      <a:cubicBezTo>
                        <a:pt x="-467" y="6882"/>
                        <a:pt x="5014" y="530"/>
                        <a:pt x="12239" y="31"/>
                      </a:cubicBezTo>
                      <a:cubicBezTo>
                        <a:pt x="19462" y="-467"/>
                        <a:pt x="25815" y="5014"/>
                        <a:pt x="26313" y="12238"/>
                      </a:cubicBezTo>
                      <a:cubicBezTo>
                        <a:pt x="26812" y="19587"/>
                        <a:pt x="21331" y="25940"/>
                        <a:pt x="14106" y="26438"/>
                      </a:cubicBezTo>
                      <a:cubicBezTo>
                        <a:pt x="6882" y="26936"/>
                        <a:pt x="530" y="21455"/>
                        <a:pt x="31"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3" name="Graphic 2987">
                <a:extLst>
                  <a:ext uri="{FF2B5EF4-FFF2-40B4-BE49-F238E27FC236}">
                    <a16:creationId xmlns:a16="http://schemas.microsoft.com/office/drawing/2014/main" id="{71A9DECC-60CD-6526-3B50-0FC14B9DC6F4}"/>
                  </a:ext>
                </a:extLst>
              </p:cNvPr>
              <p:cNvGrpSpPr/>
              <p:nvPr/>
            </p:nvGrpSpPr>
            <p:grpSpPr>
              <a:xfrm>
                <a:off x="7529106" y="5576972"/>
                <a:ext cx="34814" cy="148551"/>
                <a:chOff x="7529106" y="5576972"/>
                <a:chExt cx="34814" cy="148551"/>
              </a:xfrm>
              <a:grpFill/>
            </p:grpSpPr>
            <p:sp>
              <p:nvSpPr>
                <p:cNvPr id="4661" name="Freeform 4839">
                  <a:extLst>
                    <a:ext uri="{FF2B5EF4-FFF2-40B4-BE49-F238E27FC236}">
                      <a16:creationId xmlns:a16="http://schemas.microsoft.com/office/drawing/2014/main" id="{B6C7E6CA-4108-CD29-C3EA-B5330AEA5EE3}"/>
                    </a:ext>
                  </a:extLst>
                </p:cNvPr>
                <p:cNvSpPr/>
                <p:nvPr/>
              </p:nvSpPr>
              <p:spPr>
                <a:xfrm>
                  <a:off x="7537885" y="5597447"/>
                  <a:ext cx="5739" cy="52065"/>
                </a:xfrm>
                <a:custGeom>
                  <a:avLst/>
                  <a:gdLst>
                    <a:gd name="connsiteX0" fmla="*/ 1342 w 5739"/>
                    <a:gd name="connsiteY0" fmla="*/ 0 h 52065"/>
                    <a:gd name="connsiteX1" fmla="*/ 718 w 5739"/>
                    <a:gd name="connsiteY1" fmla="*/ 18808 h 52065"/>
                    <a:gd name="connsiteX2" fmla="*/ 5327 w 5739"/>
                    <a:gd name="connsiteY2" fmla="*/ 35624 h 52065"/>
                    <a:gd name="connsiteX3" fmla="*/ 4331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1342" y="0"/>
                      </a:moveTo>
                      <a:cubicBezTo>
                        <a:pt x="-527" y="8221"/>
                        <a:pt x="-154" y="14573"/>
                        <a:pt x="718" y="18808"/>
                      </a:cubicBezTo>
                      <a:cubicBezTo>
                        <a:pt x="1964" y="25659"/>
                        <a:pt x="4331" y="28524"/>
                        <a:pt x="5327" y="35624"/>
                      </a:cubicBezTo>
                      <a:cubicBezTo>
                        <a:pt x="6323" y="42474"/>
                        <a:pt x="5327" y="48328"/>
                        <a:pt x="43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2" name="Freeform 4840">
                  <a:extLst>
                    <a:ext uri="{FF2B5EF4-FFF2-40B4-BE49-F238E27FC236}">
                      <a16:creationId xmlns:a16="http://schemas.microsoft.com/office/drawing/2014/main" id="{DAF89C54-477C-D6EA-B394-1B5DED04192F}"/>
                    </a:ext>
                  </a:extLst>
                </p:cNvPr>
                <p:cNvSpPr/>
                <p:nvPr/>
              </p:nvSpPr>
              <p:spPr>
                <a:xfrm>
                  <a:off x="7545953" y="5591842"/>
                  <a:ext cx="4234" cy="52065"/>
                </a:xfrm>
                <a:custGeom>
                  <a:avLst/>
                  <a:gdLst>
                    <a:gd name="connsiteX0" fmla="*/ 4235 w 4234"/>
                    <a:gd name="connsiteY0" fmla="*/ 52065 h 52065"/>
                    <a:gd name="connsiteX1" fmla="*/ 997 w 4234"/>
                    <a:gd name="connsiteY1" fmla="*/ 33506 h 52065"/>
                    <a:gd name="connsiteX2" fmla="*/ 3239 w 4234"/>
                    <a:gd name="connsiteY2" fmla="*/ 16192 h 52065"/>
                    <a:gd name="connsiteX3" fmla="*/ 0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52065"/>
                      </a:moveTo>
                      <a:cubicBezTo>
                        <a:pt x="1245" y="44218"/>
                        <a:pt x="747" y="37865"/>
                        <a:pt x="997" y="33506"/>
                      </a:cubicBezTo>
                      <a:cubicBezTo>
                        <a:pt x="1245" y="26530"/>
                        <a:pt x="3239" y="23292"/>
                        <a:pt x="3239"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3" name="Freeform 4841">
                  <a:extLst>
                    <a:ext uri="{FF2B5EF4-FFF2-40B4-BE49-F238E27FC236}">
                      <a16:creationId xmlns:a16="http://schemas.microsoft.com/office/drawing/2014/main" id="{AE1BE654-29D1-93F6-5106-86A098C75FE4}"/>
                    </a:ext>
                  </a:extLst>
                </p:cNvPr>
                <p:cNvSpPr/>
                <p:nvPr/>
              </p:nvSpPr>
              <p:spPr>
                <a:xfrm>
                  <a:off x="7529106" y="5576972"/>
                  <a:ext cx="26593" cy="26485"/>
                </a:xfrm>
                <a:custGeom>
                  <a:avLst/>
                  <a:gdLst>
                    <a:gd name="connsiteX0" fmla="*/ 26562 w 26593"/>
                    <a:gd name="connsiteY0" fmla="*/ 12378 h 26485"/>
                    <a:gd name="connsiteX1" fmla="*/ 14231 w 26593"/>
                    <a:gd name="connsiteY1" fmla="*/ 26453 h 26485"/>
                    <a:gd name="connsiteX2" fmla="*/ 31 w 26593"/>
                    <a:gd name="connsiteY2" fmla="*/ 14247 h 26485"/>
                    <a:gd name="connsiteX3" fmla="*/ 12363 w 26593"/>
                    <a:gd name="connsiteY3" fmla="*/ 47 h 26485"/>
                    <a:gd name="connsiteX4" fmla="*/ 26562 w 26593"/>
                    <a:gd name="connsiteY4" fmla="*/ 12378 h 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85">
                      <a:moveTo>
                        <a:pt x="26562" y="12378"/>
                      </a:moveTo>
                      <a:cubicBezTo>
                        <a:pt x="27061" y="19727"/>
                        <a:pt x="21580" y="25955"/>
                        <a:pt x="14231" y="26453"/>
                      </a:cubicBezTo>
                      <a:cubicBezTo>
                        <a:pt x="6883" y="26952"/>
                        <a:pt x="530" y="21596"/>
                        <a:pt x="31" y="14247"/>
                      </a:cubicBezTo>
                      <a:cubicBezTo>
                        <a:pt x="-467" y="6898"/>
                        <a:pt x="5014" y="545"/>
                        <a:pt x="12363" y="47"/>
                      </a:cubicBezTo>
                      <a:cubicBezTo>
                        <a:pt x="19712" y="-576"/>
                        <a:pt x="26064" y="5030"/>
                        <a:pt x="26562" y="123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4" name="Freeform 4842">
                  <a:extLst>
                    <a:ext uri="{FF2B5EF4-FFF2-40B4-BE49-F238E27FC236}">
                      <a16:creationId xmlns:a16="http://schemas.microsoft.com/office/drawing/2014/main" id="{5566A774-118D-2E76-5EB0-A52A80B08B87}"/>
                    </a:ext>
                  </a:extLst>
                </p:cNvPr>
                <p:cNvSpPr/>
                <p:nvPr/>
              </p:nvSpPr>
              <p:spPr>
                <a:xfrm>
                  <a:off x="7549526" y="5652875"/>
                  <a:ext cx="5739" cy="52065"/>
                </a:xfrm>
                <a:custGeom>
                  <a:avLst/>
                  <a:gdLst>
                    <a:gd name="connsiteX0" fmla="*/ 4399 w 5739"/>
                    <a:gd name="connsiteY0" fmla="*/ 52065 h 52065"/>
                    <a:gd name="connsiteX1" fmla="*/ 5021 w 5739"/>
                    <a:gd name="connsiteY1" fmla="*/ 33257 h 52065"/>
                    <a:gd name="connsiteX2" fmla="*/ 413 w 5739"/>
                    <a:gd name="connsiteY2" fmla="*/ 16442 h 52065"/>
                    <a:gd name="connsiteX3" fmla="*/ 1409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4399" y="52065"/>
                      </a:moveTo>
                      <a:cubicBezTo>
                        <a:pt x="6267" y="43844"/>
                        <a:pt x="5893" y="37616"/>
                        <a:pt x="5021" y="33257"/>
                      </a:cubicBezTo>
                      <a:cubicBezTo>
                        <a:pt x="3775" y="26406"/>
                        <a:pt x="1409" y="23417"/>
                        <a:pt x="413" y="16442"/>
                      </a:cubicBezTo>
                      <a:cubicBezTo>
                        <a:pt x="-584" y="9591"/>
                        <a:pt x="413" y="3737"/>
                        <a:pt x="14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5" name="Freeform 4843">
                  <a:extLst>
                    <a:ext uri="{FF2B5EF4-FFF2-40B4-BE49-F238E27FC236}">
                      <a16:creationId xmlns:a16="http://schemas.microsoft.com/office/drawing/2014/main" id="{AB8E9F97-0F73-87E2-CC64-660EDD482B29}"/>
                    </a:ext>
                  </a:extLst>
                </p:cNvPr>
                <p:cNvSpPr/>
                <p:nvPr/>
              </p:nvSpPr>
              <p:spPr>
                <a:xfrm>
                  <a:off x="7542964" y="5658480"/>
                  <a:ext cx="4234" cy="52065"/>
                </a:xfrm>
                <a:custGeom>
                  <a:avLst/>
                  <a:gdLst>
                    <a:gd name="connsiteX0" fmla="*/ 0 w 4234"/>
                    <a:gd name="connsiteY0" fmla="*/ 0 h 52065"/>
                    <a:gd name="connsiteX1" fmla="*/ 3239 w 4234"/>
                    <a:gd name="connsiteY1" fmla="*/ 18559 h 52065"/>
                    <a:gd name="connsiteX2" fmla="*/ 996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487" y="14200"/>
                        <a:pt x="3239" y="18559"/>
                      </a:cubicBezTo>
                      <a:cubicBezTo>
                        <a:pt x="2989" y="25535"/>
                        <a:pt x="996" y="28773"/>
                        <a:pt x="996" y="35873"/>
                      </a:cubicBezTo>
                      <a:cubicBezTo>
                        <a:pt x="996" y="42724"/>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6" name="Freeform 4844">
                  <a:extLst>
                    <a:ext uri="{FF2B5EF4-FFF2-40B4-BE49-F238E27FC236}">
                      <a16:creationId xmlns:a16="http://schemas.microsoft.com/office/drawing/2014/main" id="{E8B9F294-2D16-42EF-CBAA-B08BAAC2C2A4}"/>
                    </a:ext>
                  </a:extLst>
                </p:cNvPr>
                <p:cNvSpPr/>
                <p:nvPr/>
              </p:nvSpPr>
              <p:spPr>
                <a:xfrm>
                  <a:off x="7537576" y="5699055"/>
                  <a:ext cx="26344" cy="26468"/>
                </a:xfrm>
                <a:custGeom>
                  <a:avLst/>
                  <a:gdLst>
                    <a:gd name="connsiteX0" fmla="*/ 32 w 26344"/>
                    <a:gd name="connsiteY0" fmla="*/ 14231 h 26468"/>
                    <a:gd name="connsiteX1" fmla="*/ 12238 w 26344"/>
                    <a:gd name="connsiteY1" fmla="*/ 31 h 26468"/>
                    <a:gd name="connsiteX2" fmla="*/ 26313 w 26344"/>
                    <a:gd name="connsiteY2" fmla="*/ 12362 h 26468"/>
                    <a:gd name="connsiteX3" fmla="*/ 14107 w 26344"/>
                    <a:gd name="connsiteY3" fmla="*/ 26437 h 26468"/>
                    <a:gd name="connsiteX4" fmla="*/ 32 w 26344"/>
                    <a:gd name="connsiteY4" fmla="*/ 14231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8">
                      <a:moveTo>
                        <a:pt x="32" y="14231"/>
                      </a:moveTo>
                      <a:cubicBezTo>
                        <a:pt x="-467" y="6882"/>
                        <a:pt x="5013" y="529"/>
                        <a:pt x="12238" y="31"/>
                      </a:cubicBezTo>
                      <a:cubicBezTo>
                        <a:pt x="19462" y="-468"/>
                        <a:pt x="25814" y="5138"/>
                        <a:pt x="26313" y="12362"/>
                      </a:cubicBezTo>
                      <a:cubicBezTo>
                        <a:pt x="26811" y="19711"/>
                        <a:pt x="21330" y="25939"/>
                        <a:pt x="14107" y="26437"/>
                      </a:cubicBezTo>
                      <a:cubicBezTo>
                        <a:pt x="6882" y="26935"/>
                        <a:pt x="654" y="21455"/>
                        <a:pt x="32" y="142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4" name="Graphic 2987">
                <a:extLst>
                  <a:ext uri="{FF2B5EF4-FFF2-40B4-BE49-F238E27FC236}">
                    <a16:creationId xmlns:a16="http://schemas.microsoft.com/office/drawing/2014/main" id="{57AC5C84-05B2-A63B-28B2-33E02988BBFE}"/>
                  </a:ext>
                </a:extLst>
              </p:cNvPr>
              <p:cNvGrpSpPr/>
              <p:nvPr/>
            </p:nvGrpSpPr>
            <p:grpSpPr>
              <a:xfrm>
                <a:off x="7558627" y="5574996"/>
                <a:ext cx="34688" cy="148770"/>
                <a:chOff x="7558627" y="5574996"/>
                <a:chExt cx="34688" cy="148770"/>
              </a:xfrm>
              <a:grpFill/>
            </p:grpSpPr>
            <p:sp>
              <p:nvSpPr>
                <p:cNvPr id="4655" name="Freeform 4846">
                  <a:extLst>
                    <a:ext uri="{FF2B5EF4-FFF2-40B4-BE49-F238E27FC236}">
                      <a16:creationId xmlns:a16="http://schemas.microsoft.com/office/drawing/2014/main" id="{4F2524D1-60E2-185E-C0CE-7262D12FAD3A}"/>
                    </a:ext>
                  </a:extLst>
                </p:cNvPr>
                <p:cNvSpPr/>
                <p:nvPr/>
              </p:nvSpPr>
              <p:spPr>
                <a:xfrm>
                  <a:off x="7567468" y="5595578"/>
                  <a:ext cx="5653" cy="52065"/>
                </a:xfrm>
                <a:custGeom>
                  <a:avLst/>
                  <a:gdLst>
                    <a:gd name="connsiteX0" fmla="*/ 1403 w 5653"/>
                    <a:gd name="connsiteY0" fmla="*/ 0 h 52065"/>
                    <a:gd name="connsiteX1" fmla="*/ 656 w 5653"/>
                    <a:gd name="connsiteY1" fmla="*/ 18808 h 52065"/>
                    <a:gd name="connsiteX2" fmla="*/ 5265 w 5653"/>
                    <a:gd name="connsiteY2" fmla="*/ 35624 h 52065"/>
                    <a:gd name="connsiteX3" fmla="*/ 4144 w 565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53" h="52065">
                      <a:moveTo>
                        <a:pt x="1403" y="0"/>
                      </a:moveTo>
                      <a:cubicBezTo>
                        <a:pt x="-589" y="8221"/>
                        <a:pt x="-91" y="14449"/>
                        <a:pt x="656" y="18808"/>
                      </a:cubicBezTo>
                      <a:cubicBezTo>
                        <a:pt x="1902" y="25659"/>
                        <a:pt x="4269" y="28648"/>
                        <a:pt x="5265" y="35624"/>
                      </a:cubicBezTo>
                      <a:cubicBezTo>
                        <a:pt x="6261" y="42474"/>
                        <a:pt x="5141" y="48328"/>
                        <a:pt x="414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6" name="Freeform 4847">
                  <a:extLst>
                    <a:ext uri="{FF2B5EF4-FFF2-40B4-BE49-F238E27FC236}">
                      <a16:creationId xmlns:a16="http://schemas.microsoft.com/office/drawing/2014/main" id="{ACAD4521-DEAD-2101-B4E5-7CC6A397F551}"/>
                    </a:ext>
                  </a:extLst>
                </p:cNvPr>
                <p:cNvSpPr/>
                <p:nvPr/>
              </p:nvSpPr>
              <p:spPr>
                <a:xfrm>
                  <a:off x="7575473" y="5590098"/>
                  <a:ext cx="4235" cy="52065"/>
                </a:xfrm>
                <a:custGeom>
                  <a:avLst/>
                  <a:gdLst>
                    <a:gd name="connsiteX0" fmla="*/ 4235 w 4235"/>
                    <a:gd name="connsiteY0" fmla="*/ 52065 h 52065"/>
                    <a:gd name="connsiteX1" fmla="*/ 997 w 4235"/>
                    <a:gd name="connsiteY1" fmla="*/ 33506 h 52065"/>
                    <a:gd name="connsiteX2" fmla="*/ 3239 w 4235"/>
                    <a:gd name="connsiteY2" fmla="*/ 16193 h 52065"/>
                    <a:gd name="connsiteX3" fmla="*/ 0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4235" y="52065"/>
                      </a:moveTo>
                      <a:cubicBezTo>
                        <a:pt x="1245" y="44218"/>
                        <a:pt x="872" y="37866"/>
                        <a:pt x="997" y="33506"/>
                      </a:cubicBezTo>
                      <a:cubicBezTo>
                        <a:pt x="1370" y="26531"/>
                        <a:pt x="3239" y="23292"/>
                        <a:pt x="3239" y="16193"/>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7" name="Freeform 4848">
                  <a:extLst>
                    <a:ext uri="{FF2B5EF4-FFF2-40B4-BE49-F238E27FC236}">
                      <a16:creationId xmlns:a16="http://schemas.microsoft.com/office/drawing/2014/main" id="{5C4DA3CF-2EC3-F7B3-BEEE-95152C642123}"/>
                    </a:ext>
                  </a:extLst>
                </p:cNvPr>
                <p:cNvSpPr/>
                <p:nvPr/>
              </p:nvSpPr>
              <p:spPr>
                <a:xfrm>
                  <a:off x="7558627" y="5574996"/>
                  <a:ext cx="26716" cy="26592"/>
                </a:xfrm>
                <a:custGeom>
                  <a:avLst/>
                  <a:gdLst>
                    <a:gd name="connsiteX0" fmla="*/ 26686 w 26716"/>
                    <a:gd name="connsiteY0" fmla="*/ 12487 h 26592"/>
                    <a:gd name="connsiteX1" fmla="*/ 14230 w 26716"/>
                    <a:gd name="connsiteY1" fmla="*/ 26562 h 26592"/>
                    <a:gd name="connsiteX2" fmla="*/ 31 w 26716"/>
                    <a:gd name="connsiteY2" fmla="*/ 14106 h 26592"/>
                    <a:gd name="connsiteX3" fmla="*/ 12487 w 26716"/>
                    <a:gd name="connsiteY3" fmla="*/ 31 h 26592"/>
                    <a:gd name="connsiteX4" fmla="*/ 26686 w 26716"/>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92">
                      <a:moveTo>
                        <a:pt x="26686" y="12487"/>
                      </a:moveTo>
                      <a:cubicBezTo>
                        <a:pt x="27184" y="19835"/>
                        <a:pt x="21579" y="26063"/>
                        <a:pt x="14230" y="26562"/>
                      </a:cubicBezTo>
                      <a:cubicBezTo>
                        <a:pt x="6881" y="27060"/>
                        <a:pt x="529" y="21455"/>
                        <a:pt x="31" y="14106"/>
                      </a:cubicBezTo>
                      <a:cubicBezTo>
                        <a:pt x="-468" y="6757"/>
                        <a:pt x="5137" y="529"/>
                        <a:pt x="12487" y="31"/>
                      </a:cubicBezTo>
                      <a:cubicBezTo>
                        <a:pt x="19835" y="-468"/>
                        <a:pt x="26188" y="5138"/>
                        <a:pt x="26686"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8" name="Freeform 4849">
                  <a:extLst>
                    <a:ext uri="{FF2B5EF4-FFF2-40B4-BE49-F238E27FC236}">
                      <a16:creationId xmlns:a16="http://schemas.microsoft.com/office/drawing/2014/main" id="{03455506-01C8-0957-075C-1AB00E389D56}"/>
                    </a:ext>
                  </a:extLst>
                </p:cNvPr>
                <p:cNvSpPr/>
                <p:nvPr/>
              </p:nvSpPr>
              <p:spPr>
                <a:xfrm>
                  <a:off x="7579195" y="5651131"/>
                  <a:ext cx="5484" cy="52065"/>
                </a:xfrm>
                <a:custGeom>
                  <a:avLst/>
                  <a:gdLst>
                    <a:gd name="connsiteX0" fmla="*/ 4125 w 5484"/>
                    <a:gd name="connsiteY0" fmla="*/ 52065 h 52065"/>
                    <a:gd name="connsiteX1" fmla="*/ 4872 w 5484"/>
                    <a:gd name="connsiteY1" fmla="*/ 33257 h 52065"/>
                    <a:gd name="connsiteX2" fmla="*/ 388 w 5484"/>
                    <a:gd name="connsiteY2" fmla="*/ 16442 h 52065"/>
                    <a:gd name="connsiteX3" fmla="*/ 1509 w 5484"/>
                    <a:gd name="connsiteY3" fmla="*/ 0 h 52065"/>
                  </a:gdLst>
                  <a:ahLst/>
                  <a:cxnLst>
                    <a:cxn ang="0">
                      <a:pos x="connsiteX0" y="connsiteY0"/>
                    </a:cxn>
                    <a:cxn ang="0">
                      <a:pos x="connsiteX1" y="connsiteY1"/>
                    </a:cxn>
                    <a:cxn ang="0">
                      <a:pos x="connsiteX2" y="connsiteY2"/>
                    </a:cxn>
                    <a:cxn ang="0">
                      <a:pos x="connsiteX3" y="connsiteY3"/>
                    </a:cxn>
                  </a:cxnLst>
                  <a:rect l="l" t="t" r="r" b="b"/>
                  <a:pathLst>
                    <a:path w="5484" h="52065">
                      <a:moveTo>
                        <a:pt x="4125" y="52065"/>
                      </a:moveTo>
                      <a:cubicBezTo>
                        <a:pt x="5993" y="43845"/>
                        <a:pt x="5620" y="37617"/>
                        <a:pt x="4872" y="33257"/>
                      </a:cubicBezTo>
                      <a:cubicBezTo>
                        <a:pt x="3627" y="26406"/>
                        <a:pt x="1260" y="23417"/>
                        <a:pt x="388" y="16442"/>
                      </a:cubicBezTo>
                      <a:cubicBezTo>
                        <a:pt x="-608" y="9591"/>
                        <a:pt x="513" y="3737"/>
                        <a:pt x="1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9" name="Freeform 4850">
                  <a:extLst>
                    <a:ext uri="{FF2B5EF4-FFF2-40B4-BE49-F238E27FC236}">
                      <a16:creationId xmlns:a16="http://schemas.microsoft.com/office/drawing/2014/main" id="{2200E8AB-E815-FDF4-8A77-EF4FA054B7B9}"/>
                    </a:ext>
                  </a:extLst>
                </p:cNvPr>
                <p:cNvSpPr/>
                <p:nvPr/>
              </p:nvSpPr>
              <p:spPr>
                <a:xfrm>
                  <a:off x="7572484" y="5656612"/>
                  <a:ext cx="4234" cy="52065"/>
                </a:xfrm>
                <a:custGeom>
                  <a:avLst/>
                  <a:gdLst>
                    <a:gd name="connsiteX0" fmla="*/ 0 w 4234"/>
                    <a:gd name="connsiteY0" fmla="*/ 0 h 52065"/>
                    <a:gd name="connsiteX1" fmla="*/ 3239 w 4234"/>
                    <a:gd name="connsiteY1" fmla="*/ 18559 h 52065"/>
                    <a:gd name="connsiteX2" fmla="*/ 997 w 4234"/>
                    <a:gd name="connsiteY2" fmla="*/ 35873 h 52065"/>
                    <a:gd name="connsiteX3" fmla="*/ 4235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0" y="0"/>
                      </a:moveTo>
                      <a:cubicBezTo>
                        <a:pt x="2989" y="7847"/>
                        <a:pt x="3363" y="14200"/>
                        <a:pt x="3239" y="18559"/>
                      </a:cubicBezTo>
                      <a:cubicBezTo>
                        <a:pt x="2989" y="25535"/>
                        <a:pt x="997" y="28773"/>
                        <a:pt x="997" y="35873"/>
                      </a:cubicBezTo>
                      <a:cubicBezTo>
                        <a:pt x="997" y="42723"/>
                        <a:pt x="2740" y="48453"/>
                        <a:pt x="423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60" name="Freeform 4851">
                  <a:extLst>
                    <a:ext uri="{FF2B5EF4-FFF2-40B4-BE49-F238E27FC236}">
                      <a16:creationId xmlns:a16="http://schemas.microsoft.com/office/drawing/2014/main" id="{C26EB9DC-7369-5423-EF45-D1E368A68BBC}"/>
                    </a:ext>
                  </a:extLst>
                </p:cNvPr>
                <p:cNvSpPr/>
                <p:nvPr/>
              </p:nvSpPr>
              <p:spPr>
                <a:xfrm>
                  <a:off x="7566972" y="5697187"/>
                  <a:ext cx="26344" cy="26579"/>
                </a:xfrm>
                <a:custGeom>
                  <a:avLst/>
                  <a:gdLst>
                    <a:gd name="connsiteX0" fmla="*/ 32 w 26344"/>
                    <a:gd name="connsiteY0" fmla="*/ 14106 h 26579"/>
                    <a:gd name="connsiteX1" fmla="*/ 12238 w 26344"/>
                    <a:gd name="connsiteY1" fmla="*/ 31 h 26579"/>
                    <a:gd name="connsiteX2" fmla="*/ 26313 w 26344"/>
                    <a:gd name="connsiteY2" fmla="*/ 12487 h 26579"/>
                    <a:gd name="connsiteX3" fmla="*/ 14107 w 26344"/>
                    <a:gd name="connsiteY3" fmla="*/ 26562 h 26579"/>
                    <a:gd name="connsiteX4" fmla="*/ 32 w 26344"/>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579">
                      <a:moveTo>
                        <a:pt x="32" y="14106"/>
                      </a:moveTo>
                      <a:cubicBezTo>
                        <a:pt x="-467" y="6757"/>
                        <a:pt x="5013" y="529"/>
                        <a:pt x="12238" y="31"/>
                      </a:cubicBezTo>
                      <a:cubicBezTo>
                        <a:pt x="19462" y="-468"/>
                        <a:pt x="25815" y="5138"/>
                        <a:pt x="26313" y="12487"/>
                      </a:cubicBezTo>
                      <a:cubicBezTo>
                        <a:pt x="26811" y="19835"/>
                        <a:pt x="21330" y="26063"/>
                        <a:pt x="14107" y="26562"/>
                      </a:cubicBezTo>
                      <a:cubicBezTo>
                        <a:pt x="6882" y="26935"/>
                        <a:pt x="529" y="21330"/>
                        <a:pt x="3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5" name="Graphic 2987">
                <a:extLst>
                  <a:ext uri="{FF2B5EF4-FFF2-40B4-BE49-F238E27FC236}">
                    <a16:creationId xmlns:a16="http://schemas.microsoft.com/office/drawing/2014/main" id="{C96DDBCA-7DAC-A332-1582-1052B731C490}"/>
                  </a:ext>
                </a:extLst>
              </p:cNvPr>
              <p:cNvGrpSpPr/>
              <p:nvPr/>
            </p:nvGrpSpPr>
            <p:grpSpPr>
              <a:xfrm>
                <a:off x="7588396" y="5573140"/>
                <a:ext cx="34302" cy="148770"/>
                <a:chOff x="7588396" y="5573140"/>
                <a:chExt cx="34302" cy="148770"/>
              </a:xfrm>
              <a:grpFill/>
            </p:grpSpPr>
            <p:sp>
              <p:nvSpPr>
                <p:cNvPr id="4649" name="Freeform 4853">
                  <a:extLst>
                    <a:ext uri="{FF2B5EF4-FFF2-40B4-BE49-F238E27FC236}">
                      <a16:creationId xmlns:a16="http://schemas.microsoft.com/office/drawing/2014/main" id="{1AB66F04-C81C-5C34-3233-E637A1A173C3}"/>
                    </a:ext>
                  </a:extLst>
                </p:cNvPr>
                <p:cNvSpPr/>
                <p:nvPr/>
              </p:nvSpPr>
              <p:spPr>
                <a:xfrm>
                  <a:off x="7597112" y="5593710"/>
                  <a:ext cx="5474" cy="52065"/>
                </a:xfrm>
                <a:custGeom>
                  <a:avLst/>
                  <a:gdLst>
                    <a:gd name="connsiteX0" fmla="*/ 1403 w 5474"/>
                    <a:gd name="connsiteY0" fmla="*/ 0 h 52065"/>
                    <a:gd name="connsiteX1" fmla="*/ 656 w 5474"/>
                    <a:gd name="connsiteY1" fmla="*/ 18808 h 52065"/>
                    <a:gd name="connsiteX2" fmla="*/ 5141 w 5474"/>
                    <a:gd name="connsiteY2" fmla="*/ 35623 h 52065"/>
                    <a:gd name="connsiteX3" fmla="*/ 4019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1403" y="0"/>
                      </a:moveTo>
                      <a:cubicBezTo>
                        <a:pt x="-589" y="8221"/>
                        <a:pt x="-91" y="14449"/>
                        <a:pt x="656" y="18808"/>
                      </a:cubicBezTo>
                      <a:cubicBezTo>
                        <a:pt x="1902" y="25659"/>
                        <a:pt x="4269" y="28648"/>
                        <a:pt x="5141" y="35623"/>
                      </a:cubicBezTo>
                      <a:cubicBezTo>
                        <a:pt x="6012" y="42474"/>
                        <a:pt x="5016" y="48328"/>
                        <a:pt x="401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0" name="Freeform 4854">
                  <a:extLst>
                    <a:ext uri="{FF2B5EF4-FFF2-40B4-BE49-F238E27FC236}">
                      <a16:creationId xmlns:a16="http://schemas.microsoft.com/office/drawing/2014/main" id="{4AFBFDBB-EE58-0B16-874C-B7D8E33A65D0}"/>
                    </a:ext>
                  </a:extLst>
                </p:cNvPr>
                <p:cNvSpPr/>
                <p:nvPr/>
              </p:nvSpPr>
              <p:spPr>
                <a:xfrm>
                  <a:off x="7605367" y="5588230"/>
                  <a:ext cx="3985" cy="52065"/>
                </a:xfrm>
                <a:custGeom>
                  <a:avLst/>
                  <a:gdLst>
                    <a:gd name="connsiteX0" fmla="*/ 3985 w 3985"/>
                    <a:gd name="connsiteY0" fmla="*/ 52065 h 52065"/>
                    <a:gd name="connsiteX1" fmla="*/ 871 w 3985"/>
                    <a:gd name="connsiteY1" fmla="*/ 33506 h 52065"/>
                    <a:gd name="connsiteX2" fmla="*/ 3238 w 3985"/>
                    <a:gd name="connsiteY2" fmla="*/ 16192 h 52065"/>
                    <a:gd name="connsiteX3" fmla="*/ 0 w 3985"/>
                    <a:gd name="connsiteY3" fmla="*/ 0 h 52065"/>
                  </a:gdLst>
                  <a:ahLst/>
                  <a:cxnLst>
                    <a:cxn ang="0">
                      <a:pos x="connsiteX0" y="connsiteY0"/>
                    </a:cxn>
                    <a:cxn ang="0">
                      <a:pos x="connsiteX1" y="connsiteY1"/>
                    </a:cxn>
                    <a:cxn ang="0">
                      <a:pos x="connsiteX2" y="connsiteY2"/>
                    </a:cxn>
                    <a:cxn ang="0">
                      <a:pos x="connsiteX3" y="connsiteY3"/>
                    </a:cxn>
                  </a:cxnLst>
                  <a:rect l="l" t="t" r="r" b="b"/>
                  <a:pathLst>
                    <a:path w="3985" h="52065">
                      <a:moveTo>
                        <a:pt x="3985" y="52065"/>
                      </a:moveTo>
                      <a:cubicBezTo>
                        <a:pt x="996" y="44218"/>
                        <a:pt x="623" y="37866"/>
                        <a:pt x="871" y="33506"/>
                      </a:cubicBezTo>
                      <a:cubicBezTo>
                        <a:pt x="1245" y="26531"/>
                        <a:pt x="3114" y="23292"/>
                        <a:pt x="3238"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1" name="Freeform 4855">
                  <a:extLst>
                    <a:ext uri="{FF2B5EF4-FFF2-40B4-BE49-F238E27FC236}">
                      <a16:creationId xmlns:a16="http://schemas.microsoft.com/office/drawing/2014/main" id="{7F6F5479-44D2-247D-2AA1-164FE0298C1A}"/>
                    </a:ext>
                  </a:extLst>
                </p:cNvPr>
                <p:cNvSpPr/>
                <p:nvPr/>
              </p:nvSpPr>
              <p:spPr>
                <a:xfrm>
                  <a:off x="7588396" y="5573140"/>
                  <a:ext cx="26592" cy="26579"/>
                </a:xfrm>
                <a:custGeom>
                  <a:avLst/>
                  <a:gdLst>
                    <a:gd name="connsiteX0" fmla="*/ 26562 w 26592"/>
                    <a:gd name="connsiteY0" fmla="*/ 12474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4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4"/>
                      </a:moveTo>
                      <a:cubicBezTo>
                        <a:pt x="27060" y="19823"/>
                        <a:pt x="21455" y="26051"/>
                        <a:pt x="14106" y="26548"/>
                      </a:cubicBezTo>
                      <a:cubicBezTo>
                        <a:pt x="6757" y="27047"/>
                        <a:pt x="405" y="21442"/>
                        <a:pt x="31" y="14093"/>
                      </a:cubicBezTo>
                      <a:cubicBezTo>
                        <a:pt x="-467" y="6744"/>
                        <a:pt x="5138" y="516"/>
                        <a:pt x="12487" y="18"/>
                      </a:cubicBezTo>
                      <a:cubicBezTo>
                        <a:pt x="19836" y="-356"/>
                        <a:pt x="26188" y="5125"/>
                        <a:pt x="26562" y="1247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2" name="Freeform 4856">
                  <a:extLst>
                    <a:ext uri="{FF2B5EF4-FFF2-40B4-BE49-F238E27FC236}">
                      <a16:creationId xmlns:a16="http://schemas.microsoft.com/office/drawing/2014/main" id="{401B39A5-F9B3-3C2E-2383-4BE81F696E46}"/>
                    </a:ext>
                  </a:extLst>
                </p:cNvPr>
                <p:cNvSpPr/>
                <p:nvPr/>
              </p:nvSpPr>
              <p:spPr>
                <a:xfrm>
                  <a:off x="7608645" y="5649263"/>
                  <a:ext cx="5474" cy="52065"/>
                </a:xfrm>
                <a:custGeom>
                  <a:avLst/>
                  <a:gdLst>
                    <a:gd name="connsiteX0" fmla="*/ 4071 w 5474"/>
                    <a:gd name="connsiteY0" fmla="*/ 52065 h 52065"/>
                    <a:gd name="connsiteX1" fmla="*/ 4818 w 5474"/>
                    <a:gd name="connsiteY1" fmla="*/ 33257 h 52065"/>
                    <a:gd name="connsiteX2" fmla="*/ 334 w 5474"/>
                    <a:gd name="connsiteY2" fmla="*/ 16442 h 52065"/>
                    <a:gd name="connsiteX3" fmla="*/ 1455 w 5474"/>
                    <a:gd name="connsiteY3" fmla="*/ 0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52065"/>
                      </a:moveTo>
                      <a:cubicBezTo>
                        <a:pt x="6064" y="43844"/>
                        <a:pt x="5566" y="37616"/>
                        <a:pt x="4818" y="33257"/>
                      </a:cubicBezTo>
                      <a:cubicBezTo>
                        <a:pt x="3573" y="26406"/>
                        <a:pt x="1331" y="23417"/>
                        <a:pt x="334" y="16442"/>
                      </a:cubicBezTo>
                      <a:cubicBezTo>
                        <a:pt x="-538" y="9591"/>
                        <a:pt x="459" y="3737"/>
                        <a:pt x="14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3" name="Freeform 4857">
                  <a:extLst>
                    <a:ext uri="{FF2B5EF4-FFF2-40B4-BE49-F238E27FC236}">
                      <a16:creationId xmlns:a16="http://schemas.microsoft.com/office/drawing/2014/main" id="{A35E26EE-AF1B-0D28-3B39-82E26B1410EB}"/>
                    </a:ext>
                  </a:extLst>
                </p:cNvPr>
                <p:cNvSpPr/>
                <p:nvPr/>
              </p:nvSpPr>
              <p:spPr>
                <a:xfrm>
                  <a:off x="7602004" y="5654743"/>
                  <a:ext cx="4110" cy="52065"/>
                </a:xfrm>
                <a:custGeom>
                  <a:avLst/>
                  <a:gdLst>
                    <a:gd name="connsiteX0" fmla="*/ 0 w 4110"/>
                    <a:gd name="connsiteY0" fmla="*/ 0 h 52065"/>
                    <a:gd name="connsiteX1" fmla="*/ 3114 w 4110"/>
                    <a:gd name="connsiteY1" fmla="*/ 18559 h 52065"/>
                    <a:gd name="connsiteX2" fmla="*/ 872 w 4110"/>
                    <a:gd name="connsiteY2" fmla="*/ 35873 h 52065"/>
                    <a:gd name="connsiteX3" fmla="*/ 4111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0" y="0"/>
                      </a:moveTo>
                      <a:cubicBezTo>
                        <a:pt x="2989" y="7847"/>
                        <a:pt x="3363" y="14200"/>
                        <a:pt x="3114" y="18559"/>
                      </a:cubicBezTo>
                      <a:cubicBezTo>
                        <a:pt x="2740" y="25534"/>
                        <a:pt x="872" y="28773"/>
                        <a:pt x="872" y="35873"/>
                      </a:cubicBezTo>
                      <a:cubicBezTo>
                        <a:pt x="872" y="42723"/>
                        <a:pt x="2616" y="48453"/>
                        <a:pt x="411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54" name="Freeform 4858">
                  <a:extLst>
                    <a:ext uri="{FF2B5EF4-FFF2-40B4-BE49-F238E27FC236}">
                      <a16:creationId xmlns:a16="http://schemas.microsoft.com/office/drawing/2014/main" id="{E526618B-0944-0E69-2FB7-28DF2C419FFB}"/>
                    </a:ext>
                  </a:extLst>
                </p:cNvPr>
                <p:cNvSpPr/>
                <p:nvPr/>
              </p:nvSpPr>
              <p:spPr>
                <a:xfrm>
                  <a:off x="7596367" y="5695318"/>
                  <a:ext cx="26330" cy="26592"/>
                </a:xfrm>
                <a:custGeom>
                  <a:avLst/>
                  <a:gdLst>
                    <a:gd name="connsiteX0" fmla="*/ 31 w 26330"/>
                    <a:gd name="connsiteY0" fmla="*/ 14106 h 26592"/>
                    <a:gd name="connsiteX1" fmla="*/ 12362 w 26330"/>
                    <a:gd name="connsiteY1" fmla="*/ 31 h 26592"/>
                    <a:gd name="connsiteX2" fmla="*/ 26313 w 26330"/>
                    <a:gd name="connsiteY2" fmla="*/ 12487 h 26592"/>
                    <a:gd name="connsiteX3" fmla="*/ 13982 w 26330"/>
                    <a:gd name="connsiteY3" fmla="*/ 26562 h 26592"/>
                    <a:gd name="connsiteX4" fmla="*/ 31 w 26330"/>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92">
                      <a:moveTo>
                        <a:pt x="31" y="14106"/>
                      </a:moveTo>
                      <a:cubicBezTo>
                        <a:pt x="-467" y="6757"/>
                        <a:pt x="5014" y="529"/>
                        <a:pt x="12362" y="31"/>
                      </a:cubicBezTo>
                      <a:cubicBezTo>
                        <a:pt x="19587" y="-468"/>
                        <a:pt x="25940" y="5138"/>
                        <a:pt x="26313" y="12487"/>
                      </a:cubicBezTo>
                      <a:cubicBezTo>
                        <a:pt x="26687" y="19835"/>
                        <a:pt x="21206" y="26063"/>
                        <a:pt x="13982" y="26562"/>
                      </a:cubicBezTo>
                      <a:cubicBezTo>
                        <a:pt x="6757" y="27060"/>
                        <a:pt x="529" y="21455"/>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6" name="Graphic 2987">
                <a:extLst>
                  <a:ext uri="{FF2B5EF4-FFF2-40B4-BE49-F238E27FC236}">
                    <a16:creationId xmlns:a16="http://schemas.microsoft.com/office/drawing/2014/main" id="{3711F662-BE24-B6DA-C37A-56F3435480CA}"/>
                  </a:ext>
                </a:extLst>
              </p:cNvPr>
              <p:cNvGrpSpPr/>
              <p:nvPr/>
            </p:nvGrpSpPr>
            <p:grpSpPr>
              <a:xfrm>
                <a:off x="7618165" y="5571272"/>
                <a:ext cx="33941" cy="148770"/>
                <a:chOff x="7618165" y="5571272"/>
                <a:chExt cx="33941" cy="148770"/>
              </a:xfrm>
              <a:grpFill/>
            </p:grpSpPr>
            <p:sp>
              <p:nvSpPr>
                <p:cNvPr id="4643" name="Freeform 4860">
                  <a:extLst>
                    <a:ext uri="{FF2B5EF4-FFF2-40B4-BE49-F238E27FC236}">
                      <a16:creationId xmlns:a16="http://schemas.microsoft.com/office/drawing/2014/main" id="{DBCD4538-DF55-C146-D4B5-83299539E525}"/>
                    </a:ext>
                  </a:extLst>
                </p:cNvPr>
                <p:cNvSpPr/>
                <p:nvPr/>
              </p:nvSpPr>
              <p:spPr>
                <a:xfrm>
                  <a:off x="7626688" y="5591842"/>
                  <a:ext cx="5419" cy="52065"/>
                </a:xfrm>
                <a:custGeom>
                  <a:avLst/>
                  <a:gdLst>
                    <a:gd name="connsiteX0" fmla="*/ 1472 w 5419"/>
                    <a:gd name="connsiteY0" fmla="*/ 0 h 52065"/>
                    <a:gd name="connsiteX1" fmla="*/ 600 w 5419"/>
                    <a:gd name="connsiteY1" fmla="*/ 18808 h 52065"/>
                    <a:gd name="connsiteX2" fmla="*/ 5085 w 5419"/>
                    <a:gd name="connsiteY2" fmla="*/ 35623 h 52065"/>
                    <a:gd name="connsiteX3" fmla="*/ 3963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1472" y="0"/>
                      </a:moveTo>
                      <a:cubicBezTo>
                        <a:pt x="-520" y="8221"/>
                        <a:pt x="-147" y="14449"/>
                        <a:pt x="600" y="18808"/>
                      </a:cubicBezTo>
                      <a:cubicBezTo>
                        <a:pt x="1846" y="25659"/>
                        <a:pt x="4088" y="28648"/>
                        <a:pt x="5085" y="35623"/>
                      </a:cubicBezTo>
                      <a:cubicBezTo>
                        <a:pt x="5957"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4" name="Freeform 4861">
                  <a:extLst>
                    <a:ext uri="{FF2B5EF4-FFF2-40B4-BE49-F238E27FC236}">
                      <a16:creationId xmlns:a16="http://schemas.microsoft.com/office/drawing/2014/main" id="{910890C7-F62C-D871-B200-7951807EC826}"/>
                    </a:ext>
                  </a:extLst>
                </p:cNvPr>
                <p:cNvSpPr/>
                <p:nvPr/>
              </p:nvSpPr>
              <p:spPr>
                <a:xfrm>
                  <a:off x="7635011" y="5586361"/>
                  <a:ext cx="3862" cy="52065"/>
                </a:xfrm>
                <a:custGeom>
                  <a:avLst/>
                  <a:gdLst>
                    <a:gd name="connsiteX0" fmla="*/ 3862 w 3862"/>
                    <a:gd name="connsiteY0" fmla="*/ 52065 h 52065"/>
                    <a:gd name="connsiteX1" fmla="*/ 748 w 3862"/>
                    <a:gd name="connsiteY1" fmla="*/ 33506 h 52065"/>
                    <a:gd name="connsiteX2" fmla="*/ 3114 w 3862"/>
                    <a:gd name="connsiteY2" fmla="*/ 16192 h 52065"/>
                    <a:gd name="connsiteX3" fmla="*/ 0 w 3862"/>
                    <a:gd name="connsiteY3" fmla="*/ 0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52065"/>
                      </a:moveTo>
                      <a:cubicBezTo>
                        <a:pt x="872" y="44218"/>
                        <a:pt x="499" y="37865"/>
                        <a:pt x="748" y="33506"/>
                      </a:cubicBezTo>
                      <a:cubicBezTo>
                        <a:pt x="1121" y="26531"/>
                        <a:pt x="2990"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5" name="Freeform 4862">
                  <a:extLst>
                    <a:ext uri="{FF2B5EF4-FFF2-40B4-BE49-F238E27FC236}">
                      <a16:creationId xmlns:a16="http://schemas.microsoft.com/office/drawing/2014/main" id="{67993D45-E2A3-547A-E50C-B569314AAB7F}"/>
                    </a:ext>
                  </a:extLst>
                </p:cNvPr>
                <p:cNvSpPr/>
                <p:nvPr/>
              </p:nvSpPr>
              <p:spPr>
                <a:xfrm>
                  <a:off x="7618165" y="5571272"/>
                  <a:ext cx="26592" cy="26579"/>
                </a:xfrm>
                <a:custGeom>
                  <a:avLst/>
                  <a:gdLst>
                    <a:gd name="connsiteX0" fmla="*/ 26562 w 26592"/>
                    <a:gd name="connsiteY0" fmla="*/ 12473 h 26579"/>
                    <a:gd name="connsiteX1" fmla="*/ 14106 w 26592"/>
                    <a:gd name="connsiteY1" fmla="*/ 26548 h 26579"/>
                    <a:gd name="connsiteX2" fmla="*/ 31 w 26592"/>
                    <a:gd name="connsiteY2" fmla="*/ 14093 h 26579"/>
                    <a:gd name="connsiteX3" fmla="*/ 12487 w 26592"/>
                    <a:gd name="connsiteY3" fmla="*/ 18 h 26579"/>
                    <a:gd name="connsiteX4" fmla="*/ 26562 w 26592"/>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79">
                      <a:moveTo>
                        <a:pt x="26562" y="12473"/>
                      </a:moveTo>
                      <a:cubicBezTo>
                        <a:pt x="27060" y="19823"/>
                        <a:pt x="21455" y="26051"/>
                        <a:pt x="14106" y="26548"/>
                      </a:cubicBezTo>
                      <a:cubicBezTo>
                        <a:pt x="6757" y="27047"/>
                        <a:pt x="529" y="21442"/>
                        <a:pt x="31" y="14093"/>
                      </a:cubicBezTo>
                      <a:cubicBezTo>
                        <a:pt x="-467" y="6744"/>
                        <a:pt x="5138" y="516"/>
                        <a:pt x="12487" y="18"/>
                      </a:cubicBezTo>
                      <a:cubicBezTo>
                        <a:pt x="19836" y="-356"/>
                        <a:pt x="26064"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6" name="Freeform 4863">
                  <a:extLst>
                    <a:ext uri="{FF2B5EF4-FFF2-40B4-BE49-F238E27FC236}">
                      <a16:creationId xmlns:a16="http://schemas.microsoft.com/office/drawing/2014/main" id="{94228A6A-3945-32DB-7CA9-CBA6859E3CBE}"/>
                    </a:ext>
                  </a:extLst>
                </p:cNvPr>
                <p:cNvSpPr/>
                <p:nvPr/>
              </p:nvSpPr>
              <p:spPr>
                <a:xfrm>
                  <a:off x="7638165" y="5647395"/>
                  <a:ext cx="5418" cy="52065"/>
                </a:xfrm>
                <a:custGeom>
                  <a:avLst/>
                  <a:gdLst>
                    <a:gd name="connsiteX0" fmla="*/ 3946 w 5418"/>
                    <a:gd name="connsiteY0" fmla="*/ 52065 h 52065"/>
                    <a:gd name="connsiteX1" fmla="*/ 4818 w 5418"/>
                    <a:gd name="connsiteY1" fmla="*/ 33257 h 52065"/>
                    <a:gd name="connsiteX2" fmla="*/ 334 w 5418"/>
                    <a:gd name="connsiteY2" fmla="*/ 16442 h 52065"/>
                    <a:gd name="connsiteX3" fmla="*/ 1456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3946" y="52065"/>
                      </a:moveTo>
                      <a:cubicBezTo>
                        <a:pt x="5940" y="43844"/>
                        <a:pt x="5566" y="37616"/>
                        <a:pt x="4818" y="33257"/>
                      </a:cubicBezTo>
                      <a:cubicBezTo>
                        <a:pt x="3573" y="26406"/>
                        <a:pt x="1331" y="23417"/>
                        <a:pt x="334" y="16442"/>
                      </a:cubicBezTo>
                      <a:cubicBezTo>
                        <a:pt x="-538" y="9591"/>
                        <a:pt x="459" y="3737"/>
                        <a:pt x="14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7" name="Freeform 4864">
                  <a:extLst>
                    <a:ext uri="{FF2B5EF4-FFF2-40B4-BE49-F238E27FC236}">
                      <a16:creationId xmlns:a16="http://schemas.microsoft.com/office/drawing/2014/main" id="{E3B697A4-957A-0FEC-DBF0-DE8BF3794DA4}"/>
                    </a:ext>
                  </a:extLst>
                </p:cNvPr>
                <p:cNvSpPr/>
                <p:nvPr/>
              </p:nvSpPr>
              <p:spPr>
                <a:xfrm>
                  <a:off x="7631524" y="5653000"/>
                  <a:ext cx="3861" cy="52065"/>
                </a:xfrm>
                <a:custGeom>
                  <a:avLst/>
                  <a:gdLst>
                    <a:gd name="connsiteX0" fmla="*/ 0 w 3861"/>
                    <a:gd name="connsiteY0" fmla="*/ 0 h 52065"/>
                    <a:gd name="connsiteX1" fmla="*/ 3114 w 3861"/>
                    <a:gd name="connsiteY1" fmla="*/ 18559 h 52065"/>
                    <a:gd name="connsiteX2" fmla="*/ 747 w 3861"/>
                    <a:gd name="connsiteY2" fmla="*/ 35872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199"/>
                        <a:pt x="3114" y="18559"/>
                      </a:cubicBezTo>
                      <a:cubicBezTo>
                        <a:pt x="2740" y="25534"/>
                        <a:pt x="872" y="28773"/>
                        <a:pt x="747" y="35872"/>
                      </a:cubicBezTo>
                      <a:cubicBezTo>
                        <a:pt x="747" y="42723"/>
                        <a:pt x="2491"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8" name="Freeform 4865">
                  <a:extLst>
                    <a:ext uri="{FF2B5EF4-FFF2-40B4-BE49-F238E27FC236}">
                      <a16:creationId xmlns:a16="http://schemas.microsoft.com/office/drawing/2014/main" id="{84717B50-4279-F3DB-6999-416F39B4056C}"/>
                    </a:ext>
                  </a:extLst>
                </p:cNvPr>
                <p:cNvSpPr/>
                <p:nvPr/>
              </p:nvSpPr>
              <p:spPr>
                <a:xfrm>
                  <a:off x="7625763" y="5693450"/>
                  <a:ext cx="26343" cy="26592"/>
                </a:xfrm>
                <a:custGeom>
                  <a:avLst/>
                  <a:gdLst>
                    <a:gd name="connsiteX0" fmla="*/ 31 w 26343"/>
                    <a:gd name="connsiteY0" fmla="*/ 14106 h 26592"/>
                    <a:gd name="connsiteX1" fmla="*/ 12362 w 26343"/>
                    <a:gd name="connsiteY1" fmla="*/ 31 h 26592"/>
                    <a:gd name="connsiteX2" fmla="*/ 26313 w 26343"/>
                    <a:gd name="connsiteY2" fmla="*/ 12487 h 26592"/>
                    <a:gd name="connsiteX3" fmla="*/ 13981 w 26343"/>
                    <a:gd name="connsiteY3" fmla="*/ 26561 h 26592"/>
                    <a:gd name="connsiteX4" fmla="*/ 31 w 26343"/>
                    <a:gd name="connsiteY4" fmla="*/ 14106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592">
                      <a:moveTo>
                        <a:pt x="31" y="14106"/>
                      </a:moveTo>
                      <a:cubicBezTo>
                        <a:pt x="-467" y="6757"/>
                        <a:pt x="5138" y="529"/>
                        <a:pt x="12362" y="31"/>
                      </a:cubicBezTo>
                      <a:cubicBezTo>
                        <a:pt x="19586" y="-468"/>
                        <a:pt x="25939" y="5137"/>
                        <a:pt x="26313" y="12487"/>
                      </a:cubicBezTo>
                      <a:cubicBezTo>
                        <a:pt x="26811" y="19835"/>
                        <a:pt x="21206" y="26063"/>
                        <a:pt x="13981" y="26561"/>
                      </a:cubicBezTo>
                      <a:cubicBezTo>
                        <a:pt x="6757" y="27060"/>
                        <a:pt x="529" y="21454"/>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7" name="Graphic 2987">
                <a:extLst>
                  <a:ext uri="{FF2B5EF4-FFF2-40B4-BE49-F238E27FC236}">
                    <a16:creationId xmlns:a16="http://schemas.microsoft.com/office/drawing/2014/main" id="{A77EB43E-C2A8-64AA-7662-3BC6C7C66221}"/>
                  </a:ext>
                </a:extLst>
              </p:cNvPr>
              <p:cNvGrpSpPr/>
              <p:nvPr/>
            </p:nvGrpSpPr>
            <p:grpSpPr>
              <a:xfrm>
                <a:off x="7647810" y="5569404"/>
                <a:ext cx="33679" cy="148881"/>
                <a:chOff x="7647810" y="5569404"/>
                <a:chExt cx="33679" cy="148881"/>
              </a:xfrm>
              <a:grpFill/>
            </p:grpSpPr>
            <p:sp>
              <p:nvSpPr>
                <p:cNvPr id="4637" name="Freeform 4867">
                  <a:extLst>
                    <a:ext uri="{FF2B5EF4-FFF2-40B4-BE49-F238E27FC236}">
                      <a16:creationId xmlns:a16="http://schemas.microsoft.com/office/drawing/2014/main" id="{DB8E9EED-9AF1-4035-7E5A-DF76622069BE}"/>
                    </a:ext>
                  </a:extLst>
                </p:cNvPr>
                <p:cNvSpPr/>
                <p:nvPr/>
              </p:nvSpPr>
              <p:spPr>
                <a:xfrm>
                  <a:off x="7656458" y="5590098"/>
                  <a:ext cx="5418" cy="52065"/>
                </a:xfrm>
                <a:custGeom>
                  <a:avLst/>
                  <a:gdLst>
                    <a:gd name="connsiteX0" fmla="*/ 1472 w 5418"/>
                    <a:gd name="connsiteY0" fmla="*/ 0 h 52065"/>
                    <a:gd name="connsiteX1" fmla="*/ 600 w 5418"/>
                    <a:gd name="connsiteY1" fmla="*/ 18808 h 52065"/>
                    <a:gd name="connsiteX2" fmla="*/ 5084 w 5418"/>
                    <a:gd name="connsiteY2" fmla="*/ 35624 h 52065"/>
                    <a:gd name="connsiteX3" fmla="*/ 3963 w 54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0"/>
                      </a:moveTo>
                      <a:cubicBezTo>
                        <a:pt x="-520" y="8221"/>
                        <a:pt x="-147" y="14449"/>
                        <a:pt x="600" y="18808"/>
                      </a:cubicBezTo>
                      <a:cubicBezTo>
                        <a:pt x="1846" y="25659"/>
                        <a:pt x="4088" y="28648"/>
                        <a:pt x="5084" y="35624"/>
                      </a:cubicBezTo>
                      <a:cubicBezTo>
                        <a:pt x="5956" y="42474"/>
                        <a:pt x="4960" y="48328"/>
                        <a:pt x="396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8" name="Freeform 4868">
                  <a:extLst>
                    <a:ext uri="{FF2B5EF4-FFF2-40B4-BE49-F238E27FC236}">
                      <a16:creationId xmlns:a16="http://schemas.microsoft.com/office/drawing/2014/main" id="{25C39473-4455-D85E-8A96-E4A3563A2642}"/>
                    </a:ext>
                  </a:extLst>
                </p:cNvPr>
                <p:cNvSpPr/>
                <p:nvPr/>
              </p:nvSpPr>
              <p:spPr>
                <a:xfrm>
                  <a:off x="7664532" y="5584493"/>
                  <a:ext cx="3861" cy="52065"/>
                </a:xfrm>
                <a:custGeom>
                  <a:avLst/>
                  <a:gdLst>
                    <a:gd name="connsiteX0" fmla="*/ 3861 w 3861"/>
                    <a:gd name="connsiteY0" fmla="*/ 52065 h 52065"/>
                    <a:gd name="connsiteX1" fmla="*/ 747 w 3861"/>
                    <a:gd name="connsiteY1" fmla="*/ 33506 h 52065"/>
                    <a:gd name="connsiteX2" fmla="*/ 3114 w 3861"/>
                    <a:gd name="connsiteY2" fmla="*/ 16192 h 52065"/>
                    <a:gd name="connsiteX3" fmla="*/ 0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52065"/>
                      </a:moveTo>
                      <a:cubicBezTo>
                        <a:pt x="871" y="44218"/>
                        <a:pt x="498" y="37865"/>
                        <a:pt x="747" y="33506"/>
                      </a:cubicBezTo>
                      <a:cubicBezTo>
                        <a:pt x="1121" y="26530"/>
                        <a:pt x="3114" y="23292"/>
                        <a:pt x="3114" y="16192"/>
                      </a:cubicBezTo>
                      <a:cubicBezTo>
                        <a:pt x="3238"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9" name="Freeform 4869">
                  <a:extLst>
                    <a:ext uri="{FF2B5EF4-FFF2-40B4-BE49-F238E27FC236}">
                      <a16:creationId xmlns:a16="http://schemas.microsoft.com/office/drawing/2014/main" id="{516ED61E-CBE4-BA02-402F-6C46FDF45BAF}"/>
                    </a:ext>
                  </a:extLst>
                </p:cNvPr>
                <p:cNvSpPr/>
                <p:nvPr/>
              </p:nvSpPr>
              <p:spPr>
                <a:xfrm>
                  <a:off x="7647810" y="5569404"/>
                  <a:ext cx="26579" cy="26579"/>
                </a:xfrm>
                <a:custGeom>
                  <a:avLst/>
                  <a:gdLst>
                    <a:gd name="connsiteX0" fmla="*/ 26562 w 26579"/>
                    <a:gd name="connsiteY0" fmla="*/ 12473 h 26579"/>
                    <a:gd name="connsiteX1" fmla="*/ 14106 w 26579"/>
                    <a:gd name="connsiteY1" fmla="*/ 26548 h 26579"/>
                    <a:gd name="connsiteX2" fmla="*/ 31 w 26579"/>
                    <a:gd name="connsiteY2" fmla="*/ 14093 h 26579"/>
                    <a:gd name="connsiteX3" fmla="*/ 12487 w 26579"/>
                    <a:gd name="connsiteY3" fmla="*/ 18 h 26579"/>
                    <a:gd name="connsiteX4" fmla="*/ 26562 w 26579"/>
                    <a:gd name="connsiteY4" fmla="*/ 1247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9" h="26579">
                      <a:moveTo>
                        <a:pt x="26562" y="12473"/>
                      </a:moveTo>
                      <a:cubicBezTo>
                        <a:pt x="26935" y="19822"/>
                        <a:pt x="21330" y="26050"/>
                        <a:pt x="14106" y="26548"/>
                      </a:cubicBezTo>
                      <a:cubicBezTo>
                        <a:pt x="6881" y="27047"/>
                        <a:pt x="529" y="21442"/>
                        <a:pt x="31" y="14093"/>
                      </a:cubicBezTo>
                      <a:cubicBezTo>
                        <a:pt x="-467" y="6744"/>
                        <a:pt x="5137" y="516"/>
                        <a:pt x="12487" y="18"/>
                      </a:cubicBezTo>
                      <a:cubicBezTo>
                        <a:pt x="19836" y="-356"/>
                        <a:pt x="26188" y="5249"/>
                        <a:pt x="26562" y="124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0" name="Freeform 4870">
                  <a:extLst>
                    <a:ext uri="{FF2B5EF4-FFF2-40B4-BE49-F238E27FC236}">
                      <a16:creationId xmlns:a16="http://schemas.microsoft.com/office/drawing/2014/main" id="{1095678F-C16B-095C-59EE-44DAA93CC1D2}"/>
                    </a:ext>
                  </a:extLst>
                </p:cNvPr>
                <p:cNvSpPr/>
                <p:nvPr/>
              </p:nvSpPr>
              <p:spPr>
                <a:xfrm>
                  <a:off x="7667687" y="5645651"/>
                  <a:ext cx="5292" cy="52065"/>
                </a:xfrm>
                <a:custGeom>
                  <a:avLst/>
                  <a:gdLst>
                    <a:gd name="connsiteX0" fmla="*/ 3820 w 5292"/>
                    <a:gd name="connsiteY0" fmla="*/ 52065 h 52065"/>
                    <a:gd name="connsiteX1" fmla="*/ 4691 w 5292"/>
                    <a:gd name="connsiteY1" fmla="*/ 33257 h 52065"/>
                    <a:gd name="connsiteX2" fmla="*/ 332 w 5292"/>
                    <a:gd name="connsiteY2" fmla="*/ 16442 h 52065"/>
                    <a:gd name="connsiteX3" fmla="*/ 1577 w 5292"/>
                    <a:gd name="connsiteY3" fmla="*/ 0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52065"/>
                      </a:moveTo>
                      <a:cubicBezTo>
                        <a:pt x="5813" y="43845"/>
                        <a:pt x="5439" y="37617"/>
                        <a:pt x="4691" y="33257"/>
                      </a:cubicBezTo>
                      <a:cubicBezTo>
                        <a:pt x="3571" y="26407"/>
                        <a:pt x="1204" y="23417"/>
                        <a:pt x="332" y="16442"/>
                      </a:cubicBezTo>
                      <a:cubicBezTo>
                        <a:pt x="-540" y="9591"/>
                        <a:pt x="457" y="3737"/>
                        <a:pt x="15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1" name="Freeform 4871">
                  <a:extLst>
                    <a:ext uri="{FF2B5EF4-FFF2-40B4-BE49-F238E27FC236}">
                      <a16:creationId xmlns:a16="http://schemas.microsoft.com/office/drawing/2014/main" id="{D32157C7-3A09-81F4-82B5-276C517E902E}"/>
                    </a:ext>
                  </a:extLst>
                </p:cNvPr>
                <p:cNvSpPr/>
                <p:nvPr/>
              </p:nvSpPr>
              <p:spPr>
                <a:xfrm>
                  <a:off x="7661044" y="5651131"/>
                  <a:ext cx="3861" cy="52065"/>
                </a:xfrm>
                <a:custGeom>
                  <a:avLst/>
                  <a:gdLst>
                    <a:gd name="connsiteX0" fmla="*/ 0 w 3861"/>
                    <a:gd name="connsiteY0" fmla="*/ 0 h 52065"/>
                    <a:gd name="connsiteX1" fmla="*/ 3114 w 3861"/>
                    <a:gd name="connsiteY1" fmla="*/ 18559 h 52065"/>
                    <a:gd name="connsiteX2" fmla="*/ 747 w 3861"/>
                    <a:gd name="connsiteY2" fmla="*/ 35873 h 52065"/>
                    <a:gd name="connsiteX3" fmla="*/ 3861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0" y="0"/>
                      </a:moveTo>
                      <a:cubicBezTo>
                        <a:pt x="2989" y="7847"/>
                        <a:pt x="3363" y="14200"/>
                        <a:pt x="3114" y="18559"/>
                      </a:cubicBezTo>
                      <a:cubicBezTo>
                        <a:pt x="2741" y="25535"/>
                        <a:pt x="872" y="28773"/>
                        <a:pt x="747" y="35873"/>
                      </a:cubicBezTo>
                      <a:cubicBezTo>
                        <a:pt x="623" y="42724"/>
                        <a:pt x="2367" y="48453"/>
                        <a:pt x="38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42" name="Freeform 4872">
                  <a:extLst>
                    <a:ext uri="{FF2B5EF4-FFF2-40B4-BE49-F238E27FC236}">
                      <a16:creationId xmlns:a16="http://schemas.microsoft.com/office/drawing/2014/main" id="{C77F147A-8BF7-6386-9A7F-F5C2E4B7E4DA}"/>
                    </a:ext>
                  </a:extLst>
                </p:cNvPr>
                <p:cNvSpPr/>
                <p:nvPr/>
              </p:nvSpPr>
              <p:spPr>
                <a:xfrm>
                  <a:off x="7655159" y="5691706"/>
                  <a:ext cx="26330" cy="26579"/>
                </a:xfrm>
                <a:custGeom>
                  <a:avLst/>
                  <a:gdLst>
                    <a:gd name="connsiteX0" fmla="*/ 31 w 26330"/>
                    <a:gd name="connsiteY0" fmla="*/ 14106 h 26579"/>
                    <a:gd name="connsiteX1" fmla="*/ 12362 w 26330"/>
                    <a:gd name="connsiteY1" fmla="*/ 31 h 26579"/>
                    <a:gd name="connsiteX2" fmla="*/ 26312 w 26330"/>
                    <a:gd name="connsiteY2" fmla="*/ 12487 h 26579"/>
                    <a:gd name="connsiteX3" fmla="*/ 13981 w 26330"/>
                    <a:gd name="connsiteY3" fmla="*/ 26562 h 26579"/>
                    <a:gd name="connsiteX4" fmla="*/ 31 w 26330"/>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579">
                      <a:moveTo>
                        <a:pt x="31" y="14106"/>
                      </a:moveTo>
                      <a:cubicBezTo>
                        <a:pt x="-468" y="6757"/>
                        <a:pt x="5137" y="529"/>
                        <a:pt x="12362" y="31"/>
                      </a:cubicBezTo>
                      <a:cubicBezTo>
                        <a:pt x="19586" y="-468"/>
                        <a:pt x="25814" y="5138"/>
                        <a:pt x="26312" y="12487"/>
                      </a:cubicBezTo>
                      <a:cubicBezTo>
                        <a:pt x="26686" y="19835"/>
                        <a:pt x="21205" y="26063"/>
                        <a:pt x="13981" y="26562"/>
                      </a:cubicBezTo>
                      <a:cubicBezTo>
                        <a:pt x="6757" y="26935"/>
                        <a:pt x="529" y="21330"/>
                        <a:pt x="31"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8" name="Graphic 2987">
                <a:extLst>
                  <a:ext uri="{FF2B5EF4-FFF2-40B4-BE49-F238E27FC236}">
                    <a16:creationId xmlns:a16="http://schemas.microsoft.com/office/drawing/2014/main" id="{97FE90F3-5CD5-0108-FD28-D894B4489D55}"/>
                  </a:ext>
                </a:extLst>
              </p:cNvPr>
              <p:cNvGrpSpPr/>
              <p:nvPr/>
            </p:nvGrpSpPr>
            <p:grpSpPr>
              <a:xfrm>
                <a:off x="7677343" y="5567647"/>
                <a:ext cx="33666" cy="148770"/>
                <a:chOff x="7677343" y="5567647"/>
                <a:chExt cx="33666" cy="148770"/>
              </a:xfrm>
              <a:grpFill/>
            </p:grpSpPr>
            <p:sp>
              <p:nvSpPr>
                <p:cNvPr id="4631" name="Freeform 4874">
                  <a:extLst>
                    <a:ext uri="{FF2B5EF4-FFF2-40B4-BE49-F238E27FC236}">
                      <a16:creationId xmlns:a16="http://schemas.microsoft.com/office/drawing/2014/main" id="{059232F9-E2E8-61AA-9FA4-61A9993DD2F7}"/>
                    </a:ext>
                  </a:extLst>
                </p:cNvPr>
                <p:cNvSpPr/>
                <p:nvPr/>
              </p:nvSpPr>
              <p:spPr>
                <a:xfrm>
                  <a:off x="7686103" y="5588230"/>
                  <a:ext cx="5272" cy="52065"/>
                </a:xfrm>
                <a:custGeom>
                  <a:avLst/>
                  <a:gdLst>
                    <a:gd name="connsiteX0" fmla="*/ 1472 w 5272"/>
                    <a:gd name="connsiteY0" fmla="*/ 0 h 52065"/>
                    <a:gd name="connsiteX1" fmla="*/ 600 w 5272"/>
                    <a:gd name="connsiteY1" fmla="*/ 18808 h 52065"/>
                    <a:gd name="connsiteX2" fmla="*/ 4959 w 5272"/>
                    <a:gd name="connsiteY2" fmla="*/ 35623 h 52065"/>
                    <a:gd name="connsiteX3" fmla="*/ 3714 w 527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72" h="52065">
                      <a:moveTo>
                        <a:pt x="1472" y="0"/>
                      </a:moveTo>
                      <a:cubicBezTo>
                        <a:pt x="-520" y="8221"/>
                        <a:pt x="-147" y="14573"/>
                        <a:pt x="600" y="18808"/>
                      </a:cubicBezTo>
                      <a:cubicBezTo>
                        <a:pt x="1722" y="25659"/>
                        <a:pt x="4088" y="28648"/>
                        <a:pt x="4959" y="35623"/>
                      </a:cubicBezTo>
                      <a:cubicBezTo>
                        <a:pt x="5831" y="42474"/>
                        <a:pt x="4711" y="48328"/>
                        <a:pt x="37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2" name="Freeform 4875">
                  <a:extLst>
                    <a:ext uri="{FF2B5EF4-FFF2-40B4-BE49-F238E27FC236}">
                      <a16:creationId xmlns:a16="http://schemas.microsoft.com/office/drawing/2014/main" id="{84D91A56-286B-547C-C3A1-360F54545EA0}"/>
                    </a:ext>
                  </a:extLst>
                </p:cNvPr>
                <p:cNvSpPr/>
                <p:nvPr/>
              </p:nvSpPr>
              <p:spPr>
                <a:xfrm>
                  <a:off x="7694301" y="5582749"/>
                  <a:ext cx="3612" cy="52065"/>
                </a:xfrm>
                <a:custGeom>
                  <a:avLst/>
                  <a:gdLst>
                    <a:gd name="connsiteX0" fmla="*/ 3613 w 3612"/>
                    <a:gd name="connsiteY0" fmla="*/ 52065 h 52065"/>
                    <a:gd name="connsiteX1" fmla="*/ 623 w 3612"/>
                    <a:gd name="connsiteY1" fmla="*/ 33506 h 52065"/>
                    <a:gd name="connsiteX2" fmla="*/ 3114 w 3612"/>
                    <a:gd name="connsiteY2" fmla="*/ 16192 h 52065"/>
                    <a:gd name="connsiteX3" fmla="*/ 0 w 3612"/>
                    <a:gd name="connsiteY3" fmla="*/ 0 h 52065"/>
                  </a:gdLst>
                  <a:ahLst/>
                  <a:cxnLst>
                    <a:cxn ang="0">
                      <a:pos x="connsiteX0" y="connsiteY0"/>
                    </a:cxn>
                    <a:cxn ang="0">
                      <a:pos x="connsiteX1" y="connsiteY1"/>
                    </a:cxn>
                    <a:cxn ang="0">
                      <a:pos x="connsiteX2" y="connsiteY2"/>
                    </a:cxn>
                    <a:cxn ang="0">
                      <a:pos x="connsiteX3" y="connsiteY3"/>
                    </a:cxn>
                  </a:cxnLst>
                  <a:rect l="l" t="t" r="r" b="b"/>
                  <a:pathLst>
                    <a:path w="3612" h="52065">
                      <a:moveTo>
                        <a:pt x="3613" y="52065"/>
                      </a:moveTo>
                      <a:cubicBezTo>
                        <a:pt x="747" y="44218"/>
                        <a:pt x="374" y="37866"/>
                        <a:pt x="623" y="33506"/>
                      </a:cubicBezTo>
                      <a:cubicBezTo>
                        <a:pt x="997" y="26531"/>
                        <a:pt x="2989" y="23292"/>
                        <a:pt x="3114" y="16192"/>
                      </a:cubicBezTo>
                      <a:cubicBezTo>
                        <a:pt x="3239"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3" name="Freeform 4876">
                  <a:extLst>
                    <a:ext uri="{FF2B5EF4-FFF2-40B4-BE49-F238E27FC236}">
                      <a16:creationId xmlns:a16="http://schemas.microsoft.com/office/drawing/2014/main" id="{3887CB4D-D2E8-B498-427C-8D20077F47F9}"/>
                    </a:ext>
                  </a:extLst>
                </p:cNvPr>
                <p:cNvSpPr/>
                <p:nvPr/>
              </p:nvSpPr>
              <p:spPr>
                <a:xfrm>
                  <a:off x="7677343" y="5567647"/>
                  <a:ext cx="26690" cy="26592"/>
                </a:xfrm>
                <a:custGeom>
                  <a:avLst/>
                  <a:gdLst>
                    <a:gd name="connsiteX0" fmla="*/ 26673 w 26690"/>
                    <a:gd name="connsiteY0" fmla="*/ 12487 h 26592"/>
                    <a:gd name="connsiteX1" fmla="*/ 14093 w 26690"/>
                    <a:gd name="connsiteY1" fmla="*/ 26562 h 26592"/>
                    <a:gd name="connsiteX2" fmla="*/ 18 w 26690"/>
                    <a:gd name="connsiteY2" fmla="*/ 14106 h 26592"/>
                    <a:gd name="connsiteX3" fmla="*/ 12598 w 26690"/>
                    <a:gd name="connsiteY3" fmla="*/ 31 h 26592"/>
                    <a:gd name="connsiteX4" fmla="*/ 26673 w 26690"/>
                    <a:gd name="connsiteY4" fmla="*/ 12487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92">
                      <a:moveTo>
                        <a:pt x="26673" y="12487"/>
                      </a:moveTo>
                      <a:cubicBezTo>
                        <a:pt x="27046" y="19835"/>
                        <a:pt x="21442" y="26063"/>
                        <a:pt x="14093" y="26562"/>
                      </a:cubicBezTo>
                      <a:cubicBezTo>
                        <a:pt x="6743" y="27060"/>
                        <a:pt x="516" y="21455"/>
                        <a:pt x="18" y="14106"/>
                      </a:cubicBezTo>
                      <a:cubicBezTo>
                        <a:pt x="-356" y="6757"/>
                        <a:pt x="5249" y="529"/>
                        <a:pt x="12598" y="31"/>
                      </a:cubicBezTo>
                      <a:cubicBezTo>
                        <a:pt x="19947" y="-468"/>
                        <a:pt x="26299" y="5138"/>
                        <a:pt x="26673" y="1248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4" name="Freeform 4877">
                  <a:extLst>
                    <a:ext uri="{FF2B5EF4-FFF2-40B4-BE49-F238E27FC236}">
                      <a16:creationId xmlns:a16="http://schemas.microsoft.com/office/drawing/2014/main" id="{A3B6DE8B-6984-0AA1-5577-CF30911F3BB0}"/>
                    </a:ext>
                  </a:extLst>
                </p:cNvPr>
                <p:cNvSpPr/>
                <p:nvPr/>
              </p:nvSpPr>
              <p:spPr>
                <a:xfrm>
                  <a:off x="7697101" y="5643782"/>
                  <a:ext cx="5273" cy="52065"/>
                </a:xfrm>
                <a:custGeom>
                  <a:avLst/>
                  <a:gdLst>
                    <a:gd name="connsiteX0" fmla="*/ 3801 w 5273"/>
                    <a:gd name="connsiteY0" fmla="*/ 52065 h 52065"/>
                    <a:gd name="connsiteX1" fmla="*/ 4673 w 5273"/>
                    <a:gd name="connsiteY1" fmla="*/ 33257 h 52065"/>
                    <a:gd name="connsiteX2" fmla="*/ 313 w 5273"/>
                    <a:gd name="connsiteY2" fmla="*/ 16442 h 52065"/>
                    <a:gd name="connsiteX3" fmla="*/ 1559 w 5273"/>
                    <a:gd name="connsiteY3" fmla="*/ 0 h 52065"/>
                  </a:gdLst>
                  <a:ahLst/>
                  <a:cxnLst>
                    <a:cxn ang="0">
                      <a:pos x="connsiteX0" y="connsiteY0"/>
                    </a:cxn>
                    <a:cxn ang="0">
                      <a:pos x="connsiteX1" y="connsiteY1"/>
                    </a:cxn>
                    <a:cxn ang="0">
                      <a:pos x="connsiteX2" y="connsiteY2"/>
                    </a:cxn>
                    <a:cxn ang="0">
                      <a:pos x="connsiteX3" y="connsiteY3"/>
                    </a:cxn>
                  </a:cxnLst>
                  <a:rect l="l" t="t" r="r" b="b"/>
                  <a:pathLst>
                    <a:path w="5273" h="52065">
                      <a:moveTo>
                        <a:pt x="3801" y="52065"/>
                      </a:moveTo>
                      <a:cubicBezTo>
                        <a:pt x="5794" y="43845"/>
                        <a:pt x="5421" y="37492"/>
                        <a:pt x="4673" y="33257"/>
                      </a:cubicBezTo>
                      <a:cubicBezTo>
                        <a:pt x="3552" y="26406"/>
                        <a:pt x="1185" y="23417"/>
                        <a:pt x="313" y="16442"/>
                      </a:cubicBezTo>
                      <a:cubicBezTo>
                        <a:pt x="-559" y="9591"/>
                        <a:pt x="563"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5" name="Freeform 4878">
                  <a:extLst>
                    <a:ext uri="{FF2B5EF4-FFF2-40B4-BE49-F238E27FC236}">
                      <a16:creationId xmlns:a16="http://schemas.microsoft.com/office/drawing/2014/main" id="{84327C64-B14E-7608-D981-CCD8831068B6}"/>
                    </a:ext>
                  </a:extLst>
                </p:cNvPr>
                <p:cNvSpPr/>
                <p:nvPr/>
              </p:nvSpPr>
              <p:spPr>
                <a:xfrm>
                  <a:off x="7690564" y="5649263"/>
                  <a:ext cx="3736" cy="52065"/>
                </a:xfrm>
                <a:custGeom>
                  <a:avLst/>
                  <a:gdLst>
                    <a:gd name="connsiteX0" fmla="*/ 0 w 3736"/>
                    <a:gd name="connsiteY0" fmla="*/ 0 h 52065"/>
                    <a:gd name="connsiteX1" fmla="*/ 2989 w 3736"/>
                    <a:gd name="connsiteY1" fmla="*/ 18559 h 52065"/>
                    <a:gd name="connsiteX2" fmla="*/ 623 w 3736"/>
                    <a:gd name="connsiteY2" fmla="*/ 35873 h 52065"/>
                    <a:gd name="connsiteX3" fmla="*/ 3737 w 373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36" h="52065">
                      <a:moveTo>
                        <a:pt x="0" y="0"/>
                      </a:moveTo>
                      <a:cubicBezTo>
                        <a:pt x="2989" y="7847"/>
                        <a:pt x="3239" y="14200"/>
                        <a:pt x="2989" y="18559"/>
                      </a:cubicBezTo>
                      <a:cubicBezTo>
                        <a:pt x="2616" y="25535"/>
                        <a:pt x="623" y="28773"/>
                        <a:pt x="623" y="35873"/>
                      </a:cubicBezTo>
                      <a:cubicBezTo>
                        <a:pt x="498" y="42723"/>
                        <a:pt x="2242" y="48453"/>
                        <a:pt x="3737"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6" name="Freeform 4879">
                  <a:extLst>
                    <a:ext uri="{FF2B5EF4-FFF2-40B4-BE49-F238E27FC236}">
                      <a16:creationId xmlns:a16="http://schemas.microsoft.com/office/drawing/2014/main" id="{AC292791-7E65-EAB3-326C-6F34807FAB99}"/>
                    </a:ext>
                  </a:extLst>
                </p:cNvPr>
                <p:cNvSpPr/>
                <p:nvPr/>
              </p:nvSpPr>
              <p:spPr>
                <a:xfrm>
                  <a:off x="7684567" y="5689838"/>
                  <a:ext cx="26442" cy="26579"/>
                </a:xfrm>
                <a:custGeom>
                  <a:avLst/>
                  <a:gdLst>
                    <a:gd name="connsiteX0" fmla="*/ 18 w 26442"/>
                    <a:gd name="connsiteY0" fmla="*/ 14106 h 26579"/>
                    <a:gd name="connsiteX1" fmla="*/ 12474 w 26442"/>
                    <a:gd name="connsiteY1" fmla="*/ 31 h 26579"/>
                    <a:gd name="connsiteX2" fmla="*/ 26424 w 26442"/>
                    <a:gd name="connsiteY2" fmla="*/ 12487 h 26579"/>
                    <a:gd name="connsiteX3" fmla="*/ 13968 w 26442"/>
                    <a:gd name="connsiteY3" fmla="*/ 26562 h 26579"/>
                    <a:gd name="connsiteX4" fmla="*/ 18 w 26442"/>
                    <a:gd name="connsiteY4" fmla="*/ 14106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2" h="26579">
                      <a:moveTo>
                        <a:pt x="18" y="14106"/>
                      </a:moveTo>
                      <a:cubicBezTo>
                        <a:pt x="-356" y="6757"/>
                        <a:pt x="5125" y="529"/>
                        <a:pt x="12474" y="31"/>
                      </a:cubicBezTo>
                      <a:cubicBezTo>
                        <a:pt x="19822" y="-468"/>
                        <a:pt x="25926" y="5138"/>
                        <a:pt x="26424" y="12487"/>
                      </a:cubicBezTo>
                      <a:cubicBezTo>
                        <a:pt x="26797" y="19835"/>
                        <a:pt x="21317" y="26063"/>
                        <a:pt x="13968" y="26562"/>
                      </a:cubicBezTo>
                      <a:cubicBezTo>
                        <a:pt x="6619" y="26935"/>
                        <a:pt x="391" y="21455"/>
                        <a:pt x="18"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49" name="Graphic 2987">
                <a:extLst>
                  <a:ext uri="{FF2B5EF4-FFF2-40B4-BE49-F238E27FC236}">
                    <a16:creationId xmlns:a16="http://schemas.microsoft.com/office/drawing/2014/main" id="{87CCFEB5-3BE1-096A-8DCF-EF2C621B6C61}"/>
                  </a:ext>
                </a:extLst>
              </p:cNvPr>
              <p:cNvGrpSpPr/>
              <p:nvPr/>
            </p:nvGrpSpPr>
            <p:grpSpPr>
              <a:xfrm>
                <a:off x="7707237" y="5566041"/>
                <a:ext cx="33042" cy="148632"/>
                <a:chOff x="7707237" y="5566041"/>
                <a:chExt cx="33042" cy="148632"/>
              </a:xfrm>
              <a:grpFill/>
            </p:grpSpPr>
            <p:sp>
              <p:nvSpPr>
                <p:cNvPr id="4625" name="Freeform 4881">
                  <a:extLst>
                    <a:ext uri="{FF2B5EF4-FFF2-40B4-BE49-F238E27FC236}">
                      <a16:creationId xmlns:a16="http://schemas.microsoft.com/office/drawing/2014/main" id="{2BC4E6E1-F7A0-F89B-BF40-485BCB655322}"/>
                    </a:ext>
                  </a:extLst>
                </p:cNvPr>
                <p:cNvSpPr/>
                <p:nvPr/>
              </p:nvSpPr>
              <p:spPr>
                <a:xfrm>
                  <a:off x="7715726" y="5586486"/>
                  <a:ext cx="5170" cy="52189"/>
                </a:xfrm>
                <a:custGeom>
                  <a:avLst/>
                  <a:gdLst>
                    <a:gd name="connsiteX0" fmla="*/ 1494 w 5170"/>
                    <a:gd name="connsiteY0" fmla="*/ 0 h 52189"/>
                    <a:gd name="connsiteX1" fmla="*/ 497 w 5170"/>
                    <a:gd name="connsiteY1" fmla="*/ 18808 h 52189"/>
                    <a:gd name="connsiteX2" fmla="*/ 4857 w 5170"/>
                    <a:gd name="connsiteY2" fmla="*/ 35748 h 52189"/>
                    <a:gd name="connsiteX3" fmla="*/ 3611 w 5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70" h="52189">
                      <a:moveTo>
                        <a:pt x="1494" y="0"/>
                      </a:moveTo>
                      <a:cubicBezTo>
                        <a:pt x="-500" y="8097"/>
                        <a:pt x="-126" y="14449"/>
                        <a:pt x="497" y="18808"/>
                      </a:cubicBezTo>
                      <a:cubicBezTo>
                        <a:pt x="1618" y="25659"/>
                        <a:pt x="3985" y="28648"/>
                        <a:pt x="4857" y="35748"/>
                      </a:cubicBezTo>
                      <a:cubicBezTo>
                        <a:pt x="5728" y="42599"/>
                        <a:pt x="4608" y="48453"/>
                        <a:pt x="361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6" name="Freeform 4882">
                  <a:extLst>
                    <a:ext uri="{FF2B5EF4-FFF2-40B4-BE49-F238E27FC236}">
                      <a16:creationId xmlns:a16="http://schemas.microsoft.com/office/drawing/2014/main" id="{530D6769-804E-4CEE-7BE7-6114DFE99B08}"/>
                    </a:ext>
                  </a:extLst>
                </p:cNvPr>
                <p:cNvSpPr/>
                <p:nvPr/>
              </p:nvSpPr>
              <p:spPr>
                <a:xfrm>
                  <a:off x="7724070" y="5581254"/>
                  <a:ext cx="3487" cy="51940"/>
                </a:xfrm>
                <a:custGeom>
                  <a:avLst/>
                  <a:gdLst>
                    <a:gd name="connsiteX0" fmla="*/ 3488 w 3487"/>
                    <a:gd name="connsiteY0" fmla="*/ 51940 h 51940"/>
                    <a:gd name="connsiteX1" fmla="*/ 498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8" y="33381"/>
                      </a:cubicBezTo>
                      <a:cubicBezTo>
                        <a:pt x="872" y="26406"/>
                        <a:pt x="2865" y="23292"/>
                        <a:pt x="2989"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7" name="Freeform 4883">
                  <a:extLst>
                    <a:ext uri="{FF2B5EF4-FFF2-40B4-BE49-F238E27FC236}">
                      <a16:creationId xmlns:a16="http://schemas.microsoft.com/office/drawing/2014/main" id="{8DD17C9A-69A7-C6B3-99AA-589050B240C6}"/>
                    </a:ext>
                  </a:extLst>
                </p:cNvPr>
                <p:cNvSpPr/>
                <p:nvPr/>
              </p:nvSpPr>
              <p:spPr>
                <a:xfrm>
                  <a:off x="7707237" y="5566041"/>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8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8" y="18"/>
                      </a:cubicBezTo>
                      <a:cubicBezTo>
                        <a:pt x="19822"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8" name="Freeform 4884">
                  <a:extLst>
                    <a:ext uri="{FF2B5EF4-FFF2-40B4-BE49-F238E27FC236}">
                      <a16:creationId xmlns:a16="http://schemas.microsoft.com/office/drawing/2014/main" id="{6AF16189-24BD-AAB8-269D-626FEA0CBD5D}"/>
                    </a:ext>
                  </a:extLst>
                </p:cNvPr>
                <p:cNvSpPr/>
                <p:nvPr/>
              </p:nvSpPr>
              <p:spPr>
                <a:xfrm>
                  <a:off x="7726622" y="5642039"/>
                  <a:ext cx="5170" cy="52189"/>
                </a:xfrm>
                <a:custGeom>
                  <a:avLst/>
                  <a:gdLst>
                    <a:gd name="connsiteX0" fmla="*/ 3676 w 5170"/>
                    <a:gd name="connsiteY0" fmla="*/ 52190 h 52189"/>
                    <a:gd name="connsiteX1" fmla="*/ 4673 w 5170"/>
                    <a:gd name="connsiteY1" fmla="*/ 33381 h 52189"/>
                    <a:gd name="connsiteX2" fmla="*/ 313 w 5170"/>
                    <a:gd name="connsiteY2" fmla="*/ 16441 h 52189"/>
                    <a:gd name="connsiteX3" fmla="*/ 1559 w 5170"/>
                    <a:gd name="connsiteY3" fmla="*/ 0 h 52189"/>
                  </a:gdLst>
                  <a:ahLst/>
                  <a:cxnLst>
                    <a:cxn ang="0">
                      <a:pos x="connsiteX0" y="connsiteY0"/>
                    </a:cxn>
                    <a:cxn ang="0">
                      <a:pos x="connsiteX1" y="connsiteY1"/>
                    </a:cxn>
                    <a:cxn ang="0">
                      <a:pos x="connsiteX2" y="connsiteY2"/>
                    </a:cxn>
                    <a:cxn ang="0">
                      <a:pos x="connsiteX3" y="connsiteY3"/>
                    </a:cxn>
                  </a:cxnLst>
                  <a:rect l="l" t="t" r="r" b="b"/>
                  <a:pathLst>
                    <a:path w="5170" h="52189">
                      <a:moveTo>
                        <a:pt x="3676" y="52190"/>
                      </a:moveTo>
                      <a:cubicBezTo>
                        <a:pt x="5670" y="44093"/>
                        <a:pt x="5296" y="37741"/>
                        <a:pt x="4673" y="33381"/>
                      </a:cubicBezTo>
                      <a:cubicBezTo>
                        <a:pt x="3552" y="26531"/>
                        <a:pt x="1185" y="23541"/>
                        <a:pt x="313" y="16441"/>
                      </a:cubicBezTo>
                      <a:cubicBezTo>
                        <a:pt x="-558" y="9591"/>
                        <a:pt x="562" y="3737"/>
                        <a:pt x="15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9" name="Freeform 4885">
                  <a:extLst>
                    <a:ext uri="{FF2B5EF4-FFF2-40B4-BE49-F238E27FC236}">
                      <a16:creationId xmlns:a16="http://schemas.microsoft.com/office/drawing/2014/main" id="{2F78B77B-B37A-E64C-4D68-CCDA2BF6BCD3}"/>
                    </a:ext>
                  </a:extLst>
                </p:cNvPr>
                <p:cNvSpPr/>
                <p:nvPr/>
              </p:nvSpPr>
              <p:spPr>
                <a:xfrm>
                  <a:off x="7720084" y="564751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1"/>
                        <a:pt x="3239" y="14199"/>
                        <a:pt x="2989" y="18559"/>
                      </a:cubicBezTo>
                      <a:cubicBezTo>
                        <a:pt x="2616" y="25534"/>
                        <a:pt x="623" y="28648"/>
                        <a:pt x="499" y="35748"/>
                      </a:cubicBezTo>
                      <a:cubicBezTo>
                        <a:pt x="374" y="42599"/>
                        <a:pt x="2117" y="48328"/>
                        <a:pt x="3488"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30" name="Freeform 4886">
                  <a:extLst>
                    <a:ext uri="{FF2B5EF4-FFF2-40B4-BE49-F238E27FC236}">
                      <a16:creationId xmlns:a16="http://schemas.microsoft.com/office/drawing/2014/main" id="{4DD62181-87B9-0B24-977D-D8C8B62C0D95}"/>
                    </a:ext>
                  </a:extLst>
                </p:cNvPr>
                <p:cNvSpPr/>
                <p:nvPr/>
              </p:nvSpPr>
              <p:spPr>
                <a:xfrm>
                  <a:off x="7713963" y="5688241"/>
                  <a:ext cx="26317" cy="26431"/>
                </a:xfrm>
                <a:custGeom>
                  <a:avLst/>
                  <a:gdLst>
                    <a:gd name="connsiteX0" fmla="*/ 18 w 26317"/>
                    <a:gd name="connsiteY0" fmla="*/ 13834 h 26431"/>
                    <a:gd name="connsiteX1" fmla="*/ 12474 w 26317"/>
                    <a:gd name="connsiteY1" fmla="*/ 8 h 26431"/>
                    <a:gd name="connsiteX2" fmla="*/ 26299 w 26317"/>
                    <a:gd name="connsiteY2" fmla="*/ 12589 h 26431"/>
                    <a:gd name="connsiteX3" fmla="*/ 13844 w 26317"/>
                    <a:gd name="connsiteY3" fmla="*/ 26414 h 26431"/>
                    <a:gd name="connsiteX4" fmla="*/ 18 w 26317"/>
                    <a:gd name="connsiteY4" fmla="*/ 1383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5" y="6485"/>
                        <a:pt x="5125" y="257"/>
                        <a:pt x="12474" y="8"/>
                      </a:cubicBezTo>
                      <a:cubicBezTo>
                        <a:pt x="19823" y="-241"/>
                        <a:pt x="25926" y="5240"/>
                        <a:pt x="26299" y="12589"/>
                      </a:cubicBezTo>
                      <a:cubicBezTo>
                        <a:pt x="26674" y="19937"/>
                        <a:pt x="21068" y="26165"/>
                        <a:pt x="13844" y="26414"/>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0" name="Graphic 2987">
                <a:extLst>
                  <a:ext uri="{FF2B5EF4-FFF2-40B4-BE49-F238E27FC236}">
                    <a16:creationId xmlns:a16="http://schemas.microsoft.com/office/drawing/2014/main" id="{54A3D3DE-F1E1-CBF7-F528-D47472AE22C7}"/>
                  </a:ext>
                </a:extLst>
              </p:cNvPr>
              <p:cNvGrpSpPr/>
              <p:nvPr/>
            </p:nvGrpSpPr>
            <p:grpSpPr>
              <a:xfrm>
                <a:off x="7736882" y="5564546"/>
                <a:ext cx="32794" cy="148757"/>
                <a:chOff x="7736882" y="5564546"/>
                <a:chExt cx="32794" cy="148757"/>
              </a:xfrm>
              <a:grpFill/>
            </p:grpSpPr>
            <p:sp>
              <p:nvSpPr>
                <p:cNvPr id="4619" name="Freeform 4888">
                  <a:extLst>
                    <a:ext uri="{FF2B5EF4-FFF2-40B4-BE49-F238E27FC236}">
                      <a16:creationId xmlns:a16="http://schemas.microsoft.com/office/drawing/2014/main" id="{E1A2837D-7CEF-9049-63A7-2BD5009A7996}"/>
                    </a:ext>
                  </a:extLst>
                </p:cNvPr>
                <p:cNvSpPr/>
                <p:nvPr/>
              </p:nvSpPr>
              <p:spPr>
                <a:xfrm>
                  <a:off x="7745279" y="5584991"/>
                  <a:ext cx="5261" cy="52189"/>
                </a:xfrm>
                <a:custGeom>
                  <a:avLst/>
                  <a:gdLst>
                    <a:gd name="connsiteX0" fmla="*/ 1586 w 5261"/>
                    <a:gd name="connsiteY0" fmla="*/ 0 h 52189"/>
                    <a:gd name="connsiteX1" fmla="*/ 589 w 5261"/>
                    <a:gd name="connsiteY1" fmla="*/ 18808 h 52189"/>
                    <a:gd name="connsiteX2" fmla="*/ 4948 w 5261"/>
                    <a:gd name="connsiteY2" fmla="*/ 35748 h 52189"/>
                    <a:gd name="connsiteX3" fmla="*/ 3703 w 5261"/>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261" h="52189">
                      <a:moveTo>
                        <a:pt x="1586" y="0"/>
                      </a:moveTo>
                      <a:cubicBezTo>
                        <a:pt x="-532" y="8096"/>
                        <a:pt x="-158" y="14449"/>
                        <a:pt x="589" y="18808"/>
                      </a:cubicBezTo>
                      <a:cubicBezTo>
                        <a:pt x="1710" y="25659"/>
                        <a:pt x="4077" y="28648"/>
                        <a:pt x="4948" y="35748"/>
                      </a:cubicBezTo>
                      <a:cubicBezTo>
                        <a:pt x="5820" y="42599"/>
                        <a:pt x="4700" y="48453"/>
                        <a:pt x="37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0" name="Freeform 4889">
                  <a:extLst>
                    <a:ext uri="{FF2B5EF4-FFF2-40B4-BE49-F238E27FC236}">
                      <a16:creationId xmlns:a16="http://schemas.microsoft.com/office/drawing/2014/main" id="{8F44EB81-95B9-6E0D-9F44-68996A7D4DDD}"/>
                    </a:ext>
                  </a:extLst>
                </p:cNvPr>
                <p:cNvSpPr/>
                <p:nvPr/>
              </p:nvSpPr>
              <p:spPr>
                <a:xfrm>
                  <a:off x="7753590" y="5579760"/>
                  <a:ext cx="3487" cy="51940"/>
                </a:xfrm>
                <a:custGeom>
                  <a:avLst/>
                  <a:gdLst>
                    <a:gd name="connsiteX0" fmla="*/ 3488 w 3487"/>
                    <a:gd name="connsiteY0" fmla="*/ 51940 h 51940"/>
                    <a:gd name="connsiteX1" fmla="*/ 499 w 3487"/>
                    <a:gd name="connsiteY1" fmla="*/ 33381 h 51940"/>
                    <a:gd name="connsiteX2" fmla="*/ 2989 w 3487"/>
                    <a:gd name="connsiteY2" fmla="*/ 16192 h 51940"/>
                    <a:gd name="connsiteX3" fmla="*/ 0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51940"/>
                      </a:moveTo>
                      <a:cubicBezTo>
                        <a:pt x="623" y="43969"/>
                        <a:pt x="249" y="37741"/>
                        <a:pt x="499" y="33381"/>
                      </a:cubicBezTo>
                      <a:cubicBezTo>
                        <a:pt x="872" y="26406"/>
                        <a:pt x="2865" y="23292"/>
                        <a:pt x="2989" y="16192"/>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1" name="Freeform 4890">
                  <a:extLst>
                    <a:ext uri="{FF2B5EF4-FFF2-40B4-BE49-F238E27FC236}">
                      <a16:creationId xmlns:a16="http://schemas.microsoft.com/office/drawing/2014/main" id="{7F83D55D-04C2-7C41-8CD9-AF7FD6DC6BA4}"/>
                    </a:ext>
                  </a:extLst>
                </p:cNvPr>
                <p:cNvSpPr/>
                <p:nvPr/>
              </p:nvSpPr>
              <p:spPr>
                <a:xfrm>
                  <a:off x="7736882" y="5564546"/>
                  <a:ext cx="26566" cy="26441"/>
                </a:xfrm>
                <a:custGeom>
                  <a:avLst/>
                  <a:gdLst>
                    <a:gd name="connsiteX0" fmla="*/ 26549 w 26566"/>
                    <a:gd name="connsiteY0" fmla="*/ 12598 h 26441"/>
                    <a:gd name="connsiteX1" fmla="*/ 13968 w 26566"/>
                    <a:gd name="connsiteY1" fmla="*/ 26424 h 26441"/>
                    <a:gd name="connsiteX2" fmla="*/ 18 w 26566"/>
                    <a:gd name="connsiteY2" fmla="*/ 13843 h 26441"/>
                    <a:gd name="connsiteX3" fmla="*/ 12597 w 26566"/>
                    <a:gd name="connsiteY3" fmla="*/ 18 h 26441"/>
                    <a:gd name="connsiteX4" fmla="*/ 26549 w 26566"/>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441">
                      <a:moveTo>
                        <a:pt x="26549" y="12598"/>
                      </a:moveTo>
                      <a:cubicBezTo>
                        <a:pt x="26922" y="19947"/>
                        <a:pt x="21317" y="26175"/>
                        <a:pt x="13968" y="26424"/>
                      </a:cubicBezTo>
                      <a:cubicBezTo>
                        <a:pt x="6619" y="26797"/>
                        <a:pt x="391" y="21192"/>
                        <a:pt x="18" y="13843"/>
                      </a:cubicBezTo>
                      <a:cubicBezTo>
                        <a:pt x="-356" y="6495"/>
                        <a:pt x="5249" y="267"/>
                        <a:pt x="12597" y="18"/>
                      </a:cubicBezTo>
                      <a:cubicBezTo>
                        <a:pt x="19947" y="-356"/>
                        <a:pt x="26174" y="5249"/>
                        <a:pt x="26549"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2" name="Freeform 4891">
                  <a:extLst>
                    <a:ext uri="{FF2B5EF4-FFF2-40B4-BE49-F238E27FC236}">
                      <a16:creationId xmlns:a16="http://schemas.microsoft.com/office/drawing/2014/main" id="{632C2E41-18AA-DCF8-C680-9D35EEF29DFD}"/>
                    </a:ext>
                  </a:extLst>
                </p:cNvPr>
                <p:cNvSpPr/>
                <p:nvPr/>
              </p:nvSpPr>
              <p:spPr>
                <a:xfrm>
                  <a:off x="7756144" y="5640668"/>
                  <a:ext cx="5095" cy="52189"/>
                </a:xfrm>
                <a:custGeom>
                  <a:avLst/>
                  <a:gdLst>
                    <a:gd name="connsiteX0" fmla="*/ 3550 w 5095"/>
                    <a:gd name="connsiteY0" fmla="*/ 52190 h 52189"/>
                    <a:gd name="connsiteX1" fmla="*/ 4546 w 5095"/>
                    <a:gd name="connsiteY1" fmla="*/ 33381 h 52189"/>
                    <a:gd name="connsiteX2" fmla="*/ 311 w 5095"/>
                    <a:gd name="connsiteY2" fmla="*/ 16442 h 52189"/>
                    <a:gd name="connsiteX3" fmla="*/ 1682 w 5095"/>
                    <a:gd name="connsiteY3" fmla="*/ 0 h 52189"/>
                  </a:gdLst>
                  <a:ahLst/>
                  <a:cxnLst>
                    <a:cxn ang="0">
                      <a:pos x="connsiteX0" y="connsiteY0"/>
                    </a:cxn>
                    <a:cxn ang="0">
                      <a:pos x="connsiteX1" y="connsiteY1"/>
                    </a:cxn>
                    <a:cxn ang="0">
                      <a:pos x="connsiteX2" y="connsiteY2"/>
                    </a:cxn>
                    <a:cxn ang="0">
                      <a:pos x="connsiteX3" y="connsiteY3"/>
                    </a:cxn>
                  </a:cxnLst>
                  <a:rect l="l" t="t" r="r" b="b"/>
                  <a:pathLst>
                    <a:path w="5095" h="52189">
                      <a:moveTo>
                        <a:pt x="3550" y="52190"/>
                      </a:moveTo>
                      <a:cubicBezTo>
                        <a:pt x="5543" y="44094"/>
                        <a:pt x="5294" y="37741"/>
                        <a:pt x="4546" y="33381"/>
                      </a:cubicBezTo>
                      <a:cubicBezTo>
                        <a:pt x="3425" y="26531"/>
                        <a:pt x="1183" y="23542"/>
                        <a:pt x="311" y="16442"/>
                      </a:cubicBezTo>
                      <a:cubicBezTo>
                        <a:pt x="-560" y="9591"/>
                        <a:pt x="560" y="3737"/>
                        <a:pt x="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3" name="Freeform 4892">
                  <a:extLst>
                    <a:ext uri="{FF2B5EF4-FFF2-40B4-BE49-F238E27FC236}">
                      <a16:creationId xmlns:a16="http://schemas.microsoft.com/office/drawing/2014/main" id="{53173B24-431B-49EB-15AE-0F1D9DC9C6A8}"/>
                    </a:ext>
                  </a:extLst>
                </p:cNvPr>
                <p:cNvSpPr/>
                <p:nvPr/>
              </p:nvSpPr>
              <p:spPr>
                <a:xfrm>
                  <a:off x="7749604" y="5646149"/>
                  <a:ext cx="3487" cy="51940"/>
                </a:xfrm>
                <a:custGeom>
                  <a:avLst/>
                  <a:gdLst>
                    <a:gd name="connsiteX0" fmla="*/ 0 w 3487"/>
                    <a:gd name="connsiteY0" fmla="*/ 0 h 51940"/>
                    <a:gd name="connsiteX1" fmla="*/ 2989 w 3487"/>
                    <a:gd name="connsiteY1" fmla="*/ 18559 h 51940"/>
                    <a:gd name="connsiteX2" fmla="*/ 499 w 3487"/>
                    <a:gd name="connsiteY2" fmla="*/ 35748 h 51940"/>
                    <a:gd name="connsiteX3" fmla="*/ 3488 w 348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487" h="51940">
                      <a:moveTo>
                        <a:pt x="0" y="0"/>
                      </a:moveTo>
                      <a:cubicBezTo>
                        <a:pt x="2865" y="7972"/>
                        <a:pt x="3239" y="14200"/>
                        <a:pt x="2989" y="18559"/>
                      </a:cubicBezTo>
                      <a:cubicBezTo>
                        <a:pt x="2616" y="25535"/>
                        <a:pt x="623" y="28648"/>
                        <a:pt x="499" y="35748"/>
                      </a:cubicBezTo>
                      <a:cubicBezTo>
                        <a:pt x="374" y="42599"/>
                        <a:pt x="2118" y="48328"/>
                        <a:pt x="34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24" name="Freeform 4893">
                  <a:extLst>
                    <a:ext uri="{FF2B5EF4-FFF2-40B4-BE49-F238E27FC236}">
                      <a16:creationId xmlns:a16="http://schemas.microsoft.com/office/drawing/2014/main" id="{23270D88-0A19-0BA4-7B57-F3F32BFE4D45}"/>
                    </a:ext>
                  </a:extLst>
                </p:cNvPr>
                <p:cNvSpPr/>
                <p:nvPr/>
              </p:nvSpPr>
              <p:spPr>
                <a:xfrm>
                  <a:off x="7743359" y="5686871"/>
                  <a:ext cx="26317" cy="26432"/>
                </a:xfrm>
                <a:custGeom>
                  <a:avLst/>
                  <a:gdLst>
                    <a:gd name="connsiteX0" fmla="*/ 18 w 26317"/>
                    <a:gd name="connsiteY0" fmla="*/ 13834 h 26432"/>
                    <a:gd name="connsiteX1" fmla="*/ 12473 w 26317"/>
                    <a:gd name="connsiteY1" fmla="*/ 8 h 26432"/>
                    <a:gd name="connsiteX2" fmla="*/ 26300 w 26317"/>
                    <a:gd name="connsiteY2" fmla="*/ 12589 h 26432"/>
                    <a:gd name="connsiteX3" fmla="*/ 13844 w 26317"/>
                    <a:gd name="connsiteY3" fmla="*/ 26415 h 26432"/>
                    <a:gd name="connsiteX4" fmla="*/ 18 w 26317"/>
                    <a:gd name="connsiteY4" fmla="*/ 1383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31">
                      <a:moveTo>
                        <a:pt x="18" y="13834"/>
                      </a:moveTo>
                      <a:cubicBezTo>
                        <a:pt x="-356" y="6485"/>
                        <a:pt x="5250" y="258"/>
                        <a:pt x="12473" y="8"/>
                      </a:cubicBezTo>
                      <a:cubicBezTo>
                        <a:pt x="19698" y="-241"/>
                        <a:pt x="25926" y="5240"/>
                        <a:pt x="26300" y="12589"/>
                      </a:cubicBezTo>
                      <a:cubicBezTo>
                        <a:pt x="26673" y="19937"/>
                        <a:pt x="21068" y="26165"/>
                        <a:pt x="13844" y="26415"/>
                      </a:cubicBezTo>
                      <a:cubicBezTo>
                        <a:pt x="6620" y="26788"/>
                        <a:pt x="392" y="21183"/>
                        <a:pt x="18"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1" name="Graphic 2987">
                <a:extLst>
                  <a:ext uri="{FF2B5EF4-FFF2-40B4-BE49-F238E27FC236}">
                    <a16:creationId xmlns:a16="http://schemas.microsoft.com/office/drawing/2014/main" id="{00E7EEDD-12A9-7536-CB6F-219352847CEE}"/>
                  </a:ext>
                </a:extLst>
              </p:cNvPr>
              <p:cNvGrpSpPr/>
              <p:nvPr/>
            </p:nvGrpSpPr>
            <p:grpSpPr>
              <a:xfrm>
                <a:off x="7766651" y="5563061"/>
                <a:ext cx="32420" cy="148737"/>
                <a:chOff x="7766651" y="5563061"/>
                <a:chExt cx="32420" cy="148737"/>
              </a:xfrm>
              <a:grpFill/>
            </p:grpSpPr>
            <p:sp>
              <p:nvSpPr>
                <p:cNvPr id="4613" name="Freeform 4895">
                  <a:extLst>
                    <a:ext uri="{FF2B5EF4-FFF2-40B4-BE49-F238E27FC236}">
                      <a16:creationId xmlns:a16="http://schemas.microsoft.com/office/drawing/2014/main" id="{DD1EFDBC-A5FF-3487-0F21-FD4A6E5E4F6A}"/>
                    </a:ext>
                  </a:extLst>
                </p:cNvPr>
                <p:cNvSpPr/>
                <p:nvPr/>
              </p:nvSpPr>
              <p:spPr>
                <a:xfrm>
                  <a:off x="7775048" y="5583621"/>
                  <a:ext cx="5135" cy="52189"/>
                </a:xfrm>
                <a:custGeom>
                  <a:avLst/>
                  <a:gdLst>
                    <a:gd name="connsiteX0" fmla="*/ 1586 w 5135"/>
                    <a:gd name="connsiteY0" fmla="*/ 0 h 52189"/>
                    <a:gd name="connsiteX1" fmla="*/ 589 w 5135"/>
                    <a:gd name="connsiteY1" fmla="*/ 18808 h 52189"/>
                    <a:gd name="connsiteX2" fmla="*/ 4824 w 5135"/>
                    <a:gd name="connsiteY2" fmla="*/ 35748 h 52189"/>
                    <a:gd name="connsiteX3" fmla="*/ 3454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0"/>
                      </a:moveTo>
                      <a:cubicBezTo>
                        <a:pt x="-532" y="8096"/>
                        <a:pt x="-158" y="14449"/>
                        <a:pt x="589" y="18808"/>
                      </a:cubicBezTo>
                      <a:cubicBezTo>
                        <a:pt x="1710" y="25659"/>
                        <a:pt x="3953" y="28648"/>
                        <a:pt x="4824" y="35748"/>
                      </a:cubicBezTo>
                      <a:cubicBezTo>
                        <a:pt x="5696" y="42599"/>
                        <a:pt x="4575" y="48453"/>
                        <a:pt x="34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4" name="Freeform 4896">
                  <a:extLst>
                    <a:ext uri="{FF2B5EF4-FFF2-40B4-BE49-F238E27FC236}">
                      <a16:creationId xmlns:a16="http://schemas.microsoft.com/office/drawing/2014/main" id="{B652524E-3DC1-00F8-E7CA-97EB381B7E3D}"/>
                    </a:ext>
                  </a:extLst>
                </p:cNvPr>
                <p:cNvSpPr/>
                <p:nvPr/>
              </p:nvSpPr>
              <p:spPr>
                <a:xfrm>
                  <a:off x="7783360" y="5578389"/>
                  <a:ext cx="3238" cy="51940"/>
                </a:xfrm>
                <a:custGeom>
                  <a:avLst/>
                  <a:gdLst>
                    <a:gd name="connsiteX0" fmla="*/ 3239 w 3238"/>
                    <a:gd name="connsiteY0" fmla="*/ 51941 h 51940"/>
                    <a:gd name="connsiteX1" fmla="*/ 373 w 3238"/>
                    <a:gd name="connsiteY1" fmla="*/ 33381 h 51940"/>
                    <a:gd name="connsiteX2" fmla="*/ 2989 w 3238"/>
                    <a:gd name="connsiteY2" fmla="*/ 16193 h 51940"/>
                    <a:gd name="connsiteX3" fmla="*/ 0 w 3238"/>
                    <a:gd name="connsiteY3" fmla="*/ 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51941"/>
                      </a:moveTo>
                      <a:cubicBezTo>
                        <a:pt x="373" y="43969"/>
                        <a:pt x="125" y="37741"/>
                        <a:pt x="373" y="33381"/>
                      </a:cubicBezTo>
                      <a:cubicBezTo>
                        <a:pt x="872" y="26406"/>
                        <a:pt x="2740" y="23292"/>
                        <a:pt x="2989" y="16193"/>
                      </a:cubicBezTo>
                      <a:cubicBezTo>
                        <a:pt x="3114" y="9342"/>
                        <a:pt x="1495"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5" name="Freeform 4897">
                  <a:extLst>
                    <a:ext uri="{FF2B5EF4-FFF2-40B4-BE49-F238E27FC236}">
                      <a16:creationId xmlns:a16="http://schemas.microsoft.com/office/drawing/2014/main" id="{3C731432-7018-80FD-B6BD-62A0F39E3F4F}"/>
                    </a:ext>
                  </a:extLst>
                </p:cNvPr>
                <p:cNvSpPr/>
                <p:nvPr/>
              </p:nvSpPr>
              <p:spPr>
                <a:xfrm>
                  <a:off x="7766651" y="5563061"/>
                  <a:ext cx="26565" cy="26431"/>
                </a:xfrm>
                <a:custGeom>
                  <a:avLst/>
                  <a:gdLst>
                    <a:gd name="connsiteX0" fmla="*/ 26548 w 26565"/>
                    <a:gd name="connsiteY0" fmla="*/ 12588 h 26431"/>
                    <a:gd name="connsiteX1" fmla="*/ 13968 w 26565"/>
                    <a:gd name="connsiteY1" fmla="*/ 26414 h 26431"/>
                    <a:gd name="connsiteX2" fmla="*/ 18 w 26565"/>
                    <a:gd name="connsiteY2" fmla="*/ 13834 h 26431"/>
                    <a:gd name="connsiteX3" fmla="*/ 12598 w 26565"/>
                    <a:gd name="connsiteY3" fmla="*/ 8 h 26431"/>
                    <a:gd name="connsiteX4" fmla="*/ 26548 w 26565"/>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431">
                      <a:moveTo>
                        <a:pt x="26548" y="12588"/>
                      </a:moveTo>
                      <a:cubicBezTo>
                        <a:pt x="26922" y="19937"/>
                        <a:pt x="21193" y="26165"/>
                        <a:pt x="13968" y="26414"/>
                      </a:cubicBezTo>
                      <a:cubicBezTo>
                        <a:pt x="6620" y="26788"/>
                        <a:pt x="392" y="21183"/>
                        <a:pt x="18" y="13834"/>
                      </a:cubicBezTo>
                      <a:cubicBezTo>
                        <a:pt x="-356" y="6485"/>
                        <a:pt x="5250" y="257"/>
                        <a:pt x="12598" y="8"/>
                      </a:cubicBezTo>
                      <a:cubicBezTo>
                        <a:pt x="19947" y="-241"/>
                        <a:pt x="26175" y="5364"/>
                        <a:pt x="26548"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6" name="Freeform 4898">
                  <a:extLst>
                    <a:ext uri="{FF2B5EF4-FFF2-40B4-BE49-F238E27FC236}">
                      <a16:creationId xmlns:a16="http://schemas.microsoft.com/office/drawing/2014/main" id="{579D4586-75C7-FC32-7C49-B429D3B9B9BC}"/>
                    </a:ext>
                  </a:extLst>
                </p:cNvPr>
                <p:cNvSpPr/>
                <p:nvPr/>
              </p:nvSpPr>
              <p:spPr>
                <a:xfrm>
                  <a:off x="7785664" y="5639174"/>
                  <a:ext cx="5135" cy="52189"/>
                </a:xfrm>
                <a:custGeom>
                  <a:avLst/>
                  <a:gdLst>
                    <a:gd name="connsiteX0" fmla="*/ 3549 w 5135"/>
                    <a:gd name="connsiteY0" fmla="*/ 52190 h 52189"/>
                    <a:gd name="connsiteX1" fmla="*/ 4546 w 5135"/>
                    <a:gd name="connsiteY1" fmla="*/ 33381 h 52189"/>
                    <a:gd name="connsiteX2" fmla="*/ 312 w 5135"/>
                    <a:gd name="connsiteY2" fmla="*/ 16442 h 52189"/>
                    <a:gd name="connsiteX3" fmla="*/ 1681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52190"/>
                      </a:moveTo>
                      <a:cubicBezTo>
                        <a:pt x="5667" y="44094"/>
                        <a:pt x="5293" y="37741"/>
                        <a:pt x="4546" y="33381"/>
                      </a:cubicBezTo>
                      <a:cubicBezTo>
                        <a:pt x="3425" y="26531"/>
                        <a:pt x="1183" y="23542"/>
                        <a:pt x="312" y="16442"/>
                      </a:cubicBezTo>
                      <a:cubicBezTo>
                        <a:pt x="-560" y="9591"/>
                        <a:pt x="560" y="3737"/>
                        <a:pt x="16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7" name="Freeform 4899">
                  <a:extLst>
                    <a:ext uri="{FF2B5EF4-FFF2-40B4-BE49-F238E27FC236}">
                      <a16:creationId xmlns:a16="http://schemas.microsoft.com/office/drawing/2014/main" id="{D2392C4B-D4E4-F014-BC62-7A0B95511FE7}"/>
                    </a:ext>
                  </a:extLst>
                </p:cNvPr>
                <p:cNvSpPr/>
                <p:nvPr/>
              </p:nvSpPr>
              <p:spPr>
                <a:xfrm>
                  <a:off x="7779124" y="5644654"/>
                  <a:ext cx="3363" cy="51940"/>
                </a:xfrm>
                <a:custGeom>
                  <a:avLst/>
                  <a:gdLst>
                    <a:gd name="connsiteX0" fmla="*/ 0 w 3363"/>
                    <a:gd name="connsiteY0" fmla="*/ 0 h 51940"/>
                    <a:gd name="connsiteX1" fmla="*/ 2865 w 3363"/>
                    <a:gd name="connsiteY1" fmla="*/ 18559 h 51940"/>
                    <a:gd name="connsiteX2" fmla="*/ 374 w 3363"/>
                    <a:gd name="connsiteY2" fmla="*/ 35748 h 51940"/>
                    <a:gd name="connsiteX3" fmla="*/ 3363 w 336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362" h="51940">
                      <a:moveTo>
                        <a:pt x="0" y="0"/>
                      </a:moveTo>
                      <a:cubicBezTo>
                        <a:pt x="2865" y="7971"/>
                        <a:pt x="3114" y="14199"/>
                        <a:pt x="2865" y="18559"/>
                      </a:cubicBezTo>
                      <a:cubicBezTo>
                        <a:pt x="2491" y="25534"/>
                        <a:pt x="499" y="28648"/>
                        <a:pt x="374" y="35748"/>
                      </a:cubicBezTo>
                      <a:cubicBezTo>
                        <a:pt x="249" y="42599"/>
                        <a:pt x="1869" y="48328"/>
                        <a:pt x="336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8" name="Freeform 4900">
                  <a:extLst>
                    <a:ext uri="{FF2B5EF4-FFF2-40B4-BE49-F238E27FC236}">
                      <a16:creationId xmlns:a16="http://schemas.microsoft.com/office/drawing/2014/main" id="{C1F429CC-08D2-82B4-6E7B-C4D6E01F86E4}"/>
                    </a:ext>
                  </a:extLst>
                </p:cNvPr>
                <p:cNvSpPr/>
                <p:nvPr/>
              </p:nvSpPr>
              <p:spPr>
                <a:xfrm>
                  <a:off x="7772755" y="5685367"/>
                  <a:ext cx="26316" cy="26431"/>
                </a:xfrm>
                <a:custGeom>
                  <a:avLst/>
                  <a:gdLst>
                    <a:gd name="connsiteX0" fmla="*/ 18 w 26316"/>
                    <a:gd name="connsiteY0" fmla="*/ 13844 h 26431"/>
                    <a:gd name="connsiteX1" fmla="*/ 12473 w 26316"/>
                    <a:gd name="connsiteY1" fmla="*/ 18 h 26431"/>
                    <a:gd name="connsiteX2" fmla="*/ 26299 w 26316"/>
                    <a:gd name="connsiteY2" fmla="*/ 12598 h 26431"/>
                    <a:gd name="connsiteX3" fmla="*/ 13843 w 26316"/>
                    <a:gd name="connsiteY3" fmla="*/ 26424 h 26431"/>
                    <a:gd name="connsiteX4" fmla="*/ 18 w 26316"/>
                    <a:gd name="connsiteY4" fmla="*/ 13844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31">
                      <a:moveTo>
                        <a:pt x="18" y="13844"/>
                      </a:moveTo>
                      <a:cubicBezTo>
                        <a:pt x="-356" y="6495"/>
                        <a:pt x="5249" y="267"/>
                        <a:pt x="12473" y="18"/>
                      </a:cubicBezTo>
                      <a:cubicBezTo>
                        <a:pt x="19697" y="-356"/>
                        <a:pt x="25925" y="5249"/>
                        <a:pt x="26299" y="12598"/>
                      </a:cubicBezTo>
                      <a:cubicBezTo>
                        <a:pt x="26672" y="19947"/>
                        <a:pt x="21067" y="26175"/>
                        <a:pt x="13843" y="26424"/>
                      </a:cubicBezTo>
                      <a:cubicBezTo>
                        <a:pt x="6619" y="26673"/>
                        <a:pt x="391" y="21193"/>
                        <a:pt x="18" y="138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2" name="Graphic 2987">
                <a:extLst>
                  <a:ext uri="{FF2B5EF4-FFF2-40B4-BE49-F238E27FC236}">
                    <a16:creationId xmlns:a16="http://schemas.microsoft.com/office/drawing/2014/main" id="{CDB507FD-2A65-B724-F6FB-CD92D56E7784}"/>
                  </a:ext>
                </a:extLst>
              </p:cNvPr>
              <p:cNvGrpSpPr/>
              <p:nvPr/>
            </p:nvGrpSpPr>
            <p:grpSpPr>
              <a:xfrm>
                <a:off x="7796171" y="5561681"/>
                <a:ext cx="32420" cy="148747"/>
                <a:chOff x="7796171" y="5561681"/>
                <a:chExt cx="32420" cy="148747"/>
              </a:xfrm>
              <a:grpFill/>
            </p:grpSpPr>
            <p:sp>
              <p:nvSpPr>
                <p:cNvPr id="4607" name="Freeform 4902">
                  <a:extLst>
                    <a:ext uri="{FF2B5EF4-FFF2-40B4-BE49-F238E27FC236}">
                      <a16:creationId xmlns:a16="http://schemas.microsoft.com/office/drawing/2014/main" id="{FD8EC17A-4E7C-0AC9-4622-CC3ED93EF662}"/>
                    </a:ext>
                  </a:extLst>
                </p:cNvPr>
                <p:cNvSpPr/>
                <p:nvPr/>
              </p:nvSpPr>
              <p:spPr>
                <a:xfrm>
                  <a:off x="7804670" y="5582126"/>
                  <a:ext cx="5016" cy="52189"/>
                </a:xfrm>
                <a:custGeom>
                  <a:avLst/>
                  <a:gdLst>
                    <a:gd name="connsiteX0" fmla="*/ 1608 w 5016"/>
                    <a:gd name="connsiteY0" fmla="*/ 0 h 52189"/>
                    <a:gd name="connsiteX1" fmla="*/ 487 w 5016"/>
                    <a:gd name="connsiteY1" fmla="*/ 18808 h 52189"/>
                    <a:gd name="connsiteX2" fmla="*/ 4722 w 5016"/>
                    <a:gd name="connsiteY2" fmla="*/ 35748 h 52189"/>
                    <a:gd name="connsiteX3" fmla="*/ 3352 w 501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0"/>
                      </a:moveTo>
                      <a:cubicBezTo>
                        <a:pt x="-510" y="8096"/>
                        <a:pt x="-136" y="14448"/>
                        <a:pt x="487" y="18808"/>
                      </a:cubicBezTo>
                      <a:cubicBezTo>
                        <a:pt x="1608" y="25783"/>
                        <a:pt x="3850" y="28648"/>
                        <a:pt x="4722" y="35748"/>
                      </a:cubicBezTo>
                      <a:cubicBezTo>
                        <a:pt x="5594" y="42599"/>
                        <a:pt x="4348" y="48453"/>
                        <a:pt x="3352"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8" name="Freeform 4903">
                  <a:extLst>
                    <a:ext uri="{FF2B5EF4-FFF2-40B4-BE49-F238E27FC236}">
                      <a16:creationId xmlns:a16="http://schemas.microsoft.com/office/drawing/2014/main" id="{1695BE97-DC97-FA40-7B8D-2EE339767B0F}"/>
                    </a:ext>
                  </a:extLst>
                </p:cNvPr>
                <p:cNvSpPr/>
                <p:nvPr/>
              </p:nvSpPr>
              <p:spPr>
                <a:xfrm>
                  <a:off x="7813129" y="5576895"/>
                  <a:ext cx="3113" cy="51940"/>
                </a:xfrm>
                <a:custGeom>
                  <a:avLst/>
                  <a:gdLst>
                    <a:gd name="connsiteX0" fmla="*/ 3114 w 3113"/>
                    <a:gd name="connsiteY0" fmla="*/ 51941 h 51940"/>
                    <a:gd name="connsiteX1" fmla="*/ 249 w 3113"/>
                    <a:gd name="connsiteY1" fmla="*/ 33381 h 51940"/>
                    <a:gd name="connsiteX2" fmla="*/ 2865 w 3113"/>
                    <a:gd name="connsiteY2" fmla="*/ 16192 h 51940"/>
                    <a:gd name="connsiteX3" fmla="*/ 0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51941"/>
                      </a:moveTo>
                      <a:cubicBezTo>
                        <a:pt x="249" y="43969"/>
                        <a:pt x="0" y="37741"/>
                        <a:pt x="249" y="33381"/>
                      </a:cubicBezTo>
                      <a:cubicBezTo>
                        <a:pt x="747" y="26406"/>
                        <a:pt x="2740" y="23292"/>
                        <a:pt x="2865" y="16192"/>
                      </a:cubicBezTo>
                      <a:cubicBezTo>
                        <a:pt x="2989"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9" name="Freeform 4904">
                  <a:extLst>
                    <a:ext uri="{FF2B5EF4-FFF2-40B4-BE49-F238E27FC236}">
                      <a16:creationId xmlns:a16="http://schemas.microsoft.com/office/drawing/2014/main" id="{BC67F916-2E10-C8E4-308D-26926497D803}"/>
                    </a:ext>
                  </a:extLst>
                </p:cNvPr>
                <p:cNvSpPr/>
                <p:nvPr/>
              </p:nvSpPr>
              <p:spPr>
                <a:xfrm>
                  <a:off x="7796171" y="5561681"/>
                  <a:ext cx="26690" cy="26441"/>
                </a:xfrm>
                <a:custGeom>
                  <a:avLst/>
                  <a:gdLst>
                    <a:gd name="connsiteX0" fmla="*/ 26673 w 26690"/>
                    <a:gd name="connsiteY0" fmla="*/ 12598 h 26441"/>
                    <a:gd name="connsiteX1" fmla="*/ 13968 w 26690"/>
                    <a:gd name="connsiteY1" fmla="*/ 26424 h 26441"/>
                    <a:gd name="connsiteX2" fmla="*/ 17 w 26690"/>
                    <a:gd name="connsiteY2" fmla="*/ 13844 h 26441"/>
                    <a:gd name="connsiteX3" fmla="*/ 12722 w 26690"/>
                    <a:gd name="connsiteY3" fmla="*/ 18 h 26441"/>
                    <a:gd name="connsiteX4" fmla="*/ 26673 w 26690"/>
                    <a:gd name="connsiteY4" fmla="*/ 12598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441">
                      <a:moveTo>
                        <a:pt x="26673" y="12598"/>
                      </a:moveTo>
                      <a:cubicBezTo>
                        <a:pt x="27047" y="19947"/>
                        <a:pt x="21317" y="26175"/>
                        <a:pt x="13968" y="26424"/>
                      </a:cubicBezTo>
                      <a:cubicBezTo>
                        <a:pt x="6619" y="26797"/>
                        <a:pt x="391" y="21193"/>
                        <a:pt x="17" y="13844"/>
                      </a:cubicBezTo>
                      <a:cubicBezTo>
                        <a:pt x="-356" y="6495"/>
                        <a:pt x="5374" y="267"/>
                        <a:pt x="12722" y="18"/>
                      </a:cubicBezTo>
                      <a:cubicBezTo>
                        <a:pt x="20196" y="-356"/>
                        <a:pt x="26424" y="5249"/>
                        <a:pt x="26673"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0" name="Freeform 4905">
                  <a:extLst>
                    <a:ext uri="{FF2B5EF4-FFF2-40B4-BE49-F238E27FC236}">
                      <a16:creationId xmlns:a16="http://schemas.microsoft.com/office/drawing/2014/main" id="{3042D78F-4891-0025-8744-E178917B4D92}"/>
                    </a:ext>
                  </a:extLst>
                </p:cNvPr>
                <p:cNvSpPr/>
                <p:nvPr/>
              </p:nvSpPr>
              <p:spPr>
                <a:xfrm>
                  <a:off x="7815201" y="5637804"/>
                  <a:ext cx="5016" cy="52189"/>
                </a:xfrm>
                <a:custGeom>
                  <a:avLst/>
                  <a:gdLst>
                    <a:gd name="connsiteX0" fmla="*/ 3409 w 5016"/>
                    <a:gd name="connsiteY0" fmla="*/ 52189 h 52189"/>
                    <a:gd name="connsiteX1" fmla="*/ 4529 w 5016"/>
                    <a:gd name="connsiteY1" fmla="*/ 33381 h 52189"/>
                    <a:gd name="connsiteX2" fmla="*/ 295 w 5016"/>
                    <a:gd name="connsiteY2" fmla="*/ 16441 h 52189"/>
                    <a:gd name="connsiteX3" fmla="*/ 1665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3409" y="52189"/>
                      </a:moveTo>
                      <a:cubicBezTo>
                        <a:pt x="5526" y="44093"/>
                        <a:pt x="5152" y="37741"/>
                        <a:pt x="4529" y="33381"/>
                      </a:cubicBezTo>
                      <a:cubicBezTo>
                        <a:pt x="3409" y="26406"/>
                        <a:pt x="1167" y="23541"/>
                        <a:pt x="295" y="16441"/>
                      </a:cubicBezTo>
                      <a:cubicBezTo>
                        <a:pt x="-577" y="9591"/>
                        <a:pt x="668" y="3737"/>
                        <a:pt x="166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1" name="Freeform 4906">
                  <a:extLst>
                    <a:ext uri="{FF2B5EF4-FFF2-40B4-BE49-F238E27FC236}">
                      <a16:creationId xmlns:a16="http://schemas.microsoft.com/office/drawing/2014/main" id="{73C6B4F4-0189-F41A-4130-2C9FCBE5EABE}"/>
                    </a:ext>
                  </a:extLst>
                </p:cNvPr>
                <p:cNvSpPr/>
                <p:nvPr/>
              </p:nvSpPr>
              <p:spPr>
                <a:xfrm>
                  <a:off x="7808644" y="5643284"/>
                  <a:ext cx="3113" cy="51940"/>
                </a:xfrm>
                <a:custGeom>
                  <a:avLst/>
                  <a:gdLst>
                    <a:gd name="connsiteX0" fmla="*/ 0 w 3113"/>
                    <a:gd name="connsiteY0" fmla="*/ 0 h 51940"/>
                    <a:gd name="connsiteX1" fmla="*/ 2865 w 3113"/>
                    <a:gd name="connsiteY1" fmla="*/ 18559 h 51940"/>
                    <a:gd name="connsiteX2" fmla="*/ 249 w 3113"/>
                    <a:gd name="connsiteY2" fmla="*/ 35748 h 51940"/>
                    <a:gd name="connsiteX3" fmla="*/ 3114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0" y="0"/>
                      </a:moveTo>
                      <a:cubicBezTo>
                        <a:pt x="2865" y="7972"/>
                        <a:pt x="3114" y="14200"/>
                        <a:pt x="2865" y="18559"/>
                      </a:cubicBezTo>
                      <a:cubicBezTo>
                        <a:pt x="2367" y="25535"/>
                        <a:pt x="499" y="28648"/>
                        <a:pt x="249" y="35748"/>
                      </a:cubicBezTo>
                      <a:cubicBezTo>
                        <a:pt x="125" y="42599"/>
                        <a:pt x="1744" y="48328"/>
                        <a:pt x="3114"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12" name="Freeform 4907">
                  <a:extLst>
                    <a:ext uri="{FF2B5EF4-FFF2-40B4-BE49-F238E27FC236}">
                      <a16:creationId xmlns:a16="http://schemas.microsoft.com/office/drawing/2014/main" id="{924F5B6D-3187-8402-E97A-4A71BB8A9749}"/>
                    </a:ext>
                  </a:extLst>
                </p:cNvPr>
                <p:cNvSpPr/>
                <p:nvPr/>
              </p:nvSpPr>
              <p:spPr>
                <a:xfrm>
                  <a:off x="7802150" y="5683997"/>
                  <a:ext cx="26441" cy="26431"/>
                </a:xfrm>
                <a:custGeom>
                  <a:avLst/>
                  <a:gdLst>
                    <a:gd name="connsiteX0" fmla="*/ 18 w 26441"/>
                    <a:gd name="connsiteY0" fmla="*/ 13843 h 26431"/>
                    <a:gd name="connsiteX1" fmla="*/ 12598 w 26441"/>
                    <a:gd name="connsiteY1" fmla="*/ 18 h 26431"/>
                    <a:gd name="connsiteX2" fmla="*/ 26424 w 26441"/>
                    <a:gd name="connsiteY2" fmla="*/ 12598 h 26431"/>
                    <a:gd name="connsiteX3" fmla="*/ 13843 w 26441"/>
                    <a:gd name="connsiteY3" fmla="*/ 26424 h 26431"/>
                    <a:gd name="connsiteX4" fmla="*/ 18 w 26441"/>
                    <a:gd name="connsiteY4" fmla="*/ 13843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1" h="26431">
                      <a:moveTo>
                        <a:pt x="18" y="13843"/>
                      </a:moveTo>
                      <a:cubicBezTo>
                        <a:pt x="-356" y="6495"/>
                        <a:pt x="5249" y="267"/>
                        <a:pt x="12598" y="18"/>
                      </a:cubicBezTo>
                      <a:cubicBezTo>
                        <a:pt x="19822" y="-356"/>
                        <a:pt x="26050" y="5249"/>
                        <a:pt x="26424" y="12598"/>
                      </a:cubicBezTo>
                      <a:cubicBezTo>
                        <a:pt x="26797" y="19947"/>
                        <a:pt x="21193" y="26175"/>
                        <a:pt x="13843" y="26424"/>
                      </a:cubicBezTo>
                      <a:cubicBezTo>
                        <a:pt x="6494" y="26673"/>
                        <a:pt x="391" y="21192"/>
                        <a:pt x="18"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3" name="Graphic 2987">
                <a:extLst>
                  <a:ext uri="{FF2B5EF4-FFF2-40B4-BE49-F238E27FC236}">
                    <a16:creationId xmlns:a16="http://schemas.microsoft.com/office/drawing/2014/main" id="{E720A6FC-0F41-3B91-C9E4-8E18F2C2E1EB}"/>
                  </a:ext>
                </a:extLst>
              </p:cNvPr>
              <p:cNvGrpSpPr/>
              <p:nvPr/>
            </p:nvGrpSpPr>
            <p:grpSpPr>
              <a:xfrm>
                <a:off x="7826075" y="5560196"/>
                <a:ext cx="31787" cy="148747"/>
                <a:chOff x="7826075" y="5560196"/>
                <a:chExt cx="31787" cy="148747"/>
              </a:xfrm>
              <a:grpFill/>
            </p:grpSpPr>
            <p:sp>
              <p:nvSpPr>
                <p:cNvPr id="4601" name="Freeform 4909">
                  <a:extLst>
                    <a:ext uri="{FF2B5EF4-FFF2-40B4-BE49-F238E27FC236}">
                      <a16:creationId xmlns:a16="http://schemas.microsoft.com/office/drawing/2014/main" id="{F83E6CEA-B1C9-93BA-6C27-07E299FD71B1}"/>
                    </a:ext>
                  </a:extLst>
                </p:cNvPr>
                <p:cNvSpPr/>
                <p:nvPr/>
              </p:nvSpPr>
              <p:spPr>
                <a:xfrm>
                  <a:off x="7834262" y="5580756"/>
                  <a:ext cx="5017" cy="52189"/>
                </a:xfrm>
                <a:custGeom>
                  <a:avLst/>
                  <a:gdLst>
                    <a:gd name="connsiteX0" fmla="*/ 1660 w 5017"/>
                    <a:gd name="connsiteY0" fmla="*/ 0 h 52189"/>
                    <a:gd name="connsiteX1" fmla="*/ 540 w 5017"/>
                    <a:gd name="connsiteY1" fmla="*/ 18808 h 52189"/>
                    <a:gd name="connsiteX2" fmla="*/ 4774 w 5017"/>
                    <a:gd name="connsiteY2" fmla="*/ 35748 h 52189"/>
                    <a:gd name="connsiteX3" fmla="*/ 3404 w 501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17" h="52189">
                      <a:moveTo>
                        <a:pt x="1660" y="0"/>
                      </a:moveTo>
                      <a:cubicBezTo>
                        <a:pt x="-457" y="8096"/>
                        <a:pt x="-208" y="14449"/>
                        <a:pt x="540" y="18808"/>
                      </a:cubicBezTo>
                      <a:cubicBezTo>
                        <a:pt x="1660" y="25784"/>
                        <a:pt x="3903" y="28648"/>
                        <a:pt x="4774" y="35748"/>
                      </a:cubicBezTo>
                      <a:cubicBezTo>
                        <a:pt x="5522" y="42599"/>
                        <a:pt x="4401" y="48453"/>
                        <a:pt x="340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2" name="Freeform 4910">
                  <a:extLst>
                    <a:ext uri="{FF2B5EF4-FFF2-40B4-BE49-F238E27FC236}">
                      <a16:creationId xmlns:a16="http://schemas.microsoft.com/office/drawing/2014/main" id="{D45A60A0-2957-6C6A-4DAF-069C0B95CE66}"/>
                    </a:ext>
                  </a:extLst>
                </p:cNvPr>
                <p:cNvSpPr/>
                <p:nvPr/>
              </p:nvSpPr>
              <p:spPr>
                <a:xfrm>
                  <a:off x="7842774" y="5575525"/>
                  <a:ext cx="2989" cy="51940"/>
                </a:xfrm>
                <a:custGeom>
                  <a:avLst/>
                  <a:gdLst>
                    <a:gd name="connsiteX0" fmla="*/ 2989 w 2989"/>
                    <a:gd name="connsiteY0" fmla="*/ 51940 h 51940"/>
                    <a:gd name="connsiteX1" fmla="*/ 249 w 2989"/>
                    <a:gd name="connsiteY1" fmla="*/ 33381 h 51940"/>
                    <a:gd name="connsiteX2" fmla="*/ 2865 w 2989"/>
                    <a:gd name="connsiteY2" fmla="*/ 16192 h 51940"/>
                    <a:gd name="connsiteX3" fmla="*/ 0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51940"/>
                      </a:moveTo>
                      <a:cubicBezTo>
                        <a:pt x="124" y="43969"/>
                        <a:pt x="-125" y="37741"/>
                        <a:pt x="249" y="33381"/>
                      </a:cubicBezTo>
                      <a:cubicBezTo>
                        <a:pt x="747" y="26406"/>
                        <a:pt x="2740" y="23292"/>
                        <a:pt x="2865" y="16192"/>
                      </a:cubicBezTo>
                      <a:cubicBezTo>
                        <a:pt x="3114" y="9342"/>
                        <a:pt x="1370" y="3612"/>
                        <a:pt x="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3" name="Freeform 4911">
                  <a:extLst>
                    <a:ext uri="{FF2B5EF4-FFF2-40B4-BE49-F238E27FC236}">
                      <a16:creationId xmlns:a16="http://schemas.microsoft.com/office/drawing/2014/main" id="{A8B54543-8F27-B880-8FCC-70E41F6844AD}"/>
                    </a:ext>
                  </a:extLst>
                </p:cNvPr>
                <p:cNvSpPr/>
                <p:nvPr/>
              </p:nvSpPr>
              <p:spPr>
                <a:xfrm>
                  <a:off x="7826075" y="5560196"/>
                  <a:ext cx="26556" cy="26431"/>
                </a:xfrm>
                <a:custGeom>
                  <a:avLst/>
                  <a:gdLst>
                    <a:gd name="connsiteX0" fmla="*/ 26539 w 26556"/>
                    <a:gd name="connsiteY0" fmla="*/ 12588 h 26431"/>
                    <a:gd name="connsiteX1" fmla="*/ 13834 w 26556"/>
                    <a:gd name="connsiteY1" fmla="*/ 26414 h 26431"/>
                    <a:gd name="connsiteX2" fmla="*/ 8 w 26556"/>
                    <a:gd name="connsiteY2" fmla="*/ 13834 h 26431"/>
                    <a:gd name="connsiteX3" fmla="*/ 12713 w 26556"/>
                    <a:gd name="connsiteY3" fmla="*/ 8 h 26431"/>
                    <a:gd name="connsiteX4" fmla="*/ 26539 w 26556"/>
                    <a:gd name="connsiteY4" fmla="*/ 1258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6" h="26431">
                      <a:moveTo>
                        <a:pt x="26539" y="12588"/>
                      </a:moveTo>
                      <a:cubicBezTo>
                        <a:pt x="26912" y="19937"/>
                        <a:pt x="21183" y="26165"/>
                        <a:pt x="13834" y="26414"/>
                      </a:cubicBezTo>
                      <a:cubicBezTo>
                        <a:pt x="6485" y="26788"/>
                        <a:pt x="257" y="21183"/>
                        <a:pt x="8" y="13834"/>
                      </a:cubicBezTo>
                      <a:cubicBezTo>
                        <a:pt x="-241" y="6485"/>
                        <a:pt x="5364" y="257"/>
                        <a:pt x="12713" y="8"/>
                      </a:cubicBezTo>
                      <a:cubicBezTo>
                        <a:pt x="20062" y="-241"/>
                        <a:pt x="26165" y="5364"/>
                        <a:pt x="26539" y="125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4" name="Freeform 4912">
                  <a:extLst>
                    <a:ext uri="{FF2B5EF4-FFF2-40B4-BE49-F238E27FC236}">
                      <a16:creationId xmlns:a16="http://schemas.microsoft.com/office/drawing/2014/main" id="{B743B50A-24E6-3779-D953-E52814127CA0}"/>
                    </a:ext>
                  </a:extLst>
                </p:cNvPr>
                <p:cNvSpPr/>
                <p:nvPr/>
              </p:nvSpPr>
              <p:spPr>
                <a:xfrm>
                  <a:off x="7844774" y="5636309"/>
                  <a:ext cx="4891" cy="52189"/>
                </a:xfrm>
                <a:custGeom>
                  <a:avLst/>
                  <a:gdLst>
                    <a:gd name="connsiteX0" fmla="*/ 3231 w 4891"/>
                    <a:gd name="connsiteY0" fmla="*/ 52190 h 52189"/>
                    <a:gd name="connsiteX1" fmla="*/ 4352 w 4891"/>
                    <a:gd name="connsiteY1" fmla="*/ 33382 h 52189"/>
                    <a:gd name="connsiteX2" fmla="*/ 242 w 4891"/>
                    <a:gd name="connsiteY2" fmla="*/ 16442 h 52189"/>
                    <a:gd name="connsiteX3" fmla="*/ 1737 w 4891"/>
                    <a:gd name="connsiteY3" fmla="*/ 0 h 52189"/>
                  </a:gdLst>
                  <a:ahLst/>
                  <a:cxnLst>
                    <a:cxn ang="0">
                      <a:pos x="connsiteX0" y="connsiteY0"/>
                    </a:cxn>
                    <a:cxn ang="0">
                      <a:pos x="connsiteX1" y="connsiteY1"/>
                    </a:cxn>
                    <a:cxn ang="0">
                      <a:pos x="connsiteX2" y="connsiteY2"/>
                    </a:cxn>
                    <a:cxn ang="0">
                      <a:pos x="connsiteX3" y="connsiteY3"/>
                    </a:cxn>
                  </a:cxnLst>
                  <a:rect l="l" t="t" r="r" b="b"/>
                  <a:pathLst>
                    <a:path w="4891" h="52189">
                      <a:moveTo>
                        <a:pt x="3231" y="52190"/>
                      </a:moveTo>
                      <a:cubicBezTo>
                        <a:pt x="5349" y="44094"/>
                        <a:pt x="5099" y="37741"/>
                        <a:pt x="4352" y="33382"/>
                      </a:cubicBezTo>
                      <a:cubicBezTo>
                        <a:pt x="3231" y="26407"/>
                        <a:pt x="989" y="23542"/>
                        <a:pt x="242" y="16442"/>
                      </a:cubicBezTo>
                      <a:cubicBezTo>
                        <a:pt x="-505" y="9591"/>
                        <a:pt x="615" y="3737"/>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5" name="Freeform 4913">
                  <a:extLst>
                    <a:ext uri="{FF2B5EF4-FFF2-40B4-BE49-F238E27FC236}">
                      <a16:creationId xmlns:a16="http://schemas.microsoft.com/office/drawing/2014/main" id="{D9070B40-4DA3-A9A7-AB8B-FE45AC1F38A1}"/>
                    </a:ext>
                  </a:extLst>
                </p:cNvPr>
                <p:cNvSpPr/>
                <p:nvPr/>
              </p:nvSpPr>
              <p:spPr>
                <a:xfrm>
                  <a:off x="7838289" y="5641789"/>
                  <a:ext cx="2990" cy="51940"/>
                </a:xfrm>
                <a:custGeom>
                  <a:avLst/>
                  <a:gdLst>
                    <a:gd name="connsiteX0" fmla="*/ 0 w 2990"/>
                    <a:gd name="connsiteY0" fmla="*/ 0 h 51940"/>
                    <a:gd name="connsiteX1" fmla="*/ 2741 w 2990"/>
                    <a:gd name="connsiteY1" fmla="*/ 18559 h 51940"/>
                    <a:gd name="connsiteX2" fmla="*/ 125 w 2990"/>
                    <a:gd name="connsiteY2" fmla="*/ 35748 h 51940"/>
                    <a:gd name="connsiteX3" fmla="*/ 2990 w 2990"/>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90" h="51940">
                      <a:moveTo>
                        <a:pt x="0" y="0"/>
                      </a:moveTo>
                      <a:cubicBezTo>
                        <a:pt x="2865" y="7972"/>
                        <a:pt x="3114" y="14200"/>
                        <a:pt x="2741" y="18559"/>
                      </a:cubicBezTo>
                      <a:cubicBezTo>
                        <a:pt x="2242" y="25535"/>
                        <a:pt x="249" y="28648"/>
                        <a:pt x="125" y="35748"/>
                      </a:cubicBezTo>
                      <a:cubicBezTo>
                        <a:pt x="0" y="42599"/>
                        <a:pt x="1619" y="48328"/>
                        <a:pt x="299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6" name="Freeform 4914">
                  <a:extLst>
                    <a:ext uri="{FF2B5EF4-FFF2-40B4-BE49-F238E27FC236}">
                      <a16:creationId xmlns:a16="http://schemas.microsoft.com/office/drawing/2014/main" id="{EA8C371A-6E5C-A035-D456-D3573ADDBE59}"/>
                    </a:ext>
                  </a:extLst>
                </p:cNvPr>
                <p:cNvSpPr/>
                <p:nvPr/>
              </p:nvSpPr>
              <p:spPr>
                <a:xfrm>
                  <a:off x="7831546" y="5682502"/>
                  <a:ext cx="26316" cy="26441"/>
                </a:xfrm>
                <a:custGeom>
                  <a:avLst/>
                  <a:gdLst>
                    <a:gd name="connsiteX0" fmla="*/ 17 w 26316"/>
                    <a:gd name="connsiteY0" fmla="*/ 13843 h 26441"/>
                    <a:gd name="connsiteX1" fmla="*/ 12598 w 26316"/>
                    <a:gd name="connsiteY1" fmla="*/ 18 h 26441"/>
                    <a:gd name="connsiteX2" fmla="*/ 26299 w 26316"/>
                    <a:gd name="connsiteY2" fmla="*/ 12598 h 26441"/>
                    <a:gd name="connsiteX3" fmla="*/ 13718 w 26316"/>
                    <a:gd name="connsiteY3" fmla="*/ 26424 h 26441"/>
                    <a:gd name="connsiteX4" fmla="*/ 17 w 26316"/>
                    <a:gd name="connsiteY4" fmla="*/ 13843 h 2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441">
                      <a:moveTo>
                        <a:pt x="17" y="13843"/>
                      </a:moveTo>
                      <a:cubicBezTo>
                        <a:pt x="-357" y="6495"/>
                        <a:pt x="5373" y="267"/>
                        <a:pt x="12598" y="18"/>
                      </a:cubicBezTo>
                      <a:cubicBezTo>
                        <a:pt x="19822" y="-356"/>
                        <a:pt x="26050" y="5249"/>
                        <a:pt x="26299" y="12598"/>
                      </a:cubicBezTo>
                      <a:cubicBezTo>
                        <a:pt x="26673" y="19947"/>
                        <a:pt x="20943" y="26174"/>
                        <a:pt x="13718" y="26424"/>
                      </a:cubicBezTo>
                      <a:cubicBezTo>
                        <a:pt x="6495" y="26797"/>
                        <a:pt x="391" y="21192"/>
                        <a:pt x="17" y="138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4" name="Graphic 2987">
                <a:extLst>
                  <a:ext uri="{FF2B5EF4-FFF2-40B4-BE49-F238E27FC236}">
                    <a16:creationId xmlns:a16="http://schemas.microsoft.com/office/drawing/2014/main" id="{65F1021F-8E12-480F-6692-1B599CC1E186}"/>
                  </a:ext>
                </a:extLst>
              </p:cNvPr>
              <p:cNvGrpSpPr/>
              <p:nvPr/>
            </p:nvGrpSpPr>
            <p:grpSpPr>
              <a:xfrm>
                <a:off x="7855720" y="5558826"/>
                <a:ext cx="31528" cy="148862"/>
                <a:chOff x="7855720" y="5558826"/>
                <a:chExt cx="31528" cy="148862"/>
              </a:xfrm>
              <a:grpFill/>
            </p:grpSpPr>
            <p:sp>
              <p:nvSpPr>
                <p:cNvPr id="4595" name="Freeform 4916">
                  <a:extLst>
                    <a:ext uri="{FF2B5EF4-FFF2-40B4-BE49-F238E27FC236}">
                      <a16:creationId xmlns:a16="http://schemas.microsoft.com/office/drawing/2014/main" id="{BDE8B97A-88BA-0DE2-469E-7BEA1117F6A3}"/>
                    </a:ext>
                  </a:extLst>
                </p:cNvPr>
                <p:cNvSpPr/>
                <p:nvPr/>
              </p:nvSpPr>
              <p:spPr>
                <a:xfrm>
                  <a:off x="7864006" y="5579261"/>
                  <a:ext cx="4792" cy="52189"/>
                </a:xfrm>
                <a:custGeom>
                  <a:avLst/>
                  <a:gdLst>
                    <a:gd name="connsiteX0" fmla="*/ 1686 w 4792"/>
                    <a:gd name="connsiteY0" fmla="*/ 0 h 52189"/>
                    <a:gd name="connsiteX1" fmla="*/ 440 w 4792"/>
                    <a:gd name="connsiteY1" fmla="*/ 18808 h 52189"/>
                    <a:gd name="connsiteX2" fmla="*/ 4550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2" y="8096"/>
                        <a:pt x="-182" y="14449"/>
                        <a:pt x="440" y="18808"/>
                      </a:cubicBezTo>
                      <a:cubicBezTo>
                        <a:pt x="1561" y="25784"/>
                        <a:pt x="3803" y="28648"/>
                        <a:pt x="4550" y="35748"/>
                      </a:cubicBezTo>
                      <a:cubicBezTo>
                        <a:pt x="5298" y="42599"/>
                        <a:pt x="4177" y="48453"/>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6" name="Freeform 4917">
                  <a:extLst>
                    <a:ext uri="{FF2B5EF4-FFF2-40B4-BE49-F238E27FC236}">
                      <a16:creationId xmlns:a16="http://schemas.microsoft.com/office/drawing/2014/main" id="{9A091856-361F-5B0F-F4F6-16B7093A0B9F}"/>
                    </a:ext>
                  </a:extLst>
                </p:cNvPr>
                <p:cNvSpPr/>
                <p:nvPr/>
              </p:nvSpPr>
              <p:spPr>
                <a:xfrm>
                  <a:off x="7872532" y="5573906"/>
                  <a:ext cx="2900" cy="52065"/>
                </a:xfrm>
                <a:custGeom>
                  <a:avLst/>
                  <a:gdLst>
                    <a:gd name="connsiteX0" fmla="*/ 2875 w 2900"/>
                    <a:gd name="connsiteY0" fmla="*/ 52065 h 52065"/>
                    <a:gd name="connsiteX1" fmla="*/ 135 w 2900"/>
                    <a:gd name="connsiteY1" fmla="*/ 33506 h 52065"/>
                    <a:gd name="connsiteX2" fmla="*/ 2875 w 2900"/>
                    <a:gd name="connsiteY2" fmla="*/ 16317 h 52065"/>
                    <a:gd name="connsiteX3" fmla="*/ 10 w 2900"/>
                    <a:gd name="connsiteY3" fmla="*/ 0 h 52065"/>
                  </a:gdLst>
                  <a:ahLst/>
                  <a:cxnLst>
                    <a:cxn ang="0">
                      <a:pos x="connsiteX0" y="connsiteY0"/>
                    </a:cxn>
                    <a:cxn ang="0">
                      <a:pos x="connsiteX1" y="connsiteY1"/>
                    </a:cxn>
                    <a:cxn ang="0">
                      <a:pos x="connsiteX2" y="connsiteY2"/>
                    </a:cxn>
                    <a:cxn ang="0">
                      <a:pos x="connsiteX3" y="connsiteY3"/>
                    </a:cxn>
                  </a:cxnLst>
                  <a:rect l="l" t="t" r="r" b="b"/>
                  <a:pathLst>
                    <a:path w="2900" h="52065">
                      <a:moveTo>
                        <a:pt x="2875" y="52065"/>
                      </a:moveTo>
                      <a:cubicBezTo>
                        <a:pt x="10" y="44093"/>
                        <a:pt x="-238" y="37741"/>
                        <a:pt x="135" y="33506"/>
                      </a:cubicBezTo>
                      <a:cubicBezTo>
                        <a:pt x="634" y="26531"/>
                        <a:pt x="2626" y="23417"/>
                        <a:pt x="2875" y="16317"/>
                      </a:cubicBezTo>
                      <a:cubicBezTo>
                        <a:pt x="3124" y="9466"/>
                        <a:pt x="1505" y="3737"/>
                        <a:pt x="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7" name="Freeform 4918">
                  <a:extLst>
                    <a:ext uri="{FF2B5EF4-FFF2-40B4-BE49-F238E27FC236}">
                      <a16:creationId xmlns:a16="http://schemas.microsoft.com/office/drawing/2014/main" id="{524FEE68-1343-B3AB-4981-5216D30DCBA8}"/>
                    </a:ext>
                  </a:extLst>
                </p:cNvPr>
                <p:cNvSpPr/>
                <p:nvPr/>
              </p:nvSpPr>
              <p:spPr>
                <a:xfrm>
                  <a:off x="7855720" y="5558826"/>
                  <a:ext cx="26546" cy="26432"/>
                </a:xfrm>
                <a:custGeom>
                  <a:avLst/>
                  <a:gdLst>
                    <a:gd name="connsiteX0" fmla="*/ 26539 w 26546"/>
                    <a:gd name="connsiteY0" fmla="*/ 12713 h 26432"/>
                    <a:gd name="connsiteX1" fmla="*/ 13834 w 26546"/>
                    <a:gd name="connsiteY1" fmla="*/ 26415 h 26432"/>
                    <a:gd name="connsiteX2" fmla="*/ 8 w 26546"/>
                    <a:gd name="connsiteY2" fmla="*/ 13834 h 26432"/>
                    <a:gd name="connsiteX3" fmla="*/ 12713 w 26546"/>
                    <a:gd name="connsiteY3" fmla="*/ 8 h 26432"/>
                    <a:gd name="connsiteX4" fmla="*/ 26539 w 26546"/>
                    <a:gd name="connsiteY4" fmla="*/ 12713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431">
                      <a:moveTo>
                        <a:pt x="26539" y="12713"/>
                      </a:moveTo>
                      <a:cubicBezTo>
                        <a:pt x="26788" y="20062"/>
                        <a:pt x="21183" y="26165"/>
                        <a:pt x="13834" y="26415"/>
                      </a:cubicBezTo>
                      <a:cubicBezTo>
                        <a:pt x="6485" y="26788"/>
                        <a:pt x="257" y="21183"/>
                        <a:pt x="8" y="13834"/>
                      </a:cubicBezTo>
                      <a:cubicBezTo>
                        <a:pt x="-241" y="6485"/>
                        <a:pt x="5364" y="257"/>
                        <a:pt x="12713" y="8"/>
                      </a:cubicBezTo>
                      <a:cubicBezTo>
                        <a:pt x="20062" y="-241"/>
                        <a:pt x="26289" y="5364"/>
                        <a:pt x="26539" y="12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8" name="Freeform 4919">
                  <a:extLst>
                    <a:ext uri="{FF2B5EF4-FFF2-40B4-BE49-F238E27FC236}">
                      <a16:creationId xmlns:a16="http://schemas.microsoft.com/office/drawing/2014/main" id="{45CE8048-A2F3-04B9-A342-B4A57AD0ACE7}"/>
                    </a:ext>
                  </a:extLst>
                </p:cNvPr>
                <p:cNvSpPr/>
                <p:nvPr/>
              </p:nvSpPr>
              <p:spPr>
                <a:xfrm>
                  <a:off x="7874294" y="5634939"/>
                  <a:ext cx="4792" cy="52189"/>
                </a:xfrm>
                <a:custGeom>
                  <a:avLst/>
                  <a:gdLst>
                    <a:gd name="connsiteX0" fmla="*/ 3107 w 4792"/>
                    <a:gd name="connsiteY0" fmla="*/ 52190 h 52189"/>
                    <a:gd name="connsiteX1" fmla="*/ 4353 w 4792"/>
                    <a:gd name="connsiteY1" fmla="*/ 33381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1"/>
                      </a:cubicBezTo>
                      <a:cubicBezTo>
                        <a:pt x="3231" y="26406"/>
                        <a:pt x="989" y="23541"/>
                        <a:pt x="242" y="16442"/>
                      </a:cubicBezTo>
                      <a:cubicBezTo>
                        <a:pt x="-505" y="9591"/>
                        <a:pt x="615" y="3861"/>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9" name="Freeform 4920">
                  <a:extLst>
                    <a:ext uri="{FF2B5EF4-FFF2-40B4-BE49-F238E27FC236}">
                      <a16:creationId xmlns:a16="http://schemas.microsoft.com/office/drawing/2014/main" id="{981DF2C8-EFDB-4487-E346-B13770575036}"/>
                    </a:ext>
                  </a:extLst>
                </p:cNvPr>
                <p:cNvSpPr/>
                <p:nvPr/>
              </p:nvSpPr>
              <p:spPr>
                <a:xfrm>
                  <a:off x="7867786" y="5640419"/>
                  <a:ext cx="2899" cy="51940"/>
                </a:xfrm>
                <a:custGeom>
                  <a:avLst/>
                  <a:gdLst>
                    <a:gd name="connsiteX0" fmla="*/ 24 w 2899"/>
                    <a:gd name="connsiteY0" fmla="*/ 0 h 51940"/>
                    <a:gd name="connsiteX1" fmla="*/ 2765 w 2899"/>
                    <a:gd name="connsiteY1" fmla="*/ 18559 h 51940"/>
                    <a:gd name="connsiteX2" fmla="*/ 24 w 2899"/>
                    <a:gd name="connsiteY2" fmla="*/ 35748 h 51940"/>
                    <a:gd name="connsiteX3" fmla="*/ 2889 w 289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2899" h="51940">
                      <a:moveTo>
                        <a:pt x="24" y="0"/>
                      </a:moveTo>
                      <a:cubicBezTo>
                        <a:pt x="2889" y="7971"/>
                        <a:pt x="3138" y="14199"/>
                        <a:pt x="2765" y="18559"/>
                      </a:cubicBezTo>
                      <a:cubicBezTo>
                        <a:pt x="2267" y="25534"/>
                        <a:pt x="273" y="28648"/>
                        <a:pt x="24" y="35748"/>
                      </a:cubicBezTo>
                      <a:cubicBezTo>
                        <a:pt x="-225" y="42599"/>
                        <a:pt x="1519" y="48328"/>
                        <a:pt x="2889"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600" name="Freeform 4921">
                  <a:extLst>
                    <a:ext uri="{FF2B5EF4-FFF2-40B4-BE49-F238E27FC236}">
                      <a16:creationId xmlns:a16="http://schemas.microsoft.com/office/drawing/2014/main" id="{4836DA61-E80E-346C-6FA7-FCC4B5A5100F}"/>
                    </a:ext>
                  </a:extLst>
                </p:cNvPr>
                <p:cNvSpPr/>
                <p:nvPr/>
              </p:nvSpPr>
              <p:spPr>
                <a:xfrm>
                  <a:off x="7860942" y="5681142"/>
                  <a:ext cx="26306" cy="26546"/>
                </a:xfrm>
                <a:custGeom>
                  <a:avLst/>
                  <a:gdLst>
                    <a:gd name="connsiteX0" fmla="*/ 17 w 26306"/>
                    <a:gd name="connsiteY0" fmla="*/ 13834 h 26546"/>
                    <a:gd name="connsiteX1" fmla="*/ 12598 w 26306"/>
                    <a:gd name="connsiteY1" fmla="*/ 8 h 26546"/>
                    <a:gd name="connsiteX2" fmla="*/ 26299 w 26306"/>
                    <a:gd name="connsiteY2" fmla="*/ 12837 h 26546"/>
                    <a:gd name="connsiteX3" fmla="*/ 13719 w 26306"/>
                    <a:gd name="connsiteY3" fmla="*/ 26539 h 26546"/>
                    <a:gd name="connsiteX4" fmla="*/ 17 w 26306"/>
                    <a:gd name="connsiteY4" fmla="*/ 13834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17" y="13834"/>
                      </a:moveTo>
                      <a:cubicBezTo>
                        <a:pt x="-356" y="6485"/>
                        <a:pt x="5373" y="257"/>
                        <a:pt x="12598" y="8"/>
                      </a:cubicBezTo>
                      <a:cubicBezTo>
                        <a:pt x="19822" y="-241"/>
                        <a:pt x="26050" y="5488"/>
                        <a:pt x="26299" y="12837"/>
                      </a:cubicBezTo>
                      <a:cubicBezTo>
                        <a:pt x="26548" y="20186"/>
                        <a:pt x="20943" y="26290"/>
                        <a:pt x="13719" y="26539"/>
                      </a:cubicBezTo>
                      <a:cubicBezTo>
                        <a:pt x="6495" y="26788"/>
                        <a:pt x="391" y="21183"/>
                        <a:pt x="17" y="138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5" name="Graphic 2987">
                <a:extLst>
                  <a:ext uri="{FF2B5EF4-FFF2-40B4-BE49-F238E27FC236}">
                    <a16:creationId xmlns:a16="http://schemas.microsoft.com/office/drawing/2014/main" id="{FDFB093A-E1BD-1A02-5E50-417A2738BBBF}"/>
                  </a:ext>
                </a:extLst>
              </p:cNvPr>
              <p:cNvGrpSpPr/>
              <p:nvPr/>
            </p:nvGrpSpPr>
            <p:grpSpPr>
              <a:xfrm>
                <a:off x="7885365" y="5557705"/>
                <a:ext cx="31404" cy="148862"/>
                <a:chOff x="7885365" y="5557705"/>
                <a:chExt cx="31404" cy="148862"/>
              </a:xfrm>
              <a:grpFill/>
            </p:grpSpPr>
            <p:sp>
              <p:nvSpPr>
                <p:cNvPr id="4589" name="Freeform 4923">
                  <a:extLst>
                    <a:ext uri="{FF2B5EF4-FFF2-40B4-BE49-F238E27FC236}">
                      <a16:creationId xmlns:a16="http://schemas.microsoft.com/office/drawing/2014/main" id="{FC698D14-69E3-012A-1FA5-782A08940E5B}"/>
                    </a:ext>
                  </a:extLst>
                </p:cNvPr>
                <p:cNvSpPr/>
                <p:nvPr/>
              </p:nvSpPr>
              <p:spPr>
                <a:xfrm>
                  <a:off x="7893651" y="5578140"/>
                  <a:ext cx="4792" cy="52189"/>
                </a:xfrm>
                <a:custGeom>
                  <a:avLst/>
                  <a:gdLst>
                    <a:gd name="connsiteX0" fmla="*/ 1686 w 4792"/>
                    <a:gd name="connsiteY0" fmla="*/ 0 h 52189"/>
                    <a:gd name="connsiteX1" fmla="*/ 441 w 4792"/>
                    <a:gd name="connsiteY1" fmla="*/ 18808 h 52189"/>
                    <a:gd name="connsiteX2" fmla="*/ 4551 w 4792"/>
                    <a:gd name="connsiteY2" fmla="*/ 35748 h 52189"/>
                    <a:gd name="connsiteX3" fmla="*/ 3056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0"/>
                      </a:moveTo>
                      <a:cubicBezTo>
                        <a:pt x="-431" y="8096"/>
                        <a:pt x="-183" y="14449"/>
                        <a:pt x="441" y="18808"/>
                      </a:cubicBezTo>
                      <a:cubicBezTo>
                        <a:pt x="1437" y="25784"/>
                        <a:pt x="3803" y="28648"/>
                        <a:pt x="4551" y="35748"/>
                      </a:cubicBezTo>
                      <a:cubicBezTo>
                        <a:pt x="5298" y="42599"/>
                        <a:pt x="4177" y="48328"/>
                        <a:pt x="305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0" name="Freeform 4924">
                  <a:extLst>
                    <a:ext uri="{FF2B5EF4-FFF2-40B4-BE49-F238E27FC236}">
                      <a16:creationId xmlns:a16="http://schemas.microsoft.com/office/drawing/2014/main" id="{0AA293D9-8F9B-E807-D995-0AB5884EA398}"/>
                    </a:ext>
                  </a:extLst>
                </p:cNvPr>
                <p:cNvSpPr/>
                <p:nvPr/>
              </p:nvSpPr>
              <p:spPr>
                <a:xfrm>
                  <a:off x="7902113" y="5572909"/>
                  <a:ext cx="2840" cy="52065"/>
                </a:xfrm>
                <a:custGeom>
                  <a:avLst/>
                  <a:gdLst>
                    <a:gd name="connsiteX0" fmla="*/ 2815 w 2840"/>
                    <a:gd name="connsiteY0" fmla="*/ 52065 h 52065"/>
                    <a:gd name="connsiteX1" fmla="*/ 74 w 2840"/>
                    <a:gd name="connsiteY1" fmla="*/ 33506 h 52065"/>
                    <a:gd name="connsiteX2" fmla="*/ 2815 w 2840"/>
                    <a:gd name="connsiteY2" fmla="*/ 16317 h 52065"/>
                    <a:gd name="connsiteX3" fmla="*/ 74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52065"/>
                      </a:moveTo>
                      <a:cubicBezTo>
                        <a:pt x="74" y="44094"/>
                        <a:pt x="-174" y="37741"/>
                        <a:pt x="74" y="33506"/>
                      </a:cubicBezTo>
                      <a:cubicBezTo>
                        <a:pt x="573" y="26531"/>
                        <a:pt x="2566" y="23417"/>
                        <a:pt x="2815" y="16317"/>
                      </a:cubicBezTo>
                      <a:cubicBezTo>
                        <a:pt x="3064" y="9467"/>
                        <a:pt x="1445" y="3737"/>
                        <a:pt x="7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1" name="Freeform 4925">
                  <a:extLst>
                    <a:ext uri="{FF2B5EF4-FFF2-40B4-BE49-F238E27FC236}">
                      <a16:creationId xmlns:a16="http://schemas.microsoft.com/office/drawing/2014/main" id="{05FCC8AE-1428-7C39-180D-A01866956634}"/>
                    </a:ext>
                  </a:extLst>
                </p:cNvPr>
                <p:cNvSpPr/>
                <p:nvPr/>
              </p:nvSpPr>
              <p:spPr>
                <a:xfrm>
                  <a:off x="7885365" y="5557705"/>
                  <a:ext cx="26671" cy="26546"/>
                </a:xfrm>
                <a:custGeom>
                  <a:avLst/>
                  <a:gdLst>
                    <a:gd name="connsiteX0" fmla="*/ 26663 w 26671"/>
                    <a:gd name="connsiteY0" fmla="*/ 12837 h 26546"/>
                    <a:gd name="connsiteX1" fmla="*/ 13834 w 26671"/>
                    <a:gd name="connsiteY1" fmla="*/ 26539 h 26546"/>
                    <a:gd name="connsiteX2" fmla="*/ 8 w 26671"/>
                    <a:gd name="connsiteY2" fmla="*/ 13709 h 26546"/>
                    <a:gd name="connsiteX3" fmla="*/ 12837 w 26671"/>
                    <a:gd name="connsiteY3" fmla="*/ 8 h 26546"/>
                    <a:gd name="connsiteX4" fmla="*/ 26663 w 2667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2837"/>
                      </a:moveTo>
                      <a:cubicBezTo>
                        <a:pt x="26912" y="20186"/>
                        <a:pt x="21183" y="26290"/>
                        <a:pt x="13834" y="26539"/>
                      </a:cubicBezTo>
                      <a:cubicBezTo>
                        <a:pt x="6485" y="26788"/>
                        <a:pt x="257"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2" name="Freeform 4926">
                  <a:extLst>
                    <a:ext uri="{FF2B5EF4-FFF2-40B4-BE49-F238E27FC236}">
                      <a16:creationId xmlns:a16="http://schemas.microsoft.com/office/drawing/2014/main" id="{CCF20ADE-E018-EE49-70A6-75423C04E4BB}"/>
                    </a:ext>
                  </a:extLst>
                </p:cNvPr>
                <p:cNvSpPr/>
                <p:nvPr/>
              </p:nvSpPr>
              <p:spPr>
                <a:xfrm>
                  <a:off x="7903814" y="5633942"/>
                  <a:ext cx="4792" cy="52189"/>
                </a:xfrm>
                <a:custGeom>
                  <a:avLst/>
                  <a:gdLst>
                    <a:gd name="connsiteX0" fmla="*/ 3107 w 4792"/>
                    <a:gd name="connsiteY0" fmla="*/ 52190 h 52189"/>
                    <a:gd name="connsiteX1" fmla="*/ 4353 w 4792"/>
                    <a:gd name="connsiteY1" fmla="*/ 33382 h 52189"/>
                    <a:gd name="connsiteX2" fmla="*/ 242 w 4792"/>
                    <a:gd name="connsiteY2" fmla="*/ 16442 h 52189"/>
                    <a:gd name="connsiteX3" fmla="*/ 1737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52190"/>
                      </a:moveTo>
                      <a:cubicBezTo>
                        <a:pt x="5224" y="44094"/>
                        <a:pt x="4975" y="37741"/>
                        <a:pt x="4353" y="33382"/>
                      </a:cubicBezTo>
                      <a:cubicBezTo>
                        <a:pt x="3356" y="26407"/>
                        <a:pt x="1114" y="23542"/>
                        <a:pt x="242" y="16442"/>
                      </a:cubicBezTo>
                      <a:cubicBezTo>
                        <a:pt x="-505" y="9591"/>
                        <a:pt x="615" y="3862"/>
                        <a:pt x="173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3" name="Freeform 4927">
                  <a:extLst>
                    <a:ext uri="{FF2B5EF4-FFF2-40B4-BE49-F238E27FC236}">
                      <a16:creationId xmlns:a16="http://schemas.microsoft.com/office/drawing/2014/main" id="{D5CDD9FC-F82D-A338-2791-FE4CBCDD393E}"/>
                    </a:ext>
                  </a:extLst>
                </p:cNvPr>
                <p:cNvSpPr/>
                <p:nvPr/>
              </p:nvSpPr>
              <p:spPr>
                <a:xfrm>
                  <a:off x="7897305" y="5639298"/>
                  <a:ext cx="2840" cy="52065"/>
                </a:xfrm>
                <a:custGeom>
                  <a:avLst/>
                  <a:gdLst>
                    <a:gd name="connsiteX0" fmla="*/ 26 w 2840"/>
                    <a:gd name="connsiteY0" fmla="*/ 0 h 52065"/>
                    <a:gd name="connsiteX1" fmla="*/ 2766 w 2840"/>
                    <a:gd name="connsiteY1" fmla="*/ 18559 h 52065"/>
                    <a:gd name="connsiteX2" fmla="*/ 26 w 2840"/>
                    <a:gd name="connsiteY2" fmla="*/ 35748 h 52065"/>
                    <a:gd name="connsiteX3" fmla="*/ 2766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6" y="0"/>
                      </a:moveTo>
                      <a:cubicBezTo>
                        <a:pt x="2766" y="7971"/>
                        <a:pt x="3015" y="14324"/>
                        <a:pt x="2766" y="18559"/>
                      </a:cubicBezTo>
                      <a:cubicBezTo>
                        <a:pt x="2268" y="25534"/>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94" name="Freeform 4928">
                  <a:extLst>
                    <a:ext uri="{FF2B5EF4-FFF2-40B4-BE49-F238E27FC236}">
                      <a16:creationId xmlns:a16="http://schemas.microsoft.com/office/drawing/2014/main" id="{917A161C-BD12-4A4D-AF54-EBE332C0E9EB}"/>
                    </a:ext>
                  </a:extLst>
                </p:cNvPr>
                <p:cNvSpPr/>
                <p:nvPr/>
              </p:nvSpPr>
              <p:spPr>
                <a:xfrm>
                  <a:off x="7890346" y="5680021"/>
                  <a:ext cx="26422" cy="26546"/>
                </a:xfrm>
                <a:custGeom>
                  <a:avLst/>
                  <a:gdLst>
                    <a:gd name="connsiteX0" fmla="*/ 8 w 26422"/>
                    <a:gd name="connsiteY0" fmla="*/ 13709 h 26546"/>
                    <a:gd name="connsiteX1" fmla="*/ 12713 w 26422"/>
                    <a:gd name="connsiteY1" fmla="*/ 8 h 26546"/>
                    <a:gd name="connsiteX2" fmla="*/ 26415 w 26422"/>
                    <a:gd name="connsiteY2" fmla="*/ 12837 h 26546"/>
                    <a:gd name="connsiteX3" fmla="*/ 13710 w 26422"/>
                    <a:gd name="connsiteY3" fmla="*/ 26539 h 26546"/>
                    <a:gd name="connsiteX4" fmla="*/ 8 w 26422"/>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3709"/>
                      </a:moveTo>
                      <a:cubicBezTo>
                        <a:pt x="-241" y="6360"/>
                        <a:pt x="5365" y="257"/>
                        <a:pt x="12713" y="8"/>
                      </a:cubicBezTo>
                      <a:cubicBezTo>
                        <a:pt x="19938" y="-241"/>
                        <a:pt x="26166" y="5488"/>
                        <a:pt x="26415" y="12837"/>
                      </a:cubicBezTo>
                      <a:cubicBezTo>
                        <a:pt x="26663" y="20186"/>
                        <a:pt x="21058" y="26290"/>
                        <a:pt x="13710" y="26539"/>
                      </a:cubicBezTo>
                      <a:cubicBezTo>
                        <a:pt x="6485"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6" name="Graphic 2987">
                <a:extLst>
                  <a:ext uri="{FF2B5EF4-FFF2-40B4-BE49-F238E27FC236}">
                    <a16:creationId xmlns:a16="http://schemas.microsoft.com/office/drawing/2014/main" id="{F3E0FAB3-6BDE-D4A0-42C3-FCDAEFD51FB8}"/>
                  </a:ext>
                </a:extLst>
              </p:cNvPr>
              <p:cNvGrpSpPr/>
              <p:nvPr/>
            </p:nvGrpSpPr>
            <p:grpSpPr>
              <a:xfrm>
                <a:off x="7915134" y="5556709"/>
                <a:ext cx="31039" cy="148861"/>
                <a:chOff x="7915134" y="5556709"/>
                <a:chExt cx="31039" cy="148861"/>
              </a:xfrm>
              <a:grpFill/>
            </p:grpSpPr>
            <p:sp>
              <p:nvSpPr>
                <p:cNvPr id="4583" name="Freeform 4930">
                  <a:extLst>
                    <a:ext uri="{FF2B5EF4-FFF2-40B4-BE49-F238E27FC236}">
                      <a16:creationId xmlns:a16="http://schemas.microsoft.com/office/drawing/2014/main" id="{3184EE5B-FECD-D735-1469-A93138560590}"/>
                    </a:ext>
                  </a:extLst>
                </p:cNvPr>
                <p:cNvSpPr/>
                <p:nvPr/>
              </p:nvSpPr>
              <p:spPr>
                <a:xfrm>
                  <a:off x="7923330" y="5577144"/>
                  <a:ext cx="4869" cy="52189"/>
                </a:xfrm>
                <a:custGeom>
                  <a:avLst/>
                  <a:gdLst>
                    <a:gd name="connsiteX0" fmla="*/ 1776 w 4869"/>
                    <a:gd name="connsiteY0" fmla="*/ 0 h 52189"/>
                    <a:gd name="connsiteX1" fmla="*/ 530 w 4869"/>
                    <a:gd name="connsiteY1" fmla="*/ 18808 h 52189"/>
                    <a:gd name="connsiteX2" fmla="*/ 4641 w 4869"/>
                    <a:gd name="connsiteY2" fmla="*/ 35748 h 52189"/>
                    <a:gd name="connsiteX3" fmla="*/ 3146 w 48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69" h="52189">
                      <a:moveTo>
                        <a:pt x="1776" y="0"/>
                      </a:moveTo>
                      <a:cubicBezTo>
                        <a:pt x="-465" y="8097"/>
                        <a:pt x="-217" y="14449"/>
                        <a:pt x="530" y="18808"/>
                      </a:cubicBezTo>
                      <a:cubicBezTo>
                        <a:pt x="1527" y="25784"/>
                        <a:pt x="3769" y="28648"/>
                        <a:pt x="4641" y="35748"/>
                      </a:cubicBezTo>
                      <a:cubicBezTo>
                        <a:pt x="5388" y="42599"/>
                        <a:pt x="4143" y="48328"/>
                        <a:pt x="31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4" name="Freeform 4931">
                  <a:extLst>
                    <a:ext uri="{FF2B5EF4-FFF2-40B4-BE49-F238E27FC236}">
                      <a16:creationId xmlns:a16="http://schemas.microsoft.com/office/drawing/2014/main" id="{012F6367-6EB1-B2D3-1E05-01B6E3BC5CE3}"/>
                    </a:ext>
                  </a:extLst>
                </p:cNvPr>
                <p:cNvSpPr/>
                <p:nvPr/>
              </p:nvSpPr>
              <p:spPr>
                <a:xfrm>
                  <a:off x="7931821" y="5571913"/>
                  <a:ext cx="2902" cy="52065"/>
                </a:xfrm>
                <a:custGeom>
                  <a:avLst/>
                  <a:gdLst>
                    <a:gd name="connsiteX0" fmla="*/ 2752 w 2902"/>
                    <a:gd name="connsiteY0" fmla="*/ 52065 h 52065"/>
                    <a:gd name="connsiteX1" fmla="*/ 136 w 2902"/>
                    <a:gd name="connsiteY1" fmla="*/ 33506 h 52065"/>
                    <a:gd name="connsiteX2" fmla="*/ 2877 w 2902"/>
                    <a:gd name="connsiteY2" fmla="*/ 16317 h 52065"/>
                    <a:gd name="connsiteX3" fmla="*/ 13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2752" y="52065"/>
                      </a:moveTo>
                      <a:cubicBezTo>
                        <a:pt x="12" y="44094"/>
                        <a:pt x="-237" y="37741"/>
                        <a:pt x="136" y="33506"/>
                      </a:cubicBezTo>
                      <a:cubicBezTo>
                        <a:pt x="634" y="26531"/>
                        <a:pt x="2628" y="23417"/>
                        <a:pt x="2877" y="16317"/>
                      </a:cubicBezTo>
                      <a:cubicBezTo>
                        <a:pt x="3125" y="9467"/>
                        <a:pt x="1506" y="3737"/>
                        <a:pt x="1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5" name="Freeform 4932">
                  <a:extLst>
                    <a:ext uri="{FF2B5EF4-FFF2-40B4-BE49-F238E27FC236}">
                      <a16:creationId xmlns:a16="http://schemas.microsoft.com/office/drawing/2014/main" id="{971C45AD-A30F-B9C6-B852-EA945CEB8142}"/>
                    </a:ext>
                  </a:extLst>
                </p:cNvPr>
                <p:cNvSpPr/>
                <p:nvPr/>
              </p:nvSpPr>
              <p:spPr>
                <a:xfrm>
                  <a:off x="7915134" y="5556709"/>
                  <a:ext cx="26670" cy="26546"/>
                </a:xfrm>
                <a:custGeom>
                  <a:avLst/>
                  <a:gdLst>
                    <a:gd name="connsiteX0" fmla="*/ 26663 w 26670"/>
                    <a:gd name="connsiteY0" fmla="*/ 12837 h 26546"/>
                    <a:gd name="connsiteX1" fmla="*/ 13834 w 26670"/>
                    <a:gd name="connsiteY1" fmla="*/ 26539 h 26546"/>
                    <a:gd name="connsiteX2" fmla="*/ 8 w 26670"/>
                    <a:gd name="connsiteY2" fmla="*/ 13709 h 26546"/>
                    <a:gd name="connsiteX3" fmla="*/ 12837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2" y="20186"/>
                        <a:pt x="21182" y="26289"/>
                        <a:pt x="13834" y="26539"/>
                      </a:cubicBezTo>
                      <a:cubicBezTo>
                        <a:pt x="6484" y="26788"/>
                        <a:pt x="381" y="21058"/>
                        <a:pt x="8" y="13709"/>
                      </a:cubicBezTo>
                      <a:cubicBezTo>
                        <a:pt x="-242" y="6360"/>
                        <a:pt x="5488" y="257"/>
                        <a:pt x="12837" y="8"/>
                      </a:cubicBezTo>
                      <a:cubicBezTo>
                        <a:pt x="20186"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6" name="Freeform 4933">
                  <a:extLst>
                    <a:ext uri="{FF2B5EF4-FFF2-40B4-BE49-F238E27FC236}">
                      <a16:creationId xmlns:a16="http://schemas.microsoft.com/office/drawing/2014/main" id="{0657F68E-0EF3-4A17-3337-48108E5EDABB}"/>
                    </a:ext>
                  </a:extLst>
                </p:cNvPr>
                <p:cNvSpPr/>
                <p:nvPr/>
              </p:nvSpPr>
              <p:spPr>
                <a:xfrm>
                  <a:off x="7933348" y="5632946"/>
                  <a:ext cx="4654" cy="52189"/>
                </a:xfrm>
                <a:custGeom>
                  <a:avLst/>
                  <a:gdLst>
                    <a:gd name="connsiteX0" fmla="*/ 2968 w 4654"/>
                    <a:gd name="connsiteY0" fmla="*/ 52190 h 52189"/>
                    <a:gd name="connsiteX1" fmla="*/ 4214 w 4654"/>
                    <a:gd name="connsiteY1" fmla="*/ 33381 h 52189"/>
                    <a:gd name="connsiteX2" fmla="*/ 228 w 4654"/>
                    <a:gd name="connsiteY2" fmla="*/ 16442 h 52189"/>
                    <a:gd name="connsiteX3" fmla="*/ 1723 w 4654"/>
                    <a:gd name="connsiteY3" fmla="*/ 0 h 52189"/>
                  </a:gdLst>
                  <a:ahLst/>
                  <a:cxnLst>
                    <a:cxn ang="0">
                      <a:pos x="connsiteX0" y="connsiteY0"/>
                    </a:cxn>
                    <a:cxn ang="0">
                      <a:pos x="connsiteX1" y="connsiteY1"/>
                    </a:cxn>
                    <a:cxn ang="0">
                      <a:pos x="connsiteX2" y="connsiteY2"/>
                    </a:cxn>
                    <a:cxn ang="0">
                      <a:pos x="connsiteX3" y="connsiteY3"/>
                    </a:cxn>
                  </a:cxnLst>
                  <a:rect l="l" t="t" r="r" b="b"/>
                  <a:pathLst>
                    <a:path w="4654" h="52189">
                      <a:moveTo>
                        <a:pt x="2968" y="52190"/>
                      </a:moveTo>
                      <a:cubicBezTo>
                        <a:pt x="5086" y="44094"/>
                        <a:pt x="4837" y="37741"/>
                        <a:pt x="4214" y="33381"/>
                      </a:cubicBezTo>
                      <a:cubicBezTo>
                        <a:pt x="3217" y="26406"/>
                        <a:pt x="975" y="23542"/>
                        <a:pt x="228" y="16442"/>
                      </a:cubicBezTo>
                      <a:cubicBezTo>
                        <a:pt x="-519" y="9591"/>
                        <a:pt x="726" y="3861"/>
                        <a:pt x="1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7" name="Freeform 4934">
                  <a:extLst>
                    <a:ext uri="{FF2B5EF4-FFF2-40B4-BE49-F238E27FC236}">
                      <a16:creationId xmlns:a16="http://schemas.microsoft.com/office/drawing/2014/main" id="{4C1A8705-8496-ECDD-D73B-8C46E09CEE80}"/>
                    </a:ext>
                  </a:extLst>
                </p:cNvPr>
                <p:cNvSpPr/>
                <p:nvPr/>
              </p:nvSpPr>
              <p:spPr>
                <a:xfrm>
                  <a:off x="7926700" y="5638302"/>
                  <a:ext cx="2902" cy="52065"/>
                </a:xfrm>
                <a:custGeom>
                  <a:avLst/>
                  <a:gdLst>
                    <a:gd name="connsiteX0" fmla="*/ 150 w 2902"/>
                    <a:gd name="connsiteY0" fmla="*/ 0 h 52065"/>
                    <a:gd name="connsiteX1" fmla="*/ 2766 w 2902"/>
                    <a:gd name="connsiteY1" fmla="*/ 18559 h 52065"/>
                    <a:gd name="connsiteX2" fmla="*/ 26 w 2902"/>
                    <a:gd name="connsiteY2" fmla="*/ 35748 h 52065"/>
                    <a:gd name="connsiteX3" fmla="*/ 2766 w 290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902" h="52065">
                      <a:moveTo>
                        <a:pt x="150" y="0"/>
                      </a:moveTo>
                      <a:cubicBezTo>
                        <a:pt x="2890" y="7972"/>
                        <a:pt x="3140" y="14324"/>
                        <a:pt x="2766" y="18559"/>
                      </a:cubicBezTo>
                      <a:cubicBezTo>
                        <a:pt x="2268" y="25535"/>
                        <a:pt x="274"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8" name="Freeform 4935">
                  <a:extLst>
                    <a:ext uri="{FF2B5EF4-FFF2-40B4-BE49-F238E27FC236}">
                      <a16:creationId xmlns:a16="http://schemas.microsoft.com/office/drawing/2014/main" id="{7437DB7E-284A-D6EE-4751-F2CEE477978B}"/>
                    </a:ext>
                  </a:extLst>
                </p:cNvPr>
                <p:cNvSpPr/>
                <p:nvPr/>
              </p:nvSpPr>
              <p:spPr>
                <a:xfrm>
                  <a:off x="7919742" y="5679024"/>
                  <a:ext cx="26431" cy="26546"/>
                </a:xfrm>
                <a:custGeom>
                  <a:avLst/>
                  <a:gdLst>
                    <a:gd name="connsiteX0" fmla="*/ 8 w 26431"/>
                    <a:gd name="connsiteY0" fmla="*/ 13709 h 26546"/>
                    <a:gd name="connsiteX1" fmla="*/ 12712 w 26431"/>
                    <a:gd name="connsiteY1" fmla="*/ 8 h 26546"/>
                    <a:gd name="connsiteX2" fmla="*/ 26414 w 26431"/>
                    <a:gd name="connsiteY2" fmla="*/ 12837 h 26546"/>
                    <a:gd name="connsiteX3" fmla="*/ 13709 w 26431"/>
                    <a:gd name="connsiteY3" fmla="*/ 26538 h 26546"/>
                    <a:gd name="connsiteX4" fmla="*/ 8 w 2643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31" h="26545">
                      <a:moveTo>
                        <a:pt x="8" y="13709"/>
                      </a:moveTo>
                      <a:cubicBezTo>
                        <a:pt x="-241" y="6360"/>
                        <a:pt x="5364" y="257"/>
                        <a:pt x="12712" y="8"/>
                      </a:cubicBezTo>
                      <a:cubicBezTo>
                        <a:pt x="19937" y="-242"/>
                        <a:pt x="26040" y="5488"/>
                        <a:pt x="26414" y="12837"/>
                      </a:cubicBezTo>
                      <a:cubicBezTo>
                        <a:pt x="26787" y="20186"/>
                        <a:pt x="21058" y="26289"/>
                        <a:pt x="13709" y="26538"/>
                      </a:cubicBezTo>
                      <a:cubicBezTo>
                        <a:pt x="6484"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7" name="Graphic 2987">
                <a:extLst>
                  <a:ext uri="{FF2B5EF4-FFF2-40B4-BE49-F238E27FC236}">
                    <a16:creationId xmlns:a16="http://schemas.microsoft.com/office/drawing/2014/main" id="{E8D08EFB-F511-0AEA-B4FA-CE784EF01F99}"/>
                  </a:ext>
                </a:extLst>
              </p:cNvPr>
              <p:cNvGrpSpPr/>
              <p:nvPr/>
            </p:nvGrpSpPr>
            <p:grpSpPr>
              <a:xfrm>
                <a:off x="7944903" y="5555594"/>
                <a:ext cx="30532" cy="148980"/>
                <a:chOff x="7944903" y="5555594"/>
                <a:chExt cx="30532" cy="148980"/>
              </a:xfrm>
              <a:grpFill/>
            </p:grpSpPr>
            <p:sp>
              <p:nvSpPr>
                <p:cNvPr id="4577" name="Freeform 4937">
                  <a:extLst>
                    <a:ext uri="{FF2B5EF4-FFF2-40B4-BE49-F238E27FC236}">
                      <a16:creationId xmlns:a16="http://schemas.microsoft.com/office/drawing/2014/main" id="{AF3F6161-9F62-9818-C43D-41B77C897AF9}"/>
                    </a:ext>
                  </a:extLst>
                </p:cNvPr>
                <p:cNvSpPr/>
                <p:nvPr/>
              </p:nvSpPr>
              <p:spPr>
                <a:xfrm>
                  <a:off x="7952948" y="5576148"/>
                  <a:ext cx="4644" cy="52189"/>
                </a:xfrm>
                <a:custGeom>
                  <a:avLst/>
                  <a:gdLst>
                    <a:gd name="connsiteX0" fmla="*/ 1803 w 4644"/>
                    <a:gd name="connsiteY0" fmla="*/ 0 h 52189"/>
                    <a:gd name="connsiteX1" fmla="*/ 433 w 4644"/>
                    <a:gd name="connsiteY1" fmla="*/ 18808 h 52189"/>
                    <a:gd name="connsiteX2" fmla="*/ 4418 w 4644"/>
                    <a:gd name="connsiteY2" fmla="*/ 35748 h 52189"/>
                    <a:gd name="connsiteX3" fmla="*/ 2799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1803" y="0"/>
                      </a:moveTo>
                      <a:cubicBezTo>
                        <a:pt x="-439" y="8096"/>
                        <a:pt x="-190" y="14449"/>
                        <a:pt x="433" y="18808"/>
                      </a:cubicBezTo>
                      <a:cubicBezTo>
                        <a:pt x="1429" y="25784"/>
                        <a:pt x="3671" y="28648"/>
                        <a:pt x="4418" y="35748"/>
                      </a:cubicBezTo>
                      <a:cubicBezTo>
                        <a:pt x="5165" y="42599"/>
                        <a:pt x="3920"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8" name="Freeform 4938">
                  <a:extLst>
                    <a:ext uri="{FF2B5EF4-FFF2-40B4-BE49-F238E27FC236}">
                      <a16:creationId xmlns:a16="http://schemas.microsoft.com/office/drawing/2014/main" id="{FB96671B-35CF-0AD5-F38F-194B95CFD21D}"/>
                    </a:ext>
                  </a:extLst>
                </p:cNvPr>
                <p:cNvSpPr/>
                <p:nvPr/>
              </p:nvSpPr>
              <p:spPr>
                <a:xfrm>
                  <a:off x="7961341" y="5570916"/>
                  <a:ext cx="3026" cy="52065"/>
                </a:xfrm>
                <a:custGeom>
                  <a:avLst/>
                  <a:gdLst>
                    <a:gd name="connsiteX0" fmla="*/ 2752 w 3026"/>
                    <a:gd name="connsiteY0" fmla="*/ 52065 h 52065"/>
                    <a:gd name="connsiteX1" fmla="*/ 136 w 3026"/>
                    <a:gd name="connsiteY1" fmla="*/ 33506 h 52065"/>
                    <a:gd name="connsiteX2" fmla="*/ 3001 w 3026"/>
                    <a:gd name="connsiteY2" fmla="*/ 16317 h 52065"/>
                    <a:gd name="connsiteX3" fmla="*/ 261 w 3026"/>
                    <a:gd name="connsiteY3" fmla="*/ 0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52065"/>
                      </a:moveTo>
                      <a:cubicBezTo>
                        <a:pt x="12" y="44094"/>
                        <a:pt x="-237" y="37741"/>
                        <a:pt x="136" y="33506"/>
                      </a:cubicBezTo>
                      <a:cubicBezTo>
                        <a:pt x="634" y="26531"/>
                        <a:pt x="2752" y="23417"/>
                        <a:pt x="3001" y="16317"/>
                      </a:cubicBezTo>
                      <a:cubicBezTo>
                        <a:pt x="3250" y="9467"/>
                        <a:pt x="1631" y="3737"/>
                        <a:pt x="2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9" name="Freeform 4939">
                  <a:extLst>
                    <a:ext uri="{FF2B5EF4-FFF2-40B4-BE49-F238E27FC236}">
                      <a16:creationId xmlns:a16="http://schemas.microsoft.com/office/drawing/2014/main" id="{B7013333-BA3B-2530-0B12-1F651BCAEF2E}"/>
                    </a:ext>
                  </a:extLst>
                </p:cNvPr>
                <p:cNvSpPr/>
                <p:nvPr/>
              </p:nvSpPr>
              <p:spPr>
                <a:xfrm>
                  <a:off x="7944903" y="5555594"/>
                  <a:ext cx="26546" cy="26540"/>
                </a:xfrm>
                <a:custGeom>
                  <a:avLst/>
                  <a:gdLst>
                    <a:gd name="connsiteX0" fmla="*/ 26539 w 26546"/>
                    <a:gd name="connsiteY0" fmla="*/ 12831 h 26540"/>
                    <a:gd name="connsiteX1" fmla="*/ 13710 w 26546"/>
                    <a:gd name="connsiteY1" fmla="*/ 26533 h 26540"/>
                    <a:gd name="connsiteX2" fmla="*/ 8 w 26546"/>
                    <a:gd name="connsiteY2" fmla="*/ 13703 h 26540"/>
                    <a:gd name="connsiteX3" fmla="*/ 12838 w 26546"/>
                    <a:gd name="connsiteY3" fmla="*/ 2 h 26540"/>
                    <a:gd name="connsiteX4" fmla="*/ 26539 w 26546"/>
                    <a:gd name="connsiteY4" fmla="*/ 1283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0">
                      <a:moveTo>
                        <a:pt x="26539" y="12831"/>
                      </a:moveTo>
                      <a:cubicBezTo>
                        <a:pt x="26788" y="20180"/>
                        <a:pt x="21058" y="26284"/>
                        <a:pt x="13710" y="26533"/>
                      </a:cubicBezTo>
                      <a:cubicBezTo>
                        <a:pt x="6360" y="26782"/>
                        <a:pt x="257" y="21052"/>
                        <a:pt x="8" y="13703"/>
                      </a:cubicBezTo>
                      <a:cubicBezTo>
                        <a:pt x="-241" y="6354"/>
                        <a:pt x="5488" y="251"/>
                        <a:pt x="12838" y="2"/>
                      </a:cubicBezTo>
                      <a:cubicBezTo>
                        <a:pt x="20186" y="-123"/>
                        <a:pt x="26290" y="5483"/>
                        <a:pt x="26539" y="1283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0" name="Freeform 4940">
                  <a:extLst>
                    <a:ext uri="{FF2B5EF4-FFF2-40B4-BE49-F238E27FC236}">
                      <a16:creationId xmlns:a16="http://schemas.microsoft.com/office/drawing/2014/main" id="{C34E76B3-7BAC-67F3-2764-AEAB59FF0D7F}"/>
                    </a:ext>
                  </a:extLst>
                </p:cNvPr>
                <p:cNvSpPr/>
                <p:nvPr/>
              </p:nvSpPr>
              <p:spPr>
                <a:xfrm>
                  <a:off x="7962870" y="5631825"/>
                  <a:ext cx="4645" cy="52189"/>
                </a:xfrm>
                <a:custGeom>
                  <a:avLst/>
                  <a:gdLst>
                    <a:gd name="connsiteX0" fmla="*/ 2843 w 4645"/>
                    <a:gd name="connsiteY0" fmla="*/ 52190 h 52189"/>
                    <a:gd name="connsiteX1" fmla="*/ 4213 w 4645"/>
                    <a:gd name="connsiteY1" fmla="*/ 33381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1"/>
                      </a:cubicBezTo>
                      <a:cubicBezTo>
                        <a:pt x="3216" y="26406"/>
                        <a:pt x="974" y="23541"/>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1" name="Freeform 4941">
                  <a:extLst>
                    <a:ext uri="{FF2B5EF4-FFF2-40B4-BE49-F238E27FC236}">
                      <a16:creationId xmlns:a16="http://schemas.microsoft.com/office/drawing/2014/main" id="{067FDA4A-519C-6A65-9F60-49456E7BD1DE}"/>
                    </a:ext>
                  </a:extLst>
                </p:cNvPr>
                <p:cNvSpPr/>
                <p:nvPr/>
              </p:nvSpPr>
              <p:spPr>
                <a:xfrm>
                  <a:off x="7956095" y="5637181"/>
                  <a:ext cx="3026" cy="52065"/>
                </a:xfrm>
                <a:custGeom>
                  <a:avLst/>
                  <a:gdLst>
                    <a:gd name="connsiteX0" fmla="*/ 275 w 3026"/>
                    <a:gd name="connsiteY0" fmla="*/ 0 h 52065"/>
                    <a:gd name="connsiteX1" fmla="*/ 2890 w 3026"/>
                    <a:gd name="connsiteY1" fmla="*/ 18559 h 52065"/>
                    <a:gd name="connsiteX2" fmla="*/ 26 w 3026"/>
                    <a:gd name="connsiteY2" fmla="*/ 35748 h 52065"/>
                    <a:gd name="connsiteX3" fmla="*/ 2766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 y="0"/>
                      </a:moveTo>
                      <a:cubicBezTo>
                        <a:pt x="3015" y="7972"/>
                        <a:pt x="3264" y="14324"/>
                        <a:pt x="2890" y="18559"/>
                      </a:cubicBezTo>
                      <a:cubicBezTo>
                        <a:pt x="2392" y="25535"/>
                        <a:pt x="275" y="28648"/>
                        <a:pt x="26" y="35748"/>
                      </a:cubicBezTo>
                      <a:cubicBezTo>
                        <a:pt x="-224" y="42599"/>
                        <a:pt x="1396" y="48328"/>
                        <a:pt x="276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82" name="Freeform 4942">
                  <a:extLst>
                    <a:ext uri="{FF2B5EF4-FFF2-40B4-BE49-F238E27FC236}">
                      <a16:creationId xmlns:a16="http://schemas.microsoft.com/office/drawing/2014/main" id="{CF30F242-E2D7-5910-BEDB-B722133620AF}"/>
                    </a:ext>
                  </a:extLst>
                </p:cNvPr>
                <p:cNvSpPr/>
                <p:nvPr/>
              </p:nvSpPr>
              <p:spPr>
                <a:xfrm>
                  <a:off x="7949138" y="5678028"/>
                  <a:ext cx="26297" cy="26546"/>
                </a:xfrm>
                <a:custGeom>
                  <a:avLst/>
                  <a:gdLst>
                    <a:gd name="connsiteX0" fmla="*/ 8 w 26297"/>
                    <a:gd name="connsiteY0" fmla="*/ 13709 h 26546"/>
                    <a:gd name="connsiteX1" fmla="*/ 12713 w 26297"/>
                    <a:gd name="connsiteY1" fmla="*/ 8 h 26546"/>
                    <a:gd name="connsiteX2" fmla="*/ 26289 w 26297"/>
                    <a:gd name="connsiteY2" fmla="*/ 12837 h 26546"/>
                    <a:gd name="connsiteX3" fmla="*/ 13585 w 26297"/>
                    <a:gd name="connsiteY3" fmla="*/ 26539 h 26546"/>
                    <a:gd name="connsiteX4" fmla="*/ 8 w 26297"/>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3709"/>
                      </a:moveTo>
                      <a:cubicBezTo>
                        <a:pt x="-242" y="6360"/>
                        <a:pt x="5488" y="257"/>
                        <a:pt x="12713" y="8"/>
                      </a:cubicBezTo>
                      <a:cubicBezTo>
                        <a:pt x="19937" y="-241"/>
                        <a:pt x="26041" y="5488"/>
                        <a:pt x="26289" y="12837"/>
                      </a:cubicBezTo>
                      <a:cubicBezTo>
                        <a:pt x="26539" y="20186"/>
                        <a:pt x="20809" y="26290"/>
                        <a:pt x="13585" y="26539"/>
                      </a:cubicBezTo>
                      <a:cubicBezTo>
                        <a:pt x="6360" y="26788"/>
                        <a:pt x="381"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8" name="Graphic 2987">
                <a:extLst>
                  <a:ext uri="{FF2B5EF4-FFF2-40B4-BE49-F238E27FC236}">
                    <a16:creationId xmlns:a16="http://schemas.microsoft.com/office/drawing/2014/main" id="{2C2DBF08-1B4C-4850-D6C8-7C606FBAAE81}"/>
                  </a:ext>
                </a:extLst>
              </p:cNvPr>
              <p:cNvGrpSpPr/>
              <p:nvPr/>
            </p:nvGrpSpPr>
            <p:grpSpPr>
              <a:xfrm>
                <a:off x="7974672" y="5554591"/>
                <a:ext cx="30283" cy="148981"/>
                <a:chOff x="7974672" y="5554591"/>
                <a:chExt cx="30283" cy="148981"/>
              </a:xfrm>
              <a:grpFill/>
            </p:grpSpPr>
            <p:sp>
              <p:nvSpPr>
                <p:cNvPr id="4571" name="Freeform 4944">
                  <a:extLst>
                    <a:ext uri="{FF2B5EF4-FFF2-40B4-BE49-F238E27FC236}">
                      <a16:creationId xmlns:a16="http://schemas.microsoft.com/office/drawing/2014/main" id="{10817F26-AAD6-0CA6-3769-E670B6780B88}"/>
                    </a:ext>
                  </a:extLst>
                </p:cNvPr>
                <p:cNvSpPr/>
                <p:nvPr/>
              </p:nvSpPr>
              <p:spPr>
                <a:xfrm>
                  <a:off x="7982717" y="5575027"/>
                  <a:ext cx="4645" cy="52189"/>
                </a:xfrm>
                <a:custGeom>
                  <a:avLst/>
                  <a:gdLst>
                    <a:gd name="connsiteX0" fmla="*/ 1803 w 4645"/>
                    <a:gd name="connsiteY0" fmla="*/ 0 h 52189"/>
                    <a:gd name="connsiteX1" fmla="*/ 433 w 4645"/>
                    <a:gd name="connsiteY1" fmla="*/ 18808 h 52189"/>
                    <a:gd name="connsiteX2" fmla="*/ 4418 w 4645"/>
                    <a:gd name="connsiteY2" fmla="*/ 35748 h 52189"/>
                    <a:gd name="connsiteX3" fmla="*/ 2799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0"/>
                      </a:moveTo>
                      <a:cubicBezTo>
                        <a:pt x="-439" y="8096"/>
                        <a:pt x="-190" y="14449"/>
                        <a:pt x="433" y="18808"/>
                      </a:cubicBezTo>
                      <a:cubicBezTo>
                        <a:pt x="1429" y="25784"/>
                        <a:pt x="3671" y="28648"/>
                        <a:pt x="4418" y="35748"/>
                      </a:cubicBezTo>
                      <a:cubicBezTo>
                        <a:pt x="5166" y="42599"/>
                        <a:pt x="3921" y="48453"/>
                        <a:pt x="279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2" name="Freeform 4945">
                  <a:extLst>
                    <a:ext uri="{FF2B5EF4-FFF2-40B4-BE49-F238E27FC236}">
                      <a16:creationId xmlns:a16="http://schemas.microsoft.com/office/drawing/2014/main" id="{97C64500-E667-F338-9303-10724E80EDDA}"/>
                    </a:ext>
                  </a:extLst>
                </p:cNvPr>
                <p:cNvSpPr/>
                <p:nvPr/>
              </p:nvSpPr>
              <p:spPr>
                <a:xfrm>
                  <a:off x="7991035" y="5569671"/>
                  <a:ext cx="2978" cy="52189"/>
                </a:xfrm>
                <a:custGeom>
                  <a:avLst/>
                  <a:gdLst>
                    <a:gd name="connsiteX0" fmla="*/ 2703 w 2978"/>
                    <a:gd name="connsiteY0" fmla="*/ 52190 h 52189"/>
                    <a:gd name="connsiteX1" fmla="*/ 87 w 2978"/>
                    <a:gd name="connsiteY1" fmla="*/ 33506 h 52189"/>
                    <a:gd name="connsiteX2" fmla="*/ 2951 w 2978"/>
                    <a:gd name="connsiteY2" fmla="*/ 16317 h 52189"/>
                    <a:gd name="connsiteX3" fmla="*/ 336 w 2978"/>
                    <a:gd name="connsiteY3" fmla="*/ 0 h 52189"/>
                  </a:gdLst>
                  <a:ahLst/>
                  <a:cxnLst>
                    <a:cxn ang="0">
                      <a:pos x="connsiteX0" y="connsiteY0"/>
                    </a:cxn>
                    <a:cxn ang="0">
                      <a:pos x="connsiteX1" y="connsiteY1"/>
                    </a:cxn>
                    <a:cxn ang="0">
                      <a:pos x="connsiteX2" y="connsiteY2"/>
                    </a:cxn>
                    <a:cxn ang="0">
                      <a:pos x="connsiteX3" y="connsiteY3"/>
                    </a:cxn>
                  </a:cxnLst>
                  <a:rect l="l" t="t" r="r" b="b"/>
                  <a:pathLst>
                    <a:path w="2978" h="52189">
                      <a:moveTo>
                        <a:pt x="2703" y="52190"/>
                      </a:moveTo>
                      <a:cubicBezTo>
                        <a:pt x="-38" y="44218"/>
                        <a:pt x="-162" y="37865"/>
                        <a:pt x="87" y="33506"/>
                      </a:cubicBezTo>
                      <a:cubicBezTo>
                        <a:pt x="585" y="26530"/>
                        <a:pt x="2703" y="23417"/>
                        <a:pt x="2951" y="16317"/>
                      </a:cubicBezTo>
                      <a:cubicBezTo>
                        <a:pt x="3201" y="9466"/>
                        <a:pt x="1706" y="3737"/>
                        <a:pt x="3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3" name="Freeform 4946">
                  <a:extLst>
                    <a:ext uri="{FF2B5EF4-FFF2-40B4-BE49-F238E27FC236}">
                      <a16:creationId xmlns:a16="http://schemas.microsoft.com/office/drawing/2014/main" id="{AE2D2119-81CF-CADE-88AD-A806BE3A725F}"/>
                    </a:ext>
                  </a:extLst>
                </p:cNvPr>
                <p:cNvSpPr/>
                <p:nvPr/>
              </p:nvSpPr>
              <p:spPr>
                <a:xfrm>
                  <a:off x="7974672" y="5554591"/>
                  <a:ext cx="26546" cy="26546"/>
                </a:xfrm>
                <a:custGeom>
                  <a:avLst/>
                  <a:gdLst>
                    <a:gd name="connsiteX0" fmla="*/ 26539 w 26546"/>
                    <a:gd name="connsiteY0" fmla="*/ 12837 h 26546"/>
                    <a:gd name="connsiteX1" fmla="*/ 13710 w 26546"/>
                    <a:gd name="connsiteY1" fmla="*/ 26539 h 26546"/>
                    <a:gd name="connsiteX2" fmla="*/ 8 w 26546"/>
                    <a:gd name="connsiteY2" fmla="*/ 13709 h 26546"/>
                    <a:gd name="connsiteX3" fmla="*/ 12838 w 26546"/>
                    <a:gd name="connsiteY3" fmla="*/ 8 h 26546"/>
                    <a:gd name="connsiteX4" fmla="*/ 26539 w 2654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2837"/>
                      </a:moveTo>
                      <a:cubicBezTo>
                        <a:pt x="26788" y="20186"/>
                        <a:pt x="20933" y="26290"/>
                        <a:pt x="13710" y="26539"/>
                      </a:cubicBezTo>
                      <a:cubicBezTo>
                        <a:pt x="6360" y="26788"/>
                        <a:pt x="257" y="21058"/>
                        <a:pt x="8" y="13709"/>
                      </a:cubicBezTo>
                      <a:cubicBezTo>
                        <a:pt x="-242" y="6360"/>
                        <a:pt x="5488" y="257"/>
                        <a:pt x="12838" y="8"/>
                      </a:cubicBezTo>
                      <a:cubicBezTo>
                        <a:pt x="20186" y="-241"/>
                        <a:pt x="26289" y="5488"/>
                        <a:pt x="26539"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4" name="Freeform 4947">
                  <a:extLst>
                    <a:ext uri="{FF2B5EF4-FFF2-40B4-BE49-F238E27FC236}">
                      <a16:creationId xmlns:a16="http://schemas.microsoft.com/office/drawing/2014/main" id="{852304EE-EB96-83A2-0259-05F2A5BC9848}"/>
                    </a:ext>
                  </a:extLst>
                </p:cNvPr>
                <p:cNvSpPr/>
                <p:nvPr/>
              </p:nvSpPr>
              <p:spPr>
                <a:xfrm>
                  <a:off x="7992265" y="5630828"/>
                  <a:ext cx="4645" cy="52189"/>
                </a:xfrm>
                <a:custGeom>
                  <a:avLst/>
                  <a:gdLst>
                    <a:gd name="connsiteX0" fmla="*/ 2843 w 4645"/>
                    <a:gd name="connsiteY0" fmla="*/ 52190 h 52189"/>
                    <a:gd name="connsiteX1" fmla="*/ 4213 w 4645"/>
                    <a:gd name="connsiteY1" fmla="*/ 33382 h 52189"/>
                    <a:gd name="connsiteX2" fmla="*/ 227 w 4645"/>
                    <a:gd name="connsiteY2" fmla="*/ 16442 h 52189"/>
                    <a:gd name="connsiteX3" fmla="*/ 1846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2843" y="52190"/>
                      </a:moveTo>
                      <a:cubicBezTo>
                        <a:pt x="5085" y="44094"/>
                        <a:pt x="4835" y="37741"/>
                        <a:pt x="4213" y="33382"/>
                      </a:cubicBezTo>
                      <a:cubicBezTo>
                        <a:pt x="3216" y="26407"/>
                        <a:pt x="974" y="23542"/>
                        <a:pt x="227" y="16442"/>
                      </a:cubicBezTo>
                      <a:cubicBezTo>
                        <a:pt x="-521" y="9591"/>
                        <a:pt x="725" y="3737"/>
                        <a:pt x="184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5" name="Freeform 4948">
                  <a:extLst>
                    <a:ext uri="{FF2B5EF4-FFF2-40B4-BE49-F238E27FC236}">
                      <a16:creationId xmlns:a16="http://schemas.microsoft.com/office/drawing/2014/main" id="{A5A19732-801C-FE58-7E8B-4002D7E624CF}"/>
                    </a:ext>
                  </a:extLst>
                </p:cNvPr>
                <p:cNvSpPr/>
                <p:nvPr/>
              </p:nvSpPr>
              <p:spPr>
                <a:xfrm>
                  <a:off x="7985738" y="5636184"/>
                  <a:ext cx="2978" cy="52189"/>
                </a:xfrm>
                <a:custGeom>
                  <a:avLst/>
                  <a:gdLst>
                    <a:gd name="connsiteX0" fmla="*/ 277 w 2978"/>
                    <a:gd name="connsiteY0" fmla="*/ 0 h 52189"/>
                    <a:gd name="connsiteX1" fmla="*/ 2892 w 2978"/>
                    <a:gd name="connsiteY1" fmla="*/ 18684 h 52189"/>
                    <a:gd name="connsiteX2" fmla="*/ 27 w 2978"/>
                    <a:gd name="connsiteY2" fmla="*/ 35873 h 52189"/>
                    <a:gd name="connsiteX3" fmla="*/ 2643 w 29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2978" h="52189">
                      <a:moveTo>
                        <a:pt x="277" y="0"/>
                      </a:moveTo>
                      <a:cubicBezTo>
                        <a:pt x="3017" y="7971"/>
                        <a:pt x="3141" y="14324"/>
                        <a:pt x="2892" y="18684"/>
                      </a:cubicBezTo>
                      <a:cubicBezTo>
                        <a:pt x="2394" y="25659"/>
                        <a:pt x="277" y="28773"/>
                        <a:pt x="27" y="35873"/>
                      </a:cubicBezTo>
                      <a:cubicBezTo>
                        <a:pt x="-222" y="42723"/>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6" name="Freeform 4949">
                  <a:extLst>
                    <a:ext uri="{FF2B5EF4-FFF2-40B4-BE49-F238E27FC236}">
                      <a16:creationId xmlns:a16="http://schemas.microsoft.com/office/drawing/2014/main" id="{23BBB97D-8B50-DB70-3F38-2FFCEAC33248}"/>
                    </a:ext>
                  </a:extLst>
                </p:cNvPr>
                <p:cNvSpPr/>
                <p:nvPr/>
              </p:nvSpPr>
              <p:spPr>
                <a:xfrm>
                  <a:off x="7978658" y="5677031"/>
                  <a:ext cx="26297" cy="26540"/>
                </a:xfrm>
                <a:custGeom>
                  <a:avLst/>
                  <a:gdLst>
                    <a:gd name="connsiteX0" fmla="*/ 8 w 26297"/>
                    <a:gd name="connsiteY0" fmla="*/ 13709 h 26540"/>
                    <a:gd name="connsiteX1" fmla="*/ 12713 w 26297"/>
                    <a:gd name="connsiteY1" fmla="*/ 8 h 26540"/>
                    <a:gd name="connsiteX2" fmla="*/ 26289 w 26297"/>
                    <a:gd name="connsiteY2" fmla="*/ 12837 h 26540"/>
                    <a:gd name="connsiteX3" fmla="*/ 13585 w 26297"/>
                    <a:gd name="connsiteY3" fmla="*/ 26539 h 26540"/>
                    <a:gd name="connsiteX4" fmla="*/ 8 w 26297"/>
                    <a:gd name="connsiteY4" fmla="*/ 13709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0">
                      <a:moveTo>
                        <a:pt x="8" y="13709"/>
                      </a:moveTo>
                      <a:cubicBezTo>
                        <a:pt x="-242" y="6360"/>
                        <a:pt x="5488" y="257"/>
                        <a:pt x="12713" y="8"/>
                      </a:cubicBezTo>
                      <a:cubicBezTo>
                        <a:pt x="19937" y="-242"/>
                        <a:pt x="26041" y="5488"/>
                        <a:pt x="26289" y="12837"/>
                      </a:cubicBezTo>
                      <a:cubicBezTo>
                        <a:pt x="26539" y="20186"/>
                        <a:pt x="20809" y="26289"/>
                        <a:pt x="13585" y="26539"/>
                      </a:cubicBezTo>
                      <a:cubicBezTo>
                        <a:pt x="6236" y="26663"/>
                        <a:pt x="257" y="20933"/>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59" name="Graphic 2987">
                <a:extLst>
                  <a:ext uri="{FF2B5EF4-FFF2-40B4-BE49-F238E27FC236}">
                    <a16:creationId xmlns:a16="http://schemas.microsoft.com/office/drawing/2014/main" id="{FE15B3DD-0058-6739-A5A2-38ED8EC217D8}"/>
                  </a:ext>
                </a:extLst>
              </p:cNvPr>
              <p:cNvGrpSpPr/>
              <p:nvPr/>
            </p:nvGrpSpPr>
            <p:grpSpPr>
              <a:xfrm>
                <a:off x="8004317" y="5553595"/>
                <a:ext cx="30158" cy="148861"/>
                <a:chOff x="8004317" y="5553595"/>
                <a:chExt cx="30158" cy="148861"/>
              </a:xfrm>
              <a:grpFill/>
            </p:grpSpPr>
            <p:sp>
              <p:nvSpPr>
                <p:cNvPr id="4565" name="Freeform 4951">
                  <a:extLst>
                    <a:ext uri="{FF2B5EF4-FFF2-40B4-BE49-F238E27FC236}">
                      <a16:creationId xmlns:a16="http://schemas.microsoft.com/office/drawing/2014/main" id="{44A9F61C-990C-736C-BFF3-1271B45C8ED3}"/>
                    </a:ext>
                  </a:extLst>
                </p:cNvPr>
                <p:cNvSpPr/>
                <p:nvPr/>
              </p:nvSpPr>
              <p:spPr>
                <a:xfrm>
                  <a:off x="8012362" y="5574030"/>
                  <a:ext cx="4520" cy="52189"/>
                </a:xfrm>
                <a:custGeom>
                  <a:avLst/>
                  <a:gdLst>
                    <a:gd name="connsiteX0" fmla="*/ 1803 w 4520"/>
                    <a:gd name="connsiteY0" fmla="*/ 0 h 52189"/>
                    <a:gd name="connsiteX1" fmla="*/ 433 w 4520"/>
                    <a:gd name="connsiteY1" fmla="*/ 18808 h 52189"/>
                    <a:gd name="connsiteX2" fmla="*/ 4294 w 4520"/>
                    <a:gd name="connsiteY2" fmla="*/ 35748 h 52189"/>
                    <a:gd name="connsiteX3" fmla="*/ 2675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1803" y="0"/>
                      </a:moveTo>
                      <a:cubicBezTo>
                        <a:pt x="-439" y="8097"/>
                        <a:pt x="-190" y="14449"/>
                        <a:pt x="433" y="18808"/>
                      </a:cubicBezTo>
                      <a:cubicBezTo>
                        <a:pt x="1429" y="25784"/>
                        <a:pt x="3671" y="28648"/>
                        <a:pt x="4294" y="35748"/>
                      </a:cubicBezTo>
                      <a:cubicBezTo>
                        <a:pt x="5041" y="42599"/>
                        <a:pt x="3796" y="48453"/>
                        <a:pt x="267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6" name="Freeform 4952">
                  <a:extLst>
                    <a:ext uri="{FF2B5EF4-FFF2-40B4-BE49-F238E27FC236}">
                      <a16:creationId xmlns:a16="http://schemas.microsoft.com/office/drawing/2014/main" id="{34684011-B239-F49D-768D-645841400889}"/>
                    </a:ext>
                  </a:extLst>
                </p:cNvPr>
                <p:cNvSpPr/>
                <p:nvPr/>
              </p:nvSpPr>
              <p:spPr>
                <a:xfrm>
                  <a:off x="8020613" y="5568674"/>
                  <a:ext cx="3170" cy="52189"/>
                </a:xfrm>
                <a:custGeom>
                  <a:avLst/>
                  <a:gdLst>
                    <a:gd name="connsiteX0" fmla="*/ 2645 w 3170"/>
                    <a:gd name="connsiteY0" fmla="*/ 52190 h 52189"/>
                    <a:gd name="connsiteX1" fmla="*/ 154 w 3170"/>
                    <a:gd name="connsiteY1" fmla="*/ 33506 h 52189"/>
                    <a:gd name="connsiteX2" fmla="*/ 3143 w 3170"/>
                    <a:gd name="connsiteY2" fmla="*/ 16317 h 52189"/>
                    <a:gd name="connsiteX3" fmla="*/ 527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52190"/>
                      </a:moveTo>
                      <a:cubicBezTo>
                        <a:pt x="-95" y="44218"/>
                        <a:pt x="-220" y="37866"/>
                        <a:pt x="154" y="33506"/>
                      </a:cubicBezTo>
                      <a:cubicBezTo>
                        <a:pt x="777" y="26531"/>
                        <a:pt x="2770" y="23417"/>
                        <a:pt x="3143" y="16317"/>
                      </a:cubicBezTo>
                      <a:cubicBezTo>
                        <a:pt x="3393"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7" name="Freeform 4953">
                  <a:extLst>
                    <a:ext uri="{FF2B5EF4-FFF2-40B4-BE49-F238E27FC236}">
                      <a16:creationId xmlns:a16="http://schemas.microsoft.com/office/drawing/2014/main" id="{6C55FABD-E569-029D-D7DE-D7071A0D5964}"/>
                    </a:ext>
                  </a:extLst>
                </p:cNvPr>
                <p:cNvSpPr/>
                <p:nvPr/>
              </p:nvSpPr>
              <p:spPr>
                <a:xfrm>
                  <a:off x="8004317" y="5553595"/>
                  <a:ext cx="26670" cy="26546"/>
                </a:xfrm>
                <a:custGeom>
                  <a:avLst/>
                  <a:gdLst>
                    <a:gd name="connsiteX0" fmla="*/ 26663 w 26670"/>
                    <a:gd name="connsiteY0" fmla="*/ 12837 h 26546"/>
                    <a:gd name="connsiteX1" fmla="*/ 13709 w 26670"/>
                    <a:gd name="connsiteY1" fmla="*/ 26539 h 26546"/>
                    <a:gd name="connsiteX2" fmla="*/ 8 w 26670"/>
                    <a:gd name="connsiteY2" fmla="*/ 13709 h 26546"/>
                    <a:gd name="connsiteX3" fmla="*/ 12961 w 26670"/>
                    <a:gd name="connsiteY3" fmla="*/ 8 h 26546"/>
                    <a:gd name="connsiteX4" fmla="*/ 26663 w 26670"/>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2837"/>
                      </a:moveTo>
                      <a:cubicBezTo>
                        <a:pt x="26913" y="20186"/>
                        <a:pt x="21058" y="26289"/>
                        <a:pt x="13709" y="26539"/>
                      </a:cubicBezTo>
                      <a:cubicBezTo>
                        <a:pt x="6360" y="26788"/>
                        <a:pt x="257" y="21058"/>
                        <a:pt x="8" y="13709"/>
                      </a:cubicBezTo>
                      <a:cubicBezTo>
                        <a:pt x="-242" y="6360"/>
                        <a:pt x="5613" y="257"/>
                        <a:pt x="12961" y="8"/>
                      </a:cubicBezTo>
                      <a:cubicBezTo>
                        <a:pt x="20311" y="-241"/>
                        <a:pt x="26414" y="5488"/>
                        <a:pt x="26663"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8" name="Freeform 4954">
                  <a:extLst>
                    <a:ext uri="{FF2B5EF4-FFF2-40B4-BE49-F238E27FC236}">
                      <a16:creationId xmlns:a16="http://schemas.microsoft.com/office/drawing/2014/main" id="{5989BB4E-924F-FE0F-3DD3-40A9B5E9DBF2}"/>
                    </a:ext>
                  </a:extLst>
                </p:cNvPr>
                <p:cNvSpPr/>
                <p:nvPr/>
              </p:nvSpPr>
              <p:spPr>
                <a:xfrm>
                  <a:off x="8021911" y="5629832"/>
                  <a:ext cx="4519" cy="52189"/>
                </a:xfrm>
                <a:custGeom>
                  <a:avLst/>
                  <a:gdLst>
                    <a:gd name="connsiteX0" fmla="*/ 2717 w 4519"/>
                    <a:gd name="connsiteY0" fmla="*/ 52190 h 52189"/>
                    <a:gd name="connsiteX1" fmla="*/ 4087 w 4519"/>
                    <a:gd name="connsiteY1" fmla="*/ 33381 h 52189"/>
                    <a:gd name="connsiteX2" fmla="*/ 226 w 4519"/>
                    <a:gd name="connsiteY2" fmla="*/ 16442 h 52189"/>
                    <a:gd name="connsiteX3" fmla="*/ 1970 w 4519"/>
                    <a:gd name="connsiteY3" fmla="*/ 0 h 52189"/>
                  </a:gdLst>
                  <a:ahLst/>
                  <a:cxnLst>
                    <a:cxn ang="0">
                      <a:pos x="connsiteX0" y="connsiteY0"/>
                    </a:cxn>
                    <a:cxn ang="0">
                      <a:pos x="connsiteX1" y="connsiteY1"/>
                    </a:cxn>
                    <a:cxn ang="0">
                      <a:pos x="connsiteX2" y="connsiteY2"/>
                    </a:cxn>
                    <a:cxn ang="0">
                      <a:pos x="connsiteX3" y="connsiteY3"/>
                    </a:cxn>
                  </a:cxnLst>
                  <a:rect l="l" t="t" r="r" b="b"/>
                  <a:pathLst>
                    <a:path w="4519" h="52189">
                      <a:moveTo>
                        <a:pt x="2717" y="52190"/>
                      </a:moveTo>
                      <a:cubicBezTo>
                        <a:pt x="4959" y="44094"/>
                        <a:pt x="4709" y="37741"/>
                        <a:pt x="4087" y="33381"/>
                      </a:cubicBezTo>
                      <a:cubicBezTo>
                        <a:pt x="3091" y="26406"/>
                        <a:pt x="848" y="23542"/>
                        <a:pt x="226" y="16442"/>
                      </a:cubicBezTo>
                      <a:cubicBezTo>
                        <a:pt x="-522" y="9591"/>
                        <a:pt x="724"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9" name="Freeform 4955">
                  <a:extLst>
                    <a:ext uri="{FF2B5EF4-FFF2-40B4-BE49-F238E27FC236}">
                      <a16:creationId xmlns:a16="http://schemas.microsoft.com/office/drawing/2014/main" id="{E89E69B7-453C-EAD2-4F06-EA895C31EA2F}"/>
                    </a:ext>
                  </a:extLst>
                </p:cNvPr>
                <p:cNvSpPr/>
                <p:nvPr/>
              </p:nvSpPr>
              <p:spPr>
                <a:xfrm>
                  <a:off x="8015134" y="5635188"/>
                  <a:ext cx="3046" cy="52189"/>
                </a:xfrm>
                <a:custGeom>
                  <a:avLst/>
                  <a:gdLst>
                    <a:gd name="connsiteX0" fmla="*/ 401 w 3046"/>
                    <a:gd name="connsiteY0" fmla="*/ 0 h 52189"/>
                    <a:gd name="connsiteX1" fmla="*/ 2892 w 3046"/>
                    <a:gd name="connsiteY1" fmla="*/ 18684 h 52189"/>
                    <a:gd name="connsiteX2" fmla="*/ 27 w 3046"/>
                    <a:gd name="connsiteY2" fmla="*/ 35873 h 52189"/>
                    <a:gd name="connsiteX3" fmla="*/ 264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0"/>
                      </a:moveTo>
                      <a:cubicBezTo>
                        <a:pt x="3141" y="7972"/>
                        <a:pt x="3266" y="14324"/>
                        <a:pt x="2892" y="18684"/>
                      </a:cubicBezTo>
                      <a:cubicBezTo>
                        <a:pt x="2269" y="25659"/>
                        <a:pt x="277" y="28773"/>
                        <a:pt x="27" y="35873"/>
                      </a:cubicBezTo>
                      <a:cubicBezTo>
                        <a:pt x="-222" y="42724"/>
                        <a:pt x="1273" y="48453"/>
                        <a:pt x="264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70" name="Freeform 4956">
                  <a:extLst>
                    <a:ext uri="{FF2B5EF4-FFF2-40B4-BE49-F238E27FC236}">
                      <a16:creationId xmlns:a16="http://schemas.microsoft.com/office/drawing/2014/main" id="{51F9979F-9C1D-9D1A-2734-2016BE487382}"/>
                    </a:ext>
                  </a:extLst>
                </p:cNvPr>
                <p:cNvSpPr/>
                <p:nvPr/>
              </p:nvSpPr>
              <p:spPr>
                <a:xfrm>
                  <a:off x="8008054" y="5675911"/>
                  <a:ext cx="26421" cy="26546"/>
                </a:xfrm>
                <a:custGeom>
                  <a:avLst/>
                  <a:gdLst>
                    <a:gd name="connsiteX0" fmla="*/ 8 w 26421"/>
                    <a:gd name="connsiteY0" fmla="*/ 13709 h 26546"/>
                    <a:gd name="connsiteX1" fmla="*/ 12838 w 26421"/>
                    <a:gd name="connsiteY1" fmla="*/ 8 h 26546"/>
                    <a:gd name="connsiteX2" fmla="*/ 26414 w 26421"/>
                    <a:gd name="connsiteY2" fmla="*/ 12837 h 26546"/>
                    <a:gd name="connsiteX3" fmla="*/ 13585 w 26421"/>
                    <a:gd name="connsiteY3" fmla="*/ 26538 h 26546"/>
                    <a:gd name="connsiteX4" fmla="*/ 8 w 2642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0" h="26545">
                      <a:moveTo>
                        <a:pt x="8" y="13709"/>
                      </a:moveTo>
                      <a:cubicBezTo>
                        <a:pt x="-241" y="6360"/>
                        <a:pt x="5488" y="257"/>
                        <a:pt x="12838" y="8"/>
                      </a:cubicBezTo>
                      <a:cubicBezTo>
                        <a:pt x="20062" y="-242"/>
                        <a:pt x="26165" y="5488"/>
                        <a:pt x="26414" y="12837"/>
                      </a:cubicBezTo>
                      <a:cubicBezTo>
                        <a:pt x="26663" y="20186"/>
                        <a:pt x="20933" y="26289"/>
                        <a:pt x="13585" y="26538"/>
                      </a:cubicBezTo>
                      <a:cubicBezTo>
                        <a:pt x="6236" y="26788"/>
                        <a:pt x="257" y="21058"/>
                        <a:pt x="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0" name="Graphic 2987">
                <a:extLst>
                  <a:ext uri="{FF2B5EF4-FFF2-40B4-BE49-F238E27FC236}">
                    <a16:creationId xmlns:a16="http://schemas.microsoft.com/office/drawing/2014/main" id="{A4185512-9E26-48AD-8C52-00F7CCD754BD}"/>
                  </a:ext>
                </a:extLst>
              </p:cNvPr>
              <p:cNvGrpSpPr/>
              <p:nvPr/>
            </p:nvGrpSpPr>
            <p:grpSpPr>
              <a:xfrm>
                <a:off x="8033962" y="5552848"/>
                <a:ext cx="29903" cy="148855"/>
                <a:chOff x="8033962" y="5552848"/>
                <a:chExt cx="29903" cy="148855"/>
              </a:xfrm>
              <a:grpFill/>
            </p:grpSpPr>
            <p:sp>
              <p:nvSpPr>
                <p:cNvPr id="4559" name="Freeform 4958">
                  <a:extLst>
                    <a:ext uri="{FF2B5EF4-FFF2-40B4-BE49-F238E27FC236}">
                      <a16:creationId xmlns:a16="http://schemas.microsoft.com/office/drawing/2014/main" id="{B724C43B-F5EA-91B5-D20B-41DA036C9974}"/>
                    </a:ext>
                  </a:extLst>
                </p:cNvPr>
                <p:cNvSpPr/>
                <p:nvPr/>
              </p:nvSpPr>
              <p:spPr>
                <a:xfrm>
                  <a:off x="8042048" y="5573158"/>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631"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0" name="Freeform 4959">
                  <a:extLst>
                    <a:ext uri="{FF2B5EF4-FFF2-40B4-BE49-F238E27FC236}">
                      <a16:creationId xmlns:a16="http://schemas.microsoft.com/office/drawing/2014/main" id="{0AC972AD-DE26-CC66-8044-AD260CABB16C}"/>
                    </a:ext>
                  </a:extLst>
                </p:cNvPr>
                <p:cNvSpPr/>
                <p:nvPr/>
              </p:nvSpPr>
              <p:spPr>
                <a:xfrm>
                  <a:off x="8050257" y="5567927"/>
                  <a:ext cx="3197" cy="52189"/>
                </a:xfrm>
                <a:custGeom>
                  <a:avLst/>
                  <a:gdLst>
                    <a:gd name="connsiteX0" fmla="*/ 2645 w 3197"/>
                    <a:gd name="connsiteY0" fmla="*/ 52190 h 52189"/>
                    <a:gd name="connsiteX1" fmla="*/ 154 w 3197"/>
                    <a:gd name="connsiteY1" fmla="*/ 33506 h 52189"/>
                    <a:gd name="connsiteX2" fmla="*/ 3143 w 3197"/>
                    <a:gd name="connsiteY2" fmla="*/ 16317 h 52189"/>
                    <a:gd name="connsiteX3" fmla="*/ 527 w 3197"/>
                    <a:gd name="connsiteY3" fmla="*/ 0 h 52189"/>
                  </a:gdLst>
                  <a:ahLst/>
                  <a:cxnLst>
                    <a:cxn ang="0">
                      <a:pos x="connsiteX0" y="connsiteY0"/>
                    </a:cxn>
                    <a:cxn ang="0">
                      <a:pos x="connsiteX1" y="connsiteY1"/>
                    </a:cxn>
                    <a:cxn ang="0">
                      <a:pos x="connsiteX2" y="connsiteY2"/>
                    </a:cxn>
                    <a:cxn ang="0">
                      <a:pos x="connsiteX3" y="connsiteY3"/>
                    </a:cxn>
                  </a:cxnLst>
                  <a:rect l="l" t="t" r="r" b="b"/>
                  <a:pathLst>
                    <a:path w="3197" h="52189">
                      <a:moveTo>
                        <a:pt x="2645" y="52190"/>
                      </a:moveTo>
                      <a:cubicBezTo>
                        <a:pt x="-95" y="44218"/>
                        <a:pt x="-220" y="37866"/>
                        <a:pt x="154" y="33506"/>
                      </a:cubicBezTo>
                      <a:cubicBezTo>
                        <a:pt x="777" y="26531"/>
                        <a:pt x="2770" y="23417"/>
                        <a:pt x="3143" y="16317"/>
                      </a:cubicBezTo>
                      <a:cubicBezTo>
                        <a:pt x="3517" y="9467"/>
                        <a:pt x="1898" y="3737"/>
                        <a:pt x="5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1" name="Freeform 4960">
                  <a:extLst>
                    <a:ext uri="{FF2B5EF4-FFF2-40B4-BE49-F238E27FC236}">
                      <a16:creationId xmlns:a16="http://schemas.microsoft.com/office/drawing/2014/main" id="{760D1673-CB37-3E35-D65C-65916489D496}"/>
                    </a:ext>
                  </a:extLst>
                </p:cNvPr>
                <p:cNvSpPr/>
                <p:nvPr/>
              </p:nvSpPr>
              <p:spPr>
                <a:xfrm>
                  <a:off x="8033962" y="5552848"/>
                  <a:ext cx="26665" cy="26546"/>
                </a:xfrm>
                <a:custGeom>
                  <a:avLst/>
                  <a:gdLst>
                    <a:gd name="connsiteX0" fmla="*/ 26663 w 26665"/>
                    <a:gd name="connsiteY0" fmla="*/ 12962 h 26546"/>
                    <a:gd name="connsiteX1" fmla="*/ 13709 w 26665"/>
                    <a:gd name="connsiteY1" fmla="*/ 26539 h 26546"/>
                    <a:gd name="connsiteX2" fmla="*/ 8 w 26665"/>
                    <a:gd name="connsiteY2" fmla="*/ 13584 h 26546"/>
                    <a:gd name="connsiteX3" fmla="*/ 12961 w 26665"/>
                    <a:gd name="connsiteY3" fmla="*/ 8 h 26546"/>
                    <a:gd name="connsiteX4" fmla="*/ 26663 w 26665"/>
                    <a:gd name="connsiteY4" fmla="*/ 1296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63" y="12962"/>
                      </a:moveTo>
                      <a:cubicBezTo>
                        <a:pt x="26788" y="20311"/>
                        <a:pt x="21058" y="26289"/>
                        <a:pt x="13709" y="26539"/>
                      </a:cubicBezTo>
                      <a:cubicBezTo>
                        <a:pt x="6360" y="26788"/>
                        <a:pt x="257" y="20933"/>
                        <a:pt x="8" y="13584"/>
                      </a:cubicBezTo>
                      <a:cubicBezTo>
                        <a:pt x="-242" y="6236"/>
                        <a:pt x="5613" y="257"/>
                        <a:pt x="12961" y="8"/>
                      </a:cubicBezTo>
                      <a:cubicBezTo>
                        <a:pt x="20435" y="-242"/>
                        <a:pt x="26539" y="5613"/>
                        <a:pt x="2666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2" name="Freeform 4961">
                  <a:extLst>
                    <a:ext uri="{FF2B5EF4-FFF2-40B4-BE49-F238E27FC236}">
                      <a16:creationId xmlns:a16="http://schemas.microsoft.com/office/drawing/2014/main" id="{78412652-4F85-B9D4-B324-5AE27B39EF64}"/>
                    </a:ext>
                  </a:extLst>
                </p:cNvPr>
                <p:cNvSpPr/>
                <p:nvPr/>
              </p:nvSpPr>
              <p:spPr>
                <a:xfrm>
                  <a:off x="8051490" y="5629085"/>
                  <a:ext cx="4419" cy="52189"/>
                </a:xfrm>
                <a:custGeom>
                  <a:avLst/>
                  <a:gdLst>
                    <a:gd name="connsiteX0" fmla="*/ 2533 w 4419"/>
                    <a:gd name="connsiteY0" fmla="*/ 52190 h 52189"/>
                    <a:gd name="connsiteX1" fmla="*/ 4028 w 4419"/>
                    <a:gd name="connsiteY1" fmla="*/ 33506 h 52189"/>
                    <a:gd name="connsiteX2" fmla="*/ 166 w 4419"/>
                    <a:gd name="connsiteY2" fmla="*/ 16442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90"/>
                      </a:moveTo>
                      <a:cubicBezTo>
                        <a:pt x="4775" y="44094"/>
                        <a:pt x="4651" y="37741"/>
                        <a:pt x="4028" y="33506"/>
                      </a:cubicBezTo>
                      <a:cubicBezTo>
                        <a:pt x="3032" y="26531"/>
                        <a:pt x="914" y="23541"/>
                        <a:pt x="166" y="16442"/>
                      </a:cubicBezTo>
                      <a:cubicBezTo>
                        <a:pt x="-456" y="9591"/>
                        <a:pt x="789"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3" name="Freeform 4962">
                  <a:extLst>
                    <a:ext uri="{FF2B5EF4-FFF2-40B4-BE49-F238E27FC236}">
                      <a16:creationId xmlns:a16="http://schemas.microsoft.com/office/drawing/2014/main" id="{E6C88C00-508D-1305-0024-8C8CC294D479}"/>
                    </a:ext>
                  </a:extLst>
                </p:cNvPr>
                <p:cNvSpPr/>
                <p:nvPr/>
              </p:nvSpPr>
              <p:spPr>
                <a:xfrm>
                  <a:off x="8044529" y="5634316"/>
                  <a:ext cx="3170" cy="52189"/>
                </a:xfrm>
                <a:custGeom>
                  <a:avLst/>
                  <a:gdLst>
                    <a:gd name="connsiteX0" fmla="*/ 526 w 3170"/>
                    <a:gd name="connsiteY0" fmla="*/ 0 h 52189"/>
                    <a:gd name="connsiteX1" fmla="*/ 3017 w 3170"/>
                    <a:gd name="connsiteY1" fmla="*/ 18684 h 52189"/>
                    <a:gd name="connsiteX2" fmla="*/ 27 w 3170"/>
                    <a:gd name="connsiteY2" fmla="*/ 35872 h 52189"/>
                    <a:gd name="connsiteX3" fmla="*/ 2643 w 3170"/>
                    <a:gd name="connsiteY3" fmla="*/ 52189 h 52189"/>
                  </a:gdLst>
                  <a:ahLst/>
                  <a:cxnLst>
                    <a:cxn ang="0">
                      <a:pos x="connsiteX0" y="connsiteY0"/>
                    </a:cxn>
                    <a:cxn ang="0">
                      <a:pos x="connsiteX1" y="connsiteY1"/>
                    </a:cxn>
                    <a:cxn ang="0">
                      <a:pos x="connsiteX2" y="connsiteY2"/>
                    </a:cxn>
                    <a:cxn ang="0">
                      <a:pos x="connsiteX3" y="connsiteY3"/>
                    </a:cxn>
                  </a:cxnLst>
                  <a:rect l="l" t="t" r="r" b="b"/>
                  <a:pathLst>
                    <a:path w="3170" h="52189">
                      <a:moveTo>
                        <a:pt x="526" y="0"/>
                      </a:moveTo>
                      <a:cubicBezTo>
                        <a:pt x="3266" y="7971"/>
                        <a:pt x="3391" y="14324"/>
                        <a:pt x="3017" y="18684"/>
                      </a:cubicBezTo>
                      <a:cubicBezTo>
                        <a:pt x="2394" y="25659"/>
                        <a:pt x="401" y="28773"/>
                        <a:pt x="27" y="35872"/>
                      </a:cubicBezTo>
                      <a:cubicBezTo>
                        <a:pt x="-221" y="42723"/>
                        <a:pt x="1273" y="48453"/>
                        <a:pt x="2643"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64" name="Freeform 4963">
                  <a:extLst>
                    <a:ext uri="{FF2B5EF4-FFF2-40B4-BE49-F238E27FC236}">
                      <a16:creationId xmlns:a16="http://schemas.microsoft.com/office/drawing/2014/main" id="{F89EAC0A-85C8-C36E-73D6-97FED2EA11C8}"/>
                    </a:ext>
                  </a:extLst>
                </p:cNvPr>
                <p:cNvSpPr/>
                <p:nvPr/>
              </p:nvSpPr>
              <p:spPr>
                <a:xfrm>
                  <a:off x="8037450" y="5675169"/>
                  <a:ext cx="26415" cy="26534"/>
                </a:xfrm>
                <a:custGeom>
                  <a:avLst/>
                  <a:gdLst>
                    <a:gd name="connsiteX0" fmla="*/ 8 w 26415"/>
                    <a:gd name="connsiteY0" fmla="*/ 13579 h 26534"/>
                    <a:gd name="connsiteX1" fmla="*/ 12837 w 26415"/>
                    <a:gd name="connsiteY1" fmla="*/ 2 h 26534"/>
                    <a:gd name="connsiteX2" fmla="*/ 26414 w 26415"/>
                    <a:gd name="connsiteY2" fmla="*/ 12956 h 26534"/>
                    <a:gd name="connsiteX3" fmla="*/ 13584 w 26415"/>
                    <a:gd name="connsiteY3" fmla="*/ 26532 h 26534"/>
                    <a:gd name="connsiteX4" fmla="*/ 8 w 2641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5" h="26534">
                      <a:moveTo>
                        <a:pt x="8" y="13579"/>
                      </a:moveTo>
                      <a:cubicBezTo>
                        <a:pt x="-242" y="6230"/>
                        <a:pt x="5488" y="251"/>
                        <a:pt x="12837" y="2"/>
                      </a:cubicBezTo>
                      <a:cubicBezTo>
                        <a:pt x="20061" y="-123"/>
                        <a:pt x="26165" y="5607"/>
                        <a:pt x="26414" y="12956"/>
                      </a:cubicBezTo>
                      <a:cubicBezTo>
                        <a:pt x="26538" y="20305"/>
                        <a:pt x="20809" y="26283"/>
                        <a:pt x="13584" y="26532"/>
                      </a:cubicBezTo>
                      <a:cubicBezTo>
                        <a:pt x="6236" y="26657"/>
                        <a:pt x="256" y="20803"/>
                        <a:pt x="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1" name="Graphic 2987">
                <a:extLst>
                  <a:ext uri="{FF2B5EF4-FFF2-40B4-BE49-F238E27FC236}">
                    <a16:creationId xmlns:a16="http://schemas.microsoft.com/office/drawing/2014/main" id="{AD64E0B2-AF09-84AA-3B83-33030AB6270A}"/>
                  </a:ext>
                </a:extLst>
              </p:cNvPr>
              <p:cNvGrpSpPr/>
              <p:nvPr/>
            </p:nvGrpSpPr>
            <p:grpSpPr>
              <a:xfrm>
                <a:off x="8063862" y="5552225"/>
                <a:ext cx="29274" cy="148856"/>
                <a:chOff x="8063862" y="5552225"/>
                <a:chExt cx="29274" cy="148856"/>
              </a:xfrm>
              <a:grpFill/>
            </p:grpSpPr>
            <p:sp>
              <p:nvSpPr>
                <p:cNvPr id="4553" name="Freeform 4965">
                  <a:extLst>
                    <a:ext uri="{FF2B5EF4-FFF2-40B4-BE49-F238E27FC236}">
                      <a16:creationId xmlns:a16="http://schemas.microsoft.com/office/drawing/2014/main" id="{73154339-AA6C-6995-0CB0-36A263BDB504}"/>
                    </a:ext>
                  </a:extLst>
                </p:cNvPr>
                <p:cNvSpPr/>
                <p:nvPr/>
              </p:nvSpPr>
              <p:spPr>
                <a:xfrm>
                  <a:off x="8071817" y="5572535"/>
                  <a:ext cx="4419" cy="52189"/>
                </a:xfrm>
                <a:custGeom>
                  <a:avLst/>
                  <a:gdLst>
                    <a:gd name="connsiteX0" fmla="*/ 1887 w 4419"/>
                    <a:gd name="connsiteY0" fmla="*/ 0 h 52189"/>
                    <a:gd name="connsiteX1" fmla="*/ 392 w 4419"/>
                    <a:gd name="connsiteY1" fmla="*/ 18684 h 52189"/>
                    <a:gd name="connsiteX2" fmla="*/ 4253 w 4419"/>
                    <a:gd name="connsiteY2" fmla="*/ 35748 h 52189"/>
                    <a:gd name="connsiteX3" fmla="*/ 2509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0"/>
                      </a:moveTo>
                      <a:cubicBezTo>
                        <a:pt x="-355" y="8096"/>
                        <a:pt x="-231" y="14449"/>
                        <a:pt x="392" y="18684"/>
                      </a:cubicBezTo>
                      <a:cubicBezTo>
                        <a:pt x="1389" y="25659"/>
                        <a:pt x="3506" y="28648"/>
                        <a:pt x="4253" y="35748"/>
                      </a:cubicBezTo>
                      <a:cubicBezTo>
                        <a:pt x="4876" y="42599"/>
                        <a:pt x="3631" y="48328"/>
                        <a:pt x="250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4" name="Freeform 4966">
                  <a:extLst>
                    <a:ext uri="{FF2B5EF4-FFF2-40B4-BE49-F238E27FC236}">
                      <a16:creationId xmlns:a16="http://schemas.microsoft.com/office/drawing/2014/main" id="{A1C54B68-8248-13BC-AAF9-FA7E8CA5B59F}"/>
                    </a:ext>
                  </a:extLst>
                </p:cNvPr>
                <p:cNvSpPr/>
                <p:nvPr/>
              </p:nvSpPr>
              <p:spPr>
                <a:xfrm>
                  <a:off x="8080025" y="5567304"/>
                  <a:ext cx="3199" cy="52189"/>
                </a:xfrm>
                <a:custGeom>
                  <a:avLst/>
                  <a:gdLst>
                    <a:gd name="connsiteX0" fmla="*/ 2523 w 3199"/>
                    <a:gd name="connsiteY0" fmla="*/ 52190 h 52189"/>
                    <a:gd name="connsiteX1" fmla="*/ 156 w 3199"/>
                    <a:gd name="connsiteY1" fmla="*/ 33506 h 52189"/>
                    <a:gd name="connsiteX2" fmla="*/ 3145 w 3199"/>
                    <a:gd name="connsiteY2" fmla="*/ 16317 h 52189"/>
                    <a:gd name="connsiteX3" fmla="*/ 654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2523" y="52190"/>
                      </a:moveTo>
                      <a:cubicBezTo>
                        <a:pt x="-93" y="44218"/>
                        <a:pt x="-218" y="37865"/>
                        <a:pt x="156" y="33506"/>
                      </a:cubicBezTo>
                      <a:cubicBezTo>
                        <a:pt x="779" y="26531"/>
                        <a:pt x="2896" y="23417"/>
                        <a:pt x="3145" y="16317"/>
                      </a:cubicBezTo>
                      <a:cubicBezTo>
                        <a:pt x="3518" y="9466"/>
                        <a:pt x="1899" y="3737"/>
                        <a:pt x="6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5" name="Freeform 4967">
                  <a:extLst>
                    <a:ext uri="{FF2B5EF4-FFF2-40B4-BE49-F238E27FC236}">
                      <a16:creationId xmlns:a16="http://schemas.microsoft.com/office/drawing/2014/main" id="{746E5FFE-C3C6-2454-1007-228B3CEB4796}"/>
                    </a:ext>
                  </a:extLst>
                </p:cNvPr>
                <p:cNvSpPr/>
                <p:nvPr/>
              </p:nvSpPr>
              <p:spPr>
                <a:xfrm>
                  <a:off x="8063862" y="5552225"/>
                  <a:ext cx="26534" cy="26540"/>
                </a:xfrm>
                <a:custGeom>
                  <a:avLst/>
                  <a:gdLst>
                    <a:gd name="connsiteX0" fmla="*/ 26533 w 26534"/>
                    <a:gd name="connsiteY0" fmla="*/ 12962 h 26540"/>
                    <a:gd name="connsiteX1" fmla="*/ 13578 w 26534"/>
                    <a:gd name="connsiteY1" fmla="*/ 26539 h 26540"/>
                    <a:gd name="connsiteX2" fmla="*/ 2 w 26534"/>
                    <a:gd name="connsiteY2" fmla="*/ 13585 h 26540"/>
                    <a:gd name="connsiteX3" fmla="*/ 12956 w 26534"/>
                    <a:gd name="connsiteY3" fmla="*/ 8 h 26540"/>
                    <a:gd name="connsiteX4" fmla="*/ 26533 w 26534"/>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40">
                      <a:moveTo>
                        <a:pt x="26533" y="12962"/>
                      </a:moveTo>
                      <a:cubicBezTo>
                        <a:pt x="26657" y="20311"/>
                        <a:pt x="20928" y="26290"/>
                        <a:pt x="13578" y="26539"/>
                      </a:cubicBezTo>
                      <a:cubicBezTo>
                        <a:pt x="6230" y="26663"/>
                        <a:pt x="126" y="20934"/>
                        <a:pt x="2" y="13585"/>
                      </a:cubicBezTo>
                      <a:cubicBezTo>
                        <a:pt x="-123" y="6236"/>
                        <a:pt x="5606" y="257"/>
                        <a:pt x="12956" y="8"/>
                      </a:cubicBezTo>
                      <a:cubicBezTo>
                        <a:pt x="20305" y="-241"/>
                        <a:pt x="26408" y="5613"/>
                        <a:pt x="26533"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6" name="Freeform 4968">
                  <a:extLst>
                    <a:ext uri="{FF2B5EF4-FFF2-40B4-BE49-F238E27FC236}">
                      <a16:creationId xmlns:a16="http://schemas.microsoft.com/office/drawing/2014/main" id="{87A1E80D-EE9A-F654-B0B6-34B7B26D836F}"/>
                    </a:ext>
                  </a:extLst>
                </p:cNvPr>
                <p:cNvSpPr/>
                <p:nvPr/>
              </p:nvSpPr>
              <p:spPr>
                <a:xfrm>
                  <a:off x="8081010" y="5628462"/>
                  <a:ext cx="4419" cy="52189"/>
                </a:xfrm>
                <a:custGeom>
                  <a:avLst/>
                  <a:gdLst>
                    <a:gd name="connsiteX0" fmla="*/ 2533 w 4419"/>
                    <a:gd name="connsiteY0" fmla="*/ 52189 h 52189"/>
                    <a:gd name="connsiteX1" fmla="*/ 4028 w 4419"/>
                    <a:gd name="connsiteY1" fmla="*/ 33506 h 52189"/>
                    <a:gd name="connsiteX2" fmla="*/ 166 w 4419"/>
                    <a:gd name="connsiteY2" fmla="*/ 16441 h 52189"/>
                    <a:gd name="connsiteX3" fmla="*/ 1910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52189"/>
                      </a:moveTo>
                      <a:cubicBezTo>
                        <a:pt x="4775" y="44093"/>
                        <a:pt x="4651" y="37741"/>
                        <a:pt x="4028" y="33506"/>
                      </a:cubicBezTo>
                      <a:cubicBezTo>
                        <a:pt x="3032" y="26530"/>
                        <a:pt x="914" y="23541"/>
                        <a:pt x="166" y="16441"/>
                      </a:cubicBezTo>
                      <a:cubicBezTo>
                        <a:pt x="-456" y="9591"/>
                        <a:pt x="790" y="3861"/>
                        <a:pt x="19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7" name="Freeform 4969">
                  <a:extLst>
                    <a:ext uri="{FF2B5EF4-FFF2-40B4-BE49-F238E27FC236}">
                      <a16:creationId xmlns:a16="http://schemas.microsoft.com/office/drawing/2014/main" id="{CD0C25AC-4340-9BB7-1AD1-CF55A5432138}"/>
                    </a:ext>
                  </a:extLst>
                </p:cNvPr>
                <p:cNvSpPr/>
                <p:nvPr/>
              </p:nvSpPr>
              <p:spPr>
                <a:xfrm>
                  <a:off x="8074022" y="5633693"/>
                  <a:ext cx="3200" cy="52189"/>
                </a:xfrm>
                <a:custGeom>
                  <a:avLst/>
                  <a:gdLst>
                    <a:gd name="connsiteX0" fmla="*/ 678 w 3200"/>
                    <a:gd name="connsiteY0" fmla="*/ 0 h 52189"/>
                    <a:gd name="connsiteX1" fmla="*/ 3045 w 3200"/>
                    <a:gd name="connsiteY1" fmla="*/ 18684 h 52189"/>
                    <a:gd name="connsiteX2" fmla="*/ 55 w 3200"/>
                    <a:gd name="connsiteY2" fmla="*/ 35873 h 52189"/>
                    <a:gd name="connsiteX3" fmla="*/ 2546 w 320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0" h="52189">
                      <a:moveTo>
                        <a:pt x="678" y="0"/>
                      </a:moveTo>
                      <a:cubicBezTo>
                        <a:pt x="3293" y="7972"/>
                        <a:pt x="3418" y="14324"/>
                        <a:pt x="3045" y="18684"/>
                      </a:cubicBezTo>
                      <a:cubicBezTo>
                        <a:pt x="2421" y="25659"/>
                        <a:pt x="429" y="28773"/>
                        <a:pt x="55" y="35873"/>
                      </a:cubicBezTo>
                      <a:cubicBezTo>
                        <a:pt x="-319" y="42723"/>
                        <a:pt x="1301" y="48453"/>
                        <a:pt x="25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8" name="Freeform 4970">
                  <a:extLst>
                    <a:ext uri="{FF2B5EF4-FFF2-40B4-BE49-F238E27FC236}">
                      <a16:creationId xmlns:a16="http://schemas.microsoft.com/office/drawing/2014/main" id="{59B48053-A775-1EF4-367E-27128294D57A}"/>
                    </a:ext>
                  </a:extLst>
                </p:cNvPr>
                <p:cNvSpPr/>
                <p:nvPr/>
              </p:nvSpPr>
              <p:spPr>
                <a:xfrm>
                  <a:off x="8066851" y="5674546"/>
                  <a:ext cx="26285" cy="26534"/>
                </a:xfrm>
                <a:custGeom>
                  <a:avLst/>
                  <a:gdLst>
                    <a:gd name="connsiteX0" fmla="*/ 2 w 26285"/>
                    <a:gd name="connsiteY0" fmla="*/ 13579 h 26534"/>
                    <a:gd name="connsiteX1" fmla="*/ 12831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1" y="2"/>
                      </a:cubicBezTo>
                      <a:cubicBezTo>
                        <a:pt x="20056" y="-123"/>
                        <a:pt x="26159" y="5607"/>
                        <a:pt x="26283" y="12956"/>
                      </a:cubicBezTo>
                      <a:cubicBezTo>
                        <a:pt x="26408" y="20305"/>
                        <a:pt x="20678" y="26284"/>
                        <a:pt x="13454" y="26533"/>
                      </a:cubicBezTo>
                      <a:cubicBezTo>
                        <a:pt x="6230" y="26658"/>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2" name="Graphic 2987">
                <a:extLst>
                  <a:ext uri="{FF2B5EF4-FFF2-40B4-BE49-F238E27FC236}">
                    <a16:creationId xmlns:a16="http://schemas.microsoft.com/office/drawing/2014/main" id="{845DD2BF-F82A-9A67-89E1-C7E1AABDE6D7}"/>
                  </a:ext>
                </a:extLst>
              </p:cNvPr>
              <p:cNvGrpSpPr/>
              <p:nvPr/>
            </p:nvGrpSpPr>
            <p:grpSpPr>
              <a:xfrm>
                <a:off x="8093507" y="5551602"/>
                <a:ext cx="29025" cy="148856"/>
                <a:chOff x="8093507" y="5551602"/>
                <a:chExt cx="29025" cy="148856"/>
              </a:xfrm>
              <a:grpFill/>
            </p:grpSpPr>
            <p:sp>
              <p:nvSpPr>
                <p:cNvPr id="4547" name="Freeform 4972">
                  <a:extLst>
                    <a:ext uri="{FF2B5EF4-FFF2-40B4-BE49-F238E27FC236}">
                      <a16:creationId xmlns:a16="http://schemas.microsoft.com/office/drawing/2014/main" id="{CD24DC48-E0AA-9A9E-637E-C789B7041036}"/>
                    </a:ext>
                  </a:extLst>
                </p:cNvPr>
                <p:cNvSpPr/>
                <p:nvPr/>
              </p:nvSpPr>
              <p:spPr>
                <a:xfrm>
                  <a:off x="8101398" y="5571913"/>
                  <a:ext cx="4233" cy="52189"/>
                </a:xfrm>
                <a:custGeom>
                  <a:avLst/>
                  <a:gdLst>
                    <a:gd name="connsiteX0" fmla="*/ 1950 w 4233"/>
                    <a:gd name="connsiteY0" fmla="*/ 0 h 52189"/>
                    <a:gd name="connsiteX1" fmla="*/ 331 w 4233"/>
                    <a:gd name="connsiteY1" fmla="*/ 18684 h 52189"/>
                    <a:gd name="connsiteX2" fmla="*/ 4067 w 4233"/>
                    <a:gd name="connsiteY2" fmla="*/ 35748 h 52189"/>
                    <a:gd name="connsiteX3" fmla="*/ 2323 w 423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33" h="52189">
                      <a:moveTo>
                        <a:pt x="1950" y="0"/>
                      </a:moveTo>
                      <a:cubicBezTo>
                        <a:pt x="-417" y="8096"/>
                        <a:pt x="-167" y="14449"/>
                        <a:pt x="331" y="18684"/>
                      </a:cubicBezTo>
                      <a:cubicBezTo>
                        <a:pt x="1203" y="25659"/>
                        <a:pt x="3445" y="28648"/>
                        <a:pt x="4067" y="35748"/>
                      </a:cubicBezTo>
                      <a:cubicBezTo>
                        <a:pt x="4690" y="42599"/>
                        <a:pt x="3445" y="48328"/>
                        <a:pt x="232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8" name="Freeform 4973">
                  <a:extLst>
                    <a:ext uri="{FF2B5EF4-FFF2-40B4-BE49-F238E27FC236}">
                      <a16:creationId xmlns:a16="http://schemas.microsoft.com/office/drawing/2014/main" id="{25C4A707-ECB4-4BE7-86B1-0F8611FC6D41}"/>
                    </a:ext>
                  </a:extLst>
                </p:cNvPr>
                <p:cNvSpPr/>
                <p:nvPr/>
              </p:nvSpPr>
              <p:spPr>
                <a:xfrm>
                  <a:off x="8109545" y="5566681"/>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9" name="Freeform 4974">
                  <a:extLst>
                    <a:ext uri="{FF2B5EF4-FFF2-40B4-BE49-F238E27FC236}">
                      <a16:creationId xmlns:a16="http://schemas.microsoft.com/office/drawing/2014/main" id="{358F1402-8AE8-C59D-E3A7-BC9C7D558D85}"/>
                    </a:ext>
                  </a:extLst>
                </p:cNvPr>
                <p:cNvSpPr/>
                <p:nvPr/>
              </p:nvSpPr>
              <p:spPr>
                <a:xfrm>
                  <a:off x="8093507" y="5551602"/>
                  <a:ext cx="26658" cy="26540"/>
                </a:xfrm>
                <a:custGeom>
                  <a:avLst/>
                  <a:gdLst>
                    <a:gd name="connsiteX0" fmla="*/ 26657 w 26658"/>
                    <a:gd name="connsiteY0" fmla="*/ 12962 h 26540"/>
                    <a:gd name="connsiteX1" fmla="*/ 13578 w 26658"/>
                    <a:gd name="connsiteY1" fmla="*/ 26539 h 26540"/>
                    <a:gd name="connsiteX2" fmla="*/ 2 w 26658"/>
                    <a:gd name="connsiteY2" fmla="*/ 13584 h 26540"/>
                    <a:gd name="connsiteX3" fmla="*/ 13080 w 26658"/>
                    <a:gd name="connsiteY3" fmla="*/ 8 h 26540"/>
                    <a:gd name="connsiteX4" fmla="*/ 26657 w 26658"/>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40">
                      <a:moveTo>
                        <a:pt x="26657" y="12962"/>
                      </a:moveTo>
                      <a:cubicBezTo>
                        <a:pt x="26781" y="20311"/>
                        <a:pt x="20928" y="26289"/>
                        <a:pt x="13578" y="26539"/>
                      </a:cubicBezTo>
                      <a:cubicBezTo>
                        <a:pt x="6230" y="26663"/>
                        <a:pt x="126" y="20933"/>
                        <a:pt x="2" y="13584"/>
                      </a:cubicBezTo>
                      <a:cubicBezTo>
                        <a:pt x="-123" y="6236"/>
                        <a:pt x="5606" y="257"/>
                        <a:pt x="13080" y="8"/>
                      </a:cubicBezTo>
                      <a:cubicBezTo>
                        <a:pt x="20429" y="-241"/>
                        <a:pt x="26532"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0" name="Freeform 4975">
                  <a:extLst>
                    <a:ext uri="{FF2B5EF4-FFF2-40B4-BE49-F238E27FC236}">
                      <a16:creationId xmlns:a16="http://schemas.microsoft.com/office/drawing/2014/main" id="{64E30293-177B-9620-30C5-56DFE859C9F5}"/>
                    </a:ext>
                  </a:extLst>
                </p:cNvPr>
                <p:cNvSpPr/>
                <p:nvPr/>
              </p:nvSpPr>
              <p:spPr>
                <a:xfrm>
                  <a:off x="8110656" y="5627839"/>
                  <a:ext cx="4202" cy="52189"/>
                </a:xfrm>
                <a:custGeom>
                  <a:avLst/>
                  <a:gdLst>
                    <a:gd name="connsiteX0" fmla="*/ 2284 w 4202"/>
                    <a:gd name="connsiteY0" fmla="*/ 52190 h 52189"/>
                    <a:gd name="connsiteX1" fmla="*/ 3902 w 4202"/>
                    <a:gd name="connsiteY1" fmla="*/ 33506 h 52189"/>
                    <a:gd name="connsiteX2" fmla="*/ 166 w 4202"/>
                    <a:gd name="connsiteY2" fmla="*/ 16442 h 52189"/>
                    <a:gd name="connsiteX3" fmla="*/ 2034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2284" y="52190"/>
                      </a:moveTo>
                      <a:cubicBezTo>
                        <a:pt x="4526" y="44094"/>
                        <a:pt x="4401" y="37741"/>
                        <a:pt x="3902" y="33506"/>
                      </a:cubicBezTo>
                      <a:cubicBezTo>
                        <a:pt x="3031" y="26531"/>
                        <a:pt x="788" y="23542"/>
                        <a:pt x="166" y="16442"/>
                      </a:cubicBezTo>
                      <a:cubicBezTo>
                        <a:pt x="-457" y="9591"/>
                        <a:pt x="788"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1" name="Freeform 4976">
                  <a:extLst>
                    <a:ext uri="{FF2B5EF4-FFF2-40B4-BE49-F238E27FC236}">
                      <a16:creationId xmlns:a16="http://schemas.microsoft.com/office/drawing/2014/main" id="{608EC29A-26D2-C794-F73C-2C668C99C83B}"/>
                    </a:ext>
                  </a:extLst>
                </p:cNvPr>
                <p:cNvSpPr/>
                <p:nvPr/>
              </p:nvSpPr>
              <p:spPr>
                <a:xfrm>
                  <a:off x="8103539" y="5633070"/>
                  <a:ext cx="3203" cy="52189"/>
                </a:xfrm>
                <a:custGeom>
                  <a:avLst/>
                  <a:gdLst>
                    <a:gd name="connsiteX0" fmla="*/ 681 w 3203"/>
                    <a:gd name="connsiteY0" fmla="*/ 0 h 52189"/>
                    <a:gd name="connsiteX1" fmla="*/ 3048 w 3203"/>
                    <a:gd name="connsiteY1" fmla="*/ 18684 h 52189"/>
                    <a:gd name="connsiteX2" fmla="*/ 58 w 3203"/>
                    <a:gd name="connsiteY2" fmla="*/ 35873 h 52189"/>
                    <a:gd name="connsiteX3" fmla="*/ 2549 w 3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0"/>
                      </a:moveTo>
                      <a:cubicBezTo>
                        <a:pt x="3296" y="7971"/>
                        <a:pt x="3421" y="14324"/>
                        <a:pt x="3048" y="18684"/>
                      </a:cubicBezTo>
                      <a:cubicBezTo>
                        <a:pt x="2425" y="25659"/>
                        <a:pt x="307" y="28773"/>
                        <a:pt x="58" y="35873"/>
                      </a:cubicBezTo>
                      <a:cubicBezTo>
                        <a:pt x="-316" y="42723"/>
                        <a:pt x="1179" y="48453"/>
                        <a:pt x="254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52" name="Freeform 4977">
                  <a:extLst>
                    <a:ext uri="{FF2B5EF4-FFF2-40B4-BE49-F238E27FC236}">
                      <a16:creationId xmlns:a16="http://schemas.microsoft.com/office/drawing/2014/main" id="{FB6C5CB7-4402-2422-31CB-D2AAD7C3FFEF}"/>
                    </a:ext>
                  </a:extLst>
                </p:cNvPr>
                <p:cNvSpPr/>
                <p:nvPr/>
              </p:nvSpPr>
              <p:spPr>
                <a:xfrm>
                  <a:off x="8096247" y="5673923"/>
                  <a:ext cx="26285" cy="26534"/>
                </a:xfrm>
                <a:custGeom>
                  <a:avLst/>
                  <a:gdLst>
                    <a:gd name="connsiteX0" fmla="*/ 2 w 26285"/>
                    <a:gd name="connsiteY0" fmla="*/ 13579 h 26534"/>
                    <a:gd name="connsiteX1" fmla="*/ 12832 w 26285"/>
                    <a:gd name="connsiteY1" fmla="*/ 2 h 26534"/>
                    <a:gd name="connsiteX2" fmla="*/ 26283 w 26285"/>
                    <a:gd name="connsiteY2" fmla="*/ 12956 h 26534"/>
                    <a:gd name="connsiteX3" fmla="*/ 13454 w 26285"/>
                    <a:gd name="connsiteY3" fmla="*/ 26533 h 26534"/>
                    <a:gd name="connsiteX4" fmla="*/ 2 w 26285"/>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607" y="251"/>
                        <a:pt x="12832" y="2"/>
                      </a:cubicBezTo>
                      <a:cubicBezTo>
                        <a:pt x="20056" y="-123"/>
                        <a:pt x="26159" y="5607"/>
                        <a:pt x="26283" y="12956"/>
                      </a:cubicBezTo>
                      <a:cubicBezTo>
                        <a:pt x="26408" y="20305"/>
                        <a:pt x="20678" y="26283"/>
                        <a:pt x="13454" y="26533"/>
                      </a:cubicBezTo>
                      <a:cubicBezTo>
                        <a:pt x="6230" y="26657"/>
                        <a:pt x="251"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3" name="Graphic 2987">
                <a:extLst>
                  <a:ext uri="{FF2B5EF4-FFF2-40B4-BE49-F238E27FC236}">
                    <a16:creationId xmlns:a16="http://schemas.microsoft.com/office/drawing/2014/main" id="{4F5D0E9F-73DA-5157-F87A-8FC096D5BF6C}"/>
                  </a:ext>
                </a:extLst>
              </p:cNvPr>
              <p:cNvGrpSpPr/>
              <p:nvPr/>
            </p:nvGrpSpPr>
            <p:grpSpPr>
              <a:xfrm>
                <a:off x="8123275" y="5550979"/>
                <a:ext cx="28901" cy="148855"/>
                <a:chOff x="8123275" y="5550979"/>
                <a:chExt cx="28901" cy="148855"/>
              </a:xfrm>
              <a:grpFill/>
            </p:grpSpPr>
            <p:sp>
              <p:nvSpPr>
                <p:cNvPr id="4541" name="Freeform 4979">
                  <a:extLst>
                    <a:ext uri="{FF2B5EF4-FFF2-40B4-BE49-F238E27FC236}">
                      <a16:creationId xmlns:a16="http://schemas.microsoft.com/office/drawing/2014/main" id="{1DA4E26C-A1C7-4A50-1DD2-5B52FFE71A45}"/>
                    </a:ext>
                  </a:extLst>
                </p:cNvPr>
                <p:cNvSpPr/>
                <p:nvPr/>
              </p:nvSpPr>
              <p:spPr>
                <a:xfrm>
                  <a:off x="8131113" y="5571290"/>
                  <a:ext cx="4288" cy="52189"/>
                </a:xfrm>
                <a:custGeom>
                  <a:avLst/>
                  <a:gdLst>
                    <a:gd name="connsiteX0" fmla="*/ 2005 w 4288"/>
                    <a:gd name="connsiteY0" fmla="*/ 0 h 52189"/>
                    <a:gd name="connsiteX1" fmla="*/ 386 w 4288"/>
                    <a:gd name="connsiteY1" fmla="*/ 18684 h 52189"/>
                    <a:gd name="connsiteX2" fmla="*/ 4122 w 4288"/>
                    <a:gd name="connsiteY2" fmla="*/ 35748 h 52189"/>
                    <a:gd name="connsiteX3" fmla="*/ 225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0"/>
                      </a:moveTo>
                      <a:cubicBezTo>
                        <a:pt x="-361" y="8097"/>
                        <a:pt x="-237" y="14449"/>
                        <a:pt x="386" y="18684"/>
                      </a:cubicBezTo>
                      <a:cubicBezTo>
                        <a:pt x="1258" y="25659"/>
                        <a:pt x="3500" y="28648"/>
                        <a:pt x="4122" y="35748"/>
                      </a:cubicBezTo>
                      <a:cubicBezTo>
                        <a:pt x="4745" y="42599"/>
                        <a:pt x="3500"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2" name="Freeform 4980">
                  <a:extLst>
                    <a:ext uri="{FF2B5EF4-FFF2-40B4-BE49-F238E27FC236}">
                      <a16:creationId xmlns:a16="http://schemas.microsoft.com/office/drawing/2014/main" id="{CB9C2B4C-451C-3B60-F836-45244511D619}"/>
                    </a:ext>
                  </a:extLst>
                </p:cNvPr>
                <p:cNvSpPr/>
                <p:nvPr/>
              </p:nvSpPr>
              <p:spPr>
                <a:xfrm>
                  <a:off x="8139190" y="5566058"/>
                  <a:ext cx="3327" cy="52189"/>
                </a:xfrm>
                <a:custGeom>
                  <a:avLst/>
                  <a:gdLst>
                    <a:gd name="connsiteX0" fmla="*/ 2523 w 3327"/>
                    <a:gd name="connsiteY0" fmla="*/ 52190 h 52189"/>
                    <a:gd name="connsiteX1" fmla="*/ 156 w 3327"/>
                    <a:gd name="connsiteY1" fmla="*/ 33506 h 52189"/>
                    <a:gd name="connsiteX2" fmla="*/ 3270 w 3327"/>
                    <a:gd name="connsiteY2" fmla="*/ 16317 h 52189"/>
                    <a:gd name="connsiteX3" fmla="*/ 77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52190"/>
                      </a:moveTo>
                      <a:cubicBezTo>
                        <a:pt x="-93" y="44218"/>
                        <a:pt x="-218" y="37866"/>
                        <a:pt x="156" y="33506"/>
                      </a:cubicBezTo>
                      <a:cubicBezTo>
                        <a:pt x="779" y="26531"/>
                        <a:pt x="2896" y="23417"/>
                        <a:pt x="3270" y="16317"/>
                      </a:cubicBezTo>
                      <a:cubicBezTo>
                        <a:pt x="3643" y="9467"/>
                        <a:pt x="2148" y="3737"/>
                        <a:pt x="77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3" name="Freeform 4981">
                  <a:extLst>
                    <a:ext uri="{FF2B5EF4-FFF2-40B4-BE49-F238E27FC236}">
                      <a16:creationId xmlns:a16="http://schemas.microsoft.com/office/drawing/2014/main" id="{86015C20-D5F0-8A00-E16C-5121A15937E0}"/>
                    </a:ext>
                  </a:extLst>
                </p:cNvPr>
                <p:cNvSpPr/>
                <p:nvPr/>
              </p:nvSpPr>
              <p:spPr>
                <a:xfrm>
                  <a:off x="8123275" y="5550979"/>
                  <a:ext cx="26659" cy="26540"/>
                </a:xfrm>
                <a:custGeom>
                  <a:avLst/>
                  <a:gdLst>
                    <a:gd name="connsiteX0" fmla="*/ 26657 w 26659"/>
                    <a:gd name="connsiteY0" fmla="*/ 12961 h 26540"/>
                    <a:gd name="connsiteX1" fmla="*/ 13579 w 26659"/>
                    <a:gd name="connsiteY1" fmla="*/ 26538 h 26540"/>
                    <a:gd name="connsiteX2" fmla="*/ 2 w 26659"/>
                    <a:gd name="connsiteY2" fmla="*/ 13584 h 26540"/>
                    <a:gd name="connsiteX3" fmla="*/ 13080 w 26659"/>
                    <a:gd name="connsiteY3" fmla="*/ 8 h 26540"/>
                    <a:gd name="connsiteX4" fmla="*/ 26657 w 26659"/>
                    <a:gd name="connsiteY4" fmla="*/ 12961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1"/>
                      </a:moveTo>
                      <a:cubicBezTo>
                        <a:pt x="26782" y="20310"/>
                        <a:pt x="20928" y="26289"/>
                        <a:pt x="13579" y="26538"/>
                      </a:cubicBezTo>
                      <a:cubicBezTo>
                        <a:pt x="6230" y="26663"/>
                        <a:pt x="127" y="20933"/>
                        <a:pt x="2" y="13584"/>
                      </a:cubicBezTo>
                      <a:cubicBezTo>
                        <a:pt x="-123" y="6236"/>
                        <a:pt x="5732" y="257"/>
                        <a:pt x="13080" y="8"/>
                      </a:cubicBezTo>
                      <a:cubicBezTo>
                        <a:pt x="20430" y="-242"/>
                        <a:pt x="26533" y="5613"/>
                        <a:pt x="26657" y="129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4" name="Freeform 4982">
                  <a:extLst>
                    <a:ext uri="{FF2B5EF4-FFF2-40B4-BE49-F238E27FC236}">
                      <a16:creationId xmlns:a16="http://schemas.microsoft.com/office/drawing/2014/main" id="{E2C1488F-D4DC-B720-941C-75A9981072BD}"/>
                    </a:ext>
                  </a:extLst>
                </p:cNvPr>
                <p:cNvSpPr/>
                <p:nvPr/>
              </p:nvSpPr>
              <p:spPr>
                <a:xfrm>
                  <a:off x="8140052" y="5627216"/>
                  <a:ext cx="4288" cy="52189"/>
                </a:xfrm>
                <a:custGeom>
                  <a:avLst/>
                  <a:gdLst>
                    <a:gd name="connsiteX0" fmla="*/ 2283 w 4288"/>
                    <a:gd name="connsiteY0" fmla="*/ 52190 h 52189"/>
                    <a:gd name="connsiteX1" fmla="*/ 3902 w 4288"/>
                    <a:gd name="connsiteY1" fmla="*/ 33506 h 52189"/>
                    <a:gd name="connsiteX2" fmla="*/ 166 w 4288"/>
                    <a:gd name="connsiteY2" fmla="*/ 16442 h 52189"/>
                    <a:gd name="connsiteX3" fmla="*/ 2034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52190"/>
                      </a:moveTo>
                      <a:cubicBezTo>
                        <a:pt x="4650" y="44093"/>
                        <a:pt x="4525" y="37741"/>
                        <a:pt x="3902" y="33506"/>
                      </a:cubicBezTo>
                      <a:cubicBezTo>
                        <a:pt x="3030" y="26531"/>
                        <a:pt x="789" y="23541"/>
                        <a:pt x="166" y="16442"/>
                      </a:cubicBezTo>
                      <a:cubicBezTo>
                        <a:pt x="-458" y="9591"/>
                        <a:pt x="789" y="3861"/>
                        <a:pt x="20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5" name="Freeform 4983">
                  <a:extLst>
                    <a:ext uri="{FF2B5EF4-FFF2-40B4-BE49-F238E27FC236}">
                      <a16:creationId xmlns:a16="http://schemas.microsoft.com/office/drawing/2014/main" id="{0E7F3EBA-7914-693B-B29A-538383B59B20}"/>
                    </a:ext>
                  </a:extLst>
                </p:cNvPr>
                <p:cNvSpPr/>
                <p:nvPr/>
              </p:nvSpPr>
              <p:spPr>
                <a:xfrm>
                  <a:off x="8132935" y="5632447"/>
                  <a:ext cx="3327" cy="52189"/>
                </a:xfrm>
                <a:custGeom>
                  <a:avLst/>
                  <a:gdLst>
                    <a:gd name="connsiteX0" fmla="*/ 806 w 3327"/>
                    <a:gd name="connsiteY0" fmla="*/ 0 h 52189"/>
                    <a:gd name="connsiteX1" fmla="*/ 3172 w 3327"/>
                    <a:gd name="connsiteY1" fmla="*/ 18684 h 52189"/>
                    <a:gd name="connsiteX2" fmla="*/ 58 w 3327"/>
                    <a:gd name="connsiteY2" fmla="*/ 35873 h 52189"/>
                    <a:gd name="connsiteX3" fmla="*/ 2550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806" y="0"/>
                      </a:moveTo>
                      <a:cubicBezTo>
                        <a:pt x="3421" y="7972"/>
                        <a:pt x="3546" y="14324"/>
                        <a:pt x="3172" y="18684"/>
                      </a:cubicBezTo>
                      <a:cubicBezTo>
                        <a:pt x="2550" y="25659"/>
                        <a:pt x="432" y="28773"/>
                        <a:pt x="58" y="35873"/>
                      </a:cubicBezTo>
                      <a:cubicBezTo>
                        <a:pt x="-316" y="42724"/>
                        <a:pt x="1179" y="48453"/>
                        <a:pt x="255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6" name="Freeform 4984">
                  <a:extLst>
                    <a:ext uri="{FF2B5EF4-FFF2-40B4-BE49-F238E27FC236}">
                      <a16:creationId xmlns:a16="http://schemas.microsoft.com/office/drawing/2014/main" id="{2C6AD811-4856-C484-4684-DB8EE9BA2B3C}"/>
                    </a:ext>
                  </a:extLst>
                </p:cNvPr>
                <p:cNvSpPr/>
                <p:nvPr/>
              </p:nvSpPr>
              <p:spPr>
                <a:xfrm>
                  <a:off x="8125767" y="5673300"/>
                  <a:ext cx="26410" cy="26534"/>
                </a:xfrm>
                <a:custGeom>
                  <a:avLst/>
                  <a:gdLst>
                    <a:gd name="connsiteX0" fmla="*/ 2 w 26410"/>
                    <a:gd name="connsiteY0" fmla="*/ 13579 h 26534"/>
                    <a:gd name="connsiteX1" fmla="*/ 12956 w 26410"/>
                    <a:gd name="connsiteY1" fmla="*/ 2 h 26534"/>
                    <a:gd name="connsiteX2" fmla="*/ 26408 w 26410"/>
                    <a:gd name="connsiteY2" fmla="*/ 12956 h 26534"/>
                    <a:gd name="connsiteX3" fmla="*/ 13454 w 26410"/>
                    <a:gd name="connsiteY3" fmla="*/ 26533 h 26534"/>
                    <a:gd name="connsiteX4" fmla="*/ 2 w 2641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3579"/>
                      </a:moveTo>
                      <a:cubicBezTo>
                        <a:pt x="-123" y="6230"/>
                        <a:pt x="5607" y="251"/>
                        <a:pt x="12956" y="2"/>
                      </a:cubicBezTo>
                      <a:cubicBezTo>
                        <a:pt x="20180" y="-122"/>
                        <a:pt x="26283" y="5607"/>
                        <a:pt x="26408" y="12956"/>
                      </a:cubicBezTo>
                      <a:cubicBezTo>
                        <a:pt x="26533" y="20305"/>
                        <a:pt x="20803" y="26284"/>
                        <a:pt x="13454" y="26533"/>
                      </a:cubicBezTo>
                      <a:cubicBezTo>
                        <a:pt x="6105" y="26658"/>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4" name="Graphic 2987">
                <a:extLst>
                  <a:ext uri="{FF2B5EF4-FFF2-40B4-BE49-F238E27FC236}">
                    <a16:creationId xmlns:a16="http://schemas.microsoft.com/office/drawing/2014/main" id="{D60F6932-7D85-4C04-E83E-E2543287BC71}"/>
                  </a:ext>
                </a:extLst>
              </p:cNvPr>
              <p:cNvGrpSpPr/>
              <p:nvPr/>
            </p:nvGrpSpPr>
            <p:grpSpPr>
              <a:xfrm>
                <a:off x="8153045" y="5550356"/>
                <a:ext cx="28401" cy="148856"/>
                <a:chOff x="8153045" y="5550356"/>
                <a:chExt cx="28401" cy="148856"/>
              </a:xfrm>
              <a:grpFill/>
            </p:grpSpPr>
            <p:sp>
              <p:nvSpPr>
                <p:cNvPr id="4535" name="Freeform 4986">
                  <a:extLst>
                    <a:ext uri="{FF2B5EF4-FFF2-40B4-BE49-F238E27FC236}">
                      <a16:creationId xmlns:a16="http://schemas.microsoft.com/office/drawing/2014/main" id="{940442B3-4B34-FDDE-1843-DA42110C2459}"/>
                    </a:ext>
                  </a:extLst>
                </p:cNvPr>
                <p:cNvSpPr/>
                <p:nvPr/>
              </p:nvSpPr>
              <p:spPr>
                <a:xfrm>
                  <a:off x="8160757" y="5570667"/>
                  <a:ext cx="4278" cy="52189"/>
                </a:xfrm>
                <a:custGeom>
                  <a:avLst/>
                  <a:gdLst>
                    <a:gd name="connsiteX0" fmla="*/ 2006 w 4278"/>
                    <a:gd name="connsiteY0" fmla="*/ 0 h 52189"/>
                    <a:gd name="connsiteX1" fmla="*/ 386 w 4278"/>
                    <a:gd name="connsiteY1" fmla="*/ 18684 h 52189"/>
                    <a:gd name="connsiteX2" fmla="*/ 4123 w 4278"/>
                    <a:gd name="connsiteY2" fmla="*/ 35748 h 52189"/>
                    <a:gd name="connsiteX3" fmla="*/ 2254 w 427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78" h="52189">
                      <a:moveTo>
                        <a:pt x="2006" y="0"/>
                      </a:moveTo>
                      <a:cubicBezTo>
                        <a:pt x="-361" y="8096"/>
                        <a:pt x="-237" y="14449"/>
                        <a:pt x="386" y="18684"/>
                      </a:cubicBezTo>
                      <a:cubicBezTo>
                        <a:pt x="1258" y="25659"/>
                        <a:pt x="3500" y="28648"/>
                        <a:pt x="4123" y="35748"/>
                      </a:cubicBezTo>
                      <a:cubicBezTo>
                        <a:pt x="4745" y="42599"/>
                        <a:pt x="3375" y="48328"/>
                        <a:pt x="225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6" name="Freeform 4987">
                  <a:extLst>
                    <a:ext uri="{FF2B5EF4-FFF2-40B4-BE49-F238E27FC236}">
                      <a16:creationId xmlns:a16="http://schemas.microsoft.com/office/drawing/2014/main" id="{088F41BD-FE6A-9E60-D4B3-7052318AB4D3}"/>
                    </a:ext>
                  </a:extLst>
                </p:cNvPr>
                <p:cNvSpPr/>
                <p:nvPr/>
              </p:nvSpPr>
              <p:spPr>
                <a:xfrm>
                  <a:off x="8168884" y="5565435"/>
                  <a:ext cx="3403" cy="52189"/>
                </a:xfrm>
                <a:custGeom>
                  <a:avLst/>
                  <a:gdLst>
                    <a:gd name="connsiteX0" fmla="*/ 2474 w 3403"/>
                    <a:gd name="connsiteY0" fmla="*/ 52190 h 52189"/>
                    <a:gd name="connsiteX1" fmla="*/ 231 w 3403"/>
                    <a:gd name="connsiteY1" fmla="*/ 33506 h 52189"/>
                    <a:gd name="connsiteX2" fmla="*/ 3345 w 3403"/>
                    <a:gd name="connsiteY2" fmla="*/ 16317 h 52189"/>
                    <a:gd name="connsiteX3" fmla="*/ 978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2474" y="52190"/>
                      </a:moveTo>
                      <a:cubicBezTo>
                        <a:pt x="-142" y="44218"/>
                        <a:pt x="-267" y="37866"/>
                        <a:pt x="231" y="33506"/>
                      </a:cubicBezTo>
                      <a:cubicBezTo>
                        <a:pt x="854" y="26531"/>
                        <a:pt x="2971" y="23417"/>
                        <a:pt x="3345" y="16317"/>
                      </a:cubicBezTo>
                      <a:cubicBezTo>
                        <a:pt x="3719" y="9467"/>
                        <a:pt x="2224" y="3737"/>
                        <a:pt x="9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7" name="Freeform 4988">
                  <a:extLst>
                    <a:ext uri="{FF2B5EF4-FFF2-40B4-BE49-F238E27FC236}">
                      <a16:creationId xmlns:a16="http://schemas.microsoft.com/office/drawing/2014/main" id="{92986AE6-B161-D528-BD41-3B753C439FFB}"/>
                    </a:ext>
                  </a:extLst>
                </p:cNvPr>
                <p:cNvSpPr/>
                <p:nvPr/>
              </p:nvSpPr>
              <p:spPr>
                <a:xfrm>
                  <a:off x="8153045" y="5550356"/>
                  <a:ext cx="26659" cy="26540"/>
                </a:xfrm>
                <a:custGeom>
                  <a:avLst/>
                  <a:gdLst>
                    <a:gd name="connsiteX0" fmla="*/ 26657 w 26659"/>
                    <a:gd name="connsiteY0" fmla="*/ 12962 h 26540"/>
                    <a:gd name="connsiteX1" fmla="*/ 13579 w 26659"/>
                    <a:gd name="connsiteY1" fmla="*/ 26539 h 26540"/>
                    <a:gd name="connsiteX2" fmla="*/ 2 w 26659"/>
                    <a:gd name="connsiteY2" fmla="*/ 13584 h 26540"/>
                    <a:gd name="connsiteX3" fmla="*/ 13080 w 26659"/>
                    <a:gd name="connsiteY3" fmla="*/ 8 h 26540"/>
                    <a:gd name="connsiteX4" fmla="*/ 26657 w 26659"/>
                    <a:gd name="connsiteY4" fmla="*/ 12962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40">
                      <a:moveTo>
                        <a:pt x="26657" y="12962"/>
                      </a:moveTo>
                      <a:cubicBezTo>
                        <a:pt x="26782" y="20311"/>
                        <a:pt x="20928" y="26290"/>
                        <a:pt x="13579" y="26539"/>
                      </a:cubicBezTo>
                      <a:cubicBezTo>
                        <a:pt x="6230" y="26663"/>
                        <a:pt x="127" y="20933"/>
                        <a:pt x="2" y="13584"/>
                      </a:cubicBezTo>
                      <a:cubicBezTo>
                        <a:pt x="-123" y="6236"/>
                        <a:pt x="5732" y="257"/>
                        <a:pt x="13080" y="8"/>
                      </a:cubicBezTo>
                      <a:cubicBezTo>
                        <a:pt x="20430" y="-241"/>
                        <a:pt x="26533" y="5613"/>
                        <a:pt x="26657" y="129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8" name="Freeform 4989">
                  <a:extLst>
                    <a:ext uri="{FF2B5EF4-FFF2-40B4-BE49-F238E27FC236}">
                      <a16:creationId xmlns:a16="http://schemas.microsoft.com/office/drawing/2014/main" id="{2A7FE280-E82A-B509-75A1-5451CB3079B2}"/>
                    </a:ext>
                  </a:extLst>
                </p:cNvPr>
                <p:cNvSpPr/>
                <p:nvPr/>
              </p:nvSpPr>
              <p:spPr>
                <a:xfrm>
                  <a:off x="8169706" y="5626593"/>
                  <a:ext cx="4154" cy="52189"/>
                </a:xfrm>
                <a:custGeom>
                  <a:avLst/>
                  <a:gdLst>
                    <a:gd name="connsiteX0" fmla="*/ 2149 w 4154"/>
                    <a:gd name="connsiteY0" fmla="*/ 52190 h 52189"/>
                    <a:gd name="connsiteX1" fmla="*/ 3769 w 4154"/>
                    <a:gd name="connsiteY1" fmla="*/ 33506 h 52189"/>
                    <a:gd name="connsiteX2" fmla="*/ 156 w 4154"/>
                    <a:gd name="connsiteY2" fmla="*/ 16442 h 52189"/>
                    <a:gd name="connsiteX3" fmla="*/ 2025 w 4154"/>
                    <a:gd name="connsiteY3" fmla="*/ 0 h 52189"/>
                  </a:gdLst>
                  <a:ahLst/>
                  <a:cxnLst>
                    <a:cxn ang="0">
                      <a:pos x="connsiteX0" y="connsiteY0"/>
                    </a:cxn>
                    <a:cxn ang="0">
                      <a:pos x="connsiteX1" y="connsiteY1"/>
                    </a:cxn>
                    <a:cxn ang="0">
                      <a:pos x="connsiteX2" y="connsiteY2"/>
                    </a:cxn>
                    <a:cxn ang="0">
                      <a:pos x="connsiteX3" y="connsiteY3"/>
                    </a:cxn>
                  </a:cxnLst>
                  <a:rect l="l" t="t" r="r" b="b"/>
                  <a:pathLst>
                    <a:path w="4154" h="52189">
                      <a:moveTo>
                        <a:pt x="2149" y="52190"/>
                      </a:moveTo>
                      <a:cubicBezTo>
                        <a:pt x="4516" y="44094"/>
                        <a:pt x="4391" y="37741"/>
                        <a:pt x="3769" y="33506"/>
                      </a:cubicBezTo>
                      <a:cubicBezTo>
                        <a:pt x="2897" y="26531"/>
                        <a:pt x="655" y="23542"/>
                        <a:pt x="156" y="16442"/>
                      </a:cubicBezTo>
                      <a:cubicBezTo>
                        <a:pt x="-467" y="9591"/>
                        <a:pt x="903" y="3861"/>
                        <a:pt x="20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9" name="Freeform 4990">
                  <a:extLst>
                    <a:ext uri="{FF2B5EF4-FFF2-40B4-BE49-F238E27FC236}">
                      <a16:creationId xmlns:a16="http://schemas.microsoft.com/office/drawing/2014/main" id="{0030270E-9E72-AC8B-2AF4-7A299DA5F820}"/>
                    </a:ext>
                  </a:extLst>
                </p:cNvPr>
                <p:cNvSpPr/>
                <p:nvPr/>
              </p:nvSpPr>
              <p:spPr>
                <a:xfrm>
                  <a:off x="8162455" y="5631825"/>
                  <a:ext cx="3403" cy="52189"/>
                </a:xfrm>
                <a:custGeom>
                  <a:avLst/>
                  <a:gdLst>
                    <a:gd name="connsiteX0" fmla="*/ 930 w 3403"/>
                    <a:gd name="connsiteY0" fmla="*/ 0 h 52189"/>
                    <a:gd name="connsiteX1" fmla="*/ 3172 w 3403"/>
                    <a:gd name="connsiteY1" fmla="*/ 18684 h 52189"/>
                    <a:gd name="connsiteX2" fmla="*/ 58 w 3403"/>
                    <a:gd name="connsiteY2" fmla="*/ 35873 h 52189"/>
                    <a:gd name="connsiteX3" fmla="*/ 2425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0"/>
                      </a:moveTo>
                      <a:cubicBezTo>
                        <a:pt x="3546" y="7971"/>
                        <a:pt x="3670" y="14324"/>
                        <a:pt x="3172" y="18684"/>
                      </a:cubicBezTo>
                      <a:cubicBezTo>
                        <a:pt x="2550" y="25659"/>
                        <a:pt x="432" y="28773"/>
                        <a:pt x="58" y="35873"/>
                      </a:cubicBezTo>
                      <a:cubicBezTo>
                        <a:pt x="-316" y="42723"/>
                        <a:pt x="1179" y="48453"/>
                        <a:pt x="2425"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40" name="Freeform 4991">
                  <a:extLst>
                    <a:ext uri="{FF2B5EF4-FFF2-40B4-BE49-F238E27FC236}">
                      <a16:creationId xmlns:a16="http://schemas.microsoft.com/office/drawing/2014/main" id="{97979893-B1AA-50F4-EBC4-D1E77D130E89}"/>
                    </a:ext>
                  </a:extLst>
                </p:cNvPr>
                <p:cNvSpPr/>
                <p:nvPr/>
              </p:nvSpPr>
              <p:spPr>
                <a:xfrm>
                  <a:off x="8155162" y="5672678"/>
                  <a:ext cx="26284" cy="26534"/>
                </a:xfrm>
                <a:custGeom>
                  <a:avLst/>
                  <a:gdLst>
                    <a:gd name="connsiteX0" fmla="*/ 2 w 26284"/>
                    <a:gd name="connsiteY0" fmla="*/ 13579 h 26534"/>
                    <a:gd name="connsiteX1" fmla="*/ 12956 w 26284"/>
                    <a:gd name="connsiteY1" fmla="*/ 2 h 26534"/>
                    <a:gd name="connsiteX2" fmla="*/ 26284 w 26284"/>
                    <a:gd name="connsiteY2" fmla="*/ 12956 h 26534"/>
                    <a:gd name="connsiteX3" fmla="*/ 13330 w 26284"/>
                    <a:gd name="connsiteY3" fmla="*/ 26533 h 26534"/>
                    <a:gd name="connsiteX4" fmla="*/ 2 w 26284"/>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3579"/>
                      </a:moveTo>
                      <a:cubicBezTo>
                        <a:pt x="-123" y="6230"/>
                        <a:pt x="5732" y="251"/>
                        <a:pt x="12956" y="2"/>
                      </a:cubicBezTo>
                      <a:cubicBezTo>
                        <a:pt x="20180" y="-123"/>
                        <a:pt x="26284" y="5607"/>
                        <a:pt x="26284" y="12956"/>
                      </a:cubicBezTo>
                      <a:cubicBezTo>
                        <a:pt x="26284" y="20305"/>
                        <a:pt x="20554" y="26283"/>
                        <a:pt x="13330" y="26533"/>
                      </a:cubicBezTo>
                      <a:cubicBezTo>
                        <a:pt x="6105" y="26657"/>
                        <a:pt x="127" y="20803"/>
                        <a:pt x="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5" name="Graphic 2987">
                <a:extLst>
                  <a:ext uri="{FF2B5EF4-FFF2-40B4-BE49-F238E27FC236}">
                    <a16:creationId xmlns:a16="http://schemas.microsoft.com/office/drawing/2014/main" id="{464DD6BA-5F8E-8C44-A0F7-B48BF74CA16D}"/>
                  </a:ext>
                </a:extLst>
              </p:cNvPr>
              <p:cNvGrpSpPr/>
              <p:nvPr/>
            </p:nvGrpSpPr>
            <p:grpSpPr>
              <a:xfrm>
                <a:off x="8182814" y="5549741"/>
                <a:ext cx="28029" cy="148970"/>
                <a:chOff x="8182814" y="5549741"/>
                <a:chExt cx="28029" cy="148970"/>
              </a:xfrm>
              <a:grpFill/>
            </p:grpSpPr>
            <p:sp>
              <p:nvSpPr>
                <p:cNvPr id="4529" name="Freeform 4993">
                  <a:extLst>
                    <a:ext uri="{FF2B5EF4-FFF2-40B4-BE49-F238E27FC236}">
                      <a16:creationId xmlns:a16="http://schemas.microsoft.com/office/drawing/2014/main" id="{D7029BD8-1AB0-876C-7AE3-3851926A9F4A}"/>
                    </a:ext>
                  </a:extLst>
                </p:cNvPr>
                <p:cNvSpPr/>
                <p:nvPr/>
              </p:nvSpPr>
              <p:spPr>
                <a:xfrm>
                  <a:off x="8190492" y="5570169"/>
                  <a:ext cx="4062" cy="52065"/>
                </a:xfrm>
                <a:custGeom>
                  <a:avLst/>
                  <a:gdLst>
                    <a:gd name="connsiteX0" fmla="*/ 2039 w 4062"/>
                    <a:gd name="connsiteY0" fmla="*/ 0 h 52065"/>
                    <a:gd name="connsiteX1" fmla="*/ 296 w 4062"/>
                    <a:gd name="connsiteY1" fmla="*/ 18684 h 52065"/>
                    <a:gd name="connsiteX2" fmla="*/ 3908 w 4062"/>
                    <a:gd name="connsiteY2" fmla="*/ 35748 h 52065"/>
                    <a:gd name="connsiteX3" fmla="*/ 1914 w 40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0"/>
                      </a:moveTo>
                      <a:cubicBezTo>
                        <a:pt x="-328" y="8097"/>
                        <a:pt x="-203" y="14449"/>
                        <a:pt x="296" y="18684"/>
                      </a:cubicBezTo>
                      <a:cubicBezTo>
                        <a:pt x="1167" y="25659"/>
                        <a:pt x="3410" y="28648"/>
                        <a:pt x="3908" y="35748"/>
                      </a:cubicBezTo>
                      <a:cubicBezTo>
                        <a:pt x="4530" y="42599"/>
                        <a:pt x="3160" y="48328"/>
                        <a:pt x="191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0" name="Freeform 4994">
                  <a:extLst>
                    <a:ext uri="{FF2B5EF4-FFF2-40B4-BE49-F238E27FC236}">
                      <a16:creationId xmlns:a16="http://schemas.microsoft.com/office/drawing/2014/main" id="{8E01C1EC-35AF-B74F-8471-2D6C78A5A5D2}"/>
                    </a:ext>
                  </a:extLst>
                </p:cNvPr>
                <p:cNvSpPr/>
                <p:nvPr/>
              </p:nvSpPr>
              <p:spPr>
                <a:xfrm>
                  <a:off x="8198458" y="5565062"/>
                  <a:ext cx="3473" cy="52065"/>
                </a:xfrm>
                <a:custGeom>
                  <a:avLst/>
                  <a:gdLst>
                    <a:gd name="connsiteX0" fmla="*/ 2419 w 3473"/>
                    <a:gd name="connsiteY0" fmla="*/ 52065 h 52065"/>
                    <a:gd name="connsiteX1" fmla="*/ 177 w 3473"/>
                    <a:gd name="connsiteY1" fmla="*/ 33382 h 52065"/>
                    <a:gd name="connsiteX2" fmla="*/ 3415 w 3473"/>
                    <a:gd name="connsiteY2" fmla="*/ 16317 h 52065"/>
                    <a:gd name="connsiteX3" fmla="*/ 1049 w 3473"/>
                    <a:gd name="connsiteY3" fmla="*/ 0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52065"/>
                      </a:moveTo>
                      <a:cubicBezTo>
                        <a:pt x="-197" y="44094"/>
                        <a:pt x="-197" y="37741"/>
                        <a:pt x="177" y="33382"/>
                      </a:cubicBezTo>
                      <a:cubicBezTo>
                        <a:pt x="925" y="26407"/>
                        <a:pt x="2917" y="23417"/>
                        <a:pt x="3415" y="16317"/>
                      </a:cubicBezTo>
                      <a:cubicBezTo>
                        <a:pt x="3789" y="9467"/>
                        <a:pt x="2295" y="3737"/>
                        <a:pt x="1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1" name="Freeform 4995">
                  <a:extLst>
                    <a:ext uri="{FF2B5EF4-FFF2-40B4-BE49-F238E27FC236}">
                      <a16:creationId xmlns:a16="http://schemas.microsoft.com/office/drawing/2014/main" id="{60E68F64-8613-2A6A-DC0F-0340236681EB}"/>
                    </a:ext>
                  </a:extLst>
                </p:cNvPr>
                <p:cNvSpPr/>
                <p:nvPr/>
              </p:nvSpPr>
              <p:spPr>
                <a:xfrm>
                  <a:off x="8182814" y="5549741"/>
                  <a:ext cx="26534" cy="26530"/>
                </a:xfrm>
                <a:custGeom>
                  <a:avLst/>
                  <a:gdLst>
                    <a:gd name="connsiteX0" fmla="*/ 26533 w 26534"/>
                    <a:gd name="connsiteY0" fmla="*/ 13203 h 26530"/>
                    <a:gd name="connsiteX1" fmla="*/ 13454 w 26534"/>
                    <a:gd name="connsiteY1" fmla="*/ 26531 h 26530"/>
                    <a:gd name="connsiteX2" fmla="*/ 2 w 26534"/>
                    <a:gd name="connsiteY2" fmla="*/ 13452 h 26530"/>
                    <a:gd name="connsiteX3" fmla="*/ 13080 w 26534"/>
                    <a:gd name="connsiteY3" fmla="*/ 0 h 26530"/>
                    <a:gd name="connsiteX4" fmla="*/ 26533 w 26534"/>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203"/>
                      </a:moveTo>
                      <a:cubicBezTo>
                        <a:pt x="26657" y="20552"/>
                        <a:pt x="20803" y="26531"/>
                        <a:pt x="13454" y="26531"/>
                      </a:cubicBezTo>
                      <a:cubicBezTo>
                        <a:pt x="6105" y="26531"/>
                        <a:pt x="127" y="20801"/>
                        <a:pt x="2" y="13452"/>
                      </a:cubicBezTo>
                      <a:cubicBezTo>
                        <a:pt x="-123" y="6103"/>
                        <a:pt x="5731" y="0"/>
                        <a:pt x="13080" y="0"/>
                      </a:cubicBezTo>
                      <a:cubicBezTo>
                        <a:pt x="20430" y="0"/>
                        <a:pt x="26533" y="5854"/>
                        <a:pt x="26533"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2" name="Freeform 4996">
                  <a:extLst>
                    <a:ext uri="{FF2B5EF4-FFF2-40B4-BE49-F238E27FC236}">
                      <a16:creationId xmlns:a16="http://schemas.microsoft.com/office/drawing/2014/main" id="{C254D484-E752-D54A-CDDB-F17C91BE425B}"/>
                    </a:ext>
                  </a:extLst>
                </p:cNvPr>
                <p:cNvSpPr/>
                <p:nvPr/>
              </p:nvSpPr>
              <p:spPr>
                <a:xfrm>
                  <a:off x="8199227" y="5626220"/>
                  <a:ext cx="4062" cy="52065"/>
                </a:xfrm>
                <a:custGeom>
                  <a:avLst/>
                  <a:gdLst>
                    <a:gd name="connsiteX0" fmla="*/ 2023 w 4062"/>
                    <a:gd name="connsiteY0" fmla="*/ 52065 h 52065"/>
                    <a:gd name="connsiteX1" fmla="*/ 3767 w 4062"/>
                    <a:gd name="connsiteY1" fmla="*/ 33382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7"/>
                        <a:pt x="3767" y="33382"/>
                      </a:cubicBezTo>
                      <a:cubicBezTo>
                        <a:pt x="2895" y="26406"/>
                        <a:pt x="778" y="23417"/>
                        <a:pt x="155" y="16317"/>
                      </a:cubicBezTo>
                      <a:cubicBezTo>
                        <a:pt x="-468"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3" name="Freeform 4997">
                  <a:extLst>
                    <a:ext uri="{FF2B5EF4-FFF2-40B4-BE49-F238E27FC236}">
                      <a16:creationId xmlns:a16="http://schemas.microsoft.com/office/drawing/2014/main" id="{91F82AE4-F9FD-E2B4-AAD7-349B800EBDC8}"/>
                    </a:ext>
                  </a:extLst>
                </p:cNvPr>
                <p:cNvSpPr/>
                <p:nvPr/>
              </p:nvSpPr>
              <p:spPr>
                <a:xfrm>
                  <a:off x="8191975" y="5631202"/>
                  <a:ext cx="3349" cy="52065"/>
                </a:xfrm>
                <a:custGeom>
                  <a:avLst/>
                  <a:gdLst>
                    <a:gd name="connsiteX0" fmla="*/ 930 w 3349"/>
                    <a:gd name="connsiteY0" fmla="*/ 0 h 52065"/>
                    <a:gd name="connsiteX1" fmla="*/ 3172 w 3349"/>
                    <a:gd name="connsiteY1" fmla="*/ 18684 h 52065"/>
                    <a:gd name="connsiteX2" fmla="*/ 58 w 3349"/>
                    <a:gd name="connsiteY2" fmla="*/ 35748 h 52065"/>
                    <a:gd name="connsiteX3" fmla="*/ 2425 w 334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349" h="52065">
                      <a:moveTo>
                        <a:pt x="930" y="0"/>
                      </a:moveTo>
                      <a:cubicBezTo>
                        <a:pt x="3546" y="7971"/>
                        <a:pt x="3546" y="14324"/>
                        <a:pt x="3172" y="18684"/>
                      </a:cubicBezTo>
                      <a:cubicBezTo>
                        <a:pt x="2550" y="25659"/>
                        <a:pt x="432" y="28648"/>
                        <a:pt x="58" y="35748"/>
                      </a:cubicBezTo>
                      <a:cubicBezTo>
                        <a:pt x="-316" y="42599"/>
                        <a:pt x="1180" y="48328"/>
                        <a:pt x="242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34" name="Freeform 4998">
                  <a:extLst>
                    <a:ext uri="{FF2B5EF4-FFF2-40B4-BE49-F238E27FC236}">
                      <a16:creationId xmlns:a16="http://schemas.microsoft.com/office/drawing/2014/main" id="{5DCAFB7C-39D1-26B7-9EDD-FC3FC8E00925}"/>
                    </a:ext>
                  </a:extLst>
                </p:cNvPr>
                <p:cNvSpPr/>
                <p:nvPr/>
              </p:nvSpPr>
              <p:spPr>
                <a:xfrm>
                  <a:off x="8184558" y="5672181"/>
                  <a:ext cx="26285" cy="26530"/>
                </a:xfrm>
                <a:custGeom>
                  <a:avLst/>
                  <a:gdLst>
                    <a:gd name="connsiteX0" fmla="*/ 2 w 26285"/>
                    <a:gd name="connsiteY0" fmla="*/ 13452 h 26530"/>
                    <a:gd name="connsiteX1" fmla="*/ 12956 w 26285"/>
                    <a:gd name="connsiteY1" fmla="*/ 0 h 26530"/>
                    <a:gd name="connsiteX2" fmla="*/ 26283 w 26285"/>
                    <a:gd name="connsiteY2" fmla="*/ 13203 h 26530"/>
                    <a:gd name="connsiteX3" fmla="*/ 13329 w 26285"/>
                    <a:gd name="connsiteY3" fmla="*/ 26531 h 26530"/>
                    <a:gd name="connsiteX4" fmla="*/ 2 w 26285"/>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0">
                      <a:moveTo>
                        <a:pt x="2" y="13452"/>
                      </a:moveTo>
                      <a:cubicBezTo>
                        <a:pt x="-123" y="6104"/>
                        <a:pt x="5731" y="0"/>
                        <a:pt x="12956" y="0"/>
                      </a:cubicBezTo>
                      <a:cubicBezTo>
                        <a:pt x="20180" y="0"/>
                        <a:pt x="26159" y="5854"/>
                        <a:pt x="26283" y="13203"/>
                      </a:cubicBezTo>
                      <a:cubicBezTo>
                        <a:pt x="26408" y="20552"/>
                        <a:pt x="20554" y="26531"/>
                        <a:pt x="13329" y="26531"/>
                      </a:cubicBezTo>
                      <a:cubicBezTo>
                        <a:pt x="6105" y="26531"/>
                        <a:pt x="126" y="20677"/>
                        <a:pt x="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6" name="Graphic 2987">
                <a:extLst>
                  <a:ext uri="{FF2B5EF4-FFF2-40B4-BE49-F238E27FC236}">
                    <a16:creationId xmlns:a16="http://schemas.microsoft.com/office/drawing/2014/main" id="{219FAAE9-BAF8-5DD9-1FC7-4891849F01A4}"/>
                  </a:ext>
                </a:extLst>
              </p:cNvPr>
              <p:cNvGrpSpPr/>
              <p:nvPr/>
            </p:nvGrpSpPr>
            <p:grpSpPr>
              <a:xfrm>
                <a:off x="8212459" y="5549492"/>
                <a:ext cx="27904" cy="148971"/>
                <a:chOff x="8212459" y="5549492"/>
                <a:chExt cx="27904" cy="148971"/>
              </a:xfrm>
              <a:grpFill/>
            </p:grpSpPr>
            <p:sp>
              <p:nvSpPr>
                <p:cNvPr id="4523" name="Freeform 5000">
                  <a:extLst>
                    <a:ext uri="{FF2B5EF4-FFF2-40B4-BE49-F238E27FC236}">
                      <a16:creationId xmlns:a16="http://schemas.microsoft.com/office/drawing/2014/main" id="{97CE43A8-F6D1-D839-1754-F32BA16C37AF}"/>
                    </a:ext>
                  </a:extLst>
                </p:cNvPr>
                <p:cNvSpPr/>
                <p:nvPr/>
              </p:nvSpPr>
              <p:spPr>
                <a:xfrm>
                  <a:off x="8220206" y="5569920"/>
                  <a:ext cx="4118" cy="52065"/>
                </a:xfrm>
                <a:custGeom>
                  <a:avLst/>
                  <a:gdLst>
                    <a:gd name="connsiteX0" fmla="*/ 2095 w 4118"/>
                    <a:gd name="connsiteY0" fmla="*/ 0 h 52065"/>
                    <a:gd name="connsiteX1" fmla="*/ 351 w 4118"/>
                    <a:gd name="connsiteY1" fmla="*/ 18684 h 52065"/>
                    <a:gd name="connsiteX2" fmla="*/ 3963 w 4118"/>
                    <a:gd name="connsiteY2" fmla="*/ 35748 h 52065"/>
                    <a:gd name="connsiteX3" fmla="*/ 1970 w 411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0"/>
                      </a:moveTo>
                      <a:cubicBezTo>
                        <a:pt x="-272" y="8096"/>
                        <a:pt x="-272" y="14449"/>
                        <a:pt x="351" y="18684"/>
                      </a:cubicBezTo>
                      <a:cubicBezTo>
                        <a:pt x="1223" y="25659"/>
                        <a:pt x="3340" y="28648"/>
                        <a:pt x="3963" y="35748"/>
                      </a:cubicBezTo>
                      <a:cubicBezTo>
                        <a:pt x="4586" y="42599"/>
                        <a:pt x="3216" y="48328"/>
                        <a:pt x="197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4" name="Freeform 5001">
                  <a:extLst>
                    <a:ext uri="{FF2B5EF4-FFF2-40B4-BE49-F238E27FC236}">
                      <a16:creationId xmlns:a16="http://schemas.microsoft.com/office/drawing/2014/main" id="{A11CF3D4-B3EB-BCFA-788D-491E44B07B8B}"/>
                    </a:ext>
                  </a:extLst>
                </p:cNvPr>
                <p:cNvSpPr/>
                <p:nvPr/>
              </p:nvSpPr>
              <p:spPr>
                <a:xfrm>
                  <a:off x="8228147" y="5564937"/>
                  <a:ext cx="3557" cy="52065"/>
                </a:xfrm>
                <a:custGeom>
                  <a:avLst/>
                  <a:gdLst>
                    <a:gd name="connsiteX0" fmla="*/ 2375 w 3557"/>
                    <a:gd name="connsiteY0" fmla="*/ 52065 h 52065"/>
                    <a:gd name="connsiteX1" fmla="*/ 257 w 3557"/>
                    <a:gd name="connsiteY1" fmla="*/ 33381 h 52065"/>
                    <a:gd name="connsiteX2" fmla="*/ 3495 w 3557"/>
                    <a:gd name="connsiteY2" fmla="*/ 16317 h 52065"/>
                    <a:gd name="connsiteX3" fmla="*/ 1129 w 3557"/>
                    <a:gd name="connsiteY3" fmla="*/ 0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52065"/>
                      </a:moveTo>
                      <a:cubicBezTo>
                        <a:pt x="-241" y="44093"/>
                        <a:pt x="-241" y="37741"/>
                        <a:pt x="257" y="33381"/>
                      </a:cubicBezTo>
                      <a:cubicBezTo>
                        <a:pt x="1004" y="26406"/>
                        <a:pt x="3122" y="23417"/>
                        <a:pt x="3495" y="16317"/>
                      </a:cubicBezTo>
                      <a:cubicBezTo>
                        <a:pt x="3869" y="9466"/>
                        <a:pt x="2499" y="3737"/>
                        <a:pt x="11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5" name="Freeform 5002">
                  <a:extLst>
                    <a:ext uri="{FF2B5EF4-FFF2-40B4-BE49-F238E27FC236}">
                      <a16:creationId xmlns:a16="http://schemas.microsoft.com/office/drawing/2014/main" id="{593B968E-72AD-9EDF-F7AA-2300A4307C75}"/>
                    </a:ext>
                  </a:extLst>
                </p:cNvPr>
                <p:cNvSpPr/>
                <p:nvPr/>
              </p:nvSpPr>
              <p:spPr>
                <a:xfrm>
                  <a:off x="8212459" y="5549492"/>
                  <a:ext cx="26658" cy="26530"/>
                </a:xfrm>
                <a:custGeom>
                  <a:avLst/>
                  <a:gdLst>
                    <a:gd name="connsiteX0" fmla="*/ 26657 w 26658"/>
                    <a:gd name="connsiteY0" fmla="*/ 13203 h 26530"/>
                    <a:gd name="connsiteX1" fmla="*/ 13454 w 26658"/>
                    <a:gd name="connsiteY1" fmla="*/ 26531 h 26530"/>
                    <a:gd name="connsiteX2" fmla="*/ 2 w 26658"/>
                    <a:gd name="connsiteY2" fmla="*/ 13328 h 26530"/>
                    <a:gd name="connsiteX3" fmla="*/ 13205 w 26658"/>
                    <a:gd name="connsiteY3" fmla="*/ 0 h 26530"/>
                    <a:gd name="connsiteX4" fmla="*/ 26657 w 26658"/>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8" h="26530">
                      <a:moveTo>
                        <a:pt x="26657" y="13203"/>
                      </a:moveTo>
                      <a:cubicBezTo>
                        <a:pt x="26781" y="20552"/>
                        <a:pt x="20803" y="26531"/>
                        <a:pt x="13454" y="26531"/>
                      </a:cubicBezTo>
                      <a:cubicBezTo>
                        <a:pt x="6105" y="26531"/>
                        <a:pt x="127" y="20677"/>
                        <a:pt x="2" y="13328"/>
                      </a:cubicBezTo>
                      <a:cubicBezTo>
                        <a:pt x="-123" y="5979"/>
                        <a:pt x="5856" y="0"/>
                        <a:pt x="13205" y="0"/>
                      </a:cubicBezTo>
                      <a:cubicBezTo>
                        <a:pt x="20553" y="0"/>
                        <a:pt x="26657" y="5854"/>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6" name="Freeform 5003">
                  <a:extLst>
                    <a:ext uri="{FF2B5EF4-FFF2-40B4-BE49-F238E27FC236}">
                      <a16:creationId xmlns:a16="http://schemas.microsoft.com/office/drawing/2014/main" id="{A734304E-9F53-0C8D-F681-9AB2BA20973A}"/>
                    </a:ext>
                  </a:extLst>
                </p:cNvPr>
                <p:cNvSpPr/>
                <p:nvPr/>
              </p:nvSpPr>
              <p:spPr>
                <a:xfrm>
                  <a:off x="8228623" y="5625971"/>
                  <a:ext cx="4062" cy="52065"/>
                </a:xfrm>
                <a:custGeom>
                  <a:avLst/>
                  <a:gdLst>
                    <a:gd name="connsiteX0" fmla="*/ 2023 w 4062"/>
                    <a:gd name="connsiteY0" fmla="*/ 52065 h 52065"/>
                    <a:gd name="connsiteX1" fmla="*/ 3767 w 4062"/>
                    <a:gd name="connsiteY1" fmla="*/ 33381 h 52065"/>
                    <a:gd name="connsiteX2" fmla="*/ 155 w 4062"/>
                    <a:gd name="connsiteY2" fmla="*/ 16317 h 52065"/>
                    <a:gd name="connsiteX3" fmla="*/ 2148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23" y="52065"/>
                      </a:moveTo>
                      <a:cubicBezTo>
                        <a:pt x="4390" y="43969"/>
                        <a:pt x="4265" y="37616"/>
                        <a:pt x="3767" y="33381"/>
                      </a:cubicBezTo>
                      <a:cubicBezTo>
                        <a:pt x="2895" y="26406"/>
                        <a:pt x="778" y="23417"/>
                        <a:pt x="155" y="16317"/>
                      </a:cubicBezTo>
                      <a:cubicBezTo>
                        <a:pt x="-467" y="9467"/>
                        <a:pt x="903" y="3737"/>
                        <a:pt x="21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7" name="Freeform 5004">
                  <a:extLst>
                    <a:ext uri="{FF2B5EF4-FFF2-40B4-BE49-F238E27FC236}">
                      <a16:creationId xmlns:a16="http://schemas.microsoft.com/office/drawing/2014/main" id="{874C3186-715A-40C3-0A75-6D509666C026}"/>
                    </a:ext>
                  </a:extLst>
                </p:cNvPr>
                <p:cNvSpPr/>
                <p:nvPr/>
              </p:nvSpPr>
              <p:spPr>
                <a:xfrm>
                  <a:off x="8221367" y="5631078"/>
                  <a:ext cx="3477" cy="52065"/>
                </a:xfrm>
                <a:custGeom>
                  <a:avLst/>
                  <a:gdLst>
                    <a:gd name="connsiteX0" fmla="*/ 1059 w 3477"/>
                    <a:gd name="connsiteY0" fmla="*/ 0 h 52065"/>
                    <a:gd name="connsiteX1" fmla="*/ 3301 w 3477"/>
                    <a:gd name="connsiteY1" fmla="*/ 18684 h 52065"/>
                    <a:gd name="connsiteX2" fmla="*/ 62 w 3477"/>
                    <a:gd name="connsiteY2" fmla="*/ 35748 h 52065"/>
                    <a:gd name="connsiteX3" fmla="*/ 2429 w 347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7" h="52065">
                      <a:moveTo>
                        <a:pt x="1059" y="0"/>
                      </a:moveTo>
                      <a:cubicBezTo>
                        <a:pt x="3675" y="7971"/>
                        <a:pt x="3675" y="14324"/>
                        <a:pt x="3301" y="18684"/>
                      </a:cubicBezTo>
                      <a:cubicBezTo>
                        <a:pt x="2554" y="25659"/>
                        <a:pt x="561" y="28648"/>
                        <a:pt x="62" y="35748"/>
                      </a:cubicBezTo>
                      <a:cubicBezTo>
                        <a:pt x="-311" y="42599"/>
                        <a:pt x="1059" y="48328"/>
                        <a:pt x="24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8" name="Freeform 5005">
                  <a:extLst>
                    <a:ext uri="{FF2B5EF4-FFF2-40B4-BE49-F238E27FC236}">
                      <a16:creationId xmlns:a16="http://schemas.microsoft.com/office/drawing/2014/main" id="{CCE63FB2-0D06-F618-AFA3-4801C55C3715}"/>
                    </a:ext>
                  </a:extLst>
                </p:cNvPr>
                <p:cNvSpPr/>
                <p:nvPr/>
              </p:nvSpPr>
              <p:spPr>
                <a:xfrm>
                  <a:off x="8213954" y="5671932"/>
                  <a:ext cx="26410" cy="26530"/>
                </a:xfrm>
                <a:custGeom>
                  <a:avLst/>
                  <a:gdLst>
                    <a:gd name="connsiteX0" fmla="*/ 2 w 26410"/>
                    <a:gd name="connsiteY0" fmla="*/ 13328 h 26530"/>
                    <a:gd name="connsiteX1" fmla="*/ 13080 w 26410"/>
                    <a:gd name="connsiteY1" fmla="*/ 0 h 26530"/>
                    <a:gd name="connsiteX2" fmla="*/ 26408 w 26410"/>
                    <a:gd name="connsiteY2" fmla="*/ 13203 h 26530"/>
                    <a:gd name="connsiteX3" fmla="*/ 13330 w 26410"/>
                    <a:gd name="connsiteY3" fmla="*/ 26531 h 26530"/>
                    <a:gd name="connsiteX4" fmla="*/ 2 w 26410"/>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0">
                      <a:moveTo>
                        <a:pt x="2" y="13328"/>
                      </a:moveTo>
                      <a:cubicBezTo>
                        <a:pt x="-123" y="5979"/>
                        <a:pt x="5731" y="0"/>
                        <a:pt x="13080" y="0"/>
                      </a:cubicBezTo>
                      <a:cubicBezTo>
                        <a:pt x="20305" y="0"/>
                        <a:pt x="26283" y="5854"/>
                        <a:pt x="26408" y="13203"/>
                      </a:cubicBezTo>
                      <a:cubicBezTo>
                        <a:pt x="26533" y="20552"/>
                        <a:pt x="20678" y="26531"/>
                        <a:pt x="13330" y="26531"/>
                      </a:cubicBezTo>
                      <a:cubicBezTo>
                        <a:pt x="6105" y="26531"/>
                        <a:pt x="127" y="20677"/>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7" name="Graphic 2987">
                <a:extLst>
                  <a:ext uri="{FF2B5EF4-FFF2-40B4-BE49-F238E27FC236}">
                    <a16:creationId xmlns:a16="http://schemas.microsoft.com/office/drawing/2014/main" id="{71B39427-6DCA-ECEC-F2EE-1C2DB4A8CD53}"/>
                  </a:ext>
                </a:extLst>
              </p:cNvPr>
              <p:cNvGrpSpPr/>
              <p:nvPr/>
            </p:nvGrpSpPr>
            <p:grpSpPr>
              <a:xfrm>
                <a:off x="8242228" y="5549243"/>
                <a:ext cx="27654" cy="149095"/>
                <a:chOff x="8242228" y="5549243"/>
                <a:chExt cx="27654" cy="149095"/>
              </a:xfrm>
              <a:grpFill/>
            </p:grpSpPr>
            <p:sp>
              <p:nvSpPr>
                <p:cNvPr id="4517" name="Freeform 5007">
                  <a:extLst>
                    <a:ext uri="{FF2B5EF4-FFF2-40B4-BE49-F238E27FC236}">
                      <a16:creationId xmlns:a16="http://schemas.microsoft.com/office/drawing/2014/main" id="{356314EF-4777-DDED-7B0E-F3D2187C8544}"/>
                    </a:ext>
                  </a:extLst>
                </p:cNvPr>
                <p:cNvSpPr/>
                <p:nvPr/>
              </p:nvSpPr>
              <p:spPr>
                <a:xfrm>
                  <a:off x="8249813" y="5569671"/>
                  <a:ext cx="3988" cy="52065"/>
                </a:xfrm>
                <a:custGeom>
                  <a:avLst/>
                  <a:gdLst>
                    <a:gd name="connsiteX0" fmla="*/ 2133 w 3988"/>
                    <a:gd name="connsiteY0" fmla="*/ 0 h 52065"/>
                    <a:gd name="connsiteX1" fmla="*/ 264 w 3988"/>
                    <a:gd name="connsiteY1" fmla="*/ 18684 h 52065"/>
                    <a:gd name="connsiteX2" fmla="*/ 3877 w 3988"/>
                    <a:gd name="connsiteY2" fmla="*/ 35748 h 52065"/>
                    <a:gd name="connsiteX3" fmla="*/ 1883 w 398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988" h="52065">
                      <a:moveTo>
                        <a:pt x="2133" y="0"/>
                      </a:moveTo>
                      <a:cubicBezTo>
                        <a:pt x="-234" y="8096"/>
                        <a:pt x="-234" y="14448"/>
                        <a:pt x="264" y="18684"/>
                      </a:cubicBezTo>
                      <a:cubicBezTo>
                        <a:pt x="1136" y="25659"/>
                        <a:pt x="3254" y="28648"/>
                        <a:pt x="3877" y="35748"/>
                      </a:cubicBezTo>
                      <a:cubicBezTo>
                        <a:pt x="4375" y="42599"/>
                        <a:pt x="3129" y="48328"/>
                        <a:pt x="1883"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8" name="Freeform 5008">
                  <a:extLst>
                    <a:ext uri="{FF2B5EF4-FFF2-40B4-BE49-F238E27FC236}">
                      <a16:creationId xmlns:a16="http://schemas.microsoft.com/office/drawing/2014/main" id="{00DDAEC3-6398-71DE-5761-B118A5FA8569}"/>
                    </a:ext>
                  </a:extLst>
                </p:cNvPr>
                <p:cNvSpPr/>
                <p:nvPr/>
              </p:nvSpPr>
              <p:spPr>
                <a:xfrm>
                  <a:off x="8257815" y="5564688"/>
                  <a:ext cx="3570" cy="52065"/>
                </a:xfrm>
                <a:custGeom>
                  <a:avLst/>
                  <a:gdLst>
                    <a:gd name="connsiteX0" fmla="*/ 2351 w 3570"/>
                    <a:gd name="connsiteY0" fmla="*/ 52065 h 52065"/>
                    <a:gd name="connsiteX1" fmla="*/ 234 w 3570"/>
                    <a:gd name="connsiteY1" fmla="*/ 33382 h 52065"/>
                    <a:gd name="connsiteX2" fmla="*/ 3472 w 3570"/>
                    <a:gd name="connsiteY2" fmla="*/ 16317 h 52065"/>
                    <a:gd name="connsiteX3" fmla="*/ 123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2351" y="52065"/>
                      </a:moveTo>
                      <a:cubicBezTo>
                        <a:pt x="-140" y="44094"/>
                        <a:pt x="-264" y="37741"/>
                        <a:pt x="234" y="33382"/>
                      </a:cubicBezTo>
                      <a:cubicBezTo>
                        <a:pt x="981" y="26407"/>
                        <a:pt x="3098" y="23417"/>
                        <a:pt x="3472" y="16317"/>
                      </a:cubicBezTo>
                      <a:cubicBezTo>
                        <a:pt x="3970" y="9467"/>
                        <a:pt x="2476" y="3737"/>
                        <a:pt x="12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9" name="Freeform 5009">
                  <a:extLst>
                    <a:ext uri="{FF2B5EF4-FFF2-40B4-BE49-F238E27FC236}">
                      <a16:creationId xmlns:a16="http://schemas.microsoft.com/office/drawing/2014/main" id="{33B26D16-70D7-7A76-F382-2C39847E259D}"/>
                    </a:ext>
                  </a:extLst>
                </p:cNvPr>
                <p:cNvSpPr/>
                <p:nvPr/>
              </p:nvSpPr>
              <p:spPr>
                <a:xfrm>
                  <a:off x="8242228" y="5549243"/>
                  <a:ext cx="26657" cy="26530"/>
                </a:xfrm>
                <a:custGeom>
                  <a:avLst/>
                  <a:gdLst>
                    <a:gd name="connsiteX0" fmla="*/ 26657 w 26657"/>
                    <a:gd name="connsiteY0" fmla="*/ 13203 h 26530"/>
                    <a:gd name="connsiteX1" fmla="*/ 13454 w 26657"/>
                    <a:gd name="connsiteY1" fmla="*/ 26531 h 26530"/>
                    <a:gd name="connsiteX2" fmla="*/ 2 w 26657"/>
                    <a:gd name="connsiteY2" fmla="*/ 13328 h 26530"/>
                    <a:gd name="connsiteX3" fmla="*/ 13206 w 26657"/>
                    <a:gd name="connsiteY3" fmla="*/ 0 h 26530"/>
                    <a:gd name="connsiteX4" fmla="*/ 26657 w 26657"/>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7" y="13203"/>
                      </a:moveTo>
                      <a:cubicBezTo>
                        <a:pt x="26657" y="20552"/>
                        <a:pt x="20804" y="26531"/>
                        <a:pt x="13454" y="26531"/>
                      </a:cubicBezTo>
                      <a:cubicBezTo>
                        <a:pt x="6106" y="26531"/>
                        <a:pt x="127" y="20677"/>
                        <a:pt x="2" y="13328"/>
                      </a:cubicBezTo>
                      <a:cubicBezTo>
                        <a:pt x="-122" y="5979"/>
                        <a:pt x="5856" y="0"/>
                        <a:pt x="13206" y="0"/>
                      </a:cubicBezTo>
                      <a:cubicBezTo>
                        <a:pt x="20554" y="0"/>
                        <a:pt x="26657" y="5979"/>
                        <a:pt x="26657"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0" name="Freeform 5010">
                  <a:extLst>
                    <a:ext uri="{FF2B5EF4-FFF2-40B4-BE49-F238E27FC236}">
                      <a16:creationId xmlns:a16="http://schemas.microsoft.com/office/drawing/2014/main" id="{A3578CEC-24AC-E99B-DCD6-B316DB5C5F6E}"/>
                    </a:ext>
                  </a:extLst>
                </p:cNvPr>
                <p:cNvSpPr/>
                <p:nvPr/>
              </p:nvSpPr>
              <p:spPr>
                <a:xfrm>
                  <a:off x="8258435" y="5625846"/>
                  <a:ext cx="3863" cy="52065"/>
                </a:xfrm>
                <a:custGeom>
                  <a:avLst/>
                  <a:gdLst>
                    <a:gd name="connsiteX0" fmla="*/ 1731 w 3863"/>
                    <a:gd name="connsiteY0" fmla="*/ 52065 h 52065"/>
                    <a:gd name="connsiteX1" fmla="*/ 3600 w 3863"/>
                    <a:gd name="connsiteY1" fmla="*/ 33382 h 52065"/>
                    <a:gd name="connsiteX2" fmla="*/ 113 w 3863"/>
                    <a:gd name="connsiteY2" fmla="*/ 16317 h 52065"/>
                    <a:gd name="connsiteX3" fmla="*/ 2105 w 3863"/>
                    <a:gd name="connsiteY3" fmla="*/ 0 h 52065"/>
                  </a:gdLst>
                  <a:ahLst/>
                  <a:cxnLst>
                    <a:cxn ang="0">
                      <a:pos x="connsiteX0" y="connsiteY0"/>
                    </a:cxn>
                    <a:cxn ang="0">
                      <a:pos x="connsiteX1" y="connsiteY1"/>
                    </a:cxn>
                    <a:cxn ang="0">
                      <a:pos x="connsiteX2" y="connsiteY2"/>
                    </a:cxn>
                    <a:cxn ang="0">
                      <a:pos x="connsiteX3" y="connsiteY3"/>
                    </a:cxn>
                  </a:cxnLst>
                  <a:rect l="l" t="t" r="r" b="b"/>
                  <a:pathLst>
                    <a:path w="3863" h="52065">
                      <a:moveTo>
                        <a:pt x="1731" y="52065"/>
                      </a:moveTo>
                      <a:cubicBezTo>
                        <a:pt x="4098" y="43969"/>
                        <a:pt x="4098" y="37617"/>
                        <a:pt x="3600" y="33382"/>
                      </a:cubicBezTo>
                      <a:cubicBezTo>
                        <a:pt x="2728" y="26406"/>
                        <a:pt x="611" y="23417"/>
                        <a:pt x="113" y="16317"/>
                      </a:cubicBezTo>
                      <a:cubicBezTo>
                        <a:pt x="-386" y="9467"/>
                        <a:pt x="860" y="3737"/>
                        <a:pt x="2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1" name="Freeform 5011">
                  <a:extLst>
                    <a:ext uri="{FF2B5EF4-FFF2-40B4-BE49-F238E27FC236}">
                      <a16:creationId xmlns:a16="http://schemas.microsoft.com/office/drawing/2014/main" id="{1DFCC04D-E731-0587-6EA5-0BB70842963C}"/>
                    </a:ext>
                  </a:extLst>
                </p:cNvPr>
                <p:cNvSpPr/>
                <p:nvPr/>
              </p:nvSpPr>
              <p:spPr>
                <a:xfrm>
                  <a:off x="8250886" y="5630828"/>
                  <a:ext cx="3534" cy="52065"/>
                </a:xfrm>
                <a:custGeom>
                  <a:avLst/>
                  <a:gdLst>
                    <a:gd name="connsiteX0" fmla="*/ 1184 w 3534"/>
                    <a:gd name="connsiteY0" fmla="*/ 0 h 52065"/>
                    <a:gd name="connsiteX1" fmla="*/ 3301 w 3534"/>
                    <a:gd name="connsiteY1" fmla="*/ 18684 h 52065"/>
                    <a:gd name="connsiteX2" fmla="*/ 62 w 3534"/>
                    <a:gd name="connsiteY2" fmla="*/ 35748 h 52065"/>
                    <a:gd name="connsiteX3" fmla="*/ 2304 w 35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0"/>
                      </a:moveTo>
                      <a:cubicBezTo>
                        <a:pt x="3675" y="7972"/>
                        <a:pt x="3799" y="14324"/>
                        <a:pt x="3301" y="18684"/>
                      </a:cubicBezTo>
                      <a:cubicBezTo>
                        <a:pt x="2554" y="25659"/>
                        <a:pt x="437" y="28648"/>
                        <a:pt x="62" y="35748"/>
                      </a:cubicBezTo>
                      <a:cubicBezTo>
                        <a:pt x="-311" y="42599"/>
                        <a:pt x="1059" y="48328"/>
                        <a:pt x="230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22" name="Freeform 5012">
                  <a:extLst>
                    <a:ext uri="{FF2B5EF4-FFF2-40B4-BE49-F238E27FC236}">
                      <a16:creationId xmlns:a16="http://schemas.microsoft.com/office/drawing/2014/main" id="{06A72305-FD57-6695-0FEA-EDA0E4C53B39}"/>
                    </a:ext>
                  </a:extLst>
                </p:cNvPr>
                <p:cNvSpPr/>
                <p:nvPr/>
              </p:nvSpPr>
              <p:spPr>
                <a:xfrm>
                  <a:off x="8243474" y="5671808"/>
                  <a:ext cx="26408" cy="26530"/>
                </a:xfrm>
                <a:custGeom>
                  <a:avLst/>
                  <a:gdLst>
                    <a:gd name="connsiteX0" fmla="*/ 2 w 26408"/>
                    <a:gd name="connsiteY0" fmla="*/ 13328 h 26530"/>
                    <a:gd name="connsiteX1" fmla="*/ 13080 w 26408"/>
                    <a:gd name="connsiteY1" fmla="*/ 0 h 26530"/>
                    <a:gd name="connsiteX2" fmla="*/ 26408 w 26408"/>
                    <a:gd name="connsiteY2" fmla="*/ 13203 h 26530"/>
                    <a:gd name="connsiteX3" fmla="*/ 13330 w 26408"/>
                    <a:gd name="connsiteY3" fmla="*/ 26531 h 26530"/>
                    <a:gd name="connsiteX4" fmla="*/ 2 w 26408"/>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8" h="26530">
                      <a:moveTo>
                        <a:pt x="2" y="13328"/>
                      </a:moveTo>
                      <a:cubicBezTo>
                        <a:pt x="-123" y="5979"/>
                        <a:pt x="5732" y="0"/>
                        <a:pt x="13080" y="0"/>
                      </a:cubicBezTo>
                      <a:cubicBezTo>
                        <a:pt x="20305" y="0"/>
                        <a:pt x="26283" y="5854"/>
                        <a:pt x="26408" y="13203"/>
                      </a:cubicBezTo>
                      <a:cubicBezTo>
                        <a:pt x="26408" y="20552"/>
                        <a:pt x="20554" y="26531"/>
                        <a:pt x="13330" y="26531"/>
                      </a:cubicBezTo>
                      <a:cubicBezTo>
                        <a:pt x="6105" y="26531"/>
                        <a:pt x="2" y="20552"/>
                        <a:pt x="2"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8" name="Graphic 2987">
                <a:extLst>
                  <a:ext uri="{FF2B5EF4-FFF2-40B4-BE49-F238E27FC236}">
                    <a16:creationId xmlns:a16="http://schemas.microsoft.com/office/drawing/2014/main" id="{614ED344-9B75-70AC-E8D8-C13B2A379409}"/>
                  </a:ext>
                </a:extLst>
              </p:cNvPr>
              <p:cNvGrpSpPr/>
              <p:nvPr/>
            </p:nvGrpSpPr>
            <p:grpSpPr>
              <a:xfrm>
                <a:off x="8272124" y="5549118"/>
                <a:ext cx="27028" cy="148971"/>
                <a:chOff x="8272124" y="5549118"/>
                <a:chExt cx="27028" cy="148971"/>
              </a:xfrm>
              <a:grpFill/>
            </p:grpSpPr>
            <p:sp>
              <p:nvSpPr>
                <p:cNvPr id="4511" name="Freeform 5014">
                  <a:extLst>
                    <a:ext uri="{FF2B5EF4-FFF2-40B4-BE49-F238E27FC236}">
                      <a16:creationId xmlns:a16="http://schemas.microsoft.com/office/drawing/2014/main" id="{C41F2377-1841-F657-E016-D30EE928F3E0}"/>
                    </a:ext>
                  </a:extLst>
                </p:cNvPr>
                <p:cNvSpPr/>
                <p:nvPr/>
              </p:nvSpPr>
              <p:spPr>
                <a:xfrm>
                  <a:off x="8279556" y="5569421"/>
                  <a:ext cx="3883" cy="52065"/>
                </a:xfrm>
                <a:custGeom>
                  <a:avLst/>
                  <a:gdLst>
                    <a:gd name="connsiteX0" fmla="*/ 2159 w 3883"/>
                    <a:gd name="connsiteY0" fmla="*/ 0 h 52065"/>
                    <a:gd name="connsiteX1" fmla="*/ 290 w 3883"/>
                    <a:gd name="connsiteY1" fmla="*/ 18684 h 52065"/>
                    <a:gd name="connsiteX2" fmla="*/ 3778 w 3883"/>
                    <a:gd name="connsiteY2" fmla="*/ 35748 h 52065"/>
                    <a:gd name="connsiteX3" fmla="*/ 1660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0"/>
                      </a:moveTo>
                      <a:cubicBezTo>
                        <a:pt x="-332" y="8096"/>
                        <a:pt x="-207" y="14449"/>
                        <a:pt x="290" y="18684"/>
                      </a:cubicBezTo>
                      <a:cubicBezTo>
                        <a:pt x="1162"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2" name="Freeform 5015">
                  <a:extLst>
                    <a:ext uri="{FF2B5EF4-FFF2-40B4-BE49-F238E27FC236}">
                      <a16:creationId xmlns:a16="http://schemas.microsoft.com/office/drawing/2014/main" id="{C572A99D-A083-6EAD-8859-2228DBF23104}"/>
                    </a:ext>
                  </a:extLst>
                </p:cNvPr>
                <p:cNvSpPr/>
                <p:nvPr/>
              </p:nvSpPr>
              <p:spPr>
                <a:xfrm>
                  <a:off x="8287390" y="5564439"/>
                  <a:ext cx="3640" cy="52065"/>
                </a:xfrm>
                <a:custGeom>
                  <a:avLst/>
                  <a:gdLst>
                    <a:gd name="connsiteX0" fmla="*/ 2297 w 3640"/>
                    <a:gd name="connsiteY0" fmla="*/ 52065 h 52065"/>
                    <a:gd name="connsiteX1" fmla="*/ 179 w 3640"/>
                    <a:gd name="connsiteY1" fmla="*/ 33381 h 52065"/>
                    <a:gd name="connsiteX2" fmla="*/ 3543 w 3640"/>
                    <a:gd name="connsiteY2" fmla="*/ 16317 h 52065"/>
                    <a:gd name="connsiteX3" fmla="*/ 1301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52065"/>
                      </a:moveTo>
                      <a:cubicBezTo>
                        <a:pt x="-194" y="44094"/>
                        <a:pt x="-194" y="37741"/>
                        <a:pt x="179" y="33381"/>
                      </a:cubicBezTo>
                      <a:cubicBezTo>
                        <a:pt x="927" y="26406"/>
                        <a:pt x="3045" y="23417"/>
                        <a:pt x="3543" y="16317"/>
                      </a:cubicBezTo>
                      <a:cubicBezTo>
                        <a:pt x="4041" y="9467"/>
                        <a:pt x="2546" y="3737"/>
                        <a:pt x="13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3" name="Freeform 5016">
                  <a:extLst>
                    <a:ext uri="{FF2B5EF4-FFF2-40B4-BE49-F238E27FC236}">
                      <a16:creationId xmlns:a16="http://schemas.microsoft.com/office/drawing/2014/main" id="{4FA3CCB8-D192-8BC0-F803-8E60D8CBE1BD}"/>
                    </a:ext>
                  </a:extLst>
                </p:cNvPr>
                <p:cNvSpPr/>
                <p:nvPr/>
              </p:nvSpPr>
              <p:spPr>
                <a:xfrm>
                  <a:off x="8272124" y="5549118"/>
                  <a:ext cx="26530" cy="26530"/>
                </a:xfrm>
                <a:custGeom>
                  <a:avLst/>
                  <a:gdLst>
                    <a:gd name="connsiteX0" fmla="*/ 26531 w 26530"/>
                    <a:gd name="connsiteY0" fmla="*/ 13203 h 26530"/>
                    <a:gd name="connsiteX1" fmla="*/ 13328 w 26530"/>
                    <a:gd name="connsiteY1" fmla="*/ 26531 h 26530"/>
                    <a:gd name="connsiteX2" fmla="*/ 0 w 26530"/>
                    <a:gd name="connsiteY2" fmla="*/ 13328 h 26530"/>
                    <a:gd name="connsiteX3" fmla="*/ 13203 w 26530"/>
                    <a:gd name="connsiteY3" fmla="*/ 0 h 26530"/>
                    <a:gd name="connsiteX4" fmla="*/ 26531 w 26530"/>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0" h="26530">
                      <a:moveTo>
                        <a:pt x="26531" y="13203"/>
                      </a:moveTo>
                      <a:cubicBezTo>
                        <a:pt x="26531" y="20552"/>
                        <a:pt x="20677" y="26531"/>
                        <a:pt x="13328" y="26531"/>
                      </a:cubicBezTo>
                      <a:cubicBezTo>
                        <a:pt x="5979" y="26531"/>
                        <a:pt x="0" y="20677"/>
                        <a:pt x="0" y="13328"/>
                      </a:cubicBezTo>
                      <a:cubicBezTo>
                        <a:pt x="0" y="5979"/>
                        <a:pt x="5855" y="0"/>
                        <a:pt x="13203" y="0"/>
                      </a:cubicBezTo>
                      <a:cubicBezTo>
                        <a:pt x="20552" y="0"/>
                        <a:pt x="26531" y="5854"/>
                        <a:pt x="26531"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4" name="Freeform 5017">
                  <a:extLst>
                    <a:ext uri="{FF2B5EF4-FFF2-40B4-BE49-F238E27FC236}">
                      <a16:creationId xmlns:a16="http://schemas.microsoft.com/office/drawing/2014/main" id="{35F28FCE-EF6D-DBA0-F85C-F48D980B2B85}"/>
                    </a:ext>
                  </a:extLst>
                </p:cNvPr>
                <p:cNvSpPr/>
                <p:nvPr/>
              </p:nvSpPr>
              <p:spPr>
                <a:xfrm>
                  <a:off x="8287838" y="5625597"/>
                  <a:ext cx="3856" cy="52065"/>
                </a:xfrm>
                <a:custGeom>
                  <a:avLst/>
                  <a:gdLst>
                    <a:gd name="connsiteX0" fmla="*/ 1724 w 3856"/>
                    <a:gd name="connsiteY0" fmla="*/ 52065 h 52065"/>
                    <a:gd name="connsiteX1" fmla="*/ 3592 w 3856"/>
                    <a:gd name="connsiteY1" fmla="*/ 33381 h 52065"/>
                    <a:gd name="connsiteX2" fmla="*/ 105 w 3856"/>
                    <a:gd name="connsiteY2" fmla="*/ 16317 h 52065"/>
                    <a:gd name="connsiteX3" fmla="*/ 2222 w 3856"/>
                    <a:gd name="connsiteY3" fmla="*/ 0 h 52065"/>
                  </a:gdLst>
                  <a:ahLst/>
                  <a:cxnLst>
                    <a:cxn ang="0">
                      <a:pos x="connsiteX0" y="connsiteY0"/>
                    </a:cxn>
                    <a:cxn ang="0">
                      <a:pos x="connsiteX1" y="connsiteY1"/>
                    </a:cxn>
                    <a:cxn ang="0">
                      <a:pos x="connsiteX2" y="connsiteY2"/>
                    </a:cxn>
                    <a:cxn ang="0">
                      <a:pos x="connsiteX3" y="connsiteY3"/>
                    </a:cxn>
                  </a:cxnLst>
                  <a:rect l="l" t="t" r="r" b="b"/>
                  <a:pathLst>
                    <a:path w="3856" h="52065">
                      <a:moveTo>
                        <a:pt x="1724" y="52065"/>
                      </a:moveTo>
                      <a:cubicBezTo>
                        <a:pt x="4091" y="43969"/>
                        <a:pt x="4091" y="37616"/>
                        <a:pt x="3592"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5" name="Freeform 5018">
                  <a:extLst>
                    <a:ext uri="{FF2B5EF4-FFF2-40B4-BE49-F238E27FC236}">
                      <a16:creationId xmlns:a16="http://schemas.microsoft.com/office/drawing/2014/main" id="{58332109-F21B-AF4C-BD10-65350731FAE6}"/>
                    </a:ext>
                  </a:extLst>
                </p:cNvPr>
                <p:cNvSpPr/>
                <p:nvPr/>
              </p:nvSpPr>
              <p:spPr>
                <a:xfrm>
                  <a:off x="8280371" y="5630579"/>
                  <a:ext cx="3516" cy="52065"/>
                </a:xfrm>
                <a:custGeom>
                  <a:avLst/>
                  <a:gdLst>
                    <a:gd name="connsiteX0" fmla="*/ 1220 w 3516"/>
                    <a:gd name="connsiteY0" fmla="*/ 0 h 52065"/>
                    <a:gd name="connsiteX1" fmla="*/ 3337 w 3516"/>
                    <a:gd name="connsiteY1" fmla="*/ 18684 h 52065"/>
                    <a:gd name="connsiteX2" fmla="*/ 98 w 3516"/>
                    <a:gd name="connsiteY2" fmla="*/ 35748 h 52065"/>
                    <a:gd name="connsiteX3" fmla="*/ 2340 w 351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16" h="52065">
                      <a:moveTo>
                        <a:pt x="1220" y="0"/>
                      </a:moveTo>
                      <a:cubicBezTo>
                        <a:pt x="3711" y="7972"/>
                        <a:pt x="3711" y="14324"/>
                        <a:pt x="3337" y="18684"/>
                      </a:cubicBezTo>
                      <a:cubicBezTo>
                        <a:pt x="2590" y="25659"/>
                        <a:pt x="472" y="28648"/>
                        <a:pt x="98" y="35748"/>
                      </a:cubicBezTo>
                      <a:cubicBezTo>
                        <a:pt x="-400" y="42599"/>
                        <a:pt x="1095"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6" name="Freeform 5019">
                  <a:extLst>
                    <a:ext uri="{FF2B5EF4-FFF2-40B4-BE49-F238E27FC236}">
                      <a16:creationId xmlns:a16="http://schemas.microsoft.com/office/drawing/2014/main" id="{5F9CCF0C-F18F-DADA-D024-88F2978E6DC8}"/>
                    </a:ext>
                  </a:extLst>
                </p:cNvPr>
                <p:cNvSpPr/>
                <p:nvPr/>
              </p:nvSpPr>
              <p:spPr>
                <a:xfrm>
                  <a:off x="8272871" y="5671559"/>
                  <a:ext cx="26281" cy="26530"/>
                </a:xfrm>
                <a:custGeom>
                  <a:avLst/>
                  <a:gdLst>
                    <a:gd name="connsiteX0" fmla="*/ 0 w 26281"/>
                    <a:gd name="connsiteY0" fmla="*/ 13328 h 26530"/>
                    <a:gd name="connsiteX1" fmla="*/ 13078 w 26281"/>
                    <a:gd name="connsiteY1" fmla="*/ 0 h 26530"/>
                    <a:gd name="connsiteX2" fmla="*/ 26281 w 26281"/>
                    <a:gd name="connsiteY2" fmla="*/ 13203 h 26530"/>
                    <a:gd name="connsiteX3" fmla="*/ 13203 w 26281"/>
                    <a:gd name="connsiteY3" fmla="*/ 26531 h 26530"/>
                    <a:gd name="connsiteX4" fmla="*/ 0 w 26281"/>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1" h="26530">
                      <a:moveTo>
                        <a:pt x="0" y="13328"/>
                      </a:moveTo>
                      <a:cubicBezTo>
                        <a:pt x="0" y="5979"/>
                        <a:pt x="5855" y="0"/>
                        <a:pt x="13078" y="0"/>
                      </a:cubicBezTo>
                      <a:cubicBezTo>
                        <a:pt x="20303" y="0"/>
                        <a:pt x="26281" y="5854"/>
                        <a:pt x="26281" y="13203"/>
                      </a:cubicBezTo>
                      <a:cubicBezTo>
                        <a:pt x="26281"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69" name="Graphic 2987">
                <a:extLst>
                  <a:ext uri="{FF2B5EF4-FFF2-40B4-BE49-F238E27FC236}">
                    <a16:creationId xmlns:a16="http://schemas.microsoft.com/office/drawing/2014/main" id="{44FA575B-344D-FF34-F7E6-3347D8CE2A50}"/>
                  </a:ext>
                </a:extLst>
              </p:cNvPr>
              <p:cNvGrpSpPr/>
              <p:nvPr/>
            </p:nvGrpSpPr>
            <p:grpSpPr>
              <a:xfrm>
                <a:off x="8301769" y="5548869"/>
                <a:ext cx="26780" cy="148970"/>
                <a:chOff x="8301769" y="5548869"/>
                <a:chExt cx="26780" cy="148970"/>
              </a:xfrm>
              <a:grpFill/>
            </p:grpSpPr>
            <p:sp>
              <p:nvSpPr>
                <p:cNvPr id="4505" name="Freeform 5021">
                  <a:extLst>
                    <a:ext uri="{FF2B5EF4-FFF2-40B4-BE49-F238E27FC236}">
                      <a16:creationId xmlns:a16="http://schemas.microsoft.com/office/drawing/2014/main" id="{F358B875-2239-21F3-F6AC-1AA711F371E9}"/>
                    </a:ext>
                  </a:extLst>
                </p:cNvPr>
                <p:cNvSpPr/>
                <p:nvPr/>
              </p:nvSpPr>
              <p:spPr>
                <a:xfrm>
                  <a:off x="8309325" y="5569297"/>
                  <a:ext cx="3882" cy="52065"/>
                </a:xfrm>
                <a:custGeom>
                  <a:avLst/>
                  <a:gdLst>
                    <a:gd name="connsiteX0" fmla="*/ 2159 w 3882"/>
                    <a:gd name="connsiteY0" fmla="*/ 0 h 52065"/>
                    <a:gd name="connsiteX1" fmla="*/ 290 w 3882"/>
                    <a:gd name="connsiteY1" fmla="*/ 18684 h 52065"/>
                    <a:gd name="connsiteX2" fmla="*/ 3778 w 3882"/>
                    <a:gd name="connsiteY2" fmla="*/ 35748 h 52065"/>
                    <a:gd name="connsiteX3" fmla="*/ 1660 w 388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2" h="52065">
                      <a:moveTo>
                        <a:pt x="2159" y="0"/>
                      </a:moveTo>
                      <a:cubicBezTo>
                        <a:pt x="-332" y="8096"/>
                        <a:pt x="-207" y="14448"/>
                        <a:pt x="290" y="18684"/>
                      </a:cubicBezTo>
                      <a:cubicBezTo>
                        <a:pt x="1038" y="25659"/>
                        <a:pt x="3280" y="28648"/>
                        <a:pt x="3778" y="35748"/>
                      </a:cubicBezTo>
                      <a:cubicBezTo>
                        <a:pt x="4276" y="42599"/>
                        <a:pt x="2906" y="48328"/>
                        <a:pt x="166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6" name="Freeform 5022">
                  <a:extLst>
                    <a:ext uri="{FF2B5EF4-FFF2-40B4-BE49-F238E27FC236}">
                      <a16:creationId xmlns:a16="http://schemas.microsoft.com/office/drawing/2014/main" id="{420102A9-69F5-96E4-2020-CDFCEA02E8E2}"/>
                    </a:ext>
                  </a:extLst>
                </p:cNvPr>
                <p:cNvSpPr/>
                <p:nvPr/>
              </p:nvSpPr>
              <p:spPr>
                <a:xfrm>
                  <a:off x="8317078" y="5564314"/>
                  <a:ext cx="3721" cy="52065"/>
                </a:xfrm>
                <a:custGeom>
                  <a:avLst/>
                  <a:gdLst>
                    <a:gd name="connsiteX0" fmla="*/ 2253 w 3721"/>
                    <a:gd name="connsiteY0" fmla="*/ 52065 h 52065"/>
                    <a:gd name="connsiteX1" fmla="*/ 260 w 3721"/>
                    <a:gd name="connsiteY1" fmla="*/ 33382 h 52065"/>
                    <a:gd name="connsiteX2" fmla="*/ 3623 w 3721"/>
                    <a:gd name="connsiteY2" fmla="*/ 16317 h 52065"/>
                    <a:gd name="connsiteX3" fmla="*/ 1382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52065"/>
                      </a:moveTo>
                      <a:cubicBezTo>
                        <a:pt x="-238" y="44094"/>
                        <a:pt x="-238" y="37741"/>
                        <a:pt x="260" y="33382"/>
                      </a:cubicBezTo>
                      <a:cubicBezTo>
                        <a:pt x="1007" y="26407"/>
                        <a:pt x="3125" y="23417"/>
                        <a:pt x="3623" y="16317"/>
                      </a:cubicBezTo>
                      <a:cubicBezTo>
                        <a:pt x="4121" y="9467"/>
                        <a:pt x="2627" y="3737"/>
                        <a:pt x="13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7" name="Freeform 5023">
                  <a:extLst>
                    <a:ext uri="{FF2B5EF4-FFF2-40B4-BE49-F238E27FC236}">
                      <a16:creationId xmlns:a16="http://schemas.microsoft.com/office/drawing/2014/main" id="{9EDE54CF-B395-E311-5FA0-61E5D7B2CB8C}"/>
                    </a:ext>
                  </a:extLst>
                </p:cNvPr>
                <p:cNvSpPr/>
                <p:nvPr/>
              </p:nvSpPr>
              <p:spPr>
                <a:xfrm>
                  <a:off x="8301769" y="5548869"/>
                  <a:ext cx="26655" cy="26530"/>
                </a:xfrm>
                <a:custGeom>
                  <a:avLst/>
                  <a:gdLst>
                    <a:gd name="connsiteX0" fmla="*/ 26656 w 26655"/>
                    <a:gd name="connsiteY0" fmla="*/ 13203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203"/>
                      </a:moveTo>
                      <a:cubicBezTo>
                        <a:pt x="26656" y="20552"/>
                        <a:pt x="20676" y="26531"/>
                        <a:pt x="13328" y="26531"/>
                      </a:cubicBezTo>
                      <a:cubicBezTo>
                        <a:pt x="5979" y="26531"/>
                        <a:pt x="0" y="20677"/>
                        <a:pt x="0" y="13328"/>
                      </a:cubicBezTo>
                      <a:cubicBezTo>
                        <a:pt x="0" y="5979"/>
                        <a:pt x="5854" y="0"/>
                        <a:pt x="13328" y="0"/>
                      </a:cubicBezTo>
                      <a:cubicBezTo>
                        <a:pt x="20676" y="0"/>
                        <a:pt x="26656" y="5854"/>
                        <a:pt x="26656"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8" name="Freeform 5024">
                  <a:extLst>
                    <a:ext uri="{FF2B5EF4-FFF2-40B4-BE49-F238E27FC236}">
                      <a16:creationId xmlns:a16="http://schemas.microsoft.com/office/drawing/2014/main" id="{8B61D16E-1899-521D-A61C-4E141EFC461B}"/>
                    </a:ext>
                  </a:extLst>
                </p:cNvPr>
                <p:cNvSpPr/>
                <p:nvPr/>
              </p:nvSpPr>
              <p:spPr>
                <a:xfrm>
                  <a:off x="8317358" y="5625348"/>
                  <a:ext cx="3883" cy="52065"/>
                </a:xfrm>
                <a:custGeom>
                  <a:avLst/>
                  <a:gdLst>
                    <a:gd name="connsiteX0" fmla="*/ 1724 w 3883"/>
                    <a:gd name="connsiteY0" fmla="*/ 52065 h 52065"/>
                    <a:gd name="connsiteX1" fmla="*/ 3592 w 3883"/>
                    <a:gd name="connsiteY1" fmla="*/ 33381 h 52065"/>
                    <a:gd name="connsiteX2" fmla="*/ 105 w 3883"/>
                    <a:gd name="connsiteY2" fmla="*/ 16317 h 52065"/>
                    <a:gd name="connsiteX3" fmla="*/ 2222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52065"/>
                      </a:moveTo>
                      <a:cubicBezTo>
                        <a:pt x="4216" y="43969"/>
                        <a:pt x="4091" y="37616"/>
                        <a:pt x="3592" y="33381"/>
                      </a:cubicBezTo>
                      <a:cubicBezTo>
                        <a:pt x="2845" y="26406"/>
                        <a:pt x="728" y="23417"/>
                        <a:pt x="105" y="16317"/>
                      </a:cubicBezTo>
                      <a:cubicBezTo>
                        <a:pt x="-394" y="9466"/>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9" name="Freeform 5025">
                  <a:extLst>
                    <a:ext uri="{FF2B5EF4-FFF2-40B4-BE49-F238E27FC236}">
                      <a16:creationId xmlns:a16="http://schemas.microsoft.com/office/drawing/2014/main" id="{B0A76A4E-5502-C12A-73A2-37163C54232D}"/>
                    </a:ext>
                  </a:extLst>
                </p:cNvPr>
                <p:cNvSpPr/>
                <p:nvPr/>
              </p:nvSpPr>
              <p:spPr>
                <a:xfrm>
                  <a:off x="8309767" y="5630454"/>
                  <a:ext cx="3721" cy="52065"/>
                </a:xfrm>
                <a:custGeom>
                  <a:avLst/>
                  <a:gdLst>
                    <a:gd name="connsiteX0" fmla="*/ 1468 w 3721"/>
                    <a:gd name="connsiteY0" fmla="*/ 0 h 52065"/>
                    <a:gd name="connsiteX1" fmla="*/ 3461 w 3721"/>
                    <a:gd name="connsiteY1" fmla="*/ 18684 h 52065"/>
                    <a:gd name="connsiteX2" fmla="*/ 99 w 3721"/>
                    <a:gd name="connsiteY2" fmla="*/ 35748 h 52065"/>
                    <a:gd name="connsiteX3" fmla="*/ 2340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0"/>
                      </a:moveTo>
                      <a:cubicBezTo>
                        <a:pt x="3960" y="7972"/>
                        <a:pt x="3960" y="14324"/>
                        <a:pt x="3461" y="18684"/>
                      </a:cubicBezTo>
                      <a:cubicBezTo>
                        <a:pt x="2714" y="25659"/>
                        <a:pt x="596" y="28648"/>
                        <a:pt x="99" y="35748"/>
                      </a:cubicBezTo>
                      <a:cubicBezTo>
                        <a:pt x="-400" y="42599"/>
                        <a:pt x="1094" y="48328"/>
                        <a:pt x="234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10" name="Freeform 5026">
                  <a:extLst>
                    <a:ext uri="{FF2B5EF4-FFF2-40B4-BE49-F238E27FC236}">
                      <a16:creationId xmlns:a16="http://schemas.microsoft.com/office/drawing/2014/main" id="{4AC8A4B5-27FC-FBFB-CECE-47E22B39C749}"/>
                    </a:ext>
                  </a:extLst>
                </p:cNvPr>
                <p:cNvSpPr/>
                <p:nvPr/>
              </p:nvSpPr>
              <p:spPr>
                <a:xfrm>
                  <a:off x="8302267" y="5671309"/>
                  <a:ext cx="26282" cy="26530"/>
                </a:xfrm>
                <a:custGeom>
                  <a:avLst/>
                  <a:gdLst>
                    <a:gd name="connsiteX0" fmla="*/ 0 w 26282"/>
                    <a:gd name="connsiteY0" fmla="*/ 13328 h 26530"/>
                    <a:gd name="connsiteX1" fmla="*/ 13079 w 26282"/>
                    <a:gd name="connsiteY1" fmla="*/ 0 h 26530"/>
                    <a:gd name="connsiteX2" fmla="*/ 26282 w 26282"/>
                    <a:gd name="connsiteY2" fmla="*/ 13203 h 26530"/>
                    <a:gd name="connsiteX3" fmla="*/ 13203 w 26282"/>
                    <a:gd name="connsiteY3" fmla="*/ 26531 h 26530"/>
                    <a:gd name="connsiteX4" fmla="*/ 0 w 26282"/>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2" h="26530">
                      <a:moveTo>
                        <a:pt x="0" y="13328"/>
                      </a:moveTo>
                      <a:cubicBezTo>
                        <a:pt x="0" y="5979"/>
                        <a:pt x="5855" y="0"/>
                        <a:pt x="13079" y="0"/>
                      </a:cubicBezTo>
                      <a:cubicBezTo>
                        <a:pt x="20303" y="0"/>
                        <a:pt x="26282" y="5854"/>
                        <a:pt x="26282" y="13203"/>
                      </a:cubicBezTo>
                      <a:cubicBezTo>
                        <a:pt x="26282" y="20552"/>
                        <a:pt x="20428" y="26531"/>
                        <a:pt x="13203" y="26531"/>
                      </a:cubicBezTo>
                      <a:cubicBezTo>
                        <a:pt x="5979" y="26531"/>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0" name="Graphic 2987">
                <a:extLst>
                  <a:ext uri="{FF2B5EF4-FFF2-40B4-BE49-F238E27FC236}">
                    <a16:creationId xmlns:a16="http://schemas.microsoft.com/office/drawing/2014/main" id="{C6B7CED8-C13B-DB8F-2EC3-58341DD3B6A2}"/>
                  </a:ext>
                </a:extLst>
              </p:cNvPr>
              <p:cNvGrpSpPr/>
              <p:nvPr/>
            </p:nvGrpSpPr>
            <p:grpSpPr>
              <a:xfrm>
                <a:off x="8331538" y="5548745"/>
                <a:ext cx="26655" cy="148848"/>
                <a:chOff x="8331538" y="5548745"/>
                <a:chExt cx="26655" cy="148848"/>
              </a:xfrm>
              <a:grpFill/>
            </p:grpSpPr>
            <p:sp>
              <p:nvSpPr>
                <p:cNvPr id="4499" name="Freeform 5028">
                  <a:extLst>
                    <a:ext uri="{FF2B5EF4-FFF2-40B4-BE49-F238E27FC236}">
                      <a16:creationId xmlns:a16="http://schemas.microsoft.com/office/drawing/2014/main" id="{48B082AD-5B0B-3514-EFBF-F3BF6048CFD5}"/>
                    </a:ext>
                  </a:extLst>
                </p:cNvPr>
                <p:cNvSpPr/>
                <p:nvPr/>
              </p:nvSpPr>
              <p:spPr>
                <a:xfrm>
                  <a:off x="8339000" y="5569048"/>
                  <a:ext cx="3852" cy="52065"/>
                </a:xfrm>
                <a:custGeom>
                  <a:avLst/>
                  <a:gdLst>
                    <a:gd name="connsiteX0" fmla="*/ 2253 w 3852"/>
                    <a:gd name="connsiteY0" fmla="*/ 0 h 52065"/>
                    <a:gd name="connsiteX1" fmla="*/ 261 w 3852"/>
                    <a:gd name="connsiteY1" fmla="*/ 18684 h 52065"/>
                    <a:gd name="connsiteX2" fmla="*/ 3748 w 3852"/>
                    <a:gd name="connsiteY2" fmla="*/ 35748 h 52065"/>
                    <a:gd name="connsiteX3" fmla="*/ 1631 w 385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2" h="52065">
                      <a:moveTo>
                        <a:pt x="2253" y="0"/>
                      </a:moveTo>
                      <a:cubicBezTo>
                        <a:pt x="-238" y="8096"/>
                        <a:pt x="-238" y="14449"/>
                        <a:pt x="261" y="18684"/>
                      </a:cubicBezTo>
                      <a:cubicBezTo>
                        <a:pt x="1008" y="25659"/>
                        <a:pt x="3125" y="28648"/>
                        <a:pt x="3748" y="35748"/>
                      </a:cubicBezTo>
                      <a:cubicBezTo>
                        <a:pt x="4247" y="42599"/>
                        <a:pt x="2876" y="48328"/>
                        <a:pt x="163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0" name="Freeform 5029">
                  <a:extLst>
                    <a:ext uri="{FF2B5EF4-FFF2-40B4-BE49-F238E27FC236}">
                      <a16:creationId xmlns:a16="http://schemas.microsoft.com/office/drawing/2014/main" id="{C86F185B-6427-C69F-760E-46FDD73B954F}"/>
                    </a:ext>
                  </a:extLst>
                </p:cNvPr>
                <p:cNvSpPr/>
                <p:nvPr/>
              </p:nvSpPr>
              <p:spPr>
                <a:xfrm>
                  <a:off x="8346723" y="5564065"/>
                  <a:ext cx="3728" cy="52065"/>
                </a:xfrm>
                <a:custGeom>
                  <a:avLst/>
                  <a:gdLst>
                    <a:gd name="connsiteX0" fmla="*/ 2253 w 3728"/>
                    <a:gd name="connsiteY0" fmla="*/ 52065 h 52065"/>
                    <a:gd name="connsiteX1" fmla="*/ 260 w 3728"/>
                    <a:gd name="connsiteY1" fmla="*/ 33381 h 52065"/>
                    <a:gd name="connsiteX2" fmla="*/ 3623 w 3728"/>
                    <a:gd name="connsiteY2" fmla="*/ 16317 h 52065"/>
                    <a:gd name="connsiteX3" fmla="*/ 1505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2253" y="52065"/>
                      </a:moveTo>
                      <a:cubicBezTo>
                        <a:pt x="-238" y="43969"/>
                        <a:pt x="-238" y="37616"/>
                        <a:pt x="260" y="33381"/>
                      </a:cubicBezTo>
                      <a:cubicBezTo>
                        <a:pt x="1007" y="26406"/>
                        <a:pt x="3125" y="23417"/>
                        <a:pt x="3623" y="16317"/>
                      </a:cubicBezTo>
                      <a:cubicBezTo>
                        <a:pt x="4121" y="9467"/>
                        <a:pt x="2751" y="3737"/>
                        <a:pt x="15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1" name="Freeform 5030">
                  <a:extLst>
                    <a:ext uri="{FF2B5EF4-FFF2-40B4-BE49-F238E27FC236}">
                      <a16:creationId xmlns:a16="http://schemas.microsoft.com/office/drawing/2014/main" id="{ED9F8B28-13DA-492A-32BE-27A87B6DC0E6}"/>
                    </a:ext>
                  </a:extLst>
                </p:cNvPr>
                <p:cNvSpPr/>
                <p:nvPr/>
              </p:nvSpPr>
              <p:spPr>
                <a:xfrm>
                  <a:off x="8331538" y="5548745"/>
                  <a:ext cx="26655" cy="26530"/>
                </a:xfrm>
                <a:custGeom>
                  <a:avLst/>
                  <a:gdLst>
                    <a:gd name="connsiteX0" fmla="*/ 26656 w 26655"/>
                    <a:gd name="connsiteY0" fmla="*/ 13328 h 26530"/>
                    <a:gd name="connsiteX1" fmla="*/ 13328 w 26655"/>
                    <a:gd name="connsiteY1" fmla="*/ 26531 h 26530"/>
                    <a:gd name="connsiteX2" fmla="*/ 0 w 26655"/>
                    <a:gd name="connsiteY2" fmla="*/ 13328 h 26530"/>
                    <a:gd name="connsiteX3" fmla="*/ 13328 w 26655"/>
                    <a:gd name="connsiteY3" fmla="*/ 0 h 26530"/>
                    <a:gd name="connsiteX4" fmla="*/ 26656 w 26655"/>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5" h="26530">
                      <a:moveTo>
                        <a:pt x="26656" y="13328"/>
                      </a:moveTo>
                      <a:cubicBezTo>
                        <a:pt x="26656" y="20677"/>
                        <a:pt x="20676" y="26531"/>
                        <a:pt x="13328" y="26531"/>
                      </a:cubicBezTo>
                      <a:cubicBezTo>
                        <a:pt x="5979" y="26531"/>
                        <a:pt x="0" y="20677"/>
                        <a:pt x="0" y="13328"/>
                      </a:cubicBezTo>
                      <a:cubicBezTo>
                        <a:pt x="0" y="5979"/>
                        <a:pt x="5979" y="0"/>
                        <a:pt x="13328" y="0"/>
                      </a:cubicBezTo>
                      <a:cubicBezTo>
                        <a:pt x="20676" y="0"/>
                        <a:pt x="26656"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2" name="Freeform 5031">
                  <a:extLst>
                    <a:ext uri="{FF2B5EF4-FFF2-40B4-BE49-F238E27FC236}">
                      <a16:creationId xmlns:a16="http://schemas.microsoft.com/office/drawing/2014/main" id="{9402C5FC-CA13-C7CD-FA7A-85EFF3AA6C74}"/>
                    </a:ext>
                  </a:extLst>
                </p:cNvPr>
                <p:cNvSpPr/>
                <p:nvPr/>
              </p:nvSpPr>
              <p:spPr>
                <a:xfrm>
                  <a:off x="8347003" y="5625223"/>
                  <a:ext cx="3728" cy="52065"/>
                </a:xfrm>
                <a:custGeom>
                  <a:avLst/>
                  <a:gdLst>
                    <a:gd name="connsiteX0" fmla="*/ 1475 w 3728"/>
                    <a:gd name="connsiteY0" fmla="*/ 52065 h 52065"/>
                    <a:gd name="connsiteX1" fmla="*/ 3468 w 3728"/>
                    <a:gd name="connsiteY1" fmla="*/ 33381 h 52065"/>
                    <a:gd name="connsiteX2" fmla="*/ 105 w 3728"/>
                    <a:gd name="connsiteY2" fmla="*/ 16317 h 52065"/>
                    <a:gd name="connsiteX3" fmla="*/ 2222 w 3728"/>
                    <a:gd name="connsiteY3" fmla="*/ 0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52065"/>
                      </a:moveTo>
                      <a:cubicBezTo>
                        <a:pt x="3966" y="44094"/>
                        <a:pt x="3966" y="37741"/>
                        <a:pt x="3468" y="33381"/>
                      </a:cubicBezTo>
                      <a:cubicBezTo>
                        <a:pt x="2720" y="26406"/>
                        <a:pt x="603" y="23417"/>
                        <a:pt x="105" y="16317"/>
                      </a:cubicBezTo>
                      <a:cubicBezTo>
                        <a:pt x="-394" y="9467"/>
                        <a:pt x="977" y="3737"/>
                        <a:pt x="22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3" name="Freeform 5032">
                  <a:extLst>
                    <a:ext uri="{FF2B5EF4-FFF2-40B4-BE49-F238E27FC236}">
                      <a16:creationId xmlns:a16="http://schemas.microsoft.com/office/drawing/2014/main" id="{B5182944-0D7D-1336-ACDF-C1FAB2841764}"/>
                    </a:ext>
                  </a:extLst>
                </p:cNvPr>
                <p:cNvSpPr/>
                <p:nvPr/>
              </p:nvSpPr>
              <p:spPr>
                <a:xfrm>
                  <a:off x="8339280" y="5630206"/>
                  <a:ext cx="3728" cy="52065"/>
                </a:xfrm>
                <a:custGeom>
                  <a:avLst/>
                  <a:gdLst>
                    <a:gd name="connsiteX0" fmla="*/ 1475 w 3728"/>
                    <a:gd name="connsiteY0" fmla="*/ 0 h 52065"/>
                    <a:gd name="connsiteX1" fmla="*/ 3468 w 3728"/>
                    <a:gd name="connsiteY1" fmla="*/ 18684 h 52065"/>
                    <a:gd name="connsiteX2" fmla="*/ 105 w 3728"/>
                    <a:gd name="connsiteY2" fmla="*/ 35748 h 52065"/>
                    <a:gd name="connsiteX3" fmla="*/ 2222 w 3728"/>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8" h="52065">
                      <a:moveTo>
                        <a:pt x="1475" y="0"/>
                      </a:moveTo>
                      <a:cubicBezTo>
                        <a:pt x="3966" y="7972"/>
                        <a:pt x="3966" y="14324"/>
                        <a:pt x="3468" y="18684"/>
                      </a:cubicBezTo>
                      <a:cubicBezTo>
                        <a:pt x="2720" y="25659"/>
                        <a:pt x="603" y="28648"/>
                        <a:pt x="105" y="35748"/>
                      </a:cubicBezTo>
                      <a:cubicBezTo>
                        <a:pt x="-394"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504" name="Freeform 5033">
                  <a:extLst>
                    <a:ext uri="{FF2B5EF4-FFF2-40B4-BE49-F238E27FC236}">
                      <a16:creationId xmlns:a16="http://schemas.microsoft.com/office/drawing/2014/main" id="{D598C914-F93B-297E-8759-C381E64EC394}"/>
                    </a:ext>
                  </a:extLst>
                </p:cNvPr>
                <p:cNvSpPr/>
                <p:nvPr/>
              </p:nvSpPr>
              <p:spPr>
                <a:xfrm>
                  <a:off x="8331663" y="5671060"/>
                  <a:ext cx="26406" cy="26532"/>
                </a:xfrm>
                <a:custGeom>
                  <a:avLst/>
                  <a:gdLst>
                    <a:gd name="connsiteX0" fmla="*/ 0 w 26406"/>
                    <a:gd name="connsiteY0" fmla="*/ 13328 h 26532"/>
                    <a:gd name="connsiteX1" fmla="*/ 13203 w 26406"/>
                    <a:gd name="connsiteY1" fmla="*/ 0 h 26532"/>
                    <a:gd name="connsiteX2" fmla="*/ 26406 w 26406"/>
                    <a:gd name="connsiteY2" fmla="*/ 13328 h 26532"/>
                    <a:gd name="connsiteX3" fmla="*/ 13203 w 26406"/>
                    <a:gd name="connsiteY3" fmla="*/ 26531 h 26532"/>
                    <a:gd name="connsiteX4" fmla="*/ 0 w 26406"/>
                    <a:gd name="connsiteY4" fmla="*/ 13328 h 26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1">
                      <a:moveTo>
                        <a:pt x="0" y="13328"/>
                      </a:moveTo>
                      <a:cubicBezTo>
                        <a:pt x="0" y="5979"/>
                        <a:pt x="5854" y="0"/>
                        <a:pt x="13203" y="0"/>
                      </a:cubicBezTo>
                      <a:cubicBezTo>
                        <a:pt x="20427" y="0"/>
                        <a:pt x="26406" y="5979"/>
                        <a:pt x="26406" y="13328"/>
                      </a:cubicBezTo>
                      <a:cubicBezTo>
                        <a:pt x="26406" y="20677"/>
                        <a:pt x="20552" y="26531"/>
                        <a:pt x="13203" y="26531"/>
                      </a:cubicBezTo>
                      <a:cubicBezTo>
                        <a:pt x="5979" y="26656"/>
                        <a:pt x="0" y="20677"/>
                        <a:pt x="0"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1" name="Graphic 2987">
                <a:extLst>
                  <a:ext uri="{FF2B5EF4-FFF2-40B4-BE49-F238E27FC236}">
                    <a16:creationId xmlns:a16="http://schemas.microsoft.com/office/drawing/2014/main" id="{DBAB1DD5-7B5D-0C1D-CE6E-331E69094A2B}"/>
                  </a:ext>
                </a:extLst>
              </p:cNvPr>
              <p:cNvGrpSpPr/>
              <p:nvPr/>
            </p:nvGrpSpPr>
            <p:grpSpPr>
              <a:xfrm>
                <a:off x="8361183" y="5548869"/>
                <a:ext cx="26779" cy="148846"/>
                <a:chOff x="8361183" y="5548869"/>
                <a:chExt cx="26779" cy="148846"/>
              </a:xfrm>
              <a:grpFill/>
            </p:grpSpPr>
            <p:sp>
              <p:nvSpPr>
                <p:cNvPr id="4493" name="Freeform 5035">
                  <a:extLst>
                    <a:ext uri="{FF2B5EF4-FFF2-40B4-BE49-F238E27FC236}">
                      <a16:creationId xmlns:a16="http://schemas.microsoft.com/office/drawing/2014/main" id="{BDC15270-2AD8-E7BA-A4C7-380292DA2687}"/>
                    </a:ext>
                  </a:extLst>
                </p:cNvPr>
                <p:cNvSpPr/>
                <p:nvPr/>
              </p:nvSpPr>
              <p:spPr>
                <a:xfrm>
                  <a:off x="8368645" y="5569172"/>
                  <a:ext cx="3721" cy="52065"/>
                </a:xfrm>
                <a:custGeom>
                  <a:avLst/>
                  <a:gdLst>
                    <a:gd name="connsiteX0" fmla="*/ 2253 w 3721"/>
                    <a:gd name="connsiteY0" fmla="*/ 0 h 52065"/>
                    <a:gd name="connsiteX1" fmla="*/ 261 w 3721"/>
                    <a:gd name="connsiteY1" fmla="*/ 18684 h 52065"/>
                    <a:gd name="connsiteX2" fmla="*/ 3623 w 3721"/>
                    <a:gd name="connsiteY2" fmla="*/ 35748 h 52065"/>
                    <a:gd name="connsiteX3" fmla="*/ 1381 w 372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20" h="52065">
                      <a:moveTo>
                        <a:pt x="2253" y="0"/>
                      </a:moveTo>
                      <a:cubicBezTo>
                        <a:pt x="-238" y="7971"/>
                        <a:pt x="-238" y="14324"/>
                        <a:pt x="261" y="18684"/>
                      </a:cubicBezTo>
                      <a:cubicBezTo>
                        <a:pt x="1008" y="25659"/>
                        <a:pt x="3125" y="28648"/>
                        <a:pt x="3623" y="35748"/>
                      </a:cubicBezTo>
                      <a:cubicBezTo>
                        <a:pt x="4122" y="42599"/>
                        <a:pt x="2627" y="48328"/>
                        <a:pt x="138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4" name="Freeform 5036">
                  <a:extLst>
                    <a:ext uri="{FF2B5EF4-FFF2-40B4-BE49-F238E27FC236}">
                      <a16:creationId xmlns:a16="http://schemas.microsoft.com/office/drawing/2014/main" id="{BBF6E584-8566-5105-7EAE-A95C9F13A887}"/>
                    </a:ext>
                  </a:extLst>
                </p:cNvPr>
                <p:cNvSpPr/>
                <p:nvPr/>
              </p:nvSpPr>
              <p:spPr>
                <a:xfrm>
                  <a:off x="8376462" y="5564314"/>
                  <a:ext cx="3883" cy="52065"/>
                </a:xfrm>
                <a:custGeom>
                  <a:avLst/>
                  <a:gdLst>
                    <a:gd name="connsiteX0" fmla="*/ 2159 w 3883"/>
                    <a:gd name="connsiteY0" fmla="*/ 52065 h 52065"/>
                    <a:gd name="connsiteX1" fmla="*/ 291 w 3883"/>
                    <a:gd name="connsiteY1" fmla="*/ 33382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7"/>
                        <a:pt x="291" y="33382"/>
                      </a:cubicBezTo>
                      <a:cubicBezTo>
                        <a:pt x="1038" y="26407"/>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5" name="Freeform 5037">
                  <a:extLst>
                    <a:ext uri="{FF2B5EF4-FFF2-40B4-BE49-F238E27FC236}">
                      <a16:creationId xmlns:a16="http://schemas.microsoft.com/office/drawing/2014/main" id="{AB20658A-5776-7F5D-5690-F9095D715B0F}"/>
                    </a:ext>
                  </a:extLst>
                </p:cNvPr>
                <p:cNvSpPr/>
                <p:nvPr/>
              </p:nvSpPr>
              <p:spPr>
                <a:xfrm>
                  <a:off x="8361308" y="5548869"/>
                  <a:ext cx="26654" cy="26530"/>
                </a:xfrm>
                <a:custGeom>
                  <a:avLst/>
                  <a:gdLst>
                    <a:gd name="connsiteX0" fmla="*/ 26655 w 26654"/>
                    <a:gd name="connsiteY0" fmla="*/ 13328 h 26530"/>
                    <a:gd name="connsiteX1" fmla="*/ 13327 w 26654"/>
                    <a:gd name="connsiteY1" fmla="*/ 26531 h 26530"/>
                    <a:gd name="connsiteX2" fmla="*/ 0 w 26654"/>
                    <a:gd name="connsiteY2" fmla="*/ 13203 h 26530"/>
                    <a:gd name="connsiteX3" fmla="*/ 13327 w 26654"/>
                    <a:gd name="connsiteY3" fmla="*/ 0 h 26530"/>
                    <a:gd name="connsiteX4" fmla="*/ 26655 w 2665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530">
                      <a:moveTo>
                        <a:pt x="26655" y="13328"/>
                      </a:moveTo>
                      <a:cubicBezTo>
                        <a:pt x="26655" y="20677"/>
                        <a:pt x="20676" y="26531"/>
                        <a:pt x="13327" y="26531"/>
                      </a:cubicBezTo>
                      <a:cubicBezTo>
                        <a:pt x="5979" y="26531"/>
                        <a:pt x="0" y="20552"/>
                        <a:pt x="0" y="13203"/>
                      </a:cubicBezTo>
                      <a:cubicBezTo>
                        <a:pt x="0" y="5854"/>
                        <a:pt x="5979" y="0"/>
                        <a:pt x="13327" y="0"/>
                      </a:cubicBezTo>
                      <a:cubicBezTo>
                        <a:pt x="20676" y="0"/>
                        <a:pt x="26655" y="5979"/>
                        <a:pt x="26655"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6" name="Freeform 5038">
                  <a:extLst>
                    <a:ext uri="{FF2B5EF4-FFF2-40B4-BE49-F238E27FC236}">
                      <a16:creationId xmlns:a16="http://schemas.microsoft.com/office/drawing/2014/main" id="{01AE47CC-22EE-41AF-0217-3D1801DEFF5A}"/>
                    </a:ext>
                  </a:extLst>
                </p:cNvPr>
                <p:cNvSpPr/>
                <p:nvPr/>
              </p:nvSpPr>
              <p:spPr>
                <a:xfrm>
                  <a:off x="8376405" y="5625472"/>
                  <a:ext cx="3721" cy="52065"/>
                </a:xfrm>
                <a:custGeom>
                  <a:avLst/>
                  <a:gdLst>
                    <a:gd name="connsiteX0" fmla="*/ 1468 w 3721"/>
                    <a:gd name="connsiteY0" fmla="*/ 52065 h 52065"/>
                    <a:gd name="connsiteX1" fmla="*/ 3462 w 3721"/>
                    <a:gd name="connsiteY1" fmla="*/ 33381 h 52065"/>
                    <a:gd name="connsiteX2" fmla="*/ 98 w 3721"/>
                    <a:gd name="connsiteY2" fmla="*/ 16317 h 52065"/>
                    <a:gd name="connsiteX3" fmla="*/ 2340 w 3721"/>
                    <a:gd name="connsiteY3" fmla="*/ 0 h 52065"/>
                  </a:gdLst>
                  <a:ahLst/>
                  <a:cxnLst>
                    <a:cxn ang="0">
                      <a:pos x="connsiteX0" y="connsiteY0"/>
                    </a:cxn>
                    <a:cxn ang="0">
                      <a:pos x="connsiteX1" y="connsiteY1"/>
                    </a:cxn>
                    <a:cxn ang="0">
                      <a:pos x="connsiteX2" y="connsiteY2"/>
                    </a:cxn>
                    <a:cxn ang="0">
                      <a:pos x="connsiteX3" y="connsiteY3"/>
                    </a:cxn>
                  </a:cxnLst>
                  <a:rect l="l" t="t" r="r" b="b"/>
                  <a:pathLst>
                    <a:path w="3720" h="52065">
                      <a:moveTo>
                        <a:pt x="1468" y="52065"/>
                      </a:moveTo>
                      <a:cubicBezTo>
                        <a:pt x="3960" y="44094"/>
                        <a:pt x="3960"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7" name="Freeform 5039">
                  <a:extLst>
                    <a:ext uri="{FF2B5EF4-FFF2-40B4-BE49-F238E27FC236}">
                      <a16:creationId xmlns:a16="http://schemas.microsoft.com/office/drawing/2014/main" id="{18801A2F-3370-D937-385C-C387A9C0EC93}"/>
                    </a:ext>
                  </a:extLst>
                </p:cNvPr>
                <p:cNvSpPr/>
                <p:nvPr/>
              </p:nvSpPr>
              <p:spPr>
                <a:xfrm>
                  <a:off x="8368676" y="5630330"/>
                  <a:ext cx="3797" cy="52065"/>
                </a:xfrm>
                <a:custGeom>
                  <a:avLst/>
                  <a:gdLst>
                    <a:gd name="connsiteX0" fmla="*/ 1600 w 3797"/>
                    <a:gd name="connsiteY0" fmla="*/ 0 h 52065"/>
                    <a:gd name="connsiteX1" fmla="*/ 3592 w 3797"/>
                    <a:gd name="connsiteY1" fmla="*/ 18684 h 52065"/>
                    <a:gd name="connsiteX2" fmla="*/ 105 w 3797"/>
                    <a:gd name="connsiteY2" fmla="*/ 35748 h 52065"/>
                    <a:gd name="connsiteX3" fmla="*/ 2222 w 379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797" h="52065">
                      <a:moveTo>
                        <a:pt x="1600" y="0"/>
                      </a:moveTo>
                      <a:cubicBezTo>
                        <a:pt x="4091" y="8096"/>
                        <a:pt x="3966" y="14449"/>
                        <a:pt x="3592" y="18684"/>
                      </a:cubicBezTo>
                      <a:cubicBezTo>
                        <a:pt x="2845" y="25659"/>
                        <a:pt x="728"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8" name="Freeform 5040">
                  <a:extLst>
                    <a:ext uri="{FF2B5EF4-FFF2-40B4-BE49-F238E27FC236}">
                      <a16:creationId xmlns:a16="http://schemas.microsoft.com/office/drawing/2014/main" id="{2E61F52E-C2AF-F030-4E46-153E68D65645}"/>
                    </a:ext>
                  </a:extLst>
                </p:cNvPr>
                <p:cNvSpPr/>
                <p:nvPr/>
              </p:nvSpPr>
              <p:spPr>
                <a:xfrm>
                  <a:off x="8361183" y="5671185"/>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854" y="0"/>
                        <a:pt x="13203" y="0"/>
                      </a:cubicBezTo>
                      <a:cubicBezTo>
                        <a:pt x="20427"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2" name="Graphic 2987">
                <a:extLst>
                  <a:ext uri="{FF2B5EF4-FFF2-40B4-BE49-F238E27FC236}">
                    <a16:creationId xmlns:a16="http://schemas.microsoft.com/office/drawing/2014/main" id="{D4F5AB75-0557-E6A3-A536-DCE9C816A5BF}"/>
                  </a:ext>
                </a:extLst>
              </p:cNvPr>
              <p:cNvGrpSpPr/>
              <p:nvPr/>
            </p:nvGrpSpPr>
            <p:grpSpPr>
              <a:xfrm>
                <a:off x="8390578" y="5549118"/>
                <a:ext cx="27030" cy="148846"/>
                <a:chOff x="8390578" y="5549118"/>
                <a:chExt cx="27030" cy="148846"/>
              </a:xfrm>
              <a:grpFill/>
            </p:grpSpPr>
            <p:sp>
              <p:nvSpPr>
                <p:cNvPr id="4487" name="Freeform 5042">
                  <a:extLst>
                    <a:ext uri="{FF2B5EF4-FFF2-40B4-BE49-F238E27FC236}">
                      <a16:creationId xmlns:a16="http://schemas.microsoft.com/office/drawing/2014/main" id="{D00AD297-4E07-2EAD-D031-6096A7879A7E}"/>
                    </a:ext>
                  </a:extLst>
                </p:cNvPr>
                <p:cNvSpPr/>
                <p:nvPr/>
              </p:nvSpPr>
              <p:spPr>
                <a:xfrm>
                  <a:off x="8398370" y="5569421"/>
                  <a:ext cx="3640" cy="52065"/>
                </a:xfrm>
                <a:custGeom>
                  <a:avLst/>
                  <a:gdLst>
                    <a:gd name="connsiteX0" fmla="*/ 2297 w 3640"/>
                    <a:gd name="connsiteY0" fmla="*/ 0 h 52065"/>
                    <a:gd name="connsiteX1" fmla="*/ 180 w 3640"/>
                    <a:gd name="connsiteY1" fmla="*/ 18684 h 52065"/>
                    <a:gd name="connsiteX2" fmla="*/ 3542 w 3640"/>
                    <a:gd name="connsiteY2" fmla="*/ 35748 h 52065"/>
                    <a:gd name="connsiteX3" fmla="*/ 1300 w 36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640" h="52065">
                      <a:moveTo>
                        <a:pt x="2297" y="0"/>
                      </a:moveTo>
                      <a:cubicBezTo>
                        <a:pt x="-194" y="7972"/>
                        <a:pt x="-194" y="14324"/>
                        <a:pt x="180" y="18684"/>
                      </a:cubicBezTo>
                      <a:cubicBezTo>
                        <a:pt x="927" y="25659"/>
                        <a:pt x="3044" y="28648"/>
                        <a:pt x="3542" y="35748"/>
                      </a:cubicBezTo>
                      <a:cubicBezTo>
                        <a:pt x="4041" y="42599"/>
                        <a:pt x="2546" y="48328"/>
                        <a:pt x="130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8" name="Freeform 5043">
                  <a:extLst>
                    <a:ext uri="{FF2B5EF4-FFF2-40B4-BE49-F238E27FC236}">
                      <a16:creationId xmlns:a16="http://schemas.microsoft.com/office/drawing/2014/main" id="{060575C6-F172-29D8-B132-9218D7A2EC7B}"/>
                    </a:ext>
                  </a:extLst>
                </p:cNvPr>
                <p:cNvSpPr/>
                <p:nvPr/>
              </p:nvSpPr>
              <p:spPr>
                <a:xfrm>
                  <a:off x="8405982" y="5564439"/>
                  <a:ext cx="3883" cy="52065"/>
                </a:xfrm>
                <a:custGeom>
                  <a:avLst/>
                  <a:gdLst>
                    <a:gd name="connsiteX0" fmla="*/ 2159 w 3883"/>
                    <a:gd name="connsiteY0" fmla="*/ 52065 h 52065"/>
                    <a:gd name="connsiteX1" fmla="*/ 291 w 3883"/>
                    <a:gd name="connsiteY1" fmla="*/ 33381 h 52065"/>
                    <a:gd name="connsiteX2" fmla="*/ 3778 w 3883"/>
                    <a:gd name="connsiteY2" fmla="*/ 16317 h 52065"/>
                    <a:gd name="connsiteX3" fmla="*/ 1661 w 3883"/>
                    <a:gd name="connsiteY3" fmla="*/ 0 h 52065"/>
                  </a:gdLst>
                  <a:ahLst/>
                  <a:cxnLst>
                    <a:cxn ang="0">
                      <a:pos x="connsiteX0" y="connsiteY0"/>
                    </a:cxn>
                    <a:cxn ang="0">
                      <a:pos x="connsiteX1" y="connsiteY1"/>
                    </a:cxn>
                    <a:cxn ang="0">
                      <a:pos x="connsiteX2" y="connsiteY2"/>
                    </a:cxn>
                    <a:cxn ang="0">
                      <a:pos x="connsiteX3" y="connsiteY3"/>
                    </a:cxn>
                  </a:cxnLst>
                  <a:rect l="l" t="t" r="r" b="b"/>
                  <a:pathLst>
                    <a:path w="3883" h="52065">
                      <a:moveTo>
                        <a:pt x="2159" y="52065"/>
                      </a:moveTo>
                      <a:cubicBezTo>
                        <a:pt x="-332" y="43969"/>
                        <a:pt x="-208" y="37616"/>
                        <a:pt x="291" y="33381"/>
                      </a:cubicBezTo>
                      <a:cubicBezTo>
                        <a:pt x="1163" y="26406"/>
                        <a:pt x="3280" y="23417"/>
                        <a:pt x="3778" y="16317"/>
                      </a:cubicBezTo>
                      <a:cubicBezTo>
                        <a:pt x="4277" y="9467"/>
                        <a:pt x="2906" y="3737"/>
                        <a:pt x="16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9" name="Freeform 5044">
                  <a:extLst>
                    <a:ext uri="{FF2B5EF4-FFF2-40B4-BE49-F238E27FC236}">
                      <a16:creationId xmlns:a16="http://schemas.microsoft.com/office/drawing/2014/main" id="{DCFAE2A0-9987-55AA-29AF-146A066AE3A4}"/>
                    </a:ext>
                  </a:extLst>
                </p:cNvPr>
                <p:cNvSpPr/>
                <p:nvPr/>
              </p:nvSpPr>
              <p:spPr>
                <a:xfrm>
                  <a:off x="8391074" y="5549118"/>
                  <a:ext cx="26534" cy="26530"/>
                </a:xfrm>
                <a:custGeom>
                  <a:avLst/>
                  <a:gdLst>
                    <a:gd name="connsiteX0" fmla="*/ 26533 w 26534"/>
                    <a:gd name="connsiteY0" fmla="*/ 13328 h 26530"/>
                    <a:gd name="connsiteX1" fmla="*/ 13205 w 26534"/>
                    <a:gd name="connsiteY1" fmla="*/ 26531 h 26530"/>
                    <a:gd name="connsiteX2" fmla="*/ 2 w 26534"/>
                    <a:gd name="connsiteY2" fmla="*/ 13203 h 26530"/>
                    <a:gd name="connsiteX3" fmla="*/ 13330 w 26534"/>
                    <a:gd name="connsiteY3" fmla="*/ 0 h 26530"/>
                    <a:gd name="connsiteX4" fmla="*/ 26533 w 26534"/>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4" h="26530">
                      <a:moveTo>
                        <a:pt x="26533" y="13328"/>
                      </a:moveTo>
                      <a:cubicBezTo>
                        <a:pt x="26533" y="20677"/>
                        <a:pt x="20554" y="26531"/>
                        <a:pt x="13205" y="26531"/>
                      </a:cubicBezTo>
                      <a:cubicBezTo>
                        <a:pt x="5857" y="26531"/>
                        <a:pt x="-123" y="20552"/>
                        <a:pt x="2" y="13203"/>
                      </a:cubicBezTo>
                      <a:cubicBezTo>
                        <a:pt x="127" y="5854"/>
                        <a:pt x="5981" y="0"/>
                        <a:pt x="13330" y="0"/>
                      </a:cubicBezTo>
                      <a:cubicBezTo>
                        <a:pt x="20679" y="0"/>
                        <a:pt x="26657" y="5979"/>
                        <a:pt x="26533"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0" name="Freeform 5045">
                  <a:extLst>
                    <a:ext uri="{FF2B5EF4-FFF2-40B4-BE49-F238E27FC236}">
                      <a16:creationId xmlns:a16="http://schemas.microsoft.com/office/drawing/2014/main" id="{4EA6D7F3-F1FC-5D30-F9E3-53B6A046966C}"/>
                    </a:ext>
                  </a:extLst>
                </p:cNvPr>
                <p:cNvSpPr/>
                <p:nvPr/>
              </p:nvSpPr>
              <p:spPr>
                <a:xfrm>
                  <a:off x="8406050" y="5625597"/>
                  <a:ext cx="3640" cy="52065"/>
                </a:xfrm>
                <a:custGeom>
                  <a:avLst/>
                  <a:gdLst>
                    <a:gd name="connsiteX0" fmla="*/ 1344 w 3640"/>
                    <a:gd name="connsiteY0" fmla="*/ 52065 h 52065"/>
                    <a:gd name="connsiteX1" fmla="*/ 3462 w 3640"/>
                    <a:gd name="connsiteY1" fmla="*/ 33381 h 52065"/>
                    <a:gd name="connsiteX2" fmla="*/ 98 w 3640"/>
                    <a:gd name="connsiteY2" fmla="*/ 16317 h 52065"/>
                    <a:gd name="connsiteX3" fmla="*/ 2340 w 3640"/>
                    <a:gd name="connsiteY3" fmla="*/ 0 h 52065"/>
                  </a:gdLst>
                  <a:ahLst/>
                  <a:cxnLst>
                    <a:cxn ang="0">
                      <a:pos x="connsiteX0" y="connsiteY0"/>
                    </a:cxn>
                    <a:cxn ang="0">
                      <a:pos x="connsiteX1" y="connsiteY1"/>
                    </a:cxn>
                    <a:cxn ang="0">
                      <a:pos x="connsiteX2" y="connsiteY2"/>
                    </a:cxn>
                    <a:cxn ang="0">
                      <a:pos x="connsiteX3" y="connsiteY3"/>
                    </a:cxn>
                  </a:cxnLst>
                  <a:rect l="l" t="t" r="r" b="b"/>
                  <a:pathLst>
                    <a:path w="3640" h="52065">
                      <a:moveTo>
                        <a:pt x="1344" y="52065"/>
                      </a:moveTo>
                      <a:cubicBezTo>
                        <a:pt x="3835" y="44094"/>
                        <a:pt x="3835" y="37741"/>
                        <a:pt x="3462" y="33381"/>
                      </a:cubicBezTo>
                      <a:cubicBezTo>
                        <a:pt x="2714" y="26406"/>
                        <a:pt x="596"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1" name="Freeform 5046">
                  <a:extLst>
                    <a:ext uri="{FF2B5EF4-FFF2-40B4-BE49-F238E27FC236}">
                      <a16:creationId xmlns:a16="http://schemas.microsoft.com/office/drawing/2014/main" id="{5BAEC069-549F-D961-D564-2BEAA563A407}"/>
                    </a:ext>
                  </a:extLst>
                </p:cNvPr>
                <p:cNvSpPr/>
                <p:nvPr/>
              </p:nvSpPr>
              <p:spPr>
                <a:xfrm>
                  <a:off x="8398196" y="5630454"/>
                  <a:ext cx="3883" cy="52065"/>
                </a:xfrm>
                <a:custGeom>
                  <a:avLst/>
                  <a:gdLst>
                    <a:gd name="connsiteX0" fmla="*/ 1724 w 3883"/>
                    <a:gd name="connsiteY0" fmla="*/ 0 h 52065"/>
                    <a:gd name="connsiteX1" fmla="*/ 3593 w 3883"/>
                    <a:gd name="connsiteY1" fmla="*/ 18684 h 52065"/>
                    <a:gd name="connsiteX2" fmla="*/ 105 w 3883"/>
                    <a:gd name="connsiteY2" fmla="*/ 35748 h 52065"/>
                    <a:gd name="connsiteX3" fmla="*/ 2222 w 388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83" h="52065">
                      <a:moveTo>
                        <a:pt x="1724" y="0"/>
                      </a:moveTo>
                      <a:cubicBezTo>
                        <a:pt x="4215" y="8097"/>
                        <a:pt x="4091" y="14449"/>
                        <a:pt x="3593" y="18684"/>
                      </a:cubicBezTo>
                      <a:cubicBezTo>
                        <a:pt x="2721" y="25659"/>
                        <a:pt x="603" y="28648"/>
                        <a:pt x="105" y="35748"/>
                      </a:cubicBezTo>
                      <a:cubicBezTo>
                        <a:pt x="-393" y="42599"/>
                        <a:pt x="977" y="48328"/>
                        <a:pt x="222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92" name="Freeform 5047">
                  <a:extLst>
                    <a:ext uri="{FF2B5EF4-FFF2-40B4-BE49-F238E27FC236}">
                      <a16:creationId xmlns:a16="http://schemas.microsoft.com/office/drawing/2014/main" id="{236B4293-1262-D3B9-5DD9-CBA95DE63F41}"/>
                    </a:ext>
                  </a:extLst>
                </p:cNvPr>
                <p:cNvSpPr/>
                <p:nvPr/>
              </p:nvSpPr>
              <p:spPr>
                <a:xfrm>
                  <a:off x="8390578" y="5671434"/>
                  <a:ext cx="26283" cy="26530"/>
                </a:xfrm>
                <a:custGeom>
                  <a:avLst/>
                  <a:gdLst>
                    <a:gd name="connsiteX0" fmla="*/ 0 w 26283"/>
                    <a:gd name="connsiteY0" fmla="*/ 13203 h 26530"/>
                    <a:gd name="connsiteX1" fmla="*/ 13203 w 26283"/>
                    <a:gd name="connsiteY1" fmla="*/ 0 h 26530"/>
                    <a:gd name="connsiteX2" fmla="*/ 26281 w 26283"/>
                    <a:gd name="connsiteY2" fmla="*/ 13328 h 26530"/>
                    <a:gd name="connsiteX3" fmla="*/ 13078 w 26283"/>
                    <a:gd name="connsiteY3" fmla="*/ 26531 h 26530"/>
                    <a:gd name="connsiteX4" fmla="*/ 0 w 26283"/>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3" h="26530">
                      <a:moveTo>
                        <a:pt x="0" y="13203"/>
                      </a:moveTo>
                      <a:cubicBezTo>
                        <a:pt x="0" y="5854"/>
                        <a:pt x="5979" y="0"/>
                        <a:pt x="13203" y="0"/>
                      </a:cubicBezTo>
                      <a:cubicBezTo>
                        <a:pt x="20428" y="0"/>
                        <a:pt x="26406" y="5979"/>
                        <a:pt x="26281" y="13328"/>
                      </a:cubicBezTo>
                      <a:cubicBezTo>
                        <a:pt x="26281" y="20677"/>
                        <a:pt x="20303" y="26531"/>
                        <a:pt x="13078" y="26531"/>
                      </a:cubicBezTo>
                      <a:cubicBezTo>
                        <a:pt x="5854"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3" name="Graphic 2987">
                <a:extLst>
                  <a:ext uri="{FF2B5EF4-FFF2-40B4-BE49-F238E27FC236}">
                    <a16:creationId xmlns:a16="http://schemas.microsoft.com/office/drawing/2014/main" id="{8337769B-701F-E27D-059A-C0B8D4496029}"/>
                  </a:ext>
                </a:extLst>
              </p:cNvPr>
              <p:cNvGrpSpPr/>
              <p:nvPr/>
            </p:nvGrpSpPr>
            <p:grpSpPr>
              <a:xfrm>
                <a:off x="8419974" y="5549243"/>
                <a:ext cx="27404" cy="148970"/>
                <a:chOff x="8419974" y="5549243"/>
                <a:chExt cx="27404" cy="148970"/>
              </a:xfrm>
              <a:grpFill/>
            </p:grpSpPr>
            <p:sp>
              <p:nvSpPr>
                <p:cNvPr id="4481" name="Freeform 5049">
                  <a:extLst>
                    <a:ext uri="{FF2B5EF4-FFF2-40B4-BE49-F238E27FC236}">
                      <a16:creationId xmlns:a16="http://schemas.microsoft.com/office/drawing/2014/main" id="{14EA95EB-6C35-C995-65B2-A1FDCFFF5168}"/>
                    </a:ext>
                  </a:extLst>
                </p:cNvPr>
                <p:cNvSpPr/>
                <p:nvPr/>
              </p:nvSpPr>
              <p:spPr>
                <a:xfrm>
                  <a:off x="8428085" y="5569546"/>
                  <a:ext cx="3570" cy="52065"/>
                </a:xfrm>
                <a:custGeom>
                  <a:avLst/>
                  <a:gdLst>
                    <a:gd name="connsiteX0" fmla="*/ 2352 w 3570"/>
                    <a:gd name="connsiteY0" fmla="*/ 0 h 52065"/>
                    <a:gd name="connsiteX1" fmla="*/ 234 w 3570"/>
                    <a:gd name="connsiteY1" fmla="*/ 18684 h 52065"/>
                    <a:gd name="connsiteX2" fmla="*/ 3472 w 3570"/>
                    <a:gd name="connsiteY2" fmla="*/ 35748 h 52065"/>
                    <a:gd name="connsiteX3" fmla="*/ 1230 w 357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70" h="52065">
                      <a:moveTo>
                        <a:pt x="2352" y="0"/>
                      </a:moveTo>
                      <a:cubicBezTo>
                        <a:pt x="-140" y="7971"/>
                        <a:pt x="-264" y="14324"/>
                        <a:pt x="234" y="18684"/>
                      </a:cubicBezTo>
                      <a:cubicBezTo>
                        <a:pt x="981" y="25659"/>
                        <a:pt x="3099" y="28648"/>
                        <a:pt x="3472" y="35748"/>
                      </a:cubicBezTo>
                      <a:cubicBezTo>
                        <a:pt x="3971" y="42599"/>
                        <a:pt x="2476" y="48328"/>
                        <a:pt x="123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2" name="Freeform 5050">
                  <a:extLst>
                    <a:ext uri="{FF2B5EF4-FFF2-40B4-BE49-F238E27FC236}">
                      <a16:creationId xmlns:a16="http://schemas.microsoft.com/office/drawing/2014/main" id="{274471FB-D595-3954-2D6D-FFDA1AFAB90D}"/>
                    </a:ext>
                  </a:extLst>
                </p:cNvPr>
                <p:cNvSpPr/>
                <p:nvPr/>
              </p:nvSpPr>
              <p:spPr>
                <a:xfrm>
                  <a:off x="8435653" y="5564688"/>
                  <a:ext cx="3988" cy="52065"/>
                </a:xfrm>
                <a:custGeom>
                  <a:avLst/>
                  <a:gdLst>
                    <a:gd name="connsiteX0" fmla="*/ 2132 w 3988"/>
                    <a:gd name="connsiteY0" fmla="*/ 52065 h 52065"/>
                    <a:gd name="connsiteX1" fmla="*/ 264 w 3988"/>
                    <a:gd name="connsiteY1" fmla="*/ 33382 h 52065"/>
                    <a:gd name="connsiteX2" fmla="*/ 3876 w 3988"/>
                    <a:gd name="connsiteY2" fmla="*/ 16317 h 52065"/>
                    <a:gd name="connsiteX3" fmla="*/ 1884 w 3988"/>
                    <a:gd name="connsiteY3" fmla="*/ 0 h 52065"/>
                  </a:gdLst>
                  <a:ahLst/>
                  <a:cxnLst>
                    <a:cxn ang="0">
                      <a:pos x="connsiteX0" y="connsiteY0"/>
                    </a:cxn>
                    <a:cxn ang="0">
                      <a:pos x="connsiteX1" y="connsiteY1"/>
                    </a:cxn>
                    <a:cxn ang="0">
                      <a:pos x="connsiteX2" y="connsiteY2"/>
                    </a:cxn>
                    <a:cxn ang="0">
                      <a:pos x="connsiteX3" y="connsiteY3"/>
                    </a:cxn>
                  </a:cxnLst>
                  <a:rect l="l" t="t" r="r" b="b"/>
                  <a:pathLst>
                    <a:path w="3988" h="52065">
                      <a:moveTo>
                        <a:pt x="2132" y="52065"/>
                      </a:moveTo>
                      <a:cubicBezTo>
                        <a:pt x="-234" y="43969"/>
                        <a:pt x="-234" y="37617"/>
                        <a:pt x="264" y="33382"/>
                      </a:cubicBezTo>
                      <a:cubicBezTo>
                        <a:pt x="1136" y="26407"/>
                        <a:pt x="3254" y="23417"/>
                        <a:pt x="3876" y="16317"/>
                      </a:cubicBezTo>
                      <a:cubicBezTo>
                        <a:pt x="4374" y="9467"/>
                        <a:pt x="3129" y="3737"/>
                        <a:pt x="18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3" name="Freeform 5051">
                  <a:extLst>
                    <a:ext uri="{FF2B5EF4-FFF2-40B4-BE49-F238E27FC236}">
                      <a16:creationId xmlns:a16="http://schemas.microsoft.com/office/drawing/2014/main" id="{C03A0714-EF20-7F53-C64F-B0B0D8027032}"/>
                    </a:ext>
                  </a:extLst>
                </p:cNvPr>
                <p:cNvSpPr/>
                <p:nvPr/>
              </p:nvSpPr>
              <p:spPr>
                <a:xfrm>
                  <a:off x="8420721" y="5549243"/>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5" y="26531"/>
                        <a:pt x="0" y="20552"/>
                        <a:pt x="0" y="13203"/>
                      </a:cubicBezTo>
                      <a:cubicBezTo>
                        <a:pt x="0" y="5854"/>
                        <a:pt x="6103" y="0"/>
                        <a:pt x="13452" y="0"/>
                      </a:cubicBezTo>
                      <a:cubicBezTo>
                        <a:pt x="20801" y="125"/>
                        <a:pt x="26780" y="6103"/>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4" name="Freeform 5052">
                  <a:extLst>
                    <a:ext uri="{FF2B5EF4-FFF2-40B4-BE49-F238E27FC236}">
                      <a16:creationId xmlns:a16="http://schemas.microsoft.com/office/drawing/2014/main" id="{E56DA2F5-5404-4367-406E-7E11FEAB2638}"/>
                    </a:ext>
                  </a:extLst>
                </p:cNvPr>
                <p:cNvSpPr/>
                <p:nvPr/>
              </p:nvSpPr>
              <p:spPr>
                <a:xfrm>
                  <a:off x="8435570" y="5625846"/>
                  <a:ext cx="3570" cy="52065"/>
                </a:xfrm>
                <a:custGeom>
                  <a:avLst/>
                  <a:gdLst>
                    <a:gd name="connsiteX0" fmla="*/ 1220 w 3570"/>
                    <a:gd name="connsiteY0" fmla="*/ 52065 h 52065"/>
                    <a:gd name="connsiteX1" fmla="*/ 3337 w 3570"/>
                    <a:gd name="connsiteY1" fmla="*/ 33382 h 52065"/>
                    <a:gd name="connsiteX2" fmla="*/ 98 w 3570"/>
                    <a:gd name="connsiteY2" fmla="*/ 16317 h 52065"/>
                    <a:gd name="connsiteX3" fmla="*/ 2340 w 3570"/>
                    <a:gd name="connsiteY3" fmla="*/ 0 h 52065"/>
                  </a:gdLst>
                  <a:ahLst/>
                  <a:cxnLst>
                    <a:cxn ang="0">
                      <a:pos x="connsiteX0" y="connsiteY0"/>
                    </a:cxn>
                    <a:cxn ang="0">
                      <a:pos x="connsiteX1" y="connsiteY1"/>
                    </a:cxn>
                    <a:cxn ang="0">
                      <a:pos x="connsiteX2" y="connsiteY2"/>
                    </a:cxn>
                    <a:cxn ang="0">
                      <a:pos x="connsiteX3" y="connsiteY3"/>
                    </a:cxn>
                  </a:cxnLst>
                  <a:rect l="l" t="t" r="r" b="b"/>
                  <a:pathLst>
                    <a:path w="3570" h="52065">
                      <a:moveTo>
                        <a:pt x="1220" y="52065"/>
                      </a:moveTo>
                      <a:cubicBezTo>
                        <a:pt x="3710" y="44094"/>
                        <a:pt x="3835" y="37741"/>
                        <a:pt x="3337" y="33382"/>
                      </a:cubicBezTo>
                      <a:cubicBezTo>
                        <a:pt x="2590" y="26406"/>
                        <a:pt x="472" y="23417"/>
                        <a:pt x="98" y="16317"/>
                      </a:cubicBezTo>
                      <a:cubicBezTo>
                        <a:pt x="-400" y="9467"/>
                        <a:pt x="1095" y="3737"/>
                        <a:pt x="23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5" name="Freeform 5053">
                  <a:extLst>
                    <a:ext uri="{FF2B5EF4-FFF2-40B4-BE49-F238E27FC236}">
                      <a16:creationId xmlns:a16="http://schemas.microsoft.com/office/drawing/2014/main" id="{8B79D1DF-5CB1-FAC4-F45F-194F6D434397}"/>
                    </a:ext>
                  </a:extLst>
                </p:cNvPr>
                <p:cNvSpPr/>
                <p:nvPr/>
              </p:nvSpPr>
              <p:spPr>
                <a:xfrm>
                  <a:off x="8427716" y="5630704"/>
                  <a:ext cx="3857" cy="52065"/>
                </a:xfrm>
                <a:custGeom>
                  <a:avLst/>
                  <a:gdLst>
                    <a:gd name="connsiteX0" fmla="*/ 1725 w 3857"/>
                    <a:gd name="connsiteY0" fmla="*/ 0 h 52065"/>
                    <a:gd name="connsiteX1" fmla="*/ 3593 w 3857"/>
                    <a:gd name="connsiteY1" fmla="*/ 18684 h 52065"/>
                    <a:gd name="connsiteX2" fmla="*/ 105 w 3857"/>
                    <a:gd name="connsiteY2" fmla="*/ 35748 h 52065"/>
                    <a:gd name="connsiteX3" fmla="*/ 2099 w 38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57" h="52065">
                      <a:moveTo>
                        <a:pt x="1725" y="0"/>
                      </a:moveTo>
                      <a:cubicBezTo>
                        <a:pt x="4091" y="8096"/>
                        <a:pt x="4091" y="14449"/>
                        <a:pt x="3593" y="18684"/>
                      </a:cubicBezTo>
                      <a:cubicBezTo>
                        <a:pt x="2721" y="25659"/>
                        <a:pt x="603" y="28648"/>
                        <a:pt x="105" y="35748"/>
                      </a:cubicBezTo>
                      <a:cubicBezTo>
                        <a:pt x="-393" y="42599"/>
                        <a:pt x="977" y="48328"/>
                        <a:pt x="209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6" name="Freeform 5054">
                  <a:extLst>
                    <a:ext uri="{FF2B5EF4-FFF2-40B4-BE49-F238E27FC236}">
                      <a16:creationId xmlns:a16="http://schemas.microsoft.com/office/drawing/2014/main" id="{47AFEEBB-0060-0CA2-C344-BD7AE246E6F0}"/>
                    </a:ext>
                  </a:extLst>
                </p:cNvPr>
                <p:cNvSpPr/>
                <p:nvPr/>
              </p:nvSpPr>
              <p:spPr>
                <a:xfrm>
                  <a:off x="8419974" y="5671683"/>
                  <a:ext cx="26406" cy="26530"/>
                </a:xfrm>
                <a:custGeom>
                  <a:avLst/>
                  <a:gdLst>
                    <a:gd name="connsiteX0" fmla="*/ 0 w 26406"/>
                    <a:gd name="connsiteY0" fmla="*/ 13203 h 26530"/>
                    <a:gd name="connsiteX1" fmla="*/ 13328 w 26406"/>
                    <a:gd name="connsiteY1" fmla="*/ 0 h 26530"/>
                    <a:gd name="connsiteX2" fmla="*/ 26406 w 26406"/>
                    <a:gd name="connsiteY2" fmla="*/ 13327 h 26530"/>
                    <a:gd name="connsiteX3" fmla="*/ 13078 w 26406"/>
                    <a:gd name="connsiteY3" fmla="*/ 26530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0" y="5854"/>
                        <a:pt x="5979" y="0"/>
                        <a:pt x="13328" y="0"/>
                      </a:cubicBezTo>
                      <a:cubicBezTo>
                        <a:pt x="20677" y="0"/>
                        <a:pt x="26406" y="5979"/>
                        <a:pt x="26406" y="13327"/>
                      </a:cubicBezTo>
                      <a:cubicBezTo>
                        <a:pt x="26281" y="20676"/>
                        <a:pt x="20428" y="26530"/>
                        <a:pt x="13078" y="26530"/>
                      </a:cubicBezTo>
                      <a:cubicBezTo>
                        <a:pt x="5855" y="26406"/>
                        <a:pt x="0" y="20427"/>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4" name="Graphic 2987">
                <a:extLst>
                  <a:ext uri="{FF2B5EF4-FFF2-40B4-BE49-F238E27FC236}">
                    <a16:creationId xmlns:a16="http://schemas.microsoft.com/office/drawing/2014/main" id="{043611CA-EDDB-933A-873E-B424136693F9}"/>
                  </a:ext>
                </a:extLst>
              </p:cNvPr>
              <p:cNvGrpSpPr/>
              <p:nvPr/>
            </p:nvGrpSpPr>
            <p:grpSpPr>
              <a:xfrm>
                <a:off x="8449369" y="5549492"/>
                <a:ext cx="27778" cy="148846"/>
                <a:chOff x="8449369" y="5549492"/>
                <a:chExt cx="27778" cy="148846"/>
              </a:xfrm>
              <a:grpFill/>
            </p:grpSpPr>
            <p:sp>
              <p:nvSpPr>
                <p:cNvPr id="4475" name="Freeform 5056">
                  <a:extLst>
                    <a:ext uri="{FF2B5EF4-FFF2-40B4-BE49-F238E27FC236}">
                      <a16:creationId xmlns:a16="http://schemas.microsoft.com/office/drawing/2014/main" id="{85BDBFD8-99C0-05B2-7056-C9650B5104A8}"/>
                    </a:ext>
                  </a:extLst>
                </p:cNvPr>
                <p:cNvSpPr/>
                <p:nvPr/>
              </p:nvSpPr>
              <p:spPr>
                <a:xfrm>
                  <a:off x="8457707" y="5569795"/>
                  <a:ext cx="3557" cy="52065"/>
                </a:xfrm>
                <a:custGeom>
                  <a:avLst/>
                  <a:gdLst>
                    <a:gd name="connsiteX0" fmla="*/ 2375 w 3557"/>
                    <a:gd name="connsiteY0" fmla="*/ 0 h 52065"/>
                    <a:gd name="connsiteX1" fmla="*/ 257 w 3557"/>
                    <a:gd name="connsiteY1" fmla="*/ 18684 h 52065"/>
                    <a:gd name="connsiteX2" fmla="*/ 3495 w 3557"/>
                    <a:gd name="connsiteY2" fmla="*/ 35748 h 52065"/>
                    <a:gd name="connsiteX3" fmla="*/ 1129 w 355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557" h="52065">
                      <a:moveTo>
                        <a:pt x="2375" y="0"/>
                      </a:moveTo>
                      <a:cubicBezTo>
                        <a:pt x="-241" y="7972"/>
                        <a:pt x="-241" y="14324"/>
                        <a:pt x="257" y="18684"/>
                      </a:cubicBezTo>
                      <a:cubicBezTo>
                        <a:pt x="1004" y="25659"/>
                        <a:pt x="3122" y="28648"/>
                        <a:pt x="3495" y="35748"/>
                      </a:cubicBezTo>
                      <a:cubicBezTo>
                        <a:pt x="3869" y="42599"/>
                        <a:pt x="2499" y="48328"/>
                        <a:pt x="112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6" name="Freeform 5057">
                  <a:extLst>
                    <a:ext uri="{FF2B5EF4-FFF2-40B4-BE49-F238E27FC236}">
                      <a16:creationId xmlns:a16="http://schemas.microsoft.com/office/drawing/2014/main" id="{46FBA709-1959-9F81-3B71-BCE0E1D50AE9}"/>
                    </a:ext>
                  </a:extLst>
                </p:cNvPr>
                <p:cNvSpPr/>
                <p:nvPr/>
              </p:nvSpPr>
              <p:spPr>
                <a:xfrm>
                  <a:off x="8465336" y="5564937"/>
                  <a:ext cx="4118" cy="52065"/>
                </a:xfrm>
                <a:custGeom>
                  <a:avLst/>
                  <a:gdLst>
                    <a:gd name="connsiteX0" fmla="*/ 2095 w 4118"/>
                    <a:gd name="connsiteY0" fmla="*/ 52065 h 52065"/>
                    <a:gd name="connsiteX1" fmla="*/ 351 w 4118"/>
                    <a:gd name="connsiteY1" fmla="*/ 33381 h 52065"/>
                    <a:gd name="connsiteX2" fmla="*/ 3963 w 4118"/>
                    <a:gd name="connsiteY2" fmla="*/ 16317 h 52065"/>
                    <a:gd name="connsiteX3" fmla="*/ 1970 w 4118"/>
                    <a:gd name="connsiteY3" fmla="*/ 0 h 52065"/>
                  </a:gdLst>
                  <a:ahLst/>
                  <a:cxnLst>
                    <a:cxn ang="0">
                      <a:pos x="connsiteX0" y="connsiteY0"/>
                    </a:cxn>
                    <a:cxn ang="0">
                      <a:pos x="connsiteX1" y="connsiteY1"/>
                    </a:cxn>
                    <a:cxn ang="0">
                      <a:pos x="connsiteX2" y="connsiteY2"/>
                    </a:cxn>
                    <a:cxn ang="0">
                      <a:pos x="connsiteX3" y="connsiteY3"/>
                    </a:cxn>
                  </a:cxnLst>
                  <a:rect l="l" t="t" r="r" b="b"/>
                  <a:pathLst>
                    <a:path w="4118" h="52065">
                      <a:moveTo>
                        <a:pt x="2095" y="52065"/>
                      </a:moveTo>
                      <a:cubicBezTo>
                        <a:pt x="-272" y="43969"/>
                        <a:pt x="-272" y="37616"/>
                        <a:pt x="351" y="33381"/>
                      </a:cubicBezTo>
                      <a:cubicBezTo>
                        <a:pt x="1223" y="26406"/>
                        <a:pt x="3341" y="23417"/>
                        <a:pt x="3963" y="16317"/>
                      </a:cubicBezTo>
                      <a:cubicBezTo>
                        <a:pt x="4586" y="9466"/>
                        <a:pt x="3216" y="3737"/>
                        <a:pt x="19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7" name="Freeform 5058">
                  <a:extLst>
                    <a:ext uri="{FF2B5EF4-FFF2-40B4-BE49-F238E27FC236}">
                      <a16:creationId xmlns:a16="http://schemas.microsoft.com/office/drawing/2014/main" id="{C25AA109-FF94-ACE7-EAE2-921215C66302}"/>
                    </a:ext>
                  </a:extLst>
                </p:cNvPr>
                <p:cNvSpPr/>
                <p:nvPr/>
              </p:nvSpPr>
              <p:spPr>
                <a:xfrm>
                  <a:off x="8450491" y="5549492"/>
                  <a:ext cx="26657" cy="26530"/>
                </a:xfrm>
                <a:custGeom>
                  <a:avLst/>
                  <a:gdLst>
                    <a:gd name="connsiteX0" fmla="*/ 26656 w 26657"/>
                    <a:gd name="connsiteY0" fmla="*/ 13328 h 26530"/>
                    <a:gd name="connsiteX1" fmla="*/ 13203 w 26657"/>
                    <a:gd name="connsiteY1" fmla="*/ 26531 h 26530"/>
                    <a:gd name="connsiteX2" fmla="*/ 0 w 26657"/>
                    <a:gd name="connsiteY2" fmla="*/ 13203 h 26530"/>
                    <a:gd name="connsiteX3" fmla="*/ 13452 w 26657"/>
                    <a:gd name="connsiteY3" fmla="*/ 0 h 26530"/>
                    <a:gd name="connsiteX4" fmla="*/ 26656 w 26657"/>
                    <a:gd name="connsiteY4" fmla="*/ 13328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0">
                      <a:moveTo>
                        <a:pt x="26656" y="13328"/>
                      </a:moveTo>
                      <a:cubicBezTo>
                        <a:pt x="26531" y="20677"/>
                        <a:pt x="20552" y="26531"/>
                        <a:pt x="13203" y="26531"/>
                      </a:cubicBezTo>
                      <a:cubicBezTo>
                        <a:pt x="5854" y="26531"/>
                        <a:pt x="0" y="20552"/>
                        <a:pt x="0" y="13203"/>
                      </a:cubicBezTo>
                      <a:cubicBezTo>
                        <a:pt x="0" y="5854"/>
                        <a:pt x="6103" y="0"/>
                        <a:pt x="13452" y="0"/>
                      </a:cubicBezTo>
                      <a:cubicBezTo>
                        <a:pt x="20801" y="0"/>
                        <a:pt x="26780" y="5979"/>
                        <a:pt x="26656" y="13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8" name="Freeform 5059">
                  <a:extLst>
                    <a:ext uri="{FF2B5EF4-FFF2-40B4-BE49-F238E27FC236}">
                      <a16:creationId xmlns:a16="http://schemas.microsoft.com/office/drawing/2014/main" id="{ABF24FE9-49DD-402D-3701-067FFBA3D69B}"/>
                    </a:ext>
                  </a:extLst>
                </p:cNvPr>
                <p:cNvSpPr/>
                <p:nvPr/>
              </p:nvSpPr>
              <p:spPr>
                <a:xfrm>
                  <a:off x="8465126" y="5625971"/>
                  <a:ext cx="3534" cy="52065"/>
                </a:xfrm>
                <a:custGeom>
                  <a:avLst/>
                  <a:gdLst>
                    <a:gd name="connsiteX0" fmla="*/ 1184 w 3534"/>
                    <a:gd name="connsiteY0" fmla="*/ 52065 h 52065"/>
                    <a:gd name="connsiteX1" fmla="*/ 3301 w 3534"/>
                    <a:gd name="connsiteY1" fmla="*/ 33381 h 52065"/>
                    <a:gd name="connsiteX2" fmla="*/ 62 w 3534"/>
                    <a:gd name="connsiteY2" fmla="*/ 16317 h 52065"/>
                    <a:gd name="connsiteX3" fmla="*/ 2429 w 3534"/>
                    <a:gd name="connsiteY3" fmla="*/ 0 h 52065"/>
                  </a:gdLst>
                  <a:ahLst/>
                  <a:cxnLst>
                    <a:cxn ang="0">
                      <a:pos x="connsiteX0" y="connsiteY0"/>
                    </a:cxn>
                    <a:cxn ang="0">
                      <a:pos x="connsiteX1" y="connsiteY1"/>
                    </a:cxn>
                    <a:cxn ang="0">
                      <a:pos x="connsiteX2" y="connsiteY2"/>
                    </a:cxn>
                    <a:cxn ang="0">
                      <a:pos x="connsiteX3" y="connsiteY3"/>
                    </a:cxn>
                  </a:cxnLst>
                  <a:rect l="l" t="t" r="r" b="b"/>
                  <a:pathLst>
                    <a:path w="3534" h="52065">
                      <a:moveTo>
                        <a:pt x="1184" y="52065"/>
                      </a:moveTo>
                      <a:cubicBezTo>
                        <a:pt x="3674" y="44094"/>
                        <a:pt x="3799" y="37741"/>
                        <a:pt x="3301" y="33381"/>
                      </a:cubicBezTo>
                      <a:cubicBezTo>
                        <a:pt x="2554" y="26406"/>
                        <a:pt x="560" y="23417"/>
                        <a:pt x="62" y="16317"/>
                      </a:cubicBezTo>
                      <a:cubicBezTo>
                        <a:pt x="-311" y="9467"/>
                        <a:pt x="1059" y="3737"/>
                        <a:pt x="242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9" name="Freeform 5060">
                  <a:extLst>
                    <a:ext uri="{FF2B5EF4-FFF2-40B4-BE49-F238E27FC236}">
                      <a16:creationId xmlns:a16="http://schemas.microsoft.com/office/drawing/2014/main" id="{4150A916-3DC9-2E1A-1E07-AD256B3B1DF9}"/>
                    </a:ext>
                  </a:extLst>
                </p:cNvPr>
                <p:cNvSpPr/>
                <p:nvPr/>
              </p:nvSpPr>
              <p:spPr>
                <a:xfrm>
                  <a:off x="8457104" y="5630953"/>
                  <a:ext cx="4075" cy="52065"/>
                </a:xfrm>
                <a:custGeom>
                  <a:avLst/>
                  <a:gdLst>
                    <a:gd name="connsiteX0" fmla="*/ 1981 w 4075"/>
                    <a:gd name="connsiteY0" fmla="*/ 0 h 52065"/>
                    <a:gd name="connsiteX1" fmla="*/ 3725 w 4075"/>
                    <a:gd name="connsiteY1" fmla="*/ 18684 h 52065"/>
                    <a:gd name="connsiteX2" fmla="*/ 112 w 4075"/>
                    <a:gd name="connsiteY2" fmla="*/ 35748 h 52065"/>
                    <a:gd name="connsiteX3" fmla="*/ 2106 w 407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75" h="52065">
                      <a:moveTo>
                        <a:pt x="1981" y="0"/>
                      </a:moveTo>
                      <a:cubicBezTo>
                        <a:pt x="4348" y="8096"/>
                        <a:pt x="4348" y="14449"/>
                        <a:pt x="3725" y="18684"/>
                      </a:cubicBezTo>
                      <a:cubicBezTo>
                        <a:pt x="2853" y="25659"/>
                        <a:pt x="736" y="28648"/>
                        <a:pt x="112" y="35748"/>
                      </a:cubicBezTo>
                      <a:cubicBezTo>
                        <a:pt x="-386" y="42599"/>
                        <a:pt x="860" y="48328"/>
                        <a:pt x="210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80" name="Freeform 5061">
                  <a:extLst>
                    <a:ext uri="{FF2B5EF4-FFF2-40B4-BE49-F238E27FC236}">
                      <a16:creationId xmlns:a16="http://schemas.microsoft.com/office/drawing/2014/main" id="{78C78B38-8B38-D41E-6C4A-15B0779E13C1}"/>
                    </a:ext>
                  </a:extLst>
                </p:cNvPr>
                <p:cNvSpPr/>
                <p:nvPr/>
              </p:nvSpPr>
              <p:spPr>
                <a:xfrm>
                  <a:off x="8449369" y="5671808"/>
                  <a:ext cx="26406" cy="26530"/>
                </a:xfrm>
                <a:custGeom>
                  <a:avLst/>
                  <a:gdLst>
                    <a:gd name="connsiteX0" fmla="*/ 0 w 26406"/>
                    <a:gd name="connsiteY0" fmla="*/ 13203 h 26530"/>
                    <a:gd name="connsiteX1" fmla="*/ 13328 w 26406"/>
                    <a:gd name="connsiteY1" fmla="*/ 0 h 26530"/>
                    <a:gd name="connsiteX2" fmla="*/ 26406 w 26406"/>
                    <a:gd name="connsiteY2" fmla="*/ 13328 h 26530"/>
                    <a:gd name="connsiteX3" fmla="*/ 13079 w 26406"/>
                    <a:gd name="connsiteY3" fmla="*/ 26531 h 26530"/>
                    <a:gd name="connsiteX4" fmla="*/ 0 w 2640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6" h="26530">
                      <a:moveTo>
                        <a:pt x="0" y="13203"/>
                      </a:moveTo>
                      <a:cubicBezTo>
                        <a:pt x="125" y="5854"/>
                        <a:pt x="5979" y="0"/>
                        <a:pt x="13328" y="0"/>
                      </a:cubicBezTo>
                      <a:cubicBezTo>
                        <a:pt x="20552" y="0"/>
                        <a:pt x="26406" y="5979"/>
                        <a:pt x="26406" y="13328"/>
                      </a:cubicBezTo>
                      <a:cubicBezTo>
                        <a:pt x="26282" y="20677"/>
                        <a:pt x="20303" y="26531"/>
                        <a:pt x="13079" y="26531"/>
                      </a:cubicBezTo>
                      <a:cubicBezTo>
                        <a:pt x="5855" y="26531"/>
                        <a:pt x="0" y="20552"/>
                        <a:pt x="0"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5" name="Graphic 2987">
                <a:extLst>
                  <a:ext uri="{FF2B5EF4-FFF2-40B4-BE49-F238E27FC236}">
                    <a16:creationId xmlns:a16="http://schemas.microsoft.com/office/drawing/2014/main" id="{C4A48EC2-3BAD-7494-44F7-E04CCE430D28}"/>
                  </a:ext>
                </a:extLst>
              </p:cNvPr>
              <p:cNvGrpSpPr/>
              <p:nvPr/>
            </p:nvGrpSpPr>
            <p:grpSpPr>
              <a:xfrm>
                <a:off x="8478887" y="5549617"/>
                <a:ext cx="28029" cy="148970"/>
                <a:chOff x="8478887" y="5549617"/>
                <a:chExt cx="28029" cy="148970"/>
              </a:xfrm>
              <a:grpFill/>
            </p:grpSpPr>
            <p:sp>
              <p:nvSpPr>
                <p:cNvPr id="4469" name="Freeform 5063">
                  <a:extLst>
                    <a:ext uri="{FF2B5EF4-FFF2-40B4-BE49-F238E27FC236}">
                      <a16:creationId xmlns:a16="http://schemas.microsoft.com/office/drawing/2014/main" id="{AE526273-E863-1C1F-A228-A1D9F0ED786E}"/>
                    </a:ext>
                  </a:extLst>
                </p:cNvPr>
                <p:cNvSpPr/>
                <p:nvPr/>
              </p:nvSpPr>
              <p:spPr>
                <a:xfrm>
                  <a:off x="8487432" y="5570044"/>
                  <a:ext cx="3473" cy="52065"/>
                </a:xfrm>
                <a:custGeom>
                  <a:avLst/>
                  <a:gdLst>
                    <a:gd name="connsiteX0" fmla="*/ 2419 w 3473"/>
                    <a:gd name="connsiteY0" fmla="*/ 0 h 52065"/>
                    <a:gd name="connsiteX1" fmla="*/ 177 w 3473"/>
                    <a:gd name="connsiteY1" fmla="*/ 18684 h 52065"/>
                    <a:gd name="connsiteX2" fmla="*/ 3415 w 3473"/>
                    <a:gd name="connsiteY2" fmla="*/ 35748 h 52065"/>
                    <a:gd name="connsiteX3" fmla="*/ 1049 w 347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473" h="52065">
                      <a:moveTo>
                        <a:pt x="2419" y="0"/>
                      </a:moveTo>
                      <a:cubicBezTo>
                        <a:pt x="-197" y="7971"/>
                        <a:pt x="-197" y="14324"/>
                        <a:pt x="177" y="18684"/>
                      </a:cubicBezTo>
                      <a:cubicBezTo>
                        <a:pt x="924" y="25659"/>
                        <a:pt x="2917" y="28648"/>
                        <a:pt x="3415" y="35748"/>
                      </a:cubicBezTo>
                      <a:cubicBezTo>
                        <a:pt x="3789" y="42599"/>
                        <a:pt x="2295" y="48328"/>
                        <a:pt x="10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0" name="Freeform 5064">
                  <a:extLst>
                    <a:ext uri="{FF2B5EF4-FFF2-40B4-BE49-F238E27FC236}">
                      <a16:creationId xmlns:a16="http://schemas.microsoft.com/office/drawing/2014/main" id="{0A25D732-C70B-0DED-A644-0EE5A8F01B92}"/>
                    </a:ext>
                  </a:extLst>
                </p:cNvPr>
                <p:cNvSpPr/>
                <p:nvPr/>
              </p:nvSpPr>
              <p:spPr>
                <a:xfrm>
                  <a:off x="8494911" y="5565062"/>
                  <a:ext cx="4062" cy="52065"/>
                </a:xfrm>
                <a:custGeom>
                  <a:avLst/>
                  <a:gdLst>
                    <a:gd name="connsiteX0" fmla="*/ 2039 w 4062"/>
                    <a:gd name="connsiteY0" fmla="*/ 52065 h 52065"/>
                    <a:gd name="connsiteX1" fmla="*/ 296 w 4062"/>
                    <a:gd name="connsiteY1" fmla="*/ 33382 h 52065"/>
                    <a:gd name="connsiteX2" fmla="*/ 3908 w 4062"/>
                    <a:gd name="connsiteY2" fmla="*/ 16317 h 52065"/>
                    <a:gd name="connsiteX3" fmla="*/ 1914 w 4062"/>
                    <a:gd name="connsiteY3" fmla="*/ 0 h 52065"/>
                  </a:gdLst>
                  <a:ahLst/>
                  <a:cxnLst>
                    <a:cxn ang="0">
                      <a:pos x="connsiteX0" y="connsiteY0"/>
                    </a:cxn>
                    <a:cxn ang="0">
                      <a:pos x="connsiteX1" y="connsiteY1"/>
                    </a:cxn>
                    <a:cxn ang="0">
                      <a:pos x="connsiteX2" y="connsiteY2"/>
                    </a:cxn>
                    <a:cxn ang="0">
                      <a:pos x="connsiteX3" y="connsiteY3"/>
                    </a:cxn>
                  </a:cxnLst>
                  <a:rect l="l" t="t" r="r" b="b"/>
                  <a:pathLst>
                    <a:path w="4061" h="52065">
                      <a:moveTo>
                        <a:pt x="2039" y="52065"/>
                      </a:moveTo>
                      <a:cubicBezTo>
                        <a:pt x="-328" y="43969"/>
                        <a:pt x="-203" y="37617"/>
                        <a:pt x="296" y="33382"/>
                      </a:cubicBezTo>
                      <a:cubicBezTo>
                        <a:pt x="1167" y="26407"/>
                        <a:pt x="3285" y="23417"/>
                        <a:pt x="3908" y="16317"/>
                      </a:cubicBezTo>
                      <a:cubicBezTo>
                        <a:pt x="4530" y="9467"/>
                        <a:pt x="3160" y="3737"/>
                        <a:pt x="19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1" name="Freeform 5065">
                  <a:extLst>
                    <a:ext uri="{FF2B5EF4-FFF2-40B4-BE49-F238E27FC236}">
                      <a16:creationId xmlns:a16="http://schemas.microsoft.com/office/drawing/2014/main" id="{146EC63F-08D5-575C-E992-61A76D996926}"/>
                    </a:ext>
                  </a:extLst>
                </p:cNvPr>
                <p:cNvSpPr/>
                <p:nvPr/>
              </p:nvSpPr>
              <p:spPr>
                <a:xfrm>
                  <a:off x="8480383" y="5549617"/>
                  <a:ext cx="26533" cy="26530"/>
                </a:xfrm>
                <a:custGeom>
                  <a:avLst/>
                  <a:gdLst>
                    <a:gd name="connsiteX0" fmla="*/ 26532 w 26533"/>
                    <a:gd name="connsiteY0" fmla="*/ 13452 h 26530"/>
                    <a:gd name="connsiteX1" fmla="*/ 13080 w 26533"/>
                    <a:gd name="connsiteY1" fmla="*/ 26531 h 26530"/>
                    <a:gd name="connsiteX2" fmla="*/ 2 w 26533"/>
                    <a:gd name="connsiteY2" fmla="*/ 13203 h 26530"/>
                    <a:gd name="connsiteX3" fmla="*/ 13454 w 26533"/>
                    <a:gd name="connsiteY3" fmla="*/ 0 h 26530"/>
                    <a:gd name="connsiteX4" fmla="*/ 26532 w 26533"/>
                    <a:gd name="connsiteY4" fmla="*/ 13452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3" h="26530">
                      <a:moveTo>
                        <a:pt x="26532" y="13452"/>
                      </a:moveTo>
                      <a:cubicBezTo>
                        <a:pt x="26408" y="20801"/>
                        <a:pt x="20429" y="26531"/>
                        <a:pt x="13080" y="26531"/>
                      </a:cubicBezTo>
                      <a:cubicBezTo>
                        <a:pt x="5731" y="26531"/>
                        <a:pt x="-123" y="20552"/>
                        <a:pt x="2" y="13203"/>
                      </a:cubicBezTo>
                      <a:cubicBezTo>
                        <a:pt x="126" y="5854"/>
                        <a:pt x="6105" y="0"/>
                        <a:pt x="13454" y="0"/>
                      </a:cubicBezTo>
                      <a:cubicBezTo>
                        <a:pt x="20803" y="125"/>
                        <a:pt x="26657" y="6103"/>
                        <a:pt x="26532" y="13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2" name="Freeform 5066">
                  <a:extLst>
                    <a:ext uri="{FF2B5EF4-FFF2-40B4-BE49-F238E27FC236}">
                      <a16:creationId xmlns:a16="http://schemas.microsoft.com/office/drawing/2014/main" id="{2352C0EE-2887-24BE-DB5A-F23A2CC24BDC}"/>
                    </a:ext>
                  </a:extLst>
                </p:cNvPr>
                <p:cNvSpPr/>
                <p:nvPr/>
              </p:nvSpPr>
              <p:spPr>
                <a:xfrm>
                  <a:off x="8494775" y="5626220"/>
                  <a:ext cx="3349" cy="52065"/>
                </a:xfrm>
                <a:custGeom>
                  <a:avLst/>
                  <a:gdLst>
                    <a:gd name="connsiteX0" fmla="*/ 930 w 3349"/>
                    <a:gd name="connsiteY0" fmla="*/ 52065 h 52065"/>
                    <a:gd name="connsiteX1" fmla="*/ 3172 w 3349"/>
                    <a:gd name="connsiteY1" fmla="*/ 33382 h 52065"/>
                    <a:gd name="connsiteX2" fmla="*/ 58 w 3349"/>
                    <a:gd name="connsiteY2" fmla="*/ 16317 h 52065"/>
                    <a:gd name="connsiteX3" fmla="*/ 2425 w 3349"/>
                    <a:gd name="connsiteY3" fmla="*/ 0 h 52065"/>
                  </a:gdLst>
                  <a:ahLst/>
                  <a:cxnLst>
                    <a:cxn ang="0">
                      <a:pos x="connsiteX0" y="connsiteY0"/>
                    </a:cxn>
                    <a:cxn ang="0">
                      <a:pos x="connsiteX1" y="connsiteY1"/>
                    </a:cxn>
                    <a:cxn ang="0">
                      <a:pos x="connsiteX2" y="connsiteY2"/>
                    </a:cxn>
                    <a:cxn ang="0">
                      <a:pos x="connsiteX3" y="connsiteY3"/>
                    </a:cxn>
                  </a:cxnLst>
                  <a:rect l="l" t="t" r="r" b="b"/>
                  <a:pathLst>
                    <a:path w="3349" h="52065">
                      <a:moveTo>
                        <a:pt x="930" y="52065"/>
                      </a:moveTo>
                      <a:cubicBezTo>
                        <a:pt x="3546" y="44094"/>
                        <a:pt x="3546" y="37741"/>
                        <a:pt x="3172" y="33382"/>
                      </a:cubicBezTo>
                      <a:cubicBezTo>
                        <a:pt x="2550" y="26406"/>
                        <a:pt x="432" y="23417"/>
                        <a:pt x="58" y="16317"/>
                      </a:cubicBezTo>
                      <a:cubicBezTo>
                        <a:pt x="-316"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3" name="Freeform 5067">
                  <a:extLst>
                    <a:ext uri="{FF2B5EF4-FFF2-40B4-BE49-F238E27FC236}">
                      <a16:creationId xmlns:a16="http://schemas.microsoft.com/office/drawing/2014/main" id="{58029CD3-3A98-3DA4-4622-3A5EC2C51076}"/>
                    </a:ext>
                  </a:extLst>
                </p:cNvPr>
                <p:cNvSpPr/>
                <p:nvPr/>
              </p:nvSpPr>
              <p:spPr>
                <a:xfrm>
                  <a:off x="8486581" y="5631078"/>
                  <a:ext cx="4063" cy="52065"/>
                </a:xfrm>
                <a:custGeom>
                  <a:avLst/>
                  <a:gdLst>
                    <a:gd name="connsiteX0" fmla="*/ 2024 w 4063"/>
                    <a:gd name="connsiteY0" fmla="*/ 0 h 52065"/>
                    <a:gd name="connsiteX1" fmla="*/ 3768 w 4063"/>
                    <a:gd name="connsiteY1" fmla="*/ 18684 h 52065"/>
                    <a:gd name="connsiteX2" fmla="*/ 155 w 4063"/>
                    <a:gd name="connsiteY2" fmla="*/ 35748 h 52065"/>
                    <a:gd name="connsiteX3" fmla="*/ 2149 w 4063"/>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063" h="52065">
                      <a:moveTo>
                        <a:pt x="2024" y="0"/>
                      </a:moveTo>
                      <a:cubicBezTo>
                        <a:pt x="4390" y="8096"/>
                        <a:pt x="4266" y="14449"/>
                        <a:pt x="3768" y="18684"/>
                      </a:cubicBezTo>
                      <a:cubicBezTo>
                        <a:pt x="2896" y="25659"/>
                        <a:pt x="779" y="28648"/>
                        <a:pt x="155" y="35748"/>
                      </a:cubicBezTo>
                      <a:cubicBezTo>
                        <a:pt x="-467" y="42599"/>
                        <a:pt x="903" y="48328"/>
                        <a:pt x="214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74" name="Freeform 5068">
                  <a:extLst>
                    <a:ext uri="{FF2B5EF4-FFF2-40B4-BE49-F238E27FC236}">
                      <a16:creationId xmlns:a16="http://schemas.microsoft.com/office/drawing/2014/main" id="{0D0DDDC3-4C26-EE8A-7E01-D3693758DBFC}"/>
                    </a:ext>
                  </a:extLst>
                </p:cNvPr>
                <p:cNvSpPr/>
                <p:nvPr/>
              </p:nvSpPr>
              <p:spPr>
                <a:xfrm>
                  <a:off x="8478887" y="5672057"/>
                  <a:ext cx="26286" cy="26530"/>
                </a:xfrm>
                <a:custGeom>
                  <a:avLst/>
                  <a:gdLst>
                    <a:gd name="connsiteX0" fmla="*/ 2 w 26286"/>
                    <a:gd name="connsiteY0" fmla="*/ 13203 h 26530"/>
                    <a:gd name="connsiteX1" fmla="*/ 13330 w 26286"/>
                    <a:gd name="connsiteY1" fmla="*/ 0 h 26530"/>
                    <a:gd name="connsiteX2" fmla="*/ 26284 w 26286"/>
                    <a:gd name="connsiteY2" fmla="*/ 13452 h 26530"/>
                    <a:gd name="connsiteX3" fmla="*/ 12956 w 26286"/>
                    <a:gd name="connsiteY3" fmla="*/ 26530 h 26530"/>
                    <a:gd name="connsiteX4" fmla="*/ 2 w 26286"/>
                    <a:gd name="connsiteY4" fmla="*/ 13203 h 26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6" h="26530">
                      <a:moveTo>
                        <a:pt x="2" y="13203"/>
                      </a:moveTo>
                      <a:cubicBezTo>
                        <a:pt x="127" y="5854"/>
                        <a:pt x="6106" y="0"/>
                        <a:pt x="13330" y="0"/>
                      </a:cubicBezTo>
                      <a:cubicBezTo>
                        <a:pt x="20554" y="0"/>
                        <a:pt x="26409" y="6103"/>
                        <a:pt x="26284" y="13452"/>
                      </a:cubicBezTo>
                      <a:cubicBezTo>
                        <a:pt x="26160" y="20801"/>
                        <a:pt x="20181" y="26530"/>
                        <a:pt x="12956" y="26530"/>
                      </a:cubicBezTo>
                      <a:cubicBezTo>
                        <a:pt x="5732" y="26530"/>
                        <a:pt x="-122" y="20552"/>
                        <a:pt x="2" y="13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6" name="Graphic 2987">
                <a:extLst>
                  <a:ext uri="{FF2B5EF4-FFF2-40B4-BE49-F238E27FC236}">
                    <a16:creationId xmlns:a16="http://schemas.microsoft.com/office/drawing/2014/main" id="{751B4F20-34CE-0052-ED45-DAF92AD42750}"/>
                  </a:ext>
                </a:extLst>
              </p:cNvPr>
              <p:cNvGrpSpPr/>
              <p:nvPr/>
            </p:nvGrpSpPr>
            <p:grpSpPr>
              <a:xfrm>
                <a:off x="8508284" y="5550113"/>
                <a:ext cx="28402" cy="148974"/>
                <a:chOff x="8508284" y="5550113"/>
                <a:chExt cx="28402" cy="148974"/>
              </a:xfrm>
              <a:grpFill/>
            </p:grpSpPr>
            <p:sp>
              <p:nvSpPr>
                <p:cNvPr id="4463" name="Freeform 5070">
                  <a:extLst>
                    <a:ext uri="{FF2B5EF4-FFF2-40B4-BE49-F238E27FC236}">
                      <a16:creationId xmlns:a16="http://schemas.microsoft.com/office/drawing/2014/main" id="{74334D86-434E-3C61-707B-F864ACCC785E}"/>
                    </a:ext>
                  </a:extLst>
                </p:cNvPr>
                <p:cNvSpPr/>
                <p:nvPr/>
              </p:nvSpPr>
              <p:spPr>
                <a:xfrm>
                  <a:off x="8517147" y="5570418"/>
                  <a:ext cx="3403" cy="52189"/>
                </a:xfrm>
                <a:custGeom>
                  <a:avLst/>
                  <a:gdLst>
                    <a:gd name="connsiteX0" fmla="*/ 2473 w 3403"/>
                    <a:gd name="connsiteY0" fmla="*/ 0 h 52189"/>
                    <a:gd name="connsiteX1" fmla="*/ 231 w 3403"/>
                    <a:gd name="connsiteY1" fmla="*/ 18684 h 52189"/>
                    <a:gd name="connsiteX2" fmla="*/ 3345 w 3403"/>
                    <a:gd name="connsiteY2" fmla="*/ 35873 h 52189"/>
                    <a:gd name="connsiteX3" fmla="*/ 978 w 34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403" h="52189">
                      <a:moveTo>
                        <a:pt x="2473" y="0"/>
                      </a:moveTo>
                      <a:cubicBezTo>
                        <a:pt x="-142" y="7971"/>
                        <a:pt x="-267" y="14324"/>
                        <a:pt x="231" y="18684"/>
                      </a:cubicBezTo>
                      <a:cubicBezTo>
                        <a:pt x="853" y="25659"/>
                        <a:pt x="2972" y="28773"/>
                        <a:pt x="3345" y="35873"/>
                      </a:cubicBezTo>
                      <a:cubicBezTo>
                        <a:pt x="3719" y="42723"/>
                        <a:pt x="2223" y="48453"/>
                        <a:pt x="978"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4" name="Freeform 5071">
                  <a:extLst>
                    <a:ext uri="{FF2B5EF4-FFF2-40B4-BE49-F238E27FC236}">
                      <a16:creationId xmlns:a16="http://schemas.microsoft.com/office/drawing/2014/main" id="{68A1EBF2-8EEF-A360-1004-F8F98D088A23}"/>
                    </a:ext>
                  </a:extLst>
                </p:cNvPr>
                <p:cNvSpPr/>
                <p:nvPr/>
              </p:nvSpPr>
              <p:spPr>
                <a:xfrm>
                  <a:off x="8524590" y="5565560"/>
                  <a:ext cx="4278" cy="52189"/>
                </a:xfrm>
                <a:custGeom>
                  <a:avLst/>
                  <a:gdLst>
                    <a:gd name="connsiteX0" fmla="*/ 2005 w 4278"/>
                    <a:gd name="connsiteY0" fmla="*/ 52190 h 52189"/>
                    <a:gd name="connsiteX1" fmla="*/ 386 w 4278"/>
                    <a:gd name="connsiteY1" fmla="*/ 33506 h 52189"/>
                    <a:gd name="connsiteX2" fmla="*/ 4122 w 4278"/>
                    <a:gd name="connsiteY2" fmla="*/ 16442 h 52189"/>
                    <a:gd name="connsiteX3" fmla="*/ 2255 w 4278"/>
                    <a:gd name="connsiteY3" fmla="*/ 0 h 52189"/>
                  </a:gdLst>
                  <a:ahLst/>
                  <a:cxnLst>
                    <a:cxn ang="0">
                      <a:pos x="connsiteX0" y="connsiteY0"/>
                    </a:cxn>
                    <a:cxn ang="0">
                      <a:pos x="connsiteX1" y="connsiteY1"/>
                    </a:cxn>
                    <a:cxn ang="0">
                      <a:pos x="connsiteX2" y="connsiteY2"/>
                    </a:cxn>
                    <a:cxn ang="0">
                      <a:pos x="connsiteX3" y="connsiteY3"/>
                    </a:cxn>
                  </a:cxnLst>
                  <a:rect l="l" t="t" r="r" b="b"/>
                  <a:pathLst>
                    <a:path w="4278" h="52189">
                      <a:moveTo>
                        <a:pt x="2005" y="52190"/>
                      </a:moveTo>
                      <a:cubicBezTo>
                        <a:pt x="-361" y="44094"/>
                        <a:pt x="-237" y="37741"/>
                        <a:pt x="386" y="33506"/>
                      </a:cubicBezTo>
                      <a:cubicBezTo>
                        <a:pt x="1258" y="26531"/>
                        <a:pt x="3500" y="23542"/>
                        <a:pt x="4122" y="16442"/>
                      </a:cubicBezTo>
                      <a:cubicBezTo>
                        <a:pt x="4746" y="9591"/>
                        <a:pt x="3375"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5" name="Freeform 5072">
                  <a:extLst>
                    <a:ext uri="{FF2B5EF4-FFF2-40B4-BE49-F238E27FC236}">
                      <a16:creationId xmlns:a16="http://schemas.microsoft.com/office/drawing/2014/main" id="{D3E492B5-0AB2-6EA1-823F-2745F3A4E228}"/>
                    </a:ext>
                  </a:extLst>
                </p:cNvPr>
                <p:cNvSpPr/>
                <p:nvPr/>
              </p:nvSpPr>
              <p:spPr>
                <a:xfrm>
                  <a:off x="8510027" y="5550113"/>
                  <a:ext cx="26659" cy="26534"/>
                </a:xfrm>
                <a:custGeom>
                  <a:avLst/>
                  <a:gdLst>
                    <a:gd name="connsiteX0" fmla="*/ 26657 w 26659"/>
                    <a:gd name="connsiteY0" fmla="*/ 13579 h 26534"/>
                    <a:gd name="connsiteX1" fmla="*/ 13081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1" y="26533"/>
                      </a:cubicBezTo>
                      <a:cubicBezTo>
                        <a:pt x="5732" y="26408"/>
                        <a:pt x="-122" y="20305"/>
                        <a:pt x="2" y="12956"/>
                      </a:cubicBezTo>
                      <a:cubicBezTo>
                        <a:pt x="127" y="5607"/>
                        <a:pt x="6106" y="-123"/>
                        <a:pt x="13579" y="2"/>
                      </a:cubicBezTo>
                      <a:cubicBezTo>
                        <a:pt x="20928" y="251"/>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6" name="Freeform 5073">
                  <a:extLst>
                    <a:ext uri="{FF2B5EF4-FFF2-40B4-BE49-F238E27FC236}">
                      <a16:creationId xmlns:a16="http://schemas.microsoft.com/office/drawing/2014/main" id="{35BF0BE9-2019-30C4-DC90-D305E5F87603}"/>
                    </a:ext>
                  </a:extLst>
                </p:cNvPr>
                <p:cNvSpPr/>
                <p:nvPr/>
              </p:nvSpPr>
              <p:spPr>
                <a:xfrm>
                  <a:off x="8524170" y="5626593"/>
                  <a:ext cx="3403" cy="52189"/>
                </a:xfrm>
                <a:custGeom>
                  <a:avLst/>
                  <a:gdLst>
                    <a:gd name="connsiteX0" fmla="*/ 930 w 3403"/>
                    <a:gd name="connsiteY0" fmla="*/ 52190 h 52189"/>
                    <a:gd name="connsiteX1" fmla="*/ 3172 w 3403"/>
                    <a:gd name="connsiteY1" fmla="*/ 33506 h 52189"/>
                    <a:gd name="connsiteX2" fmla="*/ 58 w 3403"/>
                    <a:gd name="connsiteY2" fmla="*/ 16317 h 52189"/>
                    <a:gd name="connsiteX3" fmla="*/ 2425 w 3403"/>
                    <a:gd name="connsiteY3" fmla="*/ 0 h 52189"/>
                  </a:gdLst>
                  <a:ahLst/>
                  <a:cxnLst>
                    <a:cxn ang="0">
                      <a:pos x="connsiteX0" y="connsiteY0"/>
                    </a:cxn>
                    <a:cxn ang="0">
                      <a:pos x="connsiteX1" y="connsiteY1"/>
                    </a:cxn>
                    <a:cxn ang="0">
                      <a:pos x="connsiteX2" y="connsiteY2"/>
                    </a:cxn>
                    <a:cxn ang="0">
                      <a:pos x="connsiteX3" y="connsiteY3"/>
                    </a:cxn>
                  </a:cxnLst>
                  <a:rect l="l" t="t" r="r" b="b"/>
                  <a:pathLst>
                    <a:path w="3403" h="52189">
                      <a:moveTo>
                        <a:pt x="930" y="52190"/>
                      </a:moveTo>
                      <a:cubicBezTo>
                        <a:pt x="3546" y="44218"/>
                        <a:pt x="3671" y="37866"/>
                        <a:pt x="3172" y="33506"/>
                      </a:cubicBezTo>
                      <a:cubicBezTo>
                        <a:pt x="2550" y="26531"/>
                        <a:pt x="432" y="23417"/>
                        <a:pt x="58" y="16317"/>
                      </a:cubicBezTo>
                      <a:cubicBezTo>
                        <a:pt x="-315" y="9467"/>
                        <a:pt x="1180" y="3737"/>
                        <a:pt x="24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7" name="Freeform 5074">
                  <a:extLst>
                    <a:ext uri="{FF2B5EF4-FFF2-40B4-BE49-F238E27FC236}">
                      <a16:creationId xmlns:a16="http://schemas.microsoft.com/office/drawing/2014/main" id="{2004E26F-69D7-43CE-5E25-51A9B37E726E}"/>
                    </a:ext>
                  </a:extLst>
                </p:cNvPr>
                <p:cNvSpPr/>
                <p:nvPr/>
              </p:nvSpPr>
              <p:spPr>
                <a:xfrm>
                  <a:off x="8515977" y="5631576"/>
                  <a:ext cx="4153" cy="52189"/>
                </a:xfrm>
                <a:custGeom>
                  <a:avLst/>
                  <a:gdLst>
                    <a:gd name="connsiteX0" fmla="*/ 2149 w 4153"/>
                    <a:gd name="connsiteY0" fmla="*/ 0 h 52189"/>
                    <a:gd name="connsiteX1" fmla="*/ 3768 w 4153"/>
                    <a:gd name="connsiteY1" fmla="*/ 18684 h 52189"/>
                    <a:gd name="connsiteX2" fmla="*/ 156 w 4153"/>
                    <a:gd name="connsiteY2" fmla="*/ 35748 h 52189"/>
                    <a:gd name="connsiteX3" fmla="*/ 2024 w 4153"/>
                    <a:gd name="connsiteY3" fmla="*/ 52189 h 52189"/>
                  </a:gdLst>
                  <a:ahLst/>
                  <a:cxnLst>
                    <a:cxn ang="0">
                      <a:pos x="connsiteX0" y="connsiteY0"/>
                    </a:cxn>
                    <a:cxn ang="0">
                      <a:pos x="connsiteX1" y="connsiteY1"/>
                    </a:cxn>
                    <a:cxn ang="0">
                      <a:pos x="connsiteX2" y="connsiteY2"/>
                    </a:cxn>
                    <a:cxn ang="0">
                      <a:pos x="connsiteX3" y="connsiteY3"/>
                    </a:cxn>
                  </a:cxnLst>
                  <a:rect l="l" t="t" r="r" b="b"/>
                  <a:pathLst>
                    <a:path w="4153" h="52189">
                      <a:moveTo>
                        <a:pt x="2149" y="0"/>
                      </a:moveTo>
                      <a:cubicBezTo>
                        <a:pt x="4515" y="8096"/>
                        <a:pt x="4391" y="14448"/>
                        <a:pt x="3768" y="18684"/>
                      </a:cubicBezTo>
                      <a:cubicBezTo>
                        <a:pt x="2896" y="25659"/>
                        <a:pt x="654" y="28648"/>
                        <a:pt x="156" y="35748"/>
                      </a:cubicBezTo>
                      <a:cubicBezTo>
                        <a:pt x="-467" y="42599"/>
                        <a:pt x="903" y="48328"/>
                        <a:pt x="2024" y="5218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8" name="Freeform 5075">
                  <a:extLst>
                    <a:ext uri="{FF2B5EF4-FFF2-40B4-BE49-F238E27FC236}">
                      <a16:creationId xmlns:a16="http://schemas.microsoft.com/office/drawing/2014/main" id="{974310AE-29DB-A61F-18B6-2936DF6AAAF8}"/>
                    </a:ext>
                  </a:extLst>
                </p:cNvPr>
                <p:cNvSpPr/>
                <p:nvPr/>
              </p:nvSpPr>
              <p:spPr>
                <a:xfrm>
                  <a:off x="8508284" y="5672553"/>
                  <a:ext cx="26285" cy="26534"/>
                </a:xfrm>
                <a:custGeom>
                  <a:avLst/>
                  <a:gdLst>
                    <a:gd name="connsiteX0" fmla="*/ 2 w 26285"/>
                    <a:gd name="connsiteY0" fmla="*/ 12956 h 26534"/>
                    <a:gd name="connsiteX1" fmla="*/ 13330 w 26285"/>
                    <a:gd name="connsiteY1" fmla="*/ 2 h 26534"/>
                    <a:gd name="connsiteX2" fmla="*/ 26283 w 26285"/>
                    <a:gd name="connsiteY2" fmla="*/ 13579 h 26534"/>
                    <a:gd name="connsiteX3" fmla="*/ 12956 w 26285"/>
                    <a:gd name="connsiteY3" fmla="*/ 26533 h 26534"/>
                    <a:gd name="connsiteX4" fmla="*/ 2 w 26285"/>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34">
                      <a:moveTo>
                        <a:pt x="2" y="12956"/>
                      </a:moveTo>
                      <a:cubicBezTo>
                        <a:pt x="127" y="5607"/>
                        <a:pt x="6105" y="-122"/>
                        <a:pt x="13330" y="2"/>
                      </a:cubicBezTo>
                      <a:cubicBezTo>
                        <a:pt x="20554" y="127"/>
                        <a:pt x="26408" y="6230"/>
                        <a:pt x="26283" y="13579"/>
                      </a:cubicBezTo>
                      <a:cubicBezTo>
                        <a:pt x="26159" y="20928"/>
                        <a:pt x="20180" y="26658"/>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7" name="Graphic 2987">
                <a:extLst>
                  <a:ext uri="{FF2B5EF4-FFF2-40B4-BE49-F238E27FC236}">
                    <a16:creationId xmlns:a16="http://schemas.microsoft.com/office/drawing/2014/main" id="{05648554-9E21-942A-B2B0-2E1E15EA2793}"/>
                  </a:ext>
                </a:extLst>
              </p:cNvPr>
              <p:cNvGrpSpPr/>
              <p:nvPr/>
            </p:nvGrpSpPr>
            <p:grpSpPr>
              <a:xfrm>
                <a:off x="8537679" y="5550736"/>
                <a:ext cx="28776" cy="148975"/>
                <a:chOff x="8537679" y="5550736"/>
                <a:chExt cx="28776" cy="148975"/>
              </a:xfrm>
              <a:grpFill/>
            </p:grpSpPr>
            <p:sp>
              <p:nvSpPr>
                <p:cNvPr id="4457" name="Freeform 5077">
                  <a:extLst>
                    <a:ext uri="{FF2B5EF4-FFF2-40B4-BE49-F238E27FC236}">
                      <a16:creationId xmlns:a16="http://schemas.microsoft.com/office/drawing/2014/main" id="{C935512E-3975-7043-0333-ED2D3520D669}"/>
                    </a:ext>
                  </a:extLst>
                </p:cNvPr>
                <p:cNvSpPr/>
                <p:nvPr/>
              </p:nvSpPr>
              <p:spPr>
                <a:xfrm>
                  <a:off x="8546867" y="5571041"/>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3"/>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8" name="Freeform 5078">
                  <a:extLst>
                    <a:ext uri="{FF2B5EF4-FFF2-40B4-BE49-F238E27FC236}">
                      <a16:creationId xmlns:a16="http://schemas.microsoft.com/office/drawing/2014/main" id="{99161D5B-9B96-5FAE-1BFF-033379CF2C79}"/>
                    </a:ext>
                  </a:extLst>
                </p:cNvPr>
                <p:cNvSpPr/>
                <p:nvPr/>
              </p:nvSpPr>
              <p:spPr>
                <a:xfrm>
                  <a:off x="8554235" y="5566183"/>
                  <a:ext cx="4288" cy="52189"/>
                </a:xfrm>
                <a:custGeom>
                  <a:avLst/>
                  <a:gdLst>
                    <a:gd name="connsiteX0" fmla="*/ 2005 w 4288"/>
                    <a:gd name="connsiteY0" fmla="*/ 52189 h 52189"/>
                    <a:gd name="connsiteX1" fmla="*/ 386 w 4288"/>
                    <a:gd name="connsiteY1" fmla="*/ 33506 h 52189"/>
                    <a:gd name="connsiteX2" fmla="*/ 4122 w 4288"/>
                    <a:gd name="connsiteY2" fmla="*/ 16441 h 52189"/>
                    <a:gd name="connsiteX3" fmla="*/ 2255 w 4288"/>
                    <a:gd name="connsiteY3" fmla="*/ 0 h 52189"/>
                  </a:gdLst>
                  <a:ahLst/>
                  <a:cxnLst>
                    <a:cxn ang="0">
                      <a:pos x="connsiteX0" y="connsiteY0"/>
                    </a:cxn>
                    <a:cxn ang="0">
                      <a:pos x="connsiteX1" y="connsiteY1"/>
                    </a:cxn>
                    <a:cxn ang="0">
                      <a:pos x="connsiteX2" y="connsiteY2"/>
                    </a:cxn>
                    <a:cxn ang="0">
                      <a:pos x="connsiteX3" y="connsiteY3"/>
                    </a:cxn>
                  </a:cxnLst>
                  <a:rect l="l" t="t" r="r" b="b"/>
                  <a:pathLst>
                    <a:path w="4288" h="52189">
                      <a:moveTo>
                        <a:pt x="2005" y="52189"/>
                      </a:moveTo>
                      <a:cubicBezTo>
                        <a:pt x="-361" y="44093"/>
                        <a:pt x="-237" y="37741"/>
                        <a:pt x="386" y="33506"/>
                      </a:cubicBezTo>
                      <a:cubicBezTo>
                        <a:pt x="1258" y="26530"/>
                        <a:pt x="3500" y="23541"/>
                        <a:pt x="4122" y="16441"/>
                      </a:cubicBezTo>
                      <a:cubicBezTo>
                        <a:pt x="4746" y="9591"/>
                        <a:pt x="3500" y="3861"/>
                        <a:pt x="22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9" name="Freeform 5079">
                  <a:extLst>
                    <a:ext uri="{FF2B5EF4-FFF2-40B4-BE49-F238E27FC236}">
                      <a16:creationId xmlns:a16="http://schemas.microsoft.com/office/drawing/2014/main" id="{79C24240-7B86-2879-8A2F-314CF70AA7AA}"/>
                    </a:ext>
                  </a:extLst>
                </p:cNvPr>
                <p:cNvSpPr/>
                <p:nvPr/>
              </p:nvSpPr>
              <p:spPr>
                <a:xfrm>
                  <a:off x="8539796" y="5550736"/>
                  <a:ext cx="26659" cy="26534"/>
                </a:xfrm>
                <a:custGeom>
                  <a:avLst/>
                  <a:gdLst>
                    <a:gd name="connsiteX0" fmla="*/ 26657 w 26659"/>
                    <a:gd name="connsiteY0" fmla="*/ 13579 h 26534"/>
                    <a:gd name="connsiteX1" fmla="*/ 13080 w 26659"/>
                    <a:gd name="connsiteY1" fmla="*/ 26533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8"/>
                        <a:pt x="13080" y="26533"/>
                      </a:cubicBezTo>
                      <a:cubicBezTo>
                        <a:pt x="5732" y="26408"/>
                        <a:pt x="-123" y="20305"/>
                        <a:pt x="2" y="12956"/>
                      </a:cubicBezTo>
                      <a:cubicBezTo>
                        <a:pt x="127" y="5607"/>
                        <a:pt x="6230" y="-122"/>
                        <a:pt x="13579" y="2"/>
                      </a:cubicBezTo>
                      <a:cubicBezTo>
                        <a:pt x="20928" y="127"/>
                        <a:pt x="26782" y="6355"/>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0" name="Freeform 5080">
                  <a:extLst>
                    <a:ext uri="{FF2B5EF4-FFF2-40B4-BE49-F238E27FC236}">
                      <a16:creationId xmlns:a16="http://schemas.microsoft.com/office/drawing/2014/main" id="{C2117375-97EC-18AE-4524-6094FA648EF4}"/>
                    </a:ext>
                  </a:extLst>
                </p:cNvPr>
                <p:cNvSpPr/>
                <p:nvPr/>
              </p:nvSpPr>
              <p:spPr>
                <a:xfrm>
                  <a:off x="8553815" y="5627216"/>
                  <a:ext cx="3327" cy="52189"/>
                </a:xfrm>
                <a:custGeom>
                  <a:avLst/>
                  <a:gdLst>
                    <a:gd name="connsiteX0" fmla="*/ 805 w 3327"/>
                    <a:gd name="connsiteY0" fmla="*/ 52190 h 52189"/>
                    <a:gd name="connsiteX1" fmla="*/ 3172 w 3327"/>
                    <a:gd name="connsiteY1" fmla="*/ 33506 h 52189"/>
                    <a:gd name="connsiteX2" fmla="*/ 58 w 3327"/>
                    <a:gd name="connsiteY2" fmla="*/ 16317 h 52189"/>
                    <a:gd name="connsiteX3" fmla="*/ 2549 w 3327"/>
                    <a:gd name="connsiteY3" fmla="*/ 0 h 52189"/>
                  </a:gdLst>
                  <a:ahLst/>
                  <a:cxnLst>
                    <a:cxn ang="0">
                      <a:pos x="connsiteX0" y="connsiteY0"/>
                    </a:cxn>
                    <a:cxn ang="0">
                      <a:pos x="connsiteX1" y="connsiteY1"/>
                    </a:cxn>
                    <a:cxn ang="0">
                      <a:pos x="connsiteX2" y="connsiteY2"/>
                    </a:cxn>
                    <a:cxn ang="0">
                      <a:pos x="connsiteX3" y="connsiteY3"/>
                    </a:cxn>
                  </a:cxnLst>
                  <a:rect l="l" t="t" r="r" b="b"/>
                  <a:pathLst>
                    <a:path w="3327" h="52189">
                      <a:moveTo>
                        <a:pt x="805" y="52190"/>
                      </a:moveTo>
                      <a:cubicBezTo>
                        <a:pt x="3421" y="44218"/>
                        <a:pt x="3546" y="37865"/>
                        <a:pt x="3172" y="33506"/>
                      </a:cubicBezTo>
                      <a:cubicBezTo>
                        <a:pt x="2549" y="26531"/>
                        <a:pt x="432" y="23417"/>
                        <a:pt x="58" y="16317"/>
                      </a:cubicBezTo>
                      <a:cubicBezTo>
                        <a:pt x="-315" y="9466"/>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1" name="Freeform 5081">
                  <a:extLst>
                    <a:ext uri="{FF2B5EF4-FFF2-40B4-BE49-F238E27FC236}">
                      <a16:creationId xmlns:a16="http://schemas.microsoft.com/office/drawing/2014/main" id="{732A0CB7-645B-DA7F-7157-EAF4A40169B7}"/>
                    </a:ext>
                  </a:extLst>
                </p:cNvPr>
                <p:cNvSpPr/>
                <p:nvPr/>
              </p:nvSpPr>
              <p:spPr>
                <a:xfrm>
                  <a:off x="8545487" y="5632198"/>
                  <a:ext cx="4288" cy="52189"/>
                </a:xfrm>
                <a:custGeom>
                  <a:avLst/>
                  <a:gdLst>
                    <a:gd name="connsiteX0" fmla="*/ 2283 w 4288"/>
                    <a:gd name="connsiteY0" fmla="*/ 0 h 52189"/>
                    <a:gd name="connsiteX1" fmla="*/ 3902 w 4288"/>
                    <a:gd name="connsiteY1" fmla="*/ 18684 h 52189"/>
                    <a:gd name="connsiteX2" fmla="*/ 166 w 4288"/>
                    <a:gd name="connsiteY2" fmla="*/ 35748 h 52189"/>
                    <a:gd name="connsiteX3" fmla="*/ 2034 w 428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88" h="52189">
                      <a:moveTo>
                        <a:pt x="2283" y="0"/>
                      </a:moveTo>
                      <a:cubicBezTo>
                        <a:pt x="4650" y="8096"/>
                        <a:pt x="4525" y="14449"/>
                        <a:pt x="3902" y="18684"/>
                      </a:cubicBezTo>
                      <a:cubicBezTo>
                        <a:pt x="3030" y="25659"/>
                        <a:pt x="788" y="28648"/>
                        <a:pt x="166" y="35748"/>
                      </a:cubicBezTo>
                      <a:cubicBezTo>
                        <a:pt x="-457" y="42599"/>
                        <a:pt x="788" y="48328"/>
                        <a:pt x="203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62" name="Freeform 5082">
                  <a:extLst>
                    <a:ext uri="{FF2B5EF4-FFF2-40B4-BE49-F238E27FC236}">
                      <a16:creationId xmlns:a16="http://schemas.microsoft.com/office/drawing/2014/main" id="{BD491D26-BB79-821E-E0C6-50EA360D0C37}"/>
                    </a:ext>
                  </a:extLst>
                </p:cNvPr>
                <p:cNvSpPr/>
                <p:nvPr/>
              </p:nvSpPr>
              <p:spPr>
                <a:xfrm>
                  <a:off x="8537679" y="5673176"/>
                  <a:ext cx="26410" cy="26534"/>
                </a:xfrm>
                <a:custGeom>
                  <a:avLst/>
                  <a:gdLst>
                    <a:gd name="connsiteX0" fmla="*/ 2 w 26410"/>
                    <a:gd name="connsiteY0" fmla="*/ 12956 h 26534"/>
                    <a:gd name="connsiteX1" fmla="*/ 13454 w 26410"/>
                    <a:gd name="connsiteY1" fmla="*/ 2 h 26534"/>
                    <a:gd name="connsiteX2" fmla="*/ 26408 w 26410"/>
                    <a:gd name="connsiteY2" fmla="*/ 13579 h 26534"/>
                    <a:gd name="connsiteX3" fmla="*/ 12956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127" y="5607"/>
                        <a:pt x="6105" y="-123"/>
                        <a:pt x="13454" y="2"/>
                      </a:cubicBezTo>
                      <a:cubicBezTo>
                        <a:pt x="20803" y="126"/>
                        <a:pt x="26533" y="6230"/>
                        <a:pt x="26408" y="13579"/>
                      </a:cubicBezTo>
                      <a:cubicBezTo>
                        <a:pt x="26283" y="20928"/>
                        <a:pt x="20305" y="26657"/>
                        <a:pt x="12956"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8" name="Graphic 2987">
                <a:extLst>
                  <a:ext uri="{FF2B5EF4-FFF2-40B4-BE49-F238E27FC236}">
                    <a16:creationId xmlns:a16="http://schemas.microsoft.com/office/drawing/2014/main" id="{B429DCFB-8CBB-A7CB-60F7-6E4DDF9B1C64}"/>
                  </a:ext>
                </a:extLst>
              </p:cNvPr>
              <p:cNvGrpSpPr/>
              <p:nvPr/>
            </p:nvGrpSpPr>
            <p:grpSpPr>
              <a:xfrm>
                <a:off x="8567074" y="5551359"/>
                <a:ext cx="29150" cy="148974"/>
                <a:chOff x="8567074" y="5551359"/>
                <a:chExt cx="29150" cy="148974"/>
              </a:xfrm>
              <a:grpFill/>
            </p:grpSpPr>
            <p:sp>
              <p:nvSpPr>
                <p:cNvPr id="4451" name="Freeform 5084">
                  <a:extLst>
                    <a:ext uri="{FF2B5EF4-FFF2-40B4-BE49-F238E27FC236}">
                      <a16:creationId xmlns:a16="http://schemas.microsoft.com/office/drawing/2014/main" id="{C27114F7-D95F-585E-6384-484C4039148D}"/>
                    </a:ext>
                  </a:extLst>
                </p:cNvPr>
                <p:cNvSpPr/>
                <p:nvPr/>
              </p:nvSpPr>
              <p:spPr>
                <a:xfrm>
                  <a:off x="8576512" y="5571663"/>
                  <a:ext cx="3327" cy="52189"/>
                </a:xfrm>
                <a:custGeom>
                  <a:avLst/>
                  <a:gdLst>
                    <a:gd name="connsiteX0" fmla="*/ 2523 w 3327"/>
                    <a:gd name="connsiteY0" fmla="*/ 0 h 52189"/>
                    <a:gd name="connsiteX1" fmla="*/ 156 w 3327"/>
                    <a:gd name="connsiteY1" fmla="*/ 18684 h 52189"/>
                    <a:gd name="connsiteX2" fmla="*/ 3270 w 3327"/>
                    <a:gd name="connsiteY2" fmla="*/ 35873 h 52189"/>
                    <a:gd name="connsiteX3" fmla="*/ 779 w 332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327" h="52189">
                      <a:moveTo>
                        <a:pt x="2523" y="0"/>
                      </a:moveTo>
                      <a:cubicBezTo>
                        <a:pt x="-93" y="7972"/>
                        <a:pt x="-218" y="14324"/>
                        <a:pt x="156" y="18684"/>
                      </a:cubicBezTo>
                      <a:cubicBezTo>
                        <a:pt x="779" y="25659"/>
                        <a:pt x="2896" y="28773"/>
                        <a:pt x="3270" y="35873"/>
                      </a:cubicBezTo>
                      <a:cubicBezTo>
                        <a:pt x="3643" y="42724"/>
                        <a:pt x="2148" y="48453"/>
                        <a:pt x="77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2" name="Freeform 5085">
                  <a:extLst>
                    <a:ext uri="{FF2B5EF4-FFF2-40B4-BE49-F238E27FC236}">
                      <a16:creationId xmlns:a16="http://schemas.microsoft.com/office/drawing/2014/main" id="{8892B333-F994-6401-BB94-AB06929A9784}"/>
                    </a:ext>
                  </a:extLst>
                </p:cNvPr>
                <p:cNvSpPr/>
                <p:nvPr/>
              </p:nvSpPr>
              <p:spPr>
                <a:xfrm>
                  <a:off x="8583840" y="5566806"/>
                  <a:ext cx="4202" cy="52189"/>
                </a:xfrm>
                <a:custGeom>
                  <a:avLst/>
                  <a:gdLst>
                    <a:gd name="connsiteX0" fmla="*/ 1920 w 4202"/>
                    <a:gd name="connsiteY0" fmla="*/ 52190 h 52189"/>
                    <a:gd name="connsiteX1" fmla="*/ 300 w 4202"/>
                    <a:gd name="connsiteY1" fmla="*/ 33506 h 52189"/>
                    <a:gd name="connsiteX2" fmla="*/ 4037 w 4202"/>
                    <a:gd name="connsiteY2" fmla="*/ 16442 h 52189"/>
                    <a:gd name="connsiteX3" fmla="*/ 2169 w 4202"/>
                    <a:gd name="connsiteY3" fmla="*/ 0 h 52189"/>
                  </a:gdLst>
                  <a:ahLst/>
                  <a:cxnLst>
                    <a:cxn ang="0">
                      <a:pos x="connsiteX0" y="connsiteY0"/>
                    </a:cxn>
                    <a:cxn ang="0">
                      <a:pos x="connsiteX1" y="connsiteY1"/>
                    </a:cxn>
                    <a:cxn ang="0">
                      <a:pos x="connsiteX2" y="connsiteY2"/>
                    </a:cxn>
                    <a:cxn ang="0">
                      <a:pos x="connsiteX3" y="connsiteY3"/>
                    </a:cxn>
                  </a:cxnLst>
                  <a:rect l="l" t="t" r="r" b="b"/>
                  <a:pathLst>
                    <a:path w="4202" h="52189">
                      <a:moveTo>
                        <a:pt x="1920" y="52190"/>
                      </a:moveTo>
                      <a:cubicBezTo>
                        <a:pt x="-322" y="44094"/>
                        <a:pt x="-198" y="37741"/>
                        <a:pt x="300" y="33506"/>
                      </a:cubicBezTo>
                      <a:cubicBezTo>
                        <a:pt x="1172" y="26531"/>
                        <a:pt x="3414" y="23541"/>
                        <a:pt x="4037" y="16442"/>
                      </a:cubicBezTo>
                      <a:cubicBezTo>
                        <a:pt x="4660" y="9591"/>
                        <a:pt x="3414" y="3861"/>
                        <a:pt x="21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3" name="Freeform 5086">
                  <a:extLst>
                    <a:ext uri="{FF2B5EF4-FFF2-40B4-BE49-F238E27FC236}">
                      <a16:creationId xmlns:a16="http://schemas.microsoft.com/office/drawing/2014/main" id="{BEFFD8D7-AD14-D38D-6D4F-ED8D607AAC17}"/>
                    </a:ext>
                  </a:extLst>
                </p:cNvPr>
                <p:cNvSpPr/>
                <p:nvPr/>
              </p:nvSpPr>
              <p:spPr>
                <a:xfrm>
                  <a:off x="8569566" y="5551359"/>
                  <a:ext cx="26659" cy="26534"/>
                </a:xfrm>
                <a:custGeom>
                  <a:avLst/>
                  <a:gdLst>
                    <a:gd name="connsiteX0" fmla="*/ 26657 w 26659"/>
                    <a:gd name="connsiteY0" fmla="*/ 13579 h 26534"/>
                    <a:gd name="connsiteX1" fmla="*/ 13080 w 26659"/>
                    <a:gd name="connsiteY1" fmla="*/ 26532 h 26534"/>
                    <a:gd name="connsiteX2" fmla="*/ 2 w 26659"/>
                    <a:gd name="connsiteY2" fmla="*/ 12956 h 26534"/>
                    <a:gd name="connsiteX3" fmla="*/ 13579 w 26659"/>
                    <a:gd name="connsiteY3" fmla="*/ 2 h 26534"/>
                    <a:gd name="connsiteX4" fmla="*/ 26657 w 26659"/>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9" h="26534">
                      <a:moveTo>
                        <a:pt x="26657" y="13579"/>
                      </a:moveTo>
                      <a:cubicBezTo>
                        <a:pt x="26533" y="20928"/>
                        <a:pt x="20430" y="26657"/>
                        <a:pt x="13080" y="26532"/>
                      </a:cubicBezTo>
                      <a:cubicBezTo>
                        <a:pt x="5732" y="26408"/>
                        <a:pt x="-123" y="20305"/>
                        <a:pt x="2" y="12956"/>
                      </a:cubicBezTo>
                      <a:cubicBezTo>
                        <a:pt x="127" y="5607"/>
                        <a:pt x="6230" y="-123"/>
                        <a:pt x="13579" y="2"/>
                      </a:cubicBezTo>
                      <a:cubicBezTo>
                        <a:pt x="20928" y="251"/>
                        <a:pt x="26782" y="6354"/>
                        <a:pt x="26657"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4" name="Freeform 5087">
                  <a:extLst>
                    <a:ext uri="{FF2B5EF4-FFF2-40B4-BE49-F238E27FC236}">
                      <a16:creationId xmlns:a16="http://schemas.microsoft.com/office/drawing/2014/main" id="{024916AB-8A3F-2FEC-D5E5-760143FA4A83}"/>
                    </a:ext>
                  </a:extLst>
                </p:cNvPr>
                <p:cNvSpPr/>
                <p:nvPr/>
              </p:nvSpPr>
              <p:spPr>
                <a:xfrm>
                  <a:off x="8583335" y="5627839"/>
                  <a:ext cx="3203" cy="52189"/>
                </a:xfrm>
                <a:custGeom>
                  <a:avLst/>
                  <a:gdLst>
                    <a:gd name="connsiteX0" fmla="*/ 681 w 3203"/>
                    <a:gd name="connsiteY0" fmla="*/ 52190 h 52189"/>
                    <a:gd name="connsiteX1" fmla="*/ 3047 w 3203"/>
                    <a:gd name="connsiteY1" fmla="*/ 33506 h 52189"/>
                    <a:gd name="connsiteX2" fmla="*/ 58 w 3203"/>
                    <a:gd name="connsiteY2" fmla="*/ 16317 h 52189"/>
                    <a:gd name="connsiteX3" fmla="*/ 2549 w 3203"/>
                    <a:gd name="connsiteY3" fmla="*/ 0 h 52189"/>
                  </a:gdLst>
                  <a:ahLst/>
                  <a:cxnLst>
                    <a:cxn ang="0">
                      <a:pos x="connsiteX0" y="connsiteY0"/>
                    </a:cxn>
                    <a:cxn ang="0">
                      <a:pos x="connsiteX1" y="connsiteY1"/>
                    </a:cxn>
                    <a:cxn ang="0">
                      <a:pos x="connsiteX2" y="connsiteY2"/>
                    </a:cxn>
                    <a:cxn ang="0">
                      <a:pos x="connsiteX3" y="connsiteY3"/>
                    </a:cxn>
                  </a:cxnLst>
                  <a:rect l="l" t="t" r="r" b="b"/>
                  <a:pathLst>
                    <a:path w="3202" h="52189">
                      <a:moveTo>
                        <a:pt x="681" y="52190"/>
                      </a:moveTo>
                      <a:cubicBezTo>
                        <a:pt x="3297" y="44218"/>
                        <a:pt x="3421" y="37866"/>
                        <a:pt x="3047" y="33506"/>
                      </a:cubicBezTo>
                      <a:cubicBezTo>
                        <a:pt x="2425" y="26531"/>
                        <a:pt x="307" y="23417"/>
                        <a:pt x="58" y="16317"/>
                      </a:cubicBezTo>
                      <a:cubicBezTo>
                        <a:pt x="-315" y="9467"/>
                        <a:pt x="1179" y="3737"/>
                        <a:pt x="25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5" name="Freeform 5088">
                  <a:extLst>
                    <a:ext uri="{FF2B5EF4-FFF2-40B4-BE49-F238E27FC236}">
                      <a16:creationId xmlns:a16="http://schemas.microsoft.com/office/drawing/2014/main" id="{27B8E828-CE0B-D288-DBDC-F89DB4B2E62C}"/>
                    </a:ext>
                  </a:extLst>
                </p:cNvPr>
                <p:cNvSpPr/>
                <p:nvPr/>
              </p:nvSpPr>
              <p:spPr>
                <a:xfrm>
                  <a:off x="8575007" y="5632821"/>
                  <a:ext cx="4203" cy="52189"/>
                </a:xfrm>
                <a:custGeom>
                  <a:avLst/>
                  <a:gdLst>
                    <a:gd name="connsiteX0" fmla="*/ 2284 w 4203"/>
                    <a:gd name="connsiteY0" fmla="*/ 0 h 52189"/>
                    <a:gd name="connsiteX1" fmla="*/ 3903 w 4203"/>
                    <a:gd name="connsiteY1" fmla="*/ 18684 h 52189"/>
                    <a:gd name="connsiteX2" fmla="*/ 166 w 4203"/>
                    <a:gd name="connsiteY2" fmla="*/ 35748 h 52189"/>
                    <a:gd name="connsiteX3" fmla="*/ 1910 w 420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203" h="52189">
                      <a:moveTo>
                        <a:pt x="2284" y="0"/>
                      </a:moveTo>
                      <a:cubicBezTo>
                        <a:pt x="4526" y="8097"/>
                        <a:pt x="4401" y="14449"/>
                        <a:pt x="3903" y="18684"/>
                      </a:cubicBezTo>
                      <a:cubicBezTo>
                        <a:pt x="3031" y="25659"/>
                        <a:pt x="789"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6" name="Freeform 5089">
                  <a:extLst>
                    <a:ext uri="{FF2B5EF4-FFF2-40B4-BE49-F238E27FC236}">
                      <a16:creationId xmlns:a16="http://schemas.microsoft.com/office/drawing/2014/main" id="{BA89C31C-2234-CCE7-9C03-4C7DCB126D04}"/>
                    </a:ext>
                  </a:extLst>
                </p:cNvPr>
                <p:cNvSpPr/>
                <p:nvPr/>
              </p:nvSpPr>
              <p:spPr>
                <a:xfrm>
                  <a:off x="8567074" y="5673799"/>
                  <a:ext cx="26291" cy="26534"/>
                </a:xfrm>
                <a:custGeom>
                  <a:avLst/>
                  <a:gdLst>
                    <a:gd name="connsiteX0" fmla="*/ 2 w 26291"/>
                    <a:gd name="connsiteY0" fmla="*/ 12956 h 26534"/>
                    <a:gd name="connsiteX1" fmla="*/ 13454 w 26291"/>
                    <a:gd name="connsiteY1" fmla="*/ 2 h 26534"/>
                    <a:gd name="connsiteX2" fmla="*/ 26283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3"/>
                        <a:pt x="13454" y="2"/>
                      </a:cubicBezTo>
                      <a:cubicBezTo>
                        <a:pt x="20679" y="127"/>
                        <a:pt x="26533" y="6230"/>
                        <a:pt x="26283" y="13579"/>
                      </a:cubicBezTo>
                      <a:cubicBezTo>
                        <a:pt x="26160" y="20928"/>
                        <a:pt x="20056" y="26658"/>
                        <a:pt x="12832" y="26533"/>
                      </a:cubicBezTo>
                      <a:cubicBezTo>
                        <a:pt x="5607"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79" name="Graphic 2987">
                <a:extLst>
                  <a:ext uri="{FF2B5EF4-FFF2-40B4-BE49-F238E27FC236}">
                    <a16:creationId xmlns:a16="http://schemas.microsoft.com/office/drawing/2014/main" id="{EB539AF9-31F0-B227-A775-70D8F67F61AA}"/>
                  </a:ext>
                </a:extLst>
              </p:cNvPr>
              <p:cNvGrpSpPr/>
              <p:nvPr/>
            </p:nvGrpSpPr>
            <p:grpSpPr>
              <a:xfrm>
                <a:off x="8596470" y="5551981"/>
                <a:ext cx="29405" cy="148974"/>
                <a:chOff x="8596470" y="5551981"/>
                <a:chExt cx="29405" cy="148974"/>
              </a:xfrm>
              <a:grpFill/>
            </p:grpSpPr>
            <p:sp>
              <p:nvSpPr>
                <p:cNvPr id="4445" name="Freeform 5091">
                  <a:extLst>
                    <a:ext uri="{FF2B5EF4-FFF2-40B4-BE49-F238E27FC236}">
                      <a16:creationId xmlns:a16="http://schemas.microsoft.com/office/drawing/2014/main" id="{B9AD4993-F292-DE17-F3AC-120957C68A7A}"/>
                    </a:ext>
                  </a:extLst>
                </p:cNvPr>
                <p:cNvSpPr/>
                <p:nvPr/>
              </p:nvSpPr>
              <p:spPr>
                <a:xfrm>
                  <a:off x="8606208" y="5572286"/>
                  <a:ext cx="3272" cy="52189"/>
                </a:xfrm>
                <a:custGeom>
                  <a:avLst/>
                  <a:gdLst>
                    <a:gd name="connsiteX0" fmla="*/ 2595 w 3272"/>
                    <a:gd name="connsiteY0" fmla="*/ 0 h 52189"/>
                    <a:gd name="connsiteX1" fmla="*/ 229 w 3272"/>
                    <a:gd name="connsiteY1" fmla="*/ 18684 h 52189"/>
                    <a:gd name="connsiteX2" fmla="*/ 3218 w 3272"/>
                    <a:gd name="connsiteY2" fmla="*/ 35873 h 52189"/>
                    <a:gd name="connsiteX3" fmla="*/ 727 w 327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272" h="52189">
                      <a:moveTo>
                        <a:pt x="2595" y="0"/>
                      </a:moveTo>
                      <a:cubicBezTo>
                        <a:pt x="-145" y="7971"/>
                        <a:pt x="-270" y="14324"/>
                        <a:pt x="229" y="18684"/>
                      </a:cubicBezTo>
                      <a:cubicBezTo>
                        <a:pt x="851" y="25659"/>
                        <a:pt x="2844" y="28773"/>
                        <a:pt x="3218" y="35873"/>
                      </a:cubicBezTo>
                      <a:cubicBezTo>
                        <a:pt x="3591" y="42723"/>
                        <a:pt x="1972" y="48453"/>
                        <a:pt x="7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6" name="Freeform 5092">
                  <a:extLst>
                    <a:ext uri="{FF2B5EF4-FFF2-40B4-BE49-F238E27FC236}">
                      <a16:creationId xmlns:a16="http://schemas.microsoft.com/office/drawing/2014/main" id="{0E8A63DC-6753-087B-3B94-B3AEC042C090}"/>
                    </a:ext>
                  </a:extLst>
                </p:cNvPr>
                <p:cNvSpPr/>
                <p:nvPr/>
              </p:nvSpPr>
              <p:spPr>
                <a:xfrm>
                  <a:off x="8613518" y="5567428"/>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4"/>
                        <a:pt x="-231" y="37741"/>
                        <a:pt x="392" y="33506"/>
                      </a:cubicBezTo>
                      <a:cubicBezTo>
                        <a:pt x="1389" y="26531"/>
                        <a:pt x="3506" y="23542"/>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7" name="Freeform 5093">
                  <a:extLst>
                    <a:ext uri="{FF2B5EF4-FFF2-40B4-BE49-F238E27FC236}">
                      <a16:creationId xmlns:a16="http://schemas.microsoft.com/office/drawing/2014/main" id="{5A94514D-EC51-6AF6-6611-E6F8CE7E0BA7}"/>
                    </a:ext>
                  </a:extLst>
                </p:cNvPr>
                <p:cNvSpPr/>
                <p:nvPr/>
              </p:nvSpPr>
              <p:spPr>
                <a:xfrm>
                  <a:off x="8599330" y="5551981"/>
                  <a:ext cx="26546" cy="26534"/>
                </a:xfrm>
                <a:custGeom>
                  <a:avLst/>
                  <a:gdLst>
                    <a:gd name="connsiteX0" fmla="*/ 26538 w 26546"/>
                    <a:gd name="connsiteY0" fmla="*/ 13579 h 26534"/>
                    <a:gd name="connsiteX1" fmla="*/ 12961 w 26546"/>
                    <a:gd name="connsiteY1" fmla="*/ 26533 h 26534"/>
                    <a:gd name="connsiteX2" fmla="*/ 8 w 26546"/>
                    <a:gd name="connsiteY2" fmla="*/ 12956 h 26534"/>
                    <a:gd name="connsiteX3" fmla="*/ 13584 w 26546"/>
                    <a:gd name="connsiteY3" fmla="*/ 2 h 26534"/>
                    <a:gd name="connsiteX4" fmla="*/ 26538 w 26546"/>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34">
                      <a:moveTo>
                        <a:pt x="26538" y="13579"/>
                      </a:moveTo>
                      <a:cubicBezTo>
                        <a:pt x="26289" y="20928"/>
                        <a:pt x="20186" y="26658"/>
                        <a:pt x="12961" y="26533"/>
                      </a:cubicBezTo>
                      <a:cubicBezTo>
                        <a:pt x="5737" y="26408"/>
                        <a:pt x="-242" y="20305"/>
                        <a:pt x="8" y="12956"/>
                      </a:cubicBezTo>
                      <a:cubicBezTo>
                        <a:pt x="256" y="5607"/>
                        <a:pt x="6235" y="-123"/>
                        <a:pt x="13584" y="2"/>
                      </a:cubicBezTo>
                      <a:cubicBezTo>
                        <a:pt x="20933" y="127"/>
                        <a:pt x="26787" y="6355"/>
                        <a:pt x="26538"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8" name="Freeform 5094">
                  <a:extLst>
                    <a:ext uri="{FF2B5EF4-FFF2-40B4-BE49-F238E27FC236}">
                      <a16:creationId xmlns:a16="http://schemas.microsoft.com/office/drawing/2014/main" id="{CD45B936-4DBC-1877-6A42-399570E1904F}"/>
                    </a:ext>
                  </a:extLst>
                </p:cNvPr>
                <p:cNvSpPr/>
                <p:nvPr/>
              </p:nvSpPr>
              <p:spPr>
                <a:xfrm>
                  <a:off x="8612734" y="5628462"/>
                  <a:ext cx="3199" cy="52189"/>
                </a:xfrm>
                <a:custGeom>
                  <a:avLst/>
                  <a:gdLst>
                    <a:gd name="connsiteX0" fmla="*/ 678 w 3199"/>
                    <a:gd name="connsiteY0" fmla="*/ 52189 h 52189"/>
                    <a:gd name="connsiteX1" fmla="*/ 3044 w 3199"/>
                    <a:gd name="connsiteY1" fmla="*/ 33506 h 52189"/>
                    <a:gd name="connsiteX2" fmla="*/ 54 w 3199"/>
                    <a:gd name="connsiteY2" fmla="*/ 16317 h 52189"/>
                    <a:gd name="connsiteX3" fmla="*/ 2670 w 3199"/>
                    <a:gd name="connsiteY3" fmla="*/ 0 h 52189"/>
                  </a:gdLst>
                  <a:ahLst/>
                  <a:cxnLst>
                    <a:cxn ang="0">
                      <a:pos x="connsiteX0" y="connsiteY0"/>
                    </a:cxn>
                    <a:cxn ang="0">
                      <a:pos x="connsiteX1" y="connsiteY1"/>
                    </a:cxn>
                    <a:cxn ang="0">
                      <a:pos x="connsiteX2" y="connsiteY2"/>
                    </a:cxn>
                    <a:cxn ang="0">
                      <a:pos x="connsiteX3" y="connsiteY3"/>
                    </a:cxn>
                  </a:cxnLst>
                  <a:rect l="l" t="t" r="r" b="b"/>
                  <a:pathLst>
                    <a:path w="3199" h="52189">
                      <a:moveTo>
                        <a:pt x="678" y="52189"/>
                      </a:moveTo>
                      <a:cubicBezTo>
                        <a:pt x="3293" y="44218"/>
                        <a:pt x="3418" y="37865"/>
                        <a:pt x="3044" y="33506"/>
                      </a:cubicBezTo>
                      <a:cubicBezTo>
                        <a:pt x="2421" y="26530"/>
                        <a:pt x="428" y="23417"/>
                        <a:pt x="54" y="16317"/>
                      </a:cubicBezTo>
                      <a:cubicBezTo>
                        <a:pt x="-319" y="9466"/>
                        <a:pt x="1300" y="3737"/>
                        <a:pt x="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9" name="Freeform 5095">
                  <a:extLst>
                    <a:ext uri="{FF2B5EF4-FFF2-40B4-BE49-F238E27FC236}">
                      <a16:creationId xmlns:a16="http://schemas.microsoft.com/office/drawing/2014/main" id="{7D9C5051-C1E1-8FCA-2AFB-9F8D5F7687FE}"/>
                    </a:ext>
                  </a:extLst>
                </p:cNvPr>
                <p:cNvSpPr/>
                <p:nvPr/>
              </p:nvSpPr>
              <p:spPr>
                <a:xfrm>
                  <a:off x="8604277" y="5633444"/>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2"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50" name="Freeform 5096">
                  <a:extLst>
                    <a:ext uri="{FF2B5EF4-FFF2-40B4-BE49-F238E27FC236}">
                      <a16:creationId xmlns:a16="http://schemas.microsoft.com/office/drawing/2014/main" id="{92872E12-D646-E37C-B240-903751902DE6}"/>
                    </a:ext>
                  </a:extLst>
                </p:cNvPr>
                <p:cNvSpPr/>
                <p:nvPr/>
              </p:nvSpPr>
              <p:spPr>
                <a:xfrm>
                  <a:off x="8596470" y="5674421"/>
                  <a:ext cx="26291" cy="26534"/>
                </a:xfrm>
                <a:custGeom>
                  <a:avLst/>
                  <a:gdLst>
                    <a:gd name="connsiteX0" fmla="*/ 2 w 26291"/>
                    <a:gd name="connsiteY0" fmla="*/ 12956 h 26534"/>
                    <a:gd name="connsiteX1" fmla="*/ 13454 w 26291"/>
                    <a:gd name="connsiteY1" fmla="*/ 2 h 26534"/>
                    <a:gd name="connsiteX2" fmla="*/ 26284 w 26291"/>
                    <a:gd name="connsiteY2" fmla="*/ 13579 h 26534"/>
                    <a:gd name="connsiteX3" fmla="*/ 12832 w 26291"/>
                    <a:gd name="connsiteY3" fmla="*/ 26533 h 26534"/>
                    <a:gd name="connsiteX4" fmla="*/ 2 w 26291"/>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34">
                      <a:moveTo>
                        <a:pt x="2" y="12956"/>
                      </a:moveTo>
                      <a:cubicBezTo>
                        <a:pt x="127" y="5607"/>
                        <a:pt x="6230" y="-122"/>
                        <a:pt x="13454" y="2"/>
                      </a:cubicBezTo>
                      <a:cubicBezTo>
                        <a:pt x="20679" y="127"/>
                        <a:pt x="26533" y="6230"/>
                        <a:pt x="26284" y="13579"/>
                      </a:cubicBezTo>
                      <a:cubicBezTo>
                        <a:pt x="26035" y="20928"/>
                        <a:pt x="20056" y="26658"/>
                        <a:pt x="12832" y="26533"/>
                      </a:cubicBezTo>
                      <a:cubicBezTo>
                        <a:pt x="5607" y="26409"/>
                        <a:pt x="-122"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0" name="Graphic 2987">
                <a:extLst>
                  <a:ext uri="{FF2B5EF4-FFF2-40B4-BE49-F238E27FC236}">
                    <a16:creationId xmlns:a16="http://schemas.microsoft.com/office/drawing/2014/main" id="{8419D656-4ED1-6EA2-61BB-B2AB44A6146B}"/>
                  </a:ext>
                </a:extLst>
              </p:cNvPr>
              <p:cNvGrpSpPr/>
              <p:nvPr/>
            </p:nvGrpSpPr>
            <p:grpSpPr>
              <a:xfrm>
                <a:off x="8625866" y="5552604"/>
                <a:ext cx="29778" cy="148975"/>
                <a:chOff x="8625866" y="5552604"/>
                <a:chExt cx="29778" cy="148975"/>
              </a:xfrm>
              <a:grpFill/>
            </p:grpSpPr>
            <p:sp>
              <p:nvSpPr>
                <p:cNvPr id="4439" name="Freeform 5098">
                  <a:extLst>
                    <a:ext uri="{FF2B5EF4-FFF2-40B4-BE49-F238E27FC236}">
                      <a16:creationId xmlns:a16="http://schemas.microsoft.com/office/drawing/2014/main" id="{BE18FF17-E6D4-1CF5-CB50-E39C19A031C1}"/>
                    </a:ext>
                  </a:extLst>
                </p:cNvPr>
                <p:cNvSpPr/>
                <p:nvPr/>
              </p:nvSpPr>
              <p:spPr>
                <a:xfrm>
                  <a:off x="8635928" y="5572909"/>
                  <a:ext cx="3170" cy="52189"/>
                </a:xfrm>
                <a:custGeom>
                  <a:avLst/>
                  <a:gdLst>
                    <a:gd name="connsiteX0" fmla="*/ 2645 w 3170"/>
                    <a:gd name="connsiteY0" fmla="*/ 0 h 52189"/>
                    <a:gd name="connsiteX1" fmla="*/ 154 w 3170"/>
                    <a:gd name="connsiteY1" fmla="*/ 18684 h 52189"/>
                    <a:gd name="connsiteX2" fmla="*/ 3143 w 3170"/>
                    <a:gd name="connsiteY2" fmla="*/ 35873 h 52189"/>
                    <a:gd name="connsiteX3" fmla="*/ 527 w 317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170" h="52189">
                      <a:moveTo>
                        <a:pt x="2645" y="0"/>
                      </a:moveTo>
                      <a:cubicBezTo>
                        <a:pt x="-95" y="7972"/>
                        <a:pt x="-220" y="14324"/>
                        <a:pt x="154" y="18684"/>
                      </a:cubicBezTo>
                      <a:cubicBezTo>
                        <a:pt x="777" y="25659"/>
                        <a:pt x="2769" y="28773"/>
                        <a:pt x="3143" y="35873"/>
                      </a:cubicBezTo>
                      <a:cubicBezTo>
                        <a:pt x="3392" y="42724"/>
                        <a:pt x="1897" y="48453"/>
                        <a:pt x="52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0" name="Freeform 5099">
                  <a:extLst>
                    <a:ext uri="{FF2B5EF4-FFF2-40B4-BE49-F238E27FC236}">
                      <a16:creationId xmlns:a16="http://schemas.microsoft.com/office/drawing/2014/main" id="{68EF9102-1923-52B3-1E81-BC681ACB2E32}"/>
                    </a:ext>
                  </a:extLst>
                </p:cNvPr>
                <p:cNvSpPr/>
                <p:nvPr/>
              </p:nvSpPr>
              <p:spPr>
                <a:xfrm>
                  <a:off x="8643163" y="5568051"/>
                  <a:ext cx="4419" cy="52189"/>
                </a:xfrm>
                <a:custGeom>
                  <a:avLst/>
                  <a:gdLst>
                    <a:gd name="connsiteX0" fmla="*/ 1887 w 4419"/>
                    <a:gd name="connsiteY0" fmla="*/ 52190 h 52189"/>
                    <a:gd name="connsiteX1" fmla="*/ 392 w 4419"/>
                    <a:gd name="connsiteY1" fmla="*/ 33506 h 52189"/>
                    <a:gd name="connsiteX2" fmla="*/ 4253 w 4419"/>
                    <a:gd name="connsiteY2" fmla="*/ 16442 h 52189"/>
                    <a:gd name="connsiteX3" fmla="*/ 2509 w 4419"/>
                    <a:gd name="connsiteY3" fmla="*/ 0 h 52189"/>
                  </a:gdLst>
                  <a:ahLst/>
                  <a:cxnLst>
                    <a:cxn ang="0">
                      <a:pos x="connsiteX0" y="connsiteY0"/>
                    </a:cxn>
                    <a:cxn ang="0">
                      <a:pos x="connsiteX1" y="connsiteY1"/>
                    </a:cxn>
                    <a:cxn ang="0">
                      <a:pos x="connsiteX2" y="connsiteY2"/>
                    </a:cxn>
                    <a:cxn ang="0">
                      <a:pos x="connsiteX3" y="connsiteY3"/>
                    </a:cxn>
                  </a:cxnLst>
                  <a:rect l="l" t="t" r="r" b="b"/>
                  <a:pathLst>
                    <a:path w="4419" h="52189">
                      <a:moveTo>
                        <a:pt x="1887" y="52190"/>
                      </a:moveTo>
                      <a:cubicBezTo>
                        <a:pt x="-355" y="44093"/>
                        <a:pt x="-231" y="37741"/>
                        <a:pt x="392" y="33506"/>
                      </a:cubicBezTo>
                      <a:cubicBezTo>
                        <a:pt x="1389" y="26531"/>
                        <a:pt x="3631" y="23541"/>
                        <a:pt x="4253" y="16442"/>
                      </a:cubicBezTo>
                      <a:cubicBezTo>
                        <a:pt x="4876" y="9591"/>
                        <a:pt x="3631" y="3861"/>
                        <a:pt x="2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1" name="Freeform 5100">
                  <a:extLst>
                    <a:ext uri="{FF2B5EF4-FFF2-40B4-BE49-F238E27FC236}">
                      <a16:creationId xmlns:a16="http://schemas.microsoft.com/office/drawing/2014/main" id="{C8799E21-D8E3-7818-831D-0C90ADF390CE}"/>
                    </a:ext>
                  </a:extLst>
                </p:cNvPr>
                <p:cNvSpPr/>
                <p:nvPr/>
              </p:nvSpPr>
              <p:spPr>
                <a:xfrm>
                  <a:off x="8628974" y="5552604"/>
                  <a:ext cx="26670" cy="26534"/>
                </a:xfrm>
                <a:custGeom>
                  <a:avLst/>
                  <a:gdLst>
                    <a:gd name="connsiteX0" fmla="*/ 26662 w 26670"/>
                    <a:gd name="connsiteY0" fmla="*/ 13579 h 26534"/>
                    <a:gd name="connsiteX1" fmla="*/ 12961 w 26670"/>
                    <a:gd name="connsiteY1" fmla="*/ 26533 h 26534"/>
                    <a:gd name="connsiteX2" fmla="*/ 8 w 26670"/>
                    <a:gd name="connsiteY2" fmla="*/ 12956 h 26534"/>
                    <a:gd name="connsiteX3" fmla="*/ 13709 w 26670"/>
                    <a:gd name="connsiteY3" fmla="*/ 2 h 26534"/>
                    <a:gd name="connsiteX4" fmla="*/ 26662 w 26670"/>
                    <a:gd name="connsiteY4" fmla="*/ 13579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34">
                      <a:moveTo>
                        <a:pt x="26662" y="13579"/>
                      </a:moveTo>
                      <a:cubicBezTo>
                        <a:pt x="26414" y="20928"/>
                        <a:pt x="20311" y="26658"/>
                        <a:pt x="12961" y="26533"/>
                      </a:cubicBezTo>
                      <a:cubicBezTo>
                        <a:pt x="5612" y="26409"/>
                        <a:pt x="-242" y="20305"/>
                        <a:pt x="8" y="12956"/>
                      </a:cubicBezTo>
                      <a:cubicBezTo>
                        <a:pt x="256" y="5607"/>
                        <a:pt x="6360" y="-122"/>
                        <a:pt x="13709" y="2"/>
                      </a:cubicBezTo>
                      <a:cubicBezTo>
                        <a:pt x="21058" y="251"/>
                        <a:pt x="26912" y="6355"/>
                        <a:pt x="26662" y="1357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2" name="Freeform 5101">
                  <a:extLst>
                    <a:ext uri="{FF2B5EF4-FFF2-40B4-BE49-F238E27FC236}">
                      <a16:creationId xmlns:a16="http://schemas.microsoft.com/office/drawing/2014/main" id="{63D3D2D7-E69D-ADEB-EC3B-7E7520060906}"/>
                    </a:ext>
                  </a:extLst>
                </p:cNvPr>
                <p:cNvSpPr/>
                <p:nvPr/>
              </p:nvSpPr>
              <p:spPr>
                <a:xfrm>
                  <a:off x="8642282" y="5629085"/>
                  <a:ext cx="3170" cy="52189"/>
                </a:xfrm>
                <a:custGeom>
                  <a:avLst/>
                  <a:gdLst>
                    <a:gd name="connsiteX0" fmla="*/ 525 w 3170"/>
                    <a:gd name="connsiteY0" fmla="*/ 52190 h 52189"/>
                    <a:gd name="connsiteX1" fmla="*/ 3017 w 3170"/>
                    <a:gd name="connsiteY1" fmla="*/ 33506 h 52189"/>
                    <a:gd name="connsiteX2" fmla="*/ 27 w 3170"/>
                    <a:gd name="connsiteY2" fmla="*/ 16317 h 52189"/>
                    <a:gd name="connsiteX3" fmla="*/ 2643 w 3170"/>
                    <a:gd name="connsiteY3" fmla="*/ 0 h 52189"/>
                  </a:gdLst>
                  <a:ahLst/>
                  <a:cxnLst>
                    <a:cxn ang="0">
                      <a:pos x="connsiteX0" y="connsiteY0"/>
                    </a:cxn>
                    <a:cxn ang="0">
                      <a:pos x="connsiteX1" y="connsiteY1"/>
                    </a:cxn>
                    <a:cxn ang="0">
                      <a:pos x="connsiteX2" y="connsiteY2"/>
                    </a:cxn>
                    <a:cxn ang="0">
                      <a:pos x="connsiteX3" y="connsiteY3"/>
                    </a:cxn>
                  </a:cxnLst>
                  <a:rect l="l" t="t" r="r" b="b"/>
                  <a:pathLst>
                    <a:path w="3170" h="52189">
                      <a:moveTo>
                        <a:pt x="525" y="52190"/>
                      </a:moveTo>
                      <a:cubicBezTo>
                        <a:pt x="3265" y="44218"/>
                        <a:pt x="3390" y="37866"/>
                        <a:pt x="3017" y="33506"/>
                      </a:cubicBezTo>
                      <a:cubicBezTo>
                        <a:pt x="2394" y="26531"/>
                        <a:pt x="401" y="23417"/>
                        <a:pt x="27" y="16317"/>
                      </a:cubicBezTo>
                      <a:cubicBezTo>
                        <a:pt x="-222"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3" name="Freeform 5102">
                  <a:extLst>
                    <a:ext uri="{FF2B5EF4-FFF2-40B4-BE49-F238E27FC236}">
                      <a16:creationId xmlns:a16="http://schemas.microsoft.com/office/drawing/2014/main" id="{855F7798-57E9-BD65-53E8-AD9A9FA9AA17}"/>
                    </a:ext>
                  </a:extLst>
                </p:cNvPr>
                <p:cNvSpPr/>
                <p:nvPr/>
              </p:nvSpPr>
              <p:spPr>
                <a:xfrm>
                  <a:off x="8633922" y="5634067"/>
                  <a:ext cx="4419" cy="52189"/>
                </a:xfrm>
                <a:custGeom>
                  <a:avLst/>
                  <a:gdLst>
                    <a:gd name="connsiteX0" fmla="*/ 2533 w 4419"/>
                    <a:gd name="connsiteY0" fmla="*/ 0 h 52189"/>
                    <a:gd name="connsiteX1" fmla="*/ 4028 w 4419"/>
                    <a:gd name="connsiteY1" fmla="*/ 18684 h 52189"/>
                    <a:gd name="connsiteX2" fmla="*/ 166 w 4419"/>
                    <a:gd name="connsiteY2" fmla="*/ 35748 h 52189"/>
                    <a:gd name="connsiteX3" fmla="*/ 1910 w 441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419" h="52189">
                      <a:moveTo>
                        <a:pt x="2533" y="0"/>
                      </a:moveTo>
                      <a:cubicBezTo>
                        <a:pt x="4775" y="8096"/>
                        <a:pt x="4650" y="14449"/>
                        <a:pt x="4028" y="18684"/>
                      </a:cubicBezTo>
                      <a:cubicBezTo>
                        <a:pt x="3031" y="25659"/>
                        <a:pt x="914" y="28648"/>
                        <a:pt x="166" y="35748"/>
                      </a:cubicBezTo>
                      <a:cubicBezTo>
                        <a:pt x="-456" y="42599"/>
                        <a:pt x="789" y="48328"/>
                        <a:pt x="1910"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44" name="Freeform 5103">
                  <a:extLst>
                    <a:ext uri="{FF2B5EF4-FFF2-40B4-BE49-F238E27FC236}">
                      <a16:creationId xmlns:a16="http://schemas.microsoft.com/office/drawing/2014/main" id="{5A29A5AE-6087-D520-D2B9-980F226DD273}"/>
                    </a:ext>
                  </a:extLst>
                </p:cNvPr>
                <p:cNvSpPr/>
                <p:nvPr/>
              </p:nvSpPr>
              <p:spPr>
                <a:xfrm>
                  <a:off x="8625866" y="5675044"/>
                  <a:ext cx="26410" cy="26534"/>
                </a:xfrm>
                <a:custGeom>
                  <a:avLst/>
                  <a:gdLst>
                    <a:gd name="connsiteX0" fmla="*/ 2 w 26410"/>
                    <a:gd name="connsiteY0" fmla="*/ 12956 h 26534"/>
                    <a:gd name="connsiteX1" fmla="*/ 13578 w 26410"/>
                    <a:gd name="connsiteY1" fmla="*/ 2 h 26534"/>
                    <a:gd name="connsiteX2" fmla="*/ 26408 w 26410"/>
                    <a:gd name="connsiteY2" fmla="*/ 13579 h 26534"/>
                    <a:gd name="connsiteX3" fmla="*/ 12831 w 26410"/>
                    <a:gd name="connsiteY3" fmla="*/ 26533 h 26534"/>
                    <a:gd name="connsiteX4" fmla="*/ 2 w 26410"/>
                    <a:gd name="connsiteY4" fmla="*/ 12956 h 26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0" h="26534">
                      <a:moveTo>
                        <a:pt x="2" y="12956"/>
                      </a:moveTo>
                      <a:cubicBezTo>
                        <a:pt x="251" y="5607"/>
                        <a:pt x="6230" y="-123"/>
                        <a:pt x="13578" y="2"/>
                      </a:cubicBezTo>
                      <a:cubicBezTo>
                        <a:pt x="20803" y="127"/>
                        <a:pt x="26533" y="6230"/>
                        <a:pt x="26408" y="13579"/>
                      </a:cubicBezTo>
                      <a:cubicBezTo>
                        <a:pt x="26159" y="20928"/>
                        <a:pt x="20180" y="26657"/>
                        <a:pt x="12831" y="26533"/>
                      </a:cubicBezTo>
                      <a:cubicBezTo>
                        <a:pt x="5606" y="26408"/>
                        <a:pt x="-123" y="20305"/>
                        <a:pt x="2" y="129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1" name="Graphic 2987">
                <a:extLst>
                  <a:ext uri="{FF2B5EF4-FFF2-40B4-BE49-F238E27FC236}">
                    <a16:creationId xmlns:a16="http://schemas.microsoft.com/office/drawing/2014/main" id="{F8E352CF-E5A9-14F5-7EC9-99614AEB8746}"/>
                  </a:ext>
                </a:extLst>
              </p:cNvPr>
              <p:cNvGrpSpPr/>
              <p:nvPr/>
            </p:nvGrpSpPr>
            <p:grpSpPr>
              <a:xfrm>
                <a:off x="8655261" y="5553595"/>
                <a:ext cx="30152" cy="148861"/>
                <a:chOff x="8655261" y="5553595"/>
                <a:chExt cx="30152" cy="148861"/>
              </a:xfrm>
              <a:grpFill/>
            </p:grpSpPr>
            <p:sp>
              <p:nvSpPr>
                <p:cNvPr id="4433" name="Freeform 5105">
                  <a:extLst>
                    <a:ext uri="{FF2B5EF4-FFF2-40B4-BE49-F238E27FC236}">
                      <a16:creationId xmlns:a16="http://schemas.microsoft.com/office/drawing/2014/main" id="{7A7737F2-A5A8-0DC8-F36D-FE8BCE1C49D5}"/>
                    </a:ext>
                  </a:extLst>
                </p:cNvPr>
                <p:cNvSpPr/>
                <p:nvPr/>
              </p:nvSpPr>
              <p:spPr>
                <a:xfrm>
                  <a:off x="8665572" y="5573781"/>
                  <a:ext cx="3046" cy="52189"/>
                </a:xfrm>
                <a:custGeom>
                  <a:avLst/>
                  <a:gdLst>
                    <a:gd name="connsiteX0" fmla="*/ 2645 w 3046"/>
                    <a:gd name="connsiteY0" fmla="*/ 0 h 52189"/>
                    <a:gd name="connsiteX1" fmla="*/ 154 w 3046"/>
                    <a:gd name="connsiteY1" fmla="*/ 18684 h 52189"/>
                    <a:gd name="connsiteX2" fmla="*/ 3019 w 3046"/>
                    <a:gd name="connsiteY2" fmla="*/ 35873 h 52189"/>
                    <a:gd name="connsiteX3" fmla="*/ 403 w 3046"/>
                    <a:gd name="connsiteY3" fmla="*/ 52190 h 52189"/>
                  </a:gdLst>
                  <a:ahLst/>
                  <a:cxnLst>
                    <a:cxn ang="0">
                      <a:pos x="connsiteX0" y="connsiteY0"/>
                    </a:cxn>
                    <a:cxn ang="0">
                      <a:pos x="connsiteX1" y="connsiteY1"/>
                    </a:cxn>
                    <a:cxn ang="0">
                      <a:pos x="connsiteX2" y="connsiteY2"/>
                    </a:cxn>
                    <a:cxn ang="0">
                      <a:pos x="connsiteX3" y="connsiteY3"/>
                    </a:cxn>
                  </a:cxnLst>
                  <a:rect l="l" t="t" r="r" b="b"/>
                  <a:pathLst>
                    <a:path w="3046" h="52189">
                      <a:moveTo>
                        <a:pt x="2645" y="0"/>
                      </a:moveTo>
                      <a:cubicBezTo>
                        <a:pt x="-95" y="7972"/>
                        <a:pt x="-220" y="14324"/>
                        <a:pt x="154" y="18684"/>
                      </a:cubicBezTo>
                      <a:cubicBezTo>
                        <a:pt x="777" y="25659"/>
                        <a:pt x="2770" y="28773"/>
                        <a:pt x="3019" y="35873"/>
                      </a:cubicBezTo>
                      <a:cubicBezTo>
                        <a:pt x="3267" y="42723"/>
                        <a:pt x="1773" y="48453"/>
                        <a:pt x="40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4" name="Freeform 5106">
                  <a:extLst>
                    <a:ext uri="{FF2B5EF4-FFF2-40B4-BE49-F238E27FC236}">
                      <a16:creationId xmlns:a16="http://schemas.microsoft.com/office/drawing/2014/main" id="{B30F16E1-A4A0-B679-33AB-A564992D4FF6}"/>
                    </a:ext>
                  </a:extLst>
                </p:cNvPr>
                <p:cNvSpPr/>
                <p:nvPr/>
              </p:nvSpPr>
              <p:spPr>
                <a:xfrm>
                  <a:off x="8672767" y="5568923"/>
                  <a:ext cx="4645" cy="52189"/>
                </a:xfrm>
                <a:custGeom>
                  <a:avLst/>
                  <a:gdLst>
                    <a:gd name="connsiteX0" fmla="*/ 1803 w 4645"/>
                    <a:gd name="connsiteY0" fmla="*/ 52189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89"/>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5" name="Freeform 5107">
                  <a:extLst>
                    <a:ext uri="{FF2B5EF4-FFF2-40B4-BE49-F238E27FC236}">
                      <a16:creationId xmlns:a16="http://schemas.microsoft.com/office/drawing/2014/main" id="{E140F795-6D0D-B6D3-9D36-7D8C514398A3}"/>
                    </a:ext>
                  </a:extLst>
                </p:cNvPr>
                <p:cNvSpPr/>
                <p:nvPr/>
              </p:nvSpPr>
              <p:spPr>
                <a:xfrm>
                  <a:off x="8658749" y="5553595"/>
                  <a:ext cx="26665" cy="26546"/>
                </a:xfrm>
                <a:custGeom>
                  <a:avLst/>
                  <a:gdLst>
                    <a:gd name="connsiteX0" fmla="*/ 26657 w 26665"/>
                    <a:gd name="connsiteY0" fmla="*/ 13709 h 26546"/>
                    <a:gd name="connsiteX1" fmla="*/ 12956 w 26665"/>
                    <a:gd name="connsiteY1" fmla="*/ 26539 h 26546"/>
                    <a:gd name="connsiteX2" fmla="*/ 2 w 26665"/>
                    <a:gd name="connsiteY2" fmla="*/ 12837 h 26546"/>
                    <a:gd name="connsiteX3" fmla="*/ 13704 w 26665"/>
                    <a:gd name="connsiteY3" fmla="*/ 8 h 26546"/>
                    <a:gd name="connsiteX4" fmla="*/ 26657 w 266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5" h="26545">
                      <a:moveTo>
                        <a:pt x="26657" y="13709"/>
                      </a:moveTo>
                      <a:cubicBezTo>
                        <a:pt x="26409" y="21058"/>
                        <a:pt x="20305" y="26788"/>
                        <a:pt x="12956" y="26539"/>
                      </a:cubicBezTo>
                      <a:cubicBezTo>
                        <a:pt x="5607" y="26289"/>
                        <a:pt x="-122" y="20186"/>
                        <a:pt x="2" y="12837"/>
                      </a:cubicBezTo>
                      <a:cubicBezTo>
                        <a:pt x="251" y="5488"/>
                        <a:pt x="6355" y="-241"/>
                        <a:pt x="13704" y="8"/>
                      </a:cubicBezTo>
                      <a:cubicBezTo>
                        <a:pt x="21052" y="257"/>
                        <a:pt x="26907" y="6360"/>
                        <a:pt x="26657"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6" name="Freeform 5108">
                  <a:extLst>
                    <a:ext uri="{FF2B5EF4-FFF2-40B4-BE49-F238E27FC236}">
                      <a16:creationId xmlns:a16="http://schemas.microsoft.com/office/drawing/2014/main" id="{825D65DF-694F-4DCF-5964-479BA0F0E657}"/>
                    </a:ext>
                  </a:extLst>
                </p:cNvPr>
                <p:cNvSpPr/>
                <p:nvPr/>
              </p:nvSpPr>
              <p:spPr>
                <a:xfrm>
                  <a:off x="8671926" y="5630081"/>
                  <a:ext cx="3046" cy="52189"/>
                </a:xfrm>
                <a:custGeom>
                  <a:avLst/>
                  <a:gdLst>
                    <a:gd name="connsiteX0" fmla="*/ 401 w 3046"/>
                    <a:gd name="connsiteY0" fmla="*/ 52190 h 52189"/>
                    <a:gd name="connsiteX1" fmla="*/ 2893 w 3046"/>
                    <a:gd name="connsiteY1" fmla="*/ 33506 h 52189"/>
                    <a:gd name="connsiteX2" fmla="*/ 27 w 3046"/>
                    <a:gd name="connsiteY2" fmla="*/ 16317 h 52189"/>
                    <a:gd name="connsiteX3" fmla="*/ 2643 w 3046"/>
                    <a:gd name="connsiteY3" fmla="*/ 0 h 52189"/>
                  </a:gdLst>
                  <a:ahLst/>
                  <a:cxnLst>
                    <a:cxn ang="0">
                      <a:pos x="connsiteX0" y="connsiteY0"/>
                    </a:cxn>
                    <a:cxn ang="0">
                      <a:pos x="connsiteX1" y="connsiteY1"/>
                    </a:cxn>
                    <a:cxn ang="0">
                      <a:pos x="connsiteX2" y="connsiteY2"/>
                    </a:cxn>
                    <a:cxn ang="0">
                      <a:pos x="connsiteX3" y="connsiteY3"/>
                    </a:cxn>
                  </a:cxnLst>
                  <a:rect l="l" t="t" r="r" b="b"/>
                  <a:pathLst>
                    <a:path w="3046" h="52189">
                      <a:moveTo>
                        <a:pt x="401" y="52190"/>
                      </a:moveTo>
                      <a:cubicBezTo>
                        <a:pt x="3141" y="44218"/>
                        <a:pt x="3266" y="37866"/>
                        <a:pt x="2893" y="33506"/>
                      </a:cubicBezTo>
                      <a:cubicBezTo>
                        <a:pt x="2270" y="26531"/>
                        <a:pt x="277" y="23417"/>
                        <a:pt x="27" y="16317"/>
                      </a:cubicBezTo>
                      <a:cubicBezTo>
                        <a:pt x="-221" y="9467"/>
                        <a:pt x="1273" y="3737"/>
                        <a:pt x="26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7" name="Freeform 5109">
                  <a:extLst>
                    <a:ext uri="{FF2B5EF4-FFF2-40B4-BE49-F238E27FC236}">
                      <a16:creationId xmlns:a16="http://schemas.microsoft.com/office/drawing/2014/main" id="{82C2E364-9FB0-0144-43FC-AD9370D08A44}"/>
                    </a:ext>
                  </a:extLst>
                </p:cNvPr>
                <p:cNvSpPr/>
                <p:nvPr/>
              </p:nvSpPr>
              <p:spPr>
                <a:xfrm>
                  <a:off x="8663257" y="5634814"/>
                  <a:ext cx="4520" cy="52189"/>
                </a:xfrm>
                <a:custGeom>
                  <a:avLst/>
                  <a:gdLst>
                    <a:gd name="connsiteX0" fmla="*/ 2718 w 4520"/>
                    <a:gd name="connsiteY0" fmla="*/ 0 h 52189"/>
                    <a:gd name="connsiteX1" fmla="*/ 4088 w 4520"/>
                    <a:gd name="connsiteY1" fmla="*/ 18808 h 52189"/>
                    <a:gd name="connsiteX2" fmla="*/ 227 w 4520"/>
                    <a:gd name="connsiteY2" fmla="*/ 35748 h 52189"/>
                    <a:gd name="connsiteX3" fmla="*/ 1846 w 4520"/>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520" h="52189">
                      <a:moveTo>
                        <a:pt x="2718" y="0"/>
                      </a:moveTo>
                      <a:cubicBezTo>
                        <a:pt x="4960" y="8096"/>
                        <a:pt x="4711" y="14449"/>
                        <a:pt x="4088" y="18808"/>
                      </a:cubicBezTo>
                      <a:cubicBezTo>
                        <a:pt x="3092" y="25784"/>
                        <a:pt x="850"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8" name="Freeform 5110">
                  <a:extLst>
                    <a:ext uri="{FF2B5EF4-FFF2-40B4-BE49-F238E27FC236}">
                      <a16:creationId xmlns:a16="http://schemas.microsoft.com/office/drawing/2014/main" id="{BF40D78B-7F55-F3EC-D931-2C6927B87E7C}"/>
                    </a:ext>
                  </a:extLst>
                </p:cNvPr>
                <p:cNvSpPr/>
                <p:nvPr/>
              </p:nvSpPr>
              <p:spPr>
                <a:xfrm>
                  <a:off x="8655261" y="5675911"/>
                  <a:ext cx="26291" cy="26546"/>
                </a:xfrm>
                <a:custGeom>
                  <a:avLst/>
                  <a:gdLst>
                    <a:gd name="connsiteX0" fmla="*/ 2 w 26291"/>
                    <a:gd name="connsiteY0" fmla="*/ 12837 h 26546"/>
                    <a:gd name="connsiteX1" fmla="*/ 13578 w 26291"/>
                    <a:gd name="connsiteY1" fmla="*/ 8 h 26546"/>
                    <a:gd name="connsiteX2" fmla="*/ 26284 w 26291"/>
                    <a:gd name="connsiteY2" fmla="*/ 13709 h 26546"/>
                    <a:gd name="connsiteX3" fmla="*/ 12707 w 26291"/>
                    <a:gd name="connsiteY3" fmla="*/ 26538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230" y="-242"/>
                        <a:pt x="13578" y="8"/>
                      </a:cubicBezTo>
                      <a:cubicBezTo>
                        <a:pt x="20803" y="257"/>
                        <a:pt x="26533" y="6360"/>
                        <a:pt x="26284" y="13709"/>
                      </a:cubicBezTo>
                      <a:cubicBezTo>
                        <a:pt x="26034" y="21058"/>
                        <a:pt x="19931" y="26788"/>
                        <a:pt x="12707" y="26538"/>
                      </a:cubicBezTo>
                      <a:cubicBezTo>
                        <a:pt x="5483" y="26289"/>
                        <a:pt x="-123" y="20061"/>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2" name="Graphic 2987">
                <a:extLst>
                  <a:ext uri="{FF2B5EF4-FFF2-40B4-BE49-F238E27FC236}">
                    <a16:creationId xmlns:a16="http://schemas.microsoft.com/office/drawing/2014/main" id="{9C19E4F0-09E8-27D7-B4B0-EA4AD112256B}"/>
                  </a:ext>
                </a:extLst>
              </p:cNvPr>
              <p:cNvGrpSpPr/>
              <p:nvPr/>
            </p:nvGrpSpPr>
            <p:grpSpPr>
              <a:xfrm>
                <a:off x="8684657" y="5554591"/>
                <a:ext cx="30526" cy="148862"/>
                <a:chOff x="8684657" y="5554591"/>
                <a:chExt cx="30526" cy="148862"/>
              </a:xfrm>
              <a:grpFill/>
            </p:grpSpPr>
            <p:sp>
              <p:nvSpPr>
                <p:cNvPr id="4427" name="Freeform 5112">
                  <a:extLst>
                    <a:ext uri="{FF2B5EF4-FFF2-40B4-BE49-F238E27FC236}">
                      <a16:creationId xmlns:a16="http://schemas.microsoft.com/office/drawing/2014/main" id="{CBD916CC-6421-AA63-4FA1-52E68DEA6213}"/>
                    </a:ext>
                  </a:extLst>
                </p:cNvPr>
                <p:cNvSpPr/>
                <p:nvPr/>
              </p:nvSpPr>
              <p:spPr>
                <a:xfrm>
                  <a:off x="8695235" y="5574777"/>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2"/>
                        <a:pt x="-237" y="14324"/>
                        <a:pt x="136" y="18559"/>
                      </a:cubicBezTo>
                      <a:cubicBezTo>
                        <a:pt x="635" y="25535"/>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8" name="Freeform 5113">
                  <a:extLst>
                    <a:ext uri="{FF2B5EF4-FFF2-40B4-BE49-F238E27FC236}">
                      <a16:creationId xmlns:a16="http://schemas.microsoft.com/office/drawing/2014/main" id="{A56B012B-4002-F3DF-80C2-331E6336619F}"/>
                    </a:ext>
                  </a:extLst>
                </p:cNvPr>
                <p:cNvSpPr/>
                <p:nvPr/>
              </p:nvSpPr>
              <p:spPr>
                <a:xfrm>
                  <a:off x="8702412" y="5570044"/>
                  <a:ext cx="4645" cy="52189"/>
                </a:xfrm>
                <a:custGeom>
                  <a:avLst/>
                  <a:gdLst>
                    <a:gd name="connsiteX0" fmla="*/ 1803 w 4645"/>
                    <a:gd name="connsiteY0" fmla="*/ 52190 h 52189"/>
                    <a:gd name="connsiteX1" fmla="*/ 433 w 4645"/>
                    <a:gd name="connsiteY1" fmla="*/ 33381 h 52189"/>
                    <a:gd name="connsiteX2" fmla="*/ 4419 w 4645"/>
                    <a:gd name="connsiteY2" fmla="*/ 16441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3"/>
                        <a:pt x="-190" y="37741"/>
                        <a:pt x="433" y="33381"/>
                      </a:cubicBezTo>
                      <a:cubicBezTo>
                        <a:pt x="1429" y="26406"/>
                        <a:pt x="3671" y="23541"/>
                        <a:pt x="4419" y="16441"/>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9" name="Freeform 5114">
                  <a:extLst>
                    <a:ext uri="{FF2B5EF4-FFF2-40B4-BE49-F238E27FC236}">
                      <a16:creationId xmlns:a16="http://schemas.microsoft.com/office/drawing/2014/main" id="{96D2B9E7-BDD8-B764-A5E6-32F709167E1F}"/>
                    </a:ext>
                  </a:extLst>
                </p:cNvPr>
                <p:cNvSpPr/>
                <p:nvPr/>
              </p:nvSpPr>
              <p:spPr>
                <a:xfrm>
                  <a:off x="8688637" y="5554591"/>
                  <a:ext cx="26546" cy="26546"/>
                </a:xfrm>
                <a:custGeom>
                  <a:avLst/>
                  <a:gdLst>
                    <a:gd name="connsiteX0" fmla="*/ 26539 w 26546"/>
                    <a:gd name="connsiteY0" fmla="*/ 13709 h 26546"/>
                    <a:gd name="connsiteX1" fmla="*/ 12838 w 26546"/>
                    <a:gd name="connsiteY1" fmla="*/ 26539 h 26546"/>
                    <a:gd name="connsiteX2" fmla="*/ 8 w 26546"/>
                    <a:gd name="connsiteY2" fmla="*/ 12837 h 26546"/>
                    <a:gd name="connsiteX3" fmla="*/ 13709 w 26546"/>
                    <a:gd name="connsiteY3" fmla="*/ 8 h 26546"/>
                    <a:gd name="connsiteX4" fmla="*/ 26539 w 26546"/>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5" h="26545">
                      <a:moveTo>
                        <a:pt x="26539" y="13709"/>
                      </a:moveTo>
                      <a:cubicBezTo>
                        <a:pt x="26289" y="21058"/>
                        <a:pt x="20186" y="26788"/>
                        <a:pt x="12838" y="26539"/>
                      </a:cubicBezTo>
                      <a:cubicBezTo>
                        <a:pt x="5488" y="26290"/>
                        <a:pt x="-242" y="20186"/>
                        <a:pt x="8" y="12837"/>
                      </a:cubicBezTo>
                      <a:cubicBezTo>
                        <a:pt x="257" y="5488"/>
                        <a:pt x="6360" y="-241"/>
                        <a:pt x="13709" y="8"/>
                      </a:cubicBezTo>
                      <a:cubicBezTo>
                        <a:pt x="21058" y="257"/>
                        <a:pt x="26788" y="6485"/>
                        <a:pt x="26539"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0" name="Freeform 5115">
                  <a:extLst>
                    <a:ext uri="{FF2B5EF4-FFF2-40B4-BE49-F238E27FC236}">
                      <a16:creationId xmlns:a16="http://schemas.microsoft.com/office/drawing/2014/main" id="{328EE688-D059-BBBF-5EEB-94E41380B53E}"/>
                    </a:ext>
                  </a:extLst>
                </p:cNvPr>
                <p:cNvSpPr/>
                <p:nvPr/>
              </p:nvSpPr>
              <p:spPr>
                <a:xfrm>
                  <a:off x="8701449" y="5631202"/>
                  <a:ext cx="2977" cy="52065"/>
                </a:xfrm>
                <a:custGeom>
                  <a:avLst/>
                  <a:gdLst>
                    <a:gd name="connsiteX0" fmla="*/ 274 w 2977"/>
                    <a:gd name="connsiteY0" fmla="*/ 52065 h 52065"/>
                    <a:gd name="connsiteX1" fmla="*/ 2890 w 2977"/>
                    <a:gd name="connsiteY1" fmla="*/ 33506 h 52065"/>
                    <a:gd name="connsiteX2" fmla="*/ 26 w 2977"/>
                    <a:gd name="connsiteY2" fmla="*/ 16317 h 52065"/>
                    <a:gd name="connsiteX3" fmla="*/ 2766 w 2977"/>
                    <a:gd name="connsiteY3" fmla="*/ 0 h 52065"/>
                  </a:gdLst>
                  <a:ahLst/>
                  <a:cxnLst>
                    <a:cxn ang="0">
                      <a:pos x="connsiteX0" y="connsiteY0"/>
                    </a:cxn>
                    <a:cxn ang="0">
                      <a:pos x="connsiteX1" y="connsiteY1"/>
                    </a:cxn>
                    <a:cxn ang="0">
                      <a:pos x="connsiteX2" y="connsiteY2"/>
                    </a:cxn>
                    <a:cxn ang="0">
                      <a:pos x="connsiteX3" y="connsiteY3"/>
                    </a:cxn>
                  </a:cxnLst>
                  <a:rect l="l" t="t" r="r" b="b"/>
                  <a:pathLst>
                    <a:path w="2977" h="52065">
                      <a:moveTo>
                        <a:pt x="274" y="52065"/>
                      </a:moveTo>
                      <a:cubicBezTo>
                        <a:pt x="3015" y="44093"/>
                        <a:pt x="3140" y="37741"/>
                        <a:pt x="2890" y="33506"/>
                      </a:cubicBezTo>
                      <a:cubicBezTo>
                        <a:pt x="2392" y="26530"/>
                        <a:pt x="274" y="23417"/>
                        <a:pt x="26" y="16317"/>
                      </a:cubicBezTo>
                      <a:cubicBezTo>
                        <a:pt x="-224" y="9466"/>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1" name="Freeform 5116">
                  <a:extLst>
                    <a:ext uri="{FF2B5EF4-FFF2-40B4-BE49-F238E27FC236}">
                      <a16:creationId xmlns:a16="http://schemas.microsoft.com/office/drawing/2014/main" id="{FB38FAC9-D40C-1C11-B23F-B23F1DAC42C3}"/>
                    </a:ext>
                  </a:extLst>
                </p:cNvPr>
                <p:cNvSpPr/>
                <p:nvPr/>
              </p:nvSpPr>
              <p:spPr>
                <a:xfrm>
                  <a:off x="8692653" y="5635935"/>
                  <a:ext cx="4644" cy="52189"/>
                </a:xfrm>
                <a:custGeom>
                  <a:avLst/>
                  <a:gdLst>
                    <a:gd name="connsiteX0" fmla="*/ 2842 w 4644"/>
                    <a:gd name="connsiteY0" fmla="*/ 0 h 52189"/>
                    <a:gd name="connsiteX1" fmla="*/ 4212 w 4644"/>
                    <a:gd name="connsiteY1" fmla="*/ 18808 h 52189"/>
                    <a:gd name="connsiteX2" fmla="*/ 227 w 4644"/>
                    <a:gd name="connsiteY2" fmla="*/ 35748 h 52189"/>
                    <a:gd name="connsiteX3" fmla="*/ 1846 w 4644"/>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4" h="52189">
                      <a:moveTo>
                        <a:pt x="2842" y="0"/>
                      </a:moveTo>
                      <a:cubicBezTo>
                        <a:pt x="5084" y="8097"/>
                        <a:pt x="4835"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32" name="Freeform 5117">
                  <a:extLst>
                    <a:ext uri="{FF2B5EF4-FFF2-40B4-BE49-F238E27FC236}">
                      <a16:creationId xmlns:a16="http://schemas.microsoft.com/office/drawing/2014/main" id="{FF8D1A0C-037A-AD28-88FC-F3BD24D2B789}"/>
                    </a:ext>
                  </a:extLst>
                </p:cNvPr>
                <p:cNvSpPr/>
                <p:nvPr/>
              </p:nvSpPr>
              <p:spPr>
                <a:xfrm>
                  <a:off x="8684657" y="5676907"/>
                  <a:ext cx="26291" cy="26546"/>
                </a:xfrm>
                <a:custGeom>
                  <a:avLst/>
                  <a:gdLst>
                    <a:gd name="connsiteX0" fmla="*/ 2 w 26291"/>
                    <a:gd name="connsiteY0" fmla="*/ 12837 h 26546"/>
                    <a:gd name="connsiteX1" fmla="*/ 13579 w 26291"/>
                    <a:gd name="connsiteY1" fmla="*/ 8 h 26546"/>
                    <a:gd name="connsiteX2" fmla="*/ 26284 w 26291"/>
                    <a:gd name="connsiteY2" fmla="*/ 13709 h 26546"/>
                    <a:gd name="connsiteX3" fmla="*/ 12707 w 26291"/>
                    <a:gd name="connsiteY3" fmla="*/ 26539 h 26546"/>
                    <a:gd name="connsiteX4" fmla="*/ 2 w 26291"/>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1" h="26545">
                      <a:moveTo>
                        <a:pt x="2" y="12837"/>
                      </a:moveTo>
                      <a:cubicBezTo>
                        <a:pt x="251" y="5488"/>
                        <a:pt x="6355" y="-241"/>
                        <a:pt x="13579" y="8"/>
                      </a:cubicBezTo>
                      <a:cubicBezTo>
                        <a:pt x="20803" y="257"/>
                        <a:pt x="26533" y="6360"/>
                        <a:pt x="26284" y="13709"/>
                      </a:cubicBezTo>
                      <a:cubicBezTo>
                        <a:pt x="26035" y="21058"/>
                        <a:pt x="19932" y="26788"/>
                        <a:pt x="12707" y="26539"/>
                      </a:cubicBezTo>
                      <a:cubicBezTo>
                        <a:pt x="5483" y="26290"/>
                        <a:pt x="-123" y="20186"/>
                        <a:pt x="2"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3" name="Graphic 2987">
                <a:extLst>
                  <a:ext uri="{FF2B5EF4-FFF2-40B4-BE49-F238E27FC236}">
                    <a16:creationId xmlns:a16="http://schemas.microsoft.com/office/drawing/2014/main" id="{24DAAB0F-1ECA-6F6E-BFE3-C3716573329F}"/>
                  </a:ext>
                </a:extLst>
              </p:cNvPr>
              <p:cNvGrpSpPr/>
              <p:nvPr/>
            </p:nvGrpSpPr>
            <p:grpSpPr>
              <a:xfrm>
                <a:off x="8714046" y="5555712"/>
                <a:ext cx="30906" cy="148737"/>
                <a:chOff x="8714046" y="5555712"/>
                <a:chExt cx="30906" cy="148737"/>
              </a:xfrm>
              <a:grpFill/>
            </p:grpSpPr>
            <p:sp>
              <p:nvSpPr>
                <p:cNvPr id="4421" name="Freeform 5119">
                  <a:extLst>
                    <a:ext uri="{FF2B5EF4-FFF2-40B4-BE49-F238E27FC236}">
                      <a16:creationId xmlns:a16="http://schemas.microsoft.com/office/drawing/2014/main" id="{8600CAFC-8793-D1C7-593A-74AB0854B30F}"/>
                    </a:ext>
                  </a:extLst>
                </p:cNvPr>
                <p:cNvSpPr/>
                <p:nvPr/>
              </p:nvSpPr>
              <p:spPr>
                <a:xfrm>
                  <a:off x="8725004" y="5575899"/>
                  <a:ext cx="3026" cy="52065"/>
                </a:xfrm>
                <a:custGeom>
                  <a:avLst/>
                  <a:gdLst>
                    <a:gd name="connsiteX0" fmla="*/ 2752 w 3026"/>
                    <a:gd name="connsiteY0" fmla="*/ 0 h 52065"/>
                    <a:gd name="connsiteX1" fmla="*/ 136 w 3026"/>
                    <a:gd name="connsiteY1" fmla="*/ 18559 h 52065"/>
                    <a:gd name="connsiteX2" fmla="*/ 3001 w 3026"/>
                    <a:gd name="connsiteY2" fmla="*/ 35748 h 52065"/>
                    <a:gd name="connsiteX3" fmla="*/ 261 w 3026"/>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026" h="52065">
                      <a:moveTo>
                        <a:pt x="2752" y="0"/>
                      </a:moveTo>
                      <a:cubicBezTo>
                        <a:pt x="12" y="7971"/>
                        <a:pt x="-237" y="14324"/>
                        <a:pt x="136" y="18559"/>
                      </a:cubicBezTo>
                      <a:cubicBezTo>
                        <a:pt x="635" y="25534"/>
                        <a:pt x="2752" y="28648"/>
                        <a:pt x="3001" y="35748"/>
                      </a:cubicBezTo>
                      <a:cubicBezTo>
                        <a:pt x="3250" y="42599"/>
                        <a:pt x="1631" y="48328"/>
                        <a:pt x="261"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2" name="Freeform 5120">
                  <a:extLst>
                    <a:ext uri="{FF2B5EF4-FFF2-40B4-BE49-F238E27FC236}">
                      <a16:creationId xmlns:a16="http://schemas.microsoft.com/office/drawing/2014/main" id="{A1631875-4A92-34A6-36FC-25D7A7D0DBE9}"/>
                    </a:ext>
                  </a:extLst>
                </p:cNvPr>
                <p:cNvSpPr/>
                <p:nvPr/>
              </p:nvSpPr>
              <p:spPr>
                <a:xfrm>
                  <a:off x="8731932" y="5571041"/>
                  <a:ext cx="4645" cy="52189"/>
                </a:xfrm>
                <a:custGeom>
                  <a:avLst/>
                  <a:gdLst>
                    <a:gd name="connsiteX0" fmla="*/ 1803 w 4645"/>
                    <a:gd name="connsiteY0" fmla="*/ 52190 h 52189"/>
                    <a:gd name="connsiteX1" fmla="*/ 433 w 4645"/>
                    <a:gd name="connsiteY1" fmla="*/ 33381 h 52189"/>
                    <a:gd name="connsiteX2" fmla="*/ 4419 w 4645"/>
                    <a:gd name="connsiteY2" fmla="*/ 16442 h 52189"/>
                    <a:gd name="connsiteX3" fmla="*/ 2799 w 4645"/>
                    <a:gd name="connsiteY3" fmla="*/ 0 h 52189"/>
                  </a:gdLst>
                  <a:ahLst/>
                  <a:cxnLst>
                    <a:cxn ang="0">
                      <a:pos x="connsiteX0" y="connsiteY0"/>
                    </a:cxn>
                    <a:cxn ang="0">
                      <a:pos x="connsiteX1" y="connsiteY1"/>
                    </a:cxn>
                    <a:cxn ang="0">
                      <a:pos x="connsiteX2" y="connsiteY2"/>
                    </a:cxn>
                    <a:cxn ang="0">
                      <a:pos x="connsiteX3" y="connsiteY3"/>
                    </a:cxn>
                  </a:cxnLst>
                  <a:rect l="l" t="t" r="r" b="b"/>
                  <a:pathLst>
                    <a:path w="4645" h="52189">
                      <a:moveTo>
                        <a:pt x="1803" y="52190"/>
                      </a:moveTo>
                      <a:cubicBezTo>
                        <a:pt x="-439" y="44094"/>
                        <a:pt x="-190" y="37741"/>
                        <a:pt x="433" y="33381"/>
                      </a:cubicBezTo>
                      <a:cubicBezTo>
                        <a:pt x="1429" y="26406"/>
                        <a:pt x="3671" y="23542"/>
                        <a:pt x="4419" y="16442"/>
                      </a:cubicBezTo>
                      <a:cubicBezTo>
                        <a:pt x="5166" y="9591"/>
                        <a:pt x="3920" y="3737"/>
                        <a:pt x="279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3" name="Freeform 5121">
                  <a:extLst>
                    <a:ext uri="{FF2B5EF4-FFF2-40B4-BE49-F238E27FC236}">
                      <a16:creationId xmlns:a16="http://schemas.microsoft.com/office/drawing/2014/main" id="{9BEAB57D-C350-D7D4-EC02-491BB9A28C3B}"/>
                    </a:ext>
                  </a:extLst>
                </p:cNvPr>
                <p:cNvSpPr/>
                <p:nvPr/>
              </p:nvSpPr>
              <p:spPr>
                <a:xfrm>
                  <a:off x="8718282" y="5555712"/>
                  <a:ext cx="26671" cy="26546"/>
                </a:xfrm>
                <a:custGeom>
                  <a:avLst/>
                  <a:gdLst>
                    <a:gd name="connsiteX0" fmla="*/ 26663 w 26671"/>
                    <a:gd name="connsiteY0" fmla="*/ 13709 h 26546"/>
                    <a:gd name="connsiteX1" fmla="*/ 12837 w 26671"/>
                    <a:gd name="connsiteY1" fmla="*/ 26539 h 26546"/>
                    <a:gd name="connsiteX2" fmla="*/ 8 w 26671"/>
                    <a:gd name="connsiteY2" fmla="*/ 12837 h 26546"/>
                    <a:gd name="connsiteX3" fmla="*/ 13834 w 26671"/>
                    <a:gd name="connsiteY3" fmla="*/ 8 h 26546"/>
                    <a:gd name="connsiteX4" fmla="*/ 26663 w 26671"/>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45">
                      <a:moveTo>
                        <a:pt x="26663" y="13709"/>
                      </a:moveTo>
                      <a:cubicBezTo>
                        <a:pt x="26414" y="21058"/>
                        <a:pt x="20186" y="26788"/>
                        <a:pt x="12837" y="26539"/>
                      </a:cubicBezTo>
                      <a:cubicBezTo>
                        <a:pt x="5488" y="26290"/>
                        <a:pt x="-242" y="20186"/>
                        <a:pt x="8" y="12837"/>
                      </a:cubicBezTo>
                      <a:cubicBezTo>
                        <a:pt x="257" y="5488"/>
                        <a:pt x="6485"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4" name="Freeform 5122">
                  <a:extLst>
                    <a:ext uri="{FF2B5EF4-FFF2-40B4-BE49-F238E27FC236}">
                      <a16:creationId xmlns:a16="http://schemas.microsoft.com/office/drawing/2014/main" id="{E3144862-F455-9445-EAC3-4A536A59491D}"/>
                    </a:ext>
                  </a:extLst>
                </p:cNvPr>
                <p:cNvSpPr/>
                <p:nvPr/>
              </p:nvSpPr>
              <p:spPr>
                <a:xfrm>
                  <a:off x="8730969" y="5632198"/>
                  <a:ext cx="2902" cy="52065"/>
                </a:xfrm>
                <a:custGeom>
                  <a:avLst/>
                  <a:gdLst>
                    <a:gd name="connsiteX0" fmla="*/ 150 w 2902"/>
                    <a:gd name="connsiteY0" fmla="*/ 52065 h 52065"/>
                    <a:gd name="connsiteX1" fmla="*/ 2766 w 2902"/>
                    <a:gd name="connsiteY1" fmla="*/ 33506 h 52065"/>
                    <a:gd name="connsiteX2" fmla="*/ 26 w 2902"/>
                    <a:gd name="connsiteY2" fmla="*/ 16317 h 52065"/>
                    <a:gd name="connsiteX3" fmla="*/ 2766 w 2902"/>
                    <a:gd name="connsiteY3" fmla="*/ 0 h 52065"/>
                  </a:gdLst>
                  <a:ahLst/>
                  <a:cxnLst>
                    <a:cxn ang="0">
                      <a:pos x="connsiteX0" y="connsiteY0"/>
                    </a:cxn>
                    <a:cxn ang="0">
                      <a:pos x="connsiteX1" y="connsiteY1"/>
                    </a:cxn>
                    <a:cxn ang="0">
                      <a:pos x="connsiteX2" y="connsiteY2"/>
                    </a:cxn>
                    <a:cxn ang="0">
                      <a:pos x="connsiteX3" y="connsiteY3"/>
                    </a:cxn>
                  </a:cxnLst>
                  <a:rect l="l" t="t" r="r" b="b"/>
                  <a:pathLst>
                    <a:path w="2902" h="52065">
                      <a:moveTo>
                        <a:pt x="150" y="52065"/>
                      </a:moveTo>
                      <a:cubicBezTo>
                        <a:pt x="2890" y="44094"/>
                        <a:pt x="3140"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5" name="Freeform 5123">
                  <a:extLst>
                    <a:ext uri="{FF2B5EF4-FFF2-40B4-BE49-F238E27FC236}">
                      <a16:creationId xmlns:a16="http://schemas.microsoft.com/office/drawing/2014/main" id="{DC15338E-4280-A882-028B-823C8FBC4AC2}"/>
                    </a:ext>
                  </a:extLst>
                </p:cNvPr>
                <p:cNvSpPr/>
                <p:nvPr/>
              </p:nvSpPr>
              <p:spPr>
                <a:xfrm>
                  <a:off x="8722298" y="5636932"/>
                  <a:ext cx="4645" cy="52189"/>
                </a:xfrm>
                <a:custGeom>
                  <a:avLst/>
                  <a:gdLst>
                    <a:gd name="connsiteX0" fmla="*/ 2842 w 4645"/>
                    <a:gd name="connsiteY0" fmla="*/ 0 h 52189"/>
                    <a:gd name="connsiteX1" fmla="*/ 4212 w 4645"/>
                    <a:gd name="connsiteY1" fmla="*/ 18808 h 52189"/>
                    <a:gd name="connsiteX2" fmla="*/ 227 w 4645"/>
                    <a:gd name="connsiteY2" fmla="*/ 35748 h 52189"/>
                    <a:gd name="connsiteX3" fmla="*/ 1846 w 464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45" h="52189">
                      <a:moveTo>
                        <a:pt x="2842" y="0"/>
                      </a:moveTo>
                      <a:cubicBezTo>
                        <a:pt x="5084" y="8096"/>
                        <a:pt x="4836" y="14449"/>
                        <a:pt x="4212" y="18808"/>
                      </a:cubicBezTo>
                      <a:cubicBezTo>
                        <a:pt x="3216" y="25784"/>
                        <a:pt x="974" y="28648"/>
                        <a:pt x="227" y="35748"/>
                      </a:cubicBezTo>
                      <a:cubicBezTo>
                        <a:pt x="-521" y="42599"/>
                        <a:pt x="725" y="48453"/>
                        <a:pt x="1846"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6" name="Freeform 5124">
                  <a:extLst>
                    <a:ext uri="{FF2B5EF4-FFF2-40B4-BE49-F238E27FC236}">
                      <a16:creationId xmlns:a16="http://schemas.microsoft.com/office/drawing/2014/main" id="{2426DEDF-146E-B860-2F70-9C61FB0C0938}"/>
                    </a:ext>
                  </a:extLst>
                </p:cNvPr>
                <p:cNvSpPr/>
                <p:nvPr/>
              </p:nvSpPr>
              <p:spPr>
                <a:xfrm>
                  <a:off x="8714046" y="5677903"/>
                  <a:ext cx="26297" cy="26546"/>
                </a:xfrm>
                <a:custGeom>
                  <a:avLst/>
                  <a:gdLst>
                    <a:gd name="connsiteX0" fmla="*/ 8 w 26297"/>
                    <a:gd name="connsiteY0" fmla="*/ 12837 h 26546"/>
                    <a:gd name="connsiteX1" fmla="*/ 13585 w 26297"/>
                    <a:gd name="connsiteY1" fmla="*/ 8 h 26546"/>
                    <a:gd name="connsiteX2" fmla="*/ 26290 w 26297"/>
                    <a:gd name="connsiteY2" fmla="*/ 13709 h 26546"/>
                    <a:gd name="connsiteX3" fmla="*/ 12713 w 26297"/>
                    <a:gd name="connsiteY3" fmla="*/ 26538 h 26546"/>
                    <a:gd name="connsiteX4" fmla="*/ 8 w 26297"/>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7" h="26545">
                      <a:moveTo>
                        <a:pt x="8" y="12837"/>
                      </a:moveTo>
                      <a:cubicBezTo>
                        <a:pt x="257" y="5488"/>
                        <a:pt x="6360" y="-242"/>
                        <a:pt x="13585" y="8"/>
                      </a:cubicBezTo>
                      <a:cubicBezTo>
                        <a:pt x="20809" y="257"/>
                        <a:pt x="26539" y="6360"/>
                        <a:pt x="26290" y="13709"/>
                      </a:cubicBezTo>
                      <a:cubicBezTo>
                        <a:pt x="26041" y="21058"/>
                        <a:pt x="19937" y="26788"/>
                        <a:pt x="12713" y="26538"/>
                      </a:cubicBezTo>
                      <a:cubicBezTo>
                        <a:pt x="5488" y="26289"/>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4" name="Graphic 2987">
                <a:extLst>
                  <a:ext uri="{FF2B5EF4-FFF2-40B4-BE49-F238E27FC236}">
                    <a16:creationId xmlns:a16="http://schemas.microsoft.com/office/drawing/2014/main" id="{1EE0CDCD-57B4-B6D8-5821-BB39ADB66FFB}"/>
                  </a:ext>
                </a:extLst>
              </p:cNvPr>
              <p:cNvGrpSpPr/>
              <p:nvPr/>
            </p:nvGrpSpPr>
            <p:grpSpPr>
              <a:xfrm>
                <a:off x="8743442" y="5556709"/>
                <a:ext cx="31279" cy="148861"/>
                <a:chOff x="8743442" y="5556709"/>
                <a:chExt cx="31279" cy="148861"/>
              </a:xfrm>
              <a:grpFill/>
            </p:grpSpPr>
            <p:sp>
              <p:nvSpPr>
                <p:cNvPr id="4415" name="Freeform 5126">
                  <a:extLst>
                    <a:ext uri="{FF2B5EF4-FFF2-40B4-BE49-F238E27FC236}">
                      <a16:creationId xmlns:a16="http://schemas.microsoft.com/office/drawing/2014/main" id="{908A2C8B-FAAA-05A8-369C-7C286DF43364}"/>
                    </a:ext>
                  </a:extLst>
                </p:cNvPr>
                <p:cNvSpPr/>
                <p:nvPr/>
              </p:nvSpPr>
              <p:spPr>
                <a:xfrm>
                  <a:off x="8754586" y="5576895"/>
                  <a:ext cx="2840" cy="52065"/>
                </a:xfrm>
                <a:custGeom>
                  <a:avLst/>
                  <a:gdLst>
                    <a:gd name="connsiteX0" fmla="*/ 2815 w 2840"/>
                    <a:gd name="connsiteY0" fmla="*/ 0 h 52065"/>
                    <a:gd name="connsiteX1" fmla="*/ 74 w 2840"/>
                    <a:gd name="connsiteY1" fmla="*/ 18559 h 52065"/>
                    <a:gd name="connsiteX2" fmla="*/ 2815 w 2840"/>
                    <a:gd name="connsiteY2" fmla="*/ 35748 h 52065"/>
                    <a:gd name="connsiteX3" fmla="*/ 74 w 284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40" h="52065">
                      <a:moveTo>
                        <a:pt x="2815" y="0"/>
                      </a:moveTo>
                      <a:cubicBezTo>
                        <a:pt x="74" y="7972"/>
                        <a:pt x="-174" y="14324"/>
                        <a:pt x="74" y="18559"/>
                      </a:cubicBezTo>
                      <a:cubicBezTo>
                        <a:pt x="573" y="25534"/>
                        <a:pt x="2566" y="28648"/>
                        <a:pt x="2815" y="35748"/>
                      </a:cubicBezTo>
                      <a:cubicBezTo>
                        <a:pt x="3064" y="42599"/>
                        <a:pt x="1444" y="48328"/>
                        <a:pt x="74"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6" name="Freeform 5127">
                  <a:extLst>
                    <a:ext uri="{FF2B5EF4-FFF2-40B4-BE49-F238E27FC236}">
                      <a16:creationId xmlns:a16="http://schemas.microsoft.com/office/drawing/2014/main" id="{E2E63973-3288-72B6-C21B-9662762C2EA9}"/>
                    </a:ext>
                  </a:extLst>
                </p:cNvPr>
                <p:cNvSpPr/>
                <p:nvPr/>
              </p:nvSpPr>
              <p:spPr>
                <a:xfrm>
                  <a:off x="8761693" y="5572037"/>
                  <a:ext cx="4792" cy="52189"/>
                </a:xfrm>
                <a:custGeom>
                  <a:avLst/>
                  <a:gdLst>
                    <a:gd name="connsiteX0" fmla="*/ 1686 w 4792"/>
                    <a:gd name="connsiteY0" fmla="*/ 52189 h 52189"/>
                    <a:gd name="connsiteX1" fmla="*/ 441 w 4792"/>
                    <a:gd name="connsiteY1" fmla="*/ 33381 h 52189"/>
                    <a:gd name="connsiteX2" fmla="*/ 4551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89"/>
                      </a:moveTo>
                      <a:cubicBezTo>
                        <a:pt x="-431" y="44093"/>
                        <a:pt x="-183" y="37741"/>
                        <a:pt x="441" y="33381"/>
                      </a:cubicBezTo>
                      <a:cubicBezTo>
                        <a:pt x="1437" y="26406"/>
                        <a:pt x="3679" y="23541"/>
                        <a:pt x="4551"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7" name="Freeform 5128">
                  <a:extLst>
                    <a:ext uri="{FF2B5EF4-FFF2-40B4-BE49-F238E27FC236}">
                      <a16:creationId xmlns:a16="http://schemas.microsoft.com/office/drawing/2014/main" id="{96DF41D6-F3E7-A084-C8AF-830DCFD3EB38}"/>
                    </a:ext>
                  </a:extLst>
                </p:cNvPr>
                <p:cNvSpPr/>
                <p:nvPr/>
              </p:nvSpPr>
              <p:spPr>
                <a:xfrm>
                  <a:off x="8748051" y="5556709"/>
                  <a:ext cx="26670" cy="26546"/>
                </a:xfrm>
                <a:custGeom>
                  <a:avLst/>
                  <a:gdLst>
                    <a:gd name="connsiteX0" fmla="*/ 26663 w 26670"/>
                    <a:gd name="connsiteY0" fmla="*/ 13709 h 26546"/>
                    <a:gd name="connsiteX1" fmla="*/ 12837 w 26670"/>
                    <a:gd name="connsiteY1" fmla="*/ 26539 h 26546"/>
                    <a:gd name="connsiteX2" fmla="*/ 8 w 26670"/>
                    <a:gd name="connsiteY2" fmla="*/ 12837 h 26546"/>
                    <a:gd name="connsiteX3" fmla="*/ 13834 w 26670"/>
                    <a:gd name="connsiteY3" fmla="*/ 8 h 26546"/>
                    <a:gd name="connsiteX4" fmla="*/ 26663 w 26670"/>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45">
                      <a:moveTo>
                        <a:pt x="26663" y="13709"/>
                      </a:moveTo>
                      <a:cubicBezTo>
                        <a:pt x="26414" y="21058"/>
                        <a:pt x="20186" y="26788"/>
                        <a:pt x="12837" y="26539"/>
                      </a:cubicBezTo>
                      <a:cubicBezTo>
                        <a:pt x="5488" y="26289"/>
                        <a:pt x="-242" y="20186"/>
                        <a:pt x="8" y="12837"/>
                      </a:cubicBezTo>
                      <a:cubicBezTo>
                        <a:pt x="256" y="5488"/>
                        <a:pt x="6484" y="-241"/>
                        <a:pt x="13834" y="8"/>
                      </a:cubicBezTo>
                      <a:cubicBezTo>
                        <a:pt x="21183" y="257"/>
                        <a:pt x="26912" y="6360"/>
                        <a:pt x="26663"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8" name="Freeform 5129">
                  <a:extLst>
                    <a:ext uri="{FF2B5EF4-FFF2-40B4-BE49-F238E27FC236}">
                      <a16:creationId xmlns:a16="http://schemas.microsoft.com/office/drawing/2014/main" id="{9A5FB355-B953-D3E4-A7DF-5410C1AB048C}"/>
                    </a:ext>
                  </a:extLst>
                </p:cNvPr>
                <p:cNvSpPr/>
                <p:nvPr/>
              </p:nvSpPr>
              <p:spPr>
                <a:xfrm>
                  <a:off x="8760489" y="5633319"/>
                  <a:ext cx="2840" cy="52065"/>
                </a:xfrm>
                <a:custGeom>
                  <a:avLst/>
                  <a:gdLst>
                    <a:gd name="connsiteX0" fmla="*/ 26 w 2840"/>
                    <a:gd name="connsiteY0" fmla="*/ 52065 h 52065"/>
                    <a:gd name="connsiteX1" fmla="*/ 2766 w 2840"/>
                    <a:gd name="connsiteY1" fmla="*/ 33506 h 52065"/>
                    <a:gd name="connsiteX2" fmla="*/ 26 w 2840"/>
                    <a:gd name="connsiteY2" fmla="*/ 16317 h 52065"/>
                    <a:gd name="connsiteX3" fmla="*/ 2766 w 2840"/>
                    <a:gd name="connsiteY3" fmla="*/ 0 h 52065"/>
                  </a:gdLst>
                  <a:ahLst/>
                  <a:cxnLst>
                    <a:cxn ang="0">
                      <a:pos x="connsiteX0" y="connsiteY0"/>
                    </a:cxn>
                    <a:cxn ang="0">
                      <a:pos x="connsiteX1" y="connsiteY1"/>
                    </a:cxn>
                    <a:cxn ang="0">
                      <a:pos x="connsiteX2" y="connsiteY2"/>
                    </a:cxn>
                    <a:cxn ang="0">
                      <a:pos x="connsiteX3" y="connsiteY3"/>
                    </a:cxn>
                  </a:cxnLst>
                  <a:rect l="l" t="t" r="r" b="b"/>
                  <a:pathLst>
                    <a:path w="2840" h="52065">
                      <a:moveTo>
                        <a:pt x="26" y="52065"/>
                      </a:moveTo>
                      <a:cubicBezTo>
                        <a:pt x="2766" y="44094"/>
                        <a:pt x="3015" y="37741"/>
                        <a:pt x="2766" y="33506"/>
                      </a:cubicBezTo>
                      <a:cubicBezTo>
                        <a:pt x="2268" y="26531"/>
                        <a:pt x="274" y="23417"/>
                        <a:pt x="26" y="16317"/>
                      </a:cubicBezTo>
                      <a:cubicBezTo>
                        <a:pt x="-224" y="9467"/>
                        <a:pt x="1396" y="3737"/>
                        <a:pt x="27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9" name="Freeform 5130">
                  <a:extLst>
                    <a:ext uri="{FF2B5EF4-FFF2-40B4-BE49-F238E27FC236}">
                      <a16:creationId xmlns:a16="http://schemas.microsoft.com/office/drawing/2014/main" id="{1836B246-0EA7-1665-AB57-EDD856EA2BB6}"/>
                    </a:ext>
                  </a:extLst>
                </p:cNvPr>
                <p:cNvSpPr/>
                <p:nvPr/>
              </p:nvSpPr>
              <p:spPr>
                <a:xfrm>
                  <a:off x="8751678" y="5638053"/>
                  <a:ext cx="4668" cy="52189"/>
                </a:xfrm>
                <a:custGeom>
                  <a:avLst/>
                  <a:gdLst>
                    <a:gd name="connsiteX0" fmla="*/ 2982 w 4668"/>
                    <a:gd name="connsiteY0" fmla="*/ 0 h 52189"/>
                    <a:gd name="connsiteX1" fmla="*/ 4228 w 4668"/>
                    <a:gd name="connsiteY1" fmla="*/ 18808 h 52189"/>
                    <a:gd name="connsiteX2" fmla="*/ 242 w 4668"/>
                    <a:gd name="connsiteY2" fmla="*/ 35748 h 52189"/>
                    <a:gd name="connsiteX3" fmla="*/ 1737 w 4668"/>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668" h="52189">
                      <a:moveTo>
                        <a:pt x="2982" y="0"/>
                      </a:moveTo>
                      <a:cubicBezTo>
                        <a:pt x="5100" y="8096"/>
                        <a:pt x="4851" y="14449"/>
                        <a:pt x="4228" y="18808"/>
                      </a:cubicBezTo>
                      <a:cubicBezTo>
                        <a:pt x="3231" y="25784"/>
                        <a:pt x="989" y="28648"/>
                        <a:pt x="242" y="35748"/>
                      </a:cubicBezTo>
                      <a:cubicBezTo>
                        <a:pt x="-505" y="42599"/>
                        <a:pt x="615"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20" name="Freeform 5131">
                  <a:extLst>
                    <a:ext uri="{FF2B5EF4-FFF2-40B4-BE49-F238E27FC236}">
                      <a16:creationId xmlns:a16="http://schemas.microsoft.com/office/drawing/2014/main" id="{43623F18-F2EC-8BFE-CE59-C8095BE2AFB0}"/>
                    </a:ext>
                  </a:extLst>
                </p:cNvPr>
                <p:cNvSpPr/>
                <p:nvPr/>
              </p:nvSpPr>
              <p:spPr>
                <a:xfrm>
                  <a:off x="8743442" y="5679024"/>
                  <a:ext cx="26422" cy="26546"/>
                </a:xfrm>
                <a:custGeom>
                  <a:avLst/>
                  <a:gdLst>
                    <a:gd name="connsiteX0" fmla="*/ 8 w 26422"/>
                    <a:gd name="connsiteY0" fmla="*/ 12837 h 26546"/>
                    <a:gd name="connsiteX1" fmla="*/ 13709 w 26422"/>
                    <a:gd name="connsiteY1" fmla="*/ 8 h 26546"/>
                    <a:gd name="connsiteX2" fmla="*/ 26414 w 26422"/>
                    <a:gd name="connsiteY2" fmla="*/ 13709 h 26546"/>
                    <a:gd name="connsiteX3" fmla="*/ 12712 w 26422"/>
                    <a:gd name="connsiteY3" fmla="*/ 26538 h 26546"/>
                    <a:gd name="connsiteX4" fmla="*/ 8 w 26422"/>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45">
                      <a:moveTo>
                        <a:pt x="8" y="12837"/>
                      </a:moveTo>
                      <a:cubicBezTo>
                        <a:pt x="257" y="5488"/>
                        <a:pt x="6360" y="-242"/>
                        <a:pt x="13709" y="8"/>
                      </a:cubicBezTo>
                      <a:cubicBezTo>
                        <a:pt x="21058" y="257"/>
                        <a:pt x="26663" y="6360"/>
                        <a:pt x="26414" y="13709"/>
                      </a:cubicBezTo>
                      <a:cubicBezTo>
                        <a:pt x="26165" y="21058"/>
                        <a:pt x="20062" y="26788"/>
                        <a:pt x="12712" y="26538"/>
                      </a:cubicBezTo>
                      <a:cubicBezTo>
                        <a:pt x="5364" y="26289"/>
                        <a:pt x="-241" y="20061"/>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5" name="Graphic 2987">
                <a:extLst>
                  <a:ext uri="{FF2B5EF4-FFF2-40B4-BE49-F238E27FC236}">
                    <a16:creationId xmlns:a16="http://schemas.microsoft.com/office/drawing/2014/main" id="{5B493547-0F53-7E39-5AD1-38C7B7E6E37E}"/>
                  </a:ext>
                </a:extLst>
              </p:cNvPr>
              <p:cNvGrpSpPr/>
              <p:nvPr/>
            </p:nvGrpSpPr>
            <p:grpSpPr>
              <a:xfrm>
                <a:off x="8772838" y="5557830"/>
                <a:ext cx="31538" cy="148737"/>
                <a:chOff x="8772838" y="5557830"/>
                <a:chExt cx="31538" cy="148737"/>
              </a:xfrm>
              <a:grpFill/>
            </p:grpSpPr>
            <p:sp>
              <p:nvSpPr>
                <p:cNvPr id="4409" name="Freeform 5133">
                  <a:extLst>
                    <a:ext uri="{FF2B5EF4-FFF2-40B4-BE49-F238E27FC236}">
                      <a16:creationId xmlns:a16="http://schemas.microsoft.com/office/drawing/2014/main" id="{B4B71C4E-F3FD-4910-E507-EB6C7EA4315C}"/>
                    </a:ext>
                  </a:extLst>
                </p:cNvPr>
                <p:cNvSpPr/>
                <p:nvPr/>
              </p:nvSpPr>
              <p:spPr>
                <a:xfrm>
                  <a:off x="8784305" y="5578016"/>
                  <a:ext cx="2890" cy="52065"/>
                </a:xfrm>
                <a:custGeom>
                  <a:avLst/>
                  <a:gdLst>
                    <a:gd name="connsiteX0" fmla="*/ 2865 w 2890"/>
                    <a:gd name="connsiteY0" fmla="*/ 0 h 52065"/>
                    <a:gd name="connsiteX1" fmla="*/ 125 w 2890"/>
                    <a:gd name="connsiteY1" fmla="*/ 18559 h 52065"/>
                    <a:gd name="connsiteX2" fmla="*/ 2865 w 2890"/>
                    <a:gd name="connsiteY2" fmla="*/ 35748 h 52065"/>
                    <a:gd name="connsiteX3" fmla="*/ 0 w 289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2890" h="52065">
                      <a:moveTo>
                        <a:pt x="2865" y="0"/>
                      </a:moveTo>
                      <a:cubicBezTo>
                        <a:pt x="0" y="7972"/>
                        <a:pt x="-125" y="14324"/>
                        <a:pt x="125" y="18559"/>
                      </a:cubicBezTo>
                      <a:cubicBezTo>
                        <a:pt x="623" y="25535"/>
                        <a:pt x="2616" y="28648"/>
                        <a:pt x="2865" y="35748"/>
                      </a:cubicBezTo>
                      <a:cubicBezTo>
                        <a:pt x="3114" y="42599"/>
                        <a:pt x="1495" y="48328"/>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0" name="Freeform 5134">
                  <a:extLst>
                    <a:ext uri="{FF2B5EF4-FFF2-40B4-BE49-F238E27FC236}">
                      <a16:creationId xmlns:a16="http://schemas.microsoft.com/office/drawing/2014/main" id="{BB37F758-AA82-7B4F-C0BA-E238AB127ED5}"/>
                    </a:ext>
                  </a:extLst>
                </p:cNvPr>
                <p:cNvSpPr/>
                <p:nvPr/>
              </p:nvSpPr>
              <p:spPr>
                <a:xfrm>
                  <a:off x="8791214" y="5573158"/>
                  <a:ext cx="4792" cy="52189"/>
                </a:xfrm>
                <a:custGeom>
                  <a:avLst/>
                  <a:gdLst>
                    <a:gd name="connsiteX0" fmla="*/ 1686 w 4792"/>
                    <a:gd name="connsiteY0" fmla="*/ 52190 h 52189"/>
                    <a:gd name="connsiteX1" fmla="*/ 440 w 4792"/>
                    <a:gd name="connsiteY1" fmla="*/ 33381 h 52189"/>
                    <a:gd name="connsiteX2" fmla="*/ 4550 w 4792"/>
                    <a:gd name="connsiteY2" fmla="*/ 16441 h 52189"/>
                    <a:gd name="connsiteX3" fmla="*/ 3056 w 4792"/>
                    <a:gd name="connsiteY3" fmla="*/ 0 h 52189"/>
                  </a:gdLst>
                  <a:ahLst/>
                  <a:cxnLst>
                    <a:cxn ang="0">
                      <a:pos x="connsiteX0" y="connsiteY0"/>
                    </a:cxn>
                    <a:cxn ang="0">
                      <a:pos x="connsiteX1" y="connsiteY1"/>
                    </a:cxn>
                    <a:cxn ang="0">
                      <a:pos x="connsiteX2" y="connsiteY2"/>
                    </a:cxn>
                    <a:cxn ang="0">
                      <a:pos x="connsiteX3" y="connsiteY3"/>
                    </a:cxn>
                  </a:cxnLst>
                  <a:rect l="l" t="t" r="r" b="b"/>
                  <a:pathLst>
                    <a:path w="4792" h="52189">
                      <a:moveTo>
                        <a:pt x="1686" y="52190"/>
                      </a:moveTo>
                      <a:cubicBezTo>
                        <a:pt x="-432" y="44093"/>
                        <a:pt x="-182" y="37741"/>
                        <a:pt x="440" y="33381"/>
                      </a:cubicBezTo>
                      <a:cubicBezTo>
                        <a:pt x="1561" y="26406"/>
                        <a:pt x="3803" y="23541"/>
                        <a:pt x="4550" y="16441"/>
                      </a:cubicBezTo>
                      <a:cubicBezTo>
                        <a:pt x="5298" y="9591"/>
                        <a:pt x="4177" y="3861"/>
                        <a:pt x="30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1" name="Freeform 5135">
                  <a:extLst>
                    <a:ext uri="{FF2B5EF4-FFF2-40B4-BE49-F238E27FC236}">
                      <a16:creationId xmlns:a16="http://schemas.microsoft.com/office/drawing/2014/main" id="{89A81037-A494-D966-77C4-C44DC1F42581}"/>
                    </a:ext>
                  </a:extLst>
                </p:cNvPr>
                <p:cNvSpPr/>
                <p:nvPr/>
              </p:nvSpPr>
              <p:spPr>
                <a:xfrm>
                  <a:off x="8777811" y="5557830"/>
                  <a:ext cx="26565" cy="26546"/>
                </a:xfrm>
                <a:custGeom>
                  <a:avLst/>
                  <a:gdLst>
                    <a:gd name="connsiteX0" fmla="*/ 26548 w 26565"/>
                    <a:gd name="connsiteY0" fmla="*/ 13709 h 26546"/>
                    <a:gd name="connsiteX1" fmla="*/ 12722 w 26565"/>
                    <a:gd name="connsiteY1" fmla="*/ 26539 h 26546"/>
                    <a:gd name="connsiteX2" fmla="*/ 17 w 26565"/>
                    <a:gd name="connsiteY2" fmla="*/ 12837 h 26546"/>
                    <a:gd name="connsiteX3" fmla="*/ 13844 w 26565"/>
                    <a:gd name="connsiteY3" fmla="*/ 8 h 26546"/>
                    <a:gd name="connsiteX4" fmla="*/ 26548 w 26565"/>
                    <a:gd name="connsiteY4" fmla="*/ 13709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45">
                      <a:moveTo>
                        <a:pt x="26548" y="13709"/>
                      </a:moveTo>
                      <a:cubicBezTo>
                        <a:pt x="26175" y="21058"/>
                        <a:pt x="20072" y="26788"/>
                        <a:pt x="12722" y="26539"/>
                      </a:cubicBezTo>
                      <a:cubicBezTo>
                        <a:pt x="5374" y="26289"/>
                        <a:pt x="-356" y="20186"/>
                        <a:pt x="17" y="12837"/>
                      </a:cubicBezTo>
                      <a:cubicBezTo>
                        <a:pt x="267" y="5488"/>
                        <a:pt x="6494" y="-241"/>
                        <a:pt x="13844" y="8"/>
                      </a:cubicBezTo>
                      <a:cubicBezTo>
                        <a:pt x="21192" y="257"/>
                        <a:pt x="26922" y="6360"/>
                        <a:pt x="26548" y="1370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2" name="Freeform 5136">
                  <a:extLst>
                    <a:ext uri="{FF2B5EF4-FFF2-40B4-BE49-F238E27FC236}">
                      <a16:creationId xmlns:a16="http://schemas.microsoft.com/office/drawing/2014/main" id="{09093D11-539F-2B03-ED54-B7BCAF822FA9}"/>
                    </a:ext>
                  </a:extLst>
                </p:cNvPr>
                <p:cNvSpPr/>
                <p:nvPr/>
              </p:nvSpPr>
              <p:spPr>
                <a:xfrm>
                  <a:off x="8789885" y="5634316"/>
                  <a:ext cx="2890" cy="52065"/>
                </a:xfrm>
                <a:custGeom>
                  <a:avLst/>
                  <a:gdLst>
                    <a:gd name="connsiteX0" fmla="*/ 26 w 2890"/>
                    <a:gd name="connsiteY0" fmla="*/ 52065 h 52065"/>
                    <a:gd name="connsiteX1" fmla="*/ 2765 w 2890"/>
                    <a:gd name="connsiteY1" fmla="*/ 33506 h 52065"/>
                    <a:gd name="connsiteX2" fmla="*/ 26 w 2890"/>
                    <a:gd name="connsiteY2" fmla="*/ 16317 h 52065"/>
                    <a:gd name="connsiteX3" fmla="*/ 2890 w 2890"/>
                    <a:gd name="connsiteY3" fmla="*/ 0 h 52065"/>
                  </a:gdLst>
                  <a:ahLst/>
                  <a:cxnLst>
                    <a:cxn ang="0">
                      <a:pos x="connsiteX0" y="connsiteY0"/>
                    </a:cxn>
                    <a:cxn ang="0">
                      <a:pos x="connsiteX1" y="connsiteY1"/>
                    </a:cxn>
                    <a:cxn ang="0">
                      <a:pos x="connsiteX2" y="connsiteY2"/>
                    </a:cxn>
                    <a:cxn ang="0">
                      <a:pos x="connsiteX3" y="connsiteY3"/>
                    </a:cxn>
                  </a:cxnLst>
                  <a:rect l="l" t="t" r="r" b="b"/>
                  <a:pathLst>
                    <a:path w="2890" h="52065">
                      <a:moveTo>
                        <a:pt x="26" y="52065"/>
                      </a:moveTo>
                      <a:cubicBezTo>
                        <a:pt x="2765" y="44093"/>
                        <a:pt x="3015" y="37741"/>
                        <a:pt x="2765" y="33506"/>
                      </a:cubicBezTo>
                      <a:cubicBezTo>
                        <a:pt x="2268" y="26530"/>
                        <a:pt x="275" y="23417"/>
                        <a:pt x="26" y="16317"/>
                      </a:cubicBezTo>
                      <a:cubicBezTo>
                        <a:pt x="-224" y="9466"/>
                        <a:pt x="1396" y="3737"/>
                        <a:pt x="28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3" name="Freeform 5137">
                  <a:extLst>
                    <a:ext uri="{FF2B5EF4-FFF2-40B4-BE49-F238E27FC236}">
                      <a16:creationId xmlns:a16="http://schemas.microsoft.com/office/drawing/2014/main" id="{B03EA861-D927-A523-8ED0-AF6F6DDD48E3}"/>
                    </a:ext>
                  </a:extLst>
                </p:cNvPr>
                <p:cNvSpPr/>
                <p:nvPr/>
              </p:nvSpPr>
              <p:spPr>
                <a:xfrm>
                  <a:off x="8781074" y="5639049"/>
                  <a:ext cx="4792" cy="52189"/>
                </a:xfrm>
                <a:custGeom>
                  <a:avLst/>
                  <a:gdLst>
                    <a:gd name="connsiteX0" fmla="*/ 3107 w 4792"/>
                    <a:gd name="connsiteY0" fmla="*/ 0 h 52189"/>
                    <a:gd name="connsiteX1" fmla="*/ 4353 w 4792"/>
                    <a:gd name="connsiteY1" fmla="*/ 18808 h 52189"/>
                    <a:gd name="connsiteX2" fmla="*/ 242 w 4792"/>
                    <a:gd name="connsiteY2" fmla="*/ 35748 h 52189"/>
                    <a:gd name="connsiteX3" fmla="*/ 1737 w 4792"/>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792" h="52189">
                      <a:moveTo>
                        <a:pt x="3107" y="0"/>
                      </a:moveTo>
                      <a:cubicBezTo>
                        <a:pt x="5225" y="8097"/>
                        <a:pt x="4975" y="14449"/>
                        <a:pt x="4353" y="18808"/>
                      </a:cubicBezTo>
                      <a:cubicBezTo>
                        <a:pt x="3231" y="25784"/>
                        <a:pt x="989" y="28648"/>
                        <a:pt x="242" y="35748"/>
                      </a:cubicBezTo>
                      <a:cubicBezTo>
                        <a:pt x="-505" y="42599"/>
                        <a:pt x="616" y="48328"/>
                        <a:pt x="1737"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14" name="Freeform 5138">
                  <a:extLst>
                    <a:ext uri="{FF2B5EF4-FFF2-40B4-BE49-F238E27FC236}">
                      <a16:creationId xmlns:a16="http://schemas.microsoft.com/office/drawing/2014/main" id="{6E618F1A-FD82-0CAB-B884-E36CF3520D45}"/>
                    </a:ext>
                  </a:extLst>
                </p:cNvPr>
                <p:cNvSpPr/>
                <p:nvPr/>
              </p:nvSpPr>
              <p:spPr>
                <a:xfrm>
                  <a:off x="8772838" y="5680021"/>
                  <a:ext cx="26306" cy="26546"/>
                </a:xfrm>
                <a:custGeom>
                  <a:avLst/>
                  <a:gdLst>
                    <a:gd name="connsiteX0" fmla="*/ 8 w 26306"/>
                    <a:gd name="connsiteY0" fmla="*/ 12837 h 26546"/>
                    <a:gd name="connsiteX1" fmla="*/ 13709 w 26306"/>
                    <a:gd name="connsiteY1" fmla="*/ 8 h 26546"/>
                    <a:gd name="connsiteX2" fmla="*/ 26289 w 26306"/>
                    <a:gd name="connsiteY2" fmla="*/ 13709 h 26546"/>
                    <a:gd name="connsiteX3" fmla="*/ 12588 w 26306"/>
                    <a:gd name="connsiteY3" fmla="*/ 26539 h 26546"/>
                    <a:gd name="connsiteX4" fmla="*/ 8 w 26306"/>
                    <a:gd name="connsiteY4" fmla="*/ 12837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45">
                      <a:moveTo>
                        <a:pt x="8" y="12837"/>
                      </a:moveTo>
                      <a:cubicBezTo>
                        <a:pt x="257" y="5488"/>
                        <a:pt x="6485" y="-241"/>
                        <a:pt x="13709" y="8"/>
                      </a:cubicBezTo>
                      <a:cubicBezTo>
                        <a:pt x="20934" y="257"/>
                        <a:pt x="26664" y="6360"/>
                        <a:pt x="26289" y="13709"/>
                      </a:cubicBezTo>
                      <a:cubicBezTo>
                        <a:pt x="25916" y="21058"/>
                        <a:pt x="19812" y="26788"/>
                        <a:pt x="12588" y="26539"/>
                      </a:cubicBezTo>
                      <a:cubicBezTo>
                        <a:pt x="5364" y="26290"/>
                        <a:pt x="-241" y="20186"/>
                        <a:pt x="8" y="128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6" name="Graphic 2987">
                <a:extLst>
                  <a:ext uri="{FF2B5EF4-FFF2-40B4-BE49-F238E27FC236}">
                    <a16:creationId xmlns:a16="http://schemas.microsoft.com/office/drawing/2014/main" id="{91CA2166-D82E-D059-D814-D2152E4DB102}"/>
                  </a:ext>
                </a:extLst>
              </p:cNvPr>
              <p:cNvGrpSpPr/>
              <p:nvPr/>
            </p:nvGrpSpPr>
            <p:grpSpPr>
              <a:xfrm>
                <a:off x="8802233" y="5558941"/>
                <a:ext cx="31912" cy="148881"/>
                <a:chOff x="8802233" y="5558941"/>
                <a:chExt cx="31912" cy="148881"/>
              </a:xfrm>
              <a:grpFill/>
            </p:grpSpPr>
            <p:sp>
              <p:nvSpPr>
                <p:cNvPr id="4403" name="Freeform 5140">
                  <a:extLst>
                    <a:ext uri="{FF2B5EF4-FFF2-40B4-BE49-F238E27FC236}">
                      <a16:creationId xmlns:a16="http://schemas.microsoft.com/office/drawing/2014/main" id="{ABAC211A-6806-A882-8425-5012CE1E4C18}"/>
                    </a:ext>
                  </a:extLst>
                </p:cNvPr>
                <p:cNvSpPr/>
                <p:nvPr/>
              </p:nvSpPr>
              <p:spPr>
                <a:xfrm>
                  <a:off x="8813825" y="5579137"/>
                  <a:ext cx="2989" cy="51940"/>
                </a:xfrm>
                <a:custGeom>
                  <a:avLst/>
                  <a:gdLst>
                    <a:gd name="connsiteX0" fmla="*/ 2989 w 2989"/>
                    <a:gd name="connsiteY0" fmla="*/ 0 h 51940"/>
                    <a:gd name="connsiteX1" fmla="*/ 249 w 2989"/>
                    <a:gd name="connsiteY1" fmla="*/ 18559 h 51940"/>
                    <a:gd name="connsiteX2" fmla="*/ 2865 w 2989"/>
                    <a:gd name="connsiteY2" fmla="*/ 35748 h 51940"/>
                    <a:gd name="connsiteX3" fmla="*/ 0 w 298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2989" h="51940">
                      <a:moveTo>
                        <a:pt x="2989" y="0"/>
                      </a:moveTo>
                      <a:cubicBezTo>
                        <a:pt x="125" y="7972"/>
                        <a:pt x="-125" y="14200"/>
                        <a:pt x="249" y="18559"/>
                      </a:cubicBezTo>
                      <a:cubicBezTo>
                        <a:pt x="747" y="25535"/>
                        <a:pt x="2741" y="28648"/>
                        <a:pt x="2865" y="35748"/>
                      </a:cubicBezTo>
                      <a:cubicBezTo>
                        <a:pt x="3114"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4" name="Freeform 5141">
                  <a:extLst>
                    <a:ext uri="{FF2B5EF4-FFF2-40B4-BE49-F238E27FC236}">
                      <a16:creationId xmlns:a16="http://schemas.microsoft.com/office/drawing/2014/main" id="{1520F97D-4FA8-9AC0-1B43-8192F350E985}"/>
                    </a:ext>
                  </a:extLst>
                </p:cNvPr>
                <p:cNvSpPr/>
                <p:nvPr/>
              </p:nvSpPr>
              <p:spPr>
                <a:xfrm>
                  <a:off x="8820884" y="5574404"/>
                  <a:ext cx="5016" cy="52189"/>
                </a:xfrm>
                <a:custGeom>
                  <a:avLst/>
                  <a:gdLst>
                    <a:gd name="connsiteX0" fmla="*/ 1661 w 5016"/>
                    <a:gd name="connsiteY0" fmla="*/ 52190 h 52189"/>
                    <a:gd name="connsiteX1" fmla="*/ 539 w 5016"/>
                    <a:gd name="connsiteY1" fmla="*/ 33382 h 52189"/>
                    <a:gd name="connsiteX2" fmla="*/ 4775 w 5016"/>
                    <a:gd name="connsiteY2" fmla="*/ 16442 h 52189"/>
                    <a:gd name="connsiteX3" fmla="*/ 3280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61" y="52190"/>
                      </a:moveTo>
                      <a:cubicBezTo>
                        <a:pt x="-457" y="44094"/>
                        <a:pt x="-208" y="37741"/>
                        <a:pt x="539" y="33382"/>
                      </a:cubicBezTo>
                      <a:cubicBezTo>
                        <a:pt x="1661" y="26407"/>
                        <a:pt x="3903" y="23542"/>
                        <a:pt x="4775" y="16442"/>
                      </a:cubicBezTo>
                      <a:cubicBezTo>
                        <a:pt x="5522" y="9591"/>
                        <a:pt x="4401" y="3737"/>
                        <a:pt x="32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5" name="Freeform 5142">
                  <a:extLst>
                    <a:ext uri="{FF2B5EF4-FFF2-40B4-BE49-F238E27FC236}">
                      <a16:creationId xmlns:a16="http://schemas.microsoft.com/office/drawing/2014/main" id="{6030E643-3023-F5CD-CB14-B2E4442566E6}"/>
                    </a:ext>
                  </a:extLst>
                </p:cNvPr>
                <p:cNvSpPr/>
                <p:nvPr/>
              </p:nvSpPr>
              <p:spPr>
                <a:xfrm>
                  <a:off x="8807580" y="5558941"/>
                  <a:ext cx="26565" cy="26566"/>
                </a:xfrm>
                <a:custGeom>
                  <a:avLst/>
                  <a:gdLst>
                    <a:gd name="connsiteX0" fmla="*/ 26548 w 26565"/>
                    <a:gd name="connsiteY0" fmla="*/ 13968 h 26566"/>
                    <a:gd name="connsiteX1" fmla="*/ 12722 w 26565"/>
                    <a:gd name="connsiteY1" fmla="*/ 26548 h 26566"/>
                    <a:gd name="connsiteX2" fmla="*/ 17 w 26565"/>
                    <a:gd name="connsiteY2" fmla="*/ 12598 h 26566"/>
                    <a:gd name="connsiteX3" fmla="*/ 13843 w 26565"/>
                    <a:gd name="connsiteY3" fmla="*/ 18 h 26566"/>
                    <a:gd name="connsiteX4" fmla="*/ 26548 w 26565"/>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 h="26566">
                      <a:moveTo>
                        <a:pt x="26548" y="13968"/>
                      </a:moveTo>
                      <a:cubicBezTo>
                        <a:pt x="26175" y="21317"/>
                        <a:pt x="19947" y="26922"/>
                        <a:pt x="12722" y="26548"/>
                      </a:cubicBezTo>
                      <a:cubicBezTo>
                        <a:pt x="5373" y="26175"/>
                        <a:pt x="-356" y="19947"/>
                        <a:pt x="17" y="12598"/>
                      </a:cubicBezTo>
                      <a:cubicBezTo>
                        <a:pt x="267" y="5249"/>
                        <a:pt x="6494" y="-356"/>
                        <a:pt x="13843" y="18"/>
                      </a:cubicBezTo>
                      <a:cubicBezTo>
                        <a:pt x="21192" y="516"/>
                        <a:pt x="26922" y="6744"/>
                        <a:pt x="26548"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6" name="Freeform 5143">
                  <a:extLst>
                    <a:ext uri="{FF2B5EF4-FFF2-40B4-BE49-F238E27FC236}">
                      <a16:creationId xmlns:a16="http://schemas.microsoft.com/office/drawing/2014/main" id="{C8663BC4-D507-BE1C-81E6-AE5545331FDB}"/>
                    </a:ext>
                  </a:extLst>
                </p:cNvPr>
                <p:cNvSpPr/>
                <p:nvPr/>
              </p:nvSpPr>
              <p:spPr>
                <a:xfrm>
                  <a:off x="8819306" y="5635686"/>
                  <a:ext cx="2989" cy="51940"/>
                </a:xfrm>
                <a:custGeom>
                  <a:avLst/>
                  <a:gdLst>
                    <a:gd name="connsiteX0" fmla="*/ 0 w 2989"/>
                    <a:gd name="connsiteY0" fmla="*/ 51941 h 51940"/>
                    <a:gd name="connsiteX1" fmla="*/ 2741 w 2989"/>
                    <a:gd name="connsiteY1" fmla="*/ 33381 h 51940"/>
                    <a:gd name="connsiteX2" fmla="*/ 125 w 2989"/>
                    <a:gd name="connsiteY2" fmla="*/ 16192 h 51940"/>
                    <a:gd name="connsiteX3" fmla="*/ 2989 w 2989"/>
                    <a:gd name="connsiteY3" fmla="*/ 0 h 51940"/>
                  </a:gdLst>
                  <a:ahLst/>
                  <a:cxnLst>
                    <a:cxn ang="0">
                      <a:pos x="connsiteX0" y="connsiteY0"/>
                    </a:cxn>
                    <a:cxn ang="0">
                      <a:pos x="connsiteX1" y="connsiteY1"/>
                    </a:cxn>
                    <a:cxn ang="0">
                      <a:pos x="connsiteX2" y="connsiteY2"/>
                    </a:cxn>
                    <a:cxn ang="0">
                      <a:pos x="connsiteX3" y="connsiteY3"/>
                    </a:cxn>
                  </a:cxnLst>
                  <a:rect l="l" t="t" r="r" b="b"/>
                  <a:pathLst>
                    <a:path w="2989" h="51940">
                      <a:moveTo>
                        <a:pt x="0" y="51941"/>
                      </a:moveTo>
                      <a:cubicBezTo>
                        <a:pt x="2865" y="43969"/>
                        <a:pt x="3114" y="37741"/>
                        <a:pt x="2741" y="33381"/>
                      </a:cubicBezTo>
                      <a:cubicBezTo>
                        <a:pt x="2242" y="26406"/>
                        <a:pt x="249" y="23292"/>
                        <a:pt x="125" y="16192"/>
                      </a:cubicBezTo>
                      <a:cubicBezTo>
                        <a:pt x="0" y="9342"/>
                        <a:pt x="1619" y="3612"/>
                        <a:pt x="29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7" name="Freeform 5144">
                  <a:extLst>
                    <a:ext uri="{FF2B5EF4-FFF2-40B4-BE49-F238E27FC236}">
                      <a16:creationId xmlns:a16="http://schemas.microsoft.com/office/drawing/2014/main" id="{5A539302-4B76-A6C0-80E8-53579FAA0D84}"/>
                    </a:ext>
                  </a:extLst>
                </p:cNvPr>
                <p:cNvSpPr/>
                <p:nvPr/>
              </p:nvSpPr>
              <p:spPr>
                <a:xfrm>
                  <a:off x="8810468" y="5640170"/>
                  <a:ext cx="4893" cy="52189"/>
                </a:xfrm>
                <a:custGeom>
                  <a:avLst/>
                  <a:gdLst>
                    <a:gd name="connsiteX0" fmla="*/ 3233 w 4893"/>
                    <a:gd name="connsiteY0" fmla="*/ 0 h 52189"/>
                    <a:gd name="connsiteX1" fmla="*/ 4354 w 4893"/>
                    <a:gd name="connsiteY1" fmla="*/ 18808 h 52189"/>
                    <a:gd name="connsiteX2" fmla="*/ 243 w 4893"/>
                    <a:gd name="connsiteY2" fmla="*/ 35748 h 52189"/>
                    <a:gd name="connsiteX3" fmla="*/ 1613 w 4893"/>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893" h="52189">
                      <a:moveTo>
                        <a:pt x="3233" y="0"/>
                      </a:moveTo>
                      <a:cubicBezTo>
                        <a:pt x="5351" y="8097"/>
                        <a:pt x="5101" y="14449"/>
                        <a:pt x="4354" y="18808"/>
                      </a:cubicBezTo>
                      <a:cubicBezTo>
                        <a:pt x="3233" y="25784"/>
                        <a:pt x="991" y="28648"/>
                        <a:pt x="243" y="35748"/>
                      </a:cubicBezTo>
                      <a:cubicBezTo>
                        <a:pt x="-504" y="42599"/>
                        <a:pt x="617" y="48453"/>
                        <a:pt x="1613"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8" name="Freeform 5145">
                  <a:extLst>
                    <a:ext uri="{FF2B5EF4-FFF2-40B4-BE49-F238E27FC236}">
                      <a16:creationId xmlns:a16="http://schemas.microsoft.com/office/drawing/2014/main" id="{CB5067EE-4C56-5410-DD2B-71F546DFBCE6}"/>
                    </a:ext>
                  </a:extLst>
                </p:cNvPr>
                <p:cNvSpPr/>
                <p:nvPr/>
              </p:nvSpPr>
              <p:spPr>
                <a:xfrm>
                  <a:off x="8802233" y="5681257"/>
                  <a:ext cx="26306" cy="26566"/>
                </a:xfrm>
                <a:custGeom>
                  <a:avLst/>
                  <a:gdLst>
                    <a:gd name="connsiteX0" fmla="*/ 8 w 26306"/>
                    <a:gd name="connsiteY0" fmla="*/ 12598 h 26566"/>
                    <a:gd name="connsiteX1" fmla="*/ 13710 w 26306"/>
                    <a:gd name="connsiteY1" fmla="*/ 18 h 26566"/>
                    <a:gd name="connsiteX2" fmla="*/ 26289 w 26306"/>
                    <a:gd name="connsiteY2" fmla="*/ 13968 h 26566"/>
                    <a:gd name="connsiteX3" fmla="*/ 12588 w 26306"/>
                    <a:gd name="connsiteY3" fmla="*/ 26548 h 26566"/>
                    <a:gd name="connsiteX4" fmla="*/ 8 w 2630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6" h="26566">
                      <a:moveTo>
                        <a:pt x="8" y="12598"/>
                      </a:moveTo>
                      <a:cubicBezTo>
                        <a:pt x="257" y="5249"/>
                        <a:pt x="6485" y="-356"/>
                        <a:pt x="13710" y="18"/>
                      </a:cubicBezTo>
                      <a:cubicBezTo>
                        <a:pt x="20934" y="391"/>
                        <a:pt x="26664" y="6619"/>
                        <a:pt x="26289" y="13968"/>
                      </a:cubicBezTo>
                      <a:cubicBezTo>
                        <a:pt x="25916" y="21317"/>
                        <a:pt x="19813" y="26922"/>
                        <a:pt x="12588" y="26548"/>
                      </a:cubicBezTo>
                      <a:cubicBezTo>
                        <a:pt x="5364" y="26175"/>
                        <a:pt x="-241"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7" name="Graphic 2987">
                <a:extLst>
                  <a:ext uri="{FF2B5EF4-FFF2-40B4-BE49-F238E27FC236}">
                    <a16:creationId xmlns:a16="http://schemas.microsoft.com/office/drawing/2014/main" id="{E98C13A4-B60F-4694-8B59-9F6AD8B00E5A}"/>
                  </a:ext>
                </a:extLst>
              </p:cNvPr>
              <p:cNvGrpSpPr/>
              <p:nvPr/>
            </p:nvGrpSpPr>
            <p:grpSpPr>
              <a:xfrm>
                <a:off x="8831629" y="5560435"/>
                <a:ext cx="32286" cy="148881"/>
                <a:chOff x="8831629" y="5560435"/>
                <a:chExt cx="32286" cy="148881"/>
              </a:xfrm>
              <a:grpFill/>
            </p:grpSpPr>
            <p:sp>
              <p:nvSpPr>
                <p:cNvPr id="4397" name="Freeform 5147">
                  <a:extLst>
                    <a:ext uri="{FF2B5EF4-FFF2-40B4-BE49-F238E27FC236}">
                      <a16:creationId xmlns:a16="http://schemas.microsoft.com/office/drawing/2014/main" id="{5A78B99E-F547-4302-F5DE-DDAF27150151}"/>
                    </a:ext>
                  </a:extLst>
                </p:cNvPr>
                <p:cNvSpPr/>
                <p:nvPr/>
              </p:nvSpPr>
              <p:spPr>
                <a:xfrm>
                  <a:off x="8843470" y="5580631"/>
                  <a:ext cx="3113" cy="51940"/>
                </a:xfrm>
                <a:custGeom>
                  <a:avLst/>
                  <a:gdLst>
                    <a:gd name="connsiteX0" fmla="*/ 3114 w 3113"/>
                    <a:gd name="connsiteY0" fmla="*/ 0 h 51940"/>
                    <a:gd name="connsiteX1" fmla="*/ 249 w 3113"/>
                    <a:gd name="connsiteY1" fmla="*/ 18559 h 51940"/>
                    <a:gd name="connsiteX2" fmla="*/ 2865 w 3113"/>
                    <a:gd name="connsiteY2" fmla="*/ 35748 h 51940"/>
                    <a:gd name="connsiteX3" fmla="*/ 0 w 3113"/>
                    <a:gd name="connsiteY3" fmla="*/ 51941 h 51940"/>
                  </a:gdLst>
                  <a:ahLst/>
                  <a:cxnLst>
                    <a:cxn ang="0">
                      <a:pos x="connsiteX0" y="connsiteY0"/>
                    </a:cxn>
                    <a:cxn ang="0">
                      <a:pos x="connsiteX1" y="connsiteY1"/>
                    </a:cxn>
                    <a:cxn ang="0">
                      <a:pos x="connsiteX2" y="connsiteY2"/>
                    </a:cxn>
                    <a:cxn ang="0">
                      <a:pos x="connsiteX3" y="connsiteY3"/>
                    </a:cxn>
                  </a:cxnLst>
                  <a:rect l="l" t="t" r="r" b="b"/>
                  <a:pathLst>
                    <a:path w="3113" h="51940">
                      <a:moveTo>
                        <a:pt x="3114" y="0"/>
                      </a:moveTo>
                      <a:cubicBezTo>
                        <a:pt x="249" y="7847"/>
                        <a:pt x="0" y="14200"/>
                        <a:pt x="249" y="18559"/>
                      </a:cubicBezTo>
                      <a:cubicBezTo>
                        <a:pt x="747" y="25535"/>
                        <a:pt x="2741" y="28648"/>
                        <a:pt x="2865" y="35748"/>
                      </a:cubicBezTo>
                      <a:cubicBezTo>
                        <a:pt x="2989" y="42599"/>
                        <a:pt x="1370" y="48328"/>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8" name="Freeform 5148">
                  <a:extLst>
                    <a:ext uri="{FF2B5EF4-FFF2-40B4-BE49-F238E27FC236}">
                      <a16:creationId xmlns:a16="http://schemas.microsoft.com/office/drawing/2014/main" id="{D0159E0E-A579-1A78-3CE0-381812D7B9E2}"/>
                    </a:ext>
                  </a:extLst>
                </p:cNvPr>
                <p:cNvSpPr/>
                <p:nvPr/>
              </p:nvSpPr>
              <p:spPr>
                <a:xfrm>
                  <a:off x="8850456" y="5575899"/>
                  <a:ext cx="5016" cy="52189"/>
                </a:xfrm>
                <a:custGeom>
                  <a:avLst/>
                  <a:gdLst>
                    <a:gd name="connsiteX0" fmla="*/ 1608 w 5016"/>
                    <a:gd name="connsiteY0" fmla="*/ 52190 h 52189"/>
                    <a:gd name="connsiteX1" fmla="*/ 487 w 5016"/>
                    <a:gd name="connsiteY1" fmla="*/ 33381 h 52189"/>
                    <a:gd name="connsiteX2" fmla="*/ 4722 w 5016"/>
                    <a:gd name="connsiteY2" fmla="*/ 16441 h 52189"/>
                    <a:gd name="connsiteX3" fmla="*/ 3352 w 5016"/>
                    <a:gd name="connsiteY3" fmla="*/ 0 h 52189"/>
                  </a:gdLst>
                  <a:ahLst/>
                  <a:cxnLst>
                    <a:cxn ang="0">
                      <a:pos x="connsiteX0" y="connsiteY0"/>
                    </a:cxn>
                    <a:cxn ang="0">
                      <a:pos x="connsiteX1" y="connsiteY1"/>
                    </a:cxn>
                    <a:cxn ang="0">
                      <a:pos x="connsiteX2" y="connsiteY2"/>
                    </a:cxn>
                    <a:cxn ang="0">
                      <a:pos x="connsiteX3" y="connsiteY3"/>
                    </a:cxn>
                  </a:cxnLst>
                  <a:rect l="l" t="t" r="r" b="b"/>
                  <a:pathLst>
                    <a:path w="5016" h="52189">
                      <a:moveTo>
                        <a:pt x="1608" y="52190"/>
                      </a:moveTo>
                      <a:cubicBezTo>
                        <a:pt x="-509" y="44093"/>
                        <a:pt x="-136" y="37741"/>
                        <a:pt x="487" y="33381"/>
                      </a:cubicBezTo>
                      <a:cubicBezTo>
                        <a:pt x="1608" y="26530"/>
                        <a:pt x="3850" y="23541"/>
                        <a:pt x="4722" y="16441"/>
                      </a:cubicBezTo>
                      <a:cubicBezTo>
                        <a:pt x="5594" y="9591"/>
                        <a:pt x="4349" y="3737"/>
                        <a:pt x="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9" name="Freeform 5149">
                  <a:extLst>
                    <a:ext uri="{FF2B5EF4-FFF2-40B4-BE49-F238E27FC236}">
                      <a16:creationId xmlns:a16="http://schemas.microsoft.com/office/drawing/2014/main" id="{94D007CA-DB7F-D39B-5788-217C3EDA37B3}"/>
                    </a:ext>
                  </a:extLst>
                </p:cNvPr>
                <p:cNvSpPr/>
                <p:nvPr/>
              </p:nvSpPr>
              <p:spPr>
                <a:xfrm>
                  <a:off x="8837234" y="5560435"/>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257" y="5249"/>
                        <a:pt x="6610" y="-356"/>
                        <a:pt x="13958" y="18"/>
                      </a:cubicBezTo>
                      <a:cubicBezTo>
                        <a:pt x="21308" y="516"/>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0" name="Freeform 5150">
                  <a:extLst>
                    <a:ext uri="{FF2B5EF4-FFF2-40B4-BE49-F238E27FC236}">
                      <a16:creationId xmlns:a16="http://schemas.microsoft.com/office/drawing/2014/main" id="{5AF82F3A-7AE4-DAFE-5836-2AD6A8E3CD64}"/>
                    </a:ext>
                  </a:extLst>
                </p:cNvPr>
                <p:cNvSpPr/>
                <p:nvPr/>
              </p:nvSpPr>
              <p:spPr>
                <a:xfrm>
                  <a:off x="8848701" y="5637181"/>
                  <a:ext cx="3113" cy="51940"/>
                </a:xfrm>
                <a:custGeom>
                  <a:avLst/>
                  <a:gdLst>
                    <a:gd name="connsiteX0" fmla="*/ 0 w 3113"/>
                    <a:gd name="connsiteY0" fmla="*/ 51941 h 51940"/>
                    <a:gd name="connsiteX1" fmla="*/ 2865 w 3113"/>
                    <a:gd name="connsiteY1" fmla="*/ 33381 h 51940"/>
                    <a:gd name="connsiteX2" fmla="*/ 249 w 3113"/>
                    <a:gd name="connsiteY2" fmla="*/ 16193 h 51940"/>
                    <a:gd name="connsiteX3" fmla="*/ 3114 w 3113"/>
                    <a:gd name="connsiteY3" fmla="*/ 0 h 51940"/>
                  </a:gdLst>
                  <a:ahLst/>
                  <a:cxnLst>
                    <a:cxn ang="0">
                      <a:pos x="connsiteX0" y="connsiteY0"/>
                    </a:cxn>
                    <a:cxn ang="0">
                      <a:pos x="connsiteX1" y="connsiteY1"/>
                    </a:cxn>
                    <a:cxn ang="0">
                      <a:pos x="connsiteX2" y="connsiteY2"/>
                    </a:cxn>
                    <a:cxn ang="0">
                      <a:pos x="connsiteX3" y="connsiteY3"/>
                    </a:cxn>
                  </a:cxnLst>
                  <a:rect l="l" t="t" r="r" b="b"/>
                  <a:pathLst>
                    <a:path w="3113" h="51940">
                      <a:moveTo>
                        <a:pt x="0" y="51941"/>
                      </a:moveTo>
                      <a:cubicBezTo>
                        <a:pt x="2865" y="43969"/>
                        <a:pt x="3114" y="37741"/>
                        <a:pt x="2865" y="33381"/>
                      </a:cubicBezTo>
                      <a:cubicBezTo>
                        <a:pt x="2367" y="26406"/>
                        <a:pt x="499" y="23292"/>
                        <a:pt x="249" y="16193"/>
                      </a:cubicBezTo>
                      <a:cubicBezTo>
                        <a:pt x="125" y="9342"/>
                        <a:pt x="1744" y="3612"/>
                        <a:pt x="31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1" name="Freeform 5151">
                  <a:extLst>
                    <a:ext uri="{FF2B5EF4-FFF2-40B4-BE49-F238E27FC236}">
                      <a16:creationId xmlns:a16="http://schemas.microsoft.com/office/drawing/2014/main" id="{F8FBF0E4-72AF-4BB3-1A5B-5E5955E5E78F}"/>
                    </a:ext>
                  </a:extLst>
                </p:cNvPr>
                <p:cNvSpPr/>
                <p:nvPr/>
              </p:nvSpPr>
              <p:spPr>
                <a:xfrm>
                  <a:off x="8839863" y="5641665"/>
                  <a:ext cx="4965" cy="52189"/>
                </a:xfrm>
                <a:custGeom>
                  <a:avLst/>
                  <a:gdLst>
                    <a:gd name="connsiteX0" fmla="*/ 3357 w 4965"/>
                    <a:gd name="connsiteY0" fmla="*/ 0 h 52189"/>
                    <a:gd name="connsiteX1" fmla="*/ 4479 w 4965"/>
                    <a:gd name="connsiteY1" fmla="*/ 18808 h 52189"/>
                    <a:gd name="connsiteX2" fmla="*/ 243 w 4965"/>
                    <a:gd name="connsiteY2" fmla="*/ 35748 h 52189"/>
                    <a:gd name="connsiteX3" fmla="*/ 1614 w 496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4965" h="52189">
                      <a:moveTo>
                        <a:pt x="3357" y="0"/>
                      </a:moveTo>
                      <a:cubicBezTo>
                        <a:pt x="5475" y="8096"/>
                        <a:pt x="5101" y="14449"/>
                        <a:pt x="4479" y="18808"/>
                      </a:cubicBezTo>
                      <a:cubicBezTo>
                        <a:pt x="3357" y="25659"/>
                        <a:pt x="1115" y="28648"/>
                        <a:pt x="243" y="35748"/>
                      </a:cubicBezTo>
                      <a:cubicBezTo>
                        <a:pt x="-504" y="42599"/>
                        <a:pt x="617" y="48453"/>
                        <a:pt x="1614"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402" name="Freeform 5152">
                  <a:extLst>
                    <a:ext uri="{FF2B5EF4-FFF2-40B4-BE49-F238E27FC236}">
                      <a16:creationId xmlns:a16="http://schemas.microsoft.com/office/drawing/2014/main" id="{B1D70C5A-1E9E-D9FD-65FC-14DD11FEFECD}"/>
                    </a:ext>
                  </a:extLst>
                </p:cNvPr>
                <p:cNvSpPr/>
                <p:nvPr/>
              </p:nvSpPr>
              <p:spPr>
                <a:xfrm>
                  <a:off x="8831629" y="5682751"/>
                  <a:ext cx="26422" cy="26566"/>
                </a:xfrm>
                <a:custGeom>
                  <a:avLst/>
                  <a:gdLst>
                    <a:gd name="connsiteX0" fmla="*/ 8 w 26422"/>
                    <a:gd name="connsiteY0" fmla="*/ 12598 h 26566"/>
                    <a:gd name="connsiteX1" fmla="*/ 13835 w 26422"/>
                    <a:gd name="connsiteY1" fmla="*/ 18 h 26566"/>
                    <a:gd name="connsiteX2" fmla="*/ 26414 w 26422"/>
                    <a:gd name="connsiteY2" fmla="*/ 13968 h 26566"/>
                    <a:gd name="connsiteX3" fmla="*/ 12589 w 26422"/>
                    <a:gd name="connsiteY3" fmla="*/ 26548 h 26566"/>
                    <a:gd name="connsiteX4" fmla="*/ 8 w 26422"/>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22" h="26566">
                      <a:moveTo>
                        <a:pt x="8" y="12598"/>
                      </a:moveTo>
                      <a:cubicBezTo>
                        <a:pt x="382" y="5249"/>
                        <a:pt x="6485" y="-356"/>
                        <a:pt x="13835" y="18"/>
                      </a:cubicBezTo>
                      <a:cubicBezTo>
                        <a:pt x="21058" y="391"/>
                        <a:pt x="26664" y="6619"/>
                        <a:pt x="26414" y="13968"/>
                      </a:cubicBezTo>
                      <a:cubicBezTo>
                        <a:pt x="26041" y="21317"/>
                        <a:pt x="19938" y="26922"/>
                        <a:pt x="12589" y="26548"/>
                      </a:cubicBezTo>
                      <a:cubicBezTo>
                        <a:pt x="5240" y="26175"/>
                        <a:pt x="-240" y="19947"/>
                        <a:pt x="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8" name="Graphic 2987">
                <a:extLst>
                  <a:ext uri="{FF2B5EF4-FFF2-40B4-BE49-F238E27FC236}">
                    <a16:creationId xmlns:a16="http://schemas.microsoft.com/office/drawing/2014/main" id="{27E8C18D-1C39-1D16-F897-20F832977268}"/>
                  </a:ext>
                </a:extLst>
              </p:cNvPr>
              <p:cNvGrpSpPr/>
              <p:nvPr/>
            </p:nvGrpSpPr>
            <p:grpSpPr>
              <a:xfrm>
                <a:off x="8861015" y="5561930"/>
                <a:ext cx="32544" cy="148881"/>
                <a:chOff x="8861015" y="5561930"/>
                <a:chExt cx="32544" cy="148881"/>
              </a:xfrm>
              <a:grpFill/>
            </p:grpSpPr>
            <p:sp>
              <p:nvSpPr>
                <p:cNvPr id="4391" name="Freeform 5154">
                  <a:extLst>
                    <a:ext uri="{FF2B5EF4-FFF2-40B4-BE49-F238E27FC236}">
                      <a16:creationId xmlns:a16="http://schemas.microsoft.com/office/drawing/2014/main" id="{EFFE937D-134E-78D7-71F3-248867FCAB7F}"/>
                    </a:ext>
                  </a:extLst>
                </p:cNvPr>
                <p:cNvSpPr/>
                <p:nvPr/>
              </p:nvSpPr>
              <p:spPr>
                <a:xfrm>
                  <a:off x="8873115" y="5582126"/>
                  <a:ext cx="3238" cy="51940"/>
                </a:xfrm>
                <a:custGeom>
                  <a:avLst/>
                  <a:gdLst>
                    <a:gd name="connsiteX0" fmla="*/ 3239 w 3238"/>
                    <a:gd name="connsiteY0" fmla="*/ 0 h 51940"/>
                    <a:gd name="connsiteX1" fmla="*/ 374 w 3238"/>
                    <a:gd name="connsiteY1" fmla="*/ 18559 h 51940"/>
                    <a:gd name="connsiteX2" fmla="*/ 2989 w 3238"/>
                    <a:gd name="connsiteY2" fmla="*/ 35748 h 51940"/>
                    <a:gd name="connsiteX3" fmla="*/ 0 w 3238"/>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238" h="51940">
                      <a:moveTo>
                        <a:pt x="3239" y="0"/>
                      </a:moveTo>
                      <a:cubicBezTo>
                        <a:pt x="374" y="7847"/>
                        <a:pt x="0" y="14199"/>
                        <a:pt x="374" y="18559"/>
                      </a:cubicBezTo>
                      <a:cubicBezTo>
                        <a:pt x="872" y="25534"/>
                        <a:pt x="2741" y="28648"/>
                        <a:pt x="2989" y="35748"/>
                      </a:cubicBezTo>
                      <a:cubicBezTo>
                        <a:pt x="3114"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2" name="Freeform 5155">
                  <a:extLst>
                    <a:ext uri="{FF2B5EF4-FFF2-40B4-BE49-F238E27FC236}">
                      <a16:creationId xmlns:a16="http://schemas.microsoft.com/office/drawing/2014/main" id="{5E877E12-C15F-9AB0-667E-77D686241943}"/>
                    </a:ext>
                  </a:extLst>
                </p:cNvPr>
                <p:cNvSpPr/>
                <p:nvPr/>
              </p:nvSpPr>
              <p:spPr>
                <a:xfrm>
                  <a:off x="8880124" y="5577393"/>
                  <a:ext cx="5135" cy="52189"/>
                </a:xfrm>
                <a:custGeom>
                  <a:avLst/>
                  <a:gdLst>
                    <a:gd name="connsiteX0" fmla="*/ 1586 w 5135"/>
                    <a:gd name="connsiteY0" fmla="*/ 52190 h 52189"/>
                    <a:gd name="connsiteX1" fmla="*/ 589 w 5135"/>
                    <a:gd name="connsiteY1" fmla="*/ 33381 h 52189"/>
                    <a:gd name="connsiteX2" fmla="*/ 4824 w 5135"/>
                    <a:gd name="connsiteY2" fmla="*/ 16442 h 52189"/>
                    <a:gd name="connsiteX3" fmla="*/ 3454 w 5135"/>
                    <a:gd name="connsiteY3" fmla="*/ 0 h 52189"/>
                  </a:gdLst>
                  <a:ahLst/>
                  <a:cxnLst>
                    <a:cxn ang="0">
                      <a:pos x="connsiteX0" y="connsiteY0"/>
                    </a:cxn>
                    <a:cxn ang="0">
                      <a:pos x="connsiteX1" y="connsiteY1"/>
                    </a:cxn>
                    <a:cxn ang="0">
                      <a:pos x="connsiteX2" y="connsiteY2"/>
                    </a:cxn>
                    <a:cxn ang="0">
                      <a:pos x="connsiteX3" y="connsiteY3"/>
                    </a:cxn>
                  </a:cxnLst>
                  <a:rect l="l" t="t" r="r" b="b"/>
                  <a:pathLst>
                    <a:path w="5135" h="52189">
                      <a:moveTo>
                        <a:pt x="1586" y="52190"/>
                      </a:moveTo>
                      <a:cubicBezTo>
                        <a:pt x="-532" y="44093"/>
                        <a:pt x="-158" y="37741"/>
                        <a:pt x="589" y="33381"/>
                      </a:cubicBezTo>
                      <a:cubicBezTo>
                        <a:pt x="1710" y="26531"/>
                        <a:pt x="3952" y="23541"/>
                        <a:pt x="4824" y="16442"/>
                      </a:cubicBezTo>
                      <a:cubicBezTo>
                        <a:pt x="5696" y="9591"/>
                        <a:pt x="4575" y="3737"/>
                        <a:pt x="34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3" name="Freeform 5156">
                  <a:extLst>
                    <a:ext uri="{FF2B5EF4-FFF2-40B4-BE49-F238E27FC236}">
                      <a16:creationId xmlns:a16="http://schemas.microsoft.com/office/drawing/2014/main" id="{16E42E76-11A2-A6CF-AEE5-CD3B8202C193}"/>
                    </a:ext>
                  </a:extLst>
                </p:cNvPr>
                <p:cNvSpPr/>
                <p:nvPr/>
              </p:nvSpPr>
              <p:spPr>
                <a:xfrm>
                  <a:off x="8866879" y="5561930"/>
                  <a:ext cx="26680" cy="26566"/>
                </a:xfrm>
                <a:custGeom>
                  <a:avLst/>
                  <a:gdLst>
                    <a:gd name="connsiteX0" fmla="*/ 26664 w 26680"/>
                    <a:gd name="connsiteY0" fmla="*/ 13968 h 26566"/>
                    <a:gd name="connsiteX1" fmla="*/ 12713 w 26680"/>
                    <a:gd name="connsiteY1" fmla="*/ 26548 h 26566"/>
                    <a:gd name="connsiteX2" fmla="*/ 8 w 26680"/>
                    <a:gd name="connsiteY2" fmla="*/ 12598 h 26566"/>
                    <a:gd name="connsiteX3" fmla="*/ 13958 w 26680"/>
                    <a:gd name="connsiteY3" fmla="*/ 18 h 26566"/>
                    <a:gd name="connsiteX4" fmla="*/ 26664 w 2668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0" h="26566">
                      <a:moveTo>
                        <a:pt x="26664" y="13968"/>
                      </a:moveTo>
                      <a:cubicBezTo>
                        <a:pt x="26289" y="21317"/>
                        <a:pt x="20062" y="26922"/>
                        <a:pt x="12713" y="26548"/>
                      </a:cubicBezTo>
                      <a:cubicBezTo>
                        <a:pt x="5364" y="26175"/>
                        <a:pt x="-241" y="19947"/>
                        <a:pt x="8" y="12598"/>
                      </a:cubicBezTo>
                      <a:cubicBezTo>
                        <a:pt x="382" y="5249"/>
                        <a:pt x="6610" y="-356"/>
                        <a:pt x="13958" y="18"/>
                      </a:cubicBezTo>
                      <a:cubicBezTo>
                        <a:pt x="21308" y="391"/>
                        <a:pt x="27037" y="6619"/>
                        <a:pt x="26664"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4" name="Freeform 5157">
                  <a:extLst>
                    <a:ext uri="{FF2B5EF4-FFF2-40B4-BE49-F238E27FC236}">
                      <a16:creationId xmlns:a16="http://schemas.microsoft.com/office/drawing/2014/main" id="{3953BE64-4CF6-52AD-5936-9FB8D06D52B2}"/>
                    </a:ext>
                  </a:extLst>
                </p:cNvPr>
                <p:cNvSpPr/>
                <p:nvPr/>
              </p:nvSpPr>
              <p:spPr>
                <a:xfrm>
                  <a:off x="8878097" y="5638675"/>
                  <a:ext cx="3362" cy="51940"/>
                </a:xfrm>
                <a:custGeom>
                  <a:avLst/>
                  <a:gdLst>
                    <a:gd name="connsiteX0" fmla="*/ 0 w 3362"/>
                    <a:gd name="connsiteY0" fmla="*/ 51941 h 51940"/>
                    <a:gd name="connsiteX1" fmla="*/ 2865 w 3362"/>
                    <a:gd name="connsiteY1" fmla="*/ 33382 h 51940"/>
                    <a:gd name="connsiteX2" fmla="*/ 373 w 3362"/>
                    <a:gd name="connsiteY2" fmla="*/ 16193 h 51940"/>
                    <a:gd name="connsiteX3" fmla="*/ 3363 w 3362"/>
                    <a:gd name="connsiteY3" fmla="*/ 0 h 51940"/>
                  </a:gdLst>
                  <a:ahLst/>
                  <a:cxnLst>
                    <a:cxn ang="0">
                      <a:pos x="connsiteX0" y="connsiteY0"/>
                    </a:cxn>
                    <a:cxn ang="0">
                      <a:pos x="connsiteX1" y="connsiteY1"/>
                    </a:cxn>
                    <a:cxn ang="0">
                      <a:pos x="connsiteX2" y="connsiteY2"/>
                    </a:cxn>
                    <a:cxn ang="0">
                      <a:pos x="connsiteX3" y="connsiteY3"/>
                    </a:cxn>
                  </a:cxnLst>
                  <a:rect l="l" t="t" r="r" b="b"/>
                  <a:pathLst>
                    <a:path w="3362" h="51940">
                      <a:moveTo>
                        <a:pt x="0" y="51941"/>
                      </a:moveTo>
                      <a:cubicBezTo>
                        <a:pt x="2865" y="44094"/>
                        <a:pt x="3114" y="37741"/>
                        <a:pt x="2865" y="33382"/>
                      </a:cubicBezTo>
                      <a:cubicBezTo>
                        <a:pt x="2491" y="26406"/>
                        <a:pt x="498" y="23292"/>
                        <a:pt x="373" y="16193"/>
                      </a:cubicBezTo>
                      <a:cubicBezTo>
                        <a:pt x="249" y="9342"/>
                        <a:pt x="1868" y="3612"/>
                        <a:pt x="33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5" name="Freeform 5158">
                  <a:extLst>
                    <a:ext uri="{FF2B5EF4-FFF2-40B4-BE49-F238E27FC236}">
                      <a16:creationId xmlns:a16="http://schemas.microsoft.com/office/drawing/2014/main" id="{22917A5E-12E5-C6C3-6889-B0A082FAFE86}"/>
                    </a:ext>
                  </a:extLst>
                </p:cNvPr>
                <p:cNvSpPr/>
                <p:nvPr/>
              </p:nvSpPr>
              <p:spPr>
                <a:xfrm>
                  <a:off x="8869316" y="5643160"/>
                  <a:ext cx="5135" cy="52189"/>
                </a:xfrm>
                <a:custGeom>
                  <a:avLst/>
                  <a:gdLst>
                    <a:gd name="connsiteX0" fmla="*/ 3549 w 5135"/>
                    <a:gd name="connsiteY0" fmla="*/ 0 h 52189"/>
                    <a:gd name="connsiteX1" fmla="*/ 4546 w 5135"/>
                    <a:gd name="connsiteY1" fmla="*/ 18808 h 52189"/>
                    <a:gd name="connsiteX2" fmla="*/ 312 w 5135"/>
                    <a:gd name="connsiteY2" fmla="*/ 35748 h 52189"/>
                    <a:gd name="connsiteX3" fmla="*/ 1681 w 5135"/>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35" h="52189">
                      <a:moveTo>
                        <a:pt x="3549" y="0"/>
                      </a:moveTo>
                      <a:cubicBezTo>
                        <a:pt x="5667" y="8096"/>
                        <a:pt x="5293" y="14449"/>
                        <a:pt x="4546" y="18808"/>
                      </a:cubicBezTo>
                      <a:cubicBezTo>
                        <a:pt x="3425" y="25659"/>
                        <a:pt x="1183" y="28648"/>
                        <a:pt x="312" y="35748"/>
                      </a:cubicBezTo>
                      <a:cubicBezTo>
                        <a:pt x="-560" y="42599"/>
                        <a:pt x="560" y="48453"/>
                        <a:pt x="1681"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6" name="Freeform 5159">
                  <a:extLst>
                    <a:ext uri="{FF2B5EF4-FFF2-40B4-BE49-F238E27FC236}">
                      <a16:creationId xmlns:a16="http://schemas.microsoft.com/office/drawing/2014/main" id="{7DEFD9A5-6F1F-ED65-363D-BCB64764B778}"/>
                    </a:ext>
                  </a:extLst>
                </p:cNvPr>
                <p:cNvSpPr/>
                <p:nvPr/>
              </p:nvSpPr>
              <p:spPr>
                <a:xfrm>
                  <a:off x="8861015" y="5684246"/>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494" y="-356"/>
                        <a:pt x="13843" y="18"/>
                      </a:cubicBezTo>
                      <a:cubicBezTo>
                        <a:pt x="21068" y="391"/>
                        <a:pt x="26672" y="6619"/>
                        <a:pt x="26299" y="13968"/>
                      </a:cubicBezTo>
                      <a:cubicBezTo>
                        <a:pt x="25925" y="21317"/>
                        <a:pt x="19697"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89" name="Graphic 2987">
                <a:extLst>
                  <a:ext uri="{FF2B5EF4-FFF2-40B4-BE49-F238E27FC236}">
                    <a16:creationId xmlns:a16="http://schemas.microsoft.com/office/drawing/2014/main" id="{279C7CE9-E989-73EA-A895-51CE4CE5AC76}"/>
                  </a:ext>
                </a:extLst>
              </p:cNvPr>
              <p:cNvGrpSpPr/>
              <p:nvPr/>
            </p:nvGrpSpPr>
            <p:grpSpPr>
              <a:xfrm>
                <a:off x="8890411" y="5563425"/>
                <a:ext cx="32918" cy="148881"/>
                <a:chOff x="8890411" y="5563425"/>
                <a:chExt cx="32918" cy="148881"/>
              </a:xfrm>
              <a:grpFill/>
            </p:grpSpPr>
            <p:sp>
              <p:nvSpPr>
                <p:cNvPr id="4385" name="Freeform 5161">
                  <a:extLst>
                    <a:ext uri="{FF2B5EF4-FFF2-40B4-BE49-F238E27FC236}">
                      <a16:creationId xmlns:a16="http://schemas.microsoft.com/office/drawing/2014/main" id="{85999907-28D5-D601-2D32-F26E2C92E845}"/>
                    </a:ext>
                  </a:extLst>
                </p:cNvPr>
                <p:cNvSpPr/>
                <p:nvPr/>
              </p:nvSpPr>
              <p:spPr>
                <a:xfrm>
                  <a:off x="8902510" y="5583621"/>
                  <a:ext cx="3487" cy="51940"/>
                </a:xfrm>
                <a:custGeom>
                  <a:avLst/>
                  <a:gdLst>
                    <a:gd name="connsiteX0" fmla="*/ 3488 w 3487"/>
                    <a:gd name="connsiteY0" fmla="*/ 0 h 51940"/>
                    <a:gd name="connsiteX1" fmla="*/ 499 w 3487"/>
                    <a:gd name="connsiteY1" fmla="*/ 18559 h 51940"/>
                    <a:gd name="connsiteX2" fmla="*/ 2989 w 3487"/>
                    <a:gd name="connsiteY2" fmla="*/ 35748 h 51940"/>
                    <a:gd name="connsiteX3" fmla="*/ 0 w 3487"/>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487" h="51940">
                      <a:moveTo>
                        <a:pt x="3488" y="0"/>
                      </a:moveTo>
                      <a:cubicBezTo>
                        <a:pt x="623" y="7847"/>
                        <a:pt x="249" y="14199"/>
                        <a:pt x="499" y="18559"/>
                      </a:cubicBezTo>
                      <a:cubicBezTo>
                        <a:pt x="872" y="25534"/>
                        <a:pt x="2865" y="28648"/>
                        <a:pt x="2989" y="35748"/>
                      </a:cubicBezTo>
                      <a:cubicBezTo>
                        <a:pt x="3114" y="42599"/>
                        <a:pt x="1371"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6" name="Freeform 5162">
                  <a:extLst>
                    <a:ext uri="{FF2B5EF4-FFF2-40B4-BE49-F238E27FC236}">
                      <a16:creationId xmlns:a16="http://schemas.microsoft.com/office/drawing/2014/main" id="{6AC9EB27-3778-249A-CDC9-93D5E9B0732A}"/>
                    </a:ext>
                  </a:extLst>
                </p:cNvPr>
                <p:cNvSpPr/>
                <p:nvPr/>
              </p:nvSpPr>
              <p:spPr>
                <a:xfrm>
                  <a:off x="8909684" y="5578888"/>
                  <a:ext cx="5222" cy="52189"/>
                </a:xfrm>
                <a:custGeom>
                  <a:avLst/>
                  <a:gdLst>
                    <a:gd name="connsiteX0" fmla="*/ 1546 w 5222"/>
                    <a:gd name="connsiteY0" fmla="*/ 52190 h 52189"/>
                    <a:gd name="connsiteX1" fmla="*/ 549 w 5222"/>
                    <a:gd name="connsiteY1" fmla="*/ 33381 h 52189"/>
                    <a:gd name="connsiteX2" fmla="*/ 4909 w 5222"/>
                    <a:gd name="connsiteY2" fmla="*/ 16442 h 52189"/>
                    <a:gd name="connsiteX3" fmla="*/ 3663 w 5222"/>
                    <a:gd name="connsiteY3" fmla="*/ 0 h 52189"/>
                  </a:gdLst>
                  <a:ahLst/>
                  <a:cxnLst>
                    <a:cxn ang="0">
                      <a:pos x="connsiteX0" y="connsiteY0"/>
                    </a:cxn>
                    <a:cxn ang="0">
                      <a:pos x="connsiteX1" y="connsiteY1"/>
                    </a:cxn>
                    <a:cxn ang="0">
                      <a:pos x="connsiteX2" y="connsiteY2"/>
                    </a:cxn>
                    <a:cxn ang="0">
                      <a:pos x="connsiteX3" y="connsiteY3"/>
                    </a:cxn>
                  </a:cxnLst>
                  <a:rect l="l" t="t" r="r" b="b"/>
                  <a:pathLst>
                    <a:path w="5222" h="52189">
                      <a:moveTo>
                        <a:pt x="1546" y="52190"/>
                      </a:moveTo>
                      <a:cubicBezTo>
                        <a:pt x="-447" y="44094"/>
                        <a:pt x="-198" y="37741"/>
                        <a:pt x="549" y="33381"/>
                      </a:cubicBezTo>
                      <a:cubicBezTo>
                        <a:pt x="1670" y="26531"/>
                        <a:pt x="4037" y="23541"/>
                        <a:pt x="4909" y="16442"/>
                      </a:cubicBezTo>
                      <a:cubicBezTo>
                        <a:pt x="5781" y="9591"/>
                        <a:pt x="4659" y="3737"/>
                        <a:pt x="36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7" name="Freeform 5163">
                  <a:extLst>
                    <a:ext uri="{FF2B5EF4-FFF2-40B4-BE49-F238E27FC236}">
                      <a16:creationId xmlns:a16="http://schemas.microsoft.com/office/drawing/2014/main" id="{04A83A1E-6623-F569-01DE-C5B56D87CCF7}"/>
                    </a:ext>
                  </a:extLst>
                </p:cNvPr>
                <p:cNvSpPr/>
                <p:nvPr/>
              </p:nvSpPr>
              <p:spPr>
                <a:xfrm>
                  <a:off x="8896763" y="5563425"/>
                  <a:ext cx="26566" cy="26565"/>
                </a:xfrm>
                <a:custGeom>
                  <a:avLst/>
                  <a:gdLst>
                    <a:gd name="connsiteX0" fmla="*/ 26549 w 26566"/>
                    <a:gd name="connsiteY0" fmla="*/ 13968 h 26565"/>
                    <a:gd name="connsiteX1" fmla="*/ 12598 w 26566"/>
                    <a:gd name="connsiteY1" fmla="*/ 26548 h 26565"/>
                    <a:gd name="connsiteX2" fmla="*/ 18 w 26566"/>
                    <a:gd name="connsiteY2" fmla="*/ 12598 h 26565"/>
                    <a:gd name="connsiteX3" fmla="*/ 13968 w 26566"/>
                    <a:gd name="connsiteY3" fmla="*/ 18 h 26565"/>
                    <a:gd name="connsiteX4" fmla="*/ 26549 w 26566"/>
                    <a:gd name="connsiteY4" fmla="*/ 1396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6" h="26565">
                      <a:moveTo>
                        <a:pt x="26549" y="13968"/>
                      </a:moveTo>
                      <a:cubicBezTo>
                        <a:pt x="26174" y="21317"/>
                        <a:pt x="19822" y="26922"/>
                        <a:pt x="12598" y="26548"/>
                      </a:cubicBezTo>
                      <a:cubicBezTo>
                        <a:pt x="5249" y="26174"/>
                        <a:pt x="-356" y="19947"/>
                        <a:pt x="18" y="12598"/>
                      </a:cubicBezTo>
                      <a:cubicBezTo>
                        <a:pt x="391" y="5249"/>
                        <a:pt x="6619" y="-356"/>
                        <a:pt x="13968" y="18"/>
                      </a:cubicBezTo>
                      <a:cubicBezTo>
                        <a:pt x="21317" y="391"/>
                        <a:pt x="26922" y="6619"/>
                        <a:pt x="26549"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8" name="Freeform 5164">
                  <a:extLst>
                    <a:ext uri="{FF2B5EF4-FFF2-40B4-BE49-F238E27FC236}">
                      <a16:creationId xmlns:a16="http://schemas.microsoft.com/office/drawing/2014/main" id="{F0CD1649-6000-0D91-0640-3C783F43ABF9}"/>
                    </a:ext>
                  </a:extLst>
                </p:cNvPr>
                <p:cNvSpPr/>
                <p:nvPr/>
              </p:nvSpPr>
              <p:spPr>
                <a:xfrm>
                  <a:off x="8907493" y="5640170"/>
                  <a:ext cx="3487" cy="51940"/>
                </a:xfrm>
                <a:custGeom>
                  <a:avLst/>
                  <a:gdLst>
                    <a:gd name="connsiteX0" fmla="*/ 0 w 3487"/>
                    <a:gd name="connsiteY0" fmla="*/ 51941 h 51940"/>
                    <a:gd name="connsiteX1" fmla="*/ 2989 w 3487"/>
                    <a:gd name="connsiteY1" fmla="*/ 33382 h 51940"/>
                    <a:gd name="connsiteX2" fmla="*/ 498 w 3487"/>
                    <a:gd name="connsiteY2" fmla="*/ 16193 h 51940"/>
                    <a:gd name="connsiteX3" fmla="*/ 3487 w 3487"/>
                    <a:gd name="connsiteY3" fmla="*/ 0 h 51940"/>
                  </a:gdLst>
                  <a:ahLst/>
                  <a:cxnLst>
                    <a:cxn ang="0">
                      <a:pos x="connsiteX0" y="connsiteY0"/>
                    </a:cxn>
                    <a:cxn ang="0">
                      <a:pos x="connsiteX1" y="connsiteY1"/>
                    </a:cxn>
                    <a:cxn ang="0">
                      <a:pos x="connsiteX2" y="connsiteY2"/>
                    </a:cxn>
                    <a:cxn ang="0">
                      <a:pos x="connsiteX3" y="connsiteY3"/>
                    </a:cxn>
                  </a:cxnLst>
                  <a:rect l="l" t="t" r="r" b="b"/>
                  <a:pathLst>
                    <a:path w="3487" h="51940">
                      <a:moveTo>
                        <a:pt x="0" y="51941"/>
                      </a:moveTo>
                      <a:cubicBezTo>
                        <a:pt x="2865" y="44094"/>
                        <a:pt x="3239" y="37741"/>
                        <a:pt x="2989" y="33382"/>
                      </a:cubicBezTo>
                      <a:cubicBezTo>
                        <a:pt x="2616" y="26407"/>
                        <a:pt x="623" y="23293"/>
                        <a:pt x="498" y="16193"/>
                      </a:cubicBezTo>
                      <a:cubicBezTo>
                        <a:pt x="373" y="9342"/>
                        <a:pt x="2117" y="3612"/>
                        <a:pt x="34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9" name="Freeform 5165">
                  <a:extLst>
                    <a:ext uri="{FF2B5EF4-FFF2-40B4-BE49-F238E27FC236}">
                      <a16:creationId xmlns:a16="http://schemas.microsoft.com/office/drawing/2014/main" id="{642BB12E-2930-956F-DE6C-922A6DD0EBA5}"/>
                    </a:ext>
                  </a:extLst>
                </p:cNvPr>
                <p:cNvSpPr/>
                <p:nvPr/>
              </p:nvSpPr>
              <p:spPr>
                <a:xfrm>
                  <a:off x="8898834" y="5644654"/>
                  <a:ext cx="5097" cy="52189"/>
                </a:xfrm>
                <a:custGeom>
                  <a:avLst/>
                  <a:gdLst>
                    <a:gd name="connsiteX0" fmla="*/ 3551 w 5097"/>
                    <a:gd name="connsiteY0" fmla="*/ 0 h 52189"/>
                    <a:gd name="connsiteX1" fmla="*/ 4548 w 5097"/>
                    <a:gd name="connsiteY1" fmla="*/ 18808 h 52189"/>
                    <a:gd name="connsiteX2" fmla="*/ 313 w 5097"/>
                    <a:gd name="connsiteY2" fmla="*/ 35748 h 52189"/>
                    <a:gd name="connsiteX3" fmla="*/ 1559 w 5097"/>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097" h="52189">
                      <a:moveTo>
                        <a:pt x="3551" y="0"/>
                      </a:moveTo>
                      <a:cubicBezTo>
                        <a:pt x="5545" y="8096"/>
                        <a:pt x="5295" y="14449"/>
                        <a:pt x="4548" y="18808"/>
                      </a:cubicBezTo>
                      <a:cubicBezTo>
                        <a:pt x="3427" y="25659"/>
                        <a:pt x="1185" y="28648"/>
                        <a:pt x="313" y="35748"/>
                      </a:cubicBezTo>
                      <a:cubicBezTo>
                        <a:pt x="-559" y="42599"/>
                        <a:pt x="562"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90" name="Freeform 5166">
                  <a:extLst>
                    <a:ext uri="{FF2B5EF4-FFF2-40B4-BE49-F238E27FC236}">
                      <a16:creationId xmlns:a16="http://schemas.microsoft.com/office/drawing/2014/main" id="{9F5BC951-3864-A10E-CBFF-C5BE21E36610}"/>
                    </a:ext>
                  </a:extLst>
                </p:cNvPr>
                <p:cNvSpPr/>
                <p:nvPr/>
              </p:nvSpPr>
              <p:spPr>
                <a:xfrm>
                  <a:off x="8890411" y="5685740"/>
                  <a:ext cx="26316" cy="26566"/>
                </a:xfrm>
                <a:custGeom>
                  <a:avLst/>
                  <a:gdLst>
                    <a:gd name="connsiteX0" fmla="*/ 18 w 26316"/>
                    <a:gd name="connsiteY0" fmla="*/ 12598 h 26566"/>
                    <a:gd name="connsiteX1" fmla="*/ 13843 w 26316"/>
                    <a:gd name="connsiteY1" fmla="*/ 18 h 26566"/>
                    <a:gd name="connsiteX2" fmla="*/ 26299 w 26316"/>
                    <a:gd name="connsiteY2" fmla="*/ 13968 h 26566"/>
                    <a:gd name="connsiteX3" fmla="*/ 12473 w 26316"/>
                    <a:gd name="connsiteY3" fmla="*/ 26548 h 26566"/>
                    <a:gd name="connsiteX4" fmla="*/ 18 w 26316"/>
                    <a:gd name="connsiteY4" fmla="*/ 1259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6" h="26566">
                      <a:moveTo>
                        <a:pt x="18" y="12598"/>
                      </a:moveTo>
                      <a:cubicBezTo>
                        <a:pt x="391" y="5249"/>
                        <a:pt x="6619" y="-356"/>
                        <a:pt x="13843" y="18"/>
                      </a:cubicBezTo>
                      <a:cubicBezTo>
                        <a:pt x="21068" y="391"/>
                        <a:pt x="26673" y="6619"/>
                        <a:pt x="26299" y="13968"/>
                      </a:cubicBezTo>
                      <a:cubicBezTo>
                        <a:pt x="25926" y="21317"/>
                        <a:pt x="19698" y="26922"/>
                        <a:pt x="12473" y="26548"/>
                      </a:cubicBezTo>
                      <a:cubicBezTo>
                        <a:pt x="5249" y="26175"/>
                        <a:pt x="-356" y="19947"/>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0" name="Graphic 2987">
                <a:extLst>
                  <a:ext uri="{FF2B5EF4-FFF2-40B4-BE49-F238E27FC236}">
                    <a16:creationId xmlns:a16="http://schemas.microsoft.com/office/drawing/2014/main" id="{B0A97BF9-2394-F737-B86E-00CFD7E79E87}"/>
                  </a:ext>
                </a:extLst>
              </p:cNvPr>
              <p:cNvGrpSpPr/>
              <p:nvPr/>
            </p:nvGrpSpPr>
            <p:grpSpPr>
              <a:xfrm>
                <a:off x="8919806" y="5564920"/>
                <a:ext cx="33292" cy="148881"/>
                <a:chOff x="8919806" y="5564920"/>
                <a:chExt cx="33292" cy="148881"/>
              </a:xfrm>
              <a:grpFill/>
            </p:grpSpPr>
            <p:sp>
              <p:nvSpPr>
                <p:cNvPr id="4379" name="Freeform 5168">
                  <a:extLst>
                    <a:ext uri="{FF2B5EF4-FFF2-40B4-BE49-F238E27FC236}">
                      <a16:creationId xmlns:a16="http://schemas.microsoft.com/office/drawing/2014/main" id="{642BD9EB-1E2E-3186-86D2-C2E05DFE0358}"/>
                    </a:ext>
                  </a:extLst>
                </p:cNvPr>
                <p:cNvSpPr/>
                <p:nvPr/>
              </p:nvSpPr>
              <p:spPr>
                <a:xfrm>
                  <a:off x="8932155" y="5585116"/>
                  <a:ext cx="3612" cy="51940"/>
                </a:xfrm>
                <a:custGeom>
                  <a:avLst/>
                  <a:gdLst>
                    <a:gd name="connsiteX0" fmla="*/ 3613 w 3612"/>
                    <a:gd name="connsiteY0" fmla="*/ 0 h 51940"/>
                    <a:gd name="connsiteX1" fmla="*/ 623 w 3612"/>
                    <a:gd name="connsiteY1" fmla="*/ 18559 h 51940"/>
                    <a:gd name="connsiteX2" fmla="*/ 3114 w 3612"/>
                    <a:gd name="connsiteY2" fmla="*/ 35748 h 51940"/>
                    <a:gd name="connsiteX3" fmla="*/ 0 w 3612"/>
                    <a:gd name="connsiteY3" fmla="*/ 51940 h 51940"/>
                  </a:gdLst>
                  <a:ahLst/>
                  <a:cxnLst>
                    <a:cxn ang="0">
                      <a:pos x="connsiteX0" y="connsiteY0"/>
                    </a:cxn>
                    <a:cxn ang="0">
                      <a:pos x="connsiteX1" y="connsiteY1"/>
                    </a:cxn>
                    <a:cxn ang="0">
                      <a:pos x="connsiteX2" y="connsiteY2"/>
                    </a:cxn>
                    <a:cxn ang="0">
                      <a:pos x="connsiteX3" y="connsiteY3"/>
                    </a:cxn>
                  </a:cxnLst>
                  <a:rect l="l" t="t" r="r" b="b"/>
                  <a:pathLst>
                    <a:path w="3612" h="51940">
                      <a:moveTo>
                        <a:pt x="3613" y="0"/>
                      </a:moveTo>
                      <a:cubicBezTo>
                        <a:pt x="623" y="7847"/>
                        <a:pt x="374" y="14199"/>
                        <a:pt x="623" y="18559"/>
                      </a:cubicBezTo>
                      <a:cubicBezTo>
                        <a:pt x="997" y="25534"/>
                        <a:pt x="2989" y="28648"/>
                        <a:pt x="3114" y="35748"/>
                      </a:cubicBezTo>
                      <a:cubicBezTo>
                        <a:pt x="3239" y="42599"/>
                        <a:pt x="1495" y="48328"/>
                        <a:pt x="0"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0" name="Freeform 5169">
                  <a:extLst>
                    <a:ext uri="{FF2B5EF4-FFF2-40B4-BE49-F238E27FC236}">
                      <a16:creationId xmlns:a16="http://schemas.microsoft.com/office/drawing/2014/main" id="{9BF085D9-0FD1-7B93-FEA1-9DE14FCD66D4}"/>
                    </a:ext>
                  </a:extLst>
                </p:cNvPr>
                <p:cNvSpPr/>
                <p:nvPr/>
              </p:nvSpPr>
              <p:spPr>
                <a:xfrm>
                  <a:off x="8939402" y="5580382"/>
                  <a:ext cx="5273" cy="52189"/>
                </a:xfrm>
                <a:custGeom>
                  <a:avLst/>
                  <a:gdLst>
                    <a:gd name="connsiteX0" fmla="*/ 1472 w 5273"/>
                    <a:gd name="connsiteY0" fmla="*/ 52190 h 52189"/>
                    <a:gd name="connsiteX1" fmla="*/ 600 w 5273"/>
                    <a:gd name="connsiteY1" fmla="*/ 33381 h 52189"/>
                    <a:gd name="connsiteX2" fmla="*/ 4960 w 5273"/>
                    <a:gd name="connsiteY2" fmla="*/ 16442 h 52189"/>
                    <a:gd name="connsiteX3" fmla="*/ 3714 w 5273"/>
                    <a:gd name="connsiteY3" fmla="*/ 0 h 52189"/>
                  </a:gdLst>
                  <a:ahLst/>
                  <a:cxnLst>
                    <a:cxn ang="0">
                      <a:pos x="connsiteX0" y="connsiteY0"/>
                    </a:cxn>
                    <a:cxn ang="0">
                      <a:pos x="connsiteX1" y="connsiteY1"/>
                    </a:cxn>
                    <a:cxn ang="0">
                      <a:pos x="connsiteX2" y="connsiteY2"/>
                    </a:cxn>
                    <a:cxn ang="0">
                      <a:pos x="connsiteX3" y="connsiteY3"/>
                    </a:cxn>
                  </a:cxnLst>
                  <a:rect l="l" t="t" r="r" b="b"/>
                  <a:pathLst>
                    <a:path w="5273" h="52189">
                      <a:moveTo>
                        <a:pt x="1472" y="52190"/>
                      </a:moveTo>
                      <a:cubicBezTo>
                        <a:pt x="-520" y="44094"/>
                        <a:pt x="-147" y="37741"/>
                        <a:pt x="600" y="33381"/>
                      </a:cubicBezTo>
                      <a:cubicBezTo>
                        <a:pt x="1722" y="26531"/>
                        <a:pt x="4088" y="23542"/>
                        <a:pt x="4960" y="16442"/>
                      </a:cubicBezTo>
                      <a:cubicBezTo>
                        <a:pt x="5831" y="9591"/>
                        <a:pt x="4711" y="3737"/>
                        <a:pt x="37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1" name="Freeform 5170">
                  <a:extLst>
                    <a:ext uri="{FF2B5EF4-FFF2-40B4-BE49-F238E27FC236}">
                      <a16:creationId xmlns:a16="http://schemas.microsoft.com/office/drawing/2014/main" id="{1396605E-D5CE-0C6E-98F4-8CA0EC7CC091}"/>
                    </a:ext>
                  </a:extLst>
                </p:cNvPr>
                <p:cNvSpPr/>
                <p:nvPr/>
              </p:nvSpPr>
              <p:spPr>
                <a:xfrm>
                  <a:off x="8926408" y="5564920"/>
                  <a:ext cx="26690" cy="26566"/>
                </a:xfrm>
                <a:custGeom>
                  <a:avLst/>
                  <a:gdLst>
                    <a:gd name="connsiteX0" fmla="*/ 26672 w 26690"/>
                    <a:gd name="connsiteY0" fmla="*/ 13968 h 26566"/>
                    <a:gd name="connsiteX1" fmla="*/ 12597 w 26690"/>
                    <a:gd name="connsiteY1" fmla="*/ 26548 h 26566"/>
                    <a:gd name="connsiteX2" fmla="*/ 18 w 26690"/>
                    <a:gd name="connsiteY2" fmla="*/ 12598 h 26566"/>
                    <a:gd name="connsiteX3" fmla="*/ 14093 w 26690"/>
                    <a:gd name="connsiteY3" fmla="*/ 18 h 26566"/>
                    <a:gd name="connsiteX4" fmla="*/ 26672 w 26690"/>
                    <a:gd name="connsiteY4" fmla="*/ 13968 h 26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0" h="26566">
                      <a:moveTo>
                        <a:pt x="26672" y="13968"/>
                      </a:moveTo>
                      <a:cubicBezTo>
                        <a:pt x="26299" y="21317"/>
                        <a:pt x="19947" y="26922"/>
                        <a:pt x="12597" y="26548"/>
                      </a:cubicBezTo>
                      <a:cubicBezTo>
                        <a:pt x="5249" y="26175"/>
                        <a:pt x="-356" y="19947"/>
                        <a:pt x="18" y="12598"/>
                      </a:cubicBezTo>
                      <a:cubicBezTo>
                        <a:pt x="391" y="5249"/>
                        <a:pt x="6744" y="-356"/>
                        <a:pt x="14093" y="18"/>
                      </a:cubicBezTo>
                      <a:cubicBezTo>
                        <a:pt x="21441" y="391"/>
                        <a:pt x="27046" y="6619"/>
                        <a:pt x="26672" y="139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2" name="Freeform 5171">
                  <a:extLst>
                    <a:ext uri="{FF2B5EF4-FFF2-40B4-BE49-F238E27FC236}">
                      <a16:creationId xmlns:a16="http://schemas.microsoft.com/office/drawing/2014/main" id="{5192B3B7-947A-E94D-307D-C7334AF0C6F1}"/>
                    </a:ext>
                  </a:extLst>
                </p:cNvPr>
                <p:cNvSpPr/>
                <p:nvPr/>
              </p:nvSpPr>
              <p:spPr>
                <a:xfrm>
                  <a:off x="8936888" y="5641665"/>
                  <a:ext cx="3612" cy="51940"/>
                </a:xfrm>
                <a:custGeom>
                  <a:avLst/>
                  <a:gdLst>
                    <a:gd name="connsiteX0" fmla="*/ 0 w 3612"/>
                    <a:gd name="connsiteY0" fmla="*/ 51940 h 51940"/>
                    <a:gd name="connsiteX1" fmla="*/ 2989 w 3612"/>
                    <a:gd name="connsiteY1" fmla="*/ 33381 h 51940"/>
                    <a:gd name="connsiteX2" fmla="*/ 499 w 3612"/>
                    <a:gd name="connsiteY2" fmla="*/ 16192 h 51940"/>
                    <a:gd name="connsiteX3" fmla="*/ 3613 w 3612"/>
                    <a:gd name="connsiteY3" fmla="*/ 0 h 51940"/>
                  </a:gdLst>
                  <a:ahLst/>
                  <a:cxnLst>
                    <a:cxn ang="0">
                      <a:pos x="connsiteX0" y="connsiteY0"/>
                    </a:cxn>
                    <a:cxn ang="0">
                      <a:pos x="connsiteX1" y="connsiteY1"/>
                    </a:cxn>
                    <a:cxn ang="0">
                      <a:pos x="connsiteX2" y="connsiteY2"/>
                    </a:cxn>
                    <a:cxn ang="0">
                      <a:pos x="connsiteX3" y="connsiteY3"/>
                    </a:cxn>
                  </a:cxnLst>
                  <a:rect l="l" t="t" r="r" b="b"/>
                  <a:pathLst>
                    <a:path w="3612" h="51940">
                      <a:moveTo>
                        <a:pt x="0" y="51940"/>
                      </a:moveTo>
                      <a:cubicBezTo>
                        <a:pt x="2865" y="44093"/>
                        <a:pt x="3239" y="37741"/>
                        <a:pt x="2989" y="33381"/>
                      </a:cubicBezTo>
                      <a:cubicBezTo>
                        <a:pt x="2616" y="26406"/>
                        <a:pt x="623" y="23292"/>
                        <a:pt x="499" y="16192"/>
                      </a:cubicBezTo>
                      <a:cubicBezTo>
                        <a:pt x="374" y="9342"/>
                        <a:pt x="2117" y="3612"/>
                        <a:pt x="36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3" name="Freeform 5172">
                  <a:extLst>
                    <a:ext uri="{FF2B5EF4-FFF2-40B4-BE49-F238E27FC236}">
                      <a16:creationId xmlns:a16="http://schemas.microsoft.com/office/drawing/2014/main" id="{0DF1451F-7942-32C4-4ED8-4AEB1B9F9F42}"/>
                    </a:ext>
                  </a:extLst>
                </p:cNvPr>
                <p:cNvSpPr/>
                <p:nvPr/>
              </p:nvSpPr>
              <p:spPr>
                <a:xfrm>
                  <a:off x="8928230" y="5646149"/>
                  <a:ext cx="5169" cy="52189"/>
                </a:xfrm>
                <a:custGeom>
                  <a:avLst/>
                  <a:gdLst>
                    <a:gd name="connsiteX0" fmla="*/ 3677 w 5169"/>
                    <a:gd name="connsiteY0" fmla="*/ 0 h 52189"/>
                    <a:gd name="connsiteX1" fmla="*/ 4673 w 5169"/>
                    <a:gd name="connsiteY1" fmla="*/ 18808 h 52189"/>
                    <a:gd name="connsiteX2" fmla="*/ 313 w 5169"/>
                    <a:gd name="connsiteY2" fmla="*/ 35748 h 52189"/>
                    <a:gd name="connsiteX3" fmla="*/ 1559 w 5169"/>
                    <a:gd name="connsiteY3" fmla="*/ 52190 h 52189"/>
                  </a:gdLst>
                  <a:ahLst/>
                  <a:cxnLst>
                    <a:cxn ang="0">
                      <a:pos x="connsiteX0" y="connsiteY0"/>
                    </a:cxn>
                    <a:cxn ang="0">
                      <a:pos x="connsiteX1" y="connsiteY1"/>
                    </a:cxn>
                    <a:cxn ang="0">
                      <a:pos x="connsiteX2" y="connsiteY2"/>
                    </a:cxn>
                    <a:cxn ang="0">
                      <a:pos x="connsiteX3" y="connsiteY3"/>
                    </a:cxn>
                  </a:cxnLst>
                  <a:rect l="l" t="t" r="r" b="b"/>
                  <a:pathLst>
                    <a:path w="5169" h="52189">
                      <a:moveTo>
                        <a:pt x="3677" y="0"/>
                      </a:moveTo>
                      <a:cubicBezTo>
                        <a:pt x="5669" y="8096"/>
                        <a:pt x="5295" y="14449"/>
                        <a:pt x="4673" y="18808"/>
                      </a:cubicBezTo>
                      <a:cubicBezTo>
                        <a:pt x="3552" y="25659"/>
                        <a:pt x="1185" y="28648"/>
                        <a:pt x="313" y="35748"/>
                      </a:cubicBezTo>
                      <a:cubicBezTo>
                        <a:pt x="-559" y="42599"/>
                        <a:pt x="563" y="48453"/>
                        <a:pt x="1559" y="5219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84" name="Freeform 5173">
                  <a:extLst>
                    <a:ext uri="{FF2B5EF4-FFF2-40B4-BE49-F238E27FC236}">
                      <a16:creationId xmlns:a16="http://schemas.microsoft.com/office/drawing/2014/main" id="{1676A65D-CDBD-F0DB-91F3-CFE8F6EDF01A}"/>
                    </a:ext>
                  </a:extLst>
                </p:cNvPr>
                <p:cNvSpPr/>
                <p:nvPr/>
              </p:nvSpPr>
              <p:spPr>
                <a:xfrm>
                  <a:off x="8919806" y="5687235"/>
                  <a:ext cx="26317" cy="26565"/>
                </a:xfrm>
                <a:custGeom>
                  <a:avLst/>
                  <a:gdLst>
                    <a:gd name="connsiteX0" fmla="*/ 18 w 26317"/>
                    <a:gd name="connsiteY0" fmla="*/ 12598 h 26565"/>
                    <a:gd name="connsiteX1" fmla="*/ 13844 w 26317"/>
                    <a:gd name="connsiteY1" fmla="*/ 18 h 26565"/>
                    <a:gd name="connsiteX2" fmla="*/ 26299 w 26317"/>
                    <a:gd name="connsiteY2" fmla="*/ 13968 h 26565"/>
                    <a:gd name="connsiteX3" fmla="*/ 12474 w 26317"/>
                    <a:gd name="connsiteY3" fmla="*/ 26548 h 26565"/>
                    <a:gd name="connsiteX4" fmla="*/ 18 w 26317"/>
                    <a:gd name="connsiteY4" fmla="*/ 12598 h 2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565">
                      <a:moveTo>
                        <a:pt x="18" y="12598"/>
                      </a:moveTo>
                      <a:cubicBezTo>
                        <a:pt x="392" y="5249"/>
                        <a:pt x="6620" y="-356"/>
                        <a:pt x="13844" y="18"/>
                      </a:cubicBezTo>
                      <a:cubicBezTo>
                        <a:pt x="21068" y="391"/>
                        <a:pt x="26674" y="6619"/>
                        <a:pt x="26299" y="13968"/>
                      </a:cubicBezTo>
                      <a:cubicBezTo>
                        <a:pt x="25926" y="21317"/>
                        <a:pt x="19698" y="26922"/>
                        <a:pt x="12474" y="26548"/>
                      </a:cubicBezTo>
                      <a:cubicBezTo>
                        <a:pt x="5125" y="26050"/>
                        <a:pt x="-355" y="19822"/>
                        <a:pt x="18" y="125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1" name="Graphic 2987">
                <a:extLst>
                  <a:ext uri="{FF2B5EF4-FFF2-40B4-BE49-F238E27FC236}">
                    <a16:creationId xmlns:a16="http://schemas.microsoft.com/office/drawing/2014/main" id="{04479A5B-E80A-FA37-2689-BD08CCDA71CB}"/>
                  </a:ext>
                </a:extLst>
              </p:cNvPr>
              <p:cNvGrpSpPr/>
              <p:nvPr/>
            </p:nvGrpSpPr>
            <p:grpSpPr>
              <a:xfrm>
                <a:off x="8949188" y="5566650"/>
                <a:ext cx="33567" cy="148660"/>
                <a:chOff x="8949188" y="5566650"/>
                <a:chExt cx="33567" cy="148660"/>
              </a:xfrm>
              <a:grpFill/>
            </p:grpSpPr>
            <p:sp>
              <p:nvSpPr>
                <p:cNvPr id="4373" name="Freeform 5175">
                  <a:extLst>
                    <a:ext uri="{FF2B5EF4-FFF2-40B4-BE49-F238E27FC236}">
                      <a16:creationId xmlns:a16="http://schemas.microsoft.com/office/drawing/2014/main" id="{389C215D-6342-7E4F-840E-C063F4D57ABB}"/>
                    </a:ext>
                  </a:extLst>
                </p:cNvPr>
                <p:cNvSpPr/>
                <p:nvPr/>
              </p:nvSpPr>
              <p:spPr>
                <a:xfrm>
                  <a:off x="8961550" y="5586735"/>
                  <a:ext cx="3862" cy="52065"/>
                </a:xfrm>
                <a:custGeom>
                  <a:avLst/>
                  <a:gdLst>
                    <a:gd name="connsiteX0" fmla="*/ 3862 w 3862"/>
                    <a:gd name="connsiteY0" fmla="*/ 0 h 52065"/>
                    <a:gd name="connsiteX1" fmla="*/ 748 w 3862"/>
                    <a:gd name="connsiteY1" fmla="*/ 18559 h 52065"/>
                    <a:gd name="connsiteX2" fmla="*/ 3114 w 3862"/>
                    <a:gd name="connsiteY2" fmla="*/ 35873 h 52065"/>
                    <a:gd name="connsiteX3" fmla="*/ 0 w 386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2" h="52065">
                      <a:moveTo>
                        <a:pt x="3862" y="0"/>
                      </a:moveTo>
                      <a:cubicBezTo>
                        <a:pt x="872" y="7847"/>
                        <a:pt x="623" y="14199"/>
                        <a:pt x="748" y="18559"/>
                      </a:cubicBezTo>
                      <a:cubicBezTo>
                        <a:pt x="1121" y="25534"/>
                        <a:pt x="3114" y="28773"/>
                        <a:pt x="3114"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4" name="Freeform 5176">
                  <a:extLst>
                    <a:ext uri="{FF2B5EF4-FFF2-40B4-BE49-F238E27FC236}">
                      <a16:creationId xmlns:a16="http://schemas.microsoft.com/office/drawing/2014/main" id="{F858F2B8-1290-70A2-3442-F6CEDCDF94CD}"/>
                    </a:ext>
                  </a:extLst>
                </p:cNvPr>
                <p:cNvSpPr/>
                <p:nvPr/>
              </p:nvSpPr>
              <p:spPr>
                <a:xfrm>
                  <a:off x="8968922" y="5582251"/>
                  <a:ext cx="5416" cy="52065"/>
                </a:xfrm>
                <a:custGeom>
                  <a:avLst/>
                  <a:gdLst>
                    <a:gd name="connsiteX0" fmla="*/ 1472 w 5416"/>
                    <a:gd name="connsiteY0" fmla="*/ 52065 h 52065"/>
                    <a:gd name="connsiteX1" fmla="*/ 600 w 5416"/>
                    <a:gd name="connsiteY1" fmla="*/ 33257 h 52065"/>
                    <a:gd name="connsiteX2" fmla="*/ 5084 w 5416"/>
                    <a:gd name="connsiteY2" fmla="*/ 16442 h 52065"/>
                    <a:gd name="connsiteX3" fmla="*/ 3839 w 5416"/>
                    <a:gd name="connsiteY3" fmla="*/ 0 h 52065"/>
                  </a:gdLst>
                  <a:ahLst/>
                  <a:cxnLst>
                    <a:cxn ang="0">
                      <a:pos x="connsiteX0" y="connsiteY0"/>
                    </a:cxn>
                    <a:cxn ang="0">
                      <a:pos x="connsiteX1" y="connsiteY1"/>
                    </a:cxn>
                    <a:cxn ang="0">
                      <a:pos x="connsiteX2" y="connsiteY2"/>
                    </a:cxn>
                    <a:cxn ang="0">
                      <a:pos x="connsiteX3" y="connsiteY3"/>
                    </a:cxn>
                  </a:cxnLst>
                  <a:rect l="l" t="t" r="r" b="b"/>
                  <a:pathLst>
                    <a:path w="5416" h="52065">
                      <a:moveTo>
                        <a:pt x="1472" y="52065"/>
                      </a:moveTo>
                      <a:cubicBezTo>
                        <a:pt x="-520" y="43845"/>
                        <a:pt x="-147" y="37492"/>
                        <a:pt x="600" y="33257"/>
                      </a:cubicBezTo>
                      <a:cubicBezTo>
                        <a:pt x="1846" y="26406"/>
                        <a:pt x="4088" y="23417"/>
                        <a:pt x="5084" y="16442"/>
                      </a:cubicBezTo>
                      <a:cubicBezTo>
                        <a:pt x="5956" y="9591"/>
                        <a:pt x="4960" y="3737"/>
                        <a:pt x="383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5" name="Freeform 5177">
                  <a:extLst>
                    <a:ext uri="{FF2B5EF4-FFF2-40B4-BE49-F238E27FC236}">
                      <a16:creationId xmlns:a16="http://schemas.microsoft.com/office/drawing/2014/main" id="{4F69979A-2D09-FDFD-3B36-916F3D2096F8}"/>
                    </a:ext>
                  </a:extLst>
                </p:cNvPr>
                <p:cNvSpPr/>
                <p:nvPr/>
              </p:nvSpPr>
              <p:spPr>
                <a:xfrm>
                  <a:off x="8956164" y="5566650"/>
                  <a:ext cx="26592" cy="26469"/>
                </a:xfrm>
                <a:custGeom>
                  <a:avLst/>
                  <a:gdLst>
                    <a:gd name="connsiteX0" fmla="*/ 26562 w 26592"/>
                    <a:gd name="connsiteY0" fmla="*/ 14106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836" y="26936"/>
                        <a:pt x="12487" y="26438"/>
                      </a:cubicBezTo>
                      <a:cubicBezTo>
                        <a:pt x="5138" y="25940"/>
                        <a:pt x="-467" y="19587"/>
                        <a:pt x="31" y="12363"/>
                      </a:cubicBezTo>
                      <a:cubicBezTo>
                        <a:pt x="405" y="5014"/>
                        <a:pt x="6757" y="-467"/>
                        <a:pt x="14106" y="31"/>
                      </a:cubicBezTo>
                      <a:cubicBezTo>
                        <a:pt x="21455"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6" name="Freeform 5178">
                  <a:extLst>
                    <a:ext uri="{FF2B5EF4-FFF2-40B4-BE49-F238E27FC236}">
                      <a16:creationId xmlns:a16="http://schemas.microsoft.com/office/drawing/2014/main" id="{CA26BF0F-6888-31E2-600E-11E13CF007D5}"/>
                    </a:ext>
                  </a:extLst>
                </p:cNvPr>
                <p:cNvSpPr/>
                <p:nvPr/>
              </p:nvSpPr>
              <p:spPr>
                <a:xfrm>
                  <a:off x="8966284" y="5643160"/>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90" y="44218"/>
                        <a:pt x="3239" y="37866"/>
                        <a:pt x="3114" y="33506"/>
                      </a:cubicBezTo>
                      <a:cubicBezTo>
                        <a:pt x="2741" y="26531"/>
                        <a:pt x="872" y="23292"/>
                        <a:pt x="747" y="16192"/>
                      </a:cubicBezTo>
                      <a:cubicBezTo>
                        <a:pt x="623" y="9342"/>
                        <a:pt x="2367"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7" name="Freeform 5179">
                  <a:extLst>
                    <a:ext uri="{FF2B5EF4-FFF2-40B4-BE49-F238E27FC236}">
                      <a16:creationId xmlns:a16="http://schemas.microsoft.com/office/drawing/2014/main" id="{D784C6F9-80B5-0433-0269-C1996B110225}"/>
                    </a:ext>
                  </a:extLst>
                </p:cNvPr>
                <p:cNvSpPr/>
                <p:nvPr/>
              </p:nvSpPr>
              <p:spPr>
                <a:xfrm>
                  <a:off x="8957606" y="5647768"/>
                  <a:ext cx="5292" cy="52065"/>
                </a:xfrm>
                <a:custGeom>
                  <a:avLst/>
                  <a:gdLst>
                    <a:gd name="connsiteX0" fmla="*/ 3820 w 5292"/>
                    <a:gd name="connsiteY0" fmla="*/ 0 h 52065"/>
                    <a:gd name="connsiteX1" fmla="*/ 4692 w 5292"/>
                    <a:gd name="connsiteY1" fmla="*/ 18808 h 52065"/>
                    <a:gd name="connsiteX2" fmla="*/ 332 w 5292"/>
                    <a:gd name="connsiteY2" fmla="*/ 35623 h 52065"/>
                    <a:gd name="connsiteX3" fmla="*/ 1578 w 5292"/>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292" h="52065">
                      <a:moveTo>
                        <a:pt x="3820" y="0"/>
                      </a:moveTo>
                      <a:cubicBezTo>
                        <a:pt x="5813" y="8221"/>
                        <a:pt x="5439" y="14573"/>
                        <a:pt x="4692" y="18808"/>
                      </a:cubicBezTo>
                      <a:cubicBezTo>
                        <a:pt x="3571" y="25659"/>
                        <a:pt x="1204" y="28648"/>
                        <a:pt x="332" y="35623"/>
                      </a:cubicBezTo>
                      <a:cubicBezTo>
                        <a:pt x="-540" y="42474"/>
                        <a:pt x="457" y="48328"/>
                        <a:pt x="157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8" name="Freeform 5180">
                  <a:extLst>
                    <a:ext uri="{FF2B5EF4-FFF2-40B4-BE49-F238E27FC236}">
                      <a16:creationId xmlns:a16="http://schemas.microsoft.com/office/drawing/2014/main" id="{4304A61E-150D-381C-54E8-07F3026B152B}"/>
                    </a:ext>
                  </a:extLst>
                </p:cNvPr>
                <p:cNvSpPr/>
                <p:nvPr/>
              </p:nvSpPr>
              <p:spPr>
                <a:xfrm>
                  <a:off x="8949188" y="5688841"/>
                  <a:ext cx="26343" cy="26469"/>
                </a:xfrm>
                <a:custGeom>
                  <a:avLst/>
                  <a:gdLst>
                    <a:gd name="connsiteX0" fmla="*/ 31 w 26343"/>
                    <a:gd name="connsiteY0" fmla="*/ 12363 h 26469"/>
                    <a:gd name="connsiteX1" fmla="*/ 13981 w 26343"/>
                    <a:gd name="connsiteY1" fmla="*/ 31 h 26469"/>
                    <a:gd name="connsiteX2" fmla="*/ 26313 w 26343"/>
                    <a:gd name="connsiteY2" fmla="*/ 14106 h 26469"/>
                    <a:gd name="connsiteX3" fmla="*/ 12362 w 26343"/>
                    <a:gd name="connsiteY3" fmla="*/ 26438 h 26469"/>
                    <a:gd name="connsiteX4" fmla="*/ 31 w 26343"/>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3" h="26469">
                      <a:moveTo>
                        <a:pt x="31" y="12363"/>
                      </a:moveTo>
                      <a:cubicBezTo>
                        <a:pt x="405" y="5014"/>
                        <a:pt x="6633" y="-467"/>
                        <a:pt x="13981" y="31"/>
                      </a:cubicBezTo>
                      <a:cubicBezTo>
                        <a:pt x="21206" y="530"/>
                        <a:pt x="26811" y="6758"/>
                        <a:pt x="26313" y="14106"/>
                      </a:cubicBezTo>
                      <a:cubicBezTo>
                        <a:pt x="25814" y="21455"/>
                        <a:pt x="19586" y="26936"/>
                        <a:pt x="12362" y="26438"/>
                      </a:cubicBezTo>
                      <a:cubicBezTo>
                        <a:pt x="5138" y="26064"/>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2" name="Graphic 2987">
                <a:extLst>
                  <a:ext uri="{FF2B5EF4-FFF2-40B4-BE49-F238E27FC236}">
                    <a16:creationId xmlns:a16="http://schemas.microsoft.com/office/drawing/2014/main" id="{CEA5765B-7F43-A32D-62DD-05F033F6655B}"/>
                  </a:ext>
                </a:extLst>
              </p:cNvPr>
              <p:cNvGrpSpPr/>
              <p:nvPr/>
            </p:nvGrpSpPr>
            <p:grpSpPr>
              <a:xfrm>
                <a:off x="8978473" y="5568643"/>
                <a:ext cx="34052" cy="148660"/>
                <a:chOff x="8978473" y="5568643"/>
                <a:chExt cx="34052" cy="148660"/>
              </a:xfrm>
              <a:grpFill/>
            </p:grpSpPr>
            <p:sp>
              <p:nvSpPr>
                <p:cNvPr id="4367" name="Freeform 5182">
                  <a:extLst>
                    <a:ext uri="{FF2B5EF4-FFF2-40B4-BE49-F238E27FC236}">
                      <a16:creationId xmlns:a16="http://schemas.microsoft.com/office/drawing/2014/main" id="{8D9A7451-8F16-34A4-9877-995CF0176083}"/>
                    </a:ext>
                  </a:extLst>
                </p:cNvPr>
                <p:cNvSpPr/>
                <p:nvPr/>
              </p:nvSpPr>
              <p:spPr>
                <a:xfrm>
                  <a:off x="8991195" y="5588603"/>
                  <a:ext cx="3861" cy="52065"/>
                </a:xfrm>
                <a:custGeom>
                  <a:avLst/>
                  <a:gdLst>
                    <a:gd name="connsiteX0" fmla="*/ 3861 w 3861"/>
                    <a:gd name="connsiteY0" fmla="*/ 0 h 52065"/>
                    <a:gd name="connsiteX1" fmla="*/ 747 w 3861"/>
                    <a:gd name="connsiteY1" fmla="*/ 18559 h 52065"/>
                    <a:gd name="connsiteX2" fmla="*/ 3114 w 3861"/>
                    <a:gd name="connsiteY2" fmla="*/ 35873 h 52065"/>
                    <a:gd name="connsiteX3" fmla="*/ 0 w 386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3861" h="52065">
                      <a:moveTo>
                        <a:pt x="3861" y="0"/>
                      </a:moveTo>
                      <a:cubicBezTo>
                        <a:pt x="872" y="7847"/>
                        <a:pt x="499" y="14199"/>
                        <a:pt x="747" y="18559"/>
                      </a:cubicBezTo>
                      <a:cubicBezTo>
                        <a:pt x="1121" y="25534"/>
                        <a:pt x="2990" y="28773"/>
                        <a:pt x="3114" y="35873"/>
                      </a:cubicBezTo>
                      <a:cubicBezTo>
                        <a:pt x="3239" y="42723"/>
                        <a:pt x="1371"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8" name="Freeform 5183">
                  <a:extLst>
                    <a:ext uri="{FF2B5EF4-FFF2-40B4-BE49-F238E27FC236}">
                      <a16:creationId xmlns:a16="http://schemas.microsoft.com/office/drawing/2014/main" id="{51588E2F-7A00-39FA-6AFA-6D148218408B}"/>
                    </a:ext>
                  </a:extLst>
                </p:cNvPr>
                <p:cNvSpPr/>
                <p:nvPr/>
              </p:nvSpPr>
              <p:spPr>
                <a:xfrm>
                  <a:off x="8998442" y="5584119"/>
                  <a:ext cx="5418" cy="52065"/>
                </a:xfrm>
                <a:custGeom>
                  <a:avLst/>
                  <a:gdLst>
                    <a:gd name="connsiteX0" fmla="*/ 1472 w 5418"/>
                    <a:gd name="connsiteY0" fmla="*/ 52065 h 52065"/>
                    <a:gd name="connsiteX1" fmla="*/ 600 w 5418"/>
                    <a:gd name="connsiteY1" fmla="*/ 33257 h 52065"/>
                    <a:gd name="connsiteX2" fmla="*/ 5085 w 5418"/>
                    <a:gd name="connsiteY2" fmla="*/ 16442 h 52065"/>
                    <a:gd name="connsiteX3" fmla="*/ 3963 w 5418"/>
                    <a:gd name="connsiteY3" fmla="*/ 0 h 52065"/>
                  </a:gdLst>
                  <a:ahLst/>
                  <a:cxnLst>
                    <a:cxn ang="0">
                      <a:pos x="connsiteX0" y="connsiteY0"/>
                    </a:cxn>
                    <a:cxn ang="0">
                      <a:pos x="connsiteX1" y="connsiteY1"/>
                    </a:cxn>
                    <a:cxn ang="0">
                      <a:pos x="connsiteX2" y="connsiteY2"/>
                    </a:cxn>
                    <a:cxn ang="0">
                      <a:pos x="connsiteX3" y="connsiteY3"/>
                    </a:cxn>
                  </a:cxnLst>
                  <a:rect l="l" t="t" r="r" b="b"/>
                  <a:pathLst>
                    <a:path w="5418" h="52065">
                      <a:moveTo>
                        <a:pt x="1472" y="52065"/>
                      </a:moveTo>
                      <a:cubicBezTo>
                        <a:pt x="-520" y="43845"/>
                        <a:pt x="-147" y="37492"/>
                        <a:pt x="600" y="33257"/>
                      </a:cubicBezTo>
                      <a:cubicBezTo>
                        <a:pt x="1846" y="26407"/>
                        <a:pt x="4088" y="23417"/>
                        <a:pt x="5085" y="16442"/>
                      </a:cubicBezTo>
                      <a:cubicBezTo>
                        <a:pt x="5956" y="9591"/>
                        <a:pt x="4960" y="3737"/>
                        <a:pt x="396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9" name="Freeform 5184">
                  <a:extLst>
                    <a:ext uri="{FF2B5EF4-FFF2-40B4-BE49-F238E27FC236}">
                      <a16:creationId xmlns:a16="http://schemas.microsoft.com/office/drawing/2014/main" id="{FC32EC5D-AC63-EEC4-055C-B9C68EAAC458}"/>
                    </a:ext>
                  </a:extLst>
                </p:cNvPr>
                <p:cNvSpPr/>
                <p:nvPr/>
              </p:nvSpPr>
              <p:spPr>
                <a:xfrm>
                  <a:off x="8985933" y="5568643"/>
                  <a:ext cx="26592" cy="26469"/>
                </a:xfrm>
                <a:custGeom>
                  <a:avLst/>
                  <a:gdLst>
                    <a:gd name="connsiteX0" fmla="*/ 26562 w 26592"/>
                    <a:gd name="connsiteY0" fmla="*/ 14107 h 26469"/>
                    <a:gd name="connsiteX1" fmla="*/ 12487 w 26592"/>
                    <a:gd name="connsiteY1" fmla="*/ 26438 h 26469"/>
                    <a:gd name="connsiteX2" fmla="*/ 31 w 26592"/>
                    <a:gd name="connsiteY2" fmla="*/ 12363 h 26469"/>
                    <a:gd name="connsiteX3" fmla="*/ 14106 w 26592"/>
                    <a:gd name="connsiteY3" fmla="*/ 31 h 26469"/>
                    <a:gd name="connsiteX4" fmla="*/ 26562 w 26592"/>
                    <a:gd name="connsiteY4" fmla="*/ 14107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7"/>
                      </a:moveTo>
                      <a:cubicBezTo>
                        <a:pt x="26064" y="21455"/>
                        <a:pt x="19836" y="26936"/>
                        <a:pt x="12487" y="26438"/>
                      </a:cubicBezTo>
                      <a:cubicBezTo>
                        <a:pt x="5138" y="25940"/>
                        <a:pt x="-467" y="19712"/>
                        <a:pt x="31" y="12363"/>
                      </a:cubicBezTo>
                      <a:cubicBezTo>
                        <a:pt x="529" y="5014"/>
                        <a:pt x="6757" y="-467"/>
                        <a:pt x="14106" y="31"/>
                      </a:cubicBezTo>
                      <a:cubicBezTo>
                        <a:pt x="21455" y="405"/>
                        <a:pt x="27060" y="6758"/>
                        <a:pt x="26562" y="141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0" name="Freeform 5185">
                  <a:extLst>
                    <a:ext uri="{FF2B5EF4-FFF2-40B4-BE49-F238E27FC236}">
                      <a16:creationId xmlns:a16="http://schemas.microsoft.com/office/drawing/2014/main" id="{1E68634D-ADFB-D0DF-01E4-2CE58C6AB416}"/>
                    </a:ext>
                  </a:extLst>
                </p:cNvPr>
                <p:cNvSpPr/>
                <p:nvPr/>
              </p:nvSpPr>
              <p:spPr>
                <a:xfrm>
                  <a:off x="8995680" y="5645153"/>
                  <a:ext cx="3861" cy="52065"/>
                </a:xfrm>
                <a:custGeom>
                  <a:avLst/>
                  <a:gdLst>
                    <a:gd name="connsiteX0" fmla="*/ 0 w 3861"/>
                    <a:gd name="connsiteY0" fmla="*/ 52065 h 52065"/>
                    <a:gd name="connsiteX1" fmla="*/ 3114 w 3861"/>
                    <a:gd name="connsiteY1" fmla="*/ 33506 h 52065"/>
                    <a:gd name="connsiteX2" fmla="*/ 747 w 3861"/>
                    <a:gd name="connsiteY2" fmla="*/ 16192 h 52065"/>
                    <a:gd name="connsiteX3" fmla="*/ 3861 w 3861"/>
                    <a:gd name="connsiteY3" fmla="*/ 0 h 52065"/>
                  </a:gdLst>
                  <a:ahLst/>
                  <a:cxnLst>
                    <a:cxn ang="0">
                      <a:pos x="connsiteX0" y="connsiteY0"/>
                    </a:cxn>
                    <a:cxn ang="0">
                      <a:pos x="connsiteX1" y="connsiteY1"/>
                    </a:cxn>
                    <a:cxn ang="0">
                      <a:pos x="connsiteX2" y="connsiteY2"/>
                    </a:cxn>
                    <a:cxn ang="0">
                      <a:pos x="connsiteX3" y="connsiteY3"/>
                    </a:cxn>
                  </a:cxnLst>
                  <a:rect l="l" t="t" r="r" b="b"/>
                  <a:pathLst>
                    <a:path w="3861" h="52065">
                      <a:moveTo>
                        <a:pt x="0" y="52065"/>
                      </a:moveTo>
                      <a:cubicBezTo>
                        <a:pt x="2989" y="44218"/>
                        <a:pt x="3363" y="37865"/>
                        <a:pt x="3114" y="33506"/>
                      </a:cubicBezTo>
                      <a:cubicBezTo>
                        <a:pt x="2740" y="26531"/>
                        <a:pt x="872" y="23292"/>
                        <a:pt x="747" y="16192"/>
                      </a:cubicBezTo>
                      <a:cubicBezTo>
                        <a:pt x="623" y="9342"/>
                        <a:pt x="2491" y="3612"/>
                        <a:pt x="38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1" name="Freeform 5186">
                  <a:extLst>
                    <a:ext uri="{FF2B5EF4-FFF2-40B4-BE49-F238E27FC236}">
                      <a16:creationId xmlns:a16="http://schemas.microsoft.com/office/drawing/2014/main" id="{3CFDA5EB-3FD4-88B0-9475-984D7B88C9A8}"/>
                    </a:ext>
                  </a:extLst>
                </p:cNvPr>
                <p:cNvSpPr/>
                <p:nvPr/>
              </p:nvSpPr>
              <p:spPr>
                <a:xfrm>
                  <a:off x="8986999" y="5649636"/>
                  <a:ext cx="5419" cy="52065"/>
                </a:xfrm>
                <a:custGeom>
                  <a:avLst/>
                  <a:gdLst>
                    <a:gd name="connsiteX0" fmla="*/ 3947 w 5419"/>
                    <a:gd name="connsiteY0" fmla="*/ 0 h 52065"/>
                    <a:gd name="connsiteX1" fmla="*/ 4819 w 5419"/>
                    <a:gd name="connsiteY1" fmla="*/ 18808 h 52065"/>
                    <a:gd name="connsiteX2" fmla="*/ 334 w 5419"/>
                    <a:gd name="connsiteY2" fmla="*/ 35624 h 52065"/>
                    <a:gd name="connsiteX3" fmla="*/ 1456 w 541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19" h="52065">
                      <a:moveTo>
                        <a:pt x="3947" y="0"/>
                      </a:moveTo>
                      <a:cubicBezTo>
                        <a:pt x="5940" y="8221"/>
                        <a:pt x="5566" y="14573"/>
                        <a:pt x="4819" y="18808"/>
                      </a:cubicBezTo>
                      <a:cubicBezTo>
                        <a:pt x="3573" y="25659"/>
                        <a:pt x="1331" y="28648"/>
                        <a:pt x="334" y="35624"/>
                      </a:cubicBezTo>
                      <a:cubicBezTo>
                        <a:pt x="-538" y="42474"/>
                        <a:pt x="459" y="48328"/>
                        <a:pt x="1456"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72" name="Freeform 5187">
                  <a:extLst>
                    <a:ext uri="{FF2B5EF4-FFF2-40B4-BE49-F238E27FC236}">
                      <a16:creationId xmlns:a16="http://schemas.microsoft.com/office/drawing/2014/main" id="{99D488C1-ED90-49DE-D1B5-5927956A9FDC}"/>
                    </a:ext>
                  </a:extLst>
                </p:cNvPr>
                <p:cNvSpPr/>
                <p:nvPr/>
              </p:nvSpPr>
              <p:spPr>
                <a:xfrm>
                  <a:off x="8978473" y="5690834"/>
                  <a:ext cx="26330" cy="26469"/>
                </a:xfrm>
                <a:custGeom>
                  <a:avLst/>
                  <a:gdLst>
                    <a:gd name="connsiteX0" fmla="*/ 18 w 26330"/>
                    <a:gd name="connsiteY0" fmla="*/ 12363 h 26469"/>
                    <a:gd name="connsiteX1" fmla="*/ 13968 w 26330"/>
                    <a:gd name="connsiteY1" fmla="*/ 31 h 26469"/>
                    <a:gd name="connsiteX2" fmla="*/ 26300 w 26330"/>
                    <a:gd name="connsiteY2" fmla="*/ 14106 h 26469"/>
                    <a:gd name="connsiteX3" fmla="*/ 12349 w 26330"/>
                    <a:gd name="connsiteY3" fmla="*/ 26438 h 26469"/>
                    <a:gd name="connsiteX4" fmla="*/ 18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18" y="12363"/>
                      </a:moveTo>
                      <a:cubicBezTo>
                        <a:pt x="516" y="5014"/>
                        <a:pt x="6744" y="-467"/>
                        <a:pt x="13968" y="31"/>
                      </a:cubicBezTo>
                      <a:cubicBezTo>
                        <a:pt x="21193" y="530"/>
                        <a:pt x="26798" y="6758"/>
                        <a:pt x="26300" y="14106"/>
                      </a:cubicBezTo>
                      <a:cubicBezTo>
                        <a:pt x="25802" y="21455"/>
                        <a:pt x="19574" y="26936"/>
                        <a:pt x="12349" y="26438"/>
                      </a:cubicBezTo>
                      <a:cubicBezTo>
                        <a:pt x="5125" y="25940"/>
                        <a:pt x="-356" y="19587"/>
                        <a:pt x="18"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3" name="Graphic 2987">
                <a:extLst>
                  <a:ext uri="{FF2B5EF4-FFF2-40B4-BE49-F238E27FC236}">
                    <a16:creationId xmlns:a16="http://schemas.microsoft.com/office/drawing/2014/main" id="{34ED3283-3ED4-75CD-EF3C-0E54889A87EF}"/>
                  </a:ext>
                </a:extLst>
              </p:cNvPr>
              <p:cNvGrpSpPr/>
              <p:nvPr/>
            </p:nvGrpSpPr>
            <p:grpSpPr>
              <a:xfrm>
                <a:off x="9007855" y="5570511"/>
                <a:ext cx="34315" cy="148660"/>
                <a:chOff x="9007855" y="5570511"/>
                <a:chExt cx="34315" cy="148660"/>
              </a:xfrm>
              <a:grpFill/>
            </p:grpSpPr>
            <p:sp>
              <p:nvSpPr>
                <p:cNvPr id="4361" name="Freeform 5189">
                  <a:extLst>
                    <a:ext uri="{FF2B5EF4-FFF2-40B4-BE49-F238E27FC236}">
                      <a16:creationId xmlns:a16="http://schemas.microsoft.com/office/drawing/2014/main" id="{8CBECCA3-E100-3933-07C3-C4CE68DFDAFE}"/>
                    </a:ext>
                  </a:extLst>
                </p:cNvPr>
                <p:cNvSpPr/>
                <p:nvPr/>
              </p:nvSpPr>
              <p:spPr>
                <a:xfrm>
                  <a:off x="9020715" y="5590596"/>
                  <a:ext cx="4110" cy="52065"/>
                </a:xfrm>
                <a:custGeom>
                  <a:avLst/>
                  <a:gdLst>
                    <a:gd name="connsiteX0" fmla="*/ 4111 w 4110"/>
                    <a:gd name="connsiteY0" fmla="*/ 0 h 52065"/>
                    <a:gd name="connsiteX1" fmla="*/ 872 w 4110"/>
                    <a:gd name="connsiteY1" fmla="*/ 18559 h 52065"/>
                    <a:gd name="connsiteX2" fmla="*/ 3239 w 4110"/>
                    <a:gd name="connsiteY2" fmla="*/ 35873 h 52065"/>
                    <a:gd name="connsiteX3" fmla="*/ 0 w 4110"/>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110" h="52065">
                      <a:moveTo>
                        <a:pt x="4111" y="0"/>
                      </a:moveTo>
                      <a:cubicBezTo>
                        <a:pt x="1121" y="7847"/>
                        <a:pt x="748" y="14199"/>
                        <a:pt x="872" y="18559"/>
                      </a:cubicBezTo>
                      <a:cubicBezTo>
                        <a:pt x="1246" y="25534"/>
                        <a:pt x="3114" y="28773"/>
                        <a:pt x="3239" y="35873"/>
                      </a:cubicBezTo>
                      <a:cubicBezTo>
                        <a:pt x="3239"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2" name="Freeform 5190">
                  <a:extLst>
                    <a:ext uri="{FF2B5EF4-FFF2-40B4-BE49-F238E27FC236}">
                      <a16:creationId xmlns:a16="http://schemas.microsoft.com/office/drawing/2014/main" id="{7201CF71-0131-0597-B85C-6DC264C019D1}"/>
                    </a:ext>
                  </a:extLst>
                </p:cNvPr>
                <p:cNvSpPr/>
                <p:nvPr/>
              </p:nvSpPr>
              <p:spPr>
                <a:xfrm>
                  <a:off x="9028031" y="5585988"/>
                  <a:ext cx="5528" cy="52065"/>
                </a:xfrm>
                <a:custGeom>
                  <a:avLst/>
                  <a:gdLst>
                    <a:gd name="connsiteX0" fmla="*/ 1403 w 5528"/>
                    <a:gd name="connsiteY0" fmla="*/ 52065 h 52065"/>
                    <a:gd name="connsiteX1" fmla="*/ 656 w 5528"/>
                    <a:gd name="connsiteY1" fmla="*/ 33257 h 52065"/>
                    <a:gd name="connsiteX2" fmla="*/ 5140 w 5528"/>
                    <a:gd name="connsiteY2" fmla="*/ 16441 h 52065"/>
                    <a:gd name="connsiteX3" fmla="*/ 4019 w 5528"/>
                    <a:gd name="connsiteY3" fmla="*/ 0 h 52065"/>
                  </a:gdLst>
                  <a:ahLst/>
                  <a:cxnLst>
                    <a:cxn ang="0">
                      <a:pos x="connsiteX0" y="connsiteY0"/>
                    </a:cxn>
                    <a:cxn ang="0">
                      <a:pos x="connsiteX1" y="connsiteY1"/>
                    </a:cxn>
                    <a:cxn ang="0">
                      <a:pos x="connsiteX2" y="connsiteY2"/>
                    </a:cxn>
                    <a:cxn ang="0">
                      <a:pos x="connsiteX3" y="connsiteY3"/>
                    </a:cxn>
                  </a:cxnLst>
                  <a:rect l="l" t="t" r="r" b="b"/>
                  <a:pathLst>
                    <a:path w="5528" h="52065">
                      <a:moveTo>
                        <a:pt x="1403" y="52065"/>
                      </a:moveTo>
                      <a:cubicBezTo>
                        <a:pt x="-589" y="43844"/>
                        <a:pt x="-91" y="37616"/>
                        <a:pt x="656" y="33257"/>
                      </a:cubicBezTo>
                      <a:cubicBezTo>
                        <a:pt x="1902" y="26406"/>
                        <a:pt x="4269" y="23417"/>
                        <a:pt x="5140" y="16441"/>
                      </a:cubicBezTo>
                      <a:cubicBezTo>
                        <a:pt x="6137" y="9591"/>
                        <a:pt x="5016" y="3737"/>
                        <a:pt x="40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3" name="Freeform 5191">
                  <a:extLst>
                    <a:ext uri="{FF2B5EF4-FFF2-40B4-BE49-F238E27FC236}">
                      <a16:creationId xmlns:a16="http://schemas.microsoft.com/office/drawing/2014/main" id="{360C02E4-96FE-1EAB-F58C-A266A18AF5E6}"/>
                    </a:ext>
                  </a:extLst>
                </p:cNvPr>
                <p:cNvSpPr/>
                <p:nvPr/>
              </p:nvSpPr>
              <p:spPr>
                <a:xfrm>
                  <a:off x="9015453" y="5570511"/>
                  <a:ext cx="26717" cy="26469"/>
                </a:xfrm>
                <a:custGeom>
                  <a:avLst/>
                  <a:gdLst>
                    <a:gd name="connsiteX0" fmla="*/ 26686 w 26717"/>
                    <a:gd name="connsiteY0" fmla="*/ 14106 h 26469"/>
                    <a:gd name="connsiteX1" fmla="*/ 12487 w 26717"/>
                    <a:gd name="connsiteY1" fmla="*/ 26438 h 26469"/>
                    <a:gd name="connsiteX2" fmla="*/ 31 w 26717"/>
                    <a:gd name="connsiteY2" fmla="*/ 12363 h 26469"/>
                    <a:gd name="connsiteX3" fmla="*/ 14231 w 26717"/>
                    <a:gd name="connsiteY3" fmla="*/ 31 h 26469"/>
                    <a:gd name="connsiteX4" fmla="*/ 26686 w 26717"/>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469">
                      <a:moveTo>
                        <a:pt x="26686" y="14106"/>
                      </a:moveTo>
                      <a:cubicBezTo>
                        <a:pt x="26188" y="21455"/>
                        <a:pt x="19836" y="26936"/>
                        <a:pt x="12487" y="26438"/>
                      </a:cubicBezTo>
                      <a:cubicBezTo>
                        <a:pt x="5138" y="25940"/>
                        <a:pt x="-467" y="19712"/>
                        <a:pt x="31" y="12363"/>
                      </a:cubicBezTo>
                      <a:cubicBezTo>
                        <a:pt x="529" y="5014"/>
                        <a:pt x="6881" y="-467"/>
                        <a:pt x="14231" y="31"/>
                      </a:cubicBezTo>
                      <a:cubicBezTo>
                        <a:pt x="21580" y="530"/>
                        <a:pt x="27184" y="6758"/>
                        <a:pt x="26686"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4" name="Freeform 5192">
                  <a:extLst>
                    <a:ext uri="{FF2B5EF4-FFF2-40B4-BE49-F238E27FC236}">
                      <a16:creationId xmlns:a16="http://schemas.microsoft.com/office/drawing/2014/main" id="{5F26BB43-ABD6-B300-1098-A333FF845E28}"/>
                    </a:ext>
                  </a:extLst>
                </p:cNvPr>
                <p:cNvSpPr/>
                <p:nvPr/>
              </p:nvSpPr>
              <p:spPr>
                <a:xfrm>
                  <a:off x="9025075" y="5647021"/>
                  <a:ext cx="4234" cy="52065"/>
                </a:xfrm>
                <a:custGeom>
                  <a:avLst/>
                  <a:gdLst>
                    <a:gd name="connsiteX0" fmla="*/ 0 w 4234"/>
                    <a:gd name="connsiteY0" fmla="*/ 52065 h 52065"/>
                    <a:gd name="connsiteX1" fmla="*/ 3239 w 4234"/>
                    <a:gd name="connsiteY1" fmla="*/ 33506 h 52065"/>
                    <a:gd name="connsiteX2" fmla="*/ 997 w 4234"/>
                    <a:gd name="connsiteY2" fmla="*/ 16192 h 52065"/>
                    <a:gd name="connsiteX3" fmla="*/ 4235 w 4234"/>
                    <a:gd name="connsiteY3" fmla="*/ 0 h 52065"/>
                  </a:gdLst>
                  <a:ahLst/>
                  <a:cxnLst>
                    <a:cxn ang="0">
                      <a:pos x="connsiteX0" y="connsiteY0"/>
                    </a:cxn>
                    <a:cxn ang="0">
                      <a:pos x="connsiteX1" y="connsiteY1"/>
                    </a:cxn>
                    <a:cxn ang="0">
                      <a:pos x="connsiteX2" y="connsiteY2"/>
                    </a:cxn>
                    <a:cxn ang="0">
                      <a:pos x="connsiteX3" y="connsiteY3"/>
                    </a:cxn>
                  </a:cxnLst>
                  <a:rect l="l" t="t" r="r" b="b"/>
                  <a:pathLst>
                    <a:path w="4234" h="52065">
                      <a:moveTo>
                        <a:pt x="0" y="52065"/>
                      </a:moveTo>
                      <a:cubicBezTo>
                        <a:pt x="2989" y="44218"/>
                        <a:pt x="3363" y="37866"/>
                        <a:pt x="3239" y="33506"/>
                      </a:cubicBezTo>
                      <a:cubicBezTo>
                        <a:pt x="2865" y="26531"/>
                        <a:pt x="997" y="23292"/>
                        <a:pt x="997" y="16192"/>
                      </a:cubicBezTo>
                      <a:cubicBezTo>
                        <a:pt x="997" y="9342"/>
                        <a:pt x="2740"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5" name="Freeform 5193">
                  <a:extLst>
                    <a:ext uri="{FF2B5EF4-FFF2-40B4-BE49-F238E27FC236}">
                      <a16:creationId xmlns:a16="http://schemas.microsoft.com/office/drawing/2014/main" id="{188E1C7B-D8BF-B7C1-FADB-F156215C2705}"/>
                    </a:ext>
                  </a:extLst>
                </p:cNvPr>
                <p:cNvSpPr/>
                <p:nvPr/>
              </p:nvSpPr>
              <p:spPr>
                <a:xfrm>
                  <a:off x="9016395" y="5651629"/>
                  <a:ext cx="5474" cy="52065"/>
                </a:xfrm>
                <a:custGeom>
                  <a:avLst/>
                  <a:gdLst>
                    <a:gd name="connsiteX0" fmla="*/ 4071 w 5474"/>
                    <a:gd name="connsiteY0" fmla="*/ 0 h 52065"/>
                    <a:gd name="connsiteX1" fmla="*/ 4818 w 5474"/>
                    <a:gd name="connsiteY1" fmla="*/ 18808 h 52065"/>
                    <a:gd name="connsiteX2" fmla="*/ 335 w 5474"/>
                    <a:gd name="connsiteY2" fmla="*/ 35624 h 52065"/>
                    <a:gd name="connsiteX3" fmla="*/ 1455 w 547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474" h="52065">
                      <a:moveTo>
                        <a:pt x="4071" y="0"/>
                      </a:moveTo>
                      <a:cubicBezTo>
                        <a:pt x="6064" y="8221"/>
                        <a:pt x="5566" y="14449"/>
                        <a:pt x="4818" y="18808"/>
                      </a:cubicBezTo>
                      <a:cubicBezTo>
                        <a:pt x="3572" y="25659"/>
                        <a:pt x="1330" y="28648"/>
                        <a:pt x="335" y="35624"/>
                      </a:cubicBezTo>
                      <a:cubicBezTo>
                        <a:pt x="-537" y="42474"/>
                        <a:pt x="458" y="48328"/>
                        <a:pt x="1455"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6" name="Freeform 5194">
                  <a:extLst>
                    <a:ext uri="{FF2B5EF4-FFF2-40B4-BE49-F238E27FC236}">
                      <a16:creationId xmlns:a16="http://schemas.microsoft.com/office/drawing/2014/main" id="{230AD9EA-2CAA-F5EF-66F1-C586F7DA0501}"/>
                    </a:ext>
                  </a:extLst>
                </p:cNvPr>
                <p:cNvSpPr/>
                <p:nvPr/>
              </p:nvSpPr>
              <p:spPr>
                <a:xfrm>
                  <a:off x="9007855" y="5692702"/>
                  <a:ext cx="26330" cy="26469"/>
                </a:xfrm>
                <a:custGeom>
                  <a:avLst/>
                  <a:gdLst>
                    <a:gd name="connsiteX0" fmla="*/ 31 w 26330"/>
                    <a:gd name="connsiteY0" fmla="*/ 12363 h 26469"/>
                    <a:gd name="connsiteX1" fmla="*/ 13982 w 26330"/>
                    <a:gd name="connsiteY1" fmla="*/ 31 h 26469"/>
                    <a:gd name="connsiteX2" fmla="*/ 26313 w 26330"/>
                    <a:gd name="connsiteY2" fmla="*/ 14106 h 26469"/>
                    <a:gd name="connsiteX3" fmla="*/ 12362 w 26330"/>
                    <a:gd name="connsiteY3" fmla="*/ 26438 h 26469"/>
                    <a:gd name="connsiteX4" fmla="*/ 31 w 26330"/>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0" h="26469">
                      <a:moveTo>
                        <a:pt x="31" y="12363"/>
                      </a:moveTo>
                      <a:cubicBezTo>
                        <a:pt x="529" y="5014"/>
                        <a:pt x="6757" y="-467"/>
                        <a:pt x="13982" y="31"/>
                      </a:cubicBezTo>
                      <a:cubicBezTo>
                        <a:pt x="21206" y="530"/>
                        <a:pt x="26687" y="6758"/>
                        <a:pt x="26313" y="14106"/>
                      </a:cubicBezTo>
                      <a:cubicBezTo>
                        <a:pt x="25815" y="21455"/>
                        <a:pt x="19587" y="26936"/>
                        <a:pt x="12362" y="26438"/>
                      </a:cubicBezTo>
                      <a:cubicBezTo>
                        <a:pt x="5014" y="25940"/>
                        <a:pt x="-467" y="19712"/>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4" name="Graphic 2987">
                <a:extLst>
                  <a:ext uri="{FF2B5EF4-FFF2-40B4-BE49-F238E27FC236}">
                    <a16:creationId xmlns:a16="http://schemas.microsoft.com/office/drawing/2014/main" id="{ACC8F793-4A76-9194-A64A-FD1B2313A90F}"/>
                  </a:ext>
                </a:extLst>
              </p:cNvPr>
              <p:cNvGrpSpPr/>
              <p:nvPr/>
            </p:nvGrpSpPr>
            <p:grpSpPr>
              <a:xfrm>
                <a:off x="9037126" y="5572504"/>
                <a:ext cx="34814" cy="148535"/>
                <a:chOff x="9037126" y="5572504"/>
                <a:chExt cx="34814" cy="148535"/>
              </a:xfrm>
              <a:grpFill/>
            </p:grpSpPr>
            <p:sp>
              <p:nvSpPr>
                <p:cNvPr id="4355" name="Freeform 5196">
                  <a:extLst>
                    <a:ext uri="{FF2B5EF4-FFF2-40B4-BE49-F238E27FC236}">
                      <a16:creationId xmlns:a16="http://schemas.microsoft.com/office/drawing/2014/main" id="{9AA86C0D-80C8-1E8A-EAC0-CE90DCD7E1CE}"/>
                    </a:ext>
                  </a:extLst>
                </p:cNvPr>
                <p:cNvSpPr/>
                <p:nvPr/>
              </p:nvSpPr>
              <p:spPr>
                <a:xfrm>
                  <a:off x="9050236" y="5592465"/>
                  <a:ext cx="4234" cy="52065"/>
                </a:xfrm>
                <a:custGeom>
                  <a:avLst/>
                  <a:gdLst>
                    <a:gd name="connsiteX0" fmla="*/ 4235 w 4234"/>
                    <a:gd name="connsiteY0" fmla="*/ 0 h 52065"/>
                    <a:gd name="connsiteX1" fmla="*/ 996 w 4234"/>
                    <a:gd name="connsiteY1" fmla="*/ 18559 h 52065"/>
                    <a:gd name="connsiteX2" fmla="*/ 3238 w 4234"/>
                    <a:gd name="connsiteY2" fmla="*/ 35873 h 52065"/>
                    <a:gd name="connsiteX3" fmla="*/ 0 w 4234"/>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234" h="52065">
                      <a:moveTo>
                        <a:pt x="4235" y="0"/>
                      </a:moveTo>
                      <a:cubicBezTo>
                        <a:pt x="1245" y="7847"/>
                        <a:pt x="747" y="14200"/>
                        <a:pt x="996" y="18559"/>
                      </a:cubicBezTo>
                      <a:cubicBezTo>
                        <a:pt x="1370" y="25534"/>
                        <a:pt x="3238" y="28773"/>
                        <a:pt x="3238" y="35873"/>
                      </a:cubicBezTo>
                      <a:cubicBezTo>
                        <a:pt x="3238" y="42723"/>
                        <a:pt x="1495"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6" name="Freeform 5197">
                  <a:extLst>
                    <a:ext uri="{FF2B5EF4-FFF2-40B4-BE49-F238E27FC236}">
                      <a16:creationId xmlns:a16="http://schemas.microsoft.com/office/drawing/2014/main" id="{4F60B735-B0D9-D09F-8ADB-27AF36F22898}"/>
                    </a:ext>
                  </a:extLst>
                </p:cNvPr>
                <p:cNvSpPr/>
                <p:nvPr/>
              </p:nvSpPr>
              <p:spPr>
                <a:xfrm>
                  <a:off x="9057720" y="5587981"/>
                  <a:ext cx="5633" cy="52065"/>
                </a:xfrm>
                <a:custGeom>
                  <a:avLst/>
                  <a:gdLst>
                    <a:gd name="connsiteX0" fmla="*/ 1359 w 5633"/>
                    <a:gd name="connsiteY0" fmla="*/ 52065 h 52065"/>
                    <a:gd name="connsiteX1" fmla="*/ 612 w 5633"/>
                    <a:gd name="connsiteY1" fmla="*/ 33257 h 52065"/>
                    <a:gd name="connsiteX2" fmla="*/ 5221 w 5633"/>
                    <a:gd name="connsiteY2" fmla="*/ 16441 h 52065"/>
                    <a:gd name="connsiteX3" fmla="*/ 4225 w 5633"/>
                    <a:gd name="connsiteY3" fmla="*/ 0 h 52065"/>
                  </a:gdLst>
                  <a:ahLst/>
                  <a:cxnLst>
                    <a:cxn ang="0">
                      <a:pos x="connsiteX0" y="connsiteY0"/>
                    </a:cxn>
                    <a:cxn ang="0">
                      <a:pos x="connsiteX1" y="connsiteY1"/>
                    </a:cxn>
                    <a:cxn ang="0">
                      <a:pos x="connsiteX2" y="connsiteY2"/>
                    </a:cxn>
                    <a:cxn ang="0">
                      <a:pos x="connsiteX3" y="connsiteY3"/>
                    </a:cxn>
                  </a:cxnLst>
                  <a:rect l="l" t="t" r="r" b="b"/>
                  <a:pathLst>
                    <a:path w="5633" h="52065">
                      <a:moveTo>
                        <a:pt x="1359" y="52065"/>
                      </a:moveTo>
                      <a:cubicBezTo>
                        <a:pt x="-508" y="43844"/>
                        <a:pt x="-135" y="37616"/>
                        <a:pt x="612" y="33257"/>
                      </a:cubicBezTo>
                      <a:cubicBezTo>
                        <a:pt x="1858" y="26406"/>
                        <a:pt x="4225" y="23417"/>
                        <a:pt x="5221" y="16441"/>
                      </a:cubicBezTo>
                      <a:cubicBezTo>
                        <a:pt x="6217" y="9591"/>
                        <a:pt x="5221" y="3737"/>
                        <a:pt x="422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7" name="Freeform 5198">
                  <a:extLst>
                    <a:ext uri="{FF2B5EF4-FFF2-40B4-BE49-F238E27FC236}">
                      <a16:creationId xmlns:a16="http://schemas.microsoft.com/office/drawing/2014/main" id="{8C4877FA-56E2-58FE-CAF3-0BBD890CE29B}"/>
                    </a:ext>
                  </a:extLst>
                </p:cNvPr>
                <p:cNvSpPr/>
                <p:nvPr/>
              </p:nvSpPr>
              <p:spPr>
                <a:xfrm>
                  <a:off x="9045235" y="5572504"/>
                  <a:ext cx="26704" cy="26469"/>
                </a:xfrm>
                <a:custGeom>
                  <a:avLst/>
                  <a:gdLst>
                    <a:gd name="connsiteX0" fmla="*/ 26674 w 26704"/>
                    <a:gd name="connsiteY0" fmla="*/ 14106 h 26469"/>
                    <a:gd name="connsiteX1" fmla="*/ 12474 w 26704"/>
                    <a:gd name="connsiteY1" fmla="*/ 26438 h 26469"/>
                    <a:gd name="connsiteX2" fmla="*/ 18 w 26704"/>
                    <a:gd name="connsiteY2" fmla="*/ 12363 h 26469"/>
                    <a:gd name="connsiteX3" fmla="*/ 14218 w 26704"/>
                    <a:gd name="connsiteY3" fmla="*/ 31 h 26469"/>
                    <a:gd name="connsiteX4" fmla="*/ 26674 w 26704"/>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4" h="26469">
                      <a:moveTo>
                        <a:pt x="26674" y="14106"/>
                      </a:moveTo>
                      <a:cubicBezTo>
                        <a:pt x="26175" y="21455"/>
                        <a:pt x="19823" y="26936"/>
                        <a:pt x="12474" y="26438"/>
                      </a:cubicBezTo>
                      <a:cubicBezTo>
                        <a:pt x="5125" y="25940"/>
                        <a:pt x="-356" y="19712"/>
                        <a:pt x="18" y="12363"/>
                      </a:cubicBezTo>
                      <a:cubicBezTo>
                        <a:pt x="516" y="5014"/>
                        <a:pt x="6869" y="-467"/>
                        <a:pt x="14218" y="31"/>
                      </a:cubicBezTo>
                      <a:cubicBezTo>
                        <a:pt x="21566" y="405"/>
                        <a:pt x="27172" y="6758"/>
                        <a:pt x="26674"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8" name="Freeform 5199">
                  <a:extLst>
                    <a:ext uri="{FF2B5EF4-FFF2-40B4-BE49-F238E27FC236}">
                      <a16:creationId xmlns:a16="http://schemas.microsoft.com/office/drawing/2014/main" id="{70A23DE1-846E-C53F-3133-D8EF209798BB}"/>
                    </a:ext>
                  </a:extLst>
                </p:cNvPr>
                <p:cNvSpPr/>
                <p:nvPr/>
              </p:nvSpPr>
              <p:spPr>
                <a:xfrm>
                  <a:off x="9054346" y="5648889"/>
                  <a:ext cx="4235" cy="52065"/>
                </a:xfrm>
                <a:custGeom>
                  <a:avLst/>
                  <a:gdLst>
                    <a:gd name="connsiteX0" fmla="*/ 0 w 4235"/>
                    <a:gd name="connsiteY0" fmla="*/ 52065 h 52065"/>
                    <a:gd name="connsiteX1" fmla="*/ 3239 w 4235"/>
                    <a:gd name="connsiteY1" fmla="*/ 33506 h 52065"/>
                    <a:gd name="connsiteX2" fmla="*/ 997 w 4235"/>
                    <a:gd name="connsiteY2" fmla="*/ 16192 h 52065"/>
                    <a:gd name="connsiteX3" fmla="*/ 4235 w 4235"/>
                    <a:gd name="connsiteY3" fmla="*/ 0 h 52065"/>
                  </a:gdLst>
                  <a:ahLst/>
                  <a:cxnLst>
                    <a:cxn ang="0">
                      <a:pos x="connsiteX0" y="connsiteY0"/>
                    </a:cxn>
                    <a:cxn ang="0">
                      <a:pos x="connsiteX1" y="connsiteY1"/>
                    </a:cxn>
                    <a:cxn ang="0">
                      <a:pos x="connsiteX2" y="connsiteY2"/>
                    </a:cxn>
                    <a:cxn ang="0">
                      <a:pos x="connsiteX3" y="connsiteY3"/>
                    </a:cxn>
                  </a:cxnLst>
                  <a:rect l="l" t="t" r="r" b="b"/>
                  <a:pathLst>
                    <a:path w="4235" h="52065">
                      <a:moveTo>
                        <a:pt x="0" y="52065"/>
                      </a:moveTo>
                      <a:cubicBezTo>
                        <a:pt x="2989" y="44218"/>
                        <a:pt x="3363" y="37866"/>
                        <a:pt x="3239" y="33506"/>
                      </a:cubicBezTo>
                      <a:cubicBezTo>
                        <a:pt x="2989" y="26531"/>
                        <a:pt x="997" y="23292"/>
                        <a:pt x="997" y="16192"/>
                      </a:cubicBezTo>
                      <a:cubicBezTo>
                        <a:pt x="997" y="9342"/>
                        <a:pt x="2741" y="3612"/>
                        <a:pt x="42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9" name="Freeform 5200">
                  <a:extLst>
                    <a:ext uri="{FF2B5EF4-FFF2-40B4-BE49-F238E27FC236}">
                      <a16:creationId xmlns:a16="http://schemas.microsoft.com/office/drawing/2014/main" id="{7AB068B8-2018-A532-5D20-635FCB29685F}"/>
                    </a:ext>
                  </a:extLst>
                </p:cNvPr>
                <p:cNvSpPr/>
                <p:nvPr/>
              </p:nvSpPr>
              <p:spPr>
                <a:xfrm>
                  <a:off x="9045713" y="5653498"/>
                  <a:ext cx="5509" cy="52065"/>
                </a:xfrm>
                <a:custGeom>
                  <a:avLst/>
                  <a:gdLst>
                    <a:gd name="connsiteX0" fmla="*/ 4149 w 5509"/>
                    <a:gd name="connsiteY0" fmla="*/ 0 h 52065"/>
                    <a:gd name="connsiteX1" fmla="*/ 4897 w 5509"/>
                    <a:gd name="connsiteY1" fmla="*/ 18808 h 52065"/>
                    <a:gd name="connsiteX2" fmla="*/ 413 w 5509"/>
                    <a:gd name="connsiteY2" fmla="*/ 35624 h 52065"/>
                    <a:gd name="connsiteX3" fmla="*/ 1410 w 550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509" h="52065">
                      <a:moveTo>
                        <a:pt x="4149" y="0"/>
                      </a:moveTo>
                      <a:cubicBezTo>
                        <a:pt x="6018" y="8221"/>
                        <a:pt x="5644" y="14449"/>
                        <a:pt x="4897" y="18808"/>
                      </a:cubicBezTo>
                      <a:cubicBezTo>
                        <a:pt x="3651" y="25659"/>
                        <a:pt x="1285" y="28648"/>
                        <a:pt x="413" y="35624"/>
                      </a:cubicBezTo>
                      <a:cubicBezTo>
                        <a:pt x="-584" y="42474"/>
                        <a:pt x="413" y="48328"/>
                        <a:pt x="141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60" name="Freeform 5201">
                  <a:extLst>
                    <a:ext uri="{FF2B5EF4-FFF2-40B4-BE49-F238E27FC236}">
                      <a16:creationId xmlns:a16="http://schemas.microsoft.com/office/drawing/2014/main" id="{4FEDC3A8-45E7-20A1-743A-F1E4B3B573BC}"/>
                    </a:ext>
                  </a:extLst>
                </p:cNvPr>
                <p:cNvSpPr/>
                <p:nvPr/>
              </p:nvSpPr>
              <p:spPr>
                <a:xfrm>
                  <a:off x="9037126" y="5694571"/>
                  <a:ext cx="26345" cy="26469"/>
                </a:xfrm>
                <a:custGeom>
                  <a:avLst/>
                  <a:gdLst>
                    <a:gd name="connsiteX0" fmla="*/ 31 w 26345"/>
                    <a:gd name="connsiteY0" fmla="*/ 12363 h 26469"/>
                    <a:gd name="connsiteX1" fmla="*/ 14106 w 26345"/>
                    <a:gd name="connsiteY1" fmla="*/ 31 h 26469"/>
                    <a:gd name="connsiteX2" fmla="*/ 26314 w 26345"/>
                    <a:gd name="connsiteY2" fmla="*/ 14106 h 26469"/>
                    <a:gd name="connsiteX3" fmla="*/ 12239 w 26345"/>
                    <a:gd name="connsiteY3" fmla="*/ 26438 h 26469"/>
                    <a:gd name="connsiteX4" fmla="*/ 31 w 26345"/>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69">
                      <a:moveTo>
                        <a:pt x="31" y="12363"/>
                      </a:moveTo>
                      <a:cubicBezTo>
                        <a:pt x="530" y="5014"/>
                        <a:pt x="6758" y="-467"/>
                        <a:pt x="14106" y="31"/>
                      </a:cubicBezTo>
                      <a:cubicBezTo>
                        <a:pt x="21331" y="529"/>
                        <a:pt x="26812" y="6757"/>
                        <a:pt x="26314" y="14106"/>
                      </a:cubicBezTo>
                      <a:cubicBezTo>
                        <a:pt x="25815" y="21455"/>
                        <a:pt x="19587" y="26936"/>
                        <a:pt x="12239" y="26438"/>
                      </a:cubicBezTo>
                      <a:cubicBezTo>
                        <a:pt x="5014" y="26064"/>
                        <a:pt x="-467" y="19711"/>
                        <a:pt x="31"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5" name="Graphic 2987">
                <a:extLst>
                  <a:ext uri="{FF2B5EF4-FFF2-40B4-BE49-F238E27FC236}">
                    <a16:creationId xmlns:a16="http://schemas.microsoft.com/office/drawing/2014/main" id="{45E493B5-74E6-01F9-840C-6E0C3E0F6AA0}"/>
                  </a:ext>
                </a:extLst>
              </p:cNvPr>
              <p:cNvGrpSpPr/>
              <p:nvPr/>
            </p:nvGrpSpPr>
            <p:grpSpPr>
              <a:xfrm>
                <a:off x="9066522" y="5574372"/>
                <a:ext cx="35187" cy="148660"/>
                <a:chOff x="9066522" y="5574372"/>
                <a:chExt cx="35187" cy="148660"/>
              </a:xfrm>
              <a:grpFill/>
            </p:grpSpPr>
            <p:sp>
              <p:nvSpPr>
                <p:cNvPr id="4349" name="Freeform 5203">
                  <a:extLst>
                    <a:ext uri="{FF2B5EF4-FFF2-40B4-BE49-F238E27FC236}">
                      <a16:creationId xmlns:a16="http://schemas.microsoft.com/office/drawing/2014/main" id="{4381C2E5-6F92-B398-D1A6-580C24F94347}"/>
                    </a:ext>
                  </a:extLst>
                </p:cNvPr>
                <p:cNvSpPr/>
                <p:nvPr/>
              </p:nvSpPr>
              <p:spPr>
                <a:xfrm>
                  <a:off x="9079880" y="5594458"/>
                  <a:ext cx="4359" cy="52065"/>
                </a:xfrm>
                <a:custGeom>
                  <a:avLst/>
                  <a:gdLst>
                    <a:gd name="connsiteX0" fmla="*/ 4360 w 4359"/>
                    <a:gd name="connsiteY0" fmla="*/ 0 h 52065"/>
                    <a:gd name="connsiteX1" fmla="*/ 1121 w 4359"/>
                    <a:gd name="connsiteY1" fmla="*/ 18559 h 52065"/>
                    <a:gd name="connsiteX2" fmla="*/ 3363 w 4359"/>
                    <a:gd name="connsiteY2" fmla="*/ 35873 h 52065"/>
                    <a:gd name="connsiteX3" fmla="*/ 0 w 435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4359" h="52065">
                      <a:moveTo>
                        <a:pt x="4360" y="0"/>
                      </a:moveTo>
                      <a:cubicBezTo>
                        <a:pt x="1371" y="7847"/>
                        <a:pt x="872" y="14199"/>
                        <a:pt x="1121" y="18559"/>
                      </a:cubicBezTo>
                      <a:cubicBezTo>
                        <a:pt x="1371" y="25534"/>
                        <a:pt x="3363" y="28773"/>
                        <a:pt x="3363" y="35873"/>
                      </a:cubicBezTo>
                      <a:cubicBezTo>
                        <a:pt x="3363" y="42723"/>
                        <a:pt x="1619" y="48453"/>
                        <a:pt x="0"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0" name="Freeform 5204">
                  <a:extLst>
                    <a:ext uri="{FF2B5EF4-FFF2-40B4-BE49-F238E27FC236}">
                      <a16:creationId xmlns:a16="http://schemas.microsoft.com/office/drawing/2014/main" id="{E8FA42C5-723A-28D5-A23C-ED973813F0B5}"/>
                    </a:ext>
                  </a:extLst>
                </p:cNvPr>
                <p:cNvSpPr/>
                <p:nvPr/>
              </p:nvSpPr>
              <p:spPr>
                <a:xfrm>
                  <a:off x="9087258" y="5589849"/>
                  <a:ext cx="5739" cy="52065"/>
                </a:xfrm>
                <a:custGeom>
                  <a:avLst/>
                  <a:gdLst>
                    <a:gd name="connsiteX0" fmla="*/ 1341 w 5739"/>
                    <a:gd name="connsiteY0" fmla="*/ 52065 h 52065"/>
                    <a:gd name="connsiteX1" fmla="*/ 718 w 5739"/>
                    <a:gd name="connsiteY1" fmla="*/ 33257 h 52065"/>
                    <a:gd name="connsiteX2" fmla="*/ 5327 w 5739"/>
                    <a:gd name="connsiteY2" fmla="*/ 16442 h 52065"/>
                    <a:gd name="connsiteX3" fmla="*/ 4330 w 5739"/>
                    <a:gd name="connsiteY3" fmla="*/ 0 h 52065"/>
                  </a:gdLst>
                  <a:ahLst/>
                  <a:cxnLst>
                    <a:cxn ang="0">
                      <a:pos x="connsiteX0" y="connsiteY0"/>
                    </a:cxn>
                    <a:cxn ang="0">
                      <a:pos x="connsiteX1" y="connsiteY1"/>
                    </a:cxn>
                    <a:cxn ang="0">
                      <a:pos x="connsiteX2" y="connsiteY2"/>
                    </a:cxn>
                    <a:cxn ang="0">
                      <a:pos x="connsiteX3" y="connsiteY3"/>
                    </a:cxn>
                  </a:cxnLst>
                  <a:rect l="l" t="t" r="r" b="b"/>
                  <a:pathLst>
                    <a:path w="5739" h="52065">
                      <a:moveTo>
                        <a:pt x="1341" y="52065"/>
                      </a:moveTo>
                      <a:cubicBezTo>
                        <a:pt x="-527" y="43844"/>
                        <a:pt x="-154" y="37616"/>
                        <a:pt x="718" y="33257"/>
                      </a:cubicBezTo>
                      <a:cubicBezTo>
                        <a:pt x="1964" y="26406"/>
                        <a:pt x="4330" y="23417"/>
                        <a:pt x="5327" y="16442"/>
                      </a:cubicBezTo>
                      <a:cubicBezTo>
                        <a:pt x="6324" y="9591"/>
                        <a:pt x="5327" y="3737"/>
                        <a:pt x="4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1" name="Freeform 5205">
                  <a:extLst>
                    <a:ext uri="{FF2B5EF4-FFF2-40B4-BE49-F238E27FC236}">
                      <a16:creationId xmlns:a16="http://schemas.microsoft.com/office/drawing/2014/main" id="{37EEB5A3-2DAC-2DB9-6F5D-934731178615}"/>
                    </a:ext>
                  </a:extLst>
                </p:cNvPr>
                <p:cNvSpPr/>
                <p:nvPr/>
              </p:nvSpPr>
              <p:spPr>
                <a:xfrm>
                  <a:off x="9075116" y="5574372"/>
                  <a:ext cx="26593" cy="26469"/>
                </a:xfrm>
                <a:custGeom>
                  <a:avLst/>
                  <a:gdLst>
                    <a:gd name="connsiteX0" fmla="*/ 26562 w 26593"/>
                    <a:gd name="connsiteY0" fmla="*/ 14106 h 26469"/>
                    <a:gd name="connsiteX1" fmla="*/ 12363 w 26593"/>
                    <a:gd name="connsiteY1" fmla="*/ 26438 h 26469"/>
                    <a:gd name="connsiteX2" fmla="*/ 32 w 26593"/>
                    <a:gd name="connsiteY2" fmla="*/ 12363 h 26469"/>
                    <a:gd name="connsiteX3" fmla="*/ 14231 w 26593"/>
                    <a:gd name="connsiteY3" fmla="*/ 31 h 26469"/>
                    <a:gd name="connsiteX4" fmla="*/ 26562 w 26593"/>
                    <a:gd name="connsiteY4" fmla="*/ 14106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469">
                      <a:moveTo>
                        <a:pt x="26562" y="14106"/>
                      </a:moveTo>
                      <a:cubicBezTo>
                        <a:pt x="26064" y="21455"/>
                        <a:pt x="19711" y="26936"/>
                        <a:pt x="12363" y="26438"/>
                      </a:cubicBezTo>
                      <a:cubicBezTo>
                        <a:pt x="5013" y="25940"/>
                        <a:pt x="-467" y="19712"/>
                        <a:pt x="32" y="12363"/>
                      </a:cubicBezTo>
                      <a:cubicBezTo>
                        <a:pt x="529" y="5014"/>
                        <a:pt x="6882" y="-467"/>
                        <a:pt x="14231" y="31"/>
                      </a:cubicBezTo>
                      <a:cubicBezTo>
                        <a:pt x="21580" y="530"/>
                        <a:pt x="27060" y="6758"/>
                        <a:pt x="26562" y="141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2" name="Freeform 5206">
                  <a:extLst>
                    <a:ext uri="{FF2B5EF4-FFF2-40B4-BE49-F238E27FC236}">
                      <a16:creationId xmlns:a16="http://schemas.microsoft.com/office/drawing/2014/main" id="{E2147D53-0A80-4F56-D041-223BE7247FC8}"/>
                    </a:ext>
                  </a:extLst>
                </p:cNvPr>
                <p:cNvSpPr/>
                <p:nvPr/>
              </p:nvSpPr>
              <p:spPr>
                <a:xfrm>
                  <a:off x="9083742" y="5650882"/>
                  <a:ext cx="4359" cy="52065"/>
                </a:xfrm>
                <a:custGeom>
                  <a:avLst/>
                  <a:gdLst>
                    <a:gd name="connsiteX0" fmla="*/ 0 w 4359"/>
                    <a:gd name="connsiteY0" fmla="*/ 52065 h 52065"/>
                    <a:gd name="connsiteX1" fmla="*/ 3238 w 4359"/>
                    <a:gd name="connsiteY1" fmla="*/ 33506 h 52065"/>
                    <a:gd name="connsiteX2" fmla="*/ 996 w 4359"/>
                    <a:gd name="connsiteY2" fmla="*/ 16192 h 52065"/>
                    <a:gd name="connsiteX3" fmla="*/ 4359 w 4359"/>
                    <a:gd name="connsiteY3" fmla="*/ 0 h 52065"/>
                  </a:gdLst>
                  <a:ahLst/>
                  <a:cxnLst>
                    <a:cxn ang="0">
                      <a:pos x="connsiteX0" y="connsiteY0"/>
                    </a:cxn>
                    <a:cxn ang="0">
                      <a:pos x="connsiteX1" y="connsiteY1"/>
                    </a:cxn>
                    <a:cxn ang="0">
                      <a:pos x="connsiteX2" y="connsiteY2"/>
                    </a:cxn>
                    <a:cxn ang="0">
                      <a:pos x="connsiteX3" y="connsiteY3"/>
                    </a:cxn>
                  </a:cxnLst>
                  <a:rect l="l" t="t" r="r" b="b"/>
                  <a:pathLst>
                    <a:path w="4359" h="52065">
                      <a:moveTo>
                        <a:pt x="0" y="52065"/>
                      </a:moveTo>
                      <a:cubicBezTo>
                        <a:pt x="2989" y="44218"/>
                        <a:pt x="3487" y="37866"/>
                        <a:pt x="3238" y="33506"/>
                      </a:cubicBezTo>
                      <a:cubicBezTo>
                        <a:pt x="2989" y="26531"/>
                        <a:pt x="996" y="23292"/>
                        <a:pt x="996" y="16192"/>
                      </a:cubicBezTo>
                      <a:cubicBezTo>
                        <a:pt x="996" y="9342"/>
                        <a:pt x="2740" y="3612"/>
                        <a:pt x="435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3" name="Freeform 5207">
                  <a:extLst>
                    <a:ext uri="{FF2B5EF4-FFF2-40B4-BE49-F238E27FC236}">
                      <a16:creationId xmlns:a16="http://schemas.microsoft.com/office/drawing/2014/main" id="{630A4937-45B6-431B-610A-39F6FCFC7AE4}"/>
                    </a:ext>
                  </a:extLst>
                </p:cNvPr>
                <p:cNvSpPr/>
                <p:nvPr/>
              </p:nvSpPr>
              <p:spPr>
                <a:xfrm>
                  <a:off x="9074984" y="5655366"/>
                  <a:ext cx="5739" cy="52065"/>
                </a:xfrm>
                <a:custGeom>
                  <a:avLst/>
                  <a:gdLst>
                    <a:gd name="connsiteX0" fmla="*/ 4398 w 5739"/>
                    <a:gd name="connsiteY0" fmla="*/ 0 h 52065"/>
                    <a:gd name="connsiteX1" fmla="*/ 5021 w 5739"/>
                    <a:gd name="connsiteY1" fmla="*/ 18808 h 52065"/>
                    <a:gd name="connsiteX2" fmla="*/ 413 w 5739"/>
                    <a:gd name="connsiteY2" fmla="*/ 35624 h 52065"/>
                    <a:gd name="connsiteX3" fmla="*/ 1409 w 5739"/>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739" h="52065">
                      <a:moveTo>
                        <a:pt x="4398" y="0"/>
                      </a:moveTo>
                      <a:cubicBezTo>
                        <a:pt x="6267" y="8221"/>
                        <a:pt x="5893" y="14449"/>
                        <a:pt x="5021" y="18808"/>
                      </a:cubicBezTo>
                      <a:cubicBezTo>
                        <a:pt x="3776" y="25659"/>
                        <a:pt x="1409" y="28648"/>
                        <a:pt x="413" y="35624"/>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54" name="Freeform 5208">
                  <a:extLst>
                    <a:ext uri="{FF2B5EF4-FFF2-40B4-BE49-F238E27FC236}">
                      <a16:creationId xmlns:a16="http://schemas.microsoft.com/office/drawing/2014/main" id="{7FD5801C-28B0-44C1-B1C1-28EE4F348E61}"/>
                    </a:ext>
                  </a:extLst>
                </p:cNvPr>
                <p:cNvSpPr/>
                <p:nvPr/>
              </p:nvSpPr>
              <p:spPr>
                <a:xfrm>
                  <a:off x="9066522" y="5696564"/>
                  <a:ext cx="26344" cy="26469"/>
                </a:xfrm>
                <a:custGeom>
                  <a:avLst/>
                  <a:gdLst>
                    <a:gd name="connsiteX0" fmla="*/ 32 w 26344"/>
                    <a:gd name="connsiteY0" fmla="*/ 12363 h 26469"/>
                    <a:gd name="connsiteX1" fmla="*/ 14107 w 26344"/>
                    <a:gd name="connsiteY1" fmla="*/ 31 h 26469"/>
                    <a:gd name="connsiteX2" fmla="*/ 26313 w 26344"/>
                    <a:gd name="connsiteY2" fmla="*/ 14106 h 26469"/>
                    <a:gd name="connsiteX3" fmla="*/ 12238 w 26344"/>
                    <a:gd name="connsiteY3" fmla="*/ 26438 h 26469"/>
                    <a:gd name="connsiteX4" fmla="*/ 32 w 26344"/>
                    <a:gd name="connsiteY4" fmla="*/ 12363 h 2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4" h="26469">
                      <a:moveTo>
                        <a:pt x="32" y="12363"/>
                      </a:moveTo>
                      <a:cubicBezTo>
                        <a:pt x="529" y="5014"/>
                        <a:pt x="6882" y="-467"/>
                        <a:pt x="14107" y="31"/>
                      </a:cubicBezTo>
                      <a:cubicBezTo>
                        <a:pt x="21330" y="529"/>
                        <a:pt x="26811" y="6757"/>
                        <a:pt x="26313" y="14106"/>
                      </a:cubicBezTo>
                      <a:cubicBezTo>
                        <a:pt x="25814" y="21455"/>
                        <a:pt x="19462" y="26936"/>
                        <a:pt x="12238" y="26438"/>
                      </a:cubicBezTo>
                      <a:cubicBezTo>
                        <a:pt x="5013" y="25939"/>
                        <a:pt x="-467" y="19587"/>
                        <a:pt x="32" y="123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6" name="Graphic 2987">
                <a:extLst>
                  <a:ext uri="{FF2B5EF4-FFF2-40B4-BE49-F238E27FC236}">
                    <a16:creationId xmlns:a16="http://schemas.microsoft.com/office/drawing/2014/main" id="{7F6ABC12-C5C3-0458-72BF-C3B561662BBA}"/>
                  </a:ext>
                </a:extLst>
              </p:cNvPr>
              <p:cNvGrpSpPr/>
              <p:nvPr/>
            </p:nvGrpSpPr>
            <p:grpSpPr>
              <a:xfrm>
                <a:off x="9095792" y="5576489"/>
                <a:ext cx="35561" cy="148661"/>
                <a:chOff x="9095792" y="5576489"/>
                <a:chExt cx="35561" cy="148661"/>
              </a:xfrm>
              <a:grpFill/>
            </p:grpSpPr>
            <p:sp>
              <p:nvSpPr>
                <p:cNvPr id="4343" name="Freeform 5210">
                  <a:extLst>
                    <a:ext uri="{FF2B5EF4-FFF2-40B4-BE49-F238E27FC236}">
                      <a16:creationId xmlns:a16="http://schemas.microsoft.com/office/drawing/2014/main" id="{D02410B9-19C3-5984-9A2F-8913D711CE02}"/>
                    </a:ext>
                  </a:extLst>
                </p:cNvPr>
                <p:cNvSpPr/>
                <p:nvPr/>
              </p:nvSpPr>
              <p:spPr>
                <a:xfrm>
                  <a:off x="9109276" y="5596575"/>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1121"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4" name="Freeform 5211">
                  <a:extLst>
                    <a:ext uri="{FF2B5EF4-FFF2-40B4-BE49-F238E27FC236}">
                      <a16:creationId xmlns:a16="http://schemas.microsoft.com/office/drawing/2014/main" id="{F1ECD96F-585B-FA45-79C8-0EED7449ABFE}"/>
                    </a:ext>
                  </a:extLst>
                </p:cNvPr>
                <p:cNvSpPr/>
                <p:nvPr/>
              </p:nvSpPr>
              <p:spPr>
                <a:xfrm>
                  <a:off x="9116827" y="5592091"/>
                  <a:ext cx="5816" cy="52065"/>
                </a:xfrm>
                <a:custGeom>
                  <a:avLst/>
                  <a:gdLst>
                    <a:gd name="connsiteX0" fmla="*/ 1293 w 5816"/>
                    <a:gd name="connsiteY0" fmla="*/ 52065 h 52065"/>
                    <a:gd name="connsiteX1" fmla="*/ 670 w 5816"/>
                    <a:gd name="connsiteY1" fmla="*/ 33257 h 52065"/>
                    <a:gd name="connsiteX2" fmla="*/ 5403 w 5816"/>
                    <a:gd name="connsiteY2" fmla="*/ 16442 h 52065"/>
                    <a:gd name="connsiteX3" fmla="*/ 4407 w 5816"/>
                    <a:gd name="connsiteY3" fmla="*/ 0 h 52065"/>
                  </a:gdLst>
                  <a:ahLst/>
                  <a:cxnLst>
                    <a:cxn ang="0">
                      <a:pos x="connsiteX0" y="connsiteY0"/>
                    </a:cxn>
                    <a:cxn ang="0">
                      <a:pos x="connsiteX1" y="connsiteY1"/>
                    </a:cxn>
                    <a:cxn ang="0">
                      <a:pos x="connsiteX2" y="connsiteY2"/>
                    </a:cxn>
                    <a:cxn ang="0">
                      <a:pos x="connsiteX3" y="connsiteY3"/>
                    </a:cxn>
                  </a:cxnLst>
                  <a:rect l="l" t="t" r="r" b="b"/>
                  <a:pathLst>
                    <a:path w="5816" h="52065">
                      <a:moveTo>
                        <a:pt x="1293" y="52065"/>
                      </a:moveTo>
                      <a:cubicBezTo>
                        <a:pt x="-575" y="43844"/>
                        <a:pt x="-77" y="37492"/>
                        <a:pt x="670" y="33257"/>
                      </a:cubicBezTo>
                      <a:cubicBezTo>
                        <a:pt x="1916" y="26406"/>
                        <a:pt x="4283" y="23542"/>
                        <a:pt x="5403" y="16442"/>
                      </a:cubicBezTo>
                      <a:cubicBezTo>
                        <a:pt x="6400" y="9591"/>
                        <a:pt x="5403" y="3737"/>
                        <a:pt x="440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5" name="Freeform 5212">
                  <a:extLst>
                    <a:ext uri="{FF2B5EF4-FFF2-40B4-BE49-F238E27FC236}">
                      <a16:creationId xmlns:a16="http://schemas.microsoft.com/office/drawing/2014/main" id="{D13DC140-6380-1DDC-0995-DC6250C3A180}"/>
                    </a:ext>
                  </a:extLst>
                </p:cNvPr>
                <p:cNvSpPr/>
                <p:nvPr/>
              </p:nvSpPr>
              <p:spPr>
                <a:xfrm>
                  <a:off x="9104760" y="5576489"/>
                  <a:ext cx="26593" cy="26595"/>
                </a:xfrm>
                <a:custGeom>
                  <a:avLst/>
                  <a:gdLst>
                    <a:gd name="connsiteX0" fmla="*/ 26562 w 26593"/>
                    <a:gd name="connsiteY0" fmla="*/ 14356 h 26595"/>
                    <a:gd name="connsiteX1" fmla="*/ 12363 w 26593"/>
                    <a:gd name="connsiteY1" fmla="*/ 26563 h 26595"/>
                    <a:gd name="connsiteX2" fmla="*/ 31 w 26593"/>
                    <a:gd name="connsiteY2" fmla="*/ 12239 h 26595"/>
                    <a:gd name="connsiteX3" fmla="*/ 14231 w 26593"/>
                    <a:gd name="connsiteY3" fmla="*/ 32 h 26595"/>
                    <a:gd name="connsiteX4" fmla="*/ 26562 w 26593"/>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2" h="26595">
                      <a:moveTo>
                        <a:pt x="26562" y="14356"/>
                      </a:moveTo>
                      <a:cubicBezTo>
                        <a:pt x="26064" y="21705"/>
                        <a:pt x="19587" y="27061"/>
                        <a:pt x="12363" y="26563"/>
                      </a:cubicBezTo>
                      <a:cubicBezTo>
                        <a:pt x="5014" y="25940"/>
                        <a:pt x="-467" y="19588"/>
                        <a:pt x="31" y="12239"/>
                      </a:cubicBezTo>
                      <a:cubicBezTo>
                        <a:pt x="530" y="4890"/>
                        <a:pt x="6883" y="-466"/>
                        <a:pt x="14231" y="32"/>
                      </a:cubicBezTo>
                      <a:cubicBezTo>
                        <a:pt x="21580" y="530"/>
                        <a:pt x="27061" y="7007"/>
                        <a:pt x="26562"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6" name="Freeform 5213">
                  <a:extLst>
                    <a:ext uri="{FF2B5EF4-FFF2-40B4-BE49-F238E27FC236}">
                      <a16:creationId xmlns:a16="http://schemas.microsoft.com/office/drawing/2014/main" id="{85A6DE34-54E4-C065-994F-0E4024A617C3}"/>
                    </a:ext>
                  </a:extLst>
                </p:cNvPr>
                <p:cNvSpPr/>
                <p:nvPr/>
              </p:nvSpPr>
              <p:spPr>
                <a:xfrm>
                  <a:off x="9113138" y="5653124"/>
                  <a:ext cx="4608" cy="51940"/>
                </a:xfrm>
                <a:custGeom>
                  <a:avLst/>
                  <a:gdLst>
                    <a:gd name="connsiteX0" fmla="*/ 0 w 4608"/>
                    <a:gd name="connsiteY0" fmla="*/ 51941 h 51940"/>
                    <a:gd name="connsiteX1" fmla="*/ 3363 w 4608"/>
                    <a:gd name="connsiteY1" fmla="*/ 33506 h 51940"/>
                    <a:gd name="connsiteX2" fmla="*/ 1245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2989" y="44094"/>
                        <a:pt x="3487" y="37741"/>
                        <a:pt x="3363" y="33506"/>
                      </a:cubicBezTo>
                      <a:cubicBezTo>
                        <a:pt x="3114" y="26531"/>
                        <a:pt x="1245" y="23292"/>
                        <a:pt x="1245" y="16193"/>
                      </a:cubicBezTo>
                      <a:cubicBezTo>
                        <a:pt x="1245"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7" name="Freeform 5214">
                  <a:extLst>
                    <a:ext uri="{FF2B5EF4-FFF2-40B4-BE49-F238E27FC236}">
                      <a16:creationId xmlns:a16="http://schemas.microsoft.com/office/drawing/2014/main" id="{BC536DE2-94A7-C932-FD49-536D5868833B}"/>
                    </a:ext>
                  </a:extLst>
                </p:cNvPr>
                <p:cNvSpPr/>
                <p:nvPr/>
              </p:nvSpPr>
              <p:spPr>
                <a:xfrm>
                  <a:off x="9104504" y="5657484"/>
                  <a:ext cx="5691" cy="52065"/>
                </a:xfrm>
                <a:custGeom>
                  <a:avLst/>
                  <a:gdLst>
                    <a:gd name="connsiteX0" fmla="*/ 4398 w 5691"/>
                    <a:gd name="connsiteY0" fmla="*/ 0 h 52065"/>
                    <a:gd name="connsiteX1" fmla="*/ 5021 w 5691"/>
                    <a:gd name="connsiteY1" fmla="*/ 18808 h 52065"/>
                    <a:gd name="connsiteX2" fmla="*/ 413 w 5691"/>
                    <a:gd name="connsiteY2" fmla="*/ 35623 h 52065"/>
                    <a:gd name="connsiteX3" fmla="*/ 1409 w 5691"/>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691" h="52065">
                      <a:moveTo>
                        <a:pt x="4398" y="0"/>
                      </a:moveTo>
                      <a:cubicBezTo>
                        <a:pt x="6267" y="8221"/>
                        <a:pt x="5768" y="14573"/>
                        <a:pt x="5021" y="18808"/>
                      </a:cubicBezTo>
                      <a:cubicBezTo>
                        <a:pt x="3776" y="25659"/>
                        <a:pt x="1409" y="28524"/>
                        <a:pt x="413" y="35623"/>
                      </a:cubicBezTo>
                      <a:cubicBezTo>
                        <a:pt x="-583" y="42474"/>
                        <a:pt x="413" y="48328"/>
                        <a:pt x="1409"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8" name="Freeform 5215">
                  <a:extLst>
                    <a:ext uri="{FF2B5EF4-FFF2-40B4-BE49-F238E27FC236}">
                      <a16:creationId xmlns:a16="http://schemas.microsoft.com/office/drawing/2014/main" id="{99581C59-4ADA-7A9A-7956-AC61AD55CBCA}"/>
                    </a:ext>
                  </a:extLst>
                </p:cNvPr>
                <p:cNvSpPr/>
                <p:nvPr/>
              </p:nvSpPr>
              <p:spPr>
                <a:xfrm>
                  <a:off x="9095792" y="5698555"/>
                  <a:ext cx="26236" cy="26595"/>
                </a:xfrm>
                <a:custGeom>
                  <a:avLst/>
                  <a:gdLst>
                    <a:gd name="connsiteX0" fmla="*/ 31 w 26236"/>
                    <a:gd name="connsiteY0" fmla="*/ 12239 h 26595"/>
                    <a:gd name="connsiteX1" fmla="*/ 14107 w 26236"/>
                    <a:gd name="connsiteY1" fmla="*/ 32 h 26595"/>
                    <a:gd name="connsiteX2" fmla="*/ 26188 w 26236"/>
                    <a:gd name="connsiteY2" fmla="*/ 14357 h 26595"/>
                    <a:gd name="connsiteX3" fmla="*/ 12113 w 26236"/>
                    <a:gd name="connsiteY3" fmla="*/ 26563 h 26595"/>
                    <a:gd name="connsiteX4" fmla="*/ 31 w 26236"/>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6" h="26595">
                      <a:moveTo>
                        <a:pt x="31" y="12239"/>
                      </a:moveTo>
                      <a:cubicBezTo>
                        <a:pt x="529" y="4890"/>
                        <a:pt x="6882" y="-466"/>
                        <a:pt x="14107" y="32"/>
                      </a:cubicBezTo>
                      <a:cubicBezTo>
                        <a:pt x="21331" y="655"/>
                        <a:pt x="26812" y="7007"/>
                        <a:pt x="26188" y="14357"/>
                      </a:cubicBezTo>
                      <a:cubicBezTo>
                        <a:pt x="25566" y="21705"/>
                        <a:pt x="19338" y="27061"/>
                        <a:pt x="12113" y="26563"/>
                      </a:cubicBezTo>
                      <a:cubicBezTo>
                        <a:pt x="5014" y="25940"/>
                        <a:pt x="-467" y="19588"/>
                        <a:pt x="31"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7" name="Graphic 2987">
                <a:extLst>
                  <a:ext uri="{FF2B5EF4-FFF2-40B4-BE49-F238E27FC236}">
                    <a16:creationId xmlns:a16="http://schemas.microsoft.com/office/drawing/2014/main" id="{BB63DFB1-3A2F-5482-0EE0-605FBB69945D}"/>
                  </a:ext>
                </a:extLst>
              </p:cNvPr>
              <p:cNvGrpSpPr/>
              <p:nvPr/>
            </p:nvGrpSpPr>
            <p:grpSpPr>
              <a:xfrm>
                <a:off x="9125171" y="5578856"/>
                <a:ext cx="35844" cy="148661"/>
                <a:chOff x="9125171" y="5578856"/>
                <a:chExt cx="35844" cy="148661"/>
              </a:xfrm>
              <a:grpFill/>
            </p:grpSpPr>
            <p:sp>
              <p:nvSpPr>
                <p:cNvPr id="4337" name="Freeform 5217">
                  <a:extLst>
                    <a:ext uri="{FF2B5EF4-FFF2-40B4-BE49-F238E27FC236}">
                      <a16:creationId xmlns:a16="http://schemas.microsoft.com/office/drawing/2014/main" id="{6156DECA-5C2C-9EC3-3A41-91AA3614038A}"/>
                    </a:ext>
                  </a:extLst>
                </p:cNvPr>
                <p:cNvSpPr/>
                <p:nvPr/>
              </p:nvSpPr>
              <p:spPr>
                <a:xfrm>
                  <a:off x="9138921" y="5598941"/>
                  <a:ext cx="4608" cy="51940"/>
                </a:xfrm>
                <a:custGeom>
                  <a:avLst/>
                  <a:gdLst>
                    <a:gd name="connsiteX0" fmla="*/ 4609 w 4608"/>
                    <a:gd name="connsiteY0" fmla="*/ 0 h 51940"/>
                    <a:gd name="connsiteX1" fmla="*/ 1245 w 4608"/>
                    <a:gd name="connsiteY1" fmla="*/ 18435 h 51940"/>
                    <a:gd name="connsiteX2" fmla="*/ 3363 w 4608"/>
                    <a:gd name="connsiteY2" fmla="*/ 35748 h 51940"/>
                    <a:gd name="connsiteX3" fmla="*/ 0 w 4608"/>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608" h="51940">
                      <a:moveTo>
                        <a:pt x="4609" y="0"/>
                      </a:moveTo>
                      <a:cubicBezTo>
                        <a:pt x="1495" y="7847"/>
                        <a:pt x="996" y="14200"/>
                        <a:pt x="1245" y="18435"/>
                      </a:cubicBezTo>
                      <a:cubicBezTo>
                        <a:pt x="1495" y="25410"/>
                        <a:pt x="3363" y="28648"/>
                        <a:pt x="3363"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8" name="Freeform 5218">
                  <a:extLst>
                    <a:ext uri="{FF2B5EF4-FFF2-40B4-BE49-F238E27FC236}">
                      <a16:creationId xmlns:a16="http://schemas.microsoft.com/office/drawing/2014/main" id="{73334A95-0A3F-756C-48B1-0BA6BDC7633E}"/>
                    </a:ext>
                  </a:extLst>
                </p:cNvPr>
                <p:cNvSpPr/>
                <p:nvPr/>
              </p:nvSpPr>
              <p:spPr>
                <a:xfrm>
                  <a:off x="9146363" y="5594458"/>
                  <a:ext cx="5951" cy="52065"/>
                </a:xfrm>
                <a:custGeom>
                  <a:avLst/>
                  <a:gdLst>
                    <a:gd name="connsiteX0" fmla="*/ 1276 w 5951"/>
                    <a:gd name="connsiteY0" fmla="*/ 52065 h 52065"/>
                    <a:gd name="connsiteX1" fmla="*/ 778 w 5951"/>
                    <a:gd name="connsiteY1" fmla="*/ 33257 h 52065"/>
                    <a:gd name="connsiteX2" fmla="*/ 5512 w 5951"/>
                    <a:gd name="connsiteY2" fmla="*/ 16442 h 52065"/>
                    <a:gd name="connsiteX3" fmla="*/ 4640 w 5951"/>
                    <a:gd name="connsiteY3" fmla="*/ 0 h 52065"/>
                  </a:gdLst>
                  <a:ahLst/>
                  <a:cxnLst>
                    <a:cxn ang="0">
                      <a:pos x="connsiteX0" y="connsiteY0"/>
                    </a:cxn>
                    <a:cxn ang="0">
                      <a:pos x="connsiteX1" y="connsiteY1"/>
                    </a:cxn>
                    <a:cxn ang="0">
                      <a:pos x="connsiteX2" y="connsiteY2"/>
                    </a:cxn>
                    <a:cxn ang="0">
                      <a:pos x="connsiteX3" y="connsiteY3"/>
                    </a:cxn>
                  </a:cxnLst>
                  <a:rect l="l" t="t" r="r" b="b"/>
                  <a:pathLst>
                    <a:path w="5951" h="52065">
                      <a:moveTo>
                        <a:pt x="1276" y="52065"/>
                      </a:moveTo>
                      <a:cubicBezTo>
                        <a:pt x="-591" y="43844"/>
                        <a:pt x="-94" y="37492"/>
                        <a:pt x="778" y="33257"/>
                      </a:cubicBezTo>
                      <a:cubicBezTo>
                        <a:pt x="2148" y="26406"/>
                        <a:pt x="4515" y="23541"/>
                        <a:pt x="5512" y="16442"/>
                      </a:cubicBezTo>
                      <a:cubicBezTo>
                        <a:pt x="6508" y="9591"/>
                        <a:pt x="5636" y="3737"/>
                        <a:pt x="46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9" name="Freeform 5219">
                  <a:extLst>
                    <a:ext uri="{FF2B5EF4-FFF2-40B4-BE49-F238E27FC236}">
                      <a16:creationId xmlns:a16="http://schemas.microsoft.com/office/drawing/2014/main" id="{6E581005-F9F6-D836-1771-9648449F2766}"/>
                    </a:ext>
                  </a:extLst>
                </p:cNvPr>
                <p:cNvSpPr/>
                <p:nvPr/>
              </p:nvSpPr>
              <p:spPr>
                <a:xfrm>
                  <a:off x="9134388" y="5578856"/>
                  <a:ext cx="26627" cy="26595"/>
                </a:xfrm>
                <a:custGeom>
                  <a:avLst/>
                  <a:gdLst>
                    <a:gd name="connsiteX0" fmla="*/ 26579 w 26627"/>
                    <a:gd name="connsiteY0" fmla="*/ 14356 h 26595"/>
                    <a:gd name="connsiteX1" fmla="*/ 12255 w 26627"/>
                    <a:gd name="connsiteY1" fmla="*/ 26563 h 26595"/>
                    <a:gd name="connsiteX2" fmla="*/ 48 w 26627"/>
                    <a:gd name="connsiteY2" fmla="*/ 12239 h 26595"/>
                    <a:gd name="connsiteX3" fmla="*/ 14373 w 26627"/>
                    <a:gd name="connsiteY3" fmla="*/ 32 h 26595"/>
                    <a:gd name="connsiteX4" fmla="*/ 26579 w 26627"/>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95">
                      <a:moveTo>
                        <a:pt x="26579" y="14356"/>
                      </a:moveTo>
                      <a:cubicBezTo>
                        <a:pt x="25956" y="21705"/>
                        <a:pt x="19604" y="27061"/>
                        <a:pt x="12255" y="26563"/>
                      </a:cubicBezTo>
                      <a:cubicBezTo>
                        <a:pt x="4906" y="26065"/>
                        <a:pt x="-574" y="19588"/>
                        <a:pt x="48" y="12239"/>
                      </a:cubicBezTo>
                      <a:cubicBezTo>
                        <a:pt x="547" y="4890"/>
                        <a:pt x="7023" y="-466"/>
                        <a:pt x="14373" y="32"/>
                      </a:cubicBezTo>
                      <a:cubicBezTo>
                        <a:pt x="21722" y="655"/>
                        <a:pt x="27202"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0" name="Freeform 5220">
                  <a:extLst>
                    <a:ext uri="{FF2B5EF4-FFF2-40B4-BE49-F238E27FC236}">
                      <a16:creationId xmlns:a16="http://schemas.microsoft.com/office/drawing/2014/main" id="{CB07424C-88D2-6503-16AD-2BB6A753F278}"/>
                    </a:ext>
                  </a:extLst>
                </p:cNvPr>
                <p:cNvSpPr/>
                <p:nvPr/>
              </p:nvSpPr>
              <p:spPr>
                <a:xfrm>
                  <a:off x="9142408" y="5655491"/>
                  <a:ext cx="4608" cy="51940"/>
                </a:xfrm>
                <a:custGeom>
                  <a:avLst/>
                  <a:gdLst>
                    <a:gd name="connsiteX0" fmla="*/ 0 w 4608"/>
                    <a:gd name="connsiteY0" fmla="*/ 51941 h 51940"/>
                    <a:gd name="connsiteX1" fmla="*/ 3363 w 4608"/>
                    <a:gd name="connsiteY1" fmla="*/ 33506 h 51940"/>
                    <a:gd name="connsiteX2" fmla="*/ 1246 w 4608"/>
                    <a:gd name="connsiteY2" fmla="*/ 16193 h 51940"/>
                    <a:gd name="connsiteX3" fmla="*/ 4609 w 4608"/>
                    <a:gd name="connsiteY3" fmla="*/ 0 h 51940"/>
                  </a:gdLst>
                  <a:ahLst/>
                  <a:cxnLst>
                    <a:cxn ang="0">
                      <a:pos x="connsiteX0" y="connsiteY0"/>
                    </a:cxn>
                    <a:cxn ang="0">
                      <a:pos x="connsiteX1" y="connsiteY1"/>
                    </a:cxn>
                    <a:cxn ang="0">
                      <a:pos x="connsiteX2" y="connsiteY2"/>
                    </a:cxn>
                    <a:cxn ang="0">
                      <a:pos x="connsiteX3" y="connsiteY3"/>
                    </a:cxn>
                  </a:cxnLst>
                  <a:rect l="l" t="t" r="r" b="b"/>
                  <a:pathLst>
                    <a:path w="4608" h="51940">
                      <a:moveTo>
                        <a:pt x="0" y="51941"/>
                      </a:moveTo>
                      <a:cubicBezTo>
                        <a:pt x="3114" y="44094"/>
                        <a:pt x="3613" y="37741"/>
                        <a:pt x="3363" y="33506"/>
                      </a:cubicBezTo>
                      <a:cubicBezTo>
                        <a:pt x="3114" y="26531"/>
                        <a:pt x="1246" y="23292"/>
                        <a:pt x="1246" y="16193"/>
                      </a:cubicBezTo>
                      <a:cubicBezTo>
                        <a:pt x="1246" y="9342"/>
                        <a:pt x="3114" y="3737"/>
                        <a:pt x="46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1" name="Freeform 5221">
                  <a:extLst>
                    <a:ext uri="{FF2B5EF4-FFF2-40B4-BE49-F238E27FC236}">
                      <a16:creationId xmlns:a16="http://schemas.microsoft.com/office/drawing/2014/main" id="{04E414EE-66FC-9418-A180-697F4F32DB16}"/>
                    </a:ext>
                  </a:extLst>
                </p:cNvPr>
                <p:cNvSpPr/>
                <p:nvPr/>
              </p:nvSpPr>
              <p:spPr>
                <a:xfrm>
                  <a:off x="9133772" y="5659850"/>
                  <a:ext cx="5927" cy="52065"/>
                </a:xfrm>
                <a:custGeom>
                  <a:avLst/>
                  <a:gdLst>
                    <a:gd name="connsiteX0" fmla="*/ 4651 w 5927"/>
                    <a:gd name="connsiteY0" fmla="*/ 0 h 52065"/>
                    <a:gd name="connsiteX1" fmla="*/ 5149 w 5927"/>
                    <a:gd name="connsiteY1" fmla="*/ 18808 h 52065"/>
                    <a:gd name="connsiteX2" fmla="*/ 416 w 5927"/>
                    <a:gd name="connsiteY2" fmla="*/ 35623 h 52065"/>
                    <a:gd name="connsiteX3" fmla="*/ 1288 w 5927"/>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27" h="52065">
                      <a:moveTo>
                        <a:pt x="4651" y="0"/>
                      </a:moveTo>
                      <a:cubicBezTo>
                        <a:pt x="6519" y="8221"/>
                        <a:pt x="6021" y="14573"/>
                        <a:pt x="5149" y="18808"/>
                      </a:cubicBezTo>
                      <a:cubicBezTo>
                        <a:pt x="3903" y="25659"/>
                        <a:pt x="1537" y="28524"/>
                        <a:pt x="416" y="35623"/>
                      </a:cubicBezTo>
                      <a:cubicBezTo>
                        <a:pt x="-581" y="42474"/>
                        <a:pt x="416" y="48328"/>
                        <a:pt x="1288"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42" name="Freeform 5222">
                  <a:extLst>
                    <a:ext uri="{FF2B5EF4-FFF2-40B4-BE49-F238E27FC236}">
                      <a16:creationId xmlns:a16="http://schemas.microsoft.com/office/drawing/2014/main" id="{CB571817-56C9-C472-3048-79B3B52FC1CF}"/>
                    </a:ext>
                  </a:extLst>
                </p:cNvPr>
                <p:cNvSpPr/>
                <p:nvPr/>
              </p:nvSpPr>
              <p:spPr>
                <a:xfrm>
                  <a:off x="9125171" y="5700922"/>
                  <a:ext cx="26254" cy="26595"/>
                </a:xfrm>
                <a:custGeom>
                  <a:avLst/>
                  <a:gdLst>
                    <a:gd name="connsiteX0" fmla="*/ 48 w 26254"/>
                    <a:gd name="connsiteY0" fmla="*/ 12239 h 26595"/>
                    <a:gd name="connsiteX1" fmla="*/ 14123 w 26254"/>
                    <a:gd name="connsiteY1" fmla="*/ 32 h 26595"/>
                    <a:gd name="connsiteX2" fmla="*/ 26206 w 26254"/>
                    <a:gd name="connsiteY2" fmla="*/ 14357 h 26595"/>
                    <a:gd name="connsiteX3" fmla="*/ 12131 w 26254"/>
                    <a:gd name="connsiteY3" fmla="*/ 26563 h 26595"/>
                    <a:gd name="connsiteX4" fmla="*/ 48 w 26254"/>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595">
                      <a:moveTo>
                        <a:pt x="48" y="12239"/>
                      </a:moveTo>
                      <a:cubicBezTo>
                        <a:pt x="547" y="4890"/>
                        <a:pt x="6899" y="-466"/>
                        <a:pt x="14123" y="32"/>
                      </a:cubicBezTo>
                      <a:cubicBezTo>
                        <a:pt x="21348" y="655"/>
                        <a:pt x="26828" y="7007"/>
                        <a:pt x="26206" y="14357"/>
                      </a:cubicBezTo>
                      <a:cubicBezTo>
                        <a:pt x="25582" y="21705"/>
                        <a:pt x="19355" y="27061"/>
                        <a:pt x="12131" y="26563"/>
                      </a:cubicBezTo>
                      <a:cubicBezTo>
                        <a:pt x="4906" y="25940"/>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8" name="Graphic 2987">
                <a:extLst>
                  <a:ext uri="{FF2B5EF4-FFF2-40B4-BE49-F238E27FC236}">
                    <a16:creationId xmlns:a16="http://schemas.microsoft.com/office/drawing/2014/main" id="{63E3F648-A7A1-31D8-7FDC-5CE49BB37E66}"/>
                  </a:ext>
                </a:extLst>
              </p:cNvPr>
              <p:cNvGrpSpPr/>
              <p:nvPr/>
            </p:nvGrpSpPr>
            <p:grpSpPr>
              <a:xfrm>
                <a:off x="9154442" y="5581222"/>
                <a:ext cx="36325" cy="148661"/>
                <a:chOff x="9154442" y="5581222"/>
                <a:chExt cx="36325" cy="148661"/>
              </a:xfrm>
              <a:grpFill/>
            </p:grpSpPr>
            <p:sp>
              <p:nvSpPr>
                <p:cNvPr id="4331" name="Freeform 5224">
                  <a:extLst>
                    <a:ext uri="{FF2B5EF4-FFF2-40B4-BE49-F238E27FC236}">
                      <a16:creationId xmlns:a16="http://schemas.microsoft.com/office/drawing/2014/main" id="{7B60C43F-B915-E62F-70CC-CE63B196F79A}"/>
                    </a:ext>
                  </a:extLst>
                </p:cNvPr>
                <p:cNvSpPr/>
                <p:nvPr/>
              </p:nvSpPr>
              <p:spPr>
                <a:xfrm>
                  <a:off x="9168192" y="5601308"/>
                  <a:ext cx="4982" cy="51940"/>
                </a:xfrm>
                <a:custGeom>
                  <a:avLst/>
                  <a:gdLst>
                    <a:gd name="connsiteX0" fmla="*/ 4983 w 4982"/>
                    <a:gd name="connsiteY0" fmla="*/ 0 h 51940"/>
                    <a:gd name="connsiteX1" fmla="*/ 1495 w 4982"/>
                    <a:gd name="connsiteY1" fmla="*/ 18435 h 51940"/>
                    <a:gd name="connsiteX2" fmla="*/ 3488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200"/>
                        <a:pt x="1495" y="18435"/>
                      </a:cubicBezTo>
                      <a:cubicBezTo>
                        <a:pt x="1744" y="25410"/>
                        <a:pt x="3612" y="28648"/>
                        <a:pt x="3488" y="35748"/>
                      </a:cubicBezTo>
                      <a:cubicBezTo>
                        <a:pt x="3488" y="42599"/>
                        <a:pt x="1619"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2" name="Freeform 5225">
                  <a:extLst>
                    <a:ext uri="{FF2B5EF4-FFF2-40B4-BE49-F238E27FC236}">
                      <a16:creationId xmlns:a16="http://schemas.microsoft.com/office/drawing/2014/main" id="{C72235A8-DF0A-3101-D530-6F608947230B}"/>
                    </a:ext>
                  </a:extLst>
                </p:cNvPr>
                <p:cNvSpPr/>
                <p:nvPr/>
              </p:nvSpPr>
              <p:spPr>
                <a:xfrm>
                  <a:off x="9175929" y="5596824"/>
                  <a:ext cx="5905" cy="52065"/>
                </a:xfrm>
                <a:custGeom>
                  <a:avLst/>
                  <a:gdLst>
                    <a:gd name="connsiteX0" fmla="*/ 1231 w 5905"/>
                    <a:gd name="connsiteY0" fmla="*/ 52065 h 52065"/>
                    <a:gd name="connsiteX1" fmla="*/ 732 w 5905"/>
                    <a:gd name="connsiteY1" fmla="*/ 33257 h 52065"/>
                    <a:gd name="connsiteX2" fmla="*/ 5465 w 5905"/>
                    <a:gd name="connsiteY2" fmla="*/ 16442 h 52065"/>
                    <a:gd name="connsiteX3" fmla="*/ 4593 w 5905"/>
                    <a:gd name="connsiteY3" fmla="*/ 0 h 52065"/>
                  </a:gdLst>
                  <a:ahLst/>
                  <a:cxnLst>
                    <a:cxn ang="0">
                      <a:pos x="connsiteX0" y="connsiteY0"/>
                    </a:cxn>
                    <a:cxn ang="0">
                      <a:pos x="connsiteX1" y="connsiteY1"/>
                    </a:cxn>
                    <a:cxn ang="0">
                      <a:pos x="connsiteX2" y="connsiteY2"/>
                    </a:cxn>
                    <a:cxn ang="0">
                      <a:pos x="connsiteX3" y="connsiteY3"/>
                    </a:cxn>
                  </a:cxnLst>
                  <a:rect l="l" t="t" r="r" b="b"/>
                  <a:pathLst>
                    <a:path w="5905" h="52065">
                      <a:moveTo>
                        <a:pt x="1231" y="52065"/>
                      </a:moveTo>
                      <a:cubicBezTo>
                        <a:pt x="-638" y="43844"/>
                        <a:pt x="-15" y="37492"/>
                        <a:pt x="732" y="33257"/>
                      </a:cubicBezTo>
                      <a:cubicBezTo>
                        <a:pt x="2102" y="26406"/>
                        <a:pt x="4469" y="23541"/>
                        <a:pt x="5465" y="16442"/>
                      </a:cubicBezTo>
                      <a:cubicBezTo>
                        <a:pt x="6462" y="9591"/>
                        <a:pt x="5590" y="3737"/>
                        <a:pt x="459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3" name="Freeform 5226">
                  <a:extLst>
                    <a:ext uri="{FF2B5EF4-FFF2-40B4-BE49-F238E27FC236}">
                      <a16:creationId xmlns:a16="http://schemas.microsoft.com/office/drawing/2014/main" id="{FE475E80-E9C5-770B-F8A5-BDF6B87FF286}"/>
                    </a:ext>
                  </a:extLst>
                </p:cNvPr>
                <p:cNvSpPr/>
                <p:nvPr/>
              </p:nvSpPr>
              <p:spPr>
                <a:xfrm>
                  <a:off x="9164158" y="5581222"/>
                  <a:ext cx="26610" cy="26595"/>
                </a:xfrm>
                <a:custGeom>
                  <a:avLst/>
                  <a:gdLst>
                    <a:gd name="connsiteX0" fmla="*/ 26579 w 26610"/>
                    <a:gd name="connsiteY0" fmla="*/ 14356 h 26595"/>
                    <a:gd name="connsiteX1" fmla="*/ 12255 w 26610"/>
                    <a:gd name="connsiteY1" fmla="*/ 26563 h 26595"/>
                    <a:gd name="connsiteX2" fmla="*/ 48 w 26610"/>
                    <a:gd name="connsiteY2" fmla="*/ 12239 h 26595"/>
                    <a:gd name="connsiteX3" fmla="*/ 14373 w 26610"/>
                    <a:gd name="connsiteY3" fmla="*/ 32 h 26595"/>
                    <a:gd name="connsiteX4" fmla="*/ 26579 w 26610"/>
                    <a:gd name="connsiteY4" fmla="*/ 14356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 h="26595">
                      <a:moveTo>
                        <a:pt x="26579" y="14356"/>
                      </a:moveTo>
                      <a:cubicBezTo>
                        <a:pt x="25956" y="21705"/>
                        <a:pt x="19604" y="27061"/>
                        <a:pt x="12255" y="26563"/>
                      </a:cubicBezTo>
                      <a:cubicBezTo>
                        <a:pt x="4906" y="25940"/>
                        <a:pt x="-574" y="19588"/>
                        <a:pt x="48" y="12239"/>
                      </a:cubicBezTo>
                      <a:cubicBezTo>
                        <a:pt x="671" y="4890"/>
                        <a:pt x="7023" y="-466"/>
                        <a:pt x="14373" y="32"/>
                      </a:cubicBezTo>
                      <a:cubicBezTo>
                        <a:pt x="21596" y="655"/>
                        <a:pt x="27077" y="7007"/>
                        <a:pt x="26579" y="143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4" name="Freeform 5227">
                  <a:extLst>
                    <a:ext uri="{FF2B5EF4-FFF2-40B4-BE49-F238E27FC236}">
                      <a16:creationId xmlns:a16="http://schemas.microsoft.com/office/drawing/2014/main" id="{3664ED12-96AA-3EA2-18E9-DE96F0FD91A9}"/>
                    </a:ext>
                  </a:extLst>
                </p:cNvPr>
                <p:cNvSpPr/>
                <p:nvPr/>
              </p:nvSpPr>
              <p:spPr>
                <a:xfrm>
                  <a:off x="9171804" y="5657857"/>
                  <a:ext cx="4982" cy="51940"/>
                </a:xfrm>
                <a:custGeom>
                  <a:avLst/>
                  <a:gdLst>
                    <a:gd name="connsiteX0" fmla="*/ 0 w 4982"/>
                    <a:gd name="connsiteY0" fmla="*/ 51941 h 51940"/>
                    <a:gd name="connsiteX1" fmla="*/ 3488 w 4982"/>
                    <a:gd name="connsiteY1" fmla="*/ 33506 h 51940"/>
                    <a:gd name="connsiteX2" fmla="*/ 1495 w 4982"/>
                    <a:gd name="connsiteY2" fmla="*/ 16192 h 51940"/>
                    <a:gd name="connsiteX3" fmla="*/ 4983 w 4982"/>
                    <a:gd name="connsiteY3" fmla="*/ 0 h 51940"/>
                  </a:gdLst>
                  <a:ahLst/>
                  <a:cxnLst>
                    <a:cxn ang="0">
                      <a:pos x="connsiteX0" y="connsiteY0"/>
                    </a:cxn>
                    <a:cxn ang="0">
                      <a:pos x="connsiteX1" y="connsiteY1"/>
                    </a:cxn>
                    <a:cxn ang="0">
                      <a:pos x="connsiteX2" y="connsiteY2"/>
                    </a:cxn>
                    <a:cxn ang="0">
                      <a:pos x="connsiteX3" y="connsiteY3"/>
                    </a:cxn>
                  </a:cxnLst>
                  <a:rect l="l" t="t" r="r" b="b"/>
                  <a:pathLst>
                    <a:path w="4982" h="51940">
                      <a:moveTo>
                        <a:pt x="0" y="51941"/>
                      </a:moveTo>
                      <a:cubicBezTo>
                        <a:pt x="3114" y="44094"/>
                        <a:pt x="3613" y="37741"/>
                        <a:pt x="3488" y="33506"/>
                      </a:cubicBezTo>
                      <a:cubicBezTo>
                        <a:pt x="3239" y="26531"/>
                        <a:pt x="1371" y="23292"/>
                        <a:pt x="1495" y="16192"/>
                      </a:cubicBezTo>
                      <a:cubicBezTo>
                        <a:pt x="1619" y="9342"/>
                        <a:pt x="3363" y="3737"/>
                        <a:pt x="49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5" name="Freeform 5228">
                  <a:extLst>
                    <a:ext uri="{FF2B5EF4-FFF2-40B4-BE49-F238E27FC236}">
                      <a16:creationId xmlns:a16="http://schemas.microsoft.com/office/drawing/2014/main" id="{6A9E340A-A268-80A8-72E4-C3EEADD72850}"/>
                    </a:ext>
                  </a:extLst>
                </p:cNvPr>
                <p:cNvSpPr/>
                <p:nvPr/>
              </p:nvSpPr>
              <p:spPr>
                <a:xfrm>
                  <a:off x="9163143" y="5662217"/>
                  <a:ext cx="5905" cy="52065"/>
                </a:xfrm>
                <a:custGeom>
                  <a:avLst/>
                  <a:gdLst>
                    <a:gd name="connsiteX0" fmla="*/ 4675 w 5905"/>
                    <a:gd name="connsiteY0" fmla="*/ 0 h 52065"/>
                    <a:gd name="connsiteX1" fmla="*/ 5173 w 5905"/>
                    <a:gd name="connsiteY1" fmla="*/ 18808 h 52065"/>
                    <a:gd name="connsiteX2" fmla="*/ 440 w 5905"/>
                    <a:gd name="connsiteY2" fmla="*/ 35623 h 52065"/>
                    <a:gd name="connsiteX3" fmla="*/ 1312 w 5905"/>
                    <a:gd name="connsiteY3" fmla="*/ 52065 h 52065"/>
                  </a:gdLst>
                  <a:ahLst/>
                  <a:cxnLst>
                    <a:cxn ang="0">
                      <a:pos x="connsiteX0" y="connsiteY0"/>
                    </a:cxn>
                    <a:cxn ang="0">
                      <a:pos x="connsiteX1" y="connsiteY1"/>
                    </a:cxn>
                    <a:cxn ang="0">
                      <a:pos x="connsiteX2" y="connsiteY2"/>
                    </a:cxn>
                    <a:cxn ang="0">
                      <a:pos x="connsiteX3" y="connsiteY3"/>
                    </a:cxn>
                  </a:cxnLst>
                  <a:rect l="l" t="t" r="r" b="b"/>
                  <a:pathLst>
                    <a:path w="5905" h="52065">
                      <a:moveTo>
                        <a:pt x="4675" y="0"/>
                      </a:moveTo>
                      <a:cubicBezTo>
                        <a:pt x="6543" y="8221"/>
                        <a:pt x="5921" y="14573"/>
                        <a:pt x="5173" y="18808"/>
                      </a:cubicBezTo>
                      <a:cubicBezTo>
                        <a:pt x="3803" y="25659"/>
                        <a:pt x="1437" y="28524"/>
                        <a:pt x="440" y="35623"/>
                      </a:cubicBezTo>
                      <a:cubicBezTo>
                        <a:pt x="-557" y="42474"/>
                        <a:pt x="315" y="48328"/>
                        <a:pt x="1312" y="5206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6" name="Freeform 5229">
                  <a:extLst>
                    <a:ext uri="{FF2B5EF4-FFF2-40B4-BE49-F238E27FC236}">
                      <a16:creationId xmlns:a16="http://schemas.microsoft.com/office/drawing/2014/main" id="{01194AB4-147C-3A4C-1D17-4B3780C69657}"/>
                    </a:ext>
                  </a:extLst>
                </p:cNvPr>
                <p:cNvSpPr/>
                <p:nvPr/>
              </p:nvSpPr>
              <p:spPr>
                <a:xfrm>
                  <a:off x="9154442" y="5703289"/>
                  <a:ext cx="26378" cy="26595"/>
                </a:xfrm>
                <a:custGeom>
                  <a:avLst/>
                  <a:gdLst>
                    <a:gd name="connsiteX0" fmla="*/ 48 w 26378"/>
                    <a:gd name="connsiteY0" fmla="*/ 12239 h 26595"/>
                    <a:gd name="connsiteX1" fmla="*/ 14247 w 26378"/>
                    <a:gd name="connsiteY1" fmla="*/ 32 h 26595"/>
                    <a:gd name="connsiteX2" fmla="*/ 26330 w 26378"/>
                    <a:gd name="connsiteY2" fmla="*/ 14356 h 26595"/>
                    <a:gd name="connsiteX3" fmla="*/ 12130 w 26378"/>
                    <a:gd name="connsiteY3" fmla="*/ 26563 h 26595"/>
                    <a:gd name="connsiteX4" fmla="*/ 48 w 26378"/>
                    <a:gd name="connsiteY4" fmla="*/ 12239 h 2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7" h="26595">
                      <a:moveTo>
                        <a:pt x="48" y="12239"/>
                      </a:moveTo>
                      <a:cubicBezTo>
                        <a:pt x="671" y="4890"/>
                        <a:pt x="7024" y="-466"/>
                        <a:pt x="14247" y="32"/>
                      </a:cubicBezTo>
                      <a:cubicBezTo>
                        <a:pt x="21472" y="655"/>
                        <a:pt x="26952" y="7007"/>
                        <a:pt x="26330" y="14356"/>
                      </a:cubicBezTo>
                      <a:cubicBezTo>
                        <a:pt x="25707" y="21705"/>
                        <a:pt x="19355" y="27061"/>
                        <a:pt x="12130" y="26563"/>
                      </a:cubicBezTo>
                      <a:cubicBezTo>
                        <a:pt x="4906" y="25940"/>
                        <a:pt x="-575"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799" name="Graphic 2987">
                <a:extLst>
                  <a:ext uri="{FF2B5EF4-FFF2-40B4-BE49-F238E27FC236}">
                    <a16:creationId xmlns:a16="http://schemas.microsoft.com/office/drawing/2014/main" id="{C6F614BD-1E4A-4E9C-3A71-76474C94896D}"/>
                  </a:ext>
                </a:extLst>
              </p:cNvPr>
              <p:cNvGrpSpPr/>
              <p:nvPr/>
            </p:nvGrpSpPr>
            <p:grpSpPr>
              <a:xfrm>
                <a:off x="9183713" y="5583572"/>
                <a:ext cx="36716" cy="148553"/>
                <a:chOff x="9183713" y="5583572"/>
                <a:chExt cx="36716" cy="148553"/>
              </a:xfrm>
              <a:grpFill/>
            </p:grpSpPr>
            <p:sp>
              <p:nvSpPr>
                <p:cNvPr id="4325" name="Freeform 5231">
                  <a:extLst>
                    <a:ext uri="{FF2B5EF4-FFF2-40B4-BE49-F238E27FC236}">
                      <a16:creationId xmlns:a16="http://schemas.microsoft.com/office/drawing/2014/main" id="{342C4B16-9608-F4A4-153D-92FF0849BD92}"/>
                    </a:ext>
                  </a:extLst>
                </p:cNvPr>
                <p:cNvSpPr/>
                <p:nvPr/>
              </p:nvSpPr>
              <p:spPr>
                <a:xfrm>
                  <a:off x="9197837" y="5603675"/>
                  <a:ext cx="4982" cy="51940"/>
                </a:xfrm>
                <a:custGeom>
                  <a:avLst/>
                  <a:gdLst>
                    <a:gd name="connsiteX0" fmla="*/ 4983 w 4982"/>
                    <a:gd name="connsiteY0" fmla="*/ 0 h 51940"/>
                    <a:gd name="connsiteX1" fmla="*/ 1495 w 4982"/>
                    <a:gd name="connsiteY1" fmla="*/ 18435 h 51940"/>
                    <a:gd name="connsiteX2" fmla="*/ 3487 w 4982"/>
                    <a:gd name="connsiteY2" fmla="*/ 35748 h 51940"/>
                    <a:gd name="connsiteX3" fmla="*/ 0 w 498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4982" h="51940">
                      <a:moveTo>
                        <a:pt x="4983" y="0"/>
                      </a:moveTo>
                      <a:cubicBezTo>
                        <a:pt x="1869" y="7847"/>
                        <a:pt x="1370" y="14075"/>
                        <a:pt x="1495" y="18435"/>
                      </a:cubicBezTo>
                      <a:cubicBezTo>
                        <a:pt x="1744" y="25410"/>
                        <a:pt x="3612" y="28648"/>
                        <a:pt x="3487" y="35748"/>
                      </a:cubicBezTo>
                      <a:cubicBezTo>
                        <a:pt x="3363" y="42599"/>
                        <a:pt x="1495" y="48204"/>
                        <a:pt x="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6" name="Freeform 5232">
                  <a:extLst>
                    <a:ext uri="{FF2B5EF4-FFF2-40B4-BE49-F238E27FC236}">
                      <a16:creationId xmlns:a16="http://schemas.microsoft.com/office/drawing/2014/main" id="{97E9D921-44E9-8A20-3146-30A46E321856}"/>
                    </a:ext>
                  </a:extLst>
                </p:cNvPr>
                <p:cNvSpPr/>
                <p:nvPr/>
              </p:nvSpPr>
              <p:spPr>
                <a:xfrm>
                  <a:off x="9205512" y="5599315"/>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7" name="Freeform 5233">
                  <a:extLst>
                    <a:ext uri="{FF2B5EF4-FFF2-40B4-BE49-F238E27FC236}">
                      <a16:creationId xmlns:a16="http://schemas.microsoft.com/office/drawing/2014/main" id="{E6B91745-76FD-BCCF-3AA1-02244ED3EFA7}"/>
                    </a:ext>
                  </a:extLst>
                </p:cNvPr>
                <p:cNvSpPr/>
                <p:nvPr/>
              </p:nvSpPr>
              <p:spPr>
                <a:xfrm>
                  <a:off x="9193802" y="5583572"/>
                  <a:ext cx="26627" cy="26504"/>
                </a:xfrm>
                <a:custGeom>
                  <a:avLst/>
                  <a:gdLst>
                    <a:gd name="connsiteX0" fmla="*/ 26579 w 26627"/>
                    <a:gd name="connsiteY0" fmla="*/ 14373 h 26504"/>
                    <a:gd name="connsiteX1" fmla="*/ 12255 w 26627"/>
                    <a:gd name="connsiteY1" fmla="*/ 26455 h 26504"/>
                    <a:gd name="connsiteX2" fmla="*/ 48 w 26627"/>
                    <a:gd name="connsiteY2" fmla="*/ 12131 h 26504"/>
                    <a:gd name="connsiteX3" fmla="*/ 14373 w 26627"/>
                    <a:gd name="connsiteY3" fmla="*/ 49 h 26504"/>
                    <a:gd name="connsiteX4" fmla="*/ 26579 w 26627"/>
                    <a:gd name="connsiteY4" fmla="*/ 14373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7" h="26504">
                      <a:moveTo>
                        <a:pt x="26579" y="14373"/>
                      </a:moveTo>
                      <a:cubicBezTo>
                        <a:pt x="25956" y="21722"/>
                        <a:pt x="19479" y="27078"/>
                        <a:pt x="12255" y="26455"/>
                      </a:cubicBezTo>
                      <a:cubicBezTo>
                        <a:pt x="4906" y="25833"/>
                        <a:pt x="-574" y="19480"/>
                        <a:pt x="48" y="12131"/>
                      </a:cubicBezTo>
                      <a:cubicBezTo>
                        <a:pt x="671" y="4783"/>
                        <a:pt x="7023" y="-574"/>
                        <a:pt x="14373" y="49"/>
                      </a:cubicBezTo>
                      <a:cubicBezTo>
                        <a:pt x="21721" y="672"/>
                        <a:pt x="27202" y="7149"/>
                        <a:pt x="26579"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8" name="Freeform 5234">
                  <a:extLst>
                    <a:ext uri="{FF2B5EF4-FFF2-40B4-BE49-F238E27FC236}">
                      <a16:creationId xmlns:a16="http://schemas.microsoft.com/office/drawing/2014/main" id="{37575F09-67BD-2523-AE08-636CA3947B0C}"/>
                    </a:ext>
                  </a:extLst>
                </p:cNvPr>
                <p:cNvSpPr/>
                <p:nvPr/>
              </p:nvSpPr>
              <p:spPr>
                <a:xfrm>
                  <a:off x="9201075" y="5660224"/>
                  <a:ext cx="4981" cy="51940"/>
                </a:xfrm>
                <a:custGeom>
                  <a:avLst/>
                  <a:gdLst>
                    <a:gd name="connsiteX0" fmla="*/ 0 w 4981"/>
                    <a:gd name="connsiteY0" fmla="*/ 51941 h 51940"/>
                    <a:gd name="connsiteX1" fmla="*/ 3487 w 4981"/>
                    <a:gd name="connsiteY1" fmla="*/ 33506 h 51940"/>
                    <a:gd name="connsiteX2" fmla="*/ 1495 w 4981"/>
                    <a:gd name="connsiteY2" fmla="*/ 16192 h 51940"/>
                    <a:gd name="connsiteX3" fmla="*/ 4982 w 4981"/>
                    <a:gd name="connsiteY3" fmla="*/ 0 h 51940"/>
                  </a:gdLst>
                  <a:ahLst/>
                  <a:cxnLst>
                    <a:cxn ang="0">
                      <a:pos x="connsiteX0" y="connsiteY0"/>
                    </a:cxn>
                    <a:cxn ang="0">
                      <a:pos x="connsiteX1" y="connsiteY1"/>
                    </a:cxn>
                    <a:cxn ang="0">
                      <a:pos x="connsiteX2" y="connsiteY2"/>
                    </a:cxn>
                    <a:cxn ang="0">
                      <a:pos x="connsiteX3" y="connsiteY3"/>
                    </a:cxn>
                  </a:cxnLst>
                  <a:rect l="l" t="t" r="r" b="b"/>
                  <a:pathLst>
                    <a:path w="4981" h="51940">
                      <a:moveTo>
                        <a:pt x="0" y="51941"/>
                      </a:moveTo>
                      <a:cubicBezTo>
                        <a:pt x="3114" y="44094"/>
                        <a:pt x="3612" y="37866"/>
                        <a:pt x="3487" y="33506"/>
                      </a:cubicBezTo>
                      <a:cubicBezTo>
                        <a:pt x="3239" y="26531"/>
                        <a:pt x="1495" y="23292"/>
                        <a:pt x="1495" y="16192"/>
                      </a:cubicBezTo>
                      <a:cubicBezTo>
                        <a:pt x="1619" y="9342"/>
                        <a:pt x="3487" y="3737"/>
                        <a:pt x="49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9" name="Freeform 5235">
                  <a:extLst>
                    <a:ext uri="{FF2B5EF4-FFF2-40B4-BE49-F238E27FC236}">
                      <a16:creationId xmlns:a16="http://schemas.microsoft.com/office/drawing/2014/main" id="{910A206A-23AA-2F9F-7CCB-3E721EA69119}"/>
                    </a:ext>
                  </a:extLst>
                </p:cNvPr>
                <p:cNvSpPr/>
                <p:nvPr/>
              </p:nvSpPr>
              <p:spPr>
                <a:xfrm>
                  <a:off x="9192410" y="5664584"/>
                  <a:ext cx="6096" cy="51940"/>
                </a:xfrm>
                <a:custGeom>
                  <a:avLst/>
                  <a:gdLst>
                    <a:gd name="connsiteX0" fmla="*/ 4928 w 6096"/>
                    <a:gd name="connsiteY0" fmla="*/ 0 h 51940"/>
                    <a:gd name="connsiteX1" fmla="*/ 5301 w 6096"/>
                    <a:gd name="connsiteY1" fmla="*/ 18808 h 51940"/>
                    <a:gd name="connsiteX2" fmla="*/ 444 w 6096"/>
                    <a:gd name="connsiteY2" fmla="*/ 35499 h 51940"/>
                    <a:gd name="connsiteX3" fmla="*/ 1191 w 609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096" h="51940">
                      <a:moveTo>
                        <a:pt x="4928" y="0"/>
                      </a:moveTo>
                      <a:cubicBezTo>
                        <a:pt x="6671" y="8221"/>
                        <a:pt x="6173" y="14573"/>
                        <a:pt x="5301" y="18808"/>
                      </a:cubicBezTo>
                      <a:cubicBezTo>
                        <a:pt x="3932" y="25659"/>
                        <a:pt x="1565" y="28523"/>
                        <a:pt x="444" y="35499"/>
                      </a:cubicBezTo>
                      <a:cubicBezTo>
                        <a:pt x="-552" y="42350"/>
                        <a:pt x="320" y="48204"/>
                        <a:pt x="1191"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30" name="Freeform 5236">
                  <a:extLst>
                    <a:ext uri="{FF2B5EF4-FFF2-40B4-BE49-F238E27FC236}">
                      <a16:creationId xmlns:a16="http://schemas.microsoft.com/office/drawing/2014/main" id="{694ADDA9-DFD9-FE35-0352-BBD1A92F9DD2}"/>
                    </a:ext>
                  </a:extLst>
                </p:cNvPr>
                <p:cNvSpPr/>
                <p:nvPr/>
              </p:nvSpPr>
              <p:spPr>
                <a:xfrm>
                  <a:off x="9183713" y="5705655"/>
                  <a:ext cx="26254" cy="26470"/>
                </a:xfrm>
                <a:custGeom>
                  <a:avLst/>
                  <a:gdLst>
                    <a:gd name="connsiteX0" fmla="*/ 48 w 26254"/>
                    <a:gd name="connsiteY0" fmla="*/ 12239 h 26470"/>
                    <a:gd name="connsiteX1" fmla="*/ 14248 w 26254"/>
                    <a:gd name="connsiteY1" fmla="*/ 32 h 26470"/>
                    <a:gd name="connsiteX2" fmla="*/ 26205 w 26254"/>
                    <a:gd name="connsiteY2" fmla="*/ 14232 h 26470"/>
                    <a:gd name="connsiteX3" fmla="*/ 12006 w 26254"/>
                    <a:gd name="connsiteY3" fmla="*/ 26438 h 26470"/>
                    <a:gd name="connsiteX4" fmla="*/ 48 w 26254"/>
                    <a:gd name="connsiteY4" fmla="*/ 12239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4" h="26470">
                      <a:moveTo>
                        <a:pt x="48" y="12239"/>
                      </a:moveTo>
                      <a:cubicBezTo>
                        <a:pt x="671" y="4890"/>
                        <a:pt x="7023" y="-466"/>
                        <a:pt x="14248" y="32"/>
                      </a:cubicBezTo>
                      <a:cubicBezTo>
                        <a:pt x="21473" y="530"/>
                        <a:pt x="26828" y="7007"/>
                        <a:pt x="26205" y="14232"/>
                      </a:cubicBezTo>
                      <a:cubicBezTo>
                        <a:pt x="25582" y="21581"/>
                        <a:pt x="19230" y="26937"/>
                        <a:pt x="12006" y="26438"/>
                      </a:cubicBezTo>
                      <a:cubicBezTo>
                        <a:pt x="4906" y="25816"/>
                        <a:pt x="-574" y="19463"/>
                        <a:pt x="48"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0" name="Graphic 2987">
                <a:extLst>
                  <a:ext uri="{FF2B5EF4-FFF2-40B4-BE49-F238E27FC236}">
                    <a16:creationId xmlns:a16="http://schemas.microsoft.com/office/drawing/2014/main" id="{052FB1F5-3ECE-D63E-849E-3446A953BDA8}"/>
                  </a:ext>
                </a:extLst>
              </p:cNvPr>
              <p:cNvGrpSpPr/>
              <p:nvPr/>
            </p:nvGrpSpPr>
            <p:grpSpPr>
              <a:xfrm>
                <a:off x="9213108" y="5585938"/>
                <a:ext cx="36967" cy="148553"/>
                <a:chOff x="9213108" y="5585938"/>
                <a:chExt cx="36967" cy="148553"/>
              </a:xfrm>
              <a:grpFill/>
            </p:grpSpPr>
            <p:sp>
              <p:nvSpPr>
                <p:cNvPr id="4319" name="Freeform 5238">
                  <a:extLst>
                    <a:ext uri="{FF2B5EF4-FFF2-40B4-BE49-F238E27FC236}">
                      <a16:creationId xmlns:a16="http://schemas.microsoft.com/office/drawing/2014/main" id="{42E3351A-A38F-9475-7799-F25031FBCE99}"/>
                    </a:ext>
                  </a:extLst>
                </p:cNvPr>
                <p:cNvSpPr/>
                <p:nvPr/>
              </p:nvSpPr>
              <p:spPr>
                <a:xfrm>
                  <a:off x="9227232" y="5606041"/>
                  <a:ext cx="5231" cy="51816"/>
                </a:xfrm>
                <a:custGeom>
                  <a:avLst/>
                  <a:gdLst>
                    <a:gd name="connsiteX0" fmla="*/ 5231 w 5231"/>
                    <a:gd name="connsiteY0" fmla="*/ 0 h 51816"/>
                    <a:gd name="connsiteX1" fmla="*/ 1619 w 5231"/>
                    <a:gd name="connsiteY1" fmla="*/ 18435 h 51816"/>
                    <a:gd name="connsiteX2" fmla="*/ 3613 w 5231"/>
                    <a:gd name="connsiteY2" fmla="*/ 35748 h 51816"/>
                    <a:gd name="connsiteX3" fmla="*/ 0 w 5231"/>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231" h="51816">
                      <a:moveTo>
                        <a:pt x="5231" y="0"/>
                      </a:moveTo>
                      <a:cubicBezTo>
                        <a:pt x="2117" y="7847"/>
                        <a:pt x="1495" y="14075"/>
                        <a:pt x="1619" y="18435"/>
                      </a:cubicBezTo>
                      <a:cubicBezTo>
                        <a:pt x="1744" y="25410"/>
                        <a:pt x="3613"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0" name="Freeform 5239">
                  <a:extLst>
                    <a:ext uri="{FF2B5EF4-FFF2-40B4-BE49-F238E27FC236}">
                      <a16:creationId xmlns:a16="http://schemas.microsoft.com/office/drawing/2014/main" id="{BCB5ED6D-FCE1-8AC8-2586-F6A69E232046}"/>
                    </a:ext>
                  </a:extLst>
                </p:cNvPr>
                <p:cNvSpPr/>
                <p:nvPr/>
              </p:nvSpPr>
              <p:spPr>
                <a:xfrm>
                  <a:off x="9235032" y="5601682"/>
                  <a:ext cx="6151" cy="51940"/>
                </a:xfrm>
                <a:custGeom>
                  <a:avLst/>
                  <a:gdLst>
                    <a:gd name="connsiteX0" fmla="*/ 1169 w 6151"/>
                    <a:gd name="connsiteY0" fmla="*/ 51941 h 51940"/>
                    <a:gd name="connsiteX1" fmla="*/ 795 w 6151"/>
                    <a:gd name="connsiteY1" fmla="*/ 33132 h 51940"/>
                    <a:gd name="connsiteX2" fmla="*/ 5652 w 6151"/>
                    <a:gd name="connsiteY2" fmla="*/ 16442 h 51940"/>
                    <a:gd name="connsiteX3" fmla="*/ 4905 w 6151"/>
                    <a:gd name="connsiteY3" fmla="*/ 0 h 51940"/>
                  </a:gdLst>
                  <a:ahLst/>
                  <a:cxnLst>
                    <a:cxn ang="0">
                      <a:pos x="connsiteX0" y="connsiteY0"/>
                    </a:cxn>
                    <a:cxn ang="0">
                      <a:pos x="connsiteX1" y="connsiteY1"/>
                    </a:cxn>
                    <a:cxn ang="0">
                      <a:pos x="connsiteX2" y="connsiteY2"/>
                    </a:cxn>
                    <a:cxn ang="0">
                      <a:pos x="connsiteX3" y="connsiteY3"/>
                    </a:cxn>
                  </a:cxnLst>
                  <a:rect l="l" t="t" r="r" b="b"/>
                  <a:pathLst>
                    <a:path w="6151" h="51940">
                      <a:moveTo>
                        <a:pt x="1169" y="51941"/>
                      </a:moveTo>
                      <a:cubicBezTo>
                        <a:pt x="-575" y="43720"/>
                        <a:pt x="-77" y="37367"/>
                        <a:pt x="795" y="33132"/>
                      </a:cubicBezTo>
                      <a:cubicBezTo>
                        <a:pt x="2164" y="26282"/>
                        <a:pt x="4531" y="23417"/>
                        <a:pt x="5652" y="16442"/>
                      </a:cubicBezTo>
                      <a:cubicBezTo>
                        <a:pt x="6773" y="9591"/>
                        <a:pt x="5777" y="3737"/>
                        <a:pt x="49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1" name="Freeform 5240">
                  <a:extLst>
                    <a:ext uri="{FF2B5EF4-FFF2-40B4-BE49-F238E27FC236}">
                      <a16:creationId xmlns:a16="http://schemas.microsoft.com/office/drawing/2014/main" id="{0C5023D4-6ED7-6E94-E47D-1A00DC6A4B3E}"/>
                    </a:ext>
                  </a:extLst>
                </p:cNvPr>
                <p:cNvSpPr/>
                <p:nvPr/>
              </p:nvSpPr>
              <p:spPr>
                <a:xfrm>
                  <a:off x="9223446" y="5585938"/>
                  <a:ext cx="26629" cy="26503"/>
                </a:xfrm>
                <a:custGeom>
                  <a:avLst/>
                  <a:gdLst>
                    <a:gd name="connsiteX0" fmla="*/ 26580 w 26629"/>
                    <a:gd name="connsiteY0" fmla="*/ 14373 h 26503"/>
                    <a:gd name="connsiteX1" fmla="*/ 12131 w 26629"/>
                    <a:gd name="connsiteY1" fmla="*/ 26455 h 26503"/>
                    <a:gd name="connsiteX2" fmla="*/ 49 w 26629"/>
                    <a:gd name="connsiteY2" fmla="*/ 12131 h 26503"/>
                    <a:gd name="connsiteX3" fmla="*/ 14498 w 26629"/>
                    <a:gd name="connsiteY3" fmla="*/ 49 h 26503"/>
                    <a:gd name="connsiteX4" fmla="*/ 26580 w 26629"/>
                    <a:gd name="connsiteY4" fmla="*/ 14373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503">
                      <a:moveTo>
                        <a:pt x="26580" y="14373"/>
                      </a:moveTo>
                      <a:cubicBezTo>
                        <a:pt x="25957" y="21598"/>
                        <a:pt x="19480" y="27078"/>
                        <a:pt x="12131" y="26455"/>
                      </a:cubicBezTo>
                      <a:cubicBezTo>
                        <a:pt x="4782" y="25832"/>
                        <a:pt x="-573" y="19480"/>
                        <a:pt x="49" y="12131"/>
                      </a:cubicBezTo>
                      <a:cubicBezTo>
                        <a:pt x="672" y="4783"/>
                        <a:pt x="7149" y="-574"/>
                        <a:pt x="14498" y="49"/>
                      </a:cubicBezTo>
                      <a:cubicBezTo>
                        <a:pt x="21847" y="672"/>
                        <a:pt x="27203" y="7149"/>
                        <a:pt x="26580" y="1437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2" name="Freeform 5241">
                  <a:extLst>
                    <a:ext uri="{FF2B5EF4-FFF2-40B4-BE49-F238E27FC236}">
                      <a16:creationId xmlns:a16="http://schemas.microsoft.com/office/drawing/2014/main" id="{5F3EE967-3F05-B782-D12B-93E0F1D12444}"/>
                    </a:ext>
                  </a:extLst>
                </p:cNvPr>
                <p:cNvSpPr/>
                <p:nvPr/>
              </p:nvSpPr>
              <p:spPr>
                <a:xfrm>
                  <a:off x="9230471" y="5662591"/>
                  <a:ext cx="5355" cy="51816"/>
                </a:xfrm>
                <a:custGeom>
                  <a:avLst/>
                  <a:gdLst>
                    <a:gd name="connsiteX0" fmla="*/ 0 w 5355"/>
                    <a:gd name="connsiteY0" fmla="*/ 51816 h 51816"/>
                    <a:gd name="connsiteX1" fmla="*/ 3612 w 5355"/>
                    <a:gd name="connsiteY1" fmla="*/ 33381 h 51816"/>
                    <a:gd name="connsiteX2" fmla="*/ 1744 w 5355"/>
                    <a:gd name="connsiteY2" fmla="*/ 16068 h 51816"/>
                    <a:gd name="connsiteX3" fmla="*/ 5356 w 5355"/>
                    <a:gd name="connsiteY3" fmla="*/ 0 h 51816"/>
                  </a:gdLst>
                  <a:ahLst/>
                  <a:cxnLst>
                    <a:cxn ang="0">
                      <a:pos x="connsiteX0" y="connsiteY0"/>
                    </a:cxn>
                    <a:cxn ang="0">
                      <a:pos x="connsiteX1" y="connsiteY1"/>
                    </a:cxn>
                    <a:cxn ang="0">
                      <a:pos x="connsiteX2" y="connsiteY2"/>
                    </a:cxn>
                    <a:cxn ang="0">
                      <a:pos x="connsiteX3" y="connsiteY3"/>
                    </a:cxn>
                  </a:cxnLst>
                  <a:rect l="l" t="t" r="r" b="b"/>
                  <a:pathLst>
                    <a:path w="5355" h="51816">
                      <a:moveTo>
                        <a:pt x="0" y="51816"/>
                      </a:moveTo>
                      <a:cubicBezTo>
                        <a:pt x="3114" y="43969"/>
                        <a:pt x="3737" y="37741"/>
                        <a:pt x="3612" y="33381"/>
                      </a:cubicBezTo>
                      <a:cubicBezTo>
                        <a:pt x="3488" y="26406"/>
                        <a:pt x="1619" y="23168"/>
                        <a:pt x="1744" y="16068"/>
                      </a:cubicBezTo>
                      <a:cubicBezTo>
                        <a:pt x="1869" y="9217"/>
                        <a:pt x="3737" y="3612"/>
                        <a:pt x="53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3" name="Freeform 5242">
                  <a:extLst>
                    <a:ext uri="{FF2B5EF4-FFF2-40B4-BE49-F238E27FC236}">
                      <a16:creationId xmlns:a16="http://schemas.microsoft.com/office/drawing/2014/main" id="{6EA226D5-936B-93F3-4161-D82AC0CBA2B4}"/>
                    </a:ext>
                  </a:extLst>
                </p:cNvPr>
                <p:cNvSpPr/>
                <p:nvPr/>
              </p:nvSpPr>
              <p:spPr>
                <a:xfrm>
                  <a:off x="9221875" y="5666950"/>
                  <a:ext cx="6151" cy="51940"/>
                </a:xfrm>
                <a:custGeom>
                  <a:avLst/>
                  <a:gdLst>
                    <a:gd name="connsiteX0" fmla="*/ 4984 w 6151"/>
                    <a:gd name="connsiteY0" fmla="*/ 0 h 51940"/>
                    <a:gd name="connsiteX1" fmla="*/ 5357 w 6151"/>
                    <a:gd name="connsiteY1" fmla="*/ 18808 h 51940"/>
                    <a:gd name="connsiteX2" fmla="*/ 499 w 6151"/>
                    <a:gd name="connsiteY2" fmla="*/ 35499 h 51940"/>
                    <a:gd name="connsiteX3" fmla="*/ 1246 w 6151"/>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151" h="51940">
                      <a:moveTo>
                        <a:pt x="4984" y="0"/>
                      </a:moveTo>
                      <a:cubicBezTo>
                        <a:pt x="6727" y="8221"/>
                        <a:pt x="6229" y="14573"/>
                        <a:pt x="5357" y="18808"/>
                      </a:cubicBezTo>
                      <a:cubicBezTo>
                        <a:pt x="3987" y="25659"/>
                        <a:pt x="1620" y="28523"/>
                        <a:pt x="499" y="35499"/>
                      </a:cubicBezTo>
                      <a:cubicBezTo>
                        <a:pt x="-622" y="42350"/>
                        <a:pt x="375" y="48204"/>
                        <a:pt x="1246"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24" name="Freeform 5243">
                  <a:extLst>
                    <a:ext uri="{FF2B5EF4-FFF2-40B4-BE49-F238E27FC236}">
                      <a16:creationId xmlns:a16="http://schemas.microsoft.com/office/drawing/2014/main" id="{CB755FA1-D726-5103-3FF2-ABAC295EA2FA}"/>
                    </a:ext>
                  </a:extLst>
                </p:cNvPr>
                <p:cNvSpPr/>
                <p:nvPr/>
              </p:nvSpPr>
              <p:spPr>
                <a:xfrm>
                  <a:off x="9213108" y="5707897"/>
                  <a:ext cx="26256" cy="26594"/>
                </a:xfrm>
                <a:custGeom>
                  <a:avLst/>
                  <a:gdLst>
                    <a:gd name="connsiteX0" fmla="*/ 49 w 26256"/>
                    <a:gd name="connsiteY0" fmla="*/ 12239 h 26594"/>
                    <a:gd name="connsiteX1" fmla="*/ 14249 w 26256"/>
                    <a:gd name="connsiteY1" fmla="*/ 32 h 26594"/>
                    <a:gd name="connsiteX2" fmla="*/ 26207 w 26256"/>
                    <a:gd name="connsiteY2" fmla="*/ 14357 h 26594"/>
                    <a:gd name="connsiteX3" fmla="*/ 12007 w 26256"/>
                    <a:gd name="connsiteY3" fmla="*/ 26563 h 26594"/>
                    <a:gd name="connsiteX4" fmla="*/ 49 w 26256"/>
                    <a:gd name="connsiteY4" fmla="*/ 12239 h 2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6" h="26594">
                      <a:moveTo>
                        <a:pt x="49" y="12239"/>
                      </a:moveTo>
                      <a:cubicBezTo>
                        <a:pt x="672" y="4890"/>
                        <a:pt x="7024" y="-466"/>
                        <a:pt x="14249" y="32"/>
                      </a:cubicBezTo>
                      <a:cubicBezTo>
                        <a:pt x="21474" y="655"/>
                        <a:pt x="26829" y="7007"/>
                        <a:pt x="26207" y="14357"/>
                      </a:cubicBezTo>
                      <a:cubicBezTo>
                        <a:pt x="25583" y="21581"/>
                        <a:pt x="19232" y="27061"/>
                        <a:pt x="12007" y="26563"/>
                      </a:cubicBezTo>
                      <a:cubicBezTo>
                        <a:pt x="4782" y="25940"/>
                        <a:pt x="-573" y="19588"/>
                        <a:pt x="49" y="1223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1" name="Graphic 2987">
                <a:extLst>
                  <a:ext uri="{FF2B5EF4-FFF2-40B4-BE49-F238E27FC236}">
                    <a16:creationId xmlns:a16="http://schemas.microsoft.com/office/drawing/2014/main" id="{D3436AC1-B23D-896B-7D59-F0D167552C52}"/>
                  </a:ext>
                </a:extLst>
              </p:cNvPr>
              <p:cNvGrpSpPr/>
              <p:nvPr/>
            </p:nvGrpSpPr>
            <p:grpSpPr>
              <a:xfrm>
                <a:off x="9242378" y="5588679"/>
                <a:ext cx="37361" cy="148447"/>
                <a:chOff x="9242378" y="5588679"/>
                <a:chExt cx="37361" cy="148447"/>
              </a:xfrm>
              <a:grpFill/>
            </p:grpSpPr>
            <p:sp>
              <p:nvSpPr>
                <p:cNvPr id="4313" name="Freeform 5245">
                  <a:extLst>
                    <a:ext uri="{FF2B5EF4-FFF2-40B4-BE49-F238E27FC236}">
                      <a16:creationId xmlns:a16="http://schemas.microsoft.com/office/drawing/2014/main" id="{B99D4C65-5D47-BA6F-0A43-C22538F313A3}"/>
                    </a:ext>
                  </a:extLst>
                </p:cNvPr>
                <p:cNvSpPr/>
                <p:nvPr/>
              </p:nvSpPr>
              <p:spPr>
                <a:xfrm>
                  <a:off x="9256752" y="5608657"/>
                  <a:ext cx="5355" cy="51816"/>
                </a:xfrm>
                <a:custGeom>
                  <a:avLst/>
                  <a:gdLst>
                    <a:gd name="connsiteX0" fmla="*/ 5356 w 5355"/>
                    <a:gd name="connsiteY0" fmla="*/ 0 h 51816"/>
                    <a:gd name="connsiteX1" fmla="*/ 1744 w 5355"/>
                    <a:gd name="connsiteY1" fmla="*/ 18435 h 51816"/>
                    <a:gd name="connsiteX2" fmla="*/ 3613 w 5355"/>
                    <a:gd name="connsiteY2" fmla="*/ 35748 h 51816"/>
                    <a:gd name="connsiteX3" fmla="*/ 0 w 535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355" h="51816">
                      <a:moveTo>
                        <a:pt x="5356" y="0"/>
                      </a:moveTo>
                      <a:cubicBezTo>
                        <a:pt x="2118" y="7723"/>
                        <a:pt x="1619" y="14075"/>
                        <a:pt x="1744" y="18435"/>
                      </a:cubicBezTo>
                      <a:cubicBezTo>
                        <a:pt x="1869" y="25410"/>
                        <a:pt x="3737" y="28648"/>
                        <a:pt x="3613" y="35748"/>
                      </a:cubicBezTo>
                      <a:cubicBezTo>
                        <a:pt x="3488"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4" name="Freeform 5246">
                  <a:extLst>
                    <a:ext uri="{FF2B5EF4-FFF2-40B4-BE49-F238E27FC236}">
                      <a16:creationId xmlns:a16="http://schemas.microsoft.com/office/drawing/2014/main" id="{76B02ED2-29B1-3EDC-D8C4-BD9B9ED6AF2B}"/>
                    </a:ext>
                  </a:extLst>
                </p:cNvPr>
                <p:cNvSpPr/>
                <p:nvPr/>
              </p:nvSpPr>
              <p:spPr>
                <a:xfrm>
                  <a:off x="9264610" y="5604298"/>
                  <a:ext cx="6369" cy="51940"/>
                </a:xfrm>
                <a:custGeom>
                  <a:avLst/>
                  <a:gdLst>
                    <a:gd name="connsiteX0" fmla="*/ 1111 w 6369"/>
                    <a:gd name="connsiteY0" fmla="*/ 51940 h 51940"/>
                    <a:gd name="connsiteX1" fmla="*/ 861 w 6369"/>
                    <a:gd name="connsiteY1" fmla="*/ 33132 h 51940"/>
                    <a:gd name="connsiteX2" fmla="*/ 5844 w 6369"/>
                    <a:gd name="connsiteY2" fmla="*/ 16441 h 51940"/>
                    <a:gd name="connsiteX3" fmla="*/ 5097 w 6369"/>
                    <a:gd name="connsiteY3" fmla="*/ 0 h 51940"/>
                  </a:gdLst>
                  <a:ahLst/>
                  <a:cxnLst>
                    <a:cxn ang="0">
                      <a:pos x="connsiteX0" y="connsiteY0"/>
                    </a:cxn>
                    <a:cxn ang="0">
                      <a:pos x="connsiteX1" y="connsiteY1"/>
                    </a:cxn>
                    <a:cxn ang="0">
                      <a:pos x="connsiteX2" y="connsiteY2"/>
                    </a:cxn>
                    <a:cxn ang="0">
                      <a:pos x="connsiteX3" y="connsiteY3"/>
                    </a:cxn>
                  </a:cxnLst>
                  <a:rect l="l" t="t" r="r" b="b"/>
                  <a:pathLst>
                    <a:path w="6369" h="51940">
                      <a:moveTo>
                        <a:pt x="1111" y="51940"/>
                      </a:moveTo>
                      <a:cubicBezTo>
                        <a:pt x="-633" y="43719"/>
                        <a:pt x="-11" y="37367"/>
                        <a:pt x="861" y="33132"/>
                      </a:cubicBezTo>
                      <a:cubicBezTo>
                        <a:pt x="2231" y="26281"/>
                        <a:pt x="4722" y="23417"/>
                        <a:pt x="5844" y="16441"/>
                      </a:cubicBezTo>
                      <a:cubicBezTo>
                        <a:pt x="6964" y="9591"/>
                        <a:pt x="6092" y="3737"/>
                        <a:pt x="509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5" name="Freeform 5247">
                  <a:extLst>
                    <a:ext uri="{FF2B5EF4-FFF2-40B4-BE49-F238E27FC236}">
                      <a16:creationId xmlns:a16="http://schemas.microsoft.com/office/drawing/2014/main" id="{260FD23F-EE29-3A31-31CF-08915BBB93EA}"/>
                    </a:ext>
                  </a:extLst>
                </p:cNvPr>
                <p:cNvSpPr/>
                <p:nvPr/>
              </p:nvSpPr>
              <p:spPr>
                <a:xfrm>
                  <a:off x="9253091" y="5588679"/>
                  <a:ext cx="26648" cy="26505"/>
                </a:xfrm>
                <a:custGeom>
                  <a:avLst/>
                  <a:gdLst>
                    <a:gd name="connsiteX0" fmla="*/ 26580 w 26648"/>
                    <a:gd name="connsiteY0" fmla="*/ 14498 h 26505"/>
                    <a:gd name="connsiteX1" fmla="*/ 12131 w 26648"/>
                    <a:gd name="connsiteY1" fmla="*/ 26455 h 26505"/>
                    <a:gd name="connsiteX2" fmla="*/ 49 w 26648"/>
                    <a:gd name="connsiteY2" fmla="*/ 12007 h 26505"/>
                    <a:gd name="connsiteX3" fmla="*/ 14498 w 26648"/>
                    <a:gd name="connsiteY3" fmla="*/ 49 h 26505"/>
                    <a:gd name="connsiteX4" fmla="*/ 26580 w 26648"/>
                    <a:gd name="connsiteY4" fmla="*/ 1449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8" h="26505">
                      <a:moveTo>
                        <a:pt x="26580" y="14498"/>
                      </a:moveTo>
                      <a:cubicBezTo>
                        <a:pt x="25957" y="21847"/>
                        <a:pt x="19480" y="27078"/>
                        <a:pt x="12131" y="26455"/>
                      </a:cubicBezTo>
                      <a:cubicBezTo>
                        <a:pt x="4782" y="25708"/>
                        <a:pt x="-573" y="19231"/>
                        <a:pt x="49" y="12007"/>
                      </a:cubicBezTo>
                      <a:cubicBezTo>
                        <a:pt x="672" y="4782"/>
                        <a:pt x="7149" y="-574"/>
                        <a:pt x="14498" y="49"/>
                      </a:cubicBezTo>
                      <a:cubicBezTo>
                        <a:pt x="21847" y="797"/>
                        <a:pt x="27327" y="7273"/>
                        <a:pt x="2658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6" name="Freeform 5248">
                  <a:extLst>
                    <a:ext uri="{FF2B5EF4-FFF2-40B4-BE49-F238E27FC236}">
                      <a16:creationId xmlns:a16="http://schemas.microsoft.com/office/drawing/2014/main" id="{B35B32E3-070A-52F5-D7C5-10E609D6D3C1}"/>
                    </a:ext>
                  </a:extLst>
                </p:cNvPr>
                <p:cNvSpPr/>
                <p:nvPr/>
              </p:nvSpPr>
              <p:spPr>
                <a:xfrm>
                  <a:off x="9259741" y="5665331"/>
                  <a:ext cx="5356" cy="51816"/>
                </a:xfrm>
                <a:custGeom>
                  <a:avLst/>
                  <a:gdLst>
                    <a:gd name="connsiteX0" fmla="*/ 0 w 5356"/>
                    <a:gd name="connsiteY0" fmla="*/ 51816 h 51816"/>
                    <a:gd name="connsiteX1" fmla="*/ 3613 w 5356"/>
                    <a:gd name="connsiteY1" fmla="*/ 33381 h 51816"/>
                    <a:gd name="connsiteX2" fmla="*/ 1744 w 5356"/>
                    <a:gd name="connsiteY2" fmla="*/ 16068 h 51816"/>
                    <a:gd name="connsiteX3" fmla="*/ 5357 w 5356"/>
                    <a:gd name="connsiteY3" fmla="*/ 0 h 51816"/>
                  </a:gdLst>
                  <a:ahLst/>
                  <a:cxnLst>
                    <a:cxn ang="0">
                      <a:pos x="connsiteX0" y="connsiteY0"/>
                    </a:cxn>
                    <a:cxn ang="0">
                      <a:pos x="connsiteX1" y="connsiteY1"/>
                    </a:cxn>
                    <a:cxn ang="0">
                      <a:pos x="connsiteX2" y="connsiteY2"/>
                    </a:cxn>
                    <a:cxn ang="0">
                      <a:pos x="connsiteX3" y="connsiteY3"/>
                    </a:cxn>
                  </a:cxnLst>
                  <a:rect l="l" t="t" r="r" b="b"/>
                  <a:pathLst>
                    <a:path w="5356" h="51816">
                      <a:moveTo>
                        <a:pt x="0" y="51816"/>
                      </a:moveTo>
                      <a:cubicBezTo>
                        <a:pt x="3114" y="44094"/>
                        <a:pt x="3737" y="37741"/>
                        <a:pt x="3613" y="33381"/>
                      </a:cubicBezTo>
                      <a:cubicBezTo>
                        <a:pt x="3488" y="26406"/>
                        <a:pt x="1619" y="23168"/>
                        <a:pt x="1744" y="16068"/>
                      </a:cubicBezTo>
                      <a:cubicBezTo>
                        <a:pt x="1869" y="9217"/>
                        <a:pt x="3737" y="3612"/>
                        <a:pt x="53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7" name="Freeform 5249">
                  <a:extLst>
                    <a:ext uri="{FF2B5EF4-FFF2-40B4-BE49-F238E27FC236}">
                      <a16:creationId xmlns:a16="http://schemas.microsoft.com/office/drawing/2014/main" id="{F69DD4E4-124E-5860-F541-8ABCD5262881}"/>
                    </a:ext>
                  </a:extLst>
                </p:cNvPr>
                <p:cNvSpPr/>
                <p:nvPr/>
              </p:nvSpPr>
              <p:spPr>
                <a:xfrm>
                  <a:off x="9251115" y="5669441"/>
                  <a:ext cx="6249" cy="51940"/>
                </a:xfrm>
                <a:custGeom>
                  <a:avLst/>
                  <a:gdLst>
                    <a:gd name="connsiteX0" fmla="*/ 5139 w 6249"/>
                    <a:gd name="connsiteY0" fmla="*/ 0 h 51940"/>
                    <a:gd name="connsiteX1" fmla="*/ 5389 w 6249"/>
                    <a:gd name="connsiteY1" fmla="*/ 18808 h 51940"/>
                    <a:gd name="connsiteX2" fmla="*/ 531 w 6249"/>
                    <a:gd name="connsiteY2" fmla="*/ 35499 h 51940"/>
                    <a:gd name="connsiteX3" fmla="*/ 1153 w 624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249" h="51940">
                      <a:moveTo>
                        <a:pt x="5139" y="0"/>
                      </a:moveTo>
                      <a:cubicBezTo>
                        <a:pt x="6883" y="8221"/>
                        <a:pt x="6260" y="14573"/>
                        <a:pt x="5389" y="18808"/>
                      </a:cubicBezTo>
                      <a:cubicBezTo>
                        <a:pt x="4018" y="25659"/>
                        <a:pt x="1651" y="28524"/>
                        <a:pt x="531" y="35499"/>
                      </a:cubicBezTo>
                      <a:cubicBezTo>
                        <a:pt x="-591" y="42350"/>
                        <a:pt x="281" y="48204"/>
                        <a:pt x="1153"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8" name="Freeform 5250">
                  <a:extLst>
                    <a:ext uri="{FF2B5EF4-FFF2-40B4-BE49-F238E27FC236}">
                      <a16:creationId xmlns:a16="http://schemas.microsoft.com/office/drawing/2014/main" id="{6AE2A716-6859-C1DD-183F-50B62F4466AA}"/>
                    </a:ext>
                  </a:extLst>
                </p:cNvPr>
                <p:cNvSpPr/>
                <p:nvPr/>
              </p:nvSpPr>
              <p:spPr>
                <a:xfrm>
                  <a:off x="9242378" y="5710619"/>
                  <a:ext cx="26381" cy="26507"/>
                </a:xfrm>
                <a:custGeom>
                  <a:avLst/>
                  <a:gdLst>
                    <a:gd name="connsiteX0" fmla="*/ 50 w 26381"/>
                    <a:gd name="connsiteY0" fmla="*/ 12008 h 26507"/>
                    <a:gd name="connsiteX1" fmla="*/ 14374 w 26381"/>
                    <a:gd name="connsiteY1" fmla="*/ 50 h 26507"/>
                    <a:gd name="connsiteX2" fmla="*/ 26332 w 26381"/>
                    <a:gd name="connsiteY2" fmla="*/ 14499 h 26507"/>
                    <a:gd name="connsiteX3" fmla="*/ 12007 w 26381"/>
                    <a:gd name="connsiteY3" fmla="*/ 26457 h 26507"/>
                    <a:gd name="connsiteX4" fmla="*/ 50 w 26381"/>
                    <a:gd name="connsiteY4" fmla="*/ 12008 h 26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6">
                      <a:moveTo>
                        <a:pt x="50" y="12008"/>
                      </a:moveTo>
                      <a:cubicBezTo>
                        <a:pt x="673" y="4659"/>
                        <a:pt x="7026" y="-572"/>
                        <a:pt x="14374" y="50"/>
                      </a:cubicBezTo>
                      <a:cubicBezTo>
                        <a:pt x="21599" y="798"/>
                        <a:pt x="26954" y="7275"/>
                        <a:pt x="26332" y="14499"/>
                      </a:cubicBezTo>
                      <a:cubicBezTo>
                        <a:pt x="25709" y="21848"/>
                        <a:pt x="19232" y="27079"/>
                        <a:pt x="12007" y="26457"/>
                      </a:cubicBezTo>
                      <a:cubicBezTo>
                        <a:pt x="4659" y="25709"/>
                        <a:pt x="-573" y="19232"/>
                        <a:pt x="5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2" name="Graphic 2987">
                <a:extLst>
                  <a:ext uri="{FF2B5EF4-FFF2-40B4-BE49-F238E27FC236}">
                    <a16:creationId xmlns:a16="http://schemas.microsoft.com/office/drawing/2014/main" id="{90CC7C1A-1579-C052-D3F9-A097F5542FF2}"/>
                  </a:ext>
                </a:extLst>
              </p:cNvPr>
              <p:cNvGrpSpPr/>
              <p:nvPr/>
            </p:nvGrpSpPr>
            <p:grpSpPr>
              <a:xfrm>
                <a:off x="9271630" y="5591542"/>
                <a:ext cx="37754" cy="148323"/>
                <a:chOff x="9271630" y="5591542"/>
                <a:chExt cx="37754" cy="148323"/>
              </a:xfrm>
              <a:grpFill/>
            </p:grpSpPr>
            <p:sp>
              <p:nvSpPr>
                <p:cNvPr id="4307" name="Freeform 5252">
                  <a:extLst>
                    <a:ext uri="{FF2B5EF4-FFF2-40B4-BE49-F238E27FC236}">
                      <a16:creationId xmlns:a16="http://schemas.microsoft.com/office/drawing/2014/main" id="{C1BE903E-BB44-32D5-28BE-CF8C204D1CBA}"/>
                    </a:ext>
                  </a:extLst>
                </p:cNvPr>
                <p:cNvSpPr/>
                <p:nvPr/>
              </p:nvSpPr>
              <p:spPr>
                <a:xfrm>
                  <a:off x="9286272" y="5611397"/>
                  <a:ext cx="5480" cy="51816"/>
                </a:xfrm>
                <a:custGeom>
                  <a:avLst/>
                  <a:gdLst>
                    <a:gd name="connsiteX0" fmla="*/ 5481 w 5480"/>
                    <a:gd name="connsiteY0" fmla="*/ 0 h 51816"/>
                    <a:gd name="connsiteX1" fmla="*/ 1744 w 5480"/>
                    <a:gd name="connsiteY1" fmla="*/ 18435 h 51816"/>
                    <a:gd name="connsiteX2" fmla="*/ 3613 w 5480"/>
                    <a:gd name="connsiteY2" fmla="*/ 35748 h 51816"/>
                    <a:gd name="connsiteX3" fmla="*/ 0 w 5480"/>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480" h="51816">
                      <a:moveTo>
                        <a:pt x="5481" y="0"/>
                      </a:moveTo>
                      <a:cubicBezTo>
                        <a:pt x="2242" y="7723"/>
                        <a:pt x="1744" y="14075"/>
                        <a:pt x="1744" y="18435"/>
                      </a:cubicBezTo>
                      <a:cubicBezTo>
                        <a:pt x="1869" y="25410"/>
                        <a:pt x="3737" y="28648"/>
                        <a:pt x="3613" y="35748"/>
                      </a:cubicBezTo>
                      <a:cubicBezTo>
                        <a:pt x="3488" y="42599"/>
                        <a:pt x="1495"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8" name="Freeform 5253">
                  <a:extLst>
                    <a:ext uri="{FF2B5EF4-FFF2-40B4-BE49-F238E27FC236}">
                      <a16:creationId xmlns:a16="http://schemas.microsoft.com/office/drawing/2014/main" id="{7D2A6E72-5E66-58CB-4B43-6ACDBB4E9710}"/>
                    </a:ext>
                  </a:extLst>
                </p:cNvPr>
                <p:cNvSpPr/>
                <p:nvPr/>
              </p:nvSpPr>
              <p:spPr>
                <a:xfrm>
                  <a:off x="9294006" y="5607162"/>
                  <a:ext cx="6374" cy="51940"/>
                </a:xfrm>
                <a:custGeom>
                  <a:avLst/>
                  <a:gdLst>
                    <a:gd name="connsiteX0" fmla="*/ 1111 w 6374"/>
                    <a:gd name="connsiteY0" fmla="*/ 51941 h 51940"/>
                    <a:gd name="connsiteX1" fmla="*/ 861 w 6374"/>
                    <a:gd name="connsiteY1" fmla="*/ 33132 h 51940"/>
                    <a:gd name="connsiteX2" fmla="*/ 5844 w 6374"/>
                    <a:gd name="connsiteY2" fmla="*/ 16442 h 51940"/>
                    <a:gd name="connsiteX3" fmla="*/ 5221 w 6374"/>
                    <a:gd name="connsiteY3" fmla="*/ 0 h 51940"/>
                  </a:gdLst>
                  <a:ahLst/>
                  <a:cxnLst>
                    <a:cxn ang="0">
                      <a:pos x="connsiteX0" y="connsiteY0"/>
                    </a:cxn>
                    <a:cxn ang="0">
                      <a:pos x="connsiteX1" y="connsiteY1"/>
                    </a:cxn>
                    <a:cxn ang="0">
                      <a:pos x="connsiteX2" y="connsiteY2"/>
                    </a:cxn>
                    <a:cxn ang="0">
                      <a:pos x="connsiteX3" y="connsiteY3"/>
                    </a:cxn>
                  </a:cxnLst>
                  <a:rect l="l" t="t" r="r" b="b"/>
                  <a:pathLst>
                    <a:path w="6374" h="51940">
                      <a:moveTo>
                        <a:pt x="1111" y="51941"/>
                      </a:moveTo>
                      <a:cubicBezTo>
                        <a:pt x="-633" y="43720"/>
                        <a:pt x="-11" y="37367"/>
                        <a:pt x="861" y="33132"/>
                      </a:cubicBezTo>
                      <a:cubicBezTo>
                        <a:pt x="2232" y="26282"/>
                        <a:pt x="4722" y="23417"/>
                        <a:pt x="5844" y="16442"/>
                      </a:cubicBezTo>
                      <a:cubicBezTo>
                        <a:pt x="6964" y="9591"/>
                        <a:pt x="6093" y="3737"/>
                        <a:pt x="5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9" name="Freeform 5254">
                  <a:extLst>
                    <a:ext uri="{FF2B5EF4-FFF2-40B4-BE49-F238E27FC236}">
                      <a16:creationId xmlns:a16="http://schemas.microsoft.com/office/drawing/2014/main" id="{68065525-16F1-AB67-E9EE-5577AC41EC43}"/>
                    </a:ext>
                  </a:extLst>
                </p:cNvPr>
                <p:cNvSpPr/>
                <p:nvPr/>
              </p:nvSpPr>
              <p:spPr>
                <a:xfrm>
                  <a:off x="9282737" y="5591542"/>
                  <a:ext cx="26647" cy="26506"/>
                </a:xfrm>
                <a:custGeom>
                  <a:avLst/>
                  <a:gdLst>
                    <a:gd name="connsiteX0" fmla="*/ 26579 w 26647"/>
                    <a:gd name="connsiteY0" fmla="*/ 14499 h 26506"/>
                    <a:gd name="connsiteX1" fmla="*/ 12130 w 26647"/>
                    <a:gd name="connsiteY1" fmla="*/ 26456 h 26506"/>
                    <a:gd name="connsiteX2" fmla="*/ 48 w 26647"/>
                    <a:gd name="connsiteY2" fmla="*/ 12008 h 26506"/>
                    <a:gd name="connsiteX3" fmla="*/ 14497 w 26647"/>
                    <a:gd name="connsiteY3" fmla="*/ 50 h 26506"/>
                    <a:gd name="connsiteX4" fmla="*/ 26579 w 26647"/>
                    <a:gd name="connsiteY4" fmla="*/ 14499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7" h="26506">
                      <a:moveTo>
                        <a:pt x="26579" y="14499"/>
                      </a:moveTo>
                      <a:cubicBezTo>
                        <a:pt x="25832" y="21848"/>
                        <a:pt x="19355" y="27079"/>
                        <a:pt x="12130" y="26456"/>
                      </a:cubicBezTo>
                      <a:cubicBezTo>
                        <a:pt x="4906" y="25834"/>
                        <a:pt x="-574" y="19232"/>
                        <a:pt x="48" y="12008"/>
                      </a:cubicBezTo>
                      <a:cubicBezTo>
                        <a:pt x="671" y="4659"/>
                        <a:pt x="7148" y="-572"/>
                        <a:pt x="14497" y="50"/>
                      </a:cubicBezTo>
                      <a:cubicBezTo>
                        <a:pt x="21846" y="673"/>
                        <a:pt x="27326" y="7150"/>
                        <a:pt x="26579"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0" name="Freeform 5255">
                  <a:extLst>
                    <a:ext uri="{FF2B5EF4-FFF2-40B4-BE49-F238E27FC236}">
                      <a16:creationId xmlns:a16="http://schemas.microsoft.com/office/drawing/2014/main" id="{051BB908-DA80-2418-7FBF-F2A179E7C510}"/>
                    </a:ext>
                  </a:extLst>
                </p:cNvPr>
                <p:cNvSpPr/>
                <p:nvPr/>
              </p:nvSpPr>
              <p:spPr>
                <a:xfrm>
                  <a:off x="9289013" y="5668071"/>
                  <a:ext cx="5605" cy="51816"/>
                </a:xfrm>
                <a:custGeom>
                  <a:avLst/>
                  <a:gdLst>
                    <a:gd name="connsiteX0" fmla="*/ 0 w 5605"/>
                    <a:gd name="connsiteY0" fmla="*/ 51816 h 51816"/>
                    <a:gd name="connsiteX1" fmla="*/ 3737 w 5605"/>
                    <a:gd name="connsiteY1" fmla="*/ 33381 h 51816"/>
                    <a:gd name="connsiteX2" fmla="*/ 1993 w 5605"/>
                    <a:gd name="connsiteY2" fmla="*/ 16068 h 51816"/>
                    <a:gd name="connsiteX3" fmla="*/ 5605 w 5605"/>
                    <a:gd name="connsiteY3" fmla="*/ 0 h 51816"/>
                  </a:gdLst>
                  <a:ahLst/>
                  <a:cxnLst>
                    <a:cxn ang="0">
                      <a:pos x="connsiteX0" y="connsiteY0"/>
                    </a:cxn>
                    <a:cxn ang="0">
                      <a:pos x="connsiteX1" y="connsiteY1"/>
                    </a:cxn>
                    <a:cxn ang="0">
                      <a:pos x="connsiteX2" y="connsiteY2"/>
                    </a:cxn>
                    <a:cxn ang="0">
                      <a:pos x="connsiteX3" y="connsiteY3"/>
                    </a:cxn>
                  </a:cxnLst>
                  <a:rect l="l" t="t" r="r" b="b"/>
                  <a:pathLst>
                    <a:path w="5605" h="51816">
                      <a:moveTo>
                        <a:pt x="0" y="51816"/>
                      </a:moveTo>
                      <a:cubicBezTo>
                        <a:pt x="3239" y="44094"/>
                        <a:pt x="3737" y="37741"/>
                        <a:pt x="3737" y="33381"/>
                      </a:cubicBezTo>
                      <a:cubicBezTo>
                        <a:pt x="3612" y="26406"/>
                        <a:pt x="1744" y="23168"/>
                        <a:pt x="1993" y="16068"/>
                      </a:cubicBezTo>
                      <a:cubicBezTo>
                        <a:pt x="2117" y="9217"/>
                        <a:pt x="4111" y="3612"/>
                        <a:pt x="56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1" name="Freeform 5256">
                  <a:extLst>
                    <a:ext uri="{FF2B5EF4-FFF2-40B4-BE49-F238E27FC236}">
                      <a16:creationId xmlns:a16="http://schemas.microsoft.com/office/drawing/2014/main" id="{016D3E79-E1D8-6F4A-B026-24E656DC382E}"/>
                    </a:ext>
                  </a:extLst>
                </p:cNvPr>
                <p:cNvSpPr/>
                <p:nvPr/>
              </p:nvSpPr>
              <p:spPr>
                <a:xfrm>
                  <a:off x="9280386" y="5672306"/>
                  <a:ext cx="6374" cy="51940"/>
                </a:xfrm>
                <a:custGeom>
                  <a:avLst/>
                  <a:gdLst>
                    <a:gd name="connsiteX0" fmla="*/ 5264 w 6374"/>
                    <a:gd name="connsiteY0" fmla="*/ 0 h 51940"/>
                    <a:gd name="connsiteX1" fmla="*/ 5513 w 6374"/>
                    <a:gd name="connsiteY1" fmla="*/ 18808 h 51940"/>
                    <a:gd name="connsiteX2" fmla="*/ 530 w 6374"/>
                    <a:gd name="connsiteY2" fmla="*/ 35499 h 51940"/>
                    <a:gd name="connsiteX3" fmla="*/ 1153 w 6374"/>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374" h="51940">
                      <a:moveTo>
                        <a:pt x="5264" y="0"/>
                      </a:moveTo>
                      <a:cubicBezTo>
                        <a:pt x="7008" y="8221"/>
                        <a:pt x="6385" y="14573"/>
                        <a:pt x="5513" y="18808"/>
                      </a:cubicBezTo>
                      <a:cubicBezTo>
                        <a:pt x="4143" y="25659"/>
                        <a:pt x="1652" y="28524"/>
                        <a:pt x="530" y="35499"/>
                      </a:cubicBezTo>
                      <a:cubicBezTo>
                        <a:pt x="-590" y="42350"/>
                        <a:pt x="282" y="48204"/>
                        <a:pt x="115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12" name="Freeform 5257">
                  <a:extLst>
                    <a:ext uri="{FF2B5EF4-FFF2-40B4-BE49-F238E27FC236}">
                      <a16:creationId xmlns:a16="http://schemas.microsoft.com/office/drawing/2014/main" id="{3CF52E26-6AAD-52BA-C1A3-C0347C0454E7}"/>
                    </a:ext>
                  </a:extLst>
                </p:cNvPr>
                <p:cNvSpPr/>
                <p:nvPr/>
              </p:nvSpPr>
              <p:spPr>
                <a:xfrm>
                  <a:off x="9271630" y="5713360"/>
                  <a:ext cx="26296" cy="26505"/>
                </a:xfrm>
                <a:custGeom>
                  <a:avLst/>
                  <a:gdLst>
                    <a:gd name="connsiteX0" fmla="*/ 70 w 26296"/>
                    <a:gd name="connsiteY0" fmla="*/ 12008 h 26505"/>
                    <a:gd name="connsiteX1" fmla="*/ 14394 w 26296"/>
                    <a:gd name="connsiteY1" fmla="*/ 50 h 26505"/>
                    <a:gd name="connsiteX2" fmla="*/ 26226 w 26296"/>
                    <a:gd name="connsiteY2" fmla="*/ 14499 h 26505"/>
                    <a:gd name="connsiteX3" fmla="*/ 11903 w 26296"/>
                    <a:gd name="connsiteY3" fmla="*/ 26456 h 26505"/>
                    <a:gd name="connsiteX4" fmla="*/ 70 w 26296"/>
                    <a:gd name="connsiteY4" fmla="*/ 12008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5" h="26505">
                      <a:moveTo>
                        <a:pt x="70" y="12008"/>
                      </a:moveTo>
                      <a:cubicBezTo>
                        <a:pt x="692" y="4659"/>
                        <a:pt x="7170" y="-572"/>
                        <a:pt x="14394" y="50"/>
                      </a:cubicBezTo>
                      <a:cubicBezTo>
                        <a:pt x="21618" y="673"/>
                        <a:pt x="26975" y="7275"/>
                        <a:pt x="26226" y="14499"/>
                      </a:cubicBezTo>
                      <a:cubicBezTo>
                        <a:pt x="25479" y="21724"/>
                        <a:pt x="19127" y="27079"/>
                        <a:pt x="11903" y="26456"/>
                      </a:cubicBezTo>
                      <a:cubicBezTo>
                        <a:pt x="4678" y="25834"/>
                        <a:pt x="-678" y="19357"/>
                        <a:pt x="70"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3" name="Graphic 2987">
                <a:extLst>
                  <a:ext uri="{FF2B5EF4-FFF2-40B4-BE49-F238E27FC236}">
                    <a16:creationId xmlns:a16="http://schemas.microsoft.com/office/drawing/2014/main" id="{CB5A82C1-5A68-69EC-2A0C-A24872E78560}"/>
                  </a:ext>
                </a:extLst>
              </p:cNvPr>
              <p:cNvGrpSpPr/>
              <p:nvPr/>
            </p:nvGrpSpPr>
            <p:grpSpPr>
              <a:xfrm>
                <a:off x="9300899" y="5594407"/>
                <a:ext cx="38131" cy="148324"/>
                <a:chOff x="9300899" y="5594407"/>
                <a:chExt cx="38131" cy="148324"/>
              </a:xfrm>
              <a:grpFill/>
            </p:grpSpPr>
            <p:sp>
              <p:nvSpPr>
                <p:cNvPr id="4301" name="Freeform 5259">
                  <a:extLst>
                    <a:ext uri="{FF2B5EF4-FFF2-40B4-BE49-F238E27FC236}">
                      <a16:creationId xmlns:a16="http://schemas.microsoft.com/office/drawing/2014/main" id="{A0580A1B-BD5F-996A-5E36-77E974F85632}"/>
                    </a:ext>
                  </a:extLst>
                </p:cNvPr>
                <p:cNvSpPr/>
                <p:nvPr/>
              </p:nvSpPr>
              <p:spPr>
                <a:xfrm>
                  <a:off x="9315668" y="5614262"/>
                  <a:ext cx="5729" cy="51816"/>
                </a:xfrm>
                <a:custGeom>
                  <a:avLst/>
                  <a:gdLst>
                    <a:gd name="connsiteX0" fmla="*/ 5729 w 5729"/>
                    <a:gd name="connsiteY0" fmla="*/ 0 h 51816"/>
                    <a:gd name="connsiteX1" fmla="*/ 1993 w 5729"/>
                    <a:gd name="connsiteY1" fmla="*/ 18435 h 51816"/>
                    <a:gd name="connsiteX2" fmla="*/ 3737 w 5729"/>
                    <a:gd name="connsiteY2" fmla="*/ 35748 h 51816"/>
                    <a:gd name="connsiteX3" fmla="*/ 0 w 5729"/>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729" h="51816">
                      <a:moveTo>
                        <a:pt x="5729" y="0"/>
                      </a:moveTo>
                      <a:cubicBezTo>
                        <a:pt x="2491" y="7723"/>
                        <a:pt x="1868" y="14075"/>
                        <a:pt x="1993" y="18435"/>
                      </a:cubicBezTo>
                      <a:cubicBezTo>
                        <a:pt x="2117" y="25410"/>
                        <a:pt x="3985" y="28648"/>
                        <a:pt x="3737"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2" name="Freeform 5260">
                  <a:extLst>
                    <a:ext uri="{FF2B5EF4-FFF2-40B4-BE49-F238E27FC236}">
                      <a16:creationId xmlns:a16="http://schemas.microsoft.com/office/drawing/2014/main" id="{63748851-8971-6555-D66C-28CAA98BF8BB}"/>
                    </a:ext>
                  </a:extLst>
                </p:cNvPr>
                <p:cNvSpPr/>
                <p:nvPr/>
              </p:nvSpPr>
              <p:spPr>
                <a:xfrm>
                  <a:off x="9323538" y="5610027"/>
                  <a:ext cx="6611" cy="51940"/>
                </a:xfrm>
                <a:custGeom>
                  <a:avLst/>
                  <a:gdLst>
                    <a:gd name="connsiteX0" fmla="*/ 1098 w 6611"/>
                    <a:gd name="connsiteY0" fmla="*/ 51940 h 51940"/>
                    <a:gd name="connsiteX1" fmla="*/ 973 w 6611"/>
                    <a:gd name="connsiteY1" fmla="*/ 33132 h 51940"/>
                    <a:gd name="connsiteX2" fmla="*/ 6081 w 6611"/>
                    <a:gd name="connsiteY2" fmla="*/ 16442 h 51940"/>
                    <a:gd name="connsiteX3" fmla="*/ 5457 w 6611"/>
                    <a:gd name="connsiteY3" fmla="*/ 0 h 51940"/>
                  </a:gdLst>
                  <a:ahLst/>
                  <a:cxnLst>
                    <a:cxn ang="0">
                      <a:pos x="connsiteX0" y="connsiteY0"/>
                    </a:cxn>
                    <a:cxn ang="0">
                      <a:pos x="connsiteX1" y="connsiteY1"/>
                    </a:cxn>
                    <a:cxn ang="0">
                      <a:pos x="connsiteX2" y="connsiteY2"/>
                    </a:cxn>
                    <a:cxn ang="0">
                      <a:pos x="connsiteX3" y="connsiteY3"/>
                    </a:cxn>
                  </a:cxnLst>
                  <a:rect l="l" t="t" r="r" b="b"/>
                  <a:pathLst>
                    <a:path w="6611" h="51940">
                      <a:moveTo>
                        <a:pt x="1098" y="51940"/>
                      </a:moveTo>
                      <a:cubicBezTo>
                        <a:pt x="-646" y="43720"/>
                        <a:pt x="-22" y="37367"/>
                        <a:pt x="973" y="33132"/>
                      </a:cubicBezTo>
                      <a:cubicBezTo>
                        <a:pt x="2468" y="26281"/>
                        <a:pt x="4835" y="23417"/>
                        <a:pt x="6081" y="16442"/>
                      </a:cubicBezTo>
                      <a:cubicBezTo>
                        <a:pt x="7201" y="9591"/>
                        <a:pt x="6329" y="3737"/>
                        <a:pt x="54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3" name="Freeform 5261">
                  <a:extLst>
                    <a:ext uri="{FF2B5EF4-FFF2-40B4-BE49-F238E27FC236}">
                      <a16:creationId xmlns:a16="http://schemas.microsoft.com/office/drawing/2014/main" id="{D75DA653-6EE3-52E4-2426-E52E30974E5A}"/>
                    </a:ext>
                  </a:extLst>
                </p:cNvPr>
                <p:cNvSpPr/>
                <p:nvPr/>
              </p:nvSpPr>
              <p:spPr>
                <a:xfrm>
                  <a:off x="9312360" y="5594407"/>
                  <a:ext cx="26670" cy="26505"/>
                </a:xfrm>
                <a:custGeom>
                  <a:avLst/>
                  <a:gdLst>
                    <a:gd name="connsiteX0" fmla="*/ 26600 w 26670"/>
                    <a:gd name="connsiteY0" fmla="*/ 14499 h 26505"/>
                    <a:gd name="connsiteX1" fmla="*/ 12027 w 26670"/>
                    <a:gd name="connsiteY1" fmla="*/ 26456 h 26505"/>
                    <a:gd name="connsiteX2" fmla="*/ 70 w 26670"/>
                    <a:gd name="connsiteY2" fmla="*/ 12008 h 26505"/>
                    <a:gd name="connsiteX3" fmla="*/ 14643 w 26670"/>
                    <a:gd name="connsiteY3" fmla="*/ 50 h 26505"/>
                    <a:gd name="connsiteX4" fmla="*/ 26600 w 26670"/>
                    <a:gd name="connsiteY4" fmla="*/ 14499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5">
                      <a:moveTo>
                        <a:pt x="26600" y="14499"/>
                      </a:moveTo>
                      <a:cubicBezTo>
                        <a:pt x="25853" y="21723"/>
                        <a:pt x="19376" y="27079"/>
                        <a:pt x="12027" y="26456"/>
                      </a:cubicBezTo>
                      <a:cubicBezTo>
                        <a:pt x="4678" y="25834"/>
                        <a:pt x="-678" y="19232"/>
                        <a:pt x="70" y="12008"/>
                      </a:cubicBezTo>
                      <a:cubicBezTo>
                        <a:pt x="817" y="4659"/>
                        <a:pt x="7293" y="-572"/>
                        <a:pt x="14643" y="50"/>
                      </a:cubicBezTo>
                      <a:cubicBezTo>
                        <a:pt x="21992" y="673"/>
                        <a:pt x="27348" y="7150"/>
                        <a:pt x="26600" y="144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4" name="Freeform 5262">
                  <a:extLst>
                    <a:ext uri="{FF2B5EF4-FFF2-40B4-BE49-F238E27FC236}">
                      <a16:creationId xmlns:a16="http://schemas.microsoft.com/office/drawing/2014/main" id="{EE546313-A19B-44A9-DCE9-0D561487B777}"/>
                    </a:ext>
                  </a:extLst>
                </p:cNvPr>
                <p:cNvSpPr/>
                <p:nvPr/>
              </p:nvSpPr>
              <p:spPr>
                <a:xfrm>
                  <a:off x="9318284" y="5670936"/>
                  <a:ext cx="5729" cy="51816"/>
                </a:xfrm>
                <a:custGeom>
                  <a:avLst/>
                  <a:gdLst>
                    <a:gd name="connsiteX0" fmla="*/ 0 w 5729"/>
                    <a:gd name="connsiteY0" fmla="*/ 51816 h 51816"/>
                    <a:gd name="connsiteX1" fmla="*/ 3737 w 5729"/>
                    <a:gd name="connsiteY1" fmla="*/ 33382 h 51816"/>
                    <a:gd name="connsiteX2" fmla="*/ 1993 w 5729"/>
                    <a:gd name="connsiteY2" fmla="*/ 16068 h 51816"/>
                    <a:gd name="connsiteX3" fmla="*/ 5730 w 5729"/>
                    <a:gd name="connsiteY3" fmla="*/ 0 h 51816"/>
                  </a:gdLst>
                  <a:ahLst/>
                  <a:cxnLst>
                    <a:cxn ang="0">
                      <a:pos x="connsiteX0" y="connsiteY0"/>
                    </a:cxn>
                    <a:cxn ang="0">
                      <a:pos x="connsiteX1" y="connsiteY1"/>
                    </a:cxn>
                    <a:cxn ang="0">
                      <a:pos x="connsiteX2" y="connsiteY2"/>
                    </a:cxn>
                    <a:cxn ang="0">
                      <a:pos x="connsiteX3" y="connsiteY3"/>
                    </a:cxn>
                  </a:cxnLst>
                  <a:rect l="l" t="t" r="r" b="b"/>
                  <a:pathLst>
                    <a:path w="5729" h="51816">
                      <a:moveTo>
                        <a:pt x="0" y="51816"/>
                      </a:moveTo>
                      <a:cubicBezTo>
                        <a:pt x="3239" y="44094"/>
                        <a:pt x="3861" y="37741"/>
                        <a:pt x="3737" y="33382"/>
                      </a:cubicBezTo>
                      <a:cubicBezTo>
                        <a:pt x="3613" y="26407"/>
                        <a:pt x="1869" y="23168"/>
                        <a:pt x="1993" y="16068"/>
                      </a:cubicBezTo>
                      <a:cubicBezTo>
                        <a:pt x="2118" y="9218"/>
                        <a:pt x="4111" y="3612"/>
                        <a:pt x="57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5" name="Freeform 5263">
                  <a:extLst>
                    <a:ext uri="{FF2B5EF4-FFF2-40B4-BE49-F238E27FC236}">
                      <a16:creationId xmlns:a16="http://schemas.microsoft.com/office/drawing/2014/main" id="{DCB7221A-0FD6-D706-1E8B-F11381E032A8}"/>
                    </a:ext>
                  </a:extLst>
                </p:cNvPr>
                <p:cNvSpPr/>
                <p:nvPr/>
              </p:nvSpPr>
              <p:spPr>
                <a:xfrm>
                  <a:off x="9309782" y="5675046"/>
                  <a:ext cx="6486" cy="51940"/>
                </a:xfrm>
                <a:custGeom>
                  <a:avLst/>
                  <a:gdLst>
                    <a:gd name="connsiteX0" fmla="*/ 5388 w 6486"/>
                    <a:gd name="connsiteY0" fmla="*/ 0 h 51940"/>
                    <a:gd name="connsiteX1" fmla="*/ 5513 w 6486"/>
                    <a:gd name="connsiteY1" fmla="*/ 18808 h 51940"/>
                    <a:gd name="connsiteX2" fmla="*/ 530 w 6486"/>
                    <a:gd name="connsiteY2" fmla="*/ 35499 h 51940"/>
                    <a:gd name="connsiteX3" fmla="*/ 1154 w 6486"/>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486" h="51940">
                      <a:moveTo>
                        <a:pt x="5388" y="0"/>
                      </a:moveTo>
                      <a:cubicBezTo>
                        <a:pt x="7132" y="8221"/>
                        <a:pt x="6510" y="14573"/>
                        <a:pt x="5513" y="18808"/>
                      </a:cubicBezTo>
                      <a:cubicBezTo>
                        <a:pt x="4018" y="25659"/>
                        <a:pt x="1652" y="28524"/>
                        <a:pt x="530" y="35499"/>
                      </a:cubicBezTo>
                      <a:cubicBezTo>
                        <a:pt x="-590" y="42350"/>
                        <a:pt x="282" y="48204"/>
                        <a:pt x="115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6" name="Freeform 5264">
                  <a:extLst>
                    <a:ext uri="{FF2B5EF4-FFF2-40B4-BE49-F238E27FC236}">
                      <a16:creationId xmlns:a16="http://schemas.microsoft.com/office/drawing/2014/main" id="{CC8A8AAC-B73C-FF51-3A11-E5FB3AC6F6A0}"/>
                    </a:ext>
                  </a:extLst>
                </p:cNvPr>
                <p:cNvSpPr/>
                <p:nvPr/>
              </p:nvSpPr>
              <p:spPr>
                <a:xfrm>
                  <a:off x="9300899" y="5716225"/>
                  <a:ext cx="26298" cy="26506"/>
                </a:xfrm>
                <a:custGeom>
                  <a:avLst/>
                  <a:gdLst>
                    <a:gd name="connsiteX0" fmla="*/ 71 w 26298"/>
                    <a:gd name="connsiteY0" fmla="*/ 12008 h 26506"/>
                    <a:gd name="connsiteX1" fmla="*/ 14395 w 26298"/>
                    <a:gd name="connsiteY1" fmla="*/ 50 h 26506"/>
                    <a:gd name="connsiteX2" fmla="*/ 26229 w 26298"/>
                    <a:gd name="connsiteY2" fmla="*/ 14499 h 26506"/>
                    <a:gd name="connsiteX3" fmla="*/ 11904 w 26298"/>
                    <a:gd name="connsiteY3" fmla="*/ 26456 h 26506"/>
                    <a:gd name="connsiteX4" fmla="*/ 71 w 26298"/>
                    <a:gd name="connsiteY4" fmla="*/ 12008 h 26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6">
                      <a:moveTo>
                        <a:pt x="71" y="12008"/>
                      </a:moveTo>
                      <a:cubicBezTo>
                        <a:pt x="819" y="4659"/>
                        <a:pt x="7171" y="-572"/>
                        <a:pt x="14395" y="50"/>
                      </a:cubicBezTo>
                      <a:cubicBezTo>
                        <a:pt x="21620" y="798"/>
                        <a:pt x="26976" y="7150"/>
                        <a:pt x="26229" y="14499"/>
                      </a:cubicBezTo>
                      <a:cubicBezTo>
                        <a:pt x="25481" y="21848"/>
                        <a:pt x="19129" y="27079"/>
                        <a:pt x="11904" y="26456"/>
                      </a:cubicBezTo>
                      <a:cubicBezTo>
                        <a:pt x="4556" y="25709"/>
                        <a:pt x="-676" y="19232"/>
                        <a:pt x="71" y="120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4" name="Graphic 2987">
                <a:extLst>
                  <a:ext uri="{FF2B5EF4-FFF2-40B4-BE49-F238E27FC236}">
                    <a16:creationId xmlns:a16="http://schemas.microsoft.com/office/drawing/2014/main" id="{A19C55FF-EE2F-C1E4-E745-D3E4487C48F9}"/>
                  </a:ext>
                </a:extLst>
              </p:cNvPr>
              <p:cNvGrpSpPr/>
              <p:nvPr/>
            </p:nvGrpSpPr>
            <p:grpSpPr>
              <a:xfrm>
                <a:off x="9330067" y="5597149"/>
                <a:ext cx="38608" cy="148322"/>
                <a:chOff x="9330067" y="5597149"/>
                <a:chExt cx="38608" cy="148322"/>
              </a:xfrm>
              <a:grpFill/>
            </p:grpSpPr>
            <p:sp>
              <p:nvSpPr>
                <p:cNvPr id="4295" name="Freeform 5266">
                  <a:extLst>
                    <a:ext uri="{FF2B5EF4-FFF2-40B4-BE49-F238E27FC236}">
                      <a16:creationId xmlns:a16="http://schemas.microsoft.com/office/drawing/2014/main" id="{803462B0-1F34-1651-67A6-5BA53A54C7FD}"/>
                    </a:ext>
                  </a:extLst>
                </p:cNvPr>
                <p:cNvSpPr/>
                <p:nvPr/>
              </p:nvSpPr>
              <p:spPr>
                <a:xfrm>
                  <a:off x="9345189" y="5617127"/>
                  <a:ext cx="5853" cy="51816"/>
                </a:xfrm>
                <a:custGeom>
                  <a:avLst/>
                  <a:gdLst>
                    <a:gd name="connsiteX0" fmla="*/ 5854 w 5853"/>
                    <a:gd name="connsiteY0" fmla="*/ 0 h 51816"/>
                    <a:gd name="connsiteX1" fmla="*/ 1993 w 5853"/>
                    <a:gd name="connsiteY1" fmla="*/ 18434 h 51816"/>
                    <a:gd name="connsiteX2" fmla="*/ 3737 w 5853"/>
                    <a:gd name="connsiteY2" fmla="*/ 35748 h 51816"/>
                    <a:gd name="connsiteX3" fmla="*/ 0 w 58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5853" h="51816">
                      <a:moveTo>
                        <a:pt x="5854" y="0"/>
                      </a:moveTo>
                      <a:cubicBezTo>
                        <a:pt x="2615" y="7723"/>
                        <a:pt x="1993" y="14075"/>
                        <a:pt x="1993" y="18434"/>
                      </a:cubicBezTo>
                      <a:cubicBezTo>
                        <a:pt x="2117" y="25409"/>
                        <a:pt x="3861" y="28648"/>
                        <a:pt x="3737" y="35748"/>
                      </a:cubicBezTo>
                      <a:cubicBezTo>
                        <a:pt x="3487"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6" name="Freeform 5267">
                  <a:extLst>
                    <a:ext uri="{FF2B5EF4-FFF2-40B4-BE49-F238E27FC236}">
                      <a16:creationId xmlns:a16="http://schemas.microsoft.com/office/drawing/2014/main" id="{C2B52318-13C5-4951-B7B2-E5D3E81AD5CC}"/>
                    </a:ext>
                  </a:extLst>
                </p:cNvPr>
                <p:cNvSpPr/>
                <p:nvPr/>
              </p:nvSpPr>
              <p:spPr>
                <a:xfrm>
                  <a:off x="9353151" y="5612768"/>
                  <a:ext cx="6553" cy="51940"/>
                </a:xfrm>
                <a:custGeom>
                  <a:avLst/>
                  <a:gdLst>
                    <a:gd name="connsiteX0" fmla="*/ 1006 w 6553"/>
                    <a:gd name="connsiteY0" fmla="*/ 51940 h 51940"/>
                    <a:gd name="connsiteX1" fmla="*/ 881 w 6553"/>
                    <a:gd name="connsiteY1" fmla="*/ 33132 h 51940"/>
                    <a:gd name="connsiteX2" fmla="*/ 5988 w 6553"/>
                    <a:gd name="connsiteY2" fmla="*/ 16442 h 51940"/>
                    <a:gd name="connsiteX3" fmla="*/ 5490 w 6553"/>
                    <a:gd name="connsiteY3" fmla="*/ 0 h 51940"/>
                  </a:gdLst>
                  <a:ahLst/>
                  <a:cxnLst>
                    <a:cxn ang="0">
                      <a:pos x="connsiteX0" y="connsiteY0"/>
                    </a:cxn>
                    <a:cxn ang="0">
                      <a:pos x="connsiteX1" y="connsiteY1"/>
                    </a:cxn>
                    <a:cxn ang="0">
                      <a:pos x="connsiteX2" y="connsiteY2"/>
                    </a:cxn>
                    <a:cxn ang="0">
                      <a:pos x="connsiteX3" y="connsiteY3"/>
                    </a:cxn>
                  </a:cxnLst>
                  <a:rect l="l" t="t" r="r" b="b"/>
                  <a:pathLst>
                    <a:path w="6553" h="51940">
                      <a:moveTo>
                        <a:pt x="1006" y="51940"/>
                      </a:moveTo>
                      <a:cubicBezTo>
                        <a:pt x="-614" y="43720"/>
                        <a:pt x="9" y="37367"/>
                        <a:pt x="881" y="33132"/>
                      </a:cubicBezTo>
                      <a:cubicBezTo>
                        <a:pt x="2376" y="26281"/>
                        <a:pt x="4742" y="23417"/>
                        <a:pt x="5988" y="16442"/>
                      </a:cubicBezTo>
                      <a:cubicBezTo>
                        <a:pt x="7109" y="9591"/>
                        <a:pt x="6362" y="3737"/>
                        <a:pt x="54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7" name="Freeform 5268">
                  <a:extLst>
                    <a:ext uri="{FF2B5EF4-FFF2-40B4-BE49-F238E27FC236}">
                      <a16:creationId xmlns:a16="http://schemas.microsoft.com/office/drawing/2014/main" id="{C28101C5-7CE7-33B0-CB4E-F998F4560350}"/>
                    </a:ext>
                  </a:extLst>
                </p:cNvPr>
                <p:cNvSpPr/>
                <p:nvPr/>
              </p:nvSpPr>
              <p:spPr>
                <a:xfrm>
                  <a:off x="9342005" y="5597149"/>
                  <a:ext cx="26670" cy="26504"/>
                </a:xfrm>
                <a:custGeom>
                  <a:avLst/>
                  <a:gdLst>
                    <a:gd name="connsiteX0" fmla="*/ 26600 w 26670"/>
                    <a:gd name="connsiteY0" fmla="*/ 14498 h 26504"/>
                    <a:gd name="connsiteX1" fmla="*/ 12027 w 26670"/>
                    <a:gd name="connsiteY1" fmla="*/ 26455 h 26504"/>
                    <a:gd name="connsiteX2" fmla="*/ 70 w 26670"/>
                    <a:gd name="connsiteY2" fmla="*/ 12007 h 26504"/>
                    <a:gd name="connsiteX3" fmla="*/ 14643 w 26670"/>
                    <a:gd name="connsiteY3" fmla="*/ 49 h 26504"/>
                    <a:gd name="connsiteX4" fmla="*/ 26600 w 26670"/>
                    <a:gd name="connsiteY4" fmla="*/ 14498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504">
                      <a:moveTo>
                        <a:pt x="26600" y="14498"/>
                      </a:moveTo>
                      <a:cubicBezTo>
                        <a:pt x="25853" y="21722"/>
                        <a:pt x="19376" y="27078"/>
                        <a:pt x="12027" y="26455"/>
                      </a:cubicBezTo>
                      <a:cubicBezTo>
                        <a:pt x="4678" y="25708"/>
                        <a:pt x="-678" y="19231"/>
                        <a:pt x="70" y="12007"/>
                      </a:cubicBezTo>
                      <a:cubicBezTo>
                        <a:pt x="817" y="4783"/>
                        <a:pt x="7293" y="-574"/>
                        <a:pt x="14643" y="49"/>
                      </a:cubicBezTo>
                      <a:cubicBezTo>
                        <a:pt x="21992" y="797"/>
                        <a:pt x="27348" y="7273"/>
                        <a:pt x="26600" y="144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8" name="Freeform 5269">
                  <a:extLst>
                    <a:ext uri="{FF2B5EF4-FFF2-40B4-BE49-F238E27FC236}">
                      <a16:creationId xmlns:a16="http://schemas.microsoft.com/office/drawing/2014/main" id="{EDD2D708-CCEC-34A0-B341-4CF67639C1A8}"/>
                    </a:ext>
                  </a:extLst>
                </p:cNvPr>
                <p:cNvSpPr/>
                <p:nvPr/>
              </p:nvSpPr>
              <p:spPr>
                <a:xfrm>
                  <a:off x="9347555" y="5673676"/>
                  <a:ext cx="5853" cy="51816"/>
                </a:xfrm>
                <a:custGeom>
                  <a:avLst/>
                  <a:gdLst>
                    <a:gd name="connsiteX0" fmla="*/ 0 w 5853"/>
                    <a:gd name="connsiteY0" fmla="*/ 51816 h 51816"/>
                    <a:gd name="connsiteX1" fmla="*/ 3861 w 5853"/>
                    <a:gd name="connsiteY1" fmla="*/ 33382 h 51816"/>
                    <a:gd name="connsiteX2" fmla="*/ 2117 w 5853"/>
                    <a:gd name="connsiteY2" fmla="*/ 16068 h 51816"/>
                    <a:gd name="connsiteX3" fmla="*/ 5854 w 5853"/>
                    <a:gd name="connsiteY3" fmla="*/ 0 h 51816"/>
                  </a:gdLst>
                  <a:ahLst/>
                  <a:cxnLst>
                    <a:cxn ang="0">
                      <a:pos x="connsiteX0" y="connsiteY0"/>
                    </a:cxn>
                    <a:cxn ang="0">
                      <a:pos x="connsiteX1" y="connsiteY1"/>
                    </a:cxn>
                    <a:cxn ang="0">
                      <a:pos x="connsiteX2" y="connsiteY2"/>
                    </a:cxn>
                    <a:cxn ang="0">
                      <a:pos x="connsiteX3" y="connsiteY3"/>
                    </a:cxn>
                  </a:cxnLst>
                  <a:rect l="l" t="t" r="r" b="b"/>
                  <a:pathLst>
                    <a:path w="5853" h="51816">
                      <a:moveTo>
                        <a:pt x="0" y="51816"/>
                      </a:moveTo>
                      <a:cubicBezTo>
                        <a:pt x="3238" y="44094"/>
                        <a:pt x="3861" y="37741"/>
                        <a:pt x="3861" y="33382"/>
                      </a:cubicBezTo>
                      <a:cubicBezTo>
                        <a:pt x="3737" y="26407"/>
                        <a:pt x="1993" y="23168"/>
                        <a:pt x="2117" y="16068"/>
                      </a:cubicBezTo>
                      <a:cubicBezTo>
                        <a:pt x="2367" y="9218"/>
                        <a:pt x="4235" y="3612"/>
                        <a:pt x="58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9" name="Freeform 5270">
                  <a:extLst>
                    <a:ext uri="{FF2B5EF4-FFF2-40B4-BE49-F238E27FC236}">
                      <a16:creationId xmlns:a16="http://schemas.microsoft.com/office/drawing/2014/main" id="{F73FC0A9-E0E9-1288-41CD-E3CE27C9DDCD}"/>
                    </a:ext>
                  </a:extLst>
                </p:cNvPr>
                <p:cNvSpPr/>
                <p:nvPr/>
              </p:nvSpPr>
              <p:spPr>
                <a:xfrm>
                  <a:off x="9339017" y="5677911"/>
                  <a:ext cx="6553" cy="51940"/>
                </a:xfrm>
                <a:custGeom>
                  <a:avLst/>
                  <a:gdLst>
                    <a:gd name="connsiteX0" fmla="*/ 5548 w 6553"/>
                    <a:gd name="connsiteY0" fmla="*/ 0 h 51940"/>
                    <a:gd name="connsiteX1" fmla="*/ 5672 w 6553"/>
                    <a:gd name="connsiteY1" fmla="*/ 18808 h 51940"/>
                    <a:gd name="connsiteX2" fmla="*/ 566 w 6553"/>
                    <a:gd name="connsiteY2" fmla="*/ 35499 h 51940"/>
                    <a:gd name="connsiteX3" fmla="*/ 1064 w 6553"/>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553" h="51940">
                      <a:moveTo>
                        <a:pt x="5548" y="0"/>
                      </a:moveTo>
                      <a:cubicBezTo>
                        <a:pt x="7167" y="8220"/>
                        <a:pt x="6544" y="14573"/>
                        <a:pt x="5672" y="18808"/>
                      </a:cubicBezTo>
                      <a:cubicBezTo>
                        <a:pt x="4178" y="25659"/>
                        <a:pt x="1811" y="28523"/>
                        <a:pt x="566" y="35499"/>
                      </a:cubicBezTo>
                      <a:cubicBezTo>
                        <a:pt x="-555" y="42350"/>
                        <a:pt x="192" y="48204"/>
                        <a:pt x="1064"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300" name="Freeform 5271">
                  <a:extLst>
                    <a:ext uri="{FF2B5EF4-FFF2-40B4-BE49-F238E27FC236}">
                      <a16:creationId xmlns:a16="http://schemas.microsoft.com/office/drawing/2014/main" id="{8F87C6EA-7661-4B23-6805-103B0C359C8D}"/>
                    </a:ext>
                  </a:extLst>
                </p:cNvPr>
                <p:cNvSpPr/>
                <p:nvPr/>
              </p:nvSpPr>
              <p:spPr>
                <a:xfrm>
                  <a:off x="9330067" y="5718966"/>
                  <a:ext cx="26382" cy="26504"/>
                </a:xfrm>
                <a:custGeom>
                  <a:avLst/>
                  <a:gdLst>
                    <a:gd name="connsiteX0" fmla="*/ 50 w 26382"/>
                    <a:gd name="connsiteY0" fmla="*/ 12007 h 26504"/>
                    <a:gd name="connsiteX1" fmla="*/ 14499 w 26382"/>
                    <a:gd name="connsiteY1" fmla="*/ 49 h 26504"/>
                    <a:gd name="connsiteX2" fmla="*/ 26332 w 26382"/>
                    <a:gd name="connsiteY2" fmla="*/ 14498 h 26504"/>
                    <a:gd name="connsiteX3" fmla="*/ 11883 w 26382"/>
                    <a:gd name="connsiteY3" fmla="*/ 26455 h 26504"/>
                    <a:gd name="connsiteX4" fmla="*/ 50 w 26382"/>
                    <a:gd name="connsiteY4" fmla="*/ 12007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1" h="26504">
                      <a:moveTo>
                        <a:pt x="50" y="12007"/>
                      </a:moveTo>
                      <a:cubicBezTo>
                        <a:pt x="798" y="4782"/>
                        <a:pt x="7150" y="-573"/>
                        <a:pt x="14499" y="49"/>
                      </a:cubicBezTo>
                      <a:cubicBezTo>
                        <a:pt x="21723" y="797"/>
                        <a:pt x="26954" y="7149"/>
                        <a:pt x="26332" y="14498"/>
                      </a:cubicBezTo>
                      <a:cubicBezTo>
                        <a:pt x="25584" y="21722"/>
                        <a:pt x="19108" y="27078"/>
                        <a:pt x="11883" y="26455"/>
                      </a:cubicBezTo>
                      <a:cubicBezTo>
                        <a:pt x="4659" y="25833"/>
                        <a:pt x="-572" y="19356"/>
                        <a:pt x="5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5" name="Graphic 2987">
                <a:extLst>
                  <a:ext uri="{FF2B5EF4-FFF2-40B4-BE49-F238E27FC236}">
                    <a16:creationId xmlns:a16="http://schemas.microsoft.com/office/drawing/2014/main" id="{201F539C-20DB-8CC7-4089-87D10CEA87BE}"/>
                  </a:ext>
                </a:extLst>
              </p:cNvPr>
              <p:cNvGrpSpPr/>
              <p:nvPr/>
            </p:nvGrpSpPr>
            <p:grpSpPr>
              <a:xfrm>
                <a:off x="9359318" y="5600013"/>
                <a:ext cx="39025" cy="148323"/>
                <a:chOff x="9359318" y="5600013"/>
                <a:chExt cx="39025" cy="148323"/>
              </a:xfrm>
              <a:grpFill/>
            </p:grpSpPr>
            <p:sp>
              <p:nvSpPr>
                <p:cNvPr id="4289" name="Freeform 5273">
                  <a:extLst>
                    <a:ext uri="{FF2B5EF4-FFF2-40B4-BE49-F238E27FC236}">
                      <a16:creationId xmlns:a16="http://schemas.microsoft.com/office/drawing/2014/main" id="{71ED3B1C-09D0-4F25-628A-1407CD91CB51}"/>
                    </a:ext>
                  </a:extLst>
                </p:cNvPr>
                <p:cNvSpPr/>
                <p:nvPr/>
              </p:nvSpPr>
              <p:spPr>
                <a:xfrm>
                  <a:off x="9374584" y="5619992"/>
                  <a:ext cx="6103" cy="51816"/>
                </a:xfrm>
                <a:custGeom>
                  <a:avLst/>
                  <a:gdLst>
                    <a:gd name="connsiteX0" fmla="*/ 6103 w 6103"/>
                    <a:gd name="connsiteY0" fmla="*/ 0 h 51816"/>
                    <a:gd name="connsiteX1" fmla="*/ 2242 w 6103"/>
                    <a:gd name="connsiteY1" fmla="*/ 18435 h 51816"/>
                    <a:gd name="connsiteX2" fmla="*/ 3861 w 6103"/>
                    <a:gd name="connsiteY2" fmla="*/ 35748 h 51816"/>
                    <a:gd name="connsiteX3" fmla="*/ 0 w 610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103" h="51816">
                      <a:moveTo>
                        <a:pt x="6103" y="0"/>
                      </a:moveTo>
                      <a:cubicBezTo>
                        <a:pt x="2865" y="7723"/>
                        <a:pt x="2242" y="14075"/>
                        <a:pt x="2242" y="18435"/>
                      </a:cubicBezTo>
                      <a:cubicBezTo>
                        <a:pt x="2367"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0" name="Freeform 5274">
                  <a:extLst>
                    <a:ext uri="{FF2B5EF4-FFF2-40B4-BE49-F238E27FC236}">
                      <a16:creationId xmlns:a16="http://schemas.microsoft.com/office/drawing/2014/main" id="{9A116BE1-42AA-95CE-F4E1-6511F82216B9}"/>
                    </a:ext>
                  </a:extLst>
                </p:cNvPr>
                <p:cNvSpPr/>
                <p:nvPr/>
              </p:nvSpPr>
              <p:spPr>
                <a:xfrm>
                  <a:off x="9382558" y="5615632"/>
                  <a:ext cx="6722" cy="51940"/>
                </a:xfrm>
                <a:custGeom>
                  <a:avLst/>
                  <a:gdLst>
                    <a:gd name="connsiteX0" fmla="*/ 994 w 6722"/>
                    <a:gd name="connsiteY0" fmla="*/ 51940 h 51940"/>
                    <a:gd name="connsiteX1" fmla="*/ 994 w 6722"/>
                    <a:gd name="connsiteY1" fmla="*/ 33132 h 51940"/>
                    <a:gd name="connsiteX2" fmla="*/ 6102 w 6722"/>
                    <a:gd name="connsiteY2" fmla="*/ 16441 h 51940"/>
                    <a:gd name="connsiteX3" fmla="*/ 5603 w 6722"/>
                    <a:gd name="connsiteY3" fmla="*/ 0 h 51940"/>
                  </a:gdLst>
                  <a:ahLst/>
                  <a:cxnLst>
                    <a:cxn ang="0">
                      <a:pos x="connsiteX0" y="connsiteY0"/>
                    </a:cxn>
                    <a:cxn ang="0">
                      <a:pos x="connsiteX1" y="connsiteY1"/>
                    </a:cxn>
                    <a:cxn ang="0">
                      <a:pos x="connsiteX2" y="connsiteY2"/>
                    </a:cxn>
                    <a:cxn ang="0">
                      <a:pos x="connsiteX3" y="connsiteY3"/>
                    </a:cxn>
                  </a:cxnLst>
                  <a:rect l="l" t="t" r="r" b="b"/>
                  <a:pathLst>
                    <a:path w="6722" h="51940">
                      <a:moveTo>
                        <a:pt x="994" y="51940"/>
                      </a:moveTo>
                      <a:cubicBezTo>
                        <a:pt x="-625" y="43719"/>
                        <a:pt x="-2" y="37367"/>
                        <a:pt x="994" y="33132"/>
                      </a:cubicBezTo>
                      <a:cubicBezTo>
                        <a:pt x="2489" y="26281"/>
                        <a:pt x="4980" y="23417"/>
                        <a:pt x="6102" y="16441"/>
                      </a:cubicBezTo>
                      <a:cubicBezTo>
                        <a:pt x="7347" y="9591"/>
                        <a:pt x="6475" y="3861"/>
                        <a:pt x="56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1" name="Freeform 5275">
                  <a:extLst>
                    <a:ext uri="{FF2B5EF4-FFF2-40B4-BE49-F238E27FC236}">
                      <a16:creationId xmlns:a16="http://schemas.microsoft.com/office/drawing/2014/main" id="{2E61EC91-D40B-9F2A-2FF2-949D46CB15F2}"/>
                    </a:ext>
                  </a:extLst>
                </p:cNvPr>
                <p:cNvSpPr/>
                <p:nvPr/>
              </p:nvSpPr>
              <p:spPr>
                <a:xfrm>
                  <a:off x="9371650" y="5600013"/>
                  <a:ext cx="26693" cy="26505"/>
                </a:xfrm>
                <a:custGeom>
                  <a:avLst/>
                  <a:gdLst>
                    <a:gd name="connsiteX0" fmla="*/ 26600 w 26693"/>
                    <a:gd name="connsiteY0" fmla="*/ 14622 h 26505"/>
                    <a:gd name="connsiteX1" fmla="*/ 12027 w 26693"/>
                    <a:gd name="connsiteY1" fmla="*/ 26455 h 26505"/>
                    <a:gd name="connsiteX2" fmla="*/ 70 w 26693"/>
                    <a:gd name="connsiteY2" fmla="*/ 12007 h 26505"/>
                    <a:gd name="connsiteX3" fmla="*/ 14643 w 26693"/>
                    <a:gd name="connsiteY3" fmla="*/ 49 h 26505"/>
                    <a:gd name="connsiteX4" fmla="*/ 26600 w 26693"/>
                    <a:gd name="connsiteY4" fmla="*/ 14622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2" h="26505">
                      <a:moveTo>
                        <a:pt x="26600" y="14622"/>
                      </a:moveTo>
                      <a:cubicBezTo>
                        <a:pt x="25852" y="21847"/>
                        <a:pt x="19251" y="27078"/>
                        <a:pt x="12027" y="26455"/>
                      </a:cubicBezTo>
                      <a:cubicBezTo>
                        <a:pt x="4678" y="25708"/>
                        <a:pt x="-678" y="19231"/>
                        <a:pt x="70" y="12007"/>
                      </a:cubicBezTo>
                      <a:cubicBezTo>
                        <a:pt x="817" y="4782"/>
                        <a:pt x="7293" y="-574"/>
                        <a:pt x="14643" y="49"/>
                      </a:cubicBezTo>
                      <a:cubicBezTo>
                        <a:pt x="22116" y="672"/>
                        <a:pt x="27472" y="7398"/>
                        <a:pt x="26600" y="146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2" name="Freeform 5276">
                  <a:extLst>
                    <a:ext uri="{FF2B5EF4-FFF2-40B4-BE49-F238E27FC236}">
                      <a16:creationId xmlns:a16="http://schemas.microsoft.com/office/drawing/2014/main" id="{30C38DA4-5220-63E0-EE6F-5F6ED4A511F4}"/>
                    </a:ext>
                  </a:extLst>
                </p:cNvPr>
                <p:cNvSpPr/>
                <p:nvPr/>
              </p:nvSpPr>
              <p:spPr>
                <a:xfrm>
                  <a:off x="9376826" y="5676541"/>
                  <a:ext cx="6103" cy="51816"/>
                </a:xfrm>
                <a:custGeom>
                  <a:avLst/>
                  <a:gdLst>
                    <a:gd name="connsiteX0" fmla="*/ 0 w 6103"/>
                    <a:gd name="connsiteY0" fmla="*/ 51816 h 51816"/>
                    <a:gd name="connsiteX1" fmla="*/ 3861 w 6103"/>
                    <a:gd name="connsiteY1" fmla="*/ 33381 h 51816"/>
                    <a:gd name="connsiteX2" fmla="*/ 2242 w 6103"/>
                    <a:gd name="connsiteY2" fmla="*/ 16068 h 51816"/>
                    <a:gd name="connsiteX3" fmla="*/ 6103 w 6103"/>
                    <a:gd name="connsiteY3" fmla="*/ 0 h 51816"/>
                  </a:gdLst>
                  <a:ahLst/>
                  <a:cxnLst>
                    <a:cxn ang="0">
                      <a:pos x="connsiteX0" y="connsiteY0"/>
                    </a:cxn>
                    <a:cxn ang="0">
                      <a:pos x="connsiteX1" y="connsiteY1"/>
                    </a:cxn>
                    <a:cxn ang="0">
                      <a:pos x="connsiteX2" y="connsiteY2"/>
                    </a:cxn>
                    <a:cxn ang="0">
                      <a:pos x="connsiteX3" y="connsiteY3"/>
                    </a:cxn>
                  </a:cxnLst>
                  <a:rect l="l" t="t" r="r" b="b"/>
                  <a:pathLst>
                    <a:path w="6103" h="51816">
                      <a:moveTo>
                        <a:pt x="0" y="51816"/>
                      </a:moveTo>
                      <a:cubicBezTo>
                        <a:pt x="3239" y="44094"/>
                        <a:pt x="3861" y="37741"/>
                        <a:pt x="3861" y="33381"/>
                      </a:cubicBezTo>
                      <a:cubicBezTo>
                        <a:pt x="3861" y="26406"/>
                        <a:pt x="1993" y="23168"/>
                        <a:pt x="2242" y="16068"/>
                      </a:cubicBezTo>
                      <a:cubicBezTo>
                        <a:pt x="2491" y="9217"/>
                        <a:pt x="4484" y="3612"/>
                        <a:pt x="610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3" name="Freeform 5277">
                  <a:extLst>
                    <a:ext uri="{FF2B5EF4-FFF2-40B4-BE49-F238E27FC236}">
                      <a16:creationId xmlns:a16="http://schemas.microsoft.com/office/drawing/2014/main" id="{B2FDDFE1-EDB7-77F4-B355-EB8163E555C0}"/>
                    </a:ext>
                  </a:extLst>
                </p:cNvPr>
                <p:cNvSpPr/>
                <p:nvPr/>
              </p:nvSpPr>
              <p:spPr>
                <a:xfrm>
                  <a:off x="9368234" y="5680776"/>
                  <a:ext cx="6722" cy="51940"/>
                </a:xfrm>
                <a:custGeom>
                  <a:avLst/>
                  <a:gdLst>
                    <a:gd name="connsiteX0" fmla="*/ 5728 w 6722"/>
                    <a:gd name="connsiteY0" fmla="*/ 0 h 51940"/>
                    <a:gd name="connsiteX1" fmla="*/ 5728 w 6722"/>
                    <a:gd name="connsiteY1" fmla="*/ 18808 h 51940"/>
                    <a:gd name="connsiteX2" fmla="*/ 620 w 6722"/>
                    <a:gd name="connsiteY2" fmla="*/ 35499 h 51940"/>
                    <a:gd name="connsiteX3" fmla="*/ 1119 w 672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722" h="51940">
                      <a:moveTo>
                        <a:pt x="5728" y="0"/>
                      </a:moveTo>
                      <a:cubicBezTo>
                        <a:pt x="7347" y="8221"/>
                        <a:pt x="6724" y="14573"/>
                        <a:pt x="5728" y="18808"/>
                      </a:cubicBezTo>
                      <a:cubicBezTo>
                        <a:pt x="4233" y="25659"/>
                        <a:pt x="1867" y="28524"/>
                        <a:pt x="620" y="35499"/>
                      </a:cubicBezTo>
                      <a:cubicBezTo>
                        <a:pt x="-625" y="42350"/>
                        <a:pt x="247" y="48079"/>
                        <a:pt x="1119"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94" name="Freeform 5278">
                  <a:extLst>
                    <a:ext uri="{FF2B5EF4-FFF2-40B4-BE49-F238E27FC236}">
                      <a16:creationId xmlns:a16="http://schemas.microsoft.com/office/drawing/2014/main" id="{FAA048EC-AFE7-EECF-A43F-24EEF59737D1}"/>
                    </a:ext>
                  </a:extLst>
                </p:cNvPr>
                <p:cNvSpPr/>
                <p:nvPr/>
              </p:nvSpPr>
              <p:spPr>
                <a:xfrm>
                  <a:off x="9359318" y="5721831"/>
                  <a:ext cx="26298" cy="26505"/>
                </a:xfrm>
                <a:custGeom>
                  <a:avLst/>
                  <a:gdLst>
                    <a:gd name="connsiteX0" fmla="*/ 70 w 26298"/>
                    <a:gd name="connsiteY0" fmla="*/ 12007 h 26505"/>
                    <a:gd name="connsiteX1" fmla="*/ 14519 w 26298"/>
                    <a:gd name="connsiteY1" fmla="*/ 49 h 26505"/>
                    <a:gd name="connsiteX2" fmla="*/ 26227 w 26298"/>
                    <a:gd name="connsiteY2" fmla="*/ 14622 h 26505"/>
                    <a:gd name="connsiteX3" fmla="*/ 11778 w 26298"/>
                    <a:gd name="connsiteY3" fmla="*/ 26455 h 26505"/>
                    <a:gd name="connsiteX4" fmla="*/ 70 w 26298"/>
                    <a:gd name="connsiteY4" fmla="*/ 12007 h 2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05">
                      <a:moveTo>
                        <a:pt x="70" y="12007"/>
                      </a:moveTo>
                      <a:cubicBezTo>
                        <a:pt x="817" y="4782"/>
                        <a:pt x="7294" y="-574"/>
                        <a:pt x="14519" y="49"/>
                      </a:cubicBezTo>
                      <a:cubicBezTo>
                        <a:pt x="21743" y="672"/>
                        <a:pt x="26975" y="7273"/>
                        <a:pt x="26227" y="14622"/>
                      </a:cubicBezTo>
                      <a:cubicBezTo>
                        <a:pt x="25480" y="21847"/>
                        <a:pt x="19003" y="27078"/>
                        <a:pt x="11778" y="26455"/>
                      </a:cubicBezTo>
                      <a:cubicBezTo>
                        <a:pt x="4679" y="25708"/>
                        <a:pt x="-678" y="19231"/>
                        <a:pt x="70" y="120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6" name="Graphic 2987">
                <a:extLst>
                  <a:ext uri="{FF2B5EF4-FFF2-40B4-BE49-F238E27FC236}">
                    <a16:creationId xmlns:a16="http://schemas.microsoft.com/office/drawing/2014/main" id="{A7891848-C84F-D005-CDD8-E49CFAB5004A}"/>
                  </a:ext>
                </a:extLst>
              </p:cNvPr>
              <p:cNvGrpSpPr/>
              <p:nvPr/>
            </p:nvGrpSpPr>
            <p:grpSpPr>
              <a:xfrm>
                <a:off x="9388588" y="5603206"/>
                <a:ext cx="39377" cy="148287"/>
                <a:chOff x="9388588" y="5603206"/>
                <a:chExt cx="39377" cy="148287"/>
              </a:xfrm>
              <a:grpFill/>
            </p:grpSpPr>
            <p:sp>
              <p:nvSpPr>
                <p:cNvPr id="4283" name="Freeform 5280">
                  <a:extLst>
                    <a:ext uri="{FF2B5EF4-FFF2-40B4-BE49-F238E27FC236}">
                      <a16:creationId xmlns:a16="http://schemas.microsoft.com/office/drawing/2014/main" id="{DE40CC26-F951-BCAE-5934-21446451040D}"/>
                    </a:ext>
                  </a:extLst>
                </p:cNvPr>
                <p:cNvSpPr/>
                <p:nvPr/>
              </p:nvSpPr>
              <p:spPr>
                <a:xfrm>
                  <a:off x="9404104" y="5623106"/>
                  <a:ext cx="6227" cy="51816"/>
                </a:xfrm>
                <a:custGeom>
                  <a:avLst/>
                  <a:gdLst>
                    <a:gd name="connsiteX0" fmla="*/ 6228 w 6227"/>
                    <a:gd name="connsiteY0" fmla="*/ 0 h 51816"/>
                    <a:gd name="connsiteX1" fmla="*/ 2242 w 6227"/>
                    <a:gd name="connsiteY1" fmla="*/ 18435 h 51816"/>
                    <a:gd name="connsiteX2" fmla="*/ 3861 w 6227"/>
                    <a:gd name="connsiteY2" fmla="*/ 35748 h 51816"/>
                    <a:gd name="connsiteX3" fmla="*/ 0 w 6227"/>
                    <a:gd name="connsiteY3" fmla="*/ 51816 h 51816"/>
                  </a:gdLst>
                  <a:ahLst/>
                  <a:cxnLst>
                    <a:cxn ang="0">
                      <a:pos x="connsiteX0" y="connsiteY0"/>
                    </a:cxn>
                    <a:cxn ang="0">
                      <a:pos x="connsiteX1" y="connsiteY1"/>
                    </a:cxn>
                    <a:cxn ang="0">
                      <a:pos x="connsiteX2" y="connsiteY2"/>
                    </a:cxn>
                    <a:cxn ang="0">
                      <a:pos x="connsiteX3" y="connsiteY3"/>
                    </a:cxn>
                  </a:cxnLst>
                  <a:rect l="l" t="t" r="r" b="b"/>
                  <a:pathLst>
                    <a:path w="6227" h="51816">
                      <a:moveTo>
                        <a:pt x="6228" y="0"/>
                      </a:moveTo>
                      <a:cubicBezTo>
                        <a:pt x="2865" y="7723"/>
                        <a:pt x="2242" y="14075"/>
                        <a:pt x="2242" y="18435"/>
                      </a:cubicBezTo>
                      <a:cubicBezTo>
                        <a:pt x="2242" y="25410"/>
                        <a:pt x="4111" y="28648"/>
                        <a:pt x="3861" y="35748"/>
                      </a:cubicBezTo>
                      <a:cubicBezTo>
                        <a:pt x="3612" y="42599"/>
                        <a:pt x="1619" y="48204"/>
                        <a:pt x="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4" name="Freeform 5281">
                  <a:extLst>
                    <a:ext uri="{FF2B5EF4-FFF2-40B4-BE49-F238E27FC236}">
                      <a16:creationId xmlns:a16="http://schemas.microsoft.com/office/drawing/2014/main" id="{D20F5D8C-2562-C0A9-A901-5F08701A1DD0}"/>
                    </a:ext>
                  </a:extLst>
                </p:cNvPr>
                <p:cNvSpPr/>
                <p:nvPr/>
              </p:nvSpPr>
              <p:spPr>
                <a:xfrm>
                  <a:off x="9412118" y="5618871"/>
                  <a:ext cx="6812" cy="51940"/>
                </a:xfrm>
                <a:custGeom>
                  <a:avLst/>
                  <a:gdLst>
                    <a:gd name="connsiteX0" fmla="*/ 954 w 6812"/>
                    <a:gd name="connsiteY0" fmla="*/ 51941 h 51940"/>
                    <a:gd name="connsiteX1" fmla="*/ 954 w 6812"/>
                    <a:gd name="connsiteY1" fmla="*/ 33132 h 51940"/>
                    <a:gd name="connsiteX2" fmla="*/ 6186 w 6812"/>
                    <a:gd name="connsiteY2" fmla="*/ 16566 h 51940"/>
                    <a:gd name="connsiteX3" fmla="*/ 5812 w 6812"/>
                    <a:gd name="connsiteY3" fmla="*/ 0 h 51940"/>
                  </a:gdLst>
                  <a:ahLst/>
                  <a:cxnLst>
                    <a:cxn ang="0">
                      <a:pos x="connsiteX0" y="connsiteY0"/>
                    </a:cxn>
                    <a:cxn ang="0">
                      <a:pos x="connsiteX1" y="connsiteY1"/>
                    </a:cxn>
                    <a:cxn ang="0">
                      <a:pos x="connsiteX2" y="connsiteY2"/>
                    </a:cxn>
                    <a:cxn ang="0">
                      <a:pos x="connsiteX3" y="connsiteY3"/>
                    </a:cxn>
                  </a:cxnLst>
                  <a:rect l="l" t="t" r="r" b="b"/>
                  <a:pathLst>
                    <a:path w="6812" h="51940">
                      <a:moveTo>
                        <a:pt x="954" y="51941"/>
                      </a:moveTo>
                      <a:cubicBezTo>
                        <a:pt x="-665" y="43720"/>
                        <a:pt x="83" y="37367"/>
                        <a:pt x="954" y="33132"/>
                      </a:cubicBezTo>
                      <a:cubicBezTo>
                        <a:pt x="2449" y="26282"/>
                        <a:pt x="4940" y="23542"/>
                        <a:pt x="6186" y="16566"/>
                      </a:cubicBezTo>
                      <a:cubicBezTo>
                        <a:pt x="7431" y="9715"/>
                        <a:pt x="6559" y="3861"/>
                        <a:pt x="581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5" name="Freeform 5282">
                  <a:extLst>
                    <a:ext uri="{FF2B5EF4-FFF2-40B4-BE49-F238E27FC236}">
                      <a16:creationId xmlns:a16="http://schemas.microsoft.com/office/drawing/2014/main" id="{9090FF58-B00F-5397-2F87-C82474C807B5}"/>
                    </a:ext>
                  </a:extLst>
                </p:cNvPr>
                <p:cNvSpPr/>
                <p:nvPr/>
              </p:nvSpPr>
              <p:spPr>
                <a:xfrm>
                  <a:off x="9401293" y="5603206"/>
                  <a:ext cx="26672" cy="26572"/>
                </a:xfrm>
                <a:custGeom>
                  <a:avLst/>
                  <a:gdLst>
                    <a:gd name="connsiteX0" fmla="*/ 26601 w 26672"/>
                    <a:gd name="connsiteY0" fmla="*/ 14793 h 26572"/>
                    <a:gd name="connsiteX1" fmla="*/ 11904 w 26672"/>
                    <a:gd name="connsiteY1" fmla="*/ 26501 h 26572"/>
                    <a:gd name="connsiteX2" fmla="*/ 71 w 26672"/>
                    <a:gd name="connsiteY2" fmla="*/ 11803 h 26572"/>
                    <a:gd name="connsiteX3" fmla="*/ 14769 w 26672"/>
                    <a:gd name="connsiteY3" fmla="*/ 95 h 26572"/>
                    <a:gd name="connsiteX4" fmla="*/ 26601 w 26672"/>
                    <a:gd name="connsiteY4" fmla="*/ 14793 h 26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72">
                      <a:moveTo>
                        <a:pt x="26601" y="14793"/>
                      </a:moveTo>
                      <a:cubicBezTo>
                        <a:pt x="25854" y="22017"/>
                        <a:pt x="19253" y="27248"/>
                        <a:pt x="11904" y="26501"/>
                      </a:cubicBezTo>
                      <a:cubicBezTo>
                        <a:pt x="4555" y="25629"/>
                        <a:pt x="-677" y="19152"/>
                        <a:pt x="71" y="11803"/>
                      </a:cubicBezTo>
                      <a:cubicBezTo>
                        <a:pt x="818" y="4455"/>
                        <a:pt x="7420" y="-777"/>
                        <a:pt x="14769" y="95"/>
                      </a:cubicBezTo>
                      <a:cubicBezTo>
                        <a:pt x="22117" y="967"/>
                        <a:pt x="27349" y="7444"/>
                        <a:pt x="26601" y="1479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6" name="Freeform 5283">
                  <a:extLst>
                    <a:ext uri="{FF2B5EF4-FFF2-40B4-BE49-F238E27FC236}">
                      <a16:creationId xmlns:a16="http://schemas.microsoft.com/office/drawing/2014/main" id="{CC0407FE-9497-B5F6-11A6-B8D83B53CE59}"/>
                    </a:ext>
                  </a:extLst>
                </p:cNvPr>
                <p:cNvSpPr/>
                <p:nvPr/>
              </p:nvSpPr>
              <p:spPr>
                <a:xfrm>
                  <a:off x="9406097" y="5679780"/>
                  <a:ext cx="6227" cy="51816"/>
                </a:xfrm>
                <a:custGeom>
                  <a:avLst/>
                  <a:gdLst>
                    <a:gd name="connsiteX0" fmla="*/ 0 w 6227"/>
                    <a:gd name="connsiteY0" fmla="*/ 51816 h 51816"/>
                    <a:gd name="connsiteX1" fmla="*/ 3986 w 6227"/>
                    <a:gd name="connsiteY1" fmla="*/ 33381 h 51816"/>
                    <a:gd name="connsiteX2" fmla="*/ 2367 w 6227"/>
                    <a:gd name="connsiteY2" fmla="*/ 16068 h 51816"/>
                    <a:gd name="connsiteX3" fmla="*/ 6228 w 6227"/>
                    <a:gd name="connsiteY3" fmla="*/ 0 h 51816"/>
                  </a:gdLst>
                  <a:ahLst/>
                  <a:cxnLst>
                    <a:cxn ang="0">
                      <a:pos x="connsiteX0" y="connsiteY0"/>
                    </a:cxn>
                    <a:cxn ang="0">
                      <a:pos x="connsiteX1" y="connsiteY1"/>
                    </a:cxn>
                    <a:cxn ang="0">
                      <a:pos x="connsiteX2" y="connsiteY2"/>
                    </a:cxn>
                    <a:cxn ang="0">
                      <a:pos x="connsiteX3" y="connsiteY3"/>
                    </a:cxn>
                  </a:cxnLst>
                  <a:rect l="l" t="t" r="r" b="b"/>
                  <a:pathLst>
                    <a:path w="6227" h="51816">
                      <a:moveTo>
                        <a:pt x="0" y="51816"/>
                      </a:moveTo>
                      <a:cubicBezTo>
                        <a:pt x="3239" y="44093"/>
                        <a:pt x="3986" y="37741"/>
                        <a:pt x="3986" y="33381"/>
                      </a:cubicBezTo>
                      <a:cubicBezTo>
                        <a:pt x="3986" y="26406"/>
                        <a:pt x="2118" y="23168"/>
                        <a:pt x="2367" y="16068"/>
                      </a:cubicBezTo>
                      <a:cubicBezTo>
                        <a:pt x="2616" y="9217"/>
                        <a:pt x="4609" y="3612"/>
                        <a:pt x="62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7" name="Freeform 5284">
                  <a:extLst>
                    <a:ext uri="{FF2B5EF4-FFF2-40B4-BE49-F238E27FC236}">
                      <a16:creationId xmlns:a16="http://schemas.microsoft.com/office/drawing/2014/main" id="{E1A85597-F2DE-9493-44E1-10910E99CB77}"/>
                    </a:ext>
                  </a:extLst>
                </p:cNvPr>
                <p:cNvSpPr/>
                <p:nvPr/>
              </p:nvSpPr>
              <p:spPr>
                <a:xfrm>
                  <a:off x="9397499" y="5683890"/>
                  <a:ext cx="6812" cy="51940"/>
                </a:xfrm>
                <a:custGeom>
                  <a:avLst/>
                  <a:gdLst>
                    <a:gd name="connsiteX0" fmla="*/ 5858 w 6812"/>
                    <a:gd name="connsiteY0" fmla="*/ 0 h 51940"/>
                    <a:gd name="connsiteX1" fmla="*/ 5858 w 6812"/>
                    <a:gd name="connsiteY1" fmla="*/ 18808 h 51940"/>
                    <a:gd name="connsiteX2" fmla="*/ 627 w 6812"/>
                    <a:gd name="connsiteY2" fmla="*/ 35374 h 51940"/>
                    <a:gd name="connsiteX3" fmla="*/ 1000 w 6812"/>
                    <a:gd name="connsiteY3" fmla="*/ 51941 h 51940"/>
                  </a:gdLst>
                  <a:ahLst/>
                  <a:cxnLst>
                    <a:cxn ang="0">
                      <a:pos x="connsiteX0" y="connsiteY0"/>
                    </a:cxn>
                    <a:cxn ang="0">
                      <a:pos x="connsiteX1" y="connsiteY1"/>
                    </a:cxn>
                    <a:cxn ang="0">
                      <a:pos x="connsiteX2" y="connsiteY2"/>
                    </a:cxn>
                    <a:cxn ang="0">
                      <a:pos x="connsiteX3" y="connsiteY3"/>
                    </a:cxn>
                  </a:cxnLst>
                  <a:rect l="l" t="t" r="r" b="b"/>
                  <a:pathLst>
                    <a:path w="6812" h="51940">
                      <a:moveTo>
                        <a:pt x="5858" y="0"/>
                      </a:moveTo>
                      <a:cubicBezTo>
                        <a:pt x="7477" y="8221"/>
                        <a:pt x="6730" y="14573"/>
                        <a:pt x="5858" y="18808"/>
                      </a:cubicBezTo>
                      <a:cubicBezTo>
                        <a:pt x="4364" y="25659"/>
                        <a:pt x="1872" y="28399"/>
                        <a:pt x="627" y="35374"/>
                      </a:cubicBezTo>
                      <a:cubicBezTo>
                        <a:pt x="-619" y="42225"/>
                        <a:pt x="253" y="48079"/>
                        <a:pt x="1000"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8" name="Freeform 5285">
                  <a:extLst>
                    <a:ext uri="{FF2B5EF4-FFF2-40B4-BE49-F238E27FC236}">
                      <a16:creationId xmlns:a16="http://schemas.microsoft.com/office/drawing/2014/main" id="{916C57EF-DFFA-2AA5-FECC-2C07219D2A23}"/>
                    </a:ext>
                  </a:extLst>
                </p:cNvPr>
                <p:cNvSpPr/>
                <p:nvPr/>
              </p:nvSpPr>
              <p:spPr>
                <a:xfrm>
                  <a:off x="9388588" y="5724901"/>
                  <a:ext cx="26298" cy="26592"/>
                </a:xfrm>
                <a:custGeom>
                  <a:avLst/>
                  <a:gdLst>
                    <a:gd name="connsiteX0" fmla="*/ 71 w 26298"/>
                    <a:gd name="connsiteY0" fmla="*/ 11801 h 26592"/>
                    <a:gd name="connsiteX1" fmla="*/ 14519 w 26298"/>
                    <a:gd name="connsiteY1" fmla="*/ 93 h 26592"/>
                    <a:gd name="connsiteX2" fmla="*/ 26228 w 26298"/>
                    <a:gd name="connsiteY2" fmla="*/ 14791 h 26592"/>
                    <a:gd name="connsiteX3" fmla="*/ 11780 w 26298"/>
                    <a:gd name="connsiteY3" fmla="*/ 26499 h 26592"/>
                    <a:gd name="connsiteX4" fmla="*/ 71 w 26298"/>
                    <a:gd name="connsiteY4" fmla="*/ 11801 h 2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8" h="26592">
                      <a:moveTo>
                        <a:pt x="71" y="11801"/>
                      </a:moveTo>
                      <a:cubicBezTo>
                        <a:pt x="818" y="4577"/>
                        <a:pt x="7296" y="-779"/>
                        <a:pt x="14519" y="93"/>
                      </a:cubicBezTo>
                      <a:cubicBezTo>
                        <a:pt x="21744" y="965"/>
                        <a:pt x="26975" y="7442"/>
                        <a:pt x="26228" y="14791"/>
                      </a:cubicBezTo>
                      <a:cubicBezTo>
                        <a:pt x="25481" y="22015"/>
                        <a:pt x="19004" y="27371"/>
                        <a:pt x="11780" y="26499"/>
                      </a:cubicBezTo>
                      <a:cubicBezTo>
                        <a:pt x="4555" y="25627"/>
                        <a:pt x="-676" y="19150"/>
                        <a:pt x="71" y="1180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7" name="Graphic 2987">
                <a:extLst>
                  <a:ext uri="{FF2B5EF4-FFF2-40B4-BE49-F238E27FC236}">
                    <a16:creationId xmlns:a16="http://schemas.microsoft.com/office/drawing/2014/main" id="{88DE36D0-75A3-C821-CF03-A3E890597134}"/>
                  </a:ext>
                </a:extLst>
              </p:cNvPr>
              <p:cNvGrpSpPr/>
              <p:nvPr/>
            </p:nvGrpSpPr>
            <p:grpSpPr>
              <a:xfrm>
                <a:off x="9417835" y="5606467"/>
                <a:ext cx="39775" cy="148140"/>
                <a:chOff x="9417835" y="5606467"/>
                <a:chExt cx="39775" cy="148140"/>
              </a:xfrm>
              <a:grpFill/>
            </p:grpSpPr>
            <p:sp>
              <p:nvSpPr>
                <p:cNvPr id="4277" name="Freeform 5287">
                  <a:extLst>
                    <a:ext uri="{FF2B5EF4-FFF2-40B4-BE49-F238E27FC236}">
                      <a16:creationId xmlns:a16="http://schemas.microsoft.com/office/drawing/2014/main" id="{DD2D5DCE-EE40-C359-4445-F1F1C04A24E0}"/>
                    </a:ext>
                  </a:extLst>
                </p:cNvPr>
                <p:cNvSpPr/>
                <p:nvPr/>
              </p:nvSpPr>
              <p:spPr>
                <a:xfrm>
                  <a:off x="9433500" y="5626344"/>
                  <a:ext cx="6352" cy="51691"/>
                </a:xfrm>
                <a:custGeom>
                  <a:avLst/>
                  <a:gdLst>
                    <a:gd name="connsiteX0" fmla="*/ 6353 w 6352"/>
                    <a:gd name="connsiteY0" fmla="*/ 0 h 51691"/>
                    <a:gd name="connsiteX1" fmla="*/ 2367 w 6352"/>
                    <a:gd name="connsiteY1" fmla="*/ 18310 h 51691"/>
                    <a:gd name="connsiteX2" fmla="*/ 3861 w 6352"/>
                    <a:gd name="connsiteY2" fmla="*/ 35623 h 51691"/>
                    <a:gd name="connsiteX3" fmla="*/ 0 w 6352"/>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352" h="51690">
                      <a:moveTo>
                        <a:pt x="6353" y="0"/>
                      </a:moveTo>
                      <a:cubicBezTo>
                        <a:pt x="2989" y="7723"/>
                        <a:pt x="2367" y="14075"/>
                        <a:pt x="2367" y="18310"/>
                      </a:cubicBezTo>
                      <a:cubicBezTo>
                        <a:pt x="2367" y="25285"/>
                        <a:pt x="4235" y="28524"/>
                        <a:pt x="3861" y="35623"/>
                      </a:cubicBezTo>
                      <a:cubicBezTo>
                        <a:pt x="3613"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8" name="Freeform 5288">
                  <a:extLst>
                    <a:ext uri="{FF2B5EF4-FFF2-40B4-BE49-F238E27FC236}">
                      <a16:creationId xmlns:a16="http://schemas.microsoft.com/office/drawing/2014/main" id="{021B7D97-CFEB-E19D-C7E2-B140A62DA63E}"/>
                    </a:ext>
                  </a:extLst>
                </p:cNvPr>
                <p:cNvSpPr/>
                <p:nvPr/>
              </p:nvSpPr>
              <p:spPr>
                <a:xfrm>
                  <a:off x="9441523" y="5622109"/>
                  <a:ext cx="6959" cy="51940"/>
                </a:xfrm>
                <a:custGeom>
                  <a:avLst/>
                  <a:gdLst>
                    <a:gd name="connsiteX0" fmla="*/ 945 w 6959"/>
                    <a:gd name="connsiteY0" fmla="*/ 51940 h 51940"/>
                    <a:gd name="connsiteX1" fmla="*/ 1069 w 6959"/>
                    <a:gd name="connsiteY1" fmla="*/ 33132 h 51940"/>
                    <a:gd name="connsiteX2" fmla="*/ 6301 w 6959"/>
                    <a:gd name="connsiteY2" fmla="*/ 16566 h 51940"/>
                    <a:gd name="connsiteX3" fmla="*/ 5927 w 6959"/>
                    <a:gd name="connsiteY3" fmla="*/ 0 h 51940"/>
                  </a:gdLst>
                  <a:ahLst/>
                  <a:cxnLst>
                    <a:cxn ang="0">
                      <a:pos x="connsiteX0" y="connsiteY0"/>
                    </a:cxn>
                    <a:cxn ang="0">
                      <a:pos x="connsiteX1" y="connsiteY1"/>
                    </a:cxn>
                    <a:cxn ang="0">
                      <a:pos x="connsiteX2" y="connsiteY2"/>
                    </a:cxn>
                    <a:cxn ang="0">
                      <a:pos x="connsiteX3" y="connsiteY3"/>
                    </a:cxn>
                  </a:cxnLst>
                  <a:rect l="l" t="t" r="r" b="b"/>
                  <a:pathLst>
                    <a:path w="6959" h="51940">
                      <a:moveTo>
                        <a:pt x="945" y="51940"/>
                      </a:moveTo>
                      <a:cubicBezTo>
                        <a:pt x="-675" y="43720"/>
                        <a:pt x="73" y="37367"/>
                        <a:pt x="1069" y="33132"/>
                      </a:cubicBezTo>
                      <a:cubicBezTo>
                        <a:pt x="2564" y="26281"/>
                        <a:pt x="5055" y="23541"/>
                        <a:pt x="6301" y="16566"/>
                      </a:cubicBezTo>
                      <a:cubicBezTo>
                        <a:pt x="7546" y="9715"/>
                        <a:pt x="6799" y="3861"/>
                        <a:pt x="592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9" name="Freeform 5289">
                  <a:extLst>
                    <a:ext uri="{FF2B5EF4-FFF2-40B4-BE49-F238E27FC236}">
                      <a16:creationId xmlns:a16="http://schemas.microsoft.com/office/drawing/2014/main" id="{42F67C6F-BB0E-3889-48B9-D1392693947D}"/>
                    </a:ext>
                  </a:extLst>
                </p:cNvPr>
                <p:cNvSpPr/>
                <p:nvPr/>
              </p:nvSpPr>
              <p:spPr>
                <a:xfrm>
                  <a:off x="9430937" y="5606467"/>
                  <a:ext cx="26672" cy="26549"/>
                </a:xfrm>
                <a:custGeom>
                  <a:avLst/>
                  <a:gdLst>
                    <a:gd name="connsiteX0" fmla="*/ 26602 w 26672"/>
                    <a:gd name="connsiteY0" fmla="*/ 14770 h 26549"/>
                    <a:gd name="connsiteX1" fmla="*/ 11904 w 26672"/>
                    <a:gd name="connsiteY1" fmla="*/ 26479 h 26549"/>
                    <a:gd name="connsiteX2" fmla="*/ 71 w 26672"/>
                    <a:gd name="connsiteY2" fmla="*/ 11781 h 26549"/>
                    <a:gd name="connsiteX3" fmla="*/ 14769 w 26672"/>
                    <a:gd name="connsiteY3" fmla="*/ 73 h 26549"/>
                    <a:gd name="connsiteX4" fmla="*/ 26602 w 26672"/>
                    <a:gd name="connsiteY4" fmla="*/ 14770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2" h="26549">
                      <a:moveTo>
                        <a:pt x="26602" y="14770"/>
                      </a:moveTo>
                      <a:cubicBezTo>
                        <a:pt x="25730" y="21995"/>
                        <a:pt x="19253" y="27226"/>
                        <a:pt x="11904" y="26479"/>
                      </a:cubicBezTo>
                      <a:cubicBezTo>
                        <a:pt x="4556" y="25607"/>
                        <a:pt x="-676" y="19130"/>
                        <a:pt x="71" y="11781"/>
                      </a:cubicBezTo>
                      <a:cubicBezTo>
                        <a:pt x="818" y="4432"/>
                        <a:pt x="7420" y="-675"/>
                        <a:pt x="14769" y="73"/>
                      </a:cubicBezTo>
                      <a:cubicBezTo>
                        <a:pt x="22118" y="820"/>
                        <a:pt x="27349" y="7546"/>
                        <a:pt x="26602" y="1477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0" name="Freeform 5290">
                  <a:extLst>
                    <a:ext uri="{FF2B5EF4-FFF2-40B4-BE49-F238E27FC236}">
                      <a16:creationId xmlns:a16="http://schemas.microsoft.com/office/drawing/2014/main" id="{3F556E49-9157-5AB0-18A6-D9C22D6AE0FB}"/>
                    </a:ext>
                  </a:extLst>
                </p:cNvPr>
                <p:cNvSpPr/>
                <p:nvPr/>
              </p:nvSpPr>
              <p:spPr>
                <a:xfrm>
                  <a:off x="9435244" y="5683143"/>
                  <a:ext cx="6477" cy="51691"/>
                </a:xfrm>
                <a:custGeom>
                  <a:avLst/>
                  <a:gdLst>
                    <a:gd name="connsiteX0" fmla="*/ 0 w 6477"/>
                    <a:gd name="connsiteY0" fmla="*/ 51691 h 51691"/>
                    <a:gd name="connsiteX1" fmla="*/ 3986 w 6477"/>
                    <a:gd name="connsiteY1" fmla="*/ 33381 h 51691"/>
                    <a:gd name="connsiteX2" fmla="*/ 2491 w 6477"/>
                    <a:gd name="connsiteY2" fmla="*/ 16068 h 51691"/>
                    <a:gd name="connsiteX3" fmla="*/ 6477 w 6477"/>
                    <a:gd name="connsiteY3" fmla="*/ 0 h 51691"/>
                  </a:gdLst>
                  <a:ahLst/>
                  <a:cxnLst>
                    <a:cxn ang="0">
                      <a:pos x="connsiteX0" y="connsiteY0"/>
                    </a:cxn>
                    <a:cxn ang="0">
                      <a:pos x="connsiteX1" y="connsiteY1"/>
                    </a:cxn>
                    <a:cxn ang="0">
                      <a:pos x="connsiteX2" y="connsiteY2"/>
                    </a:cxn>
                    <a:cxn ang="0">
                      <a:pos x="connsiteX3" y="connsiteY3"/>
                    </a:cxn>
                  </a:cxnLst>
                  <a:rect l="l" t="t" r="r" b="b"/>
                  <a:pathLst>
                    <a:path w="6477" h="51690">
                      <a:moveTo>
                        <a:pt x="0" y="51691"/>
                      </a:moveTo>
                      <a:cubicBezTo>
                        <a:pt x="3363" y="43969"/>
                        <a:pt x="3986" y="37616"/>
                        <a:pt x="3986" y="33381"/>
                      </a:cubicBezTo>
                      <a:cubicBezTo>
                        <a:pt x="3986" y="26406"/>
                        <a:pt x="2242" y="23168"/>
                        <a:pt x="2491" y="16068"/>
                      </a:cubicBezTo>
                      <a:cubicBezTo>
                        <a:pt x="2740" y="9217"/>
                        <a:pt x="4733" y="3612"/>
                        <a:pt x="64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1" name="Freeform 5291">
                  <a:extLst>
                    <a:ext uri="{FF2B5EF4-FFF2-40B4-BE49-F238E27FC236}">
                      <a16:creationId xmlns:a16="http://schemas.microsoft.com/office/drawing/2014/main" id="{94B7ADDA-D760-51A6-3F7D-BE1725F52AE5}"/>
                    </a:ext>
                  </a:extLst>
                </p:cNvPr>
                <p:cNvSpPr/>
                <p:nvPr/>
              </p:nvSpPr>
              <p:spPr>
                <a:xfrm>
                  <a:off x="9426737" y="5687128"/>
                  <a:ext cx="6959" cy="51940"/>
                </a:xfrm>
                <a:custGeom>
                  <a:avLst/>
                  <a:gdLst>
                    <a:gd name="connsiteX0" fmla="*/ 6015 w 6959"/>
                    <a:gd name="connsiteY0" fmla="*/ 0 h 51940"/>
                    <a:gd name="connsiteX1" fmla="*/ 5890 w 6959"/>
                    <a:gd name="connsiteY1" fmla="*/ 18808 h 51940"/>
                    <a:gd name="connsiteX2" fmla="*/ 659 w 6959"/>
                    <a:gd name="connsiteY2" fmla="*/ 35374 h 51940"/>
                    <a:gd name="connsiteX3" fmla="*/ 1033 w 6959"/>
                    <a:gd name="connsiteY3" fmla="*/ 51940 h 51940"/>
                  </a:gdLst>
                  <a:ahLst/>
                  <a:cxnLst>
                    <a:cxn ang="0">
                      <a:pos x="connsiteX0" y="connsiteY0"/>
                    </a:cxn>
                    <a:cxn ang="0">
                      <a:pos x="connsiteX1" y="connsiteY1"/>
                    </a:cxn>
                    <a:cxn ang="0">
                      <a:pos x="connsiteX2" y="connsiteY2"/>
                    </a:cxn>
                    <a:cxn ang="0">
                      <a:pos x="connsiteX3" y="connsiteY3"/>
                    </a:cxn>
                  </a:cxnLst>
                  <a:rect l="l" t="t" r="r" b="b"/>
                  <a:pathLst>
                    <a:path w="6959" h="51940">
                      <a:moveTo>
                        <a:pt x="6015" y="0"/>
                      </a:moveTo>
                      <a:cubicBezTo>
                        <a:pt x="7634" y="8221"/>
                        <a:pt x="6887" y="14573"/>
                        <a:pt x="5890" y="18808"/>
                      </a:cubicBezTo>
                      <a:cubicBezTo>
                        <a:pt x="4395" y="25659"/>
                        <a:pt x="1904" y="28399"/>
                        <a:pt x="659" y="35374"/>
                      </a:cubicBezTo>
                      <a:cubicBezTo>
                        <a:pt x="-586" y="42225"/>
                        <a:pt x="161" y="48079"/>
                        <a:pt x="1033" y="5194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82" name="Freeform 5292">
                  <a:extLst>
                    <a:ext uri="{FF2B5EF4-FFF2-40B4-BE49-F238E27FC236}">
                      <a16:creationId xmlns:a16="http://schemas.microsoft.com/office/drawing/2014/main" id="{91FFBAA0-D713-151B-4CFB-FB306CB0E171}"/>
                    </a:ext>
                  </a:extLst>
                </p:cNvPr>
                <p:cNvSpPr/>
                <p:nvPr/>
              </p:nvSpPr>
              <p:spPr>
                <a:xfrm>
                  <a:off x="9417835" y="5728139"/>
                  <a:ext cx="26222" cy="26468"/>
                </a:xfrm>
                <a:custGeom>
                  <a:avLst/>
                  <a:gdLst>
                    <a:gd name="connsiteX0" fmla="*/ 95 w 26222"/>
                    <a:gd name="connsiteY0" fmla="*/ 11802 h 26468"/>
                    <a:gd name="connsiteX1" fmla="*/ 14544 w 26222"/>
                    <a:gd name="connsiteY1" fmla="*/ 93 h 26468"/>
                    <a:gd name="connsiteX2" fmla="*/ 26128 w 26222"/>
                    <a:gd name="connsiteY2" fmla="*/ 14667 h 26468"/>
                    <a:gd name="connsiteX3" fmla="*/ 11679 w 26222"/>
                    <a:gd name="connsiteY3" fmla="*/ 26375 h 26468"/>
                    <a:gd name="connsiteX4" fmla="*/ 95 w 26222"/>
                    <a:gd name="connsiteY4" fmla="*/ 11802 h 2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2" h="26468">
                      <a:moveTo>
                        <a:pt x="95" y="11802"/>
                      </a:moveTo>
                      <a:cubicBezTo>
                        <a:pt x="842" y="4577"/>
                        <a:pt x="7320" y="-779"/>
                        <a:pt x="14544" y="93"/>
                      </a:cubicBezTo>
                      <a:cubicBezTo>
                        <a:pt x="21768" y="840"/>
                        <a:pt x="27000" y="7442"/>
                        <a:pt x="26128" y="14667"/>
                      </a:cubicBezTo>
                      <a:cubicBezTo>
                        <a:pt x="25256" y="21891"/>
                        <a:pt x="18779" y="27247"/>
                        <a:pt x="11679" y="26375"/>
                      </a:cubicBezTo>
                      <a:cubicBezTo>
                        <a:pt x="4455" y="25628"/>
                        <a:pt x="-777" y="19150"/>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8" name="Graphic 2987">
                <a:extLst>
                  <a:ext uri="{FF2B5EF4-FFF2-40B4-BE49-F238E27FC236}">
                    <a16:creationId xmlns:a16="http://schemas.microsoft.com/office/drawing/2014/main" id="{53B47F5C-FF21-96CD-6BCF-92DEDC13CF93}"/>
                  </a:ext>
                </a:extLst>
              </p:cNvPr>
              <p:cNvGrpSpPr/>
              <p:nvPr/>
            </p:nvGrpSpPr>
            <p:grpSpPr>
              <a:xfrm>
                <a:off x="9446982" y="5609831"/>
                <a:ext cx="40273" cy="148116"/>
                <a:chOff x="9446982" y="5609831"/>
                <a:chExt cx="40273" cy="148116"/>
              </a:xfrm>
              <a:grpFill/>
            </p:grpSpPr>
            <p:sp>
              <p:nvSpPr>
                <p:cNvPr id="4271" name="Freeform 5294">
                  <a:extLst>
                    <a:ext uri="{FF2B5EF4-FFF2-40B4-BE49-F238E27FC236}">
                      <a16:creationId xmlns:a16="http://schemas.microsoft.com/office/drawing/2014/main" id="{5AEF1619-2382-2D9B-362E-0584F1876FBB}"/>
                    </a:ext>
                  </a:extLst>
                </p:cNvPr>
                <p:cNvSpPr/>
                <p:nvPr/>
              </p:nvSpPr>
              <p:spPr>
                <a:xfrm>
                  <a:off x="9462895" y="5629707"/>
                  <a:ext cx="6601" cy="51691"/>
                </a:xfrm>
                <a:custGeom>
                  <a:avLst/>
                  <a:gdLst>
                    <a:gd name="connsiteX0" fmla="*/ 6602 w 6601"/>
                    <a:gd name="connsiteY0" fmla="*/ 0 h 51691"/>
                    <a:gd name="connsiteX1" fmla="*/ 2491 w 6601"/>
                    <a:gd name="connsiteY1" fmla="*/ 18310 h 51691"/>
                    <a:gd name="connsiteX2" fmla="*/ 3986 w 6601"/>
                    <a:gd name="connsiteY2" fmla="*/ 35624 h 51691"/>
                    <a:gd name="connsiteX3" fmla="*/ 0 w 6601"/>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601" h="51690">
                      <a:moveTo>
                        <a:pt x="6602" y="0"/>
                      </a:moveTo>
                      <a:cubicBezTo>
                        <a:pt x="3239" y="7723"/>
                        <a:pt x="2491" y="14075"/>
                        <a:pt x="2491" y="18310"/>
                      </a:cubicBezTo>
                      <a:cubicBezTo>
                        <a:pt x="2491" y="25285"/>
                        <a:pt x="4235" y="28524"/>
                        <a:pt x="3986" y="35624"/>
                      </a:cubicBezTo>
                      <a:cubicBezTo>
                        <a:pt x="3737" y="42474"/>
                        <a:pt x="1619"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2" name="Freeform 5295">
                  <a:extLst>
                    <a:ext uri="{FF2B5EF4-FFF2-40B4-BE49-F238E27FC236}">
                      <a16:creationId xmlns:a16="http://schemas.microsoft.com/office/drawing/2014/main" id="{28FBE7C4-95EF-494B-0A15-4DAE169F6E5F}"/>
                    </a:ext>
                  </a:extLst>
                </p:cNvPr>
                <p:cNvSpPr/>
                <p:nvPr/>
              </p:nvSpPr>
              <p:spPr>
                <a:xfrm>
                  <a:off x="9470919" y="5625597"/>
                  <a:ext cx="7091" cy="51816"/>
                </a:xfrm>
                <a:custGeom>
                  <a:avLst/>
                  <a:gdLst>
                    <a:gd name="connsiteX0" fmla="*/ 945 w 7091"/>
                    <a:gd name="connsiteY0" fmla="*/ 51816 h 51816"/>
                    <a:gd name="connsiteX1" fmla="*/ 1069 w 7091"/>
                    <a:gd name="connsiteY1" fmla="*/ 33008 h 51816"/>
                    <a:gd name="connsiteX2" fmla="*/ 6425 w 7091"/>
                    <a:gd name="connsiteY2" fmla="*/ 16442 h 51816"/>
                    <a:gd name="connsiteX3" fmla="*/ 6176 w 7091"/>
                    <a:gd name="connsiteY3" fmla="*/ 0 h 51816"/>
                  </a:gdLst>
                  <a:ahLst/>
                  <a:cxnLst>
                    <a:cxn ang="0">
                      <a:pos x="connsiteX0" y="connsiteY0"/>
                    </a:cxn>
                    <a:cxn ang="0">
                      <a:pos x="connsiteX1" y="connsiteY1"/>
                    </a:cxn>
                    <a:cxn ang="0">
                      <a:pos x="connsiteX2" y="connsiteY2"/>
                    </a:cxn>
                    <a:cxn ang="0">
                      <a:pos x="connsiteX3" y="connsiteY3"/>
                    </a:cxn>
                  </a:cxnLst>
                  <a:rect l="l" t="t" r="r" b="b"/>
                  <a:pathLst>
                    <a:path w="7091" h="51816">
                      <a:moveTo>
                        <a:pt x="945" y="51816"/>
                      </a:moveTo>
                      <a:cubicBezTo>
                        <a:pt x="-675" y="43595"/>
                        <a:pt x="73" y="37243"/>
                        <a:pt x="1069" y="33008"/>
                      </a:cubicBezTo>
                      <a:cubicBezTo>
                        <a:pt x="2689" y="26157"/>
                        <a:pt x="5055" y="23417"/>
                        <a:pt x="6425" y="16442"/>
                      </a:cubicBezTo>
                      <a:cubicBezTo>
                        <a:pt x="7671" y="9591"/>
                        <a:pt x="6923" y="3861"/>
                        <a:pt x="61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3" name="Freeform 5296">
                  <a:extLst>
                    <a:ext uri="{FF2B5EF4-FFF2-40B4-BE49-F238E27FC236}">
                      <a16:creationId xmlns:a16="http://schemas.microsoft.com/office/drawing/2014/main" id="{6240FFBC-BF38-DD62-EC9B-D4AF57E1E6BA}"/>
                    </a:ext>
                  </a:extLst>
                </p:cNvPr>
                <p:cNvSpPr/>
                <p:nvPr/>
              </p:nvSpPr>
              <p:spPr>
                <a:xfrm>
                  <a:off x="9460683" y="5609831"/>
                  <a:ext cx="26572" cy="26548"/>
                </a:xfrm>
                <a:custGeom>
                  <a:avLst/>
                  <a:gdLst>
                    <a:gd name="connsiteX0" fmla="*/ 26501 w 26572"/>
                    <a:gd name="connsiteY0" fmla="*/ 14769 h 26548"/>
                    <a:gd name="connsiteX1" fmla="*/ 11803 w 26572"/>
                    <a:gd name="connsiteY1" fmla="*/ 26477 h 26548"/>
                    <a:gd name="connsiteX2" fmla="*/ 95 w 26572"/>
                    <a:gd name="connsiteY2" fmla="*/ 11780 h 26548"/>
                    <a:gd name="connsiteX3" fmla="*/ 14793 w 26572"/>
                    <a:gd name="connsiteY3" fmla="*/ 71 h 26548"/>
                    <a:gd name="connsiteX4" fmla="*/ 26501 w 26572"/>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2" h="26548">
                      <a:moveTo>
                        <a:pt x="26501" y="14769"/>
                      </a:moveTo>
                      <a:cubicBezTo>
                        <a:pt x="25629" y="21993"/>
                        <a:pt x="19028" y="27225"/>
                        <a:pt x="11803" y="26477"/>
                      </a:cubicBezTo>
                      <a:cubicBezTo>
                        <a:pt x="4455" y="25606"/>
                        <a:pt x="-777" y="19128"/>
                        <a:pt x="95" y="11780"/>
                      </a:cubicBezTo>
                      <a:cubicBezTo>
                        <a:pt x="967" y="4555"/>
                        <a:pt x="7444" y="-676"/>
                        <a:pt x="14793" y="71"/>
                      </a:cubicBezTo>
                      <a:cubicBezTo>
                        <a:pt x="22017" y="943"/>
                        <a:pt x="27248" y="7420"/>
                        <a:pt x="26501"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4" name="Freeform 5297">
                  <a:extLst>
                    <a:ext uri="{FF2B5EF4-FFF2-40B4-BE49-F238E27FC236}">
                      <a16:creationId xmlns:a16="http://schemas.microsoft.com/office/drawing/2014/main" id="{9B07176D-E751-41EA-2EC9-90BD5B3AB49A}"/>
                    </a:ext>
                  </a:extLst>
                </p:cNvPr>
                <p:cNvSpPr/>
                <p:nvPr/>
              </p:nvSpPr>
              <p:spPr>
                <a:xfrm>
                  <a:off x="9464514" y="5686381"/>
                  <a:ext cx="6601" cy="51691"/>
                </a:xfrm>
                <a:custGeom>
                  <a:avLst/>
                  <a:gdLst>
                    <a:gd name="connsiteX0" fmla="*/ 0 w 6601"/>
                    <a:gd name="connsiteY0" fmla="*/ 51691 h 51691"/>
                    <a:gd name="connsiteX1" fmla="*/ 4111 w 6601"/>
                    <a:gd name="connsiteY1" fmla="*/ 33381 h 51691"/>
                    <a:gd name="connsiteX2" fmla="*/ 2616 w 6601"/>
                    <a:gd name="connsiteY2" fmla="*/ 16068 h 51691"/>
                    <a:gd name="connsiteX3" fmla="*/ 6602 w 6601"/>
                    <a:gd name="connsiteY3" fmla="*/ 0 h 51691"/>
                  </a:gdLst>
                  <a:ahLst/>
                  <a:cxnLst>
                    <a:cxn ang="0">
                      <a:pos x="connsiteX0" y="connsiteY0"/>
                    </a:cxn>
                    <a:cxn ang="0">
                      <a:pos x="connsiteX1" y="connsiteY1"/>
                    </a:cxn>
                    <a:cxn ang="0">
                      <a:pos x="connsiteX2" y="connsiteY2"/>
                    </a:cxn>
                    <a:cxn ang="0">
                      <a:pos x="connsiteX3" y="connsiteY3"/>
                    </a:cxn>
                  </a:cxnLst>
                  <a:rect l="l" t="t" r="r" b="b"/>
                  <a:pathLst>
                    <a:path w="6601" h="51690">
                      <a:moveTo>
                        <a:pt x="0" y="51691"/>
                      </a:moveTo>
                      <a:cubicBezTo>
                        <a:pt x="3363" y="43969"/>
                        <a:pt x="4111" y="37616"/>
                        <a:pt x="4111" y="33381"/>
                      </a:cubicBezTo>
                      <a:cubicBezTo>
                        <a:pt x="4111" y="26406"/>
                        <a:pt x="2367" y="23168"/>
                        <a:pt x="2616" y="16068"/>
                      </a:cubicBezTo>
                      <a:cubicBezTo>
                        <a:pt x="2865" y="9217"/>
                        <a:pt x="4983" y="3612"/>
                        <a:pt x="660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5" name="Freeform 5298">
                  <a:extLst>
                    <a:ext uri="{FF2B5EF4-FFF2-40B4-BE49-F238E27FC236}">
                      <a16:creationId xmlns:a16="http://schemas.microsoft.com/office/drawing/2014/main" id="{F3C0B12B-E31F-3CA3-BA56-1EA0F9A79964}"/>
                    </a:ext>
                  </a:extLst>
                </p:cNvPr>
                <p:cNvSpPr/>
                <p:nvPr/>
              </p:nvSpPr>
              <p:spPr>
                <a:xfrm>
                  <a:off x="9456126" y="5690367"/>
                  <a:ext cx="6966" cy="51815"/>
                </a:xfrm>
                <a:custGeom>
                  <a:avLst/>
                  <a:gdLst>
                    <a:gd name="connsiteX0" fmla="*/ 6022 w 6966"/>
                    <a:gd name="connsiteY0" fmla="*/ 0 h 51815"/>
                    <a:gd name="connsiteX1" fmla="*/ 5898 w 6966"/>
                    <a:gd name="connsiteY1" fmla="*/ 18808 h 51815"/>
                    <a:gd name="connsiteX2" fmla="*/ 666 w 6966"/>
                    <a:gd name="connsiteY2" fmla="*/ 35374 h 51815"/>
                    <a:gd name="connsiteX3" fmla="*/ 915 w 6966"/>
                    <a:gd name="connsiteY3" fmla="*/ 51816 h 51815"/>
                  </a:gdLst>
                  <a:ahLst/>
                  <a:cxnLst>
                    <a:cxn ang="0">
                      <a:pos x="connsiteX0" y="connsiteY0"/>
                    </a:cxn>
                    <a:cxn ang="0">
                      <a:pos x="connsiteX1" y="connsiteY1"/>
                    </a:cxn>
                    <a:cxn ang="0">
                      <a:pos x="connsiteX2" y="connsiteY2"/>
                    </a:cxn>
                    <a:cxn ang="0">
                      <a:pos x="connsiteX3" y="connsiteY3"/>
                    </a:cxn>
                  </a:cxnLst>
                  <a:rect l="l" t="t" r="r" b="b"/>
                  <a:pathLst>
                    <a:path w="6966" h="51815">
                      <a:moveTo>
                        <a:pt x="6022" y="0"/>
                      </a:moveTo>
                      <a:cubicBezTo>
                        <a:pt x="7641" y="8220"/>
                        <a:pt x="6894" y="14573"/>
                        <a:pt x="5898" y="18808"/>
                      </a:cubicBezTo>
                      <a:cubicBezTo>
                        <a:pt x="4403" y="25659"/>
                        <a:pt x="1912" y="28399"/>
                        <a:pt x="666" y="35374"/>
                      </a:cubicBezTo>
                      <a:cubicBezTo>
                        <a:pt x="-579" y="42225"/>
                        <a:pt x="168" y="47954"/>
                        <a:pt x="915"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6" name="Freeform 5299">
                  <a:extLst>
                    <a:ext uri="{FF2B5EF4-FFF2-40B4-BE49-F238E27FC236}">
                      <a16:creationId xmlns:a16="http://schemas.microsoft.com/office/drawing/2014/main" id="{B76E4ABF-4A5F-443E-DCAD-A988E5FB369D}"/>
                    </a:ext>
                  </a:extLst>
                </p:cNvPr>
                <p:cNvSpPr/>
                <p:nvPr/>
              </p:nvSpPr>
              <p:spPr>
                <a:xfrm>
                  <a:off x="9446982" y="5731503"/>
                  <a:ext cx="26346" cy="26445"/>
                </a:xfrm>
                <a:custGeom>
                  <a:avLst/>
                  <a:gdLst>
                    <a:gd name="connsiteX0" fmla="*/ 95 w 26346"/>
                    <a:gd name="connsiteY0" fmla="*/ 11802 h 26445"/>
                    <a:gd name="connsiteX1" fmla="*/ 14668 w 26346"/>
                    <a:gd name="connsiteY1" fmla="*/ 93 h 26445"/>
                    <a:gd name="connsiteX2" fmla="*/ 26252 w 26346"/>
                    <a:gd name="connsiteY2" fmla="*/ 14666 h 26445"/>
                    <a:gd name="connsiteX3" fmla="*/ 11679 w 26346"/>
                    <a:gd name="connsiteY3" fmla="*/ 26375 h 26445"/>
                    <a:gd name="connsiteX4" fmla="*/ 95 w 26346"/>
                    <a:gd name="connsiteY4" fmla="*/ 11802 h 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445">
                      <a:moveTo>
                        <a:pt x="95" y="11802"/>
                      </a:moveTo>
                      <a:cubicBezTo>
                        <a:pt x="842" y="4577"/>
                        <a:pt x="7443" y="-779"/>
                        <a:pt x="14668" y="93"/>
                      </a:cubicBezTo>
                      <a:cubicBezTo>
                        <a:pt x="21893" y="965"/>
                        <a:pt x="27124" y="7442"/>
                        <a:pt x="26252" y="14666"/>
                      </a:cubicBezTo>
                      <a:cubicBezTo>
                        <a:pt x="25380" y="21891"/>
                        <a:pt x="18903" y="27122"/>
                        <a:pt x="11679" y="26375"/>
                      </a:cubicBezTo>
                      <a:cubicBezTo>
                        <a:pt x="4454" y="25627"/>
                        <a:pt x="-777" y="19026"/>
                        <a:pt x="95" y="1180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09" name="Graphic 2987">
                <a:extLst>
                  <a:ext uri="{FF2B5EF4-FFF2-40B4-BE49-F238E27FC236}">
                    <a16:creationId xmlns:a16="http://schemas.microsoft.com/office/drawing/2014/main" id="{5E623D7E-AF03-E4E2-05B0-B7180C702937}"/>
                  </a:ext>
                </a:extLst>
              </p:cNvPr>
              <p:cNvGrpSpPr/>
              <p:nvPr/>
            </p:nvGrpSpPr>
            <p:grpSpPr>
              <a:xfrm>
                <a:off x="9476150" y="5613070"/>
                <a:ext cx="40648" cy="148116"/>
                <a:chOff x="9476150" y="5613070"/>
                <a:chExt cx="40648" cy="148116"/>
              </a:xfrm>
              <a:grpFill/>
            </p:grpSpPr>
            <p:sp>
              <p:nvSpPr>
                <p:cNvPr id="4265" name="Freeform 5301">
                  <a:extLst>
                    <a:ext uri="{FF2B5EF4-FFF2-40B4-BE49-F238E27FC236}">
                      <a16:creationId xmlns:a16="http://schemas.microsoft.com/office/drawing/2014/main" id="{881EF46B-F8BE-CAE9-6BBD-422ED03298A4}"/>
                    </a:ext>
                  </a:extLst>
                </p:cNvPr>
                <p:cNvSpPr/>
                <p:nvPr/>
              </p:nvSpPr>
              <p:spPr>
                <a:xfrm>
                  <a:off x="9492416" y="5633070"/>
                  <a:ext cx="6601" cy="51691"/>
                </a:xfrm>
                <a:custGeom>
                  <a:avLst/>
                  <a:gdLst>
                    <a:gd name="connsiteX0" fmla="*/ 6601 w 6601"/>
                    <a:gd name="connsiteY0" fmla="*/ 0 h 51691"/>
                    <a:gd name="connsiteX1" fmla="*/ 2491 w 6601"/>
                    <a:gd name="connsiteY1" fmla="*/ 18310 h 51691"/>
                    <a:gd name="connsiteX2" fmla="*/ 3985 w 6601"/>
                    <a:gd name="connsiteY2" fmla="*/ 35623 h 51691"/>
                    <a:gd name="connsiteX3" fmla="*/ 0 w 660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601" h="51690">
                      <a:moveTo>
                        <a:pt x="6601" y="0"/>
                      </a:moveTo>
                      <a:cubicBezTo>
                        <a:pt x="3238" y="7723"/>
                        <a:pt x="2491" y="13950"/>
                        <a:pt x="2491" y="18310"/>
                      </a:cubicBezTo>
                      <a:cubicBezTo>
                        <a:pt x="2491" y="25285"/>
                        <a:pt x="4235" y="28523"/>
                        <a:pt x="3985" y="35623"/>
                      </a:cubicBezTo>
                      <a:cubicBezTo>
                        <a:pt x="3737" y="42474"/>
                        <a:pt x="1619" y="48079"/>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6" name="Freeform 5302">
                  <a:extLst>
                    <a:ext uri="{FF2B5EF4-FFF2-40B4-BE49-F238E27FC236}">
                      <a16:creationId xmlns:a16="http://schemas.microsoft.com/office/drawing/2014/main" id="{99C119D1-C443-54E9-5F3E-5D8A79AB495A}"/>
                    </a:ext>
                  </a:extLst>
                </p:cNvPr>
                <p:cNvSpPr/>
                <p:nvPr/>
              </p:nvSpPr>
              <p:spPr>
                <a:xfrm>
                  <a:off x="9500414" y="5628836"/>
                  <a:ext cx="7116" cy="51815"/>
                </a:xfrm>
                <a:custGeom>
                  <a:avLst/>
                  <a:gdLst>
                    <a:gd name="connsiteX0" fmla="*/ 845 w 7116"/>
                    <a:gd name="connsiteY0" fmla="*/ 51816 h 51815"/>
                    <a:gd name="connsiteX1" fmla="*/ 1095 w 7116"/>
                    <a:gd name="connsiteY1" fmla="*/ 33008 h 51815"/>
                    <a:gd name="connsiteX2" fmla="*/ 6450 w 7116"/>
                    <a:gd name="connsiteY2" fmla="*/ 16441 h 51815"/>
                    <a:gd name="connsiteX3" fmla="*/ 6201 w 7116"/>
                    <a:gd name="connsiteY3" fmla="*/ 0 h 51815"/>
                  </a:gdLst>
                  <a:ahLst/>
                  <a:cxnLst>
                    <a:cxn ang="0">
                      <a:pos x="connsiteX0" y="connsiteY0"/>
                    </a:cxn>
                    <a:cxn ang="0">
                      <a:pos x="connsiteX1" y="connsiteY1"/>
                    </a:cxn>
                    <a:cxn ang="0">
                      <a:pos x="connsiteX2" y="connsiteY2"/>
                    </a:cxn>
                    <a:cxn ang="0">
                      <a:pos x="connsiteX3" y="connsiteY3"/>
                    </a:cxn>
                  </a:cxnLst>
                  <a:rect l="l" t="t" r="r" b="b"/>
                  <a:pathLst>
                    <a:path w="7116" h="51815">
                      <a:moveTo>
                        <a:pt x="845" y="51816"/>
                      </a:moveTo>
                      <a:cubicBezTo>
                        <a:pt x="-649" y="43595"/>
                        <a:pt x="98" y="37243"/>
                        <a:pt x="1095" y="33008"/>
                      </a:cubicBezTo>
                      <a:cubicBezTo>
                        <a:pt x="2714" y="26157"/>
                        <a:pt x="5205" y="23417"/>
                        <a:pt x="6450" y="16441"/>
                      </a:cubicBezTo>
                      <a:cubicBezTo>
                        <a:pt x="7696" y="9715"/>
                        <a:pt x="6948" y="3861"/>
                        <a:pt x="62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7" name="Freeform 5303">
                  <a:extLst>
                    <a:ext uri="{FF2B5EF4-FFF2-40B4-BE49-F238E27FC236}">
                      <a16:creationId xmlns:a16="http://schemas.microsoft.com/office/drawing/2014/main" id="{4CA42766-58B9-AF9E-FB0A-C443045FB813}"/>
                    </a:ext>
                  </a:extLst>
                </p:cNvPr>
                <p:cNvSpPr/>
                <p:nvPr/>
              </p:nvSpPr>
              <p:spPr>
                <a:xfrm>
                  <a:off x="9490078" y="5613070"/>
                  <a:ext cx="26720" cy="26548"/>
                </a:xfrm>
                <a:custGeom>
                  <a:avLst/>
                  <a:gdLst>
                    <a:gd name="connsiteX0" fmla="*/ 26626 w 26720"/>
                    <a:gd name="connsiteY0" fmla="*/ 14769 h 26548"/>
                    <a:gd name="connsiteX1" fmla="*/ 11803 w 26720"/>
                    <a:gd name="connsiteY1" fmla="*/ 26477 h 26548"/>
                    <a:gd name="connsiteX2" fmla="*/ 95 w 26720"/>
                    <a:gd name="connsiteY2" fmla="*/ 11780 h 26548"/>
                    <a:gd name="connsiteX3" fmla="*/ 14917 w 26720"/>
                    <a:gd name="connsiteY3" fmla="*/ 71 h 26548"/>
                    <a:gd name="connsiteX4" fmla="*/ 26626 w 26720"/>
                    <a:gd name="connsiteY4" fmla="*/ 14769 h 2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48">
                      <a:moveTo>
                        <a:pt x="26626" y="14769"/>
                      </a:moveTo>
                      <a:cubicBezTo>
                        <a:pt x="25754" y="21993"/>
                        <a:pt x="19152" y="27225"/>
                        <a:pt x="11803" y="26477"/>
                      </a:cubicBezTo>
                      <a:cubicBezTo>
                        <a:pt x="4455" y="25730"/>
                        <a:pt x="-776" y="19128"/>
                        <a:pt x="95" y="11780"/>
                      </a:cubicBezTo>
                      <a:cubicBezTo>
                        <a:pt x="967" y="4555"/>
                        <a:pt x="7569" y="-676"/>
                        <a:pt x="14917" y="71"/>
                      </a:cubicBezTo>
                      <a:cubicBezTo>
                        <a:pt x="22266" y="943"/>
                        <a:pt x="27498" y="7545"/>
                        <a:pt x="26626" y="1476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8" name="Freeform 5304">
                  <a:extLst>
                    <a:ext uri="{FF2B5EF4-FFF2-40B4-BE49-F238E27FC236}">
                      <a16:creationId xmlns:a16="http://schemas.microsoft.com/office/drawing/2014/main" id="{4B89F931-4582-39E5-BB85-28AD41B27033}"/>
                    </a:ext>
                  </a:extLst>
                </p:cNvPr>
                <p:cNvSpPr/>
                <p:nvPr/>
              </p:nvSpPr>
              <p:spPr>
                <a:xfrm>
                  <a:off x="9493786" y="5689619"/>
                  <a:ext cx="6725" cy="51691"/>
                </a:xfrm>
                <a:custGeom>
                  <a:avLst/>
                  <a:gdLst>
                    <a:gd name="connsiteX0" fmla="*/ 0 w 6725"/>
                    <a:gd name="connsiteY0" fmla="*/ 51692 h 51691"/>
                    <a:gd name="connsiteX1" fmla="*/ 4111 w 6725"/>
                    <a:gd name="connsiteY1" fmla="*/ 33382 h 51691"/>
                    <a:gd name="connsiteX2" fmla="*/ 2740 w 6725"/>
                    <a:gd name="connsiteY2" fmla="*/ 16068 h 51691"/>
                    <a:gd name="connsiteX3" fmla="*/ 6726 w 6725"/>
                    <a:gd name="connsiteY3" fmla="*/ 0 h 51691"/>
                  </a:gdLst>
                  <a:ahLst/>
                  <a:cxnLst>
                    <a:cxn ang="0">
                      <a:pos x="connsiteX0" y="connsiteY0"/>
                    </a:cxn>
                    <a:cxn ang="0">
                      <a:pos x="connsiteX1" y="connsiteY1"/>
                    </a:cxn>
                    <a:cxn ang="0">
                      <a:pos x="connsiteX2" y="connsiteY2"/>
                    </a:cxn>
                    <a:cxn ang="0">
                      <a:pos x="connsiteX3" y="connsiteY3"/>
                    </a:cxn>
                  </a:cxnLst>
                  <a:rect l="l" t="t" r="r" b="b"/>
                  <a:pathLst>
                    <a:path w="6724" h="51690">
                      <a:moveTo>
                        <a:pt x="0" y="51692"/>
                      </a:moveTo>
                      <a:cubicBezTo>
                        <a:pt x="3363" y="43969"/>
                        <a:pt x="4111" y="37741"/>
                        <a:pt x="4111" y="33382"/>
                      </a:cubicBezTo>
                      <a:cubicBezTo>
                        <a:pt x="4111" y="26407"/>
                        <a:pt x="2367" y="23168"/>
                        <a:pt x="2740" y="16068"/>
                      </a:cubicBezTo>
                      <a:cubicBezTo>
                        <a:pt x="2989" y="9218"/>
                        <a:pt x="5107" y="3612"/>
                        <a:pt x="67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9" name="Freeform 5305">
                  <a:extLst>
                    <a:ext uri="{FF2B5EF4-FFF2-40B4-BE49-F238E27FC236}">
                      <a16:creationId xmlns:a16="http://schemas.microsoft.com/office/drawing/2014/main" id="{23874FD1-46AA-E36C-FDD1-C03D5DED0EF2}"/>
                    </a:ext>
                  </a:extLst>
                </p:cNvPr>
                <p:cNvSpPr/>
                <p:nvPr/>
              </p:nvSpPr>
              <p:spPr>
                <a:xfrm>
                  <a:off x="9485272" y="5693730"/>
                  <a:ext cx="7116" cy="51816"/>
                </a:xfrm>
                <a:custGeom>
                  <a:avLst/>
                  <a:gdLst>
                    <a:gd name="connsiteX0" fmla="*/ 6272 w 7116"/>
                    <a:gd name="connsiteY0" fmla="*/ 0 h 51816"/>
                    <a:gd name="connsiteX1" fmla="*/ 6022 w 7116"/>
                    <a:gd name="connsiteY1" fmla="*/ 18808 h 51816"/>
                    <a:gd name="connsiteX2" fmla="*/ 666 w 7116"/>
                    <a:gd name="connsiteY2" fmla="*/ 35374 h 51816"/>
                    <a:gd name="connsiteX3" fmla="*/ 916 w 711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116" h="51816">
                      <a:moveTo>
                        <a:pt x="6272" y="0"/>
                      </a:moveTo>
                      <a:cubicBezTo>
                        <a:pt x="7766" y="8221"/>
                        <a:pt x="7019" y="14573"/>
                        <a:pt x="6022" y="18808"/>
                      </a:cubicBezTo>
                      <a:cubicBezTo>
                        <a:pt x="4403" y="25659"/>
                        <a:pt x="2036" y="28399"/>
                        <a:pt x="666" y="35374"/>
                      </a:cubicBezTo>
                      <a:cubicBezTo>
                        <a:pt x="-580" y="42101"/>
                        <a:pt x="168" y="47955"/>
                        <a:pt x="916"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70" name="Freeform 5306">
                  <a:extLst>
                    <a:ext uri="{FF2B5EF4-FFF2-40B4-BE49-F238E27FC236}">
                      <a16:creationId xmlns:a16="http://schemas.microsoft.com/office/drawing/2014/main" id="{5763787F-3A5A-9F3B-8AA2-996E8CCCC95D}"/>
                    </a:ext>
                  </a:extLst>
                </p:cNvPr>
                <p:cNvSpPr/>
                <p:nvPr/>
              </p:nvSpPr>
              <p:spPr>
                <a:xfrm>
                  <a:off x="9476150" y="5734763"/>
                  <a:ext cx="26302" cy="26423"/>
                </a:xfrm>
                <a:custGeom>
                  <a:avLst/>
                  <a:gdLst>
                    <a:gd name="connsiteX0" fmla="*/ 73 w 26302"/>
                    <a:gd name="connsiteY0" fmla="*/ 11780 h 26423"/>
                    <a:gd name="connsiteX1" fmla="*/ 14646 w 26302"/>
                    <a:gd name="connsiteY1" fmla="*/ 71 h 26423"/>
                    <a:gd name="connsiteX2" fmla="*/ 26230 w 26302"/>
                    <a:gd name="connsiteY2" fmla="*/ 14644 h 26423"/>
                    <a:gd name="connsiteX3" fmla="*/ 11656 w 26302"/>
                    <a:gd name="connsiteY3" fmla="*/ 26353 h 26423"/>
                    <a:gd name="connsiteX4" fmla="*/ 73 w 26302"/>
                    <a:gd name="connsiteY4" fmla="*/ 11780 h 26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2" h="26423">
                      <a:moveTo>
                        <a:pt x="73" y="11780"/>
                      </a:moveTo>
                      <a:cubicBezTo>
                        <a:pt x="945" y="4555"/>
                        <a:pt x="7422" y="-676"/>
                        <a:pt x="14646" y="71"/>
                      </a:cubicBezTo>
                      <a:cubicBezTo>
                        <a:pt x="21870" y="818"/>
                        <a:pt x="26977" y="7420"/>
                        <a:pt x="26230" y="14644"/>
                      </a:cubicBezTo>
                      <a:cubicBezTo>
                        <a:pt x="25358" y="21869"/>
                        <a:pt x="18881" y="27100"/>
                        <a:pt x="11656" y="26353"/>
                      </a:cubicBezTo>
                      <a:cubicBezTo>
                        <a:pt x="4433" y="25606"/>
                        <a:pt x="-675" y="19004"/>
                        <a:pt x="73"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0" name="Graphic 2987">
                <a:extLst>
                  <a:ext uri="{FF2B5EF4-FFF2-40B4-BE49-F238E27FC236}">
                    <a16:creationId xmlns:a16="http://schemas.microsoft.com/office/drawing/2014/main" id="{C2C7E579-907A-5A6C-72C7-768CA1D110C8}"/>
                  </a:ext>
                </a:extLst>
              </p:cNvPr>
              <p:cNvGrpSpPr/>
              <p:nvPr/>
            </p:nvGrpSpPr>
            <p:grpSpPr>
              <a:xfrm>
                <a:off x="9505397" y="5616307"/>
                <a:ext cx="41046" cy="148168"/>
                <a:chOff x="9505397" y="5616307"/>
                <a:chExt cx="41046" cy="148168"/>
              </a:xfrm>
              <a:grpFill/>
            </p:grpSpPr>
            <p:sp>
              <p:nvSpPr>
                <p:cNvPr id="4259" name="Freeform 5308">
                  <a:extLst>
                    <a:ext uri="{FF2B5EF4-FFF2-40B4-BE49-F238E27FC236}">
                      <a16:creationId xmlns:a16="http://schemas.microsoft.com/office/drawing/2014/main" id="{41ECACF7-7758-ABDD-2964-8639FC122460}"/>
                    </a:ext>
                  </a:extLst>
                </p:cNvPr>
                <p:cNvSpPr/>
                <p:nvPr/>
              </p:nvSpPr>
              <p:spPr>
                <a:xfrm>
                  <a:off x="9521687" y="5636309"/>
                  <a:ext cx="6975" cy="51691"/>
                </a:xfrm>
                <a:custGeom>
                  <a:avLst/>
                  <a:gdLst>
                    <a:gd name="connsiteX0" fmla="*/ 6975 w 6975"/>
                    <a:gd name="connsiteY0" fmla="*/ 0 h 51691"/>
                    <a:gd name="connsiteX1" fmla="*/ 2740 w 6975"/>
                    <a:gd name="connsiteY1" fmla="*/ 18310 h 51691"/>
                    <a:gd name="connsiteX2" fmla="*/ 4111 w 6975"/>
                    <a:gd name="connsiteY2" fmla="*/ 35624 h 51691"/>
                    <a:gd name="connsiteX3" fmla="*/ 0 w 697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7" y="7723"/>
                        <a:pt x="2865" y="13951"/>
                        <a:pt x="2740" y="18310"/>
                      </a:cubicBezTo>
                      <a:cubicBezTo>
                        <a:pt x="2740" y="25285"/>
                        <a:pt x="4484" y="28524"/>
                        <a:pt x="4111" y="35624"/>
                      </a:cubicBezTo>
                      <a:cubicBezTo>
                        <a:pt x="3737" y="42474"/>
                        <a:pt x="1744" y="48079"/>
                        <a:pt x="0"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0" name="Freeform 5309">
                  <a:extLst>
                    <a:ext uri="{FF2B5EF4-FFF2-40B4-BE49-F238E27FC236}">
                      <a16:creationId xmlns:a16="http://schemas.microsoft.com/office/drawing/2014/main" id="{9AD1EF18-BAAA-DB4B-53E3-9A889EC76EA9}"/>
                    </a:ext>
                  </a:extLst>
                </p:cNvPr>
                <p:cNvSpPr/>
                <p:nvPr/>
              </p:nvSpPr>
              <p:spPr>
                <a:xfrm>
                  <a:off x="9529934" y="5632074"/>
                  <a:ext cx="7330" cy="51940"/>
                </a:xfrm>
                <a:custGeom>
                  <a:avLst/>
                  <a:gdLst>
                    <a:gd name="connsiteX0" fmla="*/ 845 w 7330"/>
                    <a:gd name="connsiteY0" fmla="*/ 51941 h 51940"/>
                    <a:gd name="connsiteX1" fmla="*/ 1095 w 7330"/>
                    <a:gd name="connsiteY1" fmla="*/ 33132 h 51940"/>
                    <a:gd name="connsiteX2" fmla="*/ 6575 w 7330"/>
                    <a:gd name="connsiteY2" fmla="*/ 16566 h 51940"/>
                    <a:gd name="connsiteX3" fmla="*/ 6326 w 7330"/>
                    <a:gd name="connsiteY3" fmla="*/ 0 h 51940"/>
                  </a:gdLst>
                  <a:ahLst/>
                  <a:cxnLst>
                    <a:cxn ang="0">
                      <a:pos x="connsiteX0" y="connsiteY0"/>
                    </a:cxn>
                    <a:cxn ang="0">
                      <a:pos x="connsiteX1" y="connsiteY1"/>
                    </a:cxn>
                    <a:cxn ang="0">
                      <a:pos x="connsiteX2" y="connsiteY2"/>
                    </a:cxn>
                    <a:cxn ang="0">
                      <a:pos x="connsiteX3" y="connsiteY3"/>
                    </a:cxn>
                  </a:cxnLst>
                  <a:rect l="l" t="t" r="r" b="b"/>
                  <a:pathLst>
                    <a:path w="7330" h="51940">
                      <a:moveTo>
                        <a:pt x="845" y="51941"/>
                      </a:moveTo>
                      <a:cubicBezTo>
                        <a:pt x="-649" y="43595"/>
                        <a:pt x="98" y="37367"/>
                        <a:pt x="1095" y="33132"/>
                      </a:cubicBezTo>
                      <a:cubicBezTo>
                        <a:pt x="2714" y="26282"/>
                        <a:pt x="5205" y="23542"/>
                        <a:pt x="6575" y="16566"/>
                      </a:cubicBezTo>
                      <a:cubicBezTo>
                        <a:pt x="7945" y="9840"/>
                        <a:pt x="7198" y="3861"/>
                        <a:pt x="63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1" name="Freeform 5310">
                  <a:extLst>
                    <a:ext uri="{FF2B5EF4-FFF2-40B4-BE49-F238E27FC236}">
                      <a16:creationId xmlns:a16="http://schemas.microsoft.com/office/drawing/2014/main" id="{A7440B1C-454D-0DFC-8363-106411750FFC}"/>
                    </a:ext>
                  </a:extLst>
                </p:cNvPr>
                <p:cNvSpPr/>
                <p:nvPr/>
              </p:nvSpPr>
              <p:spPr>
                <a:xfrm>
                  <a:off x="9519723" y="5616307"/>
                  <a:ext cx="26720" cy="26600"/>
                </a:xfrm>
                <a:custGeom>
                  <a:avLst/>
                  <a:gdLst>
                    <a:gd name="connsiteX0" fmla="*/ 26626 w 26720"/>
                    <a:gd name="connsiteY0" fmla="*/ 15019 h 26600"/>
                    <a:gd name="connsiteX1" fmla="*/ 11803 w 26720"/>
                    <a:gd name="connsiteY1" fmla="*/ 26479 h 26600"/>
                    <a:gd name="connsiteX2" fmla="*/ 95 w 26720"/>
                    <a:gd name="connsiteY2" fmla="*/ 11781 h 26600"/>
                    <a:gd name="connsiteX3" fmla="*/ 14917 w 26720"/>
                    <a:gd name="connsiteY3" fmla="*/ 73 h 26600"/>
                    <a:gd name="connsiteX4" fmla="*/ 26626 w 26720"/>
                    <a:gd name="connsiteY4" fmla="*/ 15019 h 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0" h="26599">
                      <a:moveTo>
                        <a:pt x="26626" y="15019"/>
                      </a:moveTo>
                      <a:cubicBezTo>
                        <a:pt x="25754" y="22244"/>
                        <a:pt x="19153" y="27475"/>
                        <a:pt x="11803" y="26479"/>
                      </a:cubicBezTo>
                      <a:cubicBezTo>
                        <a:pt x="4455" y="25607"/>
                        <a:pt x="-777" y="19130"/>
                        <a:pt x="95" y="11781"/>
                      </a:cubicBezTo>
                      <a:cubicBezTo>
                        <a:pt x="967" y="4432"/>
                        <a:pt x="7569" y="-675"/>
                        <a:pt x="14917" y="73"/>
                      </a:cubicBezTo>
                      <a:cubicBezTo>
                        <a:pt x="22267" y="1193"/>
                        <a:pt x="27498" y="7795"/>
                        <a:pt x="26626" y="150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2" name="Freeform 5311">
                  <a:extLst>
                    <a:ext uri="{FF2B5EF4-FFF2-40B4-BE49-F238E27FC236}">
                      <a16:creationId xmlns:a16="http://schemas.microsoft.com/office/drawing/2014/main" id="{77B0659F-95C9-0CF1-C424-D9F49BD4379E}"/>
                    </a:ext>
                  </a:extLst>
                </p:cNvPr>
                <p:cNvSpPr/>
                <p:nvPr/>
              </p:nvSpPr>
              <p:spPr>
                <a:xfrm>
                  <a:off x="9522932" y="5692983"/>
                  <a:ext cx="6975" cy="51691"/>
                </a:xfrm>
                <a:custGeom>
                  <a:avLst/>
                  <a:gdLst>
                    <a:gd name="connsiteX0" fmla="*/ 0 w 6975"/>
                    <a:gd name="connsiteY0" fmla="*/ 51691 h 51691"/>
                    <a:gd name="connsiteX1" fmla="*/ 4235 w 6975"/>
                    <a:gd name="connsiteY1" fmla="*/ 33381 h 51691"/>
                    <a:gd name="connsiteX2" fmla="*/ 2865 w 6975"/>
                    <a:gd name="connsiteY2" fmla="*/ 15943 h 51691"/>
                    <a:gd name="connsiteX3" fmla="*/ 6975 w 6975"/>
                    <a:gd name="connsiteY3" fmla="*/ 0 h 51691"/>
                  </a:gdLst>
                  <a:ahLst/>
                  <a:cxnLst>
                    <a:cxn ang="0">
                      <a:pos x="connsiteX0" y="connsiteY0"/>
                    </a:cxn>
                    <a:cxn ang="0">
                      <a:pos x="connsiteX1" y="connsiteY1"/>
                    </a:cxn>
                    <a:cxn ang="0">
                      <a:pos x="connsiteX2" y="connsiteY2"/>
                    </a:cxn>
                    <a:cxn ang="0">
                      <a:pos x="connsiteX3" y="connsiteY3"/>
                    </a:cxn>
                  </a:cxnLst>
                  <a:rect l="l" t="t" r="r" b="b"/>
                  <a:pathLst>
                    <a:path w="6975" h="51690">
                      <a:moveTo>
                        <a:pt x="0" y="51691"/>
                      </a:moveTo>
                      <a:cubicBezTo>
                        <a:pt x="3363" y="43969"/>
                        <a:pt x="4111" y="37741"/>
                        <a:pt x="4235" y="33381"/>
                      </a:cubicBezTo>
                      <a:cubicBezTo>
                        <a:pt x="4360" y="26406"/>
                        <a:pt x="2616" y="23043"/>
                        <a:pt x="2865" y="15943"/>
                      </a:cubicBezTo>
                      <a:cubicBezTo>
                        <a:pt x="3239" y="9092"/>
                        <a:pt x="5232" y="3488"/>
                        <a:pt x="697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3" name="Freeform 5312">
                  <a:extLst>
                    <a:ext uri="{FF2B5EF4-FFF2-40B4-BE49-F238E27FC236}">
                      <a16:creationId xmlns:a16="http://schemas.microsoft.com/office/drawing/2014/main" id="{78599068-DC86-90E9-8D04-4B97E53E2BEC}"/>
                    </a:ext>
                  </a:extLst>
                </p:cNvPr>
                <p:cNvSpPr/>
                <p:nvPr/>
              </p:nvSpPr>
              <p:spPr>
                <a:xfrm>
                  <a:off x="9514633" y="5696969"/>
                  <a:ext cx="7151" cy="51815"/>
                </a:xfrm>
                <a:custGeom>
                  <a:avLst/>
                  <a:gdLst>
                    <a:gd name="connsiteX0" fmla="*/ 6307 w 7151"/>
                    <a:gd name="connsiteY0" fmla="*/ 0 h 51815"/>
                    <a:gd name="connsiteX1" fmla="*/ 6057 w 7151"/>
                    <a:gd name="connsiteY1" fmla="*/ 18808 h 51815"/>
                    <a:gd name="connsiteX2" fmla="*/ 701 w 7151"/>
                    <a:gd name="connsiteY2" fmla="*/ 35374 h 51815"/>
                    <a:gd name="connsiteX3" fmla="*/ 951 w 7151"/>
                    <a:gd name="connsiteY3" fmla="*/ 51816 h 51815"/>
                  </a:gdLst>
                  <a:ahLst/>
                  <a:cxnLst>
                    <a:cxn ang="0">
                      <a:pos x="connsiteX0" y="connsiteY0"/>
                    </a:cxn>
                    <a:cxn ang="0">
                      <a:pos x="connsiteX1" y="connsiteY1"/>
                    </a:cxn>
                    <a:cxn ang="0">
                      <a:pos x="connsiteX2" y="connsiteY2"/>
                    </a:cxn>
                    <a:cxn ang="0">
                      <a:pos x="connsiteX3" y="connsiteY3"/>
                    </a:cxn>
                  </a:cxnLst>
                  <a:rect l="l" t="t" r="r" b="b"/>
                  <a:pathLst>
                    <a:path w="7151" h="51815">
                      <a:moveTo>
                        <a:pt x="6307" y="0"/>
                      </a:moveTo>
                      <a:cubicBezTo>
                        <a:pt x="7801" y="8220"/>
                        <a:pt x="7054" y="14573"/>
                        <a:pt x="6057" y="18808"/>
                      </a:cubicBezTo>
                      <a:cubicBezTo>
                        <a:pt x="4438" y="25659"/>
                        <a:pt x="1947" y="28399"/>
                        <a:pt x="701" y="35374"/>
                      </a:cubicBezTo>
                      <a:cubicBezTo>
                        <a:pt x="-544" y="42100"/>
                        <a:pt x="79" y="47954"/>
                        <a:pt x="951"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64" name="Freeform 5313">
                  <a:extLst>
                    <a:ext uri="{FF2B5EF4-FFF2-40B4-BE49-F238E27FC236}">
                      <a16:creationId xmlns:a16="http://schemas.microsoft.com/office/drawing/2014/main" id="{C52E21F8-3306-5439-CA36-1ADA929199EA}"/>
                    </a:ext>
                  </a:extLst>
                </p:cNvPr>
                <p:cNvSpPr/>
                <p:nvPr/>
              </p:nvSpPr>
              <p:spPr>
                <a:xfrm>
                  <a:off x="9505397" y="5738001"/>
                  <a:ext cx="26350" cy="26474"/>
                </a:xfrm>
                <a:custGeom>
                  <a:avLst/>
                  <a:gdLst>
                    <a:gd name="connsiteX0" fmla="*/ 97 w 26350"/>
                    <a:gd name="connsiteY0" fmla="*/ 11780 h 26474"/>
                    <a:gd name="connsiteX1" fmla="*/ 14795 w 26350"/>
                    <a:gd name="connsiteY1" fmla="*/ 71 h 26474"/>
                    <a:gd name="connsiteX2" fmla="*/ 26254 w 26350"/>
                    <a:gd name="connsiteY2" fmla="*/ 14893 h 26474"/>
                    <a:gd name="connsiteX3" fmla="*/ 11681 w 26350"/>
                    <a:gd name="connsiteY3" fmla="*/ 26353 h 26474"/>
                    <a:gd name="connsiteX4" fmla="*/ 97 w 26350"/>
                    <a:gd name="connsiteY4" fmla="*/ 11780 h 2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0" h="26474">
                      <a:moveTo>
                        <a:pt x="97" y="11780"/>
                      </a:moveTo>
                      <a:cubicBezTo>
                        <a:pt x="969" y="4555"/>
                        <a:pt x="7570" y="-676"/>
                        <a:pt x="14795" y="71"/>
                      </a:cubicBezTo>
                      <a:cubicBezTo>
                        <a:pt x="22019" y="943"/>
                        <a:pt x="27126" y="7669"/>
                        <a:pt x="26254" y="14893"/>
                      </a:cubicBezTo>
                      <a:cubicBezTo>
                        <a:pt x="25382" y="22118"/>
                        <a:pt x="18781" y="27349"/>
                        <a:pt x="11681" y="26353"/>
                      </a:cubicBezTo>
                      <a:cubicBezTo>
                        <a:pt x="4331" y="25605"/>
                        <a:pt x="-775" y="19004"/>
                        <a:pt x="97" y="1178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1" name="Graphic 2987">
                <a:extLst>
                  <a:ext uri="{FF2B5EF4-FFF2-40B4-BE49-F238E27FC236}">
                    <a16:creationId xmlns:a16="http://schemas.microsoft.com/office/drawing/2014/main" id="{2C1DD953-C047-75F3-91D9-DAB344195331}"/>
                  </a:ext>
                </a:extLst>
              </p:cNvPr>
              <p:cNvGrpSpPr/>
              <p:nvPr/>
            </p:nvGrpSpPr>
            <p:grpSpPr>
              <a:xfrm>
                <a:off x="9534543" y="5620244"/>
                <a:ext cx="41447" cy="147969"/>
                <a:chOff x="9534543" y="5620244"/>
                <a:chExt cx="41447" cy="147969"/>
              </a:xfrm>
              <a:grpFill/>
            </p:grpSpPr>
            <p:sp>
              <p:nvSpPr>
                <p:cNvPr id="4253" name="Freeform 5315">
                  <a:extLst>
                    <a:ext uri="{FF2B5EF4-FFF2-40B4-BE49-F238E27FC236}">
                      <a16:creationId xmlns:a16="http://schemas.microsoft.com/office/drawing/2014/main" id="{EE6DB450-F168-F38E-12D2-BE310C4EF6FF}"/>
                    </a:ext>
                  </a:extLst>
                </p:cNvPr>
                <p:cNvSpPr/>
                <p:nvPr/>
              </p:nvSpPr>
              <p:spPr>
                <a:xfrm>
                  <a:off x="9551207" y="5640046"/>
                  <a:ext cx="6975" cy="51691"/>
                </a:xfrm>
                <a:custGeom>
                  <a:avLst/>
                  <a:gdLst>
                    <a:gd name="connsiteX0" fmla="*/ 6975 w 6975"/>
                    <a:gd name="connsiteY0" fmla="*/ 0 h 51691"/>
                    <a:gd name="connsiteX1" fmla="*/ 2741 w 6975"/>
                    <a:gd name="connsiteY1" fmla="*/ 18310 h 51691"/>
                    <a:gd name="connsiteX2" fmla="*/ 4111 w 6975"/>
                    <a:gd name="connsiteY2" fmla="*/ 35748 h 51691"/>
                    <a:gd name="connsiteX3" fmla="*/ 0 w 6975"/>
                    <a:gd name="connsiteY3" fmla="*/ 51691 h 51691"/>
                  </a:gdLst>
                  <a:ahLst/>
                  <a:cxnLst>
                    <a:cxn ang="0">
                      <a:pos x="connsiteX0" y="connsiteY0"/>
                    </a:cxn>
                    <a:cxn ang="0">
                      <a:pos x="connsiteX1" y="connsiteY1"/>
                    </a:cxn>
                    <a:cxn ang="0">
                      <a:pos x="connsiteX2" y="connsiteY2"/>
                    </a:cxn>
                    <a:cxn ang="0">
                      <a:pos x="connsiteX3" y="connsiteY3"/>
                    </a:cxn>
                  </a:cxnLst>
                  <a:rect l="l" t="t" r="r" b="b"/>
                  <a:pathLst>
                    <a:path w="6975" h="51690">
                      <a:moveTo>
                        <a:pt x="6975" y="0"/>
                      </a:moveTo>
                      <a:cubicBezTo>
                        <a:pt x="3488" y="7723"/>
                        <a:pt x="2741" y="13950"/>
                        <a:pt x="2741" y="18310"/>
                      </a:cubicBezTo>
                      <a:cubicBezTo>
                        <a:pt x="2616" y="25285"/>
                        <a:pt x="4359" y="28648"/>
                        <a:pt x="4111" y="35748"/>
                      </a:cubicBezTo>
                      <a:cubicBezTo>
                        <a:pt x="3737" y="42599"/>
                        <a:pt x="1619"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4" name="Freeform 5316">
                  <a:extLst>
                    <a:ext uri="{FF2B5EF4-FFF2-40B4-BE49-F238E27FC236}">
                      <a16:creationId xmlns:a16="http://schemas.microsoft.com/office/drawing/2014/main" id="{ED75284B-11A2-450F-6518-D858C6EE53A7}"/>
                    </a:ext>
                  </a:extLst>
                </p:cNvPr>
                <p:cNvSpPr/>
                <p:nvPr/>
              </p:nvSpPr>
              <p:spPr>
                <a:xfrm>
                  <a:off x="9559248" y="5635811"/>
                  <a:ext cx="7419" cy="51940"/>
                </a:xfrm>
                <a:custGeom>
                  <a:avLst/>
                  <a:gdLst>
                    <a:gd name="connsiteX0" fmla="*/ 802 w 7419"/>
                    <a:gd name="connsiteY0" fmla="*/ 51940 h 51940"/>
                    <a:gd name="connsiteX1" fmla="*/ 1175 w 7419"/>
                    <a:gd name="connsiteY1" fmla="*/ 33132 h 51940"/>
                    <a:gd name="connsiteX2" fmla="*/ 6656 w 7419"/>
                    <a:gd name="connsiteY2" fmla="*/ 16566 h 51940"/>
                    <a:gd name="connsiteX3" fmla="*/ 6531 w 7419"/>
                    <a:gd name="connsiteY3" fmla="*/ 0 h 51940"/>
                  </a:gdLst>
                  <a:ahLst/>
                  <a:cxnLst>
                    <a:cxn ang="0">
                      <a:pos x="connsiteX0" y="connsiteY0"/>
                    </a:cxn>
                    <a:cxn ang="0">
                      <a:pos x="connsiteX1" y="connsiteY1"/>
                    </a:cxn>
                    <a:cxn ang="0">
                      <a:pos x="connsiteX2" y="connsiteY2"/>
                    </a:cxn>
                    <a:cxn ang="0">
                      <a:pos x="connsiteX3" y="connsiteY3"/>
                    </a:cxn>
                  </a:cxnLst>
                  <a:rect l="l" t="t" r="r" b="b"/>
                  <a:pathLst>
                    <a:path w="7419" h="51940">
                      <a:moveTo>
                        <a:pt x="802" y="51940"/>
                      </a:moveTo>
                      <a:cubicBezTo>
                        <a:pt x="-693" y="43595"/>
                        <a:pt x="179" y="37367"/>
                        <a:pt x="1175" y="33132"/>
                      </a:cubicBezTo>
                      <a:cubicBezTo>
                        <a:pt x="2795" y="26281"/>
                        <a:pt x="5286" y="23541"/>
                        <a:pt x="6656" y="16566"/>
                      </a:cubicBezTo>
                      <a:cubicBezTo>
                        <a:pt x="8026" y="9840"/>
                        <a:pt x="7279" y="3986"/>
                        <a:pt x="65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5" name="Freeform 5317">
                  <a:extLst>
                    <a:ext uri="{FF2B5EF4-FFF2-40B4-BE49-F238E27FC236}">
                      <a16:creationId xmlns:a16="http://schemas.microsoft.com/office/drawing/2014/main" id="{65B63619-5036-4E98-795F-A3F29763FE23}"/>
                    </a:ext>
                  </a:extLst>
                </p:cNvPr>
                <p:cNvSpPr/>
                <p:nvPr/>
              </p:nvSpPr>
              <p:spPr>
                <a:xfrm>
                  <a:off x="9549368" y="5620244"/>
                  <a:ext cx="26622" cy="26525"/>
                </a:xfrm>
                <a:custGeom>
                  <a:avLst/>
                  <a:gdLst>
                    <a:gd name="connsiteX0" fmla="*/ 26501 w 26622"/>
                    <a:gd name="connsiteY0" fmla="*/ 14944 h 26525"/>
                    <a:gd name="connsiteX1" fmla="*/ 11679 w 26622"/>
                    <a:gd name="connsiteY1" fmla="*/ 26404 h 26525"/>
                    <a:gd name="connsiteX2" fmla="*/ 95 w 26622"/>
                    <a:gd name="connsiteY2" fmla="*/ 11581 h 26525"/>
                    <a:gd name="connsiteX3" fmla="*/ 14917 w 26622"/>
                    <a:gd name="connsiteY3" fmla="*/ 122 h 26525"/>
                    <a:gd name="connsiteX4" fmla="*/ 26501 w 26622"/>
                    <a:gd name="connsiteY4" fmla="*/ 14944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 h="26524">
                      <a:moveTo>
                        <a:pt x="26501" y="14944"/>
                      </a:moveTo>
                      <a:cubicBezTo>
                        <a:pt x="25629" y="22169"/>
                        <a:pt x="18903" y="27400"/>
                        <a:pt x="11679" y="26404"/>
                      </a:cubicBezTo>
                      <a:cubicBezTo>
                        <a:pt x="4455" y="25407"/>
                        <a:pt x="-777" y="18805"/>
                        <a:pt x="95" y="11581"/>
                      </a:cubicBezTo>
                      <a:cubicBezTo>
                        <a:pt x="967" y="4357"/>
                        <a:pt x="7569" y="-874"/>
                        <a:pt x="14917" y="122"/>
                      </a:cubicBezTo>
                      <a:cubicBezTo>
                        <a:pt x="22267" y="994"/>
                        <a:pt x="27498" y="7720"/>
                        <a:pt x="26501" y="14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6" name="Freeform 5318">
                  <a:extLst>
                    <a:ext uri="{FF2B5EF4-FFF2-40B4-BE49-F238E27FC236}">
                      <a16:creationId xmlns:a16="http://schemas.microsoft.com/office/drawing/2014/main" id="{A89198CC-B814-531F-2B6D-954744FAC28A}"/>
                    </a:ext>
                  </a:extLst>
                </p:cNvPr>
                <p:cNvSpPr/>
                <p:nvPr/>
              </p:nvSpPr>
              <p:spPr>
                <a:xfrm>
                  <a:off x="9552079" y="5696719"/>
                  <a:ext cx="7099" cy="51691"/>
                </a:xfrm>
                <a:custGeom>
                  <a:avLst/>
                  <a:gdLst>
                    <a:gd name="connsiteX0" fmla="*/ 0 w 7099"/>
                    <a:gd name="connsiteY0" fmla="*/ 51691 h 51691"/>
                    <a:gd name="connsiteX1" fmla="*/ 4235 w 7099"/>
                    <a:gd name="connsiteY1" fmla="*/ 33381 h 51691"/>
                    <a:gd name="connsiteX2" fmla="*/ 2989 w 7099"/>
                    <a:gd name="connsiteY2" fmla="*/ 15943 h 51691"/>
                    <a:gd name="connsiteX3" fmla="*/ 7100 w 7099"/>
                    <a:gd name="connsiteY3" fmla="*/ 0 h 51691"/>
                  </a:gdLst>
                  <a:ahLst/>
                  <a:cxnLst>
                    <a:cxn ang="0">
                      <a:pos x="connsiteX0" y="connsiteY0"/>
                    </a:cxn>
                    <a:cxn ang="0">
                      <a:pos x="connsiteX1" y="connsiteY1"/>
                    </a:cxn>
                    <a:cxn ang="0">
                      <a:pos x="connsiteX2" y="connsiteY2"/>
                    </a:cxn>
                    <a:cxn ang="0">
                      <a:pos x="connsiteX3" y="connsiteY3"/>
                    </a:cxn>
                  </a:cxnLst>
                  <a:rect l="l" t="t" r="r" b="b"/>
                  <a:pathLst>
                    <a:path w="7099" h="51690">
                      <a:moveTo>
                        <a:pt x="0" y="51691"/>
                      </a:moveTo>
                      <a:cubicBezTo>
                        <a:pt x="3487" y="43969"/>
                        <a:pt x="4235" y="37741"/>
                        <a:pt x="4235" y="33381"/>
                      </a:cubicBezTo>
                      <a:cubicBezTo>
                        <a:pt x="4359" y="26406"/>
                        <a:pt x="2616" y="23043"/>
                        <a:pt x="2989" y="15943"/>
                      </a:cubicBezTo>
                      <a:cubicBezTo>
                        <a:pt x="3363" y="9093"/>
                        <a:pt x="5481" y="3488"/>
                        <a:pt x="71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7" name="Freeform 5319">
                  <a:extLst>
                    <a:ext uri="{FF2B5EF4-FFF2-40B4-BE49-F238E27FC236}">
                      <a16:creationId xmlns:a16="http://schemas.microsoft.com/office/drawing/2014/main" id="{E3D51FB7-B197-4225-0C6D-F70D7246DF8E}"/>
                    </a:ext>
                  </a:extLst>
                </p:cNvPr>
                <p:cNvSpPr/>
                <p:nvPr/>
              </p:nvSpPr>
              <p:spPr>
                <a:xfrm>
                  <a:off x="9543593" y="5700705"/>
                  <a:ext cx="7419" cy="51940"/>
                </a:xfrm>
                <a:custGeom>
                  <a:avLst/>
                  <a:gdLst>
                    <a:gd name="connsiteX0" fmla="*/ 6617 w 7419"/>
                    <a:gd name="connsiteY0" fmla="*/ 0 h 51940"/>
                    <a:gd name="connsiteX1" fmla="*/ 6244 w 7419"/>
                    <a:gd name="connsiteY1" fmla="*/ 18808 h 51940"/>
                    <a:gd name="connsiteX2" fmla="*/ 763 w 7419"/>
                    <a:gd name="connsiteY2" fmla="*/ 35374 h 51940"/>
                    <a:gd name="connsiteX3" fmla="*/ 888 w 7419"/>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19" h="51940">
                      <a:moveTo>
                        <a:pt x="6617" y="0"/>
                      </a:moveTo>
                      <a:cubicBezTo>
                        <a:pt x="8112" y="8346"/>
                        <a:pt x="7241" y="14573"/>
                        <a:pt x="6244" y="18808"/>
                      </a:cubicBezTo>
                      <a:cubicBezTo>
                        <a:pt x="4625" y="25659"/>
                        <a:pt x="2133" y="28399"/>
                        <a:pt x="763" y="35374"/>
                      </a:cubicBezTo>
                      <a:cubicBezTo>
                        <a:pt x="-607" y="42101"/>
                        <a:pt x="141" y="47955"/>
                        <a:pt x="888"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8" name="Freeform 5320">
                  <a:extLst>
                    <a:ext uri="{FF2B5EF4-FFF2-40B4-BE49-F238E27FC236}">
                      <a16:creationId xmlns:a16="http://schemas.microsoft.com/office/drawing/2014/main" id="{A775FE70-3DAA-E535-4503-CD634B90A85F}"/>
                    </a:ext>
                  </a:extLst>
                </p:cNvPr>
                <p:cNvSpPr/>
                <p:nvPr/>
              </p:nvSpPr>
              <p:spPr>
                <a:xfrm>
                  <a:off x="9534543" y="5741687"/>
                  <a:ext cx="26351" cy="26525"/>
                </a:xfrm>
                <a:custGeom>
                  <a:avLst/>
                  <a:gdLst>
                    <a:gd name="connsiteX0" fmla="*/ 97 w 26351"/>
                    <a:gd name="connsiteY0" fmla="*/ 11581 h 26525"/>
                    <a:gd name="connsiteX1" fmla="*/ 14795 w 26351"/>
                    <a:gd name="connsiteY1" fmla="*/ 122 h 26525"/>
                    <a:gd name="connsiteX2" fmla="*/ 26254 w 26351"/>
                    <a:gd name="connsiteY2" fmla="*/ 14944 h 26525"/>
                    <a:gd name="connsiteX3" fmla="*/ 11557 w 26351"/>
                    <a:gd name="connsiteY3" fmla="*/ 26404 h 26525"/>
                    <a:gd name="connsiteX4" fmla="*/ 97 w 26351"/>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1" h="26524">
                      <a:moveTo>
                        <a:pt x="97" y="11581"/>
                      </a:moveTo>
                      <a:cubicBezTo>
                        <a:pt x="969" y="4357"/>
                        <a:pt x="7571" y="-874"/>
                        <a:pt x="14795" y="122"/>
                      </a:cubicBezTo>
                      <a:cubicBezTo>
                        <a:pt x="22019" y="994"/>
                        <a:pt x="27126" y="7720"/>
                        <a:pt x="26254" y="14944"/>
                      </a:cubicBezTo>
                      <a:cubicBezTo>
                        <a:pt x="25383" y="22169"/>
                        <a:pt x="18781" y="27400"/>
                        <a:pt x="11557" y="26404"/>
                      </a:cubicBezTo>
                      <a:cubicBezTo>
                        <a:pt x="4332" y="25532"/>
                        <a:pt x="-775" y="18930"/>
                        <a:pt x="97"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2" name="Graphic 2987">
                <a:extLst>
                  <a:ext uri="{FF2B5EF4-FFF2-40B4-BE49-F238E27FC236}">
                    <a16:creationId xmlns:a16="http://schemas.microsoft.com/office/drawing/2014/main" id="{7BA5E791-2CAE-E4DD-030F-18F3810EACAA}"/>
                  </a:ext>
                </a:extLst>
              </p:cNvPr>
              <p:cNvGrpSpPr/>
              <p:nvPr/>
            </p:nvGrpSpPr>
            <p:grpSpPr>
              <a:xfrm>
                <a:off x="9563688" y="5624005"/>
                <a:ext cx="41922" cy="147944"/>
                <a:chOff x="9563688" y="5624005"/>
                <a:chExt cx="41922" cy="147944"/>
              </a:xfrm>
              <a:grpFill/>
            </p:grpSpPr>
            <p:sp>
              <p:nvSpPr>
                <p:cNvPr id="4247" name="Freeform 5322">
                  <a:extLst>
                    <a:ext uri="{FF2B5EF4-FFF2-40B4-BE49-F238E27FC236}">
                      <a16:creationId xmlns:a16="http://schemas.microsoft.com/office/drawing/2014/main" id="{ECC613C8-BF32-3842-E5CE-F5C50F69FC20}"/>
                    </a:ext>
                  </a:extLst>
                </p:cNvPr>
                <p:cNvSpPr/>
                <p:nvPr/>
              </p:nvSpPr>
              <p:spPr>
                <a:xfrm>
                  <a:off x="9580354" y="5643782"/>
                  <a:ext cx="7348" cy="51691"/>
                </a:xfrm>
                <a:custGeom>
                  <a:avLst/>
                  <a:gdLst>
                    <a:gd name="connsiteX0" fmla="*/ 7348 w 7348"/>
                    <a:gd name="connsiteY0" fmla="*/ 0 h 51691"/>
                    <a:gd name="connsiteX1" fmla="*/ 2989 w 7348"/>
                    <a:gd name="connsiteY1" fmla="*/ 18310 h 51691"/>
                    <a:gd name="connsiteX2" fmla="*/ 4235 w 7348"/>
                    <a:gd name="connsiteY2" fmla="*/ 35748 h 51691"/>
                    <a:gd name="connsiteX3" fmla="*/ 0 w 7348"/>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347" h="51690">
                      <a:moveTo>
                        <a:pt x="7348" y="0"/>
                      </a:moveTo>
                      <a:cubicBezTo>
                        <a:pt x="3861" y="7723"/>
                        <a:pt x="3114" y="13950"/>
                        <a:pt x="2989" y="18310"/>
                      </a:cubicBezTo>
                      <a:cubicBezTo>
                        <a:pt x="2865" y="25285"/>
                        <a:pt x="4609" y="28648"/>
                        <a:pt x="4235" y="35748"/>
                      </a:cubicBezTo>
                      <a:cubicBezTo>
                        <a:pt x="3861" y="42599"/>
                        <a:pt x="1743" y="48204"/>
                        <a:pt x="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8" name="Freeform 5323">
                  <a:extLst>
                    <a:ext uri="{FF2B5EF4-FFF2-40B4-BE49-F238E27FC236}">
                      <a16:creationId xmlns:a16="http://schemas.microsoft.com/office/drawing/2014/main" id="{C683A406-E02B-72E8-75B0-E56171F2A167}"/>
                    </a:ext>
                  </a:extLst>
                </p:cNvPr>
                <p:cNvSpPr/>
                <p:nvPr/>
              </p:nvSpPr>
              <p:spPr>
                <a:xfrm>
                  <a:off x="9588644" y="5639547"/>
                  <a:ext cx="7581" cy="51940"/>
                </a:xfrm>
                <a:custGeom>
                  <a:avLst/>
                  <a:gdLst>
                    <a:gd name="connsiteX0" fmla="*/ 802 w 7581"/>
                    <a:gd name="connsiteY0" fmla="*/ 51941 h 51940"/>
                    <a:gd name="connsiteX1" fmla="*/ 1175 w 7581"/>
                    <a:gd name="connsiteY1" fmla="*/ 33132 h 51940"/>
                    <a:gd name="connsiteX2" fmla="*/ 6780 w 7581"/>
                    <a:gd name="connsiteY2" fmla="*/ 16566 h 51940"/>
                    <a:gd name="connsiteX3" fmla="*/ 6656 w 7581"/>
                    <a:gd name="connsiteY3" fmla="*/ 0 h 51940"/>
                  </a:gdLst>
                  <a:ahLst/>
                  <a:cxnLst>
                    <a:cxn ang="0">
                      <a:pos x="connsiteX0" y="connsiteY0"/>
                    </a:cxn>
                    <a:cxn ang="0">
                      <a:pos x="connsiteX1" y="connsiteY1"/>
                    </a:cxn>
                    <a:cxn ang="0">
                      <a:pos x="connsiteX2" y="connsiteY2"/>
                    </a:cxn>
                    <a:cxn ang="0">
                      <a:pos x="connsiteX3" y="connsiteY3"/>
                    </a:cxn>
                  </a:cxnLst>
                  <a:rect l="l" t="t" r="r" b="b"/>
                  <a:pathLst>
                    <a:path w="7581" h="51940">
                      <a:moveTo>
                        <a:pt x="802" y="51941"/>
                      </a:moveTo>
                      <a:cubicBezTo>
                        <a:pt x="-693" y="43595"/>
                        <a:pt x="179" y="37367"/>
                        <a:pt x="1175" y="33132"/>
                      </a:cubicBezTo>
                      <a:cubicBezTo>
                        <a:pt x="2795" y="26282"/>
                        <a:pt x="5286" y="23542"/>
                        <a:pt x="6780" y="16566"/>
                      </a:cubicBezTo>
                      <a:cubicBezTo>
                        <a:pt x="8150" y="9840"/>
                        <a:pt x="7528" y="3986"/>
                        <a:pt x="66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9" name="Freeform 5324">
                  <a:extLst>
                    <a:ext uri="{FF2B5EF4-FFF2-40B4-BE49-F238E27FC236}">
                      <a16:creationId xmlns:a16="http://schemas.microsoft.com/office/drawing/2014/main" id="{76EF03A8-F95A-8BBA-32FB-7B775FC20562}"/>
                    </a:ext>
                  </a:extLst>
                </p:cNvPr>
                <p:cNvSpPr/>
                <p:nvPr/>
              </p:nvSpPr>
              <p:spPr>
                <a:xfrm>
                  <a:off x="9578886" y="5624005"/>
                  <a:ext cx="26724" cy="26475"/>
                </a:xfrm>
                <a:custGeom>
                  <a:avLst/>
                  <a:gdLst>
                    <a:gd name="connsiteX0" fmla="*/ 26628 w 26724"/>
                    <a:gd name="connsiteY0" fmla="*/ 14919 h 26475"/>
                    <a:gd name="connsiteX1" fmla="*/ 11681 w 26724"/>
                    <a:gd name="connsiteY1" fmla="*/ 26378 h 26475"/>
                    <a:gd name="connsiteX2" fmla="*/ 97 w 26724"/>
                    <a:gd name="connsiteY2" fmla="*/ 11556 h 26475"/>
                    <a:gd name="connsiteX3" fmla="*/ 15044 w 26724"/>
                    <a:gd name="connsiteY3" fmla="*/ 97 h 26475"/>
                    <a:gd name="connsiteX4" fmla="*/ 26628 w 2672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74">
                      <a:moveTo>
                        <a:pt x="26628" y="14919"/>
                      </a:moveTo>
                      <a:cubicBezTo>
                        <a:pt x="25632" y="22144"/>
                        <a:pt x="19030" y="27250"/>
                        <a:pt x="11681" y="26378"/>
                      </a:cubicBezTo>
                      <a:cubicBezTo>
                        <a:pt x="4332" y="25382"/>
                        <a:pt x="-775" y="18781"/>
                        <a:pt x="97" y="11556"/>
                      </a:cubicBezTo>
                      <a:cubicBezTo>
                        <a:pt x="969" y="4332"/>
                        <a:pt x="7695" y="-775"/>
                        <a:pt x="15044" y="97"/>
                      </a:cubicBezTo>
                      <a:cubicBezTo>
                        <a:pt x="22393" y="969"/>
                        <a:pt x="27500" y="7695"/>
                        <a:pt x="26628"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0" name="Freeform 5325">
                  <a:extLst>
                    <a:ext uri="{FF2B5EF4-FFF2-40B4-BE49-F238E27FC236}">
                      <a16:creationId xmlns:a16="http://schemas.microsoft.com/office/drawing/2014/main" id="{701902E9-D938-B138-929A-4011FC7A2C98}"/>
                    </a:ext>
                  </a:extLst>
                </p:cNvPr>
                <p:cNvSpPr/>
                <p:nvPr/>
              </p:nvSpPr>
              <p:spPr>
                <a:xfrm>
                  <a:off x="9581225" y="5700456"/>
                  <a:ext cx="7349" cy="51691"/>
                </a:xfrm>
                <a:custGeom>
                  <a:avLst/>
                  <a:gdLst>
                    <a:gd name="connsiteX0" fmla="*/ 0 w 7349"/>
                    <a:gd name="connsiteY0" fmla="*/ 51691 h 51691"/>
                    <a:gd name="connsiteX1" fmla="*/ 4360 w 7349"/>
                    <a:gd name="connsiteY1" fmla="*/ 33381 h 51691"/>
                    <a:gd name="connsiteX2" fmla="*/ 3114 w 7349"/>
                    <a:gd name="connsiteY2" fmla="*/ 15943 h 51691"/>
                    <a:gd name="connsiteX3" fmla="*/ 7349 w 7349"/>
                    <a:gd name="connsiteY3" fmla="*/ 0 h 51691"/>
                  </a:gdLst>
                  <a:ahLst/>
                  <a:cxnLst>
                    <a:cxn ang="0">
                      <a:pos x="connsiteX0" y="connsiteY0"/>
                    </a:cxn>
                    <a:cxn ang="0">
                      <a:pos x="connsiteX1" y="connsiteY1"/>
                    </a:cxn>
                    <a:cxn ang="0">
                      <a:pos x="connsiteX2" y="connsiteY2"/>
                    </a:cxn>
                    <a:cxn ang="0">
                      <a:pos x="connsiteX3" y="connsiteY3"/>
                    </a:cxn>
                  </a:cxnLst>
                  <a:rect l="l" t="t" r="r" b="b"/>
                  <a:pathLst>
                    <a:path w="7348" h="51690">
                      <a:moveTo>
                        <a:pt x="0" y="51691"/>
                      </a:moveTo>
                      <a:cubicBezTo>
                        <a:pt x="3488" y="43969"/>
                        <a:pt x="4235" y="37741"/>
                        <a:pt x="4360" y="33381"/>
                      </a:cubicBezTo>
                      <a:cubicBezTo>
                        <a:pt x="4485" y="26406"/>
                        <a:pt x="2741" y="23043"/>
                        <a:pt x="3114" y="15943"/>
                      </a:cubicBezTo>
                      <a:cubicBezTo>
                        <a:pt x="3488" y="9092"/>
                        <a:pt x="5605" y="3488"/>
                        <a:pt x="73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1" name="Freeform 5326">
                  <a:extLst>
                    <a:ext uri="{FF2B5EF4-FFF2-40B4-BE49-F238E27FC236}">
                      <a16:creationId xmlns:a16="http://schemas.microsoft.com/office/drawing/2014/main" id="{DB82B7AC-D06A-E66E-62FA-83AB2C3E1A11}"/>
                    </a:ext>
                  </a:extLst>
                </p:cNvPr>
                <p:cNvSpPr/>
                <p:nvPr/>
              </p:nvSpPr>
              <p:spPr>
                <a:xfrm>
                  <a:off x="9572951" y="5704442"/>
                  <a:ext cx="7457" cy="51940"/>
                </a:xfrm>
                <a:custGeom>
                  <a:avLst/>
                  <a:gdLst>
                    <a:gd name="connsiteX0" fmla="*/ 6655 w 7457"/>
                    <a:gd name="connsiteY0" fmla="*/ 0 h 51940"/>
                    <a:gd name="connsiteX1" fmla="*/ 6281 w 7457"/>
                    <a:gd name="connsiteY1" fmla="*/ 18808 h 51940"/>
                    <a:gd name="connsiteX2" fmla="*/ 801 w 7457"/>
                    <a:gd name="connsiteY2" fmla="*/ 35374 h 51940"/>
                    <a:gd name="connsiteX3" fmla="*/ 926 w 7457"/>
                    <a:gd name="connsiteY3" fmla="*/ 51941 h 51940"/>
                  </a:gdLst>
                  <a:ahLst/>
                  <a:cxnLst>
                    <a:cxn ang="0">
                      <a:pos x="connsiteX0" y="connsiteY0"/>
                    </a:cxn>
                    <a:cxn ang="0">
                      <a:pos x="connsiteX1" y="connsiteY1"/>
                    </a:cxn>
                    <a:cxn ang="0">
                      <a:pos x="connsiteX2" y="connsiteY2"/>
                    </a:cxn>
                    <a:cxn ang="0">
                      <a:pos x="connsiteX3" y="connsiteY3"/>
                    </a:cxn>
                  </a:cxnLst>
                  <a:rect l="l" t="t" r="r" b="b"/>
                  <a:pathLst>
                    <a:path w="7457" h="51940">
                      <a:moveTo>
                        <a:pt x="6655" y="0"/>
                      </a:moveTo>
                      <a:cubicBezTo>
                        <a:pt x="8150" y="8346"/>
                        <a:pt x="7278" y="14573"/>
                        <a:pt x="6281" y="18808"/>
                      </a:cubicBezTo>
                      <a:cubicBezTo>
                        <a:pt x="4662" y="25659"/>
                        <a:pt x="2171" y="28399"/>
                        <a:pt x="801" y="35374"/>
                      </a:cubicBezTo>
                      <a:cubicBezTo>
                        <a:pt x="-569" y="42101"/>
                        <a:pt x="54" y="47955"/>
                        <a:pt x="926" y="5194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52" name="Freeform 5327">
                  <a:extLst>
                    <a:ext uri="{FF2B5EF4-FFF2-40B4-BE49-F238E27FC236}">
                      <a16:creationId xmlns:a16="http://schemas.microsoft.com/office/drawing/2014/main" id="{5C4C4D10-548D-E1D6-4143-9B8C49684BD0}"/>
                    </a:ext>
                  </a:extLst>
                </p:cNvPr>
                <p:cNvSpPr/>
                <p:nvPr/>
              </p:nvSpPr>
              <p:spPr>
                <a:xfrm>
                  <a:off x="9563688" y="5745424"/>
                  <a:ext cx="26255" cy="26525"/>
                </a:xfrm>
                <a:custGeom>
                  <a:avLst/>
                  <a:gdLst>
                    <a:gd name="connsiteX0" fmla="*/ 99 w 26255"/>
                    <a:gd name="connsiteY0" fmla="*/ 11581 h 26525"/>
                    <a:gd name="connsiteX1" fmla="*/ 14797 w 26255"/>
                    <a:gd name="connsiteY1" fmla="*/ 122 h 26525"/>
                    <a:gd name="connsiteX2" fmla="*/ 26131 w 26255"/>
                    <a:gd name="connsiteY2" fmla="*/ 14944 h 26525"/>
                    <a:gd name="connsiteX3" fmla="*/ 11433 w 26255"/>
                    <a:gd name="connsiteY3" fmla="*/ 26403 h 26525"/>
                    <a:gd name="connsiteX4" fmla="*/ 99 w 26255"/>
                    <a:gd name="connsiteY4" fmla="*/ 11581 h 2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524">
                      <a:moveTo>
                        <a:pt x="99" y="11581"/>
                      </a:moveTo>
                      <a:cubicBezTo>
                        <a:pt x="971" y="4357"/>
                        <a:pt x="7572" y="-875"/>
                        <a:pt x="14797" y="122"/>
                      </a:cubicBezTo>
                      <a:cubicBezTo>
                        <a:pt x="22021" y="994"/>
                        <a:pt x="27128" y="7720"/>
                        <a:pt x="26131" y="14944"/>
                      </a:cubicBezTo>
                      <a:cubicBezTo>
                        <a:pt x="25135" y="22168"/>
                        <a:pt x="18658" y="27400"/>
                        <a:pt x="11433" y="26403"/>
                      </a:cubicBezTo>
                      <a:cubicBezTo>
                        <a:pt x="4210" y="25407"/>
                        <a:pt x="-773" y="18930"/>
                        <a:pt x="99"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3" name="Graphic 2987">
                <a:extLst>
                  <a:ext uri="{FF2B5EF4-FFF2-40B4-BE49-F238E27FC236}">
                    <a16:creationId xmlns:a16="http://schemas.microsoft.com/office/drawing/2014/main" id="{471EF24A-482A-150E-F38B-8725DE8228BC}"/>
                  </a:ext>
                </a:extLst>
              </p:cNvPr>
              <p:cNvGrpSpPr/>
              <p:nvPr/>
            </p:nvGrpSpPr>
            <p:grpSpPr>
              <a:xfrm>
                <a:off x="9592811" y="5627867"/>
                <a:ext cx="42346" cy="147794"/>
                <a:chOff x="9592811" y="5627867"/>
                <a:chExt cx="42346" cy="147794"/>
              </a:xfrm>
              <a:grpFill/>
            </p:grpSpPr>
            <p:sp>
              <p:nvSpPr>
                <p:cNvPr id="4241" name="Freeform 5329">
                  <a:extLst>
                    <a:ext uri="{FF2B5EF4-FFF2-40B4-BE49-F238E27FC236}">
                      <a16:creationId xmlns:a16="http://schemas.microsoft.com/office/drawing/2014/main" id="{17741AFB-0966-C2E2-4031-41DE6F92A166}"/>
                    </a:ext>
                  </a:extLst>
                </p:cNvPr>
                <p:cNvSpPr/>
                <p:nvPr/>
              </p:nvSpPr>
              <p:spPr>
                <a:xfrm>
                  <a:off x="9609874" y="5647644"/>
                  <a:ext cx="7348" cy="51567"/>
                </a:xfrm>
                <a:custGeom>
                  <a:avLst/>
                  <a:gdLst>
                    <a:gd name="connsiteX0" fmla="*/ 7348 w 7348"/>
                    <a:gd name="connsiteY0" fmla="*/ 0 h 51567"/>
                    <a:gd name="connsiteX1" fmla="*/ 2989 w 7348"/>
                    <a:gd name="connsiteY1" fmla="*/ 18310 h 51567"/>
                    <a:gd name="connsiteX2" fmla="*/ 4235 w 7348"/>
                    <a:gd name="connsiteY2" fmla="*/ 35624 h 51567"/>
                    <a:gd name="connsiteX3" fmla="*/ 0 w 7348"/>
                    <a:gd name="connsiteY3" fmla="*/ 51567 h 51567"/>
                  </a:gdLst>
                  <a:ahLst/>
                  <a:cxnLst>
                    <a:cxn ang="0">
                      <a:pos x="connsiteX0" y="connsiteY0"/>
                    </a:cxn>
                    <a:cxn ang="0">
                      <a:pos x="connsiteX1" y="connsiteY1"/>
                    </a:cxn>
                    <a:cxn ang="0">
                      <a:pos x="connsiteX2" y="connsiteY2"/>
                    </a:cxn>
                    <a:cxn ang="0">
                      <a:pos x="connsiteX3" y="connsiteY3"/>
                    </a:cxn>
                  </a:cxnLst>
                  <a:rect l="l" t="t" r="r" b="b"/>
                  <a:pathLst>
                    <a:path w="7347" h="51567">
                      <a:moveTo>
                        <a:pt x="7348" y="0"/>
                      </a:moveTo>
                      <a:cubicBezTo>
                        <a:pt x="3861" y="7598"/>
                        <a:pt x="2989" y="13950"/>
                        <a:pt x="2989" y="18310"/>
                      </a:cubicBezTo>
                      <a:cubicBezTo>
                        <a:pt x="2865" y="25285"/>
                        <a:pt x="4609" y="28648"/>
                        <a:pt x="4235" y="35624"/>
                      </a:cubicBezTo>
                      <a:cubicBezTo>
                        <a:pt x="3861" y="42474"/>
                        <a:pt x="1743" y="48079"/>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2" name="Freeform 5330">
                  <a:extLst>
                    <a:ext uri="{FF2B5EF4-FFF2-40B4-BE49-F238E27FC236}">
                      <a16:creationId xmlns:a16="http://schemas.microsoft.com/office/drawing/2014/main" id="{D3F2C17E-0E28-D550-937D-7953C4ECABCA}"/>
                    </a:ext>
                  </a:extLst>
                </p:cNvPr>
                <p:cNvSpPr/>
                <p:nvPr/>
              </p:nvSpPr>
              <p:spPr>
                <a:xfrm>
                  <a:off x="9618101" y="5643658"/>
                  <a:ext cx="7654" cy="51691"/>
                </a:xfrm>
                <a:custGeom>
                  <a:avLst/>
                  <a:gdLst>
                    <a:gd name="connsiteX0" fmla="*/ 740 w 7654"/>
                    <a:gd name="connsiteY0" fmla="*/ 51691 h 51691"/>
                    <a:gd name="connsiteX1" fmla="*/ 1239 w 7654"/>
                    <a:gd name="connsiteY1" fmla="*/ 32883 h 51691"/>
                    <a:gd name="connsiteX2" fmla="*/ 6843 w 7654"/>
                    <a:gd name="connsiteY2" fmla="*/ 16441 h 51691"/>
                    <a:gd name="connsiteX3" fmla="*/ 6843 w 7654"/>
                    <a:gd name="connsiteY3" fmla="*/ 0 h 51691"/>
                  </a:gdLst>
                  <a:ahLst/>
                  <a:cxnLst>
                    <a:cxn ang="0">
                      <a:pos x="connsiteX0" y="connsiteY0"/>
                    </a:cxn>
                    <a:cxn ang="0">
                      <a:pos x="connsiteX1" y="connsiteY1"/>
                    </a:cxn>
                    <a:cxn ang="0">
                      <a:pos x="connsiteX2" y="connsiteY2"/>
                    </a:cxn>
                    <a:cxn ang="0">
                      <a:pos x="connsiteX3" y="connsiteY3"/>
                    </a:cxn>
                  </a:cxnLst>
                  <a:rect l="l" t="t" r="r" b="b"/>
                  <a:pathLst>
                    <a:path w="7654" h="51690">
                      <a:moveTo>
                        <a:pt x="740" y="51691"/>
                      </a:moveTo>
                      <a:cubicBezTo>
                        <a:pt x="-630" y="43346"/>
                        <a:pt x="118" y="37118"/>
                        <a:pt x="1239" y="32883"/>
                      </a:cubicBezTo>
                      <a:cubicBezTo>
                        <a:pt x="2858" y="26033"/>
                        <a:pt x="5474" y="23292"/>
                        <a:pt x="6843" y="16441"/>
                      </a:cubicBezTo>
                      <a:cubicBezTo>
                        <a:pt x="8214" y="9715"/>
                        <a:pt x="7591" y="3861"/>
                        <a:pt x="68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3" name="Freeform 5331">
                  <a:extLst>
                    <a:ext uri="{FF2B5EF4-FFF2-40B4-BE49-F238E27FC236}">
                      <a16:creationId xmlns:a16="http://schemas.microsoft.com/office/drawing/2014/main" id="{1B6DFB08-EDC5-7DF6-9313-66BA63B476F3}"/>
                    </a:ext>
                  </a:extLst>
                </p:cNvPr>
                <p:cNvSpPr/>
                <p:nvPr/>
              </p:nvSpPr>
              <p:spPr>
                <a:xfrm>
                  <a:off x="9608504" y="5627867"/>
                  <a:ext cx="26654" cy="26475"/>
                </a:xfrm>
                <a:custGeom>
                  <a:avLst/>
                  <a:gdLst>
                    <a:gd name="connsiteX0" fmla="*/ 26530 w 26654"/>
                    <a:gd name="connsiteY0" fmla="*/ 14919 h 26475"/>
                    <a:gd name="connsiteX1" fmla="*/ 11584 w 26654"/>
                    <a:gd name="connsiteY1" fmla="*/ 26378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932" y="27250"/>
                        <a:pt x="11584" y="26378"/>
                      </a:cubicBezTo>
                      <a:cubicBezTo>
                        <a:pt x="4235" y="25382"/>
                        <a:pt x="-872" y="18781"/>
                        <a:pt x="124" y="11556"/>
                      </a:cubicBezTo>
                      <a:cubicBezTo>
                        <a:pt x="1121" y="4332"/>
                        <a:pt x="7723" y="-775"/>
                        <a:pt x="15071" y="97"/>
                      </a:cubicBezTo>
                      <a:cubicBezTo>
                        <a:pt x="22420" y="969"/>
                        <a:pt x="27527" y="7570"/>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4" name="Freeform 5332">
                  <a:extLst>
                    <a:ext uri="{FF2B5EF4-FFF2-40B4-BE49-F238E27FC236}">
                      <a16:creationId xmlns:a16="http://schemas.microsoft.com/office/drawing/2014/main" id="{87DC1844-47B8-519E-377A-D3FB8E5AA8C4}"/>
                    </a:ext>
                  </a:extLst>
                </p:cNvPr>
                <p:cNvSpPr/>
                <p:nvPr/>
              </p:nvSpPr>
              <p:spPr>
                <a:xfrm>
                  <a:off x="9610496" y="5704317"/>
                  <a:ext cx="7473" cy="51566"/>
                </a:xfrm>
                <a:custGeom>
                  <a:avLst/>
                  <a:gdLst>
                    <a:gd name="connsiteX0" fmla="*/ 0 w 7473"/>
                    <a:gd name="connsiteY0" fmla="*/ 51567 h 51566"/>
                    <a:gd name="connsiteX1" fmla="*/ 4359 w 7473"/>
                    <a:gd name="connsiteY1" fmla="*/ 33257 h 51566"/>
                    <a:gd name="connsiteX2" fmla="*/ 3239 w 7473"/>
                    <a:gd name="connsiteY2" fmla="*/ 15943 h 51566"/>
                    <a:gd name="connsiteX3" fmla="*/ 7473 w 7473"/>
                    <a:gd name="connsiteY3" fmla="*/ 0 h 51566"/>
                  </a:gdLst>
                  <a:ahLst/>
                  <a:cxnLst>
                    <a:cxn ang="0">
                      <a:pos x="connsiteX0" y="connsiteY0"/>
                    </a:cxn>
                    <a:cxn ang="0">
                      <a:pos x="connsiteX1" y="connsiteY1"/>
                    </a:cxn>
                    <a:cxn ang="0">
                      <a:pos x="connsiteX2" y="connsiteY2"/>
                    </a:cxn>
                    <a:cxn ang="0">
                      <a:pos x="connsiteX3" y="connsiteY3"/>
                    </a:cxn>
                  </a:cxnLst>
                  <a:rect l="l" t="t" r="r" b="b"/>
                  <a:pathLst>
                    <a:path w="7473" h="51566">
                      <a:moveTo>
                        <a:pt x="0" y="51567"/>
                      </a:moveTo>
                      <a:cubicBezTo>
                        <a:pt x="3487" y="43844"/>
                        <a:pt x="4235" y="37616"/>
                        <a:pt x="4359" y="33257"/>
                      </a:cubicBezTo>
                      <a:cubicBezTo>
                        <a:pt x="4484" y="26281"/>
                        <a:pt x="2740" y="22919"/>
                        <a:pt x="3239" y="15943"/>
                      </a:cubicBezTo>
                      <a:cubicBezTo>
                        <a:pt x="3612" y="9092"/>
                        <a:pt x="5730" y="3488"/>
                        <a:pt x="747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5" name="Freeform 5333">
                  <a:extLst>
                    <a:ext uri="{FF2B5EF4-FFF2-40B4-BE49-F238E27FC236}">
                      <a16:creationId xmlns:a16="http://schemas.microsoft.com/office/drawing/2014/main" id="{4BE30D6B-1EFD-9F28-0821-D72A2A0A7C5E}"/>
                    </a:ext>
                  </a:extLst>
                </p:cNvPr>
                <p:cNvSpPr/>
                <p:nvPr/>
              </p:nvSpPr>
              <p:spPr>
                <a:xfrm>
                  <a:off x="9601963" y="5708179"/>
                  <a:ext cx="7653" cy="51816"/>
                </a:xfrm>
                <a:custGeom>
                  <a:avLst/>
                  <a:gdLst>
                    <a:gd name="connsiteX0" fmla="*/ 6914 w 7653"/>
                    <a:gd name="connsiteY0" fmla="*/ 0 h 51816"/>
                    <a:gd name="connsiteX1" fmla="*/ 6416 w 7653"/>
                    <a:gd name="connsiteY1" fmla="*/ 18808 h 51816"/>
                    <a:gd name="connsiteX2" fmla="*/ 810 w 7653"/>
                    <a:gd name="connsiteY2" fmla="*/ 35374 h 51816"/>
                    <a:gd name="connsiteX3" fmla="*/ 810 w 7653"/>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653" h="51816">
                      <a:moveTo>
                        <a:pt x="6914" y="0"/>
                      </a:moveTo>
                      <a:cubicBezTo>
                        <a:pt x="8284" y="8345"/>
                        <a:pt x="7536" y="14573"/>
                        <a:pt x="6416" y="18808"/>
                      </a:cubicBezTo>
                      <a:cubicBezTo>
                        <a:pt x="4796" y="25659"/>
                        <a:pt x="2305" y="28399"/>
                        <a:pt x="810" y="35374"/>
                      </a:cubicBezTo>
                      <a:cubicBezTo>
                        <a:pt x="-559" y="42101"/>
                        <a:pt x="63" y="47955"/>
                        <a:pt x="810"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6" name="Freeform 5334">
                  <a:extLst>
                    <a:ext uri="{FF2B5EF4-FFF2-40B4-BE49-F238E27FC236}">
                      <a16:creationId xmlns:a16="http://schemas.microsoft.com/office/drawing/2014/main" id="{85894825-DA2B-39EE-A025-2639339E15A5}"/>
                    </a:ext>
                  </a:extLst>
                </p:cNvPr>
                <p:cNvSpPr/>
                <p:nvPr/>
              </p:nvSpPr>
              <p:spPr>
                <a:xfrm>
                  <a:off x="9592811" y="5749161"/>
                  <a:ext cx="26278" cy="26500"/>
                </a:xfrm>
                <a:custGeom>
                  <a:avLst/>
                  <a:gdLst>
                    <a:gd name="connsiteX0" fmla="*/ 122 w 26278"/>
                    <a:gd name="connsiteY0" fmla="*/ 11581 h 26500"/>
                    <a:gd name="connsiteX1" fmla="*/ 14820 w 26278"/>
                    <a:gd name="connsiteY1" fmla="*/ 122 h 26500"/>
                    <a:gd name="connsiteX2" fmla="*/ 26155 w 26278"/>
                    <a:gd name="connsiteY2" fmla="*/ 14944 h 26500"/>
                    <a:gd name="connsiteX3" fmla="*/ 11457 w 26278"/>
                    <a:gd name="connsiteY3" fmla="*/ 26404 h 26500"/>
                    <a:gd name="connsiteX4" fmla="*/ 122 w 26278"/>
                    <a:gd name="connsiteY4" fmla="*/ 11581 h 2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7" h="26499">
                      <a:moveTo>
                        <a:pt x="122" y="11581"/>
                      </a:moveTo>
                      <a:cubicBezTo>
                        <a:pt x="1118" y="4357"/>
                        <a:pt x="7720" y="-874"/>
                        <a:pt x="14820" y="122"/>
                      </a:cubicBezTo>
                      <a:cubicBezTo>
                        <a:pt x="22044" y="994"/>
                        <a:pt x="27151" y="7720"/>
                        <a:pt x="26155" y="14944"/>
                      </a:cubicBezTo>
                      <a:cubicBezTo>
                        <a:pt x="25158" y="22169"/>
                        <a:pt x="18557" y="27275"/>
                        <a:pt x="11457" y="26404"/>
                      </a:cubicBezTo>
                      <a:cubicBezTo>
                        <a:pt x="4357" y="25532"/>
                        <a:pt x="-874" y="18805"/>
                        <a:pt x="122" y="115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4" name="Graphic 2987">
                <a:extLst>
                  <a:ext uri="{FF2B5EF4-FFF2-40B4-BE49-F238E27FC236}">
                    <a16:creationId xmlns:a16="http://schemas.microsoft.com/office/drawing/2014/main" id="{C522311B-A2E3-06D6-B03E-8AD9E1218EC7}"/>
                  </a:ext>
                </a:extLst>
              </p:cNvPr>
              <p:cNvGrpSpPr/>
              <p:nvPr/>
            </p:nvGrpSpPr>
            <p:grpSpPr>
              <a:xfrm>
                <a:off x="9621956" y="5631603"/>
                <a:ext cx="42722" cy="147794"/>
                <a:chOff x="9621956" y="5631603"/>
                <a:chExt cx="42722" cy="147794"/>
              </a:xfrm>
              <a:grpFill/>
            </p:grpSpPr>
            <p:sp>
              <p:nvSpPr>
                <p:cNvPr id="4235" name="Freeform 5336">
                  <a:extLst>
                    <a:ext uri="{FF2B5EF4-FFF2-40B4-BE49-F238E27FC236}">
                      <a16:creationId xmlns:a16="http://schemas.microsoft.com/office/drawing/2014/main" id="{264D876F-0966-1CD8-AE11-C334C03023DB}"/>
                    </a:ext>
                  </a:extLst>
                </p:cNvPr>
                <p:cNvSpPr/>
                <p:nvPr/>
              </p:nvSpPr>
              <p:spPr>
                <a:xfrm>
                  <a:off x="9639020" y="5651380"/>
                  <a:ext cx="7722" cy="51566"/>
                </a:xfrm>
                <a:custGeom>
                  <a:avLst/>
                  <a:gdLst>
                    <a:gd name="connsiteX0" fmla="*/ 7723 w 7722"/>
                    <a:gd name="connsiteY0" fmla="*/ 0 h 51566"/>
                    <a:gd name="connsiteX1" fmla="*/ 3239 w 7722"/>
                    <a:gd name="connsiteY1" fmla="*/ 18310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235" y="7598"/>
                        <a:pt x="3363" y="13950"/>
                        <a:pt x="3239" y="18310"/>
                      </a:cubicBezTo>
                      <a:cubicBezTo>
                        <a:pt x="3114" y="25285"/>
                        <a:pt x="4858" y="28648"/>
                        <a:pt x="4360"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6" name="Freeform 5337">
                  <a:extLst>
                    <a:ext uri="{FF2B5EF4-FFF2-40B4-BE49-F238E27FC236}">
                      <a16:creationId xmlns:a16="http://schemas.microsoft.com/office/drawing/2014/main" id="{B6F2DF55-DBCA-001F-894C-C14EA0F17AC0}"/>
                    </a:ext>
                  </a:extLst>
                </p:cNvPr>
                <p:cNvSpPr/>
                <p:nvPr/>
              </p:nvSpPr>
              <p:spPr>
                <a:xfrm>
                  <a:off x="9647530" y="5647395"/>
                  <a:ext cx="7745" cy="51691"/>
                </a:xfrm>
                <a:custGeom>
                  <a:avLst/>
                  <a:gdLst>
                    <a:gd name="connsiteX0" fmla="*/ 707 w 7745"/>
                    <a:gd name="connsiteY0" fmla="*/ 51691 h 51691"/>
                    <a:gd name="connsiteX1" fmla="*/ 1206 w 7745"/>
                    <a:gd name="connsiteY1" fmla="*/ 32883 h 51691"/>
                    <a:gd name="connsiteX2" fmla="*/ 6935 w 7745"/>
                    <a:gd name="connsiteY2" fmla="*/ 16442 h 51691"/>
                    <a:gd name="connsiteX3" fmla="*/ 6935 w 7745"/>
                    <a:gd name="connsiteY3" fmla="*/ 0 h 51691"/>
                  </a:gdLst>
                  <a:ahLst/>
                  <a:cxnLst>
                    <a:cxn ang="0">
                      <a:pos x="connsiteX0" y="connsiteY0"/>
                    </a:cxn>
                    <a:cxn ang="0">
                      <a:pos x="connsiteX1" y="connsiteY1"/>
                    </a:cxn>
                    <a:cxn ang="0">
                      <a:pos x="connsiteX2" y="connsiteY2"/>
                    </a:cxn>
                    <a:cxn ang="0">
                      <a:pos x="connsiteX3" y="connsiteY3"/>
                    </a:cxn>
                  </a:cxnLst>
                  <a:rect l="l" t="t" r="r" b="b"/>
                  <a:pathLst>
                    <a:path w="7744" h="51690">
                      <a:moveTo>
                        <a:pt x="707" y="51691"/>
                      </a:moveTo>
                      <a:cubicBezTo>
                        <a:pt x="-663" y="43346"/>
                        <a:pt x="209" y="37118"/>
                        <a:pt x="1206" y="32883"/>
                      </a:cubicBezTo>
                      <a:cubicBezTo>
                        <a:pt x="2950" y="26033"/>
                        <a:pt x="5440" y="23292"/>
                        <a:pt x="6935" y="16442"/>
                      </a:cubicBezTo>
                      <a:cubicBezTo>
                        <a:pt x="8306" y="9715"/>
                        <a:pt x="7682" y="3861"/>
                        <a:pt x="69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7" name="Freeform 5338">
                  <a:extLst>
                    <a:ext uri="{FF2B5EF4-FFF2-40B4-BE49-F238E27FC236}">
                      <a16:creationId xmlns:a16="http://schemas.microsoft.com/office/drawing/2014/main" id="{00872A97-6BA2-72FE-D0DF-00C0CC572C0C}"/>
                    </a:ext>
                  </a:extLst>
                </p:cNvPr>
                <p:cNvSpPr/>
                <p:nvPr/>
              </p:nvSpPr>
              <p:spPr>
                <a:xfrm>
                  <a:off x="9638024" y="5631603"/>
                  <a:ext cx="26654" cy="26475"/>
                </a:xfrm>
                <a:custGeom>
                  <a:avLst/>
                  <a:gdLst>
                    <a:gd name="connsiteX0" fmla="*/ 26530 w 26654"/>
                    <a:gd name="connsiteY0" fmla="*/ 14919 h 26475"/>
                    <a:gd name="connsiteX1" fmla="*/ 11584 w 26654"/>
                    <a:gd name="connsiteY1" fmla="*/ 26379 h 26475"/>
                    <a:gd name="connsiteX2" fmla="*/ 124 w 26654"/>
                    <a:gd name="connsiteY2" fmla="*/ 11556 h 26475"/>
                    <a:gd name="connsiteX3" fmla="*/ 15071 w 26654"/>
                    <a:gd name="connsiteY3" fmla="*/ 97 h 26475"/>
                    <a:gd name="connsiteX4" fmla="*/ 26530 w 26654"/>
                    <a:gd name="connsiteY4" fmla="*/ 14919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4" h="26474">
                      <a:moveTo>
                        <a:pt x="26530" y="14919"/>
                      </a:moveTo>
                      <a:cubicBezTo>
                        <a:pt x="25534" y="22144"/>
                        <a:pt x="18808" y="27250"/>
                        <a:pt x="11584" y="26379"/>
                      </a:cubicBezTo>
                      <a:cubicBezTo>
                        <a:pt x="4235" y="25382"/>
                        <a:pt x="-872" y="18781"/>
                        <a:pt x="124" y="11556"/>
                      </a:cubicBezTo>
                      <a:cubicBezTo>
                        <a:pt x="1121" y="4332"/>
                        <a:pt x="7847" y="-775"/>
                        <a:pt x="15071" y="97"/>
                      </a:cubicBezTo>
                      <a:cubicBezTo>
                        <a:pt x="22420" y="1094"/>
                        <a:pt x="27527" y="7695"/>
                        <a:pt x="26530" y="14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8" name="Freeform 5339">
                  <a:extLst>
                    <a:ext uri="{FF2B5EF4-FFF2-40B4-BE49-F238E27FC236}">
                      <a16:creationId xmlns:a16="http://schemas.microsoft.com/office/drawing/2014/main" id="{0345E7D1-6DFF-57E7-DF9A-C0A716FD5D35}"/>
                    </a:ext>
                  </a:extLst>
                </p:cNvPr>
                <p:cNvSpPr/>
                <p:nvPr/>
              </p:nvSpPr>
              <p:spPr>
                <a:xfrm>
                  <a:off x="9639642" y="5708054"/>
                  <a:ext cx="7723" cy="51567"/>
                </a:xfrm>
                <a:custGeom>
                  <a:avLst/>
                  <a:gdLst>
                    <a:gd name="connsiteX0" fmla="*/ 0 w 7723"/>
                    <a:gd name="connsiteY0" fmla="*/ 51567 h 51567"/>
                    <a:gd name="connsiteX1" fmla="*/ 4485 w 7723"/>
                    <a:gd name="connsiteY1" fmla="*/ 33257 h 51567"/>
                    <a:gd name="connsiteX2" fmla="*/ 3363 w 7723"/>
                    <a:gd name="connsiteY2" fmla="*/ 15943 h 51567"/>
                    <a:gd name="connsiteX3" fmla="*/ 7723 w 7723"/>
                    <a:gd name="connsiteY3" fmla="*/ 0 h 51567"/>
                  </a:gdLst>
                  <a:ahLst/>
                  <a:cxnLst>
                    <a:cxn ang="0">
                      <a:pos x="connsiteX0" y="connsiteY0"/>
                    </a:cxn>
                    <a:cxn ang="0">
                      <a:pos x="connsiteX1" y="connsiteY1"/>
                    </a:cxn>
                    <a:cxn ang="0">
                      <a:pos x="connsiteX2" y="connsiteY2"/>
                    </a:cxn>
                    <a:cxn ang="0">
                      <a:pos x="connsiteX3" y="connsiteY3"/>
                    </a:cxn>
                  </a:cxnLst>
                  <a:rect l="l" t="t" r="r" b="b"/>
                  <a:pathLst>
                    <a:path w="7723" h="51567">
                      <a:moveTo>
                        <a:pt x="0" y="51567"/>
                      </a:moveTo>
                      <a:cubicBezTo>
                        <a:pt x="3488" y="43969"/>
                        <a:pt x="4360" y="37616"/>
                        <a:pt x="4485" y="33257"/>
                      </a:cubicBezTo>
                      <a:cubicBezTo>
                        <a:pt x="4609" y="26282"/>
                        <a:pt x="2990" y="22919"/>
                        <a:pt x="3363" y="15943"/>
                      </a:cubicBezTo>
                      <a:cubicBezTo>
                        <a:pt x="3737" y="9093"/>
                        <a:pt x="5979" y="3612"/>
                        <a:pt x="772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9" name="Freeform 5340">
                  <a:extLst>
                    <a:ext uri="{FF2B5EF4-FFF2-40B4-BE49-F238E27FC236}">
                      <a16:creationId xmlns:a16="http://schemas.microsoft.com/office/drawing/2014/main" id="{F272A6E9-367D-DF94-E565-638F5E6372B4}"/>
                    </a:ext>
                  </a:extLst>
                </p:cNvPr>
                <p:cNvSpPr/>
                <p:nvPr/>
              </p:nvSpPr>
              <p:spPr>
                <a:xfrm>
                  <a:off x="9631359" y="5711915"/>
                  <a:ext cx="7621" cy="51691"/>
                </a:xfrm>
                <a:custGeom>
                  <a:avLst/>
                  <a:gdLst>
                    <a:gd name="connsiteX0" fmla="*/ 6914 w 7621"/>
                    <a:gd name="connsiteY0" fmla="*/ 0 h 51691"/>
                    <a:gd name="connsiteX1" fmla="*/ 6416 w 7621"/>
                    <a:gd name="connsiteY1" fmla="*/ 18808 h 51691"/>
                    <a:gd name="connsiteX2" fmla="*/ 810 w 7621"/>
                    <a:gd name="connsiteY2" fmla="*/ 35250 h 51691"/>
                    <a:gd name="connsiteX3" fmla="*/ 810 w 7621"/>
                    <a:gd name="connsiteY3" fmla="*/ 51691 h 51691"/>
                  </a:gdLst>
                  <a:ahLst/>
                  <a:cxnLst>
                    <a:cxn ang="0">
                      <a:pos x="connsiteX0" y="connsiteY0"/>
                    </a:cxn>
                    <a:cxn ang="0">
                      <a:pos x="connsiteX1" y="connsiteY1"/>
                    </a:cxn>
                    <a:cxn ang="0">
                      <a:pos x="connsiteX2" y="connsiteY2"/>
                    </a:cxn>
                    <a:cxn ang="0">
                      <a:pos x="connsiteX3" y="connsiteY3"/>
                    </a:cxn>
                  </a:cxnLst>
                  <a:rect l="l" t="t" r="r" b="b"/>
                  <a:pathLst>
                    <a:path w="7621" h="51690">
                      <a:moveTo>
                        <a:pt x="6914" y="0"/>
                      </a:moveTo>
                      <a:cubicBezTo>
                        <a:pt x="8284" y="8346"/>
                        <a:pt x="7412" y="14573"/>
                        <a:pt x="6416" y="18808"/>
                      </a:cubicBezTo>
                      <a:cubicBezTo>
                        <a:pt x="4672" y="25659"/>
                        <a:pt x="2180" y="28399"/>
                        <a:pt x="810" y="35250"/>
                      </a:cubicBezTo>
                      <a:cubicBezTo>
                        <a:pt x="-559" y="41976"/>
                        <a:pt x="63" y="47830"/>
                        <a:pt x="810"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40" name="Freeform 5341">
                  <a:extLst>
                    <a:ext uri="{FF2B5EF4-FFF2-40B4-BE49-F238E27FC236}">
                      <a16:creationId xmlns:a16="http://schemas.microsoft.com/office/drawing/2014/main" id="{68A55377-C9C0-AD55-E5FD-064A67B2D2FD}"/>
                    </a:ext>
                  </a:extLst>
                </p:cNvPr>
                <p:cNvSpPr/>
                <p:nvPr/>
              </p:nvSpPr>
              <p:spPr>
                <a:xfrm>
                  <a:off x="9621956" y="5752923"/>
                  <a:ext cx="26380" cy="26475"/>
                </a:xfrm>
                <a:custGeom>
                  <a:avLst/>
                  <a:gdLst>
                    <a:gd name="connsiteX0" fmla="*/ 124 w 26380"/>
                    <a:gd name="connsiteY0" fmla="*/ 11556 h 26475"/>
                    <a:gd name="connsiteX1" fmla="*/ 14947 w 26380"/>
                    <a:gd name="connsiteY1" fmla="*/ 97 h 26475"/>
                    <a:gd name="connsiteX2" fmla="*/ 26281 w 26380"/>
                    <a:gd name="connsiteY2" fmla="*/ 14919 h 26475"/>
                    <a:gd name="connsiteX3" fmla="*/ 11459 w 26380"/>
                    <a:gd name="connsiteY3" fmla="*/ 26378 h 26475"/>
                    <a:gd name="connsiteX4" fmla="*/ 124 w 26380"/>
                    <a:gd name="connsiteY4" fmla="*/ 11556 h 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74">
                      <a:moveTo>
                        <a:pt x="124" y="11556"/>
                      </a:moveTo>
                      <a:cubicBezTo>
                        <a:pt x="1121" y="4332"/>
                        <a:pt x="7722" y="-775"/>
                        <a:pt x="14947" y="97"/>
                      </a:cubicBezTo>
                      <a:cubicBezTo>
                        <a:pt x="22171" y="969"/>
                        <a:pt x="27153" y="7695"/>
                        <a:pt x="26281" y="14919"/>
                      </a:cubicBezTo>
                      <a:cubicBezTo>
                        <a:pt x="25410" y="22144"/>
                        <a:pt x="18683" y="27250"/>
                        <a:pt x="11459" y="26378"/>
                      </a:cubicBezTo>
                      <a:cubicBezTo>
                        <a:pt x="4235" y="25506"/>
                        <a:pt x="-872" y="18781"/>
                        <a:pt x="124" y="115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5" name="Graphic 2987">
                <a:extLst>
                  <a:ext uri="{FF2B5EF4-FFF2-40B4-BE49-F238E27FC236}">
                    <a16:creationId xmlns:a16="http://schemas.microsoft.com/office/drawing/2014/main" id="{98051556-4189-D010-03B0-1666B5A9DA46}"/>
                  </a:ext>
                </a:extLst>
              </p:cNvPr>
              <p:cNvGrpSpPr/>
              <p:nvPr/>
            </p:nvGrpSpPr>
            <p:grpSpPr>
              <a:xfrm>
                <a:off x="9651100" y="5635562"/>
                <a:ext cx="43098" cy="147754"/>
                <a:chOff x="9651100" y="5635562"/>
                <a:chExt cx="43098" cy="147754"/>
              </a:xfrm>
              <a:grpFill/>
            </p:grpSpPr>
            <p:sp>
              <p:nvSpPr>
                <p:cNvPr id="4229" name="Freeform 5343">
                  <a:extLst>
                    <a:ext uri="{FF2B5EF4-FFF2-40B4-BE49-F238E27FC236}">
                      <a16:creationId xmlns:a16="http://schemas.microsoft.com/office/drawing/2014/main" id="{5A0EC513-2030-AFAD-CC9F-B1B8A98A97CC}"/>
                    </a:ext>
                  </a:extLst>
                </p:cNvPr>
                <p:cNvSpPr/>
                <p:nvPr/>
              </p:nvSpPr>
              <p:spPr>
                <a:xfrm>
                  <a:off x="9668540" y="5655242"/>
                  <a:ext cx="7722" cy="51566"/>
                </a:xfrm>
                <a:custGeom>
                  <a:avLst/>
                  <a:gdLst>
                    <a:gd name="connsiteX0" fmla="*/ 7723 w 7722"/>
                    <a:gd name="connsiteY0" fmla="*/ 0 h 51566"/>
                    <a:gd name="connsiteX1" fmla="*/ 3239 w 7722"/>
                    <a:gd name="connsiteY1" fmla="*/ 18185 h 51566"/>
                    <a:gd name="connsiteX2" fmla="*/ 4360 w 7722"/>
                    <a:gd name="connsiteY2" fmla="*/ 35623 h 51566"/>
                    <a:gd name="connsiteX3" fmla="*/ 0 w 772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722" h="51566">
                      <a:moveTo>
                        <a:pt x="7723" y="0"/>
                      </a:moveTo>
                      <a:cubicBezTo>
                        <a:pt x="4111" y="7598"/>
                        <a:pt x="3363" y="13950"/>
                        <a:pt x="3239" y="18185"/>
                      </a:cubicBezTo>
                      <a:cubicBezTo>
                        <a:pt x="3114" y="25161"/>
                        <a:pt x="4733" y="28523"/>
                        <a:pt x="4360" y="35623"/>
                      </a:cubicBezTo>
                      <a:cubicBezTo>
                        <a:pt x="3861" y="42474"/>
                        <a:pt x="1744" y="47955"/>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0" name="Freeform 5344">
                  <a:extLst>
                    <a:ext uri="{FF2B5EF4-FFF2-40B4-BE49-F238E27FC236}">
                      <a16:creationId xmlns:a16="http://schemas.microsoft.com/office/drawing/2014/main" id="{E3941AE5-359F-6001-1801-346BE32D8DB8}"/>
                    </a:ext>
                  </a:extLst>
                </p:cNvPr>
                <p:cNvSpPr/>
                <p:nvPr/>
              </p:nvSpPr>
              <p:spPr>
                <a:xfrm>
                  <a:off x="9676807" y="5651256"/>
                  <a:ext cx="7966" cy="51816"/>
                </a:xfrm>
                <a:custGeom>
                  <a:avLst/>
                  <a:gdLst>
                    <a:gd name="connsiteX0" fmla="*/ 701 w 7966"/>
                    <a:gd name="connsiteY0" fmla="*/ 51816 h 51816"/>
                    <a:gd name="connsiteX1" fmla="*/ 1324 w 7966"/>
                    <a:gd name="connsiteY1" fmla="*/ 33008 h 51816"/>
                    <a:gd name="connsiteX2" fmla="*/ 7054 w 7966"/>
                    <a:gd name="connsiteY2" fmla="*/ 16566 h 51816"/>
                    <a:gd name="connsiteX3" fmla="*/ 7178 w 7966"/>
                    <a:gd name="connsiteY3" fmla="*/ 0 h 51816"/>
                  </a:gdLst>
                  <a:ahLst/>
                  <a:cxnLst>
                    <a:cxn ang="0">
                      <a:pos x="connsiteX0" y="connsiteY0"/>
                    </a:cxn>
                    <a:cxn ang="0">
                      <a:pos x="connsiteX1" y="connsiteY1"/>
                    </a:cxn>
                    <a:cxn ang="0">
                      <a:pos x="connsiteX2" y="connsiteY2"/>
                    </a:cxn>
                    <a:cxn ang="0">
                      <a:pos x="connsiteX3" y="connsiteY3"/>
                    </a:cxn>
                  </a:cxnLst>
                  <a:rect l="l" t="t" r="r" b="b"/>
                  <a:pathLst>
                    <a:path w="7966" h="51816">
                      <a:moveTo>
                        <a:pt x="701" y="51816"/>
                      </a:moveTo>
                      <a:cubicBezTo>
                        <a:pt x="-669" y="43471"/>
                        <a:pt x="202" y="37243"/>
                        <a:pt x="1324" y="33008"/>
                      </a:cubicBezTo>
                      <a:cubicBezTo>
                        <a:pt x="3068" y="26281"/>
                        <a:pt x="5559" y="23542"/>
                        <a:pt x="7054" y="16566"/>
                      </a:cubicBezTo>
                      <a:cubicBezTo>
                        <a:pt x="8548" y="9840"/>
                        <a:pt x="7926" y="3986"/>
                        <a:pt x="71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1" name="Freeform 5345">
                  <a:extLst>
                    <a:ext uri="{FF2B5EF4-FFF2-40B4-BE49-F238E27FC236}">
                      <a16:creationId xmlns:a16="http://schemas.microsoft.com/office/drawing/2014/main" id="{B84C4DEC-9805-448B-97E4-ED96DF2EBB6D}"/>
                    </a:ext>
                  </a:extLst>
                </p:cNvPr>
                <p:cNvSpPr/>
                <p:nvPr/>
              </p:nvSpPr>
              <p:spPr>
                <a:xfrm>
                  <a:off x="9667447" y="5635562"/>
                  <a:ext cx="26751" cy="26560"/>
                </a:xfrm>
                <a:custGeom>
                  <a:avLst/>
                  <a:gdLst>
                    <a:gd name="connsiteX0" fmla="*/ 26628 w 26751"/>
                    <a:gd name="connsiteY0" fmla="*/ 15196 h 26560"/>
                    <a:gd name="connsiteX1" fmla="*/ 11556 w 26751"/>
                    <a:gd name="connsiteY1" fmla="*/ 26406 h 26560"/>
                    <a:gd name="connsiteX2" fmla="*/ 97 w 26751"/>
                    <a:gd name="connsiteY2" fmla="*/ 11459 h 26560"/>
                    <a:gd name="connsiteX3" fmla="*/ 15168 w 26751"/>
                    <a:gd name="connsiteY3" fmla="*/ 124 h 26560"/>
                    <a:gd name="connsiteX4" fmla="*/ 26628 w 26751"/>
                    <a:gd name="connsiteY4" fmla="*/ 15196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1" h="26560">
                      <a:moveTo>
                        <a:pt x="26628" y="15196"/>
                      </a:moveTo>
                      <a:cubicBezTo>
                        <a:pt x="25631" y="22420"/>
                        <a:pt x="18905" y="27527"/>
                        <a:pt x="11556" y="26406"/>
                      </a:cubicBezTo>
                      <a:cubicBezTo>
                        <a:pt x="4331" y="25285"/>
                        <a:pt x="-775" y="18683"/>
                        <a:pt x="97" y="11459"/>
                      </a:cubicBezTo>
                      <a:cubicBezTo>
                        <a:pt x="1093" y="4234"/>
                        <a:pt x="7819" y="-872"/>
                        <a:pt x="15168" y="124"/>
                      </a:cubicBezTo>
                      <a:cubicBezTo>
                        <a:pt x="22517" y="1121"/>
                        <a:pt x="27624" y="7847"/>
                        <a:pt x="26628" y="151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2" name="Freeform 5346">
                  <a:extLst>
                    <a:ext uri="{FF2B5EF4-FFF2-40B4-BE49-F238E27FC236}">
                      <a16:creationId xmlns:a16="http://schemas.microsoft.com/office/drawing/2014/main" id="{04C46985-59F7-99C3-B07C-E5C382EB88EE}"/>
                    </a:ext>
                  </a:extLst>
                </p:cNvPr>
                <p:cNvSpPr/>
                <p:nvPr/>
              </p:nvSpPr>
              <p:spPr>
                <a:xfrm>
                  <a:off x="9668789" y="5712040"/>
                  <a:ext cx="7847" cy="51566"/>
                </a:xfrm>
                <a:custGeom>
                  <a:avLst/>
                  <a:gdLst>
                    <a:gd name="connsiteX0" fmla="*/ 0 w 7847"/>
                    <a:gd name="connsiteY0" fmla="*/ 51567 h 51566"/>
                    <a:gd name="connsiteX1" fmla="*/ 4484 w 7847"/>
                    <a:gd name="connsiteY1" fmla="*/ 33381 h 51566"/>
                    <a:gd name="connsiteX2" fmla="*/ 3488 w 7847"/>
                    <a:gd name="connsiteY2" fmla="*/ 15943 h 51566"/>
                    <a:gd name="connsiteX3" fmla="*/ 7847 w 7847"/>
                    <a:gd name="connsiteY3" fmla="*/ 0 h 51566"/>
                  </a:gdLst>
                  <a:ahLst/>
                  <a:cxnLst>
                    <a:cxn ang="0">
                      <a:pos x="connsiteX0" y="connsiteY0"/>
                    </a:cxn>
                    <a:cxn ang="0">
                      <a:pos x="connsiteX1" y="connsiteY1"/>
                    </a:cxn>
                    <a:cxn ang="0">
                      <a:pos x="connsiteX2" y="connsiteY2"/>
                    </a:cxn>
                    <a:cxn ang="0">
                      <a:pos x="connsiteX3" y="connsiteY3"/>
                    </a:cxn>
                  </a:cxnLst>
                  <a:rect l="l" t="t" r="r" b="b"/>
                  <a:pathLst>
                    <a:path w="7847" h="51566">
                      <a:moveTo>
                        <a:pt x="0" y="51567"/>
                      </a:moveTo>
                      <a:cubicBezTo>
                        <a:pt x="3488" y="43969"/>
                        <a:pt x="4359" y="37616"/>
                        <a:pt x="4484" y="33381"/>
                      </a:cubicBezTo>
                      <a:cubicBezTo>
                        <a:pt x="4733" y="26406"/>
                        <a:pt x="2989" y="23043"/>
                        <a:pt x="3488" y="15943"/>
                      </a:cubicBezTo>
                      <a:cubicBezTo>
                        <a:pt x="3986" y="9092"/>
                        <a:pt x="6103" y="3612"/>
                        <a:pt x="78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3" name="Freeform 5347">
                  <a:extLst>
                    <a:ext uri="{FF2B5EF4-FFF2-40B4-BE49-F238E27FC236}">
                      <a16:creationId xmlns:a16="http://schemas.microsoft.com/office/drawing/2014/main" id="{404EFC93-5351-16C7-8006-7A0F44674D69}"/>
                    </a:ext>
                  </a:extLst>
                </p:cNvPr>
                <p:cNvSpPr/>
                <p:nvPr/>
              </p:nvSpPr>
              <p:spPr>
                <a:xfrm>
                  <a:off x="9660329" y="5715777"/>
                  <a:ext cx="7915" cy="51816"/>
                </a:xfrm>
                <a:custGeom>
                  <a:avLst/>
                  <a:gdLst>
                    <a:gd name="connsiteX0" fmla="*/ 7215 w 7915"/>
                    <a:gd name="connsiteY0" fmla="*/ 0 h 51816"/>
                    <a:gd name="connsiteX1" fmla="*/ 6592 w 7915"/>
                    <a:gd name="connsiteY1" fmla="*/ 18808 h 51816"/>
                    <a:gd name="connsiteX2" fmla="*/ 862 w 7915"/>
                    <a:gd name="connsiteY2" fmla="*/ 35250 h 51816"/>
                    <a:gd name="connsiteX3" fmla="*/ 738 w 7915"/>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15" h="51816">
                      <a:moveTo>
                        <a:pt x="7215" y="0"/>
                      </a:moveTo>
                      <a:cubicBezTo>
                        <a:pt x="8585" y="8346"/>
                        <a:pt x="7713" y="14573"/>
                        <a:pt x="6592" y="18808"/>
                      </a:cubicBezTo>
                      <a:cubicBezTo>
                        <a:pt x="4848" y="25535"/>
                        <a:pt x="2357" y="28275"/>
                        <a:pt x="862" y="35250"/>
                      </a:cubicBezTo>
                      <a:cubicBezTo>
                        <a:pt x="-508" y="41976"/>
                        <a:pt x="-10" y="47830"/>
                        <a:pt x="73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34" name="Freeform 5348">
                  <a:extLst>
                    <a:ext uri="{FF2B5EF4-FFF2-40B4-BE49-F238E27FC236}">
                      <a16:creationId xmlns:a16="http://schemas.microsoft.com/office/drawing/2014/main" id="{6CB6A436-8B09-3809-2675-12CD91D5638C}"/>
                    </a:ext>
                  </a:extLst>
                </p:cNvPr>
                <p:cNvSpPr/>
                <p:nvPr/>
              </p:nvSpPr>
              <p:spPr>
                <a:xfrm>
                  <a:off x="9651100" y="5756757"/>
                  <a:ext cx="26285" cy="26560"/>
                </a:xfrm>
                <a:custGeom>
                  <a:avLst/>
                  <a:gdLst>
                    <a:gd name="connsiteX0" fmla="*/ 127 w 26285"/>
                    <a:gd name="connsiteY0" fmla="*/ 11459 h 26560"/>
                    <a:gd name="connsiteX1" fmla="*/ 14949 w 26285"/>
                    <a:gd name="connsiteY1" fmla="*/ 124 h 26560"/>
                    <a:gd name="connsiteX2" fmla="*/ 26159 w 26285"/>
                    <a:gd name="connsiteY2" fmla="*/ 15196 h 26560"/>
                    <a:gd name="connsiteX3" fmla="*/ 11337 w 26285"/>
                    <a:gd name="connsiteY3" fmla="*/ 26406 h 26560"/>
                    <a:gd name="connsiteX4" fmla="*/ 127 w 26285"/>
                    <a:gd name="connsiteY4" fmla="*/ 11459 h 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4" h="26560">
                      <a:moveTo>
                        <a:pt x="127" y="11459"/>
                      </a:moveTo>
                      <a:cubicBezTo>
                        <a:pt x="1123" y="4235"/>
                        <a:pt x="7725" y="-872"/>
                        <a:pt x="14949" y="124"/>
                      </a:cubicBezTo>
                      <a:cubicBezTo>
                        <a:pt x="22173" y="1121"/>
                        <a:pt x="27156" y="7847"/>
                        <a:pt x="26159" y="15196"/>
                      </a:cubicBezTo>
                      <a:cubicBezTo>
                        <a:pt x="25162" y="22420"/>
                        <a:pt x="18561" y="27527"/>
                        <a:pt x="11337" y="26406"/>
                      </a:cubicBezTo>
                      <a:cubicBezTo>
                        <a:pt x="4112" y="25410"/>
                        <a:pt x="-870" y="18683"/>
                        <a:pt x="127" y="1145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6" name="Graphic 2987">
                <a:extLst>
                  <a:ext uri="{FF2B5EF4-FFF2-40B4-BE49-F238E27FC236}">
                    <a16:creationId xmlns:a16="http://schemas.microsoft.com/office/drawing/2014/main" id="{0DE5A1C3-49B9-AE49-DB95-36B41402D4FC}"/>
                  </a:ext>
                </a:extLst>
              </p:cNvPr>
              <p:cNvGrpSpPr/>
              <p:nvPr/>
            </p:nvGrpSpPr>
            <p:grpSpPr>
              <a:xfrm>
                <a:off x="9680122" y="5639794"/>
                <a:ext cx="43599" cy="147882"/>
                <a:chOff x="9680122" y="5639794"/>
                <a:chExt cx="43599" cy="147882"/>
              </a:xfrm>
              <a:grpFill/>
            </p:grpSpPr>
            <p:sp>
              <p:nvSpPr>
                <p:cNvPr id="4223" name="Freeform 5350">
                  <a:extLst>
                    <a:ext uri="{FF2B5EF4-FFF2-40B4-BE49-F238E27FC236}">
                      <a16:creationId xmlns:a16="http://schemas.microsoft.com/office/drawing/2014/main" id="{44D3E42E-AF41-48B6-A31D-DEE82AB18449}"/>
                    </a:ext>
                  </a:extLst>
                </p:cNvPr>
                <p:cNvSpPr/>
                <p:nvPr/>
              </p:nvSpPr>
              <p:spPr>
                <a:xfrm>
                  <a:off x="9697811" y="5659601"/>
                  <a:ext cx="7971" cy="51566"/>
                </a:xfrm>
                <a:custGeom>
                  <a:avLst/>
                  <a:gdLst>
                    <a:gd name="connsiteX0" fmla="*/ 7971 w 7971"/>
                    <a:gd name="connsiteY0" fmla="*/ 0 h 51566"/>
                    <a:gd name="connsiteX1" fmla="*/ 3363 w 7971"/>
                    <a:gd name="connsiteY1" fmla="*/ 18185 h 51566"/>
                    <a:gd name="connsiteX2" fmla="*/ 4359 w 7971"/>
                    <a:gd name="connsiteY2" fmla="*/ 35623 h 51566"/>
                    <a:gd name="connsiteX3" fmla="*/ 0 w 7971"/>
                    <a:gd name="connsiteY3" fmla="*/ 51567 h 51566"/>
                  </a:gdLst>
                  <a:ahLst/>
                  <a:cxnLst>
                    <a:cxn ang="0">
                      <a:pos x="connsiteX0" y="connsiteY0"/>
                    </a:cxn>
                    <a:cxn ang="0">
                      <a:pos x="connsiteX1" y="connsiteY1"/>
                    </a:cxn>
                    <a:cxn ang="0">
                      <a:pos x="connsiteX2" y="connsiteY2"/>
                    </a:cxn>
                    <a:cxn ang="0">
                      <a:pos x="connsiteX3" y="connsiteY3"/>
                    </a:cxn>
                  </a:cxnLst>
                  <a:rect l="l" t="t" r="r" b="b"/>
                  <a:pathLst>
                    <a:path w="7971" h="51566">
                      <a:moveTo>
                        <a:pt x="7971" y="0"/>
                      </a:moveTo>
                      <a:cubicBezTo>
                        <a:pt x="4359" y="7598"/>
                        <a:pt x="3487" y="13826"/>
                        <a:pt x="3363" y="18185"/>
                      </a:cubicBezTo>
                      <a:cubicBezTo>
                        <a:pt x="3114" y="25161"/>
                        <a:pt x="4857" y="28523"/>
                        <a:pt x="4359" y="35623"/>
                      </a:cubicBezTo>
                      <a:cubicBezTo>
                        <a:pt x="3861" y="42474"/>
                        <a:pt x="1743"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4" name="Freeform 5351">
                  <a:extLst>
                    <a:ext uri="{FF2B5EF4-FFF2-40B4-BE49-F238E27FC236}">
                      <a16:creationId xmlns:a16="http://schemas.microsoft.com/office/drawing/2014/main" id="{14537C83-CB19-981B-A197-91884C92F8E1}"/>
                    </a:ext>
                  </a:extLst>
                </p:cNvPr>
                <p:cNvSpPr/>
                <p:nvPr/>
              </p:nvSpPr>
              <p:spPr>
                <a:xfrm>
                  <a:off x="9706234" y="5655491"/>
                  <a:ext cx="8060" cy="51816"/>
                </a:xfrm>
                <a:custGeom>
                  <a:avLst/>
                  <a:gdLst>
                    <a:gd name="connsiteX0" fmla="*/ 670 w 8060"/>
                    <a:gd name="connsiteY0" fmla="*/ 51816 h 51816"/>
                    <a:gd name="connsiteX1" fmla="*/ 1293 w 8060"/>
                    <a:gd name="connsiteY1" fmla="*/ 33008 h 51816"/>
                    <a:gd name="connsiteX2" fmla="*/ 7147 w 8060"/>
                    <a:gd name="connsiteY2" fmla="*/ 16566 h 51816"/>
                    <a:gd name="connsiteX3" fmla="*/ 7272 w 8060"/>
                    <a:gd name="connsiteY3" fmla="*/ 0 h 51816"/>
                  </a:gdLst>
                  <a:ahLst/>
                  <a:cxnLst>
                    <a:cxn ang="0">
                      <a:pos x="connsiteX0" y="connsiteY0"/>
                    </a:cxn>
                    <a:cxn ang="0">
                      <a:pos x="connsiteX1" y="connsiteY1"/>
                    </a:cxn>
                    <a:cxn ang="0">
                      <a:pos x="connsiteX2" y="connsiteY2"/>
                    </a:cxn>
                    <a:cxn ang="0">
                      <a:pos x="connsiteX3" y="connsiteY3"/>
                    </a:cxn>
                  </a:cxnLst>
                  <a:rect l="l" t="t" r="r" b="b"/>
                  <a:pathLst>
                    <a:path w="8060" h="51816">
                      <a:moveTo>
                        <a:pt x="670" y="51816"/>
                      </a:moveTo>
                      <a:cubicBezTo>
                        <a:pt x="-700" y="43471"/>
                        <a:pt x="297" y="37243"/>
                        <a:pt x="1293" y="33008"/>
                      </a:cubicBezTo>
                      <a:cubicBezTo>
                        <a:pt x="3037" y="26282"/>
                        <a:pt x="5528" y="23542"/>
                        <a:pt x="7147" y="16566"/>
                      </a:cubicBezTo>
                      <a:cubicBezTo>
                        <a:pt x="8642" y="9840"/>
                        <a:pt x="8019" y="3986"/>
                        <a:pt x="72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5" name="Freeform 5352">
                  <a:extLst>
                    <a:ext uri="{FF2B5EF4-FFF2-40B4-BE49-F238E27FC236}">
                      <a16:creationId xmlns:a16="http://schemas.microsoft.com/office/drawing/2014/main" id="{FD078A5B-263C-87C7-7052-EDA39EFE8D46}"/>
                    </a:ext>
                  </a:extLst>
                </p:cNvPr>
                <p:cNvSpPr/>
                <p:nvPr/>
              </p:nvSpPr>
              <p:spPr>
                <a:xfrm>
                  <a:off x="9697064" y="5639794"/>
                  <a:ext cx="26657" cy="26535"/>
                </a:xfrm>
                <a:custGeom>
                  <a:avLst/>
                  <a:gdLst>
                    <a:gd name="connsiteX0" fmla="*/ 26530 w 26657"/>
                    <a:gd name="connsiteY0" fmla="*/ 15198 h 26535"/>
                    <a:gd name="connsiteX1" fmla="*/ 11459 w 26657"/>
                    <a:gd name="connsiteY1" fmla="*/ 26409 h 26535"/>
                    <a:gd name="connsiteX2" fmla="*/ 124 w 26657"/>
                    <a:gd name="connsiteY2" fmla="*/ 11337 h 26535"/>
                    <a:gd name="connsiteX3" fmla="*/ 15195 w 26657"/>
                    <a:gd name="connsiteY3" fmla="*/ 127 h 26535"/>
                    <a:gd name="connsiteX4" fmla="*/ 26530 w 26657"/>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56" h="26535">
                      <a:moveTo>
                        <a:pt x="26530" y="15198"/>
                      </a:moveTo>
                      <a:cubicBezTo>
                        <a:pt x="25534" y="22423"/>
                        <a:pt x="18808" y="27405"/>
                        <a:pt x="11459" y="26409"/>
                      </a:cubicBezTo>
                      <a:cubicBezTo>
                        <a:pt x="4234" y="25412"/>
                        <a:pt x="-872" y="18561"/>
                        <a:pt x="124" y="11337"/>
                      </a:cubicBezTo>
                      <a:cubicBezTo>
                        <a:pt x="1120" y="4113"/>
                        <a:pt x="7847" y="-870"/>
                        <a:pt x="15195" y="127"/>
                      </a:cubicBezTo>
                      <a:cubicBezTo>
                        <a:pt x="22545" y="1248"/>
                        <a:pt x="27526" y="7974"/>
                        <a:pt x="26530"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6" name="Freeform 5353">
                  <a:extLst>
                    <a:ext uri="{FF2B5EF4-FFF2-40B4-BE49-F238E27FC236}">
                      <a16:creationId xmlns:a16="http://schemas.microsoft.com/office/drawing/2014/main" id="{CB28FBF8-866E-A6E2-A37C-BE641F4A791C}"/>
                    </a:ext>
                  </a:extLst>
                </p:cNvPr>
                <p:cNvSpPr/>
                <p:nvPr/>
              </p:nvSpPr>
              <p:spPr>
                <a:xfrm>
                  <a:off x="9697811" y="5716275"/>
                  <a:ext cx="8095" cy="51566"/>
                </a:xfrm>
                <a:custGeom>
                  <a:avLst/>
                  <a:gdLst>
                    <a:gd name="connsiteX0" fmla="*/ 0 w 8095"/>
                    <a:gd name="connsiteY0" fmla="*/ 51567 h 51566"/>
                    <a:gd name="connsiteX1" fmla="*/ 4609 w 8095"/>
                    <a:gd name="connsiteY1" fmla="*/ 33381 h 51566"/>
                    <a:gd name="connsiteX2" fmla="*/ 3612 w 8095"/>
                    <a:gd name="connsiteY2" fmla="*/ 15943 h 51566"/>
                    <a:gd name="connsiteX3" fmla="*/ 8096 w 8095"/>
                    <a:gd name="connsiteY3" fmla="*/ 0 h 51566"/>
                  </a:gdLst>
                  <a:ahLst/>
                  <a:cxnLst>
                    <a:cxn ang="0">
                      <a:pos x="connsiteX0" y="connsiteY0"/>
                    </a:cxn>
                    <a:cxn ang="0">
                      <a:pos x="connsiteX1" y="connsiteY1"/>
                    </a:cxn>
                    <a:cxn ang="0">
                      <a:pos x="connsiteX2" y="connsiteY2"/>
                    </a:cxn>
                    <a:cxn ang="0">
                      <a:pos x="connsiteX3" y="connsiteY3"/>
                    </a:cxn>
                  </a:cxnLst>
                  <a:rect l="l" t="t" r="r" b="b"/>
                  <a:pathLst>
                    <a:path w="8095" h="51566">
                      <a:moveTo>
                        <a:pt x="0" y="51567"/>
                      </a:moveTo>
                      <a:cubicBezTo>
                        <a:pt x="3612" y="43969"/>
                        <a:pt x="4484" y="37741"/>
                        <a:pt x="4609" y="33381"/>
                      </a:cubicBezTo>
                      <a:cubicBezTo>
                        <a:pt x="4857" y="26406"/>
                        <a:pt x="3114" y="23043"/>
                        <a:pt x="3612" y="15943"/>
                      </a:cubicBezTo>
                      <a:cubicBezTo>
                        <a:pt x="4110" y="9093"/>
                        <a:pt x="6228" y="3612"/>
                        <a:pt x="80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7" name="Freeform 5354">
                  <a:extLst>
                    <a:ext uri="{FF2B5EF4-FFF2-40B4-BE49-F238E27FC236}">
                      <a16:creationId xmlns:a16="http://schemas.microsoft.com/office/drawing/2014/main" id="{C0C276C0-664E-9BAF-B7E3-08A0B6F373FC}"/>
                    </a:ext>
                  </a:extLst>
                </p:cNvPr>
                <p:cNvSpPr/>
                <p:nvPr/>
              </p:nvSpPr>
              <p:spPr>
                <a:xfrm>
                  <a:off x="9689549" y="5720011"/>
                  <a:ext cx="7936" cy="51816"/>
                </a:xfrm>
                <a:custGeom>
                  <a:avLst/>
                  <a:gdLst>
                    <a:gd name="connsiteX0" fmla="*/ 7266 w 7936"/>
                    <a:gd name="connsiteY0" fmla="*/ 0 h 51816"/>
                    <a:gd name="connsiteX1" fmla="*/ 6643 w 7936"/>
                    <a:gd name="connsiteY1" fmla="*/ 18808 h 51816"/>
                    <a:gd name="connsiteX2" fmla="*/ 913 w 7936"/>
                    <a:gd name="connsiteY2" fmla="*/ 35250 h 51816"/>
                    <a:gd name="connsiteX3" fmla="*/ 788 w 7936"/>
                    <a:gd name="connsiteY3" fmla="*/ 51816 h 51816"/>
                  </a:gdLst>
                  <a:ahLst/>
                  <a:cxnLst>
                    <a:cxn ang="0">
                      <a:pos x="connsiteX0" y="connsiteY0"/>
                    </a:cxn>
                    <a:cxn ang="0">
                      <a:pos x="connsiteX1" y="connsiteY1"/>
                    </a:cxn>
                    <a:cxn ang="0">
                      <a:pos x="connsiteX2" y="connsiteY2"/>
                    </a:cxn>
                    <a:cxn ang="0">
                      <a:pos x="connsiteX3" y="connsiteY3"/>
                    </a:cxn>
                  </a:cxnLst>
                  <a:rect l="l" t="t" r="r" b="b"/>
                  <a:pathLst>
                    <a:path w="7936" h="51816">
                      <a:moveTo>
                        <a:pt x="7266" y="0"/>
                      </a:moveTo>
                      <a:cubicBezTo>
                        <a:pt x="8636" y="8346"/>
                        <a:pt x="7640" y="14573"/>
                        <a:pt x="6643" y="18808"/>
                      </a:cubicBezTo>
                      <a:cubicBezTo>
                        <a:pt x="4899" y="25535"/>
                        <a:pt x="2408" y="28275"/>
                        <a:pt x="913" y="35250"/>
                      </a:cubicBezTo>
                      <a:cubicBezTo>
                        <a:pt x="-582" y="41976"/>
                        <a:pt x="41" y="47830"/>
                        <a:pt x="788" y="5181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8" name="Freeform 5355">
                  <a:extLst>
                    <a:ext uri="{FF2B5EF4-FFF2-40B4-BE49-F238E27FC236}">
                      <a16:creationId xmlns:a16="http://schemas.microsoft.com/office/drawing/2014/main" id="{1FA255C6-4552-CE35-19DB-1E8BC2CD8F88}"/>
                    </a:ext>
                  </a:extLst>
                </p:cNvPr>
                <p:cNvSpPr/>
                <p:nvPr/>
              </p:nvSpPr>
              <p:spPr>
                <a:xfrm>
                  <a:off x="9680122" y="5761086"/>
                  <a:ext cx="26192" cy="26590"/>
                </a:xfrm>
                <a:custGeom>
                  <a:avLst/>
                  <a:gdLst>
                    <a:gd name="connsiteX0" fmla="*/ 127 w 26192"/>
                    <a:gd name="connsiteY0" fmla="*/ 11365 h 26590"/>
                    <a:gd name="connsiteX1" fmla="*/ 14949 w 26192"/>
                    <a:gd name="connsiteY1" fmla="*/ 154 h 26590"/>
                    <a:gd name="connsiteX2" fmla="*/ 26035 w 26192"/>
                    <a:gd name="connsiteY2" fmla="*/ 15226 h 26590"/>
                    <a:gd name="connsiteX3" fmla="*/ 11213 w 26192"/>
                    <a:gd name="connsiteY3" fmla="*/ 26436 h 26590"/>
                    <a:gd name="connsiteX4" fmla="*/ 127 w 26192"/>
                    <a:gd name="connsiteY4" fmla="*/ 11365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1" h="26590">
                      <a:moveTo>
                        <a:pt x="127" y="11365"/>
                      </a:moveTo>
                      <a:cubicBezTo>
                        <a:pt x="1123" y="4140"/>
                        <a:pt x="7849" y="-967"/>
                        <a:pt x="14949" y="154"/>
                      </a:cubicBezTo>
                      <a:cubicBezTo>
                        <a:pt x="22174" y="1151"/>
                        <a:pt x="27156" y="7877"/>
                        <a:pt x="26035" y="15226"/>
                      </a:cubicBezTo>
                      <a:cubicBezTo>
                        <a:pt x="25038" y="22450"/>
                        <a:pt x="18312" y="27557"/>
                        <a:pt x="11213" y="26436"/>
                      </a:cubicBezTo>
                      <a:cubicBezTo>
                        <a:pt x="4113" y="25315"/>
                        <a:pt x="-869" y="18589"/>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7" name="Graphic 2987">
                <a:extLst>
                  <a:ext uri="{FF2B5EF4-FFF2-40B4-BE49-F238E27FC236}">
                    <a16:creationId xmlns:a16="http://schemas.microsoft.com/office/drawing/2014/main" id="{0C2904D4-32B0-1E3F-4079-01AC6740F98A}"/>
                  </a:ext>
                </a:extLst>
              </p:cNvPr>
              <p:cNvGrpSpPr/>
              <p:nvPr/>
            </p:nvGrpSpPr>
            <p:grpSpPr>
              <a:xfrm>
                <a:off x="9709143" y="5644029"/>
                <a:ext cx="44122" cy="147633"/>
                <a:chOff x="9709143" y="5644029"/>
                <a:chExt cx="44122" cy="147633"/>
              </a:xfrm>
              <a:grpFill/>
            </p:grpSpPr>
            <p:sp>
              <p:nvSpPr>
                <p:cNvPr id="4217" name="Freeform 5357">
                  <a:extLst>
                    <a:ext uri="{FF2B5EF4-FFF2-40B4-BE49-F238E27FC236}">
                      <a16:creationId xmlns:a16="http://schemas.microsoft.com/office/drawing/2014/main" id="{AAE63616-6DD8-48B1-FABC-C668EE9319AC}"/>
                    </a:ext>
                  </a:extLst>
                </p:cNvPr>
                <p:cNvSpPr/>
                <p:nvPr/>
              </p:nvSpPr>
              <p:spPr>
                <a:xfrm>
                  <a:off x="9727207" y="5663836"/>
                  <a:ext cx="8096" cy="51566"/>
                </a:xfrm>
                <a:custGeom>
                  <a:avLst/>
                  <a:gdLst>
                    <a:gd name="connsiteX0" fmla="*/ 8097 w 8096"/>
                    <a:gd name="connsiteY0" fmla="*/ 0 h 51566"/>
                    <a:gd name="connsiteX1" fmla="*/ 3487 w 8096"/>
                    <a:gd name="connsiteY1" fmla="*/ 18185 h 51566"/>
                    <a:gd name="connsiteX2" fmla="*/ 4484 w 8096"/>
                    <a:gd name="connsiteY2" fmla="*/ 35623 h 51566"/>
                    <a:gd name="connsiteX3" fmla="*/ 0 w 8096"/>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096" h="51566">
                      <a:moveTo>
                        <a:pt x="8097" y="0"/>
                      </a:moveTo>
                      <a:cubicBezTo>
                        <a:pt x="4484" y="7598"/>
                        <a:pt x="3612" y="13826"/>
                        <a:pt x="3487" y="18185"/>
                      </a:cubicBezTo>
                      <a:cubicBezTo>
                        <a:pt x="3239" y="25161"/>
                        <a:pt x="4983" y="28523"/>
                        <a:pt x="4484" y="35623"/>
                      </a:cubicBezTo>
                      <a:cubicBezTo>
                        <a:pt x="3986" y="42474"/>
                        <a:pt x="1744" y="47954"/>
                        <a:pt x="0"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8" name="Freeform 5358">
                  <a:extLst>
                    <a:ext uri="{FF2B5EF4-FFF2-40B4-BE49-F238E27FC236}">
                      <a16:creationId xmlns:a16="http://schemas.microsoft.com/office/drawing/2014/main" id="{ABE216C9-EBDB-EC03-2580-53B33B63E50D}"/>
                    </a:ext>
                  </a:extLst>
                </p:cNvPr>
                <p:cNvSpPr/>
                <p:nvPr/>
              </p:nvSpPr>
              <p:spPr>
                <a:xfrm>
                  <a:off x="9735565" y="5659850"/>
                  <a:ext cx="8136" cy="51691"/>
                </a:xfrm>
                <a:custGeom>
                  <a:avLst/>
                  <a:gdLst>
                    <a:gd name="connsiteX0" fmla="*/ 610 w 8136"/>
                    <a:gd name="connsiteY0" fmla="*/ 51691 h 51691"/>
                    <a:gd name="connsiteX1" fmla="*/ 1357 w 8136"/>
                    <a:gd name="connsiteY1" fmla="*/ 32883 h 51691"/>
                    <a:gd name="connsiteX2" fmla="*/ 7212 w 8136"/>
                    <a:gd name="connsiteY2" fmla="*/ 16442 h 51691"/>
                    <a:gd name="connsiteX3" fmla="*/ 7461 w 8136"/>
                    <a:gd name="connsiteY3" fmla="*/ 0 h 51691"/>
                  </a:gdLst>
                  <a:ahLst/>
                  <a:cxnLst>
                    <a:cxn ang="0">
                      <a:pos x="connsiteX0" y="connsiteY0"/>
                    </a:cxn>
                    <a:cxn ang="0">
                      <a:pos x="connsiteX1" y="connsiteY1"/>
                    </a:cxn>
                    <a:cxn ang="0">
                      <a:pos x="connsiteX2" y="connsiteY2"/>
                    </a:cxn>
                    <a:cxn ang="0">
                      <a:pos x="connsiteX3" y="connsiteY3"/>
                    </a:cxn>
                  </a:cxnLst>
                  <a:rect l="l" t="t" r="r" b="b"/>
                  <a:pathLst>
                    <a:path w="8136" h="51690">
                      <a:moveTo>
                        <a:pt x="610" y="51691"/>
                      </a:moveTo>
                      <a:cubicBezTo>
                        <a:pt x="-636" y="43346"/>
                        <a:pt x="236" y="37118"/>
                        <a:pt x="1357" y="32883"/>
                      </a:cubicBezTo>
                      <a:cubicBezTo>
                        <a:pt x="3101" y="26157"/>
                        <a:pt x="5717" y="23417"/>
                        <a:pt x="7212" y="16442"/>
                      </a:cubicBezTo>
                      <a:cubicBezTo>
                        <a:pt x="8706" y="9715"/>
                        <a:pt x="8084" y="3861"/>
                        <a:pt x="74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9" name="Freeform 5359">
                  <a:extLst>
                    <a:ext uri="{FF2B5EF4-FFF2-40B4-BE49-F238E27FC236}">
                      <a16:creationId xmlns:a16="http://schemas.microsoft.com/office/drawing/2014/main" id="{52BE32DE-CFBF-E16C-3B5A-DD809FB2F265}"/>
                    </a:ext>
                  </a:extLst>
                </p:cNvPr>
                <p:cNvSpPr/>
                <p:nvPr/>
              </p:nvSpPr>
              <p:spPr>
                <a:xfrm>
                  <a:off x="9726584" y="5644029"/>
                  <a:ext cx="26681" cy="26535"/>
                </a:xfrm>
                <a:custGeom>
                  <a:avLst/>
                  <a:gdLst>
                    <a:gd name="connsiteX0" fmla="*/ 26530 w 26681"/>
                    <a:gd name="connsiteY0" fmla="*/ 15199 h 26535"/>
                    <a:gd name="connsiteX1" fmla="*/ 11459 w 26681"/>
                    <a:gd name="connsiteY1" fmla="*/ 26409 h 26535"/>
                    <a:gd name="connsiteX2" fmla="*/ 124 w 26681"/>
                    <a:gd name="connsiteY2" fmla="*/ 11337 h 26535"/>
                    <a:gd name="connsiteX3" fmla="*/ 15195 w 26681"/>
                    <a:gd name="connsiteY3" fmla="*/ 127 h 26535"/>
                    <a:gd name="connsiteX4" fmla="*/ 26530 w 26681"/>
                    <a:gd name="connsiteY4" fmla="*/ 15199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35">
                      <a:moveTo>
                        <a:pt x="26530" y="15199"/>
                      </a:moveTo>
                      <a:cubicBezTo>
                        <a:pt x="25409" y="22423"/>
                        <a:pt x="18683" y="27405"/>
                        <a:pt x="11459" y="26409"/>
                      </a:cubicBezTo>
                      <a:cubicBezTo>
                        <a:pt x="4234" y="25412"/>
                        <a:pt x="-872" y="18561"/>
                        <a:pt x="124" y="11337"/>
                      </a:cubicBezTo>
                      <a:cubicBezTo>
                        <a:pt x="1120" y="4113"/>
                        <a:pt x="7972" y="-870"/>
                        <a:pt x="15195" y="127"/>
                      </a:cubicBezTo>
                      <a:cubicBezTo>
                        <a:pt x="22420" y="1123"/>
                        <a:pt x="27651" y="7974"/>
                        <a:pt x="26530" y="151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0" name="Freeform 5360">
                  <a:extLst>
                    <a:ext uri="{FF2B5EF4-FFF2-40B4-BE49-F238E27FC236}">
                      <a16:creationId xmlns:a16="http://schemas.microsoft.com/office/drawing/2014/main" id="{736D61A3-F19C-824E-AFF6-EBC14B92D8FE}"/>
                    </a:ext>
                  </a:extLst>
                </p:cNvPr>
                <p:cNvSpPr/>
                <p:nvPr/>
              </p:nvSpPr>
              <p:spPr>
                <a:xfrm>
                  <a:off x="9726957" y="5720385"/>
                  <a:ext cx="8221" cy="51567"/>
                </a:xfrm>
                <a:custGeom>
                  <a:avLst/>
                  <a:gdLst>
                    <a:gd name="connsiteX0" fmla="*/ 0 w 8221"/>
                    <a:gd name="connsiteY0" fmla="*/ 51567 h 51567"/>
                    <a:gd name="connsiteX1" fmla="*/ 4609 w 8221"/>
                    <a:gd name="connsiteY1" fmla="*/ 33382 h 51567"/>
                    <a:gd name="connsiteX2" fmla="*/ 3737 w 8221"/>
                    <a:gd name="connsiteY2" fmla="*/ 15943 h 51567"/>
                    <a:gd name="connsiteX3" fmla="*/ 8221 w 8221"/>
                    <a:gd name="connsiteY3" fmla="*/ 0 h 51567"/>
                  </a:gdLst>
                  <a:ahLst/>
                  <a:cxnLst>
                    <a:cxn ang="0">
                      <a:pos x="connsiteX0" y="connsiteY0"/>
                    </a:cxn>
                    <a:cxn ang="0">
                      <a:pos x="connsiteX1" y="connsiteY1"/>
                    </a:cxn>
                    <a:cxn ang="0">
                      <a:pos x="connsiteX2" y="connsiteY2"/>
                    </a:cxn>
                    <a:cxn ang="0">
                      <a:pos x="connsiteX3" y="connsiteY3"/>
                    </a:cxn>
                  </a:cxnLst>
                  <a:rect l="l" t="t" r="r" b="b"/>
                  <a:pathLst>
                    <a:path w="8221" h="51567">
                      <a:moveTo>
                        <a:pt x="0" y="51567"/>
                      </a:moveTo>
                      <a:cubicBezTo>
                        <a:pt x="3613" y="43969"/>
                        <a:pt x="4485" y="37741"/>
                        <a:pt x="4609" y="33382"/>
                      </a:cubicBezTo>
                      <a:cubicBezTo>
                        <a:pt x="4858" y="26407"/>
                        <a:pt x="3239" y="23043"/>
                        <a:pt x="3737" y="15943"/>
                      </a:cubicBezTo>
                      <a:cubicBezTo>
                        <a:pt x="4235" y="9093"/>
                        <a:pt x="6477" y="3612"/>
                        <a:pt x="82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1" name="Freeform 5361">
                  <a:extLst>
                    <a:ext uri="{FF2B5EF4-FFF2-40B4-BE49-F238E27FC236}">
                      <a16:creationId xmlns:a16="http://schemas.microsoft.com/office/drawing/2014/main" id="{5D04425A-35B1-4C0B-C262-1B55D8E12A61}"/>
                    </a:ext>
                  </a:extLst>
                </p:cNvPr>
                <p:cNvSpPr/>
                <p:nvPr/>
              </p:nvSpPr>
              <p:spPr>
                <a:xfrm>
                  <a:off x="9718560" y="5724246"/>
                  <a:ext cx="8135" cy="51691"/>
                </a:xfrm>
                <a:custGeom>
                  <a:avLst/>
                  <a:gdLst>
                    <a:gd name="connsiteX0" fmla="*/ 7526 w 8135"/>
                    <a:gd name="connsiteY0" fmla="*/ 0 h 51691"/>
                    <a:gd name="connsiteX1" fmla="*/ 6779 w 8135"/>
                    <a:gd name="connsiteY1" fmla="*/ 18808 h 51691"/>
                    <a:gd name="connsiteX2" fmla="*/ 925 w 8135"/>
                    <a:gd name="connsiteY2" fmla="*/ 35250 h 51691"/>
                    <a:gd name="connsiteX3" fmla="*/ 675 w 8135"/>
                    <a:gd name="connsiteY3" fmla="*/ 51692 h 51691"/>
                  </a:gdLst>
                  <a:ahLst/>
                  <a:cxnLst>
                    <a:cxn ang="0">
                      <a:pos x="connsiteX0" y="connsiteY0"/>
                    </a:cxn>
                    <a:cxn ang="0">
                      <a:pos x="connsiteX1" y="connsiteY1"/>
                    </a:cxn>
                    <a:cxn ang="0">
                      <a:pos x="connsiteX2" y="connsiteY2"/>
                    </a:cxn>
                    <a:cxn ang="0">
                      <a:pos x="connsiteX3" y="connsiteY3"/>
                    </a:cxn>
                  </a:cxnLst>
                  <a:rect l="l" t="t" r="r" b="b"/>
                  <a:pathLst>
                    <a:path w="8135" h="51690">
                      <a:moveTo>
                        <a:pt x="7526" y="0"/>
                      </a:moveTo>
                      <a:cubicBezTo>
                        <a:pt x="8772" y="8346"/>
                        <a:pt x="7900" y="14573"/>
                        <a:pt x="6779" y="18808"/>
                      </a:cubicBezTo>
                      <a:cubicBezTo>
                        <a:pt x="5035" y="25535"/>
                        <a:pt x="2419" y="28275"/>
                        <a:pt x="925" y="35250"/>
                      </a:cubicBezTo>
                      <a:cubicBezTo>
                        <a:pt x="-570" y="41976"/>
                        <a:pt x="53" y="47830"/>
                        <a:pt x="675" y="5169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22" name="Freeform 5362">
                  <a:extLst>
                    <a:ext uri="{FF2B5EF4-FFF2-40B4-BE49-F238E27FC236}">
                      <a16:creationId xmlns:a16="http://schemas.microsoft.com/office/drawing/2014/main" id="{197ACA24-730C-A405-AF3A-CD2B5E063400}"/>
                    </a:ext>
                  </a:extLst>
                </p:cNvPr>
                <p:cNvSpPr/>
                <p:nvPr/>
              </p:nvSpPr>
              <p:spPr>
                <a:xfrm>
                  <a:off x="9709143" y="5765196"/>
                  <a:ext cx="26317" cy="26466"/>
                </a:xfrm>
                <a:custGeom>
                  <a:avLst/>
                  <a:gdLst>
                    <a:gd name="connsiteX0" fmla="*/ 127 w 26317"/>
                    <a:gd name="connsiteY0" fmla="*/ 11365 h 26466"/>
                    <a:gd name="connsiteX1" fmla="*/ 15074 w 26317"/>
                    <a:gd name="connsiteY1" fmla="*/ 154 h 26466"/>
                    <a:gd name="connsiteX2" fmla="*/ 26160 w 26317"/>
                    <a:gd name="connsiteY2" fmla="*/ 15101 h 26466"/>
                    <a:gd name="connsiteX3" fmla="*/ 11213 w 26317"/>
                    <a:gd name="connsiteY3" fmla="*/ 26312 h 26466"/>
                    <a:gd name="connsiteX4" fmla="*/ 127 w 26317"/>
                    <a:gd name="connsiteY4" fmla="*/ 11365 h 2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66">
                      <a:moveTo>
                        <a:pt x="127" y="11365"/>
                      </a:moveTo>
                      <a:cubicBezTo>
                        <a:pt x="1124" y="4140"/>
                        <a:pt x="7849" y="-967"/>
                        <a:pt x="15074" y="154"/>
                      </a:cubicBezTo>
                      <a:cubicBezTo>
                        <a:pt x="22299" y="1151"/>
                        <a:pt x="27280" y="7877"/>
                        <a:pt x="26160" y="15101"/>
                      </a:cubicBezTo>
                      <a:cubicBezTo>
                        <a:pt x="25038" y="22326"/>
                        <a:pt x="18437" y="27433"/>
                        <a:pt x="11213" y="26312"/>
                      </a:cubicBezTo>
                      <a:cubicBezTo>
                        <a:pt x="4113" y="25315"/>
                        <a:pt x="-870" y="18713"/>
                        <a:pt x="127" y="1136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8" name="Graphic 2987">
                <a:extLst>
                  <a:ext uri="{FF2B5EF4-FFF2-40B4-BE49-F238E27FC236}">
                    <a16:creationId xmlns:a16="http://schemas.microsoft.com/office/drawing/2014/main" id="{EE1AC9D5-A953-D643-03BD-E8AD3E415932}"/>
                  </a:ext>
                </a:extLst>
              </p:cNvPr>
              <p:cNvGrpSpPr/>
              <p:nvPr/>
            </p:nvGrpSpPr>
            <p:grpSpPr>
              <a:xfrm>
                <a:off x="9738260" y="5648389"/>
                <a:ext cx="44529" cy="147480"/>
                <a:chOff x="9738260" y="5648389"/>
                <a:chExt cx="44529" cy="147480"/>
              </a:xfrm>
              <a:grpFill/>
            </p:grpSpPr>
            <p:sp>
              <p:nvSpPr>
                <p:cNvPr id="4211" name="Freeform 5364">
                  <a:extLst>
                    <a:ext uri="{FF2B5EF4-FFF2-40B4-BE49-F238E27FC236}">
                      <a16:creationId xmlns:a16="http://schemas.microsoft.com/office/drawing/2014/main" id="{9BFBCA24-8FBD-90CB-B93B-7CB0726631DB}"/>
                    </a:ext>
                  </a:extLst>
                </p:cNvPr>
                <p:cNvSpPr/>
                <p:nvPr/>
              </p:nvSpPr>
              <p:spPr>
                <a:xfrm>
                  <a:off x="9756478" y="5668071"/>
                  <a:ext cx="8345" cy="51442"/>
                </a:xfrm>
                <a:custGeom>
                  <a:avLst/>
                  <a:gdLst>
                    <a:gd name="connsiteX0" fmla="*/ 8346 w 8345"/>
                    <a:gd name="connsiteY0" fmla="*/ 0 h 51442"/>
                    <a:gd name="connsiteX1" fmla="*/ 3613 w 8345"/>
                    <a:gd name="connsiteY1" fmla="*/ 18185 h 51442"/>
                    <a:gd name="connsiteX2" fmla="*/ 4485 w 8345"/>
                    <a:gd name="connsiteY2" fmla="*/ 35623 h 51442"/>
                    <a:gd name="connsiteX3" fmla="*/ 0 w 8345"/>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345" h="51442">
                      <a:moveTo>
                        <a:pt x="8346" y="0"/>
                      </a:moveTo>
                      <a:cubicBezTo>
                        <a:pt x="4733" y="7598"/>
                        <a:pt x="3737" y="13826"/>
                        <a:pt x="3613" y="18185"/>
                      </a:cubicBezTo>
                      <a:cubicBezTo>
                        <a:pt x="3363" y="25161"/>
                        <a:pt x="4983" y="28524"/>
                        <a:pt x="4485"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2" name="Freeform 5365">
                  <a:extLst>
                    <a:ext uri="{FF2B5EF4-FFF2-40B4-BE49-F238E27FC236}">
                      <a16:creationId xmlns:a16="http://schemas.microsoft.com/office/drawing/2014/main" id="{F47CC73F-CEAE-4924-B53F-11BC6B47062A}"/>
                    </a:ext>
                  </a:extLst>
                </p:cNvPr>
                <p:cNvSpPr/>
                <p:nvPr/>
              </p:nvSpPr>
              <p:spPr>
                <a:xfrm>
                  <a:off x="9764836" y="5664085"/>
                  <a:ext cx="8303" cy="51691"/>
                </a:xfrm>
                <a:custGeom>
                  <a:avLst/>
                  <a:gdLst>
                    <a:gd name="connsiteX0" fmla="*/ 610 w 8303"/>
                    <a:gd name="connsiteY0" fmla="*/ 51691 h 51691"/>
                    <a:gd name="connsiteX1" fmla="*/ 1357 w 8303"/>
                    <a:gd name="connsiteY1" fmla="*/ 32883 h 51691"/>
                    <a:gd name="connsiteX2" fmla="*/ 7336 w 8303"/>
                    <a:gd name="connsiteY2" fmla="*/ 16442 h 51691"/>
                    <a:gd name="connsiteX3" fmla="*/ 7585 w 8303"/>
                    <a:gd name="connsiteY3" fmla="*/ 0 h 51691"/>
                  </a:gdLst>
                  <a:ahLst/>
                  <a:cxnLst>
                    <a:cxn ang="0">
                      <a:pos x="connsiteX0" y="connsiteY0"/>
                    </a:cxn>
                    <a:cxn ang="0">
                      <a:pos x="connsiteX1" y="connsiteY1"/>
                    </a:cxn>
                    <a:cxn ang="0">
                      <a:pos x="connsiteX2" y="connsiteY2"/>
                    </a:cxn>
                    <a:cxn ang="0">
                      <a:pos x="connsiteX3" y="connsiteY3"/>
                    </a:cxn>
                  </a:cxnLst>
                  <a:rect l="l" t="t" r="r" b="b"/>
                  <a:pathLst>
                    <a:path w="8303" h="51690">
                      <a:moveTo>
                        <a:pt x="610" y="51691"/>
                      </a:moveTo>
                      <a:cubicBezTo>
                        <a:pt x="-636" y="43346"/>
                        <a:pt x="236" y="37118"/>
                        <a:pt x="1357" y="32883"/>
                      </a:cubicBezTo>
                      <a:cubicBezTo>
                        <a:pt x="3101" y="26157"/>
                        <a:pt x="5717" y="23417"/>
                        <a:pt x="7336" y="16442"/>
                      </a:cubicBezTo>
                      <a:cubicBezTo>
                        <a:pt x="8831" y="9715"/>
                        <a:pt x="8333" y="3861"/>
                        <a:pt x="758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3" name="Freeform 5366">
                  <a:extLst>
                    <a:ext uri="{FF2B5EF4-FFF2-40B4-BE49-F238E27FC236}">
                      <a16:creationId xmlns:a16="http://schemas.microsoft.com/office/drawing/2014/main" id="{FC9DE486-CA5F-51AE-ECFC-3EE16F2AC261}"/>
                    </a:ext>
                  </a:extLst>
                </p:cNvPr>
                <p:cNvSpPr/>
                <p:nvPr/>
              </p:nvSpPr>
              <p:spPr>
                <a:xfrm>
                  <a:off x="9756074" y="5648389"/>
                  <a:ext cx="26715" cy="26535"/>
                </a:xfrm>
                <a:custGeom>
                  <a:avLst/>
                  <a:gdLst>
                    <a:gd name="connsiteX0" fmla="*/ 26561 w 26715"/>
                    <a:gd name="connsiteY0" fmla="*/ 15198 h 26535"/>
                    <a:gd name="connsiteX1" fmla="*/ 11364 w 26715"/>
                    <a:gd name="connsiteY1" fmla="*/ 26409 h 26535"/>
                    <a:gd name="connsiteX2" fmla="*/ 155 w 26715"/>
                    <a:gd name="connsiteY2" fmla="*/ 11337 h 26535"/>
                    <a:gd name="connsiteX3" fmla="*/ 15350 w 26715"/>
                    <a:gd name="connsiteY3" fmla="*/ 127 h 26535"/>
                    <a:gd name="connsiteX4" fmla="*/ 26561 w 26715"/>
                    <a:gd name="connsiteY4" fmla="*/ 15198 h 2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5" h="26535">
                      <a:moveTo>
                        <a:pt x="26561" y="15198"/>
                      </a:moveTo>
                      <a:cubicBezTo>
                        <a:pt x="25439" y="22423"/>
                        <a:pt x="18714" y="27405"/>
                        <a:pt x="11364" y="26409"/>
                      </a:cubicBezTo>
                      <a:cubicBezTo>
                        <a:pt x="4140" y="25412"/>
                        <a:pt x="-967" y="18686"/>
                        <a:pt x="155" y="11337"/>
                      </a:cubicBezTo>
                      <a:cubicBezTo>
                        <a:pt x="1275" y="4113"/>
                        <a:pt x="8002" y="-870"/>
                        <a:pt x="15350" y="127"/>
                      </a:cubicBezTo>
                      <a:cubicBezTo>
                        <a:pt x="22575" y="1248"/>
                        <a:pt x="27681" y="7974"/>
                        <a:pt x="26561" y="1519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4" name="Freeform 5367">
                  <a:extLst>
                    <a:ext uri="{FF2B5EF4-FFF2-40B4-BE49-F238E27FC236}">
                      <a16:creationId xmlns:a16="http://schemas.microsoft.com/office/drawing/2014/main" id="{18956FD5-97D5-E016-8010-B4AC16586D7B}"/>
                    </a:ext>
                  </a:extLst>
                </p:cNvPr>
                <p:cNvSpPr/>
                <p:nvPr/>
              </p:nvSpPr>
              <p:spPr>
                <a:xfrm>
                  <a:off x="9755980" y="5724745"/>
                  <a:ext cx="8469" cy="51442"/>
                </a:xfrm>
                <a:custGeom>
                  <a:avLst/>
                  <a:gdLst>
                    <a:gd name="connsiteX0" fmla="*/ 0 w 8469"/>
                    <a:gd name="connsiteY0" fmla="*/ 51442 h 51442"/>
                    <a:gd name="connsiteX1" fmla="*/ 4733 w 8469"/>
                    <a:gd name="connsiteY1" fmla="*/ 33257 h 51442"/>
                    <a:gd name="connsiteX2" fmla="*/ 3861 w 8469"/>
                    <a:gd name="connsiteY2" fmla="*/ 15819 h 51442"/>
                    <a:gd name="connsiteX3" fmla="*/ 8470 w 8469"/>
                    <a:gd name="connsiteY3" fmla="*/ 0 h 51442"/>
                  </a:gdLst>
                  <a:ahLst/>
                  <a:cxnLst>
                    <a:cxn ang="0">
                      <a:pos x="connsiteX0" y="connsiteY0"/>
                    </a:cxn>
                    <a:cxn ang="0">
                      <a:pos x="connsiteX1" y="connsiteY1"/>
                    </a:cxn>
                    <a:cxn ang="0">
                      <a:pos x="connsiteX2" y="connsiteY2"/>
                    </a:cxn>
                    <a:cxn ang="0">
                      <a:pos x="connsiteX3" y="connsiteY3"/>
                    </a:cxn>
                  </a:cxnLst>
                  <a:rect l="l" t="t" r="r" b="b"/>
                  <a:pathLst>
                    <a:path w="8469" h="51442">
                      <a:moveTo>
                        <a:pt x="0" y="51442"/>
                      </a:moveTo>
                      <a:cubicBezTo>
                        <a:pt x="3612" y="43845"/>
                        <a:pt x="4609" y="37617"/>
                        <a:pt x="4733" y="33257"/>
                      </a:cubicBezTo>
                      <a:cubicBezTo>
                        <a:pt x="4983" y="26282"/>
                        <a:pt x="3363" y="22919"/>
                        <a:pt x="3861" y="15819"/>
                      </a:cubicBezTo>
                      <a:cubicBezTo>
                        <a:pt x="4359" y="8968"/>
                        <a:pt x="6602" y="3488"/>
                        <a:pt x="84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5" name="Freeform 5368">
                  <a:extLst>
                    <a:ext uri="{FF2B5EF4-FFF2-40B4-BE49-F238E27FC236}">
                      <a16:creationId xmlns:a16="http://schemas.microsoft.com/office/drawing/2014/main" id="{913F1D26-EF28-238D-CC52-C470EBFE2BF6}"/>
                    </a:ext>
                  </a:extLst>
                </p:cNvPr>
                <p:cNvSpPr/>
                <p:nvPr/>
              </p:nvSpPr>
              <p:spPr>
                <a:xfrm>
                  <a:off x="9747787" y="5728482"/>
                  <a:ext cx="8179" cy="51691"/>
                </a:xfrm>
                <a:custGeom>
                  <a:avLst/>
                  <a:gdLst>
                    <a:gd name="connsiteX0" fmla="*/ 7570 w 8179"/>
                    <a:gd name="connsiteY0" fmla="*/ 0 h 51691"/>
                    <a:gd name="connsiteX1" fmla="*/ 6822 w 8179"/>
                    <a:gd name="connsiteY1" fmla="*/ 18808 h 51691"/>
                    <a:gd name="connsiteX2" fmla="*/ 968 w 8179"/>
                    <a:gd name="connsiteY2" fmla="*/ 35250 h 51691"/>
                    <a:gd name="connsiteX3" fmla="*/ 719 w 817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179" h="51690">
                      <a:moveTo>
                        <a:pt x="7570" y="0"/>
                      </a:moveTo>
                      <a:cubicBezTo>
                        <a:pt x="8815" y="8345"/>
                        <a:pt x="7943" y="14573"/>
                        <a:pt x="6822" y="18808"/>
                      </a:cubicBezTo>
                      <a:cubicBezTo>
                        <a:pt x="5078" y="25534"/>
                        <a:pt x="2462" y="28274"/>
                        <a:pt x="968" y="35250"/>
                      </a:cubicBezTo>
                      <a:cubicBezTo>
                        <a:pt x="-527" y="41976"/>
                        <a:pt x="-28" y="47830"/>
                        <a:pt x="719"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6" name="Freeform 5369">
                  <a:extLst>
                    <a:ext uri="{FF2B5EF4-FFF2-40B4-BE49-F238E27FC236}">
                      <a16:creationId xmlns:a16="http://schemas.microsoft.com/office/drawing/2014/main" id="{2E8CF25C-BFA2-A83E-1813-4272C9B15DC9}"/>
                    </a:ext>
                  </a:extLst>
                </p:cNvPr>
                <p:cNvSpPr/>
                <p:nvPr/>
              </p:nvSpPr>
              <p:spPr>
                <a:xfrm>
                  <a:off x="9738260" y="5769459"/>
                  <a:ext cx="26319" cy="26410"/>
                </a:xfrm>
                <a:custGeom>
                  <a:avLst/>
                  <a:gdLst>
                    <a:gd name="connsiteX0" fmla="*/ 158 w 26319"/>
                    <a:gd name="connsiteY0" fmla="*/ 11337 h 26410"/>
                    <a:gd name="connsiteX1" fmla="*/ 15104 w 26319"/>
                    <a:gd name="connsiteY1" fmla="*/ 127 h 26410"/>
                    <a:gd name="connsiteX2" fmla="*/ 26190 w 26319"/>
                    <a:gd name="connsiteY2" fmla="*/ 15074 h 26410"/>
                    <a:gd name="connsiteX3" fmla="*/ 11243 w 26319"/>
                    <a:gd name="connsiteY3" fmla="*/ 26284 h 26410"/>
                    <a:gd name="connsiteX4" fmla="*/ 158 w 26319"/>
                    <a:gd name="connsiteY4" fmla="*/ 11337 h 26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9" h="26410">
                      <a:moveTo>
                        <a:pt x="158" y="11337"/>
                      </a:moveTo>
                      <a:cubicBezTo>
                        <a:pt x="1278" y="4113"/>
                        <a:pt x="7880" y="-870"/>
                        <a:pt x="15104" y="127"/>
                      </a:cubicBezTo>
                      <a:cubicBezTo>
                        <a:pt x="22329" y="1123"/>
                        <a:pt x="27186" y="7849"/>
                        <a:pt x="26190" y="15074"/>
                      </a:cubicBezTo>
                      <a:cubicBezTo>
                        <a:pt x="25193" y="22298"/>
                        <a:pt x="18343" y="27280"/>
                        <a:pt x="11243" y="26284"/>
                      </a:cubicBezTo>
                      <a:cubicBezTo>
                        <a:pt x="4019" y="25287"/>
                        <a:pt x="-964"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19" name="Graphic 2987">
                <a:extLst>
                  <a:ext uri="{FF2B5EF4-FFF2-40B4-BE49-F238E27FC236}">
                    <a16:creationId xmlns:a16="http://schemas.microsoft.com/office/drawing/2014/main" id="{8E56DF30-5E23-F78A-0832-F37B160B5F24}"/>
                  </a:ext>
                </a:extLst>
              </p:cNvPr>
              <p:cNvGrpSpPr/>
              <p:nvPr/>
            </p:nvGrpSpPr>
            <p:grpSpPr>
              <a:xfrm>
                <a:off x="9767281" y="5652624"/>
                <a:ext cx="45031" cy="147483"/>
                <a:chOff x="9767281" y="5652624"/>
                <a:chExt cx="45031" cy="147483"/>
              </a:xfrm>
              <a:grpFill/>
            </p:grpSpPr>
            <p:sp>
              <p:nvSpPr>
                <p:cNvPr id="4205" name="Freeform 5371">
                  <a:extLst>
                    <a:ext uri="{FF2B5EF4-FFF2-40B4-BE49-F238E27FC236}">
                      <a16:creationId xmlns:a16="http://schemas.microsoft.com/office/drawing/2014/main" id="{368F49B2-0AB5-1E93-5E10-E6364C89B3A6}"/>
                    </a:ext>
                  </a:extLst>
                </p:cNvPr>
                <p:cNvSpPr/>
                <p:nvPr/>
              </p:nvSpPr>
              <p:spPr>
                <a:xfrm>
                  <a:off x="9785749" y="5672431"/>
                  <a:ext cx="8469" cy="51442"/>
                </a:xfrm>
                <a:custGeom>
                  <a:avLst/>
                  <a:gdLst>
                    <a:gd name="connsiteX0" fmla="*/ 8470 w 8469"/>
                    <a:gd name="connsiteY0" fmla="*/ 0 h 51442"/>
                    <a:gd name="connsiteX1" fmla="*/ 3737 w 8469"/>
                    <a:gd name="connsiteY1" fmla="*/ 18185 h 51442"/>
                    <a:gd name="connsiteX2" fmla="*/ 4609 w 8469"/>
                    <a:gd name="connsiteY2" fmla="*/ 35623 h 51442"/>
                    <a:gd name="connsiteX3" fmla="*/ 0 w 846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469" h="51442">
                      <a:moveTo>
                        <a:pt x="8470" y="0"/>
                      </a:moveTo>
                      <a:cubicBezTo>
                        <a:pt x="4733" y="7598"/>
                        <a:pt x="3861" y="13826"/>
                        <a:pt x="3737" y="18185"/>
                      </a:cubicBezTo>
                      <a:cubicBezTo>
                        <a:pt x="3487" y="25161"/>
                        <a:pt x="5107" y="28523"/>
                        <a:pt x="4609" y="35623"/>
                      </a:cubicBezTo>
                      <a:cubicBezTo>
                        <a:pt x="4110" y="42474"/>
                        <a:pt x="1744"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6" name="Freeform 5372">
                  <a:extLst>
                    <a:ext uri="{FF2B5EF4-FFF2-40B4-BE49-F238E27FC236}">
                      <a16:creationId xmlns:a16="http://schemas.microsoft.com/office/drawing/2014/main" id="{019602FD-B890-38E0-3D62-7D2220EFE077}"/>
                    </a:ext>
                  </a:extLst>
                </p:cNvPr>
                <p:cNvSpPr/>
                <p:nvPr/>
              </p:nvSpPr>
              <p:spPr>
                <a:xfrm>
                  <a:off x="9794265" y="5668445"/>
                  <a:ext cx="8408" cy="51691"/>
                </a:xfrm>
                <a:custGeom>
                  <a:avLst/>
                  <a:gdLst>
                    <a:gd name="connsiteX0" fmla="*/ 577 w 8408"/>
                    <a:gd name="connsiteY0" fmla="*/ 51691 h 51691"/>
                    <a:gd name="connsiteX1" fmla="*/ 1449 w 8408"/>
                    <a:gd name="connsiteY1" fmla="*/ 32883 h 51691"/>
                    <a:gd name="connsiteX2" fmla="*/ 7427 w 8408"/>
                    <a:gd name="connsiteY2" fmla="*/ 16442 h 51691"/>
                    <a:gd name="connsiteX3" fmla="*/ 7801 w 8408"/>
                    <a:gd name="connsiteY3" fmla="*/ 0 h 51691"/>
                  </a:gdLst>
                  <a:ahLst/>
                  <a:cxnLst>
                    <a:cxn ang="0">
                      <a:pos x="connsiteX0" y="connsiteY0"/>
                    </a:cxn>
                    <a:cxn ang="0">
                      <a:pos x="connsiteX1" y="connsiteY1"/>
                    </a:cxn>
                    <a:cxn ang="0">
                      <a:pos x="connsiteX2" y="connsiteY2"/>
                    </a:cxn>
                    <a:cxn ang="0">
                      <a:pos x="connsiteX3" y="connsiteY3"/>
                    </a:cxn>
                  </a:cxnLst>
                  <a:rect l="l" t="t" r="r" b="b"/>
                  <a:pathLst>
                    <a:path w="8408" h="51690">
                      <a:moveTo>
                        <a:pt x="577" y="51691"/>
                      </a:moveTo>
                      <a:cubicBezTo>
                        <a:pt x="-669" y="43346"/>
                        <a:pt x="327" y="37118"/>
                        <a:pt x="1449" y="32883"/>
                      </a:cubicBezTo>
                      <a:cubicBezTo>
                        <a:pt x="3317" y="26157"/>
                        <a:pt x="5808" y="23417"/>
                        <a:pt x="7427" y="16442"/>
                      </a:cubicBezTo>
                      <a:cubicBezTo>
                        <a:pt x="8922" y="9715"/>
                        <a:pt x="8424" y="3861"/>
                        <a:pt x="78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7" name="Freeform 5373">
                  <a:extLst>
                    <a:ext uri="{FF2B5EF4-FFF2-40B4-BE49-F238E27FC236}">
                      <a16:creationId xmlns:a16="http://schemas.microsoft.com/office/drawing/2014/main" id="{C3214D72-FD74-81F2-D2AD-28055FBD355E}"/>
                    </a:ext>
                  </a:extLst>
                </p:cNvPr>
                <p:cNvSpPr/>
                <p:nvPr/>
              </p:nvSpPr>
              <p:spPr>
                <a:xfrm>
                  <a:off x="9785594" y="5652624"/>
                  <a:ext cx="26718" cy="26538"/>
                </a:xfrm>
                <a:custGeom>
                  <a:avLst/>
                  <a:gdLst>
                    <a:gd name="connsiteX0" fmla="*/ 26561 w 26718"/>
                    <a:gd name="connsiteY0" fmla="*/ 15323 h 26538"/>
                    <a:gd name="connsiteX1" fmla="*/ 11364 w 26718"/>
                    <a:gd name="connsiteY1" fmla="*/ 26409 h 26538"/>
                    <a:gd name="connsiteX2" fmla="*/ 155 w 26718"/>
                    <a:gd name="connsiteY2" fmla="*/ 11337 h 26538"/>
                    <a:gd name="connsiteX3" fmla="*/ 15350 w 26718"/>
                    <a:gd name="connsiteY3" fmla="*/ 127 h 26538"/>
                    <a:gd name="connsiteX4" fmla="*/ 26561 w 26718"/>
                    <a:gd name="connsiteY4" fmla="*/ 15323 h 2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7" h="26538">
                      <a:moveTo>
                        <a:pt x="26561" y="15323"/>
                      </a:moveTo>
                      <a:cubicBezTo>
                        <a:pt x="25439" y="22547"/>
                        <a:pt x="18714" y="27405"/>
                        <a:pt x="11364" y="26409"/>
                      </a:cubicBezTo>
                      <a:cubicBezTo>
                        <a:pt x="4140" y="25412"/>
                        <a:pt x="-967" y="18686"/>
                        <a:pt x="155" y="11337"/>
                      </a:cubicBezTo>
                      <a:cubicBezTo>
                        <a:pt x="1275" y="4113"/>
                        <a:pt x="8002" y="-870"/>
                        <a:pt x="15350" y="127"/>
                      </a:cubicBezTo>
                      <a:cubicBezTo>
                        <a:pt x="22699" y="1248"/>
                        <a:pt x="27681" y="8099"/>
                        <a:pt x="26561" y="1532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8" name="Freeform 5374">
                  <a:extLst>
                    <a:ext uri="{FF2B5EF4-FFF2-40B4-BE49-F238E27FC236}">
                      <a16:creationId xmlns:a16="http://schemas.microsoft.com/office/drawing/2014/main" id="{5103880E-7DDE-8222-A8D5-2E996E4BC2A9}"/>
                    </a:ext>
                  </a:extLst>
                </p:cNvPr>
                <p:cNvSpPr/>
                <p:nvPr/>
              </p:nvSpPr>
              <p:spPr>
                <a:xfrm>
                  <a:off x="9785126" y="5729104"/>
                  <a:ext cx="8594" cy="51317"/>
                </a:xfrm>
                <a:custGeom>
                  <a:avLst/>
                  <a:gdLst>
                    <a:gd name="connsiteX0" fmla="*/ 0 w 8594"/>
                    <a:gd name="connsiteY0" fmla="*/ 51318 h 51317"/>
                    <a:gd name="connsiteX1" fmla="*/ 4732 w 8594"/>
                    <a:gd name="connsiteY1" fmla="*/ 33132 h 51317"/>
                    <a:gd name="connsiteX2" fmla="*/ 3985 w 8594"/>
                    <a:gd name="connsiteY2" fmla="*/ 15819 h 51317"/>
                    <a:gd name="connsiteX3" fmla="*/ 8595 w 8594"/>
                    <a:gd name="connsiteY3" fmla="*/ 0 h 51317"/>
                  </a:gdLst>
                  <a:ahLst/>
                  <a:cxnLst>
                    <a:cxn ang="0">
                      <a:pos x="connsiteX0" y="connsiteY0"/>
                    </a:cxn>
                    <a:cxn ang="0">
                      <a:pos x="connsiteX1" y="connsiteY1"/>
                    </a:cxn>
                    <a:cxn ang="0">
                      <a:pos x="connsiteX2" y="connsiteY2"/>
                    </a:cxn>
                    <a:cxn ang="0">
                      <a:pos x="connsiteX3" y="connsiteY3"/>
                    </a:cxn>
                  </a:cxnLst>
                  <a:rect l="l" t="t" r="r" b="b"/>
                  <a:pathLst>
                    <a:path w="8594" h="51317">
                      <a:moveTo>
                        <a:pt x="0" y="51318"/>
                      </a:moveTo>
                      <a:cubicBezTo>
                        <a:pt x="3612" y="43720"/>
                        <a:pt x="4609" y="37492"/>
                        <a:pt x="4732" y="33132"/>
                      </a:cubicBezTo>
                      <a:cubicBezTo>
                        <a:pt x="4982" y="26157"/>
                        <a:pt x="3363" y="22794"/>
                        <a:pt x="3985" y="15819"/>
                      </a:cubicBezTo>
                      <a:cubicBezTo>
                        <a:pt x="4484" y="8968"/>
                        <a:pt x="6851" y="3488"/>
                        <a:pt x="859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9" name="Freeform 5375">
                  <a:extLst>
                    <a:ext uri="{FF2B5EF4-FFF2-40B4-BE49-F238E27FC236}">
                      <a16:creationId xmlns:a16="http://schemas.microsoft.com/office/drawing/2014/main" id="{B8471566-FE90-DE7C-41B1-A0AB0BDA30D1}"/>
                    </a:ext>
                  </a:extLst>
                </p:cNvPr>
                <p:cNvSpPr/>
                <p:nvPr/>
              </p:nvSpPr>
              <p:spPr>
                <a:xfrm>
                  <a:off x="9776795" y="5732717"/>
                  <a:ext cx="8409" cy="51691"/>
                </a:xfrm>
                <a:custGeom>
                  <a:avLst/>
                  <a:gdLst>
                    <a:gd name="connsiteX0" fmla="*/ 7832 w 8409"/>
                    <a:gd name="connsiteY0" fmla="*/ 0 h 51691"/>
                    <a:gd name="connsiteX1" fmla="*/ 6960 w 8409"/>
                    <a:gd name="connsiteY1" fmla="*/ 18808 h 51691"/>
                    <a:gd name="connsiteX2" fmla="*/ 982 w 8409"/>
                    <a:gd name="connsiteY2" fmla="*/ 35250 h 51691"/>
                    <a:gd name="connsiteX3" fmla="*/ 608 w 840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409" h="51690">
                      <a:moveTo>
                        <a:pt x="7832" y="0"/>
                      </a:moveTo>
                      <a:cubicBezTo>
                        <a:pt x="9078" y="8345"/>
                        <a:pt x="8082" y="14573"/>
                        <a:pt x="6960" y="18808"/>
                      </a:cubicBezTo>
                      <a:cubicBezTo>
                        <a:pt x="5092" y="25534"/>
                        <a:pt x="2601" y="28274"/>
                        <a:pt x="982" y="35250"/>
                      </a:cubicBezTo>
                      <a:cubicBezTo>
                        <a:pt x="-513" y="41976"/>
                        <a:pt x="-15" y="47830"/>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10" name="Freeform 5376">
                  <a:extLst>
                    <a:ext uri="{FF2B5EF4-FFF2-40B4-BE49-F238E27FC236}">
                      <a16:creationId xmlns:a16="http://schemas.microsoft.com/office/drawing/2014/main" id="{5CF6E00C-CB96-EADB-580A-3CA796F4EAAA}"/>
                    </a:ext>
                  </a:extLst>
                </p:cNvPr>
                <p:cNvSpPr/>
                <p:nvPr/>
              </p:nvSpPr>
              <p:spPr>
                <a:xfrm>
                  <a:off x="9767281" y="5773694"/>
                  <a:ext cx="26226" cy="26413"/>
                </a:xfrm>
                <a:custGeom>
                  <a:avLst/>
                  <a:gdLst>
                    <a:gd name="connsiteX0" fmla="*/ 158 w 26226"/>
                    <a:gd name="connsiteY0" fmla="*/ 11337 h 26413"/>
                    <a:gd name="connsiteX1" fmla="*/ 15105 w 26226"/>
                    <a:gd name="connsiteY1" fmla="*/ 127 h 26413"/>
                    <a:gd name="connsiteX2" fmla="*/ 26066 w 26226"/>
                    <a:gd name="connsiteY2" fmla="*/ 15198 h 26413"/>
                    <a:gd name="connsiteX3" fmla="*/ 11119 w 26226"/>
                    <a:gd name="connsiteY3" fmla="*/ 26284 h 26413"/>
                    <a:gd name="connsiteX4" fmla="*/ 158 w 26226"/>
                    <a:gd name="connsiteY4" fmla="*/ 11337 h 2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6" h="26413">
                      <a:moveTo>
                        <a:pt x="158" y="11337"/>
                      </a:moveTo>
                      <a:cubicBezTo>
                        <a:pt x="1279" y="4113"/>
                        <a:pt x="8005" y="-870"/>
                        <a:pt x="15105" y="127"/>
                      </a:cubicBezTo>
                      <a:cubicBezTo>
                        <a:pt x="22329" y="1123"/>
                        <a:pt x="27187" y="7974"/>
                        <a:pt x="26066" y="15198"/>
                      </a:cubicBezTo>
                      <a:cubicBezTo>
                        <a:pt x="24944" y="22423"/>
                        <a:pt x="18219" y="27280"/>
                        <a:pt x="11119" y="26284"/>
                      </a:cubicBezTo>
                      <a:cubicBezTo>
                        <a:pt x="4019" y="25287"/>
                        <a:pt x="-963" y="18561"/>
                        <a:pt x="158" y="1133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0" name="Graphic 2987">
                <a:extLst>
                  <a:ext uri="{FF2B5EF4-FFF2-40B4-BE49-F238E27FC236}">
                    <a16:creationId xmlns:a16="http://schemas.microsoft.com/office/drawing/2014/main" id="{DE3629C8-68E0-27E7-7663-7E405115B156}"/>
                  </a:ext>
                </a:extLst>
              </p:cNvPr>
              <p:cNvGrpSpPr/>
              <p:nvPr/>
            </p:nvGrpSpPr>
            <p:grpSpPr>
              <a:xfrm>
                <a:off x="9796300" y="5657323"/>
                <a:ext cx="45408" cy="147454"/>
                <a:chOff x="9796300" y="5657323"/>
                <a:chExt cx="45408" cy="147454"/>
              </a:xfrm>
              <a:grpFill/>
            </p:grpSpPr>
            <p:sp>
              <p:nvSpPr>
                <p:cNvPr id="4199" name="Freeform 5378">
                  <a:extLst>
                    <a:ext uri="{FF2B5EF4-FFF2-40B4-BE49-F238E27FC236}">
                      <a16:creationId xmlns:a16="http://schemas.microsoft.com/office/drawing/2014/main" id="{0A8F729E-F423-CA80-0A71-4DAED9AD373A}"/>
                    </a:ext>
                  </a:extLst>
                </p:cNvPr>
                <p:cNvSpPr/>
                <p:nvPr/>
              </p:nvSpPr>
              <p:spPr>
                <a:xfrm>
                  <a:off x="9815020" y="5677039"/>
                  <a:ext cx="8719" cy="51442"/>
                </a:xfrm>
                <a:custGeom>
                  <a:avLst/>
                  <a:gdLst>
                    <a:gd name="connsiteX0" fmla="*/ 8719 w 8719"/>
                    <a:gd name="connsiteY0" fmla="*/ 0 h 51442"/>
                    <a:gd name="connsiteX1" fmla="*/ 3861 w 8719"/>
                    <a:gd name="connsiteY1" fmla="*/ 18185 h 51442"/>
                    <a:gd name="connsiteX2" fmla="*/ 4609 w 8719"/>
                    <a:gd name="connsiteY2" fmla="*/ 35623 h 51442"/>
                    <a:gd name="connsiteX3" fmla="*/ 0 w 8719"/>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719" h="51442">
                      <a:moveTo>
                        <a:pt x="8719" y="0"/>
                      </a:moveTo>
                      <a:cubicBezTo>
                        <a:pt x="4983" y="7598"/>
                        <a:pt x="4111" y="13826"/>
                        <a:pt x="3861" y="18185"/>
                      </a:cubicBezTo>
                      <a:cubicBezTo>
                        <a:pt x="3613" y="25161"/>
                        <a:pt x="5231" y="28523"/>
                        <a:pt x="4609" y="35623"/>
                      </a:cubicBezTo>
                      <a:cubicBezTo>
                        <a:pt x="3986"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0" name="Freeform 5379">
                  <a:extLst>
                    <a:ext uri="{FF2B5EF4-FFF2-40B4-BE49-F238E27FC236}">
                      <a16:creationId xmlns:a16="http://schemas.microsoft.com/office/drawing/2014/main" id="{05F58CF1-D3F8-CBDC-9D57-187D28333CEE}"/>
                    </a:ext>
                  </a:extLst>
                </p:cNvPr>
                <p:cNvSpPr/>
                <p:nvPr/>
              </p:nvSpPr>
              <p:spPr>
                <a:xfrm>
                  <a:off x="9823416" y="5673053"/>
                  <a:ext cx="8622" cy="51691"/>
                </a:xfrm>
                <a:custGeom>
                  <a:avLst/>
                  <a:gdLst>
                    <a:gd name="connsiteX0" fmla="*/ 573 w 8622"/>
                    <a:gd name="connsiteY0" fmla="*/ 51691 h 51691"/>
                    <a:gd name="connsiteX1" fmla="*/ 1569 w 8622"/>
                    <a:gd name="connsiteY1" fmla="*/ 32883 h 51691"/>
                    <a:gd name="connsiteX2" fmla="*/ 7548 w 8622"/>
                    <a:gd name="connsiteY2" fmla="*/ 16566 h 51691"/>
                    <a:gd name="connsiteX3" fmla="*/ 7921 w 8622"/>
                    <a:gd name="connsiteY3" fmla="*/ 0 h 51691"/>
                  </a:gdLst>
                  <a:ahLst/>
                  <a:cxnLst>
                    <a:cxn ang="0">
                      <a:pos x="connsiteX0" y="connsiteY0"/>
                    </a:cxn>
                    <a:cxn ang="0">
                      <a:pos x="connsiteX1" y="connsiteY1"/>
                    </a:cxn>
                    <a:cxn ang="0">
                      <a:pos x="connsiteX2" y="connsiteY2"/>
                    </a:cxn>
                    <a:cxn ang="0">
                      <a:pos x="connsiteX3" y="connsiteY3"/>
                    </a:cxn>
                  </a:cxnLst>
                  <a:rect l="l" t="t" r="r" b="b"/>
                  <a:pathLst>
                    <a:path w="8622" h="51690">
                      <a:moveTo>
                        <a:pt x="573" y="51691"/>
                      </a:moveTo>
                      <a:cubicBezTo>
                        <a:pt x="-673" y="43346"/>
                        <a:pt x="323" y="37118"/>
                        <a:pt x="1569" y="32883"/>
                      </a:cubicBezTo>
                      <a:cubicBezTo>
                        <a:pt x="3437" y="26157"/>
                        <a:pt x="6053" y="23417"/>
                        <a:pt x="7548" y="16566"/>
                      </a:cubicBezTo>
                      <a:cubicBezTo>
                        <a:pt x="9167" y="9840"/>
                        <a:pt x="8668" y="3986"/>
                        <a:pt x="792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1" name="Freeform 5380">
                  <a:extLst>
                    <a:ext uri="{FF2B5EF4-FFF2-40B4-BE49-F238E27FC236}">
                      <a16:creationId xmlns:a16="http://schemas.microsoft.com/office/drawing/2014/main" id="{7F681D04-0520-60A9-8D74-2CAA7990C989}"/>
                    </a:ext>
                  </a:extLst>
                </p:cNvPr>
                <p:cNvSpPr/>
                <p:nvPr/>
              </p:nvSpPr>
              <p:spPr>
                <a:xfrm>
                  <a:off x="9815111" y="5657323"/>
                  <a:ext cx="26596" cy="26478"/>
                </a:xfrm>
                <a:custGeom>
                  <a:avLst/>
                  <a:gdLst>
                    <a:gd name="connsiteX0" fmla="*/ 26439 w 26596"/>
                    <a:gd name="connsiteY0" fmla="*/ 15357 h 26478"/>
                    <a:gd name="connsiteX1" fmla="*/ 11243 w 26596"/>
                    <a:gd name="connsiteY1" fmla="*/ 26318 h 26478"/>
                    <a:gd name="connsiteX2" fmla="*/ 158 w 26596"/>
                    <a:gd name="connsiteY2" fmla="*/ 11122 h 26478"/>
                    <a:gd name="connsiteX3" fmla="*/ 15353 w 26596"/>
                    <a:gd name="connsiteY3" fmla="*/ 161 h 26478"/>
                    <a:gd name="connsiteX4" fmla="*/ 26439 w 26596"/>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 h="26477">
                      <a:moveTo>
                        <a:pt x="26439" y="15357"/>
                      </a:moveTo>
                      <a:cubicBezTo>
                        <a:pt x="25319" y="22581"/>
                        <a:pt x="18467" y="27439"/>
                        <a:pt x="11243" y="26318"/>
                      </a:cubicBezTo>
                      <a:cubicBezTo>
                        <a:pt x="4019" y="25197"/>
                        <a:pt x="-964" y="18346"/>
                        <a:pt x="158" y="11122"/>
                      </a:cubicBezTo>
                      <a:cubicBezTo>
                        <a:pt x="1278" y="3897"/>
                        <a:pt x="8130" y="-960"/>
                        <a:pt x="15353" y="161"/>
                      </a:cubicBezTo>
                      <a:cubicBezTo>
                        <a:pt x="22578" y="1282"/>
                        <a:pt x="27560" y="8133"/>
                        <a:pt x="26439"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2" name="Freeform 5381">
                  <a:extLst>
                    <a:ext uri="{FF2B5EF4-FFF2-40B4-BE49-F238E27FC236}">
                      <a16:creationId xmlns:a16="http://schemas.microsoft.com/office/drawing/2014/main" id="{33B943A2-0B40-CA9C-7EBD-E7CB714942F9}"/>
                    </a:ext>
                  </a:extLst>
                </p:cNvPr>
                <p:cNvSpPr/>
                <p:nvPr/>
              </p:nvSpPr>
              <p:spPr>
                <a:xfrm>
                  <a:off x="9814023" y="5733588"/>
                  <a:ext cx="8719" cy="51442"/>
                </a:xfrm>
                <a:custGeom>
                  <a:avLst/>
                  <a:gdLst>
                    <a:gd name="connsiteX0" fmla="*/ 0 w 8719"/>
                    <a:gd name="connsiteY0" fmla="*/ 51442 h 51442"/>
                    <a:gd name="connsiteX1" fmla="*/ 4858 w 8719"/>
                    <a:gd name="connsiteY1" fmla="*/ 33257 h 51442"/>
                    <a:gd name="connsiteX2" fmla="*/ 4111 w 8719"/>
                    <a:gd name="connsiteY2" fmla="*/ 15819 h 51442"/>
                    <a:gd name="connsiteX3" fmla="*/ 8719 w 8719"/>
                    <a:gd name="connsiteY3" fmla="*/ 0 h 51442"/>
                  </a:gdLst>
                  <a:ahLst/>
                  <a:cxnLst>
                    <a:cxn ang="0">
                      <a:pos x="connsiteX0" y="connsiteY0"/>
                    </a:cxn>
                    <a:cxn ang="0">
                      <a:pos x="connsiteX1" y="connsiteY1"/>
                    </a:cxn>
                    <a:cxn ang="0">
                      <a:pos x="connsiteX2" y="connsiteY2"/>
                    </a:cxn>
                    <a:cxn ang="0">
                      <a:pos x="connsiteX3" y="connsiteY3"/>
                    </a:cxn>
                  </a:cxnLst>
                  <a:rect l="l" t="t" r="r" b="b"/>
                  <a:pathLst>
                    <a:path w="8719" h="51442">
                      <a:moveTo>
                        <a:pt x="0" y="51442"/>
                      </a:moveTo>
                      <a:cubicBezTo>
                        <a:pt x="3737" y="43845"/>
                        <a:pt x="4609" y="37617"/>
                        <a:pt x="4858" y="33257"/>
                      </a:cubicBezTo>
                      <a:cubicBezTo>
                        <a:pt x="5232" y="26282"/>
                        <a:pt x="3613" y="22919"/>
                        <a:pt x="4111" y="15819"/>
                      </a:cubicBezTo>
                      <a:cubicBezTo>
                        <a:pt x="4733" y="8968"/>
                        <a:pt x="6975" y="3488"/>
                        <a:pt x="871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3" name="Freeform 5382">
                  <a:extLst>
                    <a:ext uri="{FF2B5EF4-FFF2-40B4-BE49-F238E27FC236}">
                      <a16:creationId xmlns:a16="http://schemas.microsoft.com/office/drawing/2014/main" id="{518FD262-DB57-CE6C-9725-BD30E3193917}"/>
                    </a:ext>
                  </a:extLst>
                </p:cNvPr>
                <p:cNvSpPr/>
                <p:nvPr/>
              </p:nvSpPr>
              <p:spPr>
                <a:xfrm>
                  <a:off x="9805818" y="5737325"/>
                  <a:ext cx="8529" cy="51691"/>
                </a:xfrm>
                <a:custGeom>
                  <a:avLst/>
                  <a:gdLst>
                    <a:gd name="connsiteX0" fmla="*/ 7957 w 8529"/>
                    <a:gd name="connsiteY0" fmla="*/ 0 h 51691"/>
                    <a:gd name="connsiteX1" fmla="*/ 6960 w 8529"/>
                    <a:gd name="connsiteY1" fmla="*/ 18808 h 51691"/>
                    <a:gd name="connsiteX2" fmla="*/ 982 w 8529"/>
                    <a:gd name="connsiteY2" fmla="*/ 35125 h 51691"/>
                    <a:gd name="connsiteX3" fmla="*/ 608 w 8529"/>
                    <a:gd name="connsiteY3" fmla="*/ 51691 h 51691"/>
                  </a:gdLst>
                  <a:ahLst/>
                  <a:cxnLst>
                    <a:cxn ang="0">
                      <a:pos x="connsiteX0" y="connsiteY0"/>
                    </a:cxn>
                    <a:cxn ang="0">
                      <a:pos x="connsiteX1" y="connsiteY1"/>
                    </a:cxn>
                    <a:cxn ang="0">
                      <a:pos x="connsiteX2" y="connsiteY2"/>
                    </a:cxn>
                    <a:cxn ang="0">
                      <a:pos x="connsiteX3" y="connsiteY3"/>
                    </a:cxn>
                  </a:cxnLst>
                  <a:rect l="l" t="t" r="r" b="b"/>
                  <a:pathLst>
                    <a:path w="8529" h="51690">
                      <a:moveTo>
                        <a:pt x="7957" y="0"/>
                      </a:moveTo>
                      <a:cubicBezTo>
                        <a:pt x="9202" y="8345"/>
                        <a:pt x="8205" y="14573"/>
                        <a:pt x="6960" y="18808"/>
                      </a:cubicBezTo>
                      <a:cubicBezTo>
                        <a:pt x="5092" y="25534"/>
                        <a:pt x="2601" y="28274"/>
                        <a:pt x="982" y="35125"/>
                      </a:cubicBezTo>
                      <a:cubicBezTo>
                        <a:pt x="-513" y="41851"/>
                        <a:pt x="-15" y="47705"/>
                        <a:pt x="608" y="5169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204" name="Freeform 5383">
                  <a:extLst>
                    <a:ext uri="{FF2B5EF4-FFF2-40B4-BE49-F238E27FC236}">
                      <a16:creationId xmlns:a16="http://schemas.microsoft.com/office/drawing/2014/main" id="{1E3AF0F6-F9BA-1571-D268-2539EFEC28E1}"/>
                    </a:ext>
                  </a:extLst>
                </p:cNvPr>
                <p:cNvSpPr/>
                <p:nvPr/>
              </p:nvSpPr>
              <p:spPr>
                <a:xfrm>
                  <a:off x="9796300" y="5778238"/>
                  <a:ext cx="26354" cy="26539"/>
                </a:xfrm>
                <a:custGeom>
                  <a:avLst/>
                  <a:gdLst>
                    <a:gd name="connsiteX0" fmla="*/ 161 w 26354"/>
                    <a:gd name="connsiteY0" fmla="*/ 11152 h 26539"/>
                    <a:gd name="connsiteX1" fmla="*/ 15233 w 26354"/>
                    <a:gd name="connsiteY1" fmla="*/ 191 h 26539"/>
                    <a:gd name="connsiteX2" fmla="*/ 26194 w 26354"/>
                    <a:gd name="connsiteY2" fmla="*/ 15387 h 26539"/>
                    <a:gd name="connsiteX3" fmla="*/ 11122 w 26354"/>
                    <a:gd name="connsiteY3" fmla="*/ 26348 h 26539"/>
                    <a:gd name="connsiteX4" fmla="*/ 161 w 26354"/>
                    <a:gd name="connsiteY4" fmla="*/ 11152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 h="26538">
                      <a:moveTo>
                        <a:pt x="161" y="11152"/>
                      </a:moveTo>
                      <a:cubicBezTo>
                        <a:pt x="1282" y="3928"/>
                        <a:pt x="8008" y="-1055"/>
                        <a:pt x="15233" y="191"/>
                      </a:cubicBezTo>
                      <a:cubicBezTo>
                        <a:pt x="22456" y="1312"/>
                        <a:pt x="27314" y="8163"/>
                        <a:pt x="26194" y="15387"/>
                      </a:cubicBezTo>
                      <a:cubicBezTo>
                        <a:pt x="25072" y="22612"/>
                        <a:pt x="18347" y="27594"/>
                        <a:pt x="11122" y="26348"/>
                      </a:cubicBezTo>
                      <a:cubicBezTo>
                        <a:pt x="3897" y="25227"/>
                        <a:pt x="-961" y="18377"/>
                        <a:pt x="16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1" name="Graphic 2987">
                <a:extLst>
                  <a:ext uri="{FF2B5EF4-FFF2-40B4-BE49-F238E27FC236}">
                    <a16:creationId xmlns:a16="http://schemas.microsoft.com/office/drawing/2014/main" id="{3C1CD5A9-4119-329F-0FD1-7BDF4E7A4022}"/>
                  </a:ext>
                </a:extLst>
              </p:cNvPr>
              <p:cNvGrpSpPr/>
              <p:nvPr/>
            </p:nvGrpSpPr>
            <p:grpSpPr>
              <a:xfrm>
                <a:off x="9825292" y="5662181"/>
                <a:ext cx="45845" cy="147299"/>
                <a:chOff x="9825292" y="5662181"/>
                <a:chExt cx="45845" cy="147299"/>
              </a:xfrm>
              <a:grpFill/>
            </p:grpSpPr>
            <p:sp>
              <p:nvSpPr>
                <p:cNvPr id="4193" name="Freeform 5385">
                  <a:extLst>
                    <a:ext uri="{FF2B5EF4-FFF2-40B4-BE49-F238E27FC236}">
                      <a16:creationId xmlns:a16="http://schemas.microsoft.com/office/drawing/2014/main" id="{0EAC1784-E68E-33CE-9ED7-2F8C59FC6866}"/>
                    </a:ext>
                  </a:extLst>
                </p:cNvPr>
                <p:cNvSpPr/>
                <p:nvPr/>
              </p:nvSpPr>
              <p:spPr>
                <a:xfrm>
                  <a:off x="9844167" y="5681773"/>
                  <a:ext cx="8967" cy="51442"/>
                </a:xfrm>
                <a:custGeom>
                  <a:avLst/>
                  <a:gdLst>
                    <a:gd name="connsiteX0" fmla="*/ 8968 w 8967"/>
                    <a:gd name="connsiteY0" fmla="*/ 0 h 51442"/>
                    <a:gd name="connsiteX1" fmla="*/ 4110 w 8967"/>
                    <a:gd name="connsiteY1" fmla="*/ 18185 h 51442"/>
                    <a:gd name="connsiteX2" fmla="*/ 4733 w 8967"/>
                    <a:gd name="connsiteY2" fmla="*/ 35623 h 51442"/>
                    <a:gd name="connsiteX3" fmla="*/ 0 w 896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8967" h="51442">
                      <a:moveTo>
                        <a:pt x="8968" y="0"/>
                      </a:moveTo>
                      <a:cubicBezTo>
                        <a:pt x="5231" y="7598"/>
                        <a:pt x="4235" y="13826"/>
                        <a:pt x="4110" y="18185"/>
                      </a:cubicBezTo>
                      <a:cubicBezTo>
                        <a:pt x="3737" y="25161"/>
                        <a:pt x="5356" y="28523"/>
                        <a:pt x="4733" y="35623"/>
                      </a:cubicBezTo>
                      <a:cubicBezTo>
                        <a:pt x="4110" y="42474"/>
                        <a:pt x="1868" y="47954"/>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4" name="Freeform 5386">
                  <a:extLst>
                    <a:ext uri="{FF2B5EF4-FFF2-40B4-BE49-F238E27FC236}">
                      <a16:creationId xmlns:a16="http://schemas.microsoft.com/office/drawing/2014/main" id="{A5D61A46-74A7-6AFD-87CF-39FA2114F9C1}"/>
                    </a:ext>
                  </a:extLst>
                </p:cNvPr>
                <p:cNvSpPr/>
                <p:nvPr/>
              </p:nvSpPr>
              <p:spPr>
                <a:xfrm>
                  <a:off x="9852767" y="5677911"/>
                  <a:ext cx="8681" cy="51566"/>
                </a:xfrm>
                <a:custGeom>
                  <a:avLst/>
                  <a:gdLst>
                    <a:gd name="connsiteX0" fmla="*/ 492 w 8681"/>
                    <a:gd name="connsiteY0" fmla="*/ 51567 h 51566"/>
                    <a:gd name="connsiteX1" fmla="*/ 1488 w 8681"/>
                    <a:gd name="connsiteY1" fmla="*/ 32758 h 51566"/>
                    <a:gd name="connsiteX2" fmla="*/ 7591 w 8681"/>
                    <a:gd name="connsiteY2" fmla="*/ 16441 h 51566"/>
                    <a:gd name="connsiteX3" fmla="*/ 8089 w 8681"/>
                    <a:gd name="connsiteY3" fmla="*/ 0 h 51566"/>
                  </a:gdLst>
                  <a:ahLst/>
                  <a:cxnLst>
                    <a:cxn ang="0">
                      <a:pos x="connsiteX0" y="connsiteY0"/>
                    </a:cxn>
                    <a:cxn ang="0">
                      <a:pos x="connsiteX1" y="connsiteY1"/>
                    </a:cxn>
                    <a:cxn ang="0">
                      <a:pos x="connsiteX2" y="connsiteY2"/>
                    </a:cxn>
                    <a:cxn ang="0">
                      <a:pos x="connsiteX3" y="connsiteY3"/>
                    </a:cxn>
                  </a:cxnLst>
                  <a:rect l="l" t="t" r="r" b="b"/>
                  <a:pathLst>
                    <a:path w="8681" h="51566">
                      <a:moveTo>
                        <a:pt x="492" y="51567"/>
                      </a:moveTo>
                      <a:cubicBezTo>
                        <a:pt x="-630" y="43221"/>
                        <a:pt x="367" y="36993"/>
                        <a:pt x="1488" y="32758"/>
                      </a:cubicBezTo>
                      <a:cubicBezTo>
                        <a:pt x="3356" y="26033"/>
                        <a:pt x="5972" y="23292"/>
                        <a:pt x="7591" y="16441"/>
                      </a:cubicBezTo>
                      <a:cubicBezTo>
                        <a:pt x="9211" y="9715"/>
                        <a:pt x="8712" y="3861"/>
                        <a:pt x="808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5" name="Freeform 5387">
                  <a:extLst>
                    <a:ext uri="{FF2B5EF4-FFF2-40B4-BE49-F238E27FC236}">
                      <a16:creationId xmlns:a16="http://schemas.microsoft.com/office/drawing/2014/main" id="{B00DBFB1-E4CB-98FE-F744-E4F2AB0DC483}"/>
                    </a:ext>
                  </a:extLst>
                </p:cNvPr>
                <p:cNvSpPr/>
                <p:nvPr/>
              </p:nvSpPr>
              <p:spPr>
                <a:xfrm>
                  <a:off x="9844382" y="5662181"/>
                  <a:ext cx="26754" cy="26478"/>
                </a:xfrm>
                <a:custGeom>
                  <a:avLst/>
                  <a:gdLst>
                    <a:gd name="connsiteX0" fmla="*/ 26564 w 26754"/>
                    <a:gd name="connsiteY0" fmla="*/ 15357 h 26478"/>
                    <a:gd name="connsiteX1" fmla="*/ 11243 w 26754"/>
                    <a:gd name="connsiteY1" fmla="*/ 26318 h 26478"/>
                    <a:gd name="connsiteX2" fmla="*/ 157 w 26754"/>
                    <a:gd name="connsiteY2" fmla="*/ 11122 h 26478"/>
                    <a:gd name="connsiteX3" fmla="*/ 15479 w 26754"/>
                    <a:gd name="connsiteY3" fmla="*/ 161 h 26478"/>
                    <a:gd name="connsiteX4" fmla="*/ 26564 w 26754"/>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26477">
                      <a:moveTo>
                        <a:pt x="26564" y="15357"/>
                      </a:moveTo>
                      <a:cubicBezTo>
                        <a:pt x="25443" y="22581"/>
                        <a:pt x="18593" y="27439"/>
                        <a:pt x="11243" y="26318"/>
                      </a:cubicBezTo>
                      <a:cubicBezTo>
                        <a:pt x="4019" y="25197"/>
                        <a:pt x="-963" y="18346"/>
                        <a:pt x="157" y="11122"/>
                      </a:cubicBezTo>
                      <a:cubicBezTo>
                        <a:pt x="1279" y="3897"/>
                        <a:pt x="8129" y="-961"/>
                        <a:pt x="15479" y="161"/>
                      </a:cubicBezTo>
                      <a:cubicBezTo>
                        <a:pt x="22827" y="1282"/>
                        <a:pt x="27810" y="8132"/>
                        <a:pt x="26564"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6" name="Freeform 5388">
                  <a:extLst>
                    <a:ext uri="{FF2B5EF4-FFF2-40B4-BE49-F238E27FC236}">
                      <a16:creationId xmlns:a16="http://schemas.microsoft.com/office/drawing/2014/main" id="{3A1B60A5-0FA0-E861-A8DE-C65E5D34B824}"/>
                    </a:ext>
                  </a:extLst>
                </p:cNvPr>
                <p:cNvSpPr/>
                <p:nvPr/>
              </p:nvSpPr>
              <p:spPr>
                <a:xfrm>
                  <a:off x="9843045" y="5738321"/>
                  <a:ext cx="8968" cy="51442"/>
                </a:xfrm>
                <a:custGeom>
                  <a:avLst/>
                  <a:gdLst>
                    <a:gd name="connsiteX0" fmla="*/ 0 w 8968"/>
                    <a:gd name="connsiteY0" fmla="*/ 51442 h 51442"/>
                    <a:gd name="connsiteX1" fmla="*/ 4858 w 8968"/>
                    <a:gd name="connsiteY1" fmla="*/ 33257 h 51442"/>
                    <a:gd name="connsiteX2" fmla="*/ 4235 w 8968"/>
                    <a:gd name="connsiteY2" fmla="*/ 15819 h 51442"/>
                    <a:gd name="connsiteX3" fmla="*/ 8969 w 8968"/>
                    <a:gd name="connsiteY3" fmla="*/ 0 h 51442"/>
                  </a:gdLst>
                  <a:ahLst/>
                  <a:cxnLst>
                    <a:cxn ang="0">
                      <a:pos x="connsiteX0" y="connsiteY0"/>
                    </a:cxn>
                    <a:cxn ang="0">
                      <a:pos x="connsiteX1" y="connsiteY1"/>
                    </a:cxn>
                    <a:cxn ang="0">
                      <a:pos x="connsiteX2" y="connsiteY2"/>
                    </a:cxn>
                    <a:cxn ang="0">
                      <a:pos x="connsiteX3" y="connsiteY3"/>
                    </a:cxn>
                  </a:cxnLst>
                  <a:rect l="l" t="t" r="r" b="b"/>
                  <a:pathLst>
                    <a:path w="8968" h="51442">
                      <a:moveTo>
                        <a:pt x="0" y="51442"/>
                      </a:moveTo>
                      <a:cubicBezTo>
                        <a:pt x="3737" y="43845"/>
                        <a:pt x="4733" y="37617"/>
                        <a:pt x="4858" y="33257"/>
                      </a:cubicBezTo>
                      <a:cubicBezTo>
                        <a:pt x="5231" y="26282"/>
                        <a:pt x="3613" y="22919"/>
                        <a:pt x="4235" y="15819"/>
                      </a:cubicBezTo>
                      <a:cubicBezTo>
                        <a:pt x="4858" y="8968"/>
                        <a:pt x="7100" y="3488"/>
                        <a:pt x="89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7" name="Freeform 5389">
                  <a:extLst>
                    <a:ext uri="{FF2B5EF4-FFF2-40B4-BE49-F238E27FC236}">
                      <a16:creationId xmlns:a16="http://schemas.microsoft.com/office/drawing/2014/main" id="{2F575A80-3BC3-9FBB-19CF-85154CF60598}"/>
                    </a:ext>
                  </a:extLst>
                </p:cNvPr>
                <p:cNvSpPr/>
                <p:nvPr/>
              </p:nvSpPr>
              <p:spPr>
                <a:xfrm>
                  <a:off x="9834731" y="5742058"/>
                  <a:ext cx="8680" cy="51566"/>
                </a:xfrm>
                <a:custGeom>
                  <a:avLst/>
                  <a:gdLst>
                    <a:gd name="connsiteX0" fmla="*/ 8189 w 8680"/>
                    <a:gd name="connsiteY0" fmla="*/ 0 h 51566"/>
                    <a:gd name="connsiteX1" fmla="*/ 7193 w 8680"/>
                    <a:gd name="connsiteY1" fmla="*/ 18808 h 51566"/>
                    <a:gd name="connsiteX2" fmla="*/ 1089 w 8680"/>
                    <a:gd name="connsiteY2" fmla="*/ 35125 h 51566"/>
                    <a:gd name="connsiteX3" fmla="*/ 591 w 8680"/>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680" h="51566">
                      <a:moveTo>
                        <a:pt x="8189" y="0"/>
                      </a:moveTo>
                      <a:cubicBezTo>
                        <a:pt x="9311" y="8345"/>
                        <a:pt x="8314" y="14573"/>
                        <a:pt x="7193" y="18808"/>
                      </a:cubicBezTo>
                      <a:cubicBezTo>
                        <a:pt x="5325" y="25534"/>
                        <a:pt x="2709" y="28274"/>
                        <a:pt x="1089" y="35125"/>
                      </a:cubicBezTo>
                      <a:cubicBezTo>
                        <a:pt x="-529" y="41851"/>
                        <a:pt x="-31" y="47705"/>
                        <a:pt x="591"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8" name="Freeform 5390">
                  <a:extLst>
                    <a:ext uri="{FF2B5EF4-FFF2-40B4-BE49-F238E27FC236}">
                      <a16:creationId xmlns:a16="http://schemas.microsoft.com/office/drawing/2014/main" id="{9789DFBF-68E8-8ED9-9135-B10CF38DFA6A}"/>
                    </a:ext>
                  </a:extLst>
                </p:cNvPr>
                <p:cNvSpPr/>
                <p:nvPr/>
              </p:nvSpPr>
              <p:spPr>
                <a:xfrm>
                  <a:off x="9825292" y="5782971"/>
                  <a:ext cx="26293" cy="26508"/>
                </a:xfrm>
                <a:custGeom>
                  <a:avLst/>
                  <a:gdLst>
                    <a:gd name="connsiteX0" fmla="*/ 191 w 26293"/>
                    <a:gd name="connsiteY0" fmla="*/ 11152 h 26508"/>
                    <a:gd name="connsiteX1" fmla="*/ 15262 w 26293"/>
                    <a:gd name="connsiteY1" fmla="*/ 191 h 26508"/>
                    <a:gd name="connsiteX2" fmla="*/ 26099 w 26293"/>
                    <a:gd name="connsiteY2" fmla="*/ 15387 h 26508"/>
                    <a:gd name="connsiteX3" fmla="*/ 11028 w 26293"/>
                    <a:gd name="connsiteY3" fmla="*/ 26348 h 26508"/>
                    <a:gd name="connsiteX4" fmla="*/ 191 w 26293"/>
                    <a:gd name="connsiteY4" fmla="*/ 11152 h 2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08">
                      <a:moveTo>
                        <a:pt x="191" y="11152"/>
                      </a:moveTo>
                      <a:cubicBezTo>
                        <a:pt x="1312" y="3928"/>
                        <a:pt x="8038" y="-1055"/>
                        <a:pt x="15262" y="191"/>
                      </a:cubicBezTo>
                      <a:cubicBezTo>
                        <a:pt x="22487" y="1437"/>
                        <a:pt x="27345" y="8163"/>
                        <a:pt x="26099" y="15387"/>
                      </a:cubicBezTo>
                      <a:cubicBezTo>
                        <a:pt x="24978" y="22612"/>
                        <a:pt x="18128" y="27469"/>
                        <a:pt x="11028" y="26348"/>
                      </a:cubicBezTo>
                      <a:cubicBezTo>
                        <a:pt x="3928" y="25227"/>
                        <a:pt x="-1055" y="18376"/>
                        <a:pt x="191" y="111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2" name="Graphic 2987">
                <a:extLst>
                  <a:ext uri="{FF2B5EF4-FFF2-40B4-BE49-F238E27FC236}">
                    <a16:creationId xmlns:a16="http://schemas.microsoft.com/office/drawing/2014/main" id="{F4F1118F-E621-963A-D651-F32A067B6C87}"/>
                  </a:ext>
                </a:extLst>
              </p:cNvPr>
              <p:cNvGrpSpPr/>
              <p:nvPr/>
            </p:nvGrpSpPr>
            <p:grpSpPr>
              <a:xfrm>
                <a:off x="9854219" y="5666914"/>
                <a:ext cx="46407" cy="147299"/>
                <a:chOff x="9854219" y="5666914"/>
                <a:chExt cx="46407" cy="147299"/>
              </a:xfrm>
              <a:grpFill/>
            </p:grpSpPr>
            <p:sp>
              <p:nvSpPr>
                <p:cNvPr id="4187" name="Freeform 5392">
                  <a:extLst>
                    <a:ext uri="{FF2B5EF4-FFF2-40B4-BE49-F238E27FC236}">
                      <a16:creationId xmlns:a16="http://schemas.microsoft.com/office/drawing/2014/main" id="{60F37888-D04A-FAE5-496F-C3C0E2D40E59}"/>
                    </a:ext>
                  </a:extLst>
                </p:cNvPr>
                <p:cNvSpPr/>
                <p:nvPr/>
              </p:nvSpPr>
              <p:spPr>
                <a:xfrm>
                  <a:off x="9873437" y="5686505"/>
                  <a:ext cx="9092" cy="51442"/>
                </a:xfrm>
                <a:custGeom>
                  <a:avLst/>
                  <a:gdLst>
                    <a:gd name="connsiteX0" fmla="*/ 9092 w 9092"/>
                    <a:gd name="connsiteY0" fmla="*/ 0 h 51442"/>
                    <a:gd name="connsiteX1" fmla="*/ 4111 w 9092"/>
                    <a:gd name="connsiteY1" fmla="*/ 18186 h 51442"/>
                    <a:gd name="connsiteX2" fmla="*/ 4733 w 9092"/>
                    <a:gd name="connsiteY2" fmla="*/ 35624 h 51442"/>
                    <a:gd name="connsiteX3" fmla="*/ 0 w 909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092" h="51442">
                      <a:moveTo>
                        <a:pt x="9092" y="0"/>
                      </a:moveTo>
                      <a:cubicBezTo>
                        <a:pt x="5356" y="7474"/>
                        <a:pt x="4360" y="13826"/>
                        <a:pt x="4111" y="18186"/>
                      </a:cubicBezTo>
                      <a:cubicBezTo>
                        <a:pt x="3737" y="25161"/>
                        <a:pt x="5356" y="28524"/>
                        <a:pt x="4733" y="35624"/>
                      </a:cubicBezTo>
                      <a:cubicBezTo>
                        <a:pt x="4111" y="42474"/>
                        <a:pt x="1744" y="47955"/>
                        <a:pt x="0"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8" name="Freeform 5393">
                  <a:extLst>
                    <a:ext uri="{FF2B5EF4-FFF2-40B4-BE49-F238E27FC236}">
                      <a16:creationId xmlns:a16="http://schemas.microsoft.com/office/drawing/2014/main" id="{AADB4D53-6B50-35EF-C10A-8733256C0C97}"/>
                    </a:ext>
                  </a:extLst>
                </p:cNvPr>
                <p:cNvSpPr/>
                <p:nvPr/>
              </p:nvSpPr>
              <p:spPr>
                <a:xfrm>
                  <a:off x="9882042" y="5682769"/>
                  <a:ext cx="8926" cy="51567"/>
                </a:xfrm>
                <a:custGeom>
                  <a:avLst/>
                  <a:gdLst>
                    <a:gd name="connsiteX0" fmla="*/ 487 w 8926"/>
                    <a:gd name="connsiteY0" fmla="*/ 51567 h 51567"/>
                    <a:gd name="connsiteX1" fmla="*/ 1609 w 8926"/>
                    <a:gd name="connsiteY1" fmla="*/ 32759 h 51567"/>
                    <a:gd name="connsiteX2" fmla="*/ 7837 w 8926"/>
                    <a:gd name="connsiteY2" fmla="*/ 16442 h 51567"/>
                    <a:gd name="connsiteX3" fmla="*/ 8335 w 8926"/>
                    <a:gd name="connsiteY3" fmla="*/ 0 h 51567"/>
                  </a:gdLst>
                  <a:ahLst/>
                  <a:cxnLst>
                    <a:cxn ang="0">
                      <a:pos x="connsiteX0" y="connsiteY0"/>
                    </a:cxn>
                    <a:cxn ang="0">
                      <a:pos x="connsiteX1" y="connsiteY1"/>
                    </a:cxn>
                    <a:cxn ang="0">
                      <a:pos x="connsiteX2" y="connsiteY2"/>
                    </a:cxn>
                    <a:cxn ang="0">
                      <a:pos x="connsiteX3" y="connsiteY3"/>
                    </a:cxn>
                  </a:cxnLst>
                  <a:rect l="l" t="t" r="r" b="b"/>
                  <a:pathLst>
                    <a:path w="8926" h="51567">
                      <a:moveTo>
                        <a:pt x="487" y="51567"/>
                      </a:moveTo>
                      <a:cubicBezTo>
                        <a:pt x="-633" y="43222"/>
                        <a:pt x="364" y="36994"/>
                        <a:pt x="1609" y="32759"/>
                      </a:cubicBezTo>
                      <a:cubicBezTo>
                        <a:pt x="3478" y="26033"/>
                        <a:pt x="6093" y="23417"/>
                        <a:pt x="7837" y="16442"/>
                      </a:cubicBezTo>
                      <a:cubicBezTo>
                        <a:pt x="9456" y="9715"/>
                        <a:pt x="8958" y="3861"/>
                        <a:pt x="833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9" name="Freeform 5394">
                  <a:extLst>
                    <a:ext uri="{FF2B5EF4-FFF2-40B4-BE49-F238E27FC236}">
                      <a16:creationId xmlns:a16="http://schemas.microsoft.com/office/drawing/2014/main" id="{07BD81D8-8170-0D6D-F258-370C89BFD21E}"/>
                    </a:ext>
                  </a:extLst>
                </p:cNvPr>
                <p:cNvSpPr/>
                <p:nvPr/>
              </p:nvSpPr>
              <p:spPr>
                <a:xfrm>
                  <a:off x="9873994" y="5666914"/>
                  <a:ext cx="26633" cy="26478"/>
                </a:xfrm>
                <a:custGeom>
                  <a:avLst/>
                  <a:gdLst>
                    <a:gd name="connsiteX0" fmla="*/ 26472 w 26633"/>
                    <a:gd name="connsiteY0" fmla="*/ 15357 h 26478"/>
                    <a:gd name="connsiteX1" fmla="*/ 11152 w 26633"/>
                    <a:gd name="connsiteY1" fmla="*/ 26318 h 26478"/>
                    <a:gd name="connsiteX2" fmla="*/ 191 w 26633"/>
                    <a:gd name="connsiteY2" fmla="*/ 11122 h 26478"/>
                    <a:gd name="connsiteX3" fmla="*/ 15511 w 26633"/>
                    <a:gd name="connsiteY3" fmla="*/ 161 h 26478"/>
                    <a:gd name="connsiteX4" fmla="*/ 26472 w 26633"/>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3" h="26477">
                      <a:moveTo>
                        <a:pt x="26472" y="15357"/>
                      </a:moveTo>
                      <a:cubicBezTo>
                        <a:pt x="25227" y="22581"/>
                        <a:pt x="18377" y="27439"/>
                        <a:pt x="11152" y="26318"/>
                      </a:cubicBezTo>
                      <a:cubicBezTo>
                        <a:pt x="3928" y="25197"/>
                        <a:pt x="-1054" y="18346"/>
                        <a:pt x="191" y="11122"/>
                      </a:cubicBezTo>
                      <a:cubicBezTo>
                        <a:pt x="1312" y="3898"/>
                        <a:pt x="8288" y="-960"/>
                        <a:pt x="15511" y="161"/>
                      </a:cubicBezTo>
                      <a:cubicBezTo>
                        <a:pt x="22736" y="1282"/>
                        <a:pt x="27594" y="8133"/>
                        <a:pt x="26472"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0" name="Freeform 5395">
                  <a:extLst>
                    <a:ext uri="{FF2B5EF4-FFF2-40B4-BE49-F238E27FC236}">
                      <a16:creationId xmlns:a16="http://schemas.microsoft.com/office/drawing/2014/main" id="{56BCEC1B-9FBE-8520-2E5D-6A73233C1F8E}"/>
                    </a:ext>
                  </a:extLst>
                </p:cNvPr>
                <p:cNvSpPr/>
                <p:nvPr/>
              </p:nvSpPr>
              <p:spPr>
                <a:xfrm>
                  <a:off x="9872067" y="5743055"/>
                  <a:ext cx="9092" cy="51442"/>
                </a:xfrm>
                <a:custGeom>
                  <a:avLst/>
                  <a:gdLst>
                    <a:gd name="connsiteX0" fmla="*/ 0 w 9092"/>
                    <a:gd name="connsiteY0" fmla="*/ 51442 h 51442"/>
                    <a:gd name="connsiteX1" fmla="*/ 4982 w 9092"/>
                    <a:gd name="connsiteY1" fmla="*/ 33257 h 51442"/>
                    <a:gd name="connsiteX2" fmla="*/ 4359 w 9092"/>
                    <a:gd name="connsiteY2" fmla="*/ 15819 h 51442"/>
                    <a:gd name="connsiteX3" fmla="*/ 9092 w 9092"/>
                    <a:gd name="connsiteY3" fmla="*/ 0 h 51442"/>
                  </a:gdLst>
                  <a:ahLst/>
                  <a:cxnLst>
                    <a:cxn ang="0">
                      <a:pos x="connsiteX0" y="connsiteY0"/>
                    </a:cxn>
                    <a:cxn ang="0">
                      <a:pos x="connsiteX1" y="connsiteY1"/>
                    </a:cxn>
                    <a:cxn ang="0">
                      <a:pos x="connsiteX2" y="connsiteY2"/>
                    </a:cxn>
                    <a:cxn ang="0">
                      <a:pos x="connsiteX3" y="connsiteY3"/>
                    </a:cxn>
                  </a:cxnLst>
                  <a:rect l="l" t="t" r="r" b="b"/>
                  <a:pathLst>
                    <a:path w="9092" h="51442">
                      <a:moveTo>
                        <a:pt x="0" y="51442"/>
                      </a:moveTo>
                      <a:cubicBezTo>
                        <a:pt x="3737" y="43845"/>
                        <a:pt x="4733" y="37617"/>
                        <a:pt x="4982" y="33257"/>
                      </a:cubicBezTo>
                      <a:cubicBezTo>
                        <a:pt x="5356" y="26282"/>
                        <a:pt x="3737" y="22919"/>
                        <a:pt x="4359" y="15819"/>
                      </a:cubicBezTo>
                      <a:cubicBezTo>
                        <a:pt x="4982" y="8968"/>
                        <a:pt x="7348" y="3488"/>
                        <a:pt x="90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1" name="Freeform 5396">
                  <a:extLst>
                    <a:ext uri="{FF2B5EF4-FFF2-40B4-BE49-F238E27FC236}">
                      <a16:creationId xmlns:a16="http://schemas.microsoft.com/office/drawing/2014/main" id="{71A51B51-1A35-5B39-C453-92EE6EDD46B2}"/>
                    </a:ext>
                  </a:extLst>
                </p:cNvPr>
                <p:cNvSpPr/>
                <p:nvPr/>
              </p:nvSpPr>
              <p:spPr>
                <a:xfrm>
                  <a:off x="9863878" y="5746792"/>
                  <a:ext cx="8802" cy="51566"/>
                </a:xfrm>
                <a:custGeom>
                  <a:avLst/>
                  <a:gdLst>
                    <a:gd name="connsiteX0" fmla="*/ 8315 w 8802"/>
                    <a:gd name="connsiteY0" fmla="*/ 0 h 51566"/>
                    <a:gd name="connsiteX1" fmla="*/ 7193 w 8802"/>
                    <a:gd name="connsiteY1" fmla="*/ 18808 h 51566"/>
                    <a:gd name="connsiteX2" fmla="*/ 1090 w 8802"/>
                    <a:gd name="connsiteY2" fmla="*/ 35125 h 51566"/>
                    <a:gd name="connsiteX3" fmla="*/ 592 w 8802"/>
                    <a:gd name="connsiteY3" fmla="*/ 51567 h 51566"/>
                  </a:gdLst>
                  <a:ahLst/>
                  <a:cxnLst>
                    <a:cxn ang="0">
                      <a:pos x="connsiteX0" y="connsiteY0"/>
                    </a:cxn>
                    <a:cxn ang="0">
                      <a:pos x="connsiteX1" y="connsiteY1"/>
                    </a:cxn>
                    <a:cxn ang="0">
                      <a:pos x="connsiteX2" y="connsiteY2"/>
                    </a:cxn>
                    <a:cxn ang="0">
                      <a:pos x="connsiteX3" y="connsiteY3"/>
                    </a:cxn>
                  </a:cxnLst>
                  <a:rect l="l" t="t" r="r" b="b"/>
                  <a:pathLst>
                    <a:path w="8802" h="51566">
                      <a:moveTo>
                        <a:pt x="8315" y="0"/>
                      </a:moveTo>
                      <a:cubicBezTo>
                        <a:pt x="9435" y="8345"/>
                        <a:pt x="8439" y="14573"/>
                        <a:pt x="7193" y="18808"/>
                      </a:cubicBezTo>
                      <a:cubicBezTo>
                        <a:pt x="5325" y="25534"/>
                        <a:pt x="2709" y="28150"/>
                        <a:pt x="1090" y="35125"/>
                      </a:cubicBezTo>
                      <a:cubicBezTo>
                        <a:pt x="-529" y="41851"/>
                        <a:pt x="-31" y="47705"/>
                        <a:pt x="59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92" name="Freeform 5397">
                  <a:extLst>
                    <a:ext uri="{FF2B5EF4-FFF2-40B4-BE49-F238E27FC236}">
                      <a16:creationId xmlns:a16="http://schemas.microsoft.com/office/drawing/2014/main" id="{4F677133-87DC-03C3-1CB5-22E52B9E9D6E}"/>
                    </a:ext>
                  </a:extLst>
                </p:cNvPr>
                <p:cNvSpPr/>
                <p:nvPr/>
              </p:nvSpPr>
              <p:spPr>
                <a:xfrm>
                  <a:off x="9854219" y="5787735"/>
                  <a:ext cx="26232" cy="26478"/>
                </a:xfrm>
                <a:custGeom>
                  <a:avLst/>
                  <a:gdLst>
                    <a:gd name="connsiteX0" fmla="*/ 161 w 26232"/>
                    <a:gd name="connsiteY0" fmla="*/ 11122 h 26478"/>
                    <a:gd name="connsiteX1" fmla="*/ 15232 w 26232"/>
                    <a:gd name="connsiteY1" fmla="*/ 161 h 26478"/>
                    <a:gd name="connsiteX2" fmla="*/ 26068 w 26232"/>
                    <a:gd name="connsiteY2" fmla="*/ 15357 h 26478"/>
                    <a:gd name="connsiteX3" fmla="*/ 10997 w 26232"/>
                    <a:gd name="connsiteY3" fmla="*/ 26318 h 26478"/>
                    <a:gd name="connsiteX4" fmla="*/ 161 w 26232"/>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477">
                      <a:moveTo>
                        <a:pt x="161" y="11122"/>
                      </a:moveTo>
                      <a:cubicBezTo>
                        <a:pt x="1282" y="3897"/>
                        <a:pt x="8132" y="-960"/>
                        <a:pt x="15232" y="161"/>
                      </a:cubicBezTo>
                      <a:cubicBezTo>
                        <a:pt x="22457" y="1282"/>
                        <a:pt x="27190" y="8132"/>
                        <a:pt x="26068" y="15357"/>
                      </a:cubicBezTo>
                      <a:cubicBezTo>
                        <a:pt x="24823" y="22581"/>
                        <a:pt x="18097" y="27439"/>
                        <a:pt x="10997" y="26318"/>
                      </a:cubicBezTo>
                      <a:cubicBezTo>
                        <a:pt x="3898" y="25072"/>
                        <a:pt x="-960" y="18346"/>
                        <a:pt x="161"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3" name="Graphic 2987">
                <a:extLst>
                  <a:ext uri="{FF2B5EF4-FFF2-40B4-BE49-F238E27FC236}">
                    <a16:creationId xmlns:a16="http://schemas.microsoft.com/office/drawing/2014/main" id="{DDDC0F0A-E941-47E6-F913-C1E9DBFA1118}"/>
                  </a:ext>
                </a:extLst>
              </p:cNvPr>
              <p:cNvGrpSpPr/>
              <p:nvPr/>
            </p:nvGrpSpPr>
            <p:grpSpPr>
              <a:xfrm>
                <a:off x="9883207" y="5671772"/>
                <a:ext cx="46849" cy="147175"/>
                <a:chOff x="9883207" y="5671772"/>
                <a:chExt cx="46849" cy="147175"/>
              </a:xfrm>
              <a:grpFill/>
            </p:grpSpPr>
            <p:sp>
              <p:nvSpPr>
                <p:cNvPr id="4181" name="Freeform 5399">
                  <a:extLst>
                    <a:ext uri="{FF2B5EF4-FFF2-40B4-BE49-F238E27FC236}">
                      <a16:creationId xmlns:a16="http://schemas.microsoft.com/office/drawing/2014/main" id="{FCBC2474-E6BF-CD17-7DBE-07E13250ECC7}"/>
                    </a:ext>
                  </a:extLst>
                </p:cNvPr>
                <p:cNvSpPr/>
                <p:nvPr/>
              </p:nvSpPr>
              <p:spPr>
                <a:xfrm>
                  <a:off x="9902460" y="5691363"/>
                  <a:ext cx="9466" cy="51317"/>
                </a:xfrm>
                <a:custGeom>
                  <a:avLst/>
                  <a:gdLst>
                    <a:gd name="connsiteX0" fmla="*/ 9467 w 9466"/>
                    <a:gd name="connsiteY0" fmla="*/ 0 h 51317"/>
                    <a:gd name="connsiteX1" fmla="*/ 4359 w 9466"/>
                    <a:gd name="connsiteY1" fmla="*/ 18061 h 51317"/>
                    <a:gd name="connsiteX2" fmla="*/ 4858 w 9466"/>
                    <a:gd name="connsiteY2" fmla="*/ 35499 h 51317"/>
                    <a:gd name="connsiteX3" fmla="*/ 0 w 9466"/>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466" h="51317">
                      <a:moveTo>
                        <a:pt x="9467" y="0"/>
                      </a:moveTo>
                      <a:cubicBezTo>
                        <a:pt x="5729" y="7474"/>
                        <a:pt x="4609" y="13826"/>
                        <a:pt x="4359" y="18061"/>
                      </a:cubicBezTo>
                      <a:cubicBezTo>
                        <a:pt x="3986" y="25036"/>
                        <a:pt x="5605" y="28399"/>
                        <a:pt x="4858" y="35499"/>
                      </a:cubicBezTo>
                      <a:cubicBezTo>
                        <a:pt x="4235" y="42350"/>
                        <a:pt x="1868" y="47830"/>
                        <a:pt x="0"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2" name="Freeform 5400">
                  <a:extLst>
                    <a:ext uri="{FF2B5EF4-FFF2-40B4-BE49-F238E27FC236}">
                      <a16:creationId xmlns:a16="http://schemas.microsoft.com/office/drawing/2014/main" id="{06C87854-E5D7-E4B1-E5AB-E3C145FCAE4C}"/>
                    </a:ext>
                  </a:extLst>
                </p:cNvPr>
                <p:cNvSpPr/>
                <p:nvPr/>
              </p:nvSpPr>
              <p:spPr>
                <a:xfrm>
                  <a:off x="9911212" y="5687502"/>
                  <a:ext cx="8968" cy="51566"/>
                </a:xfrm>
                <a:custGeom>
                  <a:avLst/>
                  <a:gdLst>
                    <a:gd name="connsiteX0" fmla="*/ 464 w 8968"/>
                    <a:gd name="connsiteY0" fmla="*/ 51567 h 51566"/>
                    <a:gd name="connsiteX1" fmla="*/ 1586 w 8968"/>
                    <a:gd name="connsiteY1" fmla="*/ 32759 h 51566"/>
                    <a:gd name="connsiteX2" fmla="*/ 7814 w 8968"/>
                    <a:gd name="connsiteY2" fmla="*/ 16442 h 51566"/>
                    <a:gd name="connsiteX3" fmla="*/ 8436 w 8968"/>
                    <a:gd name="connsiteY3" fmla="*/ 0 h 51566"/>
                  </a:gdLst>
                  <a:ahLst/>
                  <a:cxnLst>
                    <a:cxn ang="0">
                      <a:pos x="connsiteX0" y="connsiteY0"/>
                    </a:cxn>
                    <a:cxn ang="0">
                      <a:pos x="connsiteX1" y="connsiteY1"/>
                    </a:cxn>
                    <a:cxn ang="0">
                      <a:pos x="connsiteX2" y="connsiteY2"/>
                    </a:cxn>
                    <a:cxn ang="0">
                      <a:pos x="connsiteX3" y="connsiteY3"/>
                    </a:cxn>
                  </a:cxnLst>
                  <a:rect l="l" t="t" r="r" b="b"/>
                  <a:pathLst>
                    <a:path w="8968" h="51566">
                      <a:moveTo>
                        <a:pt x="464" y="51567"/>
                      </a:moveTo>
                      <a:cubicBezTo>
                        <a:pt x="-657" y="43222"/>
                        <a:pt x="464" y="36994"/>
                        <a:pt x="1586" y="32759"/>
                      </a:cubicBezTo>
                      <a:cubicBezTo>
                        <a:pt x="3454" y="26033"/>
                        <a:pt x="6070" y="23417"/>
                        <a:pt x="7814" y="16442"/>
                      </a:cubicBezTo>
                      <a:cubicBezTo>
                        <a:pt x="9432" y="9715"/>
                        <a:pt x="9059" y="3861"/>
                        <a:pt x="843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3" name="Freeform 5401">
                  <a:extLst>
                    <a:ext uri="{FF2B5EF4-FFF2-40B4-BE49-F238E27FC236}">
                      <a16:creationId xmlns:a16="http://schemas.microsoft.com/office/drawing/2014/main" id="{66315A51-A459-E9A3-6466-3CFE04E91FFF}"/>
                    </a:ext>
                  </a:extLst>
                </p:cNvPr>
                <p:cNvSpPr/>
                <p:nvPr/>
              </p:nvSpPr>
              <p:spPr>
                <a:xfrm>
                  <a:off x="9903389" y="5671772"/>
                  <a:ext cx="26667" cy="26478"/>
                </a:xfrm>
                <a:custGeom>
                  <a:avLst/>
                  <a:gdLst>
                    <a:gd name="connsiteX0" fmla="*/ 26473 w 26667"/>
                    <a:gd name="connsiteY0" fmla="*/ 15357 h 26478"/>
                    <a:gd name="connsiteX1" fmla="*/ 11152 w 26667"/>
                    <a:gd name="connsiteY1" fmla="*/ 26318 h 26478"/>
                    <a:gd name="connsiteX2" fmla="*/ 191 w 26667"/>
                    <a:gd name="connsiteY2" fmla="*/ 11122 h 26478"/>
                    <a:gd name="connsiteX3" fmla="*/ 15512 w 26667"/>
                    <a:gd name="connsiteY3" fmla="*/ 161 h 26478"/>
                    <a:gd name="connsiteX4" fmla="*/ 26473 w 26667"/>
                    <a:gd name="connsiteY4" fmla="*/ 15357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477">
                      <a:moveTo>
                        <a:pt x="26473" y="15357"/>
                      </a:moveTo>
                      <a:cubicBezTo>
                        <a:pt x="25227" y="22581"/>
                        <a:pt x="18377" y="27439"/>
                        <a:pt x="11152" y="26318"/>
                      </a:cubicBezTo>
                      <a:cubicBezTo>
                        <a:pt x="3928" y="25197"/>
                        <a:pt x="-1054" y="18346"/>
                        <a:pt x="191" y="11122"/>
                      </a:cubicBezTo>
                      <a:cubicBezTo>
                        <a:pt x="1437" y="3897"/>
                        <a:pt x="8287" y="-960"/>
                        <a:pt x="15512" y="161"/>
                      </a:cubicBezTo>
                      <a:cubicBezTo>
                        <a:pt x="22861" y="1282"/>
                        <a:pt x="27718" y="8132"/>
                        <a:pt x="26473" y="1535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4" name="Freeform 5402">
                  <a:extLst>
                    <a:ext uri="{FF2B5EF4-FFF2-40B4-BE49-F238E27FC236}">
                      <a16:creationId xmlns:a16="http://schemas.microsoft.com/office/drawing/2014/main" id="{470A6731-1B79-40C0-0F98-A1EBE32084E9}"/>
                    </a:ext>
                  </a:extLst>
                </p:cNvPr>
                <p:cNvSpPr/>
                <p:nvPr/>
              </p:nvSpPr>
              <p:spPr>
                <a:xfrm>
                  <a:off x="9901090" y="5747788"/>
                  <a:ext cx="9465" cy="51442"/>
                </a:xfrm>
                <a:custGeom>
                  <a:avLst/>
                  <a:gdLst>
                    <a:gd name="connsiteX0" fmla="*/ 0 w 9465"/>
                    <a:gd name="connsiteY0" fmla="*/ 51442 h 51442"/>
                    <a:gd name="connsiteX1" fmla="*/ 5107 w 9465"/>
                    <a:gd name="connsiteY1" fmla="*/ 33257 h 51442"/>
                    <a:gd name="connsiteX2" fmla="*/ 4609 w 9465"/>
                    <a:gd name="connsiteY2" fmla="*/ 15819 h 51442"/>
                    <a:gd name="connsiteX3" fmla="*/ 9466 w 9465"/>
                    <a:gd name="connsiteY3" fmla="*/ 0 h 51442"/>
                  </a:gdLst>
                  <a:ahLst/>
                  <a:cxnLst>
                    <a:cxn ang="0">
                      <a:pos x="connsiteX0" y="connsiteY0"/>
                    </a:cxn>
                    <a:cxn ang="0">
                      <a:pos x="connsiteX1" y="connsiteY1"/>
                    </a:cxn>
                    <a:cxn ang="0">
                      <a:pos x="connsiteX2" y="connsiteY2"/>
                    </a:cxn>
                    <a:cxn ang="0">
                      <a:pos x="connsiteX3" y="connsiteY3"/>
                    </a:cxn>
                  </a:cxnLst>
                  <a:rect l="l" t="t" r="r" b="b"/>
                  <a:pathLst>
                    <a:path w="9465" h="51442">
                      <a:moveTo>
                        <a:pt x="0" y="51442"/>
                      </a:moveTo>
                      <a:cubicBezTo>
                        <a:pt x="3737" y="43969"/>
                        <a:pt x="4857" y="37616"/>
                        <a:pt x="5107" y="33257"/>
                      </a:cubicBezTo>
                      <a:cubicBezTo>
                        <a:pt x="5481" y="26281"/>
                        <a:pt x="3861" y="22919"/>
                        <a:pt x="4609" y="15819"/>
                      </a:cubicBezTo>
                      <a:cubicBezTo>
                        <a:pt x="5231" y="8968"/>
                        <a:pt x="7598" y="3488"/>
                        <a:pt x="94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5" name="Freeform 5403">
                  <a:extLst>
                    <a:ext uri="{FF2B5EF4-FFF2-40B4-BE49-F238E27FC236}">
                      <a16:creationId xmlns:a16="http://schemas.microsoft.com/office/drawing/2014/main" id="{2DC1AC3D-855E-3DBE-573F-D23F644FA1D4}"/>
                    </a:ext>
                  </a:extLst>
                </p:cNvPr>
                <p:cNvSpPr/>
                <p:nvPr/>
              </p:nvSpPr>
              <p:spPr>
                <a:xfrm>
                  <a:off x="9892835" y="5751525"/>
                  <a:ext cx="8967" cy="51567"/>
                </a:xfrm>
                <a:custGeom>
                  <a:avLst/>
                  <a:gdLst>
                    <a:gd name="connsiteX0" fmla="*/ 8503 w 8967"/>
                    <a:gd name="connsiteY0" fmla="*/ 0 h 51567"/>
                    <a:gd name="connsiteX1" fmla="*/ 7383 w 8967"/>
                    <a:gd name="connsiteY1" fmla="*/ 18808 h 51567"/>
                    <a:gd name="connsiteX2" fmla="*/ 1155 w 8967"/>
                    <a:gd name="connsiteY2" fmla="*/ 35125 h 51567"/>
                    <a:gd name="connsiteX3" fmla="*/ 532 w 8967"/>
                    <a:gd name="connsiteY3" fmla="*/ 51567 h 51567"/>
                  </a:gdLst>
                  <a:ahLst/>
                  <a:cxnLst>
                    <a:cxn ang="0">
                      <a:pos x="connsiteX0" y="connsiteY0"/>
                    </a:cxn>
                    <a:cxn ang="0">
                      <a:pos x="connsiteX1" y="connsiteY1"/>
                    </a:cxn>
                    <a:cxn ang="0">
                      <a:pos x="connsiteX2" y="connsiteY2"/>
                    </a:cxn>
                    <a:cxn ang="0">
                      <a:pos x="connsiteX3" y="connsiteY3"/>
                    </a:cxn>
                  </a:cxnLst>
                  <a:rect l="l" t="t" r="r" b="b"/>
                  <a:pathLst>
                    <a:path w="8967" h="51567">
                      <a:moveTo>
                        <a:pt x="8503" y="0"/>
                      </a:moveTo>
                      <a:cubicBezTo>
                        <a:pt x="9625" y="8346"/>
                        <a:pt x="8503" y="14573"/>
                        <a:pt x="7383" y="18808"/>
                      </a:cubicBezTo>
                      <a:cubicBezTo>
                        <a:pt x="5514" y="25535"/>
                        <a:pt x="2898" y="28150"/>
                        <a:pt x="1155" y="35125"/>
                      </a:cubicBezTo>
                      <a:cubicBezTo>
                        <a:pt x="-464" y="41852"/>
                        <a:pt x="-91" y="47706"/>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6" name="Freeform 5404">
                  <a:extLst>
                    <a:ext uri="{FF2B5EF4-FFF2-40B4-BE49-F238E27FC236}">
                      <a16:creationId xmlns:a16="http://schemas.microsoft.com/office/drawing/2014/main" id="{CD8A5E49-5A1F-8A2D-38D5-286A4D289296}"/>
                    </a:ext>
                  </a:extLst>
                </p:cNvPr>
                <p:cNvSpPr/>
                <p:nvPr/>
              </p:nvSpPr>
              <p:spPr>
                <a:xfrm>
                  <a:off x="9883207" y="5792468"/>
                  <a:ext cx="26301" cy="26478"/>
                </a:xfrm>
                <a:custGeom>
                  <a:avLst/>
                  <a:gdLst>
                    <a:gd name="connsiteX0" fmla="*/ 195 w 26301"/>
                    <a:gd name="connsiteY0" fmla="*/ 11122 h 26478"/>
                    <a:gd name="connsiteX1" fmla="*/ 15391 w 26301"/>
                    <a:gd name="connsiteY1" fmla="*/ 161 h 26478"/>
                    <a:gd name="connsiteX2" fmla="*/ 26103 w 26301"/>
                    <a:gd name="connsiteY2" fmla="*/ 15357 h 26478"/>
                    <a:gd name="connsiteX3" fmla="*/ 10907 w 26301"/>
                    <a:gd name="connsiteY3" fmla="*/ 26318 h 26478"/>
                    <a:gd name="connsiteX4" fmla="*/ 195 w 26301"/>
                    <a:gd name="connsiteY4" fmla="*/ 11122 h 26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1" h="26477">
                      <a:moveTo>
                        <a:pt x="195" y="11122"/>
                      </a:moveTo>
                      <a:cubicBezTo>
                        <a:pt x="1441" y="3897"/>
                        <a:pt x="8167" y="-960"/>
                        <a:pt x="15391" y="161"/>
                      </a:cubicBezTo>
                      <a:cubicBezTo>
                        <a:pt x="22616" y="1282"/>
                        <a:pt x="27348" y="8132"/>
                        <a:pt x="26103" y="15357"/>
                      </a:cubicBezTo>
                      <a:cubicBezTo>
                        <a:pt x="24858" y="22581"/>
                        <a:pt x="18131" y="27439"/>
                        <a:pt x="10907" y="26318"/>
                      </a:cubicBezTo>
                      <a:cubicBezTo>
                        <a:pt x="3808" y="25072"/>
                        <a:pt x="-1050" y="18346"/>
                        <a:pt x="195" y="1112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4" name="Graphic 2987">
                <a:extLst>
                  <a:ext uri="{FF2B5EF4-FFF2-40B4-BE49-F238E27FC236}">
                    <a16:creationId xmlns:a16="http://schemas.microsoft.com/office/drawing/2014/main" id="{2E18401B-A48C-4629-F27D-B2CD91C9ACAA}"/>
                  </a:ext>
                </a:extLst>
              </p:cNvPr>
              <p:cNvGrpSpPr/>
              <p:nvPr/>
            </p:nvGrpSpPr>
            <p:grpSpPr>
              <a:xfrm>
                <a:off x="9912135" y="5676563"/>
                <a:ext cx="47317" cy="147154"/>
                <a:chOff x="9912135" y="5676563"/>
                <a:chExt cx="47317" cy="147154"/>
              </a:xfrm>
              <a:grpFill/>
            </p:grpSpPr>
            <p:sp>
              <p:nvSpPr>
                <p:cNvPr id="4175" name="Freeform 5406">
                  <a:extLst>
                    <a:ext uri="{FF2B5EF4-FFF2-40B4-BE49-F238E27FC236}">
                      <a16:creationId xmlns:a16="http://schemas.microsoft.com/office/drawing/2014/main" id="{E916CC42-BE5F-CECC-535B-143C36F6A8C7}"/>
                    </a:ext>
                  </a:extLst>
                </p:cNvPr>
                <p:cNvSpPr/>
                <p:nvPr/>
              </p:nvSpPr>
              <p:spPr>
                <a:xfrm>
                  <a:off x="9931855" y="5696221"/>
                  <a:ext cx="9466" cy="51193"/>
                </a:xfrm>
                <a:custGeom>
                  <a:avLst/>
                  <a:gdLst>
                    <a:gd name="connsiteX0" fmla="*/ 9467 w 9466"/>
                    <a:gd name="connsiteY0" fmla="*/ 0 h 51193"/>
                    <a:gd name="connsiteX1" fmla="*/ 4359 w 9466"/>
                    <a:gd name="connsiteY1" fmla="*/ 18061 h 51193"/>
                    <a:gd name="connsiteX2" fmla="*/ 4858 w 9466"/>
                    <a:gd name="connsiteY2" fmla="*/ 35499 h 51193"/>
                    <a:gd name="connsiteX3" fmla="*/ 0 w 946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466" h="51193">
                      <a:moveTo>
                        <a:pt x="9467" y="0"/>
                      </a:moveTo>
                      <a:cubicBezTo>
                        <a:pt x="5605" y="7474"/>
                        <a:pt x="4609" y="13701"/>
                        <a:pt x="4359" y="18061"/>
                      </a:cubicBezTo>
                      <a:cubicBezTo>
                        <a:pt x="3986" y="25036"/>
                        <a:pt x="5481" y="28400"/>
                        <a:pt x="4858" y="35499"/>
                      </a:cubicBezTo>
                      <a:cubicBezTo>
                        <a:pt x="4235" y="42350"/>
                        <a:pt x="1869" y="47830"/>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6" name="Freeform 5407">
                  <a:extLst>
                    <a:ext uri="{FF2B5EF4-FFF2-40B4-BE49-F238E27FC236}">
                      <a16:creationId xmlns:a16="http://schemas.microsoft.com/office/drawing/2014/main" id="{E2A78BE3-DC5C-A22F-6C4F-4B14C2DAD5A1}"/>
                    </a:ext>
                  </a:extLst>
                </p:cNvPr>
                <p:cNvSpPr/>
                <p:nvPr/>
              </p:nvSpPr>
              <p:spPr>
                <a:xfrm>
                  <a:off x="9940486" y="5692360"/>
                  <a:ext cx="9089" cy="51567"/>
                </a:xfrm>
                <a:custGeom>
                  <a:avLst/>
                  <a:gdLst>
                    <a:gd name="connsiteX0" fmla="*/ 461 w 9089"/>
                    <a:gd name="connsiteY0" fmla="*/ 51567 h 51567"/>
                    <a:gd name="connsiteX1" fmla="*/ 1707 w 9089"/>
                    <a:gd name="connsiteY1" fmla="*/ 32759 h 51567"/>
                    <a:gd name="connsiteX2" fmla="*/ 7935 w 9089"/>
                    <a:gd name="connsiteY2" fmla="*/ 16566 h 51567"/>
                    <a:gd name="connsiteX3" fmla="*/ 8558 w 9089"/>
                    <a:gd name="connsiteY3" fmla="*/ 0 h 51567"/>
                  </a:gdLst>
                  <a:ahLst/>
                  <a:cxnLst>
                    <a:cxn ang="0">
                      <a:pos x="connsiteX0" y="connsiteY0"/>
                    </a:cxn>
                    <a:cxn ang="0">
                      <a:pos x="connsiteX1" y="connsiteY1"/>
                    </a:cxn>
                    <a:cxn ang="0">
                      <a:pos x="connsiteX2" y="connsiteY2"/>
                    </a:cxn>
                    <a:cxn ang="0">
                      <a:pos x="connsiteX3" y="connsiteY3"/>
                    </a:cxn>
                  </a:cxnLst>
                  <a:rect l="l" t="t" r="r" b="b"/>
                  <a:pathLst>
                    <a:path w="9089" h="51567">
                      <a:moveTo>
                        <a:pt x="461" y="51567"/>
                      </a:moveTo>
                      <a:cubicBezTo>
                        <a:pt x="-660" y="43222"/>
                        <a:pt x="461" y="36994"/>
                        <a:pt x="1707" y="32759"/>
                      </a:cubicBezTo>
                      <a:cubicBezTo>
                        <a:pt x="3700" y="26033"/>
                        <a:pt x="6316" y="23417"/>
                        <a:pt x="7935" y="16566"/>
                      </a:cubicBezTo>
                      <a:cubicBezTo>
                        <a:pt x="9554" y="9840"/>
                        <a:pt x="9180" y="3986"/>
                        <a:pt x="85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7" name="Freeform 5408">
                  <a:extLst>
                    <a:ext uri="{FF2B5EF4-FFF2-40B4-BE49-F238E27FC236}">
                      <a16:creationId xmlns:a16="http://schemas.microsoft.com/office/drawing/2014/main" id="{3AA56548-1F3D-E06F-5403-F91ED960B61B}"/>
                    </a:ext>
                  </a:extLst>
                </p:cNvPr>
                <p:cNvSpPr/>
                <p:nvPr/>
              </p:nvSpPr>
              <p:spPr>
                <a:xfrm>
                  <a:off x="9932691" y="5676563"/>
                  <a:ext cx="26761" cy="26582"/>
                </a:xfrm>
                <a:custGeom>
                  <a:avLst/>
                  <a:gdLst>
                    <a:gd name="connsiteX0" fmla="*/ 26567 w 26761"/>
                    <a:gd name="connsiteY0" fmla="*/ 15672 h 26582"/>
                    <a:gd name="connsiteX1" fmla="*/ 11122 w 26761"/>
                    <a:gd name="connsiteY1" fmla="*/ 26384 h 26582"/>
                    <a:gd name="connsiteX2" fmla="*/ 161 w 26761"/>
                    <a:gd name="connsiteY2" fmla="*/ 11064 h 26582"/>
                    <a:gd name="connsiteX3" fmla="*/ 15606 w 26761"/>
                    <a:gd name="connsiteY3" fmla="*/ 227 h 26582"/>
                    <a:gd name="connsiteX4" fmla="*/ 26567 w 26761"/>
                    <a:gd name="connsiteY4" fmla="*/ 15672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60" h="26581">
                      <a:moveTo>
                        <a:pt x="26567" y="15672"/>
                      </a:moveTo>
                      <a:cubicBezTo>
                        <a:pt x="25321" y="22897"/>
                        <a:pt x="18470" y="27630"/>
                        <a:pt x="11122" y="26384"/>
                      </a:cubicBezTo>
                      <a:cubicBezTo>
                        <a:pt x="3897" y="25014"/>
                        <a:pt x="-961" y="18288"/>
                        <a:pt x="161" y="11064"/>
                      </a:cubicBezTo>
                      <a:cubicBezTo>
                        <a:pt x="1406" y="3839"/>
                        <a:pt x="8257" y="-1143"/>
                        <a:pt x="15606" y="227"/>
                      </a:cubicBezTo>
                      <a:cubicBezTo>
                        <a:pt x="22955" y="1473"/>
                        <a:pt x="27812" y="8448"/>
                        <a:pt x="26567" y="1567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8" name="Freeform 5409">
                  <a:extLst>
                    <a:ext uri="{FF2B5EF4-FFF2-40B4-BE49-F238E27FC236}">
                      <a16:creationId xmlns:a16="http://schemas.microsoft.com/office/drawing/2014/main" id="{C2FC899E-828E-28FA-234B-80FC8803C937}"/>
                    </a:ext>
                  </a:extLst>
                </p:cNvPr>
                <p:cNvSpPr/>
                <p:nvPr/>
              </p:nvSpPr>
              <p:spPr>
                <a:xfrm>
                  <a:off x="9929986" y="5752895"/>
                  <a:ext cx="9591" cy="51193"/>
                </a:xfrm>
                <a:custGeom>
                  <a:avLst/>
                  <a:gdLst>
                    <a:gd name="connsiteX0" fmla="*/ 0 w 9591"/>
                    <a:gd name="connsiteY0" fmla="*/ 51193 h 51193"/>
                    <a:gd name="connsiteX1" fmla="*/ 5107 w 9591"/>
                    <a:gd name="connsiteY1" fmla="*/ 33132 h 51193"/>
                    <a:gd name="connsiteX2" fmla="*/ 4733 w 9591"/>
                    <a:gd name="connsiteY2" fmla="*/ 15694 h 51193"/>
                    <a:gd name="connsiteX3" fmla="*/ 9591 w 9591"/>
                    <a:gd name="connsiteY3" fmla="*/ 0 h 51193"/>
                  </a:gdLst>
                  <a:ahLst/>
                  <a:cxnLst>
                    <a:cxn ang="0">
                      <a:pos x="connsiteX0" y="connsiteY0"/>
                    </a:cxn>
                    <a:cxn ang="0">
                      <a:pos x="connsiteX1" y="connsiteY1"/>
                    </a:cxn>
                    <a:cxn ang="0">
                      <a:pos x="connsiteX2" y="connsiteY2"/>
                    </a:cxn>
                    <a:cxn ang="0">
                      <a:pos x="connsiteX3" y="connsiteY3"/>
                    </a:cxn>
                  </a:cxnLst>
                  <a:rect l="l" t="t" r="r" b="b"/>
                  <a:pathLst>
                    <a:path w="9591" h="51193">
                      <a:moveTo>
                        <a:pt x="0" y="51193"/>
                      </a:moveTo>
                      <a:cubicBezTo>
                        <a:pt x="3737" y="43720"/>
                        <a:pt x="4858" y="37492"/>
                        <a:pt x="5107" y="33132"/>
                      </a:cubicBezTo>
                      <a:cubicBezTo>
                        <a:pt x="5481" y="26157"/>
                        <a:pt x="3986" y="22794"/>
                        <a:pt x="4733" y="15694"/>
                      </a:cubicBezTo>
                      <a:cubicBezTo>
                        <a:pt x="5481" y="8843"/>
                        <a:pt x="7723" y="3363"/>
                        <a:pt x="95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9" name="Freeform 5410">
                  <a:extLst>
                    <a:ext uri="{FF2B5EF4-FFF2-40B4-BE49-F238E27FC236}">
                      <a16:creationId xmlns:a16="http://schemas.microsoft.com/office/drawing/2014/main" id="{F577574F-59CD-DD6E-F50E-9CBBA97DBC0B}"/>
                    </a:ext>
                  </a:extLst>
                </p:cNvPr>
                <p:cNvSpPr/>
                <p:nvPr/>
              </p:nvSpPr>
              <p:spPr>
                <a:xfrm>
                  <a:off x="9921857" y="5756383"/>
                  <a:ext cx="9089" cy="51566"/>
                </a:xfrm>
                <a:custGeom>
                  <a:avLst/>
                  <a:gdLst>
                    <a:gd name="connsiteX0" fmla="*/ 8628 w 9089"/>
                    <a:gd name="connsiteY0" fmla="*/ 0 h 51566"/>
                    <a:gd name="connsiteX1" fmla="*/ 7382 w 9089"/>
                    <a:gd name="connsiteY1" fmla="*/ 18808 h 51566"/>
                    <a:gd name="connsiteX2" fmla="*/ 1154 w 9089"/>
                    <a:gd name="connsiteY2" fmla="*/ 35001 h 51566"/>
                    <a:gd name="connsiteX3" fmla="*/ 532 w 9089"/>
                    <a:gd name="connsiteY3" fmla="*/ 51567 h 51566"/>
                  </a:gdLst>
                  <a:ahLst/>
                  <a:cxnLst>
                    <a:cxn ang="0">
                      <a:pos x="connsiteX0" y="connsiteY0"/>
                    </a:cxn>
                    <a:cxn ang="0">
                      <a:pos x="connsiteX1" y="connsiteY1"/>
                    </a:cxn>
                    <a:cxn ang="0">
                      <a:pos x="connsiteX2" y="connsiteY2"/>
                    </a:cxn>
                    <a:cxn ang="0">
                      <a:pos x="connsiteX3" y="connsiteY3"/>
                    </a:cxn>
                  </a:cxnLst>
                  <a:rect l="l" t="t" r="r" b="b"/>
                  <a:pathLst>
                    <a:path w="9089" h="51566">
                      <a:moveTo>
                        <a:pt x="8628" y="0"/>
                      </a:moveTo>
                      <a:cubicBezTo>
                        <a:pt x="9749" y="8345"/>
                        <a:pt x="8628" y="14573"/>
                        <a:pt x="7382" y="18808"/>
                      </a:cubicBezTo>
                      <a:cubicBezTo>
                        <a:pt x="5390" y="25534"/>
                        <a:pt x="2898" y="28150"/>
                        <a:pt x="1154" y="35001"/>
                      </a:cubicBezTo>
                      <a:cubicBezTo>
                        <a:pt x="-464" y="41727"/>
                        <a:pt x="-91" y="47581"/>
                        <a:pt x="532" y="5156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80" name="Freeform 5411">
                  <a:extLst>
                    <a:ext uri="{FF2B5EF4-FFF2-40B4-BE49-F238E27FC236}">
                      <a16:creationId xmlns:a16="http://schemas.microsoft.com/office/drawing/2014/main" id="{2A38DB40-121A-2202-CF2A-9581C9CCD106}"/>
                    </a:ext>
                  </a:extLst>
                </p:cNvPr>
                <p:cNvSpPr/>
                <p:nvPr/>
              </p:nvSpPr>
              <p:spPr>
                <a:xfrm>
                  <a:off x="9912135" y="5797135"/>
                  <a:ext cx="26267" cy="26582"/>
                </a:xfrm>
                <a:custGeom>
                  <a:avLst/>
                  <a:gdLst>
                    <a:gd name="connsiteX0" fmla="*/ 164 w 26267"/>
                    <a:gd name="connsiteY0" fmla="*/ 11064 h 26582"/>
                    <a:gd name="connsiteX1" fmla="*/ 15361 w 26267"/>
                    <a:gd name="connsiteY1" fmla="*/ 227 h 26582"/>
                    <a:gd name="connsiteX2" fmla="*/ 26072 w 26267"/>
                    <a:gd name="connsiteY2" fmla="*/ 15672 h 26582"/>
                    <a:gd name="connsiteX3" fmla="*/ 10876 w 26267"/>
                    <a:gd name="connsiteY3" fmla="*/ 26384 h 26582"/>
                    <a:gd name="connsiteX4" fmla="*/ 164 w 26267"/>
                    <a:gd name="connsiteY4" fmla="*/ 11064 h 26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7" h="26581">
                      <a:moveTo>
                        <a:pt x="164" y="11064"/>
                      </a:moveTo>
                      <a:cubicBezTo>
                        <a:pt x="1410" y="3839"/>
                        <a:pt x="8261" y="-1143"/>
                        <a:pt x="15361" y="227"/>
                      </a:cubicBezTo>
                      <a:cubicBezTo>
                        <a:pt x="22460" y="1472"/>
                        <a:pt x="27318" y="8448"/>
                        <a:pt x="26072" y="15672"/>
                      </a:cubicBezTo>
                      <a:cubicBezTo>
                        <a:pt x="24827" y="22896"/>
                        <a:pt x="17976" y="27630"/>
                        <a:pt x="10876" y="26384"/>
                      </a:cubicBezTo>
                      <a:cubicBezTo>
                        <a:pt x="3777" y="25014"/>
                        <a:pt x="-957" y="18288"/>
                        <a:pt x="164" y="110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5" name="Graphic 2987">
                <a:extLst>
                  <a:ext uri="{FF2B5EF4-FFF2-40B4-BE49-F238E27FC236}">
                    <a16:creationId xmlns:a16="http://schemas.microsoft.com/office/drawing/2014/main" id="{47DE033F-6FC5-BBAF-49EF-1F2BAEE6C371}"/>
                  </a:ext>
                </a:extLst>
              </p:cNvPr>
              <p:cNvGrpSpPr/>
              <p:nvPr/>
            </p:nvGrpSpPr>
            <p:grpSpPr>
              <a:xfrm>
                <a:off x="9940998" y="5681823"/>
                <a:ext cx="47850" cy="147126"/>
                <a:chOff x="9940998" y="5681823"/>
                <a:chExt cx="47850" cy="147126"/>
              </a:xfrm>
              <a:grpFill/>
            </p:grpSpPr>
            <p:sp>
              <p:nvSpPr>
                <p:cNvPr id="4169" name="Freeform 5413">
                  <a:extLst>
                    <a:ext uri="{FF2B5EF4-FFF2-40B4-BE49-F238E27FC236}">
                      <a16:creationId xmlns:a16="http://schemas.microsoft.com/office/drawing/2014/main" id="{F122E9D6-A097-F35F-50FB-B5B50E9A2205}"/>
                    </a:ext>
                  </a:extLst>
                </p:cNvPr>
                <p:cNvSpPr/>
                <p:nvPr/>
              </p:nvSpPr>
              <p:spPr>
                <a:xfrm>
                  <a:off x="9960752" y="5701453"/>
                  <a:ext cx="9839" cy="51193"/>
                </a:xfrm>
                <a:custGeom>
                  <a:avLst/>
                  <a:gdLst>
                    <a:gd name="connsiteX0" fmla="*/ 9840 w 9839"/>
                    <a:gd name="connsiteY0" fmla="*/ 0 h 51193"/>
                    <a:gd name="connsiteX1" fmla="*/ 4609 w 9839"/>
                    <a:gd name="connsiteY1" fmla="*/ 18061 h 51193"/>
                    <a:gd name="connsiteX2" fmla="*/ 4983 w 9839"/>
                    <a:gd name="connsiteY2" fmla="*/ 35499 h 51193"/>
                    <a:gd name="connsiteX3" fmla="*/ 0 w 9839"/>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39" h="51193">
                      <a:moveTo>
                        <a:pt x="9840" y="0"/>
                      </a:moveTo>
                      <a:cubicBezTo>
                        <a:pt x="5979" y="7474"/>
                        <a:pt x="4858" y="13701"/>
                        <a:pt x="4609" y="18061"/>
                      </a:cubicBezTo>
                      <a:cubicBezTo>
                        <a:pt x="4111" y="25036"/>
                        <a:pt x="5730" y="28399"/>
                        <a:pt x="4983" y="35499"/>
                      </a:cubicBezTo>
                      <a:cubicBezTo>
                        <a:pt x="4235"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0" name="Freeform 5414">
                  <a:extLst>
                    <a:ext uri="{FF2B5EF4-FFF2-40B4-BE49-F238E27FC236}">
                      <a16:creationId xmlns:a16="http://schemas.microsoft.com/office/drawing/2014/main" id="{20D7BA98-7C6F-47DF-7B51-215443112490}"/>
                    </a:ext>
                  </a:extLst>
                </p:cNvPr>
                <p:cNvSpPr/>
                <p:nvPr/>
              </p:nvSpPr>
              <p:spPr>
                <a:xfrm>
                  <a:off x="9969711" y="5697840"/>
                  <a:ext cx="9322" cy="51442"/>
                </a:xfrm>
                <a:custGeom>
                  <a:avLst/>
                  <a:gdLst>
                    <a:gd name="connsiteX0" fmla="*/ 383 w 9322"/>
                    <a:gd name="connsiteY0" fmla="*/ 51442 h 51442"/>
                    <a:gd name="connsiteX1" fmla="*/ 1753 w 9322"/>
                    <a:gd name="connsiteY1" fmla="*/ 32634 h 51442"/>
                    <a:gd name="connsiteX2" fmla="*/ 8106 w 9322"/>
                    <a:gd name="connsiteY2" fmla="*/ 16442 h 51442"/>
                    <a:gd name="connsiteX3" fmla="*/ 8853 w 9322"/>
                    <a:gd name="connsiteY3" fmla="*/ 0 h 51442"/>
                  </a:gdLst>
                  <a:ahLst/>
                  <a:cxnLst>
                    <a:cxn ang="0">
                      <a:pos x="connsiteX0" y="connsiteY0"/>
                    </a:cxn>
                    <a:cxn ang="0">
                      <a:pos x="connsiteX1" y="connsiteY1"/>
                    </a:cxn>
                    <a:cxn ang="0">
                      <a:pos x="connsiteX2" y="connsiteY2"/>
                    </a:cxn>
                    <a:cxn ang="0">
                      <a:pos x="connsiteX3" y="connsiteY3"/>
                    </a:cxn>
                  </a:cxnLst>
                  <a:rect l="l" t="t" r="r" b="b"/>
                  <a:pathLst>
                    <a:path w="9322" h="51442">
                      <a:moveTo>
                        <a:pt x="383" y="51442"/>
                      </a:moveTo>
                      <a:cubicBezTo>
                        <a:pt x="-613" y="43097"/>
                        <a:pt x="508" y="36869"/>
                        <a:pt x="1753" y="32634"/>
                      </a:cubicBezTo>
                      <a:cubicBezTo>
                        <a:pt x="3747" y="25908"/>
                        <a:pt x="6362" y="23292"/>
                        <a:pt x="8106" y="16442"/>
                      </a:cubicBezTo>
                      <a:cubicBezTo>
                        <a:pt x="9850" y="9715"/>
                        <a:pt x="9351" y="3861"/>
                        <a:pt x="885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1" name="Freeform 5415">
                  <a:extLst>
                    <a:ext uri="{FF2B5EF4-FFF2-40B4-BE49-F238E27FC236}">
                      <a16:creationId xmlns:a16="http://schemas.microsoft.com/office/drawing/2014/main" id="{BC05D3A5-76B6-71D5-235D-23F8CB7F3C9D}"/>
                    </a:ext>
                  </a:extLst>
                </p:cNvPr>
                <p:cNvSpPr/>
                <p:nvPr/>
              </p:nvSpPr>
              <p:spPr>
                <a:xfrm>
                  <a:off x="9962177" y="5681823"/>
                  <a:ext cx="26671" cy="26554"/>
                </a:xfrm>
                <a:custGeom>
                  <a:avLst/>
                  <a:gdLst>
                    <a:gd name="connsiteX0" fmla="*/ 26476 w 26671"/>
                    <a:gd name="connsiteY0" fmla="*/ 15644 h 26554"/>
                    <a:gd name="connsiteX1" fmla="*/ 11031 w 26671"/>
                    <a:gd name="connsiteY1" fmla="*/ 26356 h 26554"/>
                    <a:gd name="connsiteX2" fmla="*/ 195 w 26671"/>
                    <a:gd name="connsiteY2" fmla="*/ 10911 h 26554"/>
                    <a:gd name="connsiteX3" fmla="*/ 15640 w 26671"/>
                    <a:gd name="connsiteY3" fmla="*/ 199 h 26554"/>
                    <a:gd name="connsiteX4" fmla="*/ 26476 w 26671"/>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1" h="26554">
                      <a:moveTo>
                        <a:pt x="26476" y="15644"/>
                      </a:moveTo>
                      <a:cubicBezTo>
                        <a:pt x="25231" y="22868"/>
                        <a:pt x="18256" y="27602"/>
                        <a:pt x="11031" y="26356"/>
                      </a:cubicBezTo>
                      <a:cubicBezTo>
                        <a:pt x="3807" y="24986"/>
                        <a:pt x="-1051" y="18135"/>
                        <a:pt x="195" y="10911"/>
                      </a:cubicBezTo>
                      <a:cubicBezTo>
                        <a:pt x="1440" y="3686"/>
                        <a:pt x="8415" y="-1047"/>
                        <a:pt x="15640" y="199"/>
                      </a:cubicBezTo>
                      <a:cubicBezTo>
                        <a:pt x="22865" y="1569"/>
                        <a:pt x="27722" y="8544"/>
                        <a:pt x="26476"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2" name="Freeform 5416">
                  <a:extLst>
                    <a:ext uri="{FF2B5EF4-FFF2-40B4-BE49-F238E27FC236}">
                      <a16:creationId xmlns:a16="http://schemas.microsoft.com/office/drawing/2014/main" id="{8390FD4C-7F30-DEDD-4DD4-6AB0DB552601}"/>
                    </a:ext>
                  </a:extLst>
                </p:cNvPr>
                <p:cNvSpPr/>
                <p:nvPr/>
              </p:nvSpPr>
              <p:spPr>
                <a:xfrm>
                  <a:off x="9959008" y="5758126"/>
                  <a:ext cx="9840" cy="51193"/>
                </a:xfrm>
                <a:custGeom>
                  <a:avLst/>
                  <a:gdLst>
                    <a:gd name="connsiteX0" fmla="*/ 0 w 9840"/>
                    <a:gd name="connsiteY0" fmla="*/ 51193 h 51193"/>
                    <a:gd name="connsiteX1" fmla="*/ 5231 w 9840"/>
                    <a:gd name="connsiteY1" fmla="*/ 33132 h 51193"/>
                    <a:gd name="connsiteX2" fmla="*/ 4858 w 9840"/>
                    <a:gd name="connsiteY2" fmla="*/ 15694 h 51193"/>
                    <a:gd name="connsiteX3" fmla="*/ 9841 w 9840"/>
                    <a:gd name="connsiteY3" fmla="*/ 0 h 51193"/>
                  </a:gdLst>
                  <a:ahLst/>
                  <a:cxnLst>
                    <a:cxn ang="0">
                      <a:pos x="connsiteX0" y="connsiteY0"/>
                    </a:cxn>
                    <a:cxn ang="0">
                      <a:pos x="connsiteX1" y="connsiteY1"/>
                    </a:cxn>
                    <a:cxn ang="0">
                      <a:pos x="connsiteX2" y="connsiteY2"/>
                    </a:cxn>
                    <a:cxn ang="0">
                      <a:pos x="connsiteX3" y="connsiteY3"/>
                    </a:cxn>
                  </a:cxnLst>
                  <a:rect l="l" t="t" r="r" b="b"/>
                  <a:pathLst>
                    <a:path w="9840" h="51193">
                      <a:moveTo>
                        <a:pt x="0" y="51193"/>
                      </a:moveTo>
                      <a:cubicBezTo>
                        <a:pt x="3861" y="43720"/>
                        <a:pt x="4858" y="37492"/>
                        <a:pt x="5231" y="33132"/>
                      </a:cubicBezTo>
                      <a:cubicBezTo>
                        <a:pt x="5730" y="26157"/>
                        <a:pt x="4111" y="22794"/>
                        <a:pt x="4858" y="15694"/>
                      </a:cubicBezTo>
                      <a:cubicBezTo>
                        <a:pt x="5605" y="8844"/>
                        <a:pt x="7972" y="3488"/>
                        <a:pt x="984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3" name="Freeform 5417">
                  <a:extLst>
                    <a:ext uri="{FF2B5EF4-FFF2-40B4-BE49-F238E27FC236}">
                      <a16:creationId xmlns:a16="http://schemas.microsoft.com/office/drawing/2014/main" id="{7DC62C8F-D501-7C36-68B6-4A9EE99A8F7A}"/>
                    </a:ext>
                  </a:extLst>
                </p:cNvPr>
                <p:cNvSpPr/>
                <p:nvPr/>
              </p:nvSpPr>
              <p:spPr>
                <a:xfrm>
                  <a:off x="9950859" y="5761614"/>
                  <a:ext cx="9157" cy="51442"/>
                </a:xfrm>
                <a:custGeom>
                  <a:avLst/>
                  <a:gdLst>
                    <a:gd name="connsiteX0" fmla="*/ 8772 w 9157"/>
                    <a:gd name="connsiteY0" fmla="*/ 0 h 51442"/>
                    <a:gd name="connsiteX1" fmla="*/ 7527 w 9157"/>
                    <a:gd name="connsiteY1" fmla="*/ 18808 h 51442"/>
                    <a:gd name="connsiteX2" fmla="*/ 1174 w 9157"/>
                    <a:gd name="connsiteY2" fmla="*/ 35001 h 51442"/>
                    <a:gd name="connsiteX3" fmla="*/ 427 w 9157"/>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157" h="51442">
                      <a:moveTo>
                        <a:pt x="8772" y="0"/>
                      </a:moveTo>
                      <a:cubicBezTo>
                        <a:pt x="9768" y="8346"/>
                        <a:pt x="8648" y="14573"/>
                        <a:pt x="7527" y="18808"/>
                      </a:cubicBezTo>
                      <a:cubicBezTo>
                        <a:pt x="5534" y="25535"/>
                        <a:pt x="2918" y="28150"/>
                        <a:pt x="1174" y="35001"/>
                      </a:cubicBezTo>
                      <a:cubicBezTo>
                        <a:pt x="-445" y="41727"/>
                        <a:pt x="-71" y="47581"/>
                        <a:pt x="427"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74" name="Freeform 5418">
                  <a:extLst>
                    <a:ext uri="{FF2B5EF4-FFF2-40B4-BE49-F238E27FC236}">
                      <a16:creationId xmlns:a16="http://schemas.microsoft.com/office/drawing/2014/main" id="{D2CC2F39-FF23-8559-B57F-5BE4B2472358}"/>
                    </a:ext>
                  </a:extLst>
                </p:cNvPr>
                <p:cNvSpPr/>
                <p:nvPr/>
              </p:nvSpPr>
              <p:spPr>
                <a:xfrm>
                  <a:off x="9940998" y="5802395"/>
                  <a:ext cx="26213" cy="26554"/>
                </a:xfrm>
                <a:custGeom>
                  <a:avLst/>
                  <a:gdLst>
                    <a:gd name="connsiteX0" fmla="*/ 199 w 26213"/>
                    <a:gd name="connsiteY0" fmla="*/ 10911 h 26554"/>
                    <a:gd name="connsiteX1" fmla="*/ 15395 w 26213"/>
                    <a:gd name="connsiteY1" fmla="*/ 199 h 26554"/>
                    <a:gd name="connsiteX2" fmla="*/ 25982 w 26213"/>
                    <a:gd name="connsiteY2" fmla="*/ 15644 h 26554"/>
                    <a:gd name="connsiteX3" fmla="*/ 10786 w 26213"/>
                    <a:gd name="connsiteY3" fmla="*/ 26356 h 26554"/>
                    <a:gd name="connsiteX4" fmla="*/ 199 w 26213"/>
                    <a:gd name="connsiteY4" fmla="*/ 10911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554">
                      <a:moveTo>
                        <a:pt x="199" y="10911"/>
                      </a:moveTo>
                      <a:cubicBezTo>
                        <a:pt x="1444" y="3686"/>
                        <a:pt x="8295" y="-1047"/>
                        <a:pt x="15395" y="199"/>
                      </a:cubicBezTo>
                      <a:cubicBezTo>
                        <a:pt x="22494" y="1444"/>
                        <a:pt x="27352" y="8420"/>
                        <a:pt x="25982" y="15644"/>
                      </a:cubicBezTo>
                      <a:cubicBezTo>
                        <a:pt x="24737" y="22868"/>
                        <a:pt x="17886" y="27602"/>
                        <a:pt x="10786" y="26356"/>
                      </a:cubicBezTo>
                      <a:cubicBezTo>
                        <a:pt x="3687" y="25110"/>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6" name="Graphic 2987">
                <a:extLst>
                  <a:ext uri="{FF2B5EF4-FFF2-40B4-BE49-F238E27FC236}">
                    <a16:creationId xmlns:a16="http://schemas.microsoft.com/office/drawing/2014/main" id="{52BC91BF-C744-E8D6-C1A3-330286784E40}"/>
                  </a:ext>
                </a:extLst>
              </p:cNvPr>
              <p:cNvGrpSpPr/>
              <p:nvPr/>
            </p:nvGrpSpPr>
            <p:grpSpPr>
              <a:xfrm>
                <a:off x="9969895" y="5687179"/>
                <a:ext cx="48256" cy="146877"/>
                <a:chOff x="9969895" y="5687179"/>
                <a:chExt cx="48256" cy="146877"/>
              </a:xfrm>
              <a:grpFill/>
            </p:grpSpPr>
            <p:sp>
              <p:nvSpPr>
                <p:cNvPr id="4163" name="Freeform 5420">
                  <a:extLst>
                    <a:ext uri="{FF2B5EF4-FFF2-40B4-BE49-F238E27FC236}">
                      <a16:creationId xmlns:a16="http://schemas.microsoft.com/office/drawing/2014/main" id="{1029017F-17A5-36E1-C71F-9F4D5CF8071A}"/>
                    </a:ext>
                  </a:extLst>
                </p:cNvPr>
                <p:cNvSpPr/>
                <p:nvPr/>
              </p:nvSpPr>
              <p:spPr>
                <a:xfrm>
                  <a:off x="9990148" y="5706808"/>
                  <a:ext cx="9840" cy="51193"/>
                </a:xfrm>
                <a:custGeom>
                  <a:avLst/>
                  <a:gdLst>
                    <a:gd name="connsiteX0" fmla="*/ 9841 w 9840"/>
                    <a:gd name="connsiteY0" fmla="*/ 0 h 51193"/>
                    <a:gd name="connsiteX1" fmla="*/ 4609 w 9840"/>
                    <a:gd name="connsiteY1" fmla="*/ 18061 h 51193"/>
                    <a:gd name="connsiteX2" fmla="*/ 4983 w 9840"/>
                    <a:gd name="connsiteY2" fmla="*/ 35499 h 51193"/>
                    <a:gd name="connsiteX3" fmla="*/ 0 w 9840"/>
                    <a:gd name="connsiteY3" fmla="*/ 51193 h 51193"/>
                  </a:gdLst>
                  <a:ahLst/>
                  <a:cxnLst>
                    <a:cxn ang="0">
                      <a:pos x="connsiteX0" y="connsiteY0"/>
                    </a:cxn>
                    <a:cxn ang="0">
                      <a:pos x="connsiteX1" y="connsiteY1"/>
                    </a:cxn>
                    <a:cxn ang="0">
                      <a:pos x="connsiteX2" y="connsiteY2"/>
                    </a:cxn>
                    <a:cxn ang="0">
                      <a:pos x="connsiteX3" y="connsiteY3"/>
                    </a:cxn>
                  </a:cxnLst>
                  <a:rect l="l" t="t" r="r" b="b"/>
                  <a:pathLst>
                    <a:path w="9840" h="51193">
                      <a:moveTo>
                        <a:pt x="9841" y="0"/>
                      </a:moveTo>
                      <a:cubicBezTo>
                        <a:pt x="5979" y="7474"/>
                        <a:pt x="4858" y="13701"/>
                        <a:pt x="4609" y="18061"/>
                      </a:cubicBezTo>
                      <a:cubicBezTo>
                        <a:pt x="4111" y="25036"/>
                        <a:pt x="5730" y="28399"/>
                        <a:pt x="4983" y="35499"/>
                      </a:cubicBezTo>
                      <a:cubicBezTo>
                        <a:pt x="4235"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4" name="Freeform 5421">
                  <a:extLst>
                    <a:ext uri="{FF2B5EF4-FFF2-40B4-BE49-F238E27FC236}">
                      <a16:creationId xmlns:a16="http://schemas.microsoft.com/office/drawing/2014/main" id="{BDBFA02C-AB11-D9BE-6AC4-3B4C940C776A}"/>
                    </a:ext>
                  </a:extLst>
                </p:cNvPr>
                <p:cNvSpPr/>
                <p:nvPr/>
              </p:nvSpPr>
              <p:spPr>
                <a:xfrm>
                  <a:off x="9998858" y="5703072"/>
                  <a:ext cx="9496" cy="51442"/>
                </a:xfrm>
                <a:custGeom>
                  <a:avLst/>
                  <a:gdLst>
                    <a:gd name="connsiteX0" fmla="*/ 383 w 9496"/>
                    <a:gd name="connsiteY0" fmla="*/ 51442 h 51442"/>
                    <a:gd name="connsiteX1" fmla="*/ 1753 w 9496"/>
                    <a:gd name="connsiteY1" fmla="*/ 32634 h 51442"/>
                    <a:gd name="connsiteX2" fmla="*/ 8230 w 9496"/>
                    <a:gd name="connsiteY2" fmla="*/ 16442 h 51442"/>
                    <a:gd name="connsiteX3" fmla="*/ 8977 w 9496"/>
                    <a:gd name="connsiteY3" fmla="*/ 0 h 51442"/>
                  </a:gdLst>
                  <a:ahLst/>
                  <a:cxnLst>
                    <a:cxn ang="0">
                      <a:pos x="connsiteX0" y="connsiteY0"/>
                    </a:cxn>
                    <a:cxn ang="0">
                      <a:pos x="connsiteX1" y="connsiteY1"/>
                    </a:cxn>
                    <a:cxn ang="0">
                      <a:pos x="connsiteX2" y="connsiteY2"/>
                    </a:cxn>
                    <a:cxn ang="0">
                      <a:pos x="connsiteX3" y="connsiteY3"/>
                    </a:cxn>
                  </a:cxnLst>
                  <a:rect l="l" t="t" r="r" b="b"/>
                  <a:pathLst>
                    <a:path w="9496" h="51442">
                      <a:moveTo>
                        <a:pt x="383" y="51442"/>
                      </a:moveTo>
                      <a:cubicBezTo>
                        <a:pt x="-613" y="43097"/>
                        <a:pt x="507" y="36869"/>
                        <a:pt x="1753" y="32634"/>
                      </a:cubicBezTo>
                      <a:cubicBezTo>
                        <a:pt x="3746" y="25908"/>
                        <a:pt x="6362" y="23292"/>
                        <a:pt x="8230" y="16442"/>
                      </a:cubicBezTo>
                      <a:cubicBezTo>
                        <a:pt x="9974" y="9715"/>
                        <a:pt x="9601" y="3861"/>
                        <a:pt x="89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5" name="Freeform 5422">
                  <a:extLst>
                    <a:ext uri="{FF2B5EF4-FFF2-40B4-BE49-F238E27FC236}">
                      <a16:creationId xmlns:a16="http://schemas.microsoft.com/office/drawing/2014/main" id="{502637FF-67EE-DEC6-0283-4EF2D672C8DD}"/>
                    </a:ext>
                  </a:extLst>
                </p:cNvPr>
                <p:cNvSpPr/>
                <p:nvPr/>
              </p:nvSpPr>
              <p:spPr>
                <a:xfrm>
                  <a:off x="9991448" y="5687179"/>
                  <a:ext cx="26703" cy="26554"/>
                </a:xfrm>
                <a:custGeom>
                  <a:avLst/>
                  <a:gdLst>
                    <a:gd name="connsiteX0" fmla="*/ 26477 w 26703"/>
                    <a:gd name="connsiteY0" fmla="*/ 15644 h 26554"/>
                    <a:gd name="connsiteX1" fmla="*/ 11031 w 26703"/>
                    <a:gd name="connsiteY1" fmla="*/ 26356 h 26554"/>
                    <a:gd name="connsiteX2" fmla="*/ 195 w 26703"/>
                    <a:gd name="connsiteY2" fmla="*/ 10911 h 26554"/>
                    <a:gd name="connsiteX3" fmla="*/ 15640 w 26703"/>
                    <a:gd name="connsiteY3" fmla="*/ 199 h 26554"/>
                    <a:gd name="connsiteX4" fmla="*/ 26477 w 26703"/>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3" h="26554">
                      <a:moveTo>
                        <a:pt x="26477" y="15644"/>
                      </a:moveTo>
                      <a:cubicBezTo>
                        <a:pt x="25106" y="22868"/>
                        <a:pt x="18256" y="27602"/>
                        <a:pt x="11031" y="26356"/>
                      </a:cubicBezTo>
                      <a:cubicBezTo>
                        <a:pt x="3807" y="24986"/>
                        <a:pt x="-1051" y="18135"/>
                        <a:pt x="195" y="10911"/>
                      </a:cubicBezTo>
                      <a:cubicBezTo>
                        <a:pt x="1441" y="3686"/>
                        <a:pt x="8416" y="-1047"/>
                        <a:pt x="15640" y="199"/>
                      </a:cubicBezTo>
                      <a:cubicBezTo>
                        <a:pt x="22864" y="1444"/>
                        <a:pt x="27847" y="8420"/>
                        <a:pt x="26477"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6" name="Freeform 5423">
                  <a:extLst>
                    <a:ext uri="{FF2B5EF4-FFF2-40B4-BE49-F238E27FC236}">
                      <a16:creationId xmlns:a16="http://schemas.microsoft.com/office/drawing/2014/main" id="{F2ED16B9-22F4-8CF9-0EE1-13BEFAEC44B1}"/>
                    </a:ext>
                  </a:extLst>
                </p:cNvPr>
                <p:cNvSpPr/>
                <p:nvPr/>
              </p:nvSpPr>
              <p:spPr>
                <a:xfrm>
                  <a:off x="9987906" y="5763358"/>
                  <a:ext cx="9964" cy="51193"/>
                </a:xfrm>
                <a:custGeom>
                  <a:avLst/>
                  <a:gdLst>
                    <a:gd name="connsiteX0" fmla="*/ 0 w 9964"/>
                    <a:gd name="connsiteY0" fmla="*/ 51193 h 51193"/>
                    <a:gd name="connsiteX1" fmla="*/ 5231 w 9964"/>
                    <a:gd name="connsiteY1" fmla="*/ 33132 h 51193"/>
                    <a:gd name="connsiteX2" fmla="*/ 4983 w 9964"/>
                    <a:gd name="connsiteY2" fmla="*/ 15694 h 51193"/>
                    <a:gd name="connsiteX3" fmla="*/ 9964 w 9964"/>
                    <a:gd name="connsiteY3" fmla="*/ 0 h 51193"/>
                  </a:gdLst>
                  <a:ahLst/>
                  <a:cxnLst>
                    <a:cxn ang="0">
                      <a:pos x="connsiteX0" y="connsiteY0"/>
                    </a:cxn>
                    <a:cxn ang="0">
                      <a:pos x="connsiteX1" y="connsiteY1"/>
                    </a:cxn>
                    <a:cxn ang="0">
                      <a:pos x="connsiteX2" y="connsiteY2"/>
                    </a:cxn>
                    <a:cxn ang="0">
                      <a:pos x="connsiteX3" y="connsiteY3"/>
                    </a:cxn>
                  </a:cxnLst>
                  <a:rect l="l" t="t" r="r" b="b"/>
                  <a:pathLst>
                    <a:path w="9964" h="51193">
                      <a:moveTo>
                        <a:pt x="0" y="51193"/>
                      </a:moveTo>
                      <a:cubicBezTo>
                        <a:pt x="3861" y="43720"/>
                        <a:pt x="4983" y="37492"/>
                        <a:pt x="5231" y="33132"/>
                      </a:cubicBezTo>
                      <a:cubicBezTo>
                        <a:pt x="5730" y="26157"/>
                        <a:pt x="4111" y="22794"/>
                        <a:pt x="4983" y="15694"/>
                      </a:cubicBezTo>
                      <a:cubicBezTo>
                        <a:pt x="5730" y="8843"/>
                        <a:pt x="8097" y="3488"/>
                        <a:pt x="99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7" name="Freeform 5424">
                  <a:extLst>
                    <a:ext uri="{FF2B5EF4-FFF2-40B4-BE49-F238E27FC236}">
                      <a16:creationId xmlns:a16="http://schemas.microsoft.com/office/drawing/2014/main" id="{89A6847F-59A9-FCE7-1415-4BF7290C84A5}"/>
                    </a:ext>
                  </a:extLst>
                </p:cNvPr>
                <p:cNvSpPr/>
                <p:nvPr/>
              </p:nvSpPr>
              <p:spPr>
                <a:xfrm>
                  <a:off x="9979664" y="5766845"/>
                  <a:ext cx="9372" cy="51442"/>
                </a:xfrm>
                <a:custGeom>
                  <a:avLst/>
                  <a:gdLst>
                    <a:gd name="connsiteX0" fmla="*/ 8989 w 9372"/>
                    <a:gd name="connsiteY0" fmla="*/ 0 h 51442"/>
                    <a:gd name="connsiteX1" fmla="*/ 7619 w 9372"/>
                    <a:gd name="connsiteY1" fmla="*/ 18808 h 51442"/>
                    <a:gd name="connsiteX2" fmla="*/ 1267 w 9372"/>
                    <a:gd name="connsiteY2" fmla="*/ 35001 h 51442"/>
                    <a:gd name="connsiteX3" fmla="*/ 519 w 9372"/>
                    <a:gd name="connsiteY3" fmla="*/ 51442 h 51442"/>
                  </a:gdLst>
                  <a:ahLst/>
                  <a:cxnLst>
                    <a:cxn ang="0">
                      <a:pos x="connsiteX0" y="connsiteY0"/>
                    </a:cxn>
                    <a:cxn ang="0">
                      <a:pos x="connsiteX1" y="connsiteY1"/>
                    </a:cxn>
                    <a:cxn ang="0">
                      <a:pos x="connsiteX2" y="connsiteY2"/>
                    </a:cxn>
                    <a:cxn ang="0">
                      <a:pos x="connsiteX3" y="connsiteY3"/>
                    </a:cxn>
                  </a:cxnLst>
                  <a:rect l="l" t="t" r="r" b="b"/>
                  <a:pathLst>
                    <a:path w="9372" h="51442">
                      <a:moveTo>
                        <a:pt x="8989" y="0"/>
                      </a:moveTo>
                      <a:cubicBezTo>
                        <a:pt x="9986" y="8346"/>
                        <a:pt x="8865" y="14573"/>
                        <a:pt x="7619" y="18808"/>
                      </a:cubicBezTo>
                      <a:cubicBezTo>
                        <a:pt x="5626" y="25534"/>
                        <a:pt x="3011" y="28150"/>
                        <a:pt x="1267" y="35001"/>
                      </a:cubicBezTo>
                      <a:cubicBezTo>
                        <a:pt x="-477" y="41727"/>
                        <a:pt x="-103" y="47581"/>
                        <a:pt x="519" y="5144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8" name="Freeform 5425">
                  <a:extLst>
                    <a:ext uri="{FF2B5EF4-FFF2-40B4-BE49-F238E27FC236}">
                      <a16:creationId xmlns:a16="http://schemas.microsoft.com/office/drawing/2014/main" id="{32FC1126-558A-FF0B-CE31-AC1E4E29480C}"/>
                    </a:ext>
                  </a:extLst>
                </p:cNvPr>
                <p:cNvSpPr/>
                <p:nvPr/>
              </p:nvSpPr>
              <p:spPr>
                <a:xfrm>
                  <a:off x="9969895" y="5807626"/>
                  <a:ext cx="26305" cy="26430"/>
                </a:xfrm>
                <a:custGeom>
                  <a:avLst/>
                  <a:gdLst>
                    <a:gd name="connsiteX0" fmla="*/ 199 w 26305"/>
                    <a:gd name="connsiteY0" fmla="*/ 10911 h 26430"/>
                    <a:gd name="connsiteX1" fmla="*/ 15519 w 26305"/>
                    <a:gd name="connsiteY1" fmla="*/ 199 h 26430"/>
                    <a:gd name="connsiteX2" fmla="*/ 26107 w 26305"/>
                    <a:gd name="connsiteY2" fmla="*/ 15519 h 26430"/>
                    <a:gd name="connsiteX3" fmla="*/ 10786 w 26305"/>
                    <a:gd name="connsiteY3" fmla="*/ 26231 h 26430"/>
                    <a:gd name="connsiteX4" fmla="*/ 199 w 26305"/>
                    <a:gd name="connsiteY4" fmla="*/ 10911 h 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5" h="26430">
                      <a:moveTo>
                        <a:pt x="199" y="10911"/>
                      </a:moveTo>
                      <a:cubicBezTo>
                        <a:pt x="1444" y="3686"/>
                        <a:pt x="8295" y="-1047"/>
                        <a:pt x="15519" y="199"/>
                      </a:cubicBezTo>
                      <a:cubicBezTo>
                        <a:pt x="22619" y="1444"/>
                        <a:pt x="27352" y="8420"/>
                        <a:pt x="26107" y="15519"/>
                      </a:cubicBezTo>
                      <a:cubicBezTo>
                        <a:pt x="24736" y="22744"/>
                        <a:pt x="17886" y="27477"/>
                        <a:pt x="10786" y="26231"/>
                      </a:cubicBezTo>
                      <a:cubicBezTo>
                        <a:pt x="3686" y="24986"/>
                        <a:pt x="-1046" y="18135"/>
                        <a:pt x="199"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7" name="Graphic 2987">
                <a:extLst>
                  <a:ext uri="{FF2B5EF4-FFF2-40B4-BE49-F238E27FC236}">
                    <a16:creationId xmlns:a16="http://schemas.microsoft.com/office/drawing/2014/main" id="{252032B9-0F35-F627-85FC-2871C6375471}"/>
                  </a:ext>
                </a:extLst>
              </p:cNvPr>
              <p:cNvGrpSpPr/>
              <p:nvPr/>
            </p:nvGrpSpPr>
            <p:grpSpPr>
              <a:xfrm>
                <a:off x="9998756" y="5692535"/>
                <a:ext cx="48796" cy="146752"/>
                <a:chOff x="9998756" y="5692535"/>
                <a:chExt cx="48796" cy="146752"/>
              </a:xfrm>
              <a:grpFill/>
            </p:grpSpPr>
            <p:sp>
              <p:nvSpPr>
                <p:cNvPr id="4157" name="Freeform 5427">
                  <a:extLst>
                    <a:ext uri="{FF2B5EF4-FFF2-40B4-BE49-F238E27FC236}">
                      <a16:creationId xmlns:a16="http://schemas.microsoft.com/office/drawing/2014/main" id="{E5AED09A-0758-1184-1483-9D6C335BCC33}"/>
                    </a:ext>
                  </a:extLst>
                </p:cNvPr>
                <p:cNvSpPr/>
                <p:nvPr/>
              </p:nvSpPr>
              <p:spPr>
                <a:xfrm>
                  <a:off x="10019045" y="5712040"/>
                  <a:ext cx="10213" cy="51193"/>
                </a:xfrm>
                <a:custGeom>
                  <a:avLst/>
                  <a:gdLst>
                    <a:gd name="connsiteX0" fmla="*/ 10214 w 10213"/>
                    <a:gd name="connsiteY0" fmla="*/ 0 h 51193"/>
                    <a:gd name="connsiteX1" fmla="*/ 4858 w 10213"/>
                    <a:gd name="connsiteY1" fmla="*/ 18061 h 51193"/>
                    <a:gd name="connsiteX2" fmla="*/ 5107 w 10213"/>
                    <a:gd name="connsiteY2" fmla="*/ 35499 h 51193"/>
                    <a:gd name="connsiteX3" fmla="*/ 0 w 10213"/>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13" h="51193">
                      <a:moveTo>
                        <a:pt x="10214" y="0"/>
                      </a:moveTo>
                      <a:cubicBezTo>
                        <a:pt x="6353" y="7474"/>
                        <a:pt x="5231" y="13701"/>
                        <a:pt x="4858" y="18061"/>
                      </a:cubicBezTo>
                      <a:cubicBezTo>
                        <a:pt x="4359" y="25036"/>
                        <a:pt x="5855" y="28399"/>
                        <a:pt x="5107" y="35499"/>
                      </a:cubicBezTo>
                      <a:cubicBezTo>
                        <a:pt x="4359" y="42350"/>
                        <a:pt x="1869" y="47705"/>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8" name="Freeform 5428">
                  <a:extLst>
                    <a:ext uri="{FF2B5EF4-FFF2-40B4-BE49-F238E27FC236}">
                      <a16:creationId xmlns:a16="http://schemas.microsoft.com/office/drawing/2014/main" id="{BAAF3CEF-80DD-D6B0-71A5-8101DAF81750}"/>
                    </a:ext>
                  </a:extLst>
                </p:cNvPr>
                <p:cNvSpPr/>
                <p:nvPr/>
              </p:nvSpPr>
              <p:spPr>
                <a:xfrm>
                  <a:off x="10028025" y="5708428"/>
                  <a:ext cx="9621" cy="51317"/>
                </a:xfrm>
                <a:custGeom>
                  <a:avLst/>
                  <a:gdLst>
                    <a:gd name="connsiteX0" fmla="*/ 362 w 9621"/>
                    <a:gd name="connsiteY0" fmla="*/ 51318 h 51317"/>
                    <a:gd name="connsiteX1" fmla="*/ 1857 w 9621"/>
                    <a:gd name="connsiteY1" fmla="*/ 32634 h 51317"/>
                    <a:gd name="connsiteX2" fmla="*/ 8334 w 9621"/>
                    <a:gd name="connsiteY2" fmla="*/ 16442 h 51317"/>
                    <a:gd name="connsiteX3" fmla="*/ 9206 w 9621"/>
                    <a:gd name="connsiteY3" fmla="*/ 0 h 51317"/>
                  </a:gdLst>
                  <a:ahLst/>
                  <a:cxnLst>
                    <a:cxn ang="0">
                      <a:pos x="connsiteX0" y="connsiteY0"/>
                    </a:cxn>
                    <a:cxn ang="0">
                      <a:pos x="connsiteX1" y="connsiteY1"/>
                    </a:cxn>
                    <a:cxn ang="0">
                      <a:pos x="connsiteX2" y="connsiteY2"/>
                    </a:cxn>
                    <a:cxn ang="0">
                      <a:pos x="connsiteX3" y="connsiteY3"/>
                    </a:cxn>
                  </a:cxnLst>
                  <a:rect l="l" t="t" r="r" b="b"/>
                  <a:pathLst>
                    <a:path w="9621" h="51317">
                      <a:moveTo>
                        <a:pt x="362" y="51318"/>
                      </a:moveTo>
                      <a:cubicBezTo>
                        <a:pt x="-635" y="42973"/>
                        <a:pt x="612" y="36745"/>
                        <a:pt x="1857" y="32634"/>
                      </a:cubicBezTo>
                      <a:cubicBezTo>
                        <a:pt x="3850" y="25908"/>
                        <a:pt x="6590" y="23292"/>
                        <a:pt x="8334" y="16442"/>
                      </a:cubicBezTo>
                      <a:cubicBezTo>
                        <a:pt x="10078" y="9715"/>
                        <a:pt x="9704" y="3861"/>
                        <a:pt x="9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9" name="Freeform 5429">
                  <a:extLst>
                    <a:ext uri="{FF2B5EF4-FFF2-40B4-BE49-F238E27FC236}">
                      <a16:creationId xmlns:a16="http://schemas.microsoft.com/office/drawing/2014/main" id="{6742E7B4-EA49-911C-B209-C66BE6625BF9}"/>
                    </a:ext>
                  </a:extLst>
                </p:cNvPr>
                <p:cNvSpPr/>
                <p:nvPr/>
              </p:nvSpPr>
              <p:spPr>
                <a:xfrm>
                  <a:off x="10020807" y="5692535"/>
                  <a:ext cx="26744" cy="26554"/>
                </a:xfrm>
                <a:custGeom>
                  <a:avLst/>
                  <a:gdLst>
                    <a:gd name="connsiteX0" fmla="*/ 26513 w 26744"/>
                    <a:gd name="connsiteY0" fmla="*/ 15644 h 26554"/>
                    <a:gd name="connsiteX1" fmla="*/ 10943 w 26744"/>
                    <a:gd name="connsiteY1" fmla="*/ 26356 h 26554"/>
                    <a:gd name="connsiteX2" fmla="*/ 232 w 26744"/>
                    <a:gd name="connsiteY2" fmla="*/ 10911 h 26554"/>
                    <a:gd name="connsiteX3" fmla="*/ 15801 w 26744"/>
                    <a:gd name="connsiteY3" fmla="*/ 199 h 26554"/>
                    <a:gd name="connsiteX4" fmla="*/ 26513 w 26744"/>
                    <a:gd name="connsiteY4" fmla="*/ 15644 h 26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 h="26554">
                      <a:moveTo>
                        <a:pt x="26513" y="15644"/>
                      </a:moveTo>
                      <a:cubicBezTo>
                        <a:pt x="25143" y="22868"/>
                        <a:pt x="18167" y="27602"/>
                        <a:pt x="10943" y="26356"/>
                      </a:cubicBezTo>
                      <a:cubicBezTo>
                        <a:pt x="3719" y="24986"/>
                        <a:pt x="-1139" y="18135"/>
                        <a:pt x="232" y="10911"/>
                      </a:cubicBezTo>
                      <a:cubicBezTo>
                        <a:pt x="1602" y="3686"/>
                        <a:pt x="8452" y="-1047"/>
                        <a:pt x="15801" y="199"/>
                      </a:cubicBezTo>
                      <a:cubicBezTo>
                        <a:pt x="23025" y="1569"/>
                        <a:pt x="27883" y="8420"/>
                        <a:pt x="26513" y="156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0" name="Freeform 5430">
                  <a:extLst>
                    <a:ext uri="{FF2B5EF4-FFF2-40B4-BE49-F238E27FC236}">
                      <a16:creationId xmlns:a16="http://schemas.microsoft.com/office/drawing/2014/main" id="{A9F73B0A-3481-6AA5-37BC-6D3065A9B038}"/>
                    </a:ext>
                  </a:extLst>
                </p:cNvPr>
                <p:cNvSpPr/>
                <p:nvPr/>
              </p:nvSpPr>
              <p:spPr>
                <a:xfrm>
                  <a:off x="10016803" y="5768589"/>
                  <a:ext cx="10213" cy="51193"/>
                </a:xfrm>
                <a:custGeom>
                  <a:avLst/>
                  <a:gdLst>
                    <a:gd name="connsiteX0" fmla="*/ 0 w 10213"/>
                    <a:gd name="connsiteY0" fmla="*/ 51193 h 51193"/>
                    <a:gd name="connsiteX1" fmla="*/ 5356 w 10213"/>
                    <a:gd name="connsiteY1" fmla="*/ 33132 h 51193"/>
                    <a:gd name="connsiteX2" fmla="*/ 5107 w 10213"/>
                    <a:gd name="connsiteY2" fmla="*/ 15694 h 51193"/>
                    <a:gd name="connsiteX3" fmla="*/ 10214 w 10213"/>
                    <a:gd name="connsiteY3" fmla="*/ 0 h 51193"/>
                  </a:gdLst>
                  <a:ahLst/>
                  <a:cxnLst>
                    <a:cxn ang="0">
                      <a:pos x="connsiteX0" y="connsiteY0"/>
                    </a:cxn>
                    <a:cxn ang="0">
                      <a:pos x="connsiteX1" y="connsiteY1"/>
                    </a:cxn>
                    <a:cxn ang="0">
                      <a:pos x="connsiteX2" y="connsiteY2"/>
                    </a:cxn>
                    <a:cxn ang="0">
                      <a:pos x="connsiteX3" y="connsiteY3"/>
                    </a:cxn>
                  </a:cxnLst>
                  <a:rect l="l" t="t" r="r" b="b"/>
                  <a:pathLst>
                    <a:path w="10213" h="51193">
                      <a:moveTo>
                        <a:pt x="0" y="51193"/>
                      </a:moveTo>
                      <a:cubicBezTo>
                        <a:pt x="3861" y="43719"/>
                        <a:pt x="4983" y="37492"/>
                        <a:pt x="5356" y="33132"/>
                      </a:cubicBezTo>
                      <a:cubicBezTo>
                        <a:pt x="5854" y="26157"/>
                        <a:pt x="4359" y="22794"/>
                        <a:pt x="5107" y="15694"/>
                      </a:cubicBezTo>
                      <a:cubicBezTo>
                        <a:pt x="5854" y="8843"/>
                        <a:pt x="8345" y="3488"/>
                        <a:pt x="102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1" name="Freeform 5431">
                  <a:extLst>
                    <a:ext uri="{FF2B5EF4-FFF2-40B4-BE49-F238E27FC236}">
                      <a16:creationId xmlns:a16="http://schemas.microsoft.com/office/drawing/2014/main" id="{31838C43-731D-50F5-697F-A91CD8287FCF}"/>
                    </a:ext>
                  </a:extLst>
                </p:cNvPr>
                <p:cNvSpPr/>
                <p:nvPr/>
              </p:nvSpPr>
              <p:spPr>
                <a:xfrm>
                  <a:off x="10008541" y="5772077"/>
                  <a:ext cx="9621" cy="51317"/>
                </a:xfrm>
                <a:custGeom>
                  <a:avLst/>
                  <a:gdLst>
                    <a:gd name="connsiteX0" fmla="*/ 9259 w 9621"/>
                    <a:gd name="connsiteY0" fmla="*/ 0 h 51317"/>
                    <a:gd name="connsiteX1" fmla="*/ 7765 w 9621"/>
                    <a:gd name="connsiteY1" fmla="*/ 18684 h 51317"/>
                    <a:gd name="connsiteX2" fmla="*/ 1287 w 9621"/>
                    <a:gd name="connsiteY2" fmla="*/ 34876 h 51317"/>
                    <a:gd name="connsiteX3" fmla="*/ 415 w 9621"/>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21" h="51317">
                      <a:moveTo>
                        <a:pt x="9259" y="0"/>
                      </a:moveTo>
                      <a:cubicBezTo>
                        <a:pt x="10255" y="8345"/>
                        <a:pt x="9010" y="14573"/>
                        <a:pt x="7765" y="18684"/>
                      </a:cubicBezTo>
                      <a:cubicBezTo>
                        <a:pt x="5771" y="25409"/>
                        <a:pt x="3156" y="28025"/>
                        <a:pt x="1287" y="34876"/>
                      </a:cubicBezTo>
                      <a:cubicBezTo>
                        <a:pt x="-457" y="41602"/>
                        <a:pt x="-82" y="47456"/>
                        <a:pt x="415"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62" name="Freeform 5432">
                  <a:extLst>
                    <a:ext uri="{FF2B5EF4-FFF2-40B4-BE49-F238E27FC236}">
                      <a16:creationId xmlns:a16="http://schemas.microsoft.com/office/drawing/2014/main" id="{C3E31A63-BDA8-81AE-7CCC-04B35F36650E}"/>
                    </a:ext>
                  </a:extLst>
                </p:cNvPr>
                <p:cNvSpPr/>
                <p:nvPr/>
              </p:nvSpPr>
              <p:spPr>
                <a:xfrm>
                  <a:off x="9998756" y="5812857"/>
                  <a:ext cx="26255" cy="26429"/>
                </a:xfrm>
                <a:custGeom>
                  <a:avLst/>
                  <a:gdLst>
                    <a:gd name="connsiteX0" fmla="*/ 236 w 26255"/>
                    <a:gd name="connsiteY0" fmla="*/ 10911 h 26429"/>
                    <a:gd name="connsiteX1" fmla="*/ 15557 w 26255"/>
                    <a:gd name="connsiteY1" fmla="*/ 199 h 26429"/>
                    <a:gd name="connsiteX2" fmla="*/ 26020 w 26255"/>
                    <a:gd name="connsiteY2" fmla="*/ 15519 h 26429"/>
                    <a:gd name="connsiteX3" fmla="*/ 10699 w 26255"/>
                    <a:gd name="connsiteY3" fmla="*/ 26231 h 26429"/>
                    <a:gd name="connsiteX4" fmla="*/ 236 w 26255"/>
                    <a:gd name="connsiteY4" fmla="*/ 10911 h 2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55" h="26429">
                      <a:moveTo>
                        <a:pt x="236" y="10911"/>
                      </a:moveTo>
                      <a:cubicBezTo>
                        <a:pt x="1606" y="3686"/>
                        <a:pt x="8457" y="-1047"/>
                        <a:pt x="15557" y="199"/>
                      </a:cubicBezTo>
                      <a:cubicBezTo>
                        <a:pt x="22656" y="1444"/>
                        <a:pt x="27390" y="8420"/>
                        <a:pt x="26020" y="15519"/>
                      </a:cubicBezTo>
                      <a:cubicBezTo>
                        <a:pt x="24649" y="22744"/>
                        <a:pt x="17799" y="27477"/>
                        <a:pt x="10699" y="26231"/>
                      </a:cubicBezTo>
                      <a:cubicBezTo>
                        <a:pt x="3600"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8" name="Graphic 2987">
                <a:extLst>
                  <a:ext uri="{FF2B5EF4-FFF2-40B4-BE49-F238E27FC236}">
                    <a16:creationId xmlns:a16="http://schemas.microsoft.com/office/drawing/2014/main" id="{8FCC018F-2743-8D44-C730-45E36052B546}"/>
                  </a:ext>
                </a:extLst>
              </p:cNvPr>
              <p:cNvGrpSpPr/>
              <p:nvPr/>
            </p:nvGrpSpPr>
            <p:grpSpPr>
              <a:xfrm>
                <a:off x="10027653" y="5697729"/>
                <a:ext cx="49298" cy="146794"/>
                <a:chOff x="10027653" y="5697729"/>
                <a:chExt cx="49298" cy="146794"/>
              </a:xfrm>
              <a:grpFill/>
            </p:grpSpPr>
            <p:sp>
              <p:nvSpPr>
                <p:cNvPr id="4151" name="Freeform 5434">
                  <a:extLst>
                    <a:ext uri="{FF2B5EF4-FFF2-40B4-BE49-F238E27FC236}">
                      <a16:creationId xmlns:a16="http://schemas.microsoft.com/office/drawing/2014/main" id="{9B167596-E75D-2FED-5912-C9F3B9D0B4A5}"/>
                    </a:ext>
                  </a:extLst>
                </p:cNvPr>
                <p:cNvSpPr/>
                <p:nvPr/>
              </p:nvSpPr>
              <p:spPr>
                <a:xfrm>
                  <a:off x="10048316" y="5717396"/>
                  <a:ext cx="10338" cy="51193"/>
                </a:xfrm>
                <a:custGeom>
                  <a:avLst/>
                  <a:gdLst>
                    <a:gd name="connsiteX0" fmla="*/ 10339 w 10338"/>
                    <a:gd name="connsiteY0" fmla="*/ 0 h 51193"/>
                    <a:gd name="connsiteX1" fmla="*/ 4858 w 10338"/>
                    <a:gd name="connsiteY1" fmla="*/ 18061 h 51193"/>
                    <a:gd name="connsiteX2" fmla="*/ 5107 w 10338"/>
                    <a:gd name="connsiteY2" fmla="*/ 35499 h 51193"/>
                    <a:gd name="connsiteX3" fmla="*/ 0 w 10338"/>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38" h="51193">
                      <a:moveTo>
                        <a:pt x="10339" y="0"/>
                      </a:moveTo>
                      <a:cubicBezTo>
                        <a:pt x="6353" y="7474"/>
                        <a:pt x="5232" y="13701"/>
                        <a:pt x="4858" y="18061"/>
                      </a:cubicBezTo>
                      <a:cubicBezTo>
                        <a:pt x="4360" y="25036"/>
                        <a:pt x="5855" y="28399"/>
                        <a:pt x="5107" y="35499"/>
                      </a:cubicBezTo>
                      <a:cubicBezTo>
                        <a:pt x="4360" y="42350"/>
                        <a:pt x="1869" y="47706"/>
                        <a:pt x="0"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2" name="Freeform 5435">
                  <a:extLst>
                    <a:ext uri="{FF2B5EF4-FFF2-40B4-BE49-F238E27FC236}">
                      <a16:creationId xmlns:a16="http://schemas.microsoft.com/office/drawing/2014/main" id="{FFF07AF7-DDBC-19A7-6B8B-A74FF359A547}"/>
                    </a:ext>
                  </a:extLst>
                </p:cNvPr>
                <p:cNvSpPr/>
                <p:nvPr/>
              </p:nvSpPr>
              <p:spPr>
                <a:xfrm>
                  <a:off x="10057172" y="5713784"/>
                  <a:ext cx="9797" cy="51318"/>
                </a:xfrm>
                <a:custGeom>
                  <a:avLst/>
                  <a:gdLst>
                    <a:gd name="connsiteX0" fmla="*/ 362 w 9797"/>
                    <a:gd name="connsiteY0" fmla="*/ 51318 h 51318"/>
                    <a:gd name="connsiteX1" fmla="*/ 1857 w 9797"/>
                    <a:gd name="connsiteY1" fmla="*/ 32634 h 51318"/>
                    <a:gd name="connsiteX2" fmla="*/ 8458 w 9797"/>
                    <a:gd name="connsiteY2" fmla="*/ 16442 h 51318"/>
                    <a:gd name="connsiteX3" fmla="*/ 9330 w 9797"/>
                    <a:gd name="connsiteY3" fmla="*/ 0 h 51318"/>
                  </a:gdLst>
                  <a:ahLst/>
                  <a:cxnLst>
                    <a:cxn ang="0">
                      <a:pos x="connsiteX0" y="connsiteY0"/>
                    </a:cxn>
                    <a:cxn ang="0">
                      <a:pos x="connsiteX1" y="connsiteY1"/>
                    </a:cxn>
                    <a:cxn ang="0">
                      <a:pos x="connsiteX2" y="connsiteY2"/>
                    </a:cxn>
                    <a:cxn ang="0">
                      <a:pos x="connsiteX3" y="connsiteY3"/>
                    </a:cxn>
                  </a:cxnLst>
                  <a:rect l="l" t="t" r="r" b="b"/>
                  <a:pathLst>
                    <a:path w="9797" h="51318">
                      <a:moveTo>
                        <a:pt x="362" y="51318"/>
                      </a:moveTo>
                      <a:cubicBezTo>
                        <a:pt x="-634" y="42973"/>
                        <a:pt x="611" y="36745"/>
                        <a:pt x="1857" y="32634"/>
                      </a:cubicBezTo>
                      <a:cubicBezTo>
                        <a:pt x="3974" y="25908"/>
                        <a:pt x="6590" y="23293"/>
                        <a:pt x="8458" y="16442"/>
                      </a:cubicBezTo>
                      <a:cubicBezTo>
                        <a:pt x="10202" y="9715"/>
                        <a:pt x="9953" y="3861"/>
                        <a:pt x="93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3" name="Freeform 5436">
                  <a:extLst>
                    <a:ext uri="{FF2B5EF4-FFF2-40B4-BE49-F238E27FC236}">
                      <a16:creationId xmlns:a16="http://schemas.microsoft.com/office/drawing/2014/main" id="{0C3FC777-C571-A6E5-6B72-8726914D9EC6}"/>
                    </a:ext>
                  </a:extLst>
                </p:cNvPr>
                <p:cNvSpPr/>
                <p:nvPr/>
              </p:nvSpPr>
              <p:spPr>
                <a:xfrm>
                  <a:off x="10050235" y="5697729"/>
                  <a:ext cx="26716" cy="26509"/>
                </a:xfrm>
                <a:custGeom>
                  <a:avLst/>
                  <a:gdLst>
                    <a:gd name="connsiteX0" fmla="*/ 26480 w 26716"/>
                    <a:gd name="connsiteY0" fmla="*/ 15806 h 26509"/>
                    <a:gd name="connsiteX1" fmla="*/ 10911 w 26716"/>
                    <a:gd name="connsiteY1" fmla="*/ 26269 h 26509"/>
                    <a:gd name="connsiteX2" fmla="*/ 199 w 26716"/>
                    <a:gd name="connsiteY2" fmla="*/ 10824 h 26509"/>
                    <a:gd name="connsiteX3" fmla="*/ 15769 w 26716"/>
                    <a:gd name="connsiteY3" fmla="*/ 236 h 26509"/>
                    <a:gd name="connsiteX4" fmla="*/ 26480 w 26716"/>
                    <a:gd name="connsiteY4" fmla="*/ 15806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6" h="26509">
                      <a:moveTo>
                        <a:pt x="26480" y="15806"/>
                      </a:moveTo>
                      <a:cubicBezTo>
                        <a:pt x="25110" y="23030"/>
                        <a:pt x="18135" y="27639"/>
                        <a:pt x="10911" y="26269"/>
                      </a:cubicBezTo>
                      <a:cubicBezTo>
                        <a:pt x="3686" y="24899"/>
                        <a:pt x="-1047" y="18048"/>
                        <a:pt x="199" y="10824"/>
                      </a:cubicBezTo>
                      <a:cubicBezTo>
                        <a:pt x="1569" y="3599"/>
                        <a:pt x="8544" y="-1134"/>
                        <a:pt x="15769" y="236"/>
                      </a:cubicBezTo>
                      <a:cubicBezTo>
                        <a:pt x="23117" y="1606"/>
                        <a:pt x="27850" y="8706"/>
                        <a:pt x="26480" y="1580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4" name="Freeform 5437">
                  <a:extLst>
                    <a:ext uri="{FF2B5EF4-FFF2-40B4-BE49-F238E27FC236}">
                      <a16:creationId xmlns:a16="http://schemas.microsoft.com/office/drawing/2014/main" id="{EE8A3228-DFD7-30CE-D385-C32077242BB8}"/>
                    </a:ext>
                  </a:extLst>
                </p:cNvPr>
                <p:cNvSpPr/>
                <p:nvPr/>
              </p:nvSpPr>
              <p:spPr>
                <a:xfrm>
                  <a:off x="10045701" y="5773821"/>
                  <a:ext cx="10587" cy="51193"/>
                </a:xfrm>
                <a:custGeom>
                  <a:avLst/>
                  <a:gdLst>
                    <a:gd name="connsiteX0" fmla="*/ 0 w 10587"/>
                    <a:gd name="connsiteY0" fmla="*/ 51193 h 51193"/>
                    <a:gd name="connsiteX1" fmla="*/ 5481 w 10587"/>
                    <a:gd name="connsiteY1" fmla="*/ 33132 h 51193"/>
                    <a:gd name="connsiteX2" fmla="*/ 5356 w 10587"/>
                    <a:gd name="connsiteY2" fmla="*/ 15694 h 51193"/>
                    <a:gd name="connsiteX3" fmla="*/ 10587 w 10587"/>
                    <a:gd name="connsiteY3" fmla="*/ 0 h 51193"/>
                  </a:gdLst>
                  <a:ahLst/>
                  <a:cxnLst>
                    <a:cxn ang="0">
                      <a:pos x="connsiteX0" y="connsiteY0"/>
                    </a:cxn>
                    <a:cxn ang="0">
                      <a:pos x="connsiteX1" y="connsiteY1"/>
                    </a:cxn>
                    <a:cxn ang="0">
                      <a:pos x="connsiteX2" y="connsiteY2"/>
                    </a:cxn>
                    <a:cxn ang="0">
                      <a:pos x="connsiteX3" y="connsiteY3"/>
                    </a:cxn>
                  </a:cxnLst>
                  <a:rect l="l" t="t" r="r" b="b"/>
                  <a:pathLst>
                    <a:path w="10587" h="51193">
                      <a:moveTo>
                        <a:pt x="0" y="51193"/>
                      </a:moveTo>
                      <a:cubicBezTo>
                        <a:pt x="3861" y="43720"/>
                        <a:pt x="5107" y="37492"/>
                        <a:pt x="5481" y="33132"/>
                      </a:cubicBezTo>
                      <a:cubicBezTo>
                        <a:pt x="5979" y="26157"/>
                        <a:pt x="4484" y="22794"/>
                        <a:pt x="5356" y="15694"/>
                      </a:cubicBezTo>
                      <a:cubicBezTo>
                        <a:pt x="6103"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5" name="Freeform 5438">
                  <a:extLst>
                    <a:ext uri="{FF2B5EF4-FFF2-40B4-BE49-F238E27FC236}">
                      <a16:creationId xmlns:a16="http://schemas.microsoft.com/office/drawing/2014/main" id="{9C1D15D0-64ED-6994-FCAA-B27BA6FB4240}"/>
                    </a:ext>
                  </a:extLst>
                </p:cNvPr>
                <p:cNvSpPr/>
                <p:nvPr/>
              </p:nvSpPr>
              <p:spPr>
                <a:xfrm>
                  <a:off x="10037511" y="5777433"/>
                  <a:ext cx="9672" cy="51317"/>
                </a:xfrm>
                <a:custGeom>
                  <a:avLst/>
                  <a:gdLst>
                    <a:gd name="connsiteX0" fmla="*/ 9310 w 9672"/>
                    <a:gd name="connsiteY0" fmla="*/ 0 h 51317"/>
                    <a:gd name="connsiteX1" fmla="*/ 7816 w 9672"/>
                    <a:gd name="connsiteY1" fmla="*/ 18684 h 51317"/>
                    <a:gd name="connsiteX2" fmla="*/ 1339 w 9672"/>
                    <a:gd name="connsiteY2" fmla="*/ 34876 h 51317"/>
                    <a:gd name="connsiteX3" fmla="*/ 467 w 9672"/>
                    <a:gd name="connsiteY3" fmla="*/ 51318 h 51317"/>
                  </a:gdLst>
                  <a:ahLst/>
                  <a:cxnLst>
                    <a:cxn ang="0">
                      <a:pos x="connsiteX0" y="connsiteY0"/>
                    </a:cxn>
                    <a:cxn ang="0">
                      <a:pos x="connsiteX1" y="connsiteY1"/>
                    </a:cxn>
                    <a:cxn ang="0">
                      <a:pos x="connsiteX2" y="connsiteY2"/>
                    </a:cxn>
                    <a:cxn ang="0">
                      <a:pos x="connsiteX3" y="connsiteY3"/>
                    </a:cxn>
                  </a:cxnLst>
                  <a:rect l="l" t="t" r="r" b="b"/>
                  <a:pathLst>
                    <a:path w="9672" h="51317">
                      <a:moveTo>
                        <a:pt x="9310" y="0"/>
                      </a:moveTo>
                      <a:cubicBezTo>
                        <a:pt x="10307" y="8345"/>
                        <a:pt x="9062" y="14573"/>
                        <a:pt x="7816" y="18684"/>
                      </a:cubicBezTo>
                      <a:cubicBezTo>
                        <a:pt x="5823" y="25410"/>
                        <a:pt x="3083" y="28025"/>
                        <a:pt x="1339" y="34876"/>
                      </a:cubicBezTo>
                      <a:cubicBezTo>
                        <a:pt x="-405" y="41602"/>
                        <a:pt x="-155" y="47456"/>
                        <a:pt x="4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6" name="Freeform 5439">
                  <a:extLst>
                    <a:ext uri="{FF2B5EF4-FFF2-40B4-BE49-F238E27FC236}">
                      <a16:creationId xmlns:a16="http://schemas.microsoft.com/office/drawing/2014/main" id="{EC8813FC-B958-9DC5-DEF6-42B4CB698C63}"/>
                    </a:ext>
                  </a:extLst>
                </p:cNvPr>
                <p:cNvSpPr/>
                <p:nvPr/>
              </p:nvSpPr>
              <p:spPr>
                <a:xfrm>
                  <a:off x="10027653" y="5818089"/>
                  <a:ext cx="26380" cy="26434"/>
                </a:xfrm>
                <a:custGeom>
                  <a:avLst/>
                  <a:gdLst>
                    <a:gd name="connsiteX0" fmla="*/ 236 w 26380"/>
                    <a:gd name="connsiteY0" fmla="*/ 10911 h 26434"/>
                    <a:gd name="connsiteX1" fmla="*/ 15681 w 26380"/>
                    <a:gd name="connsiteY1" fmla="*/ 199 h 26434"/>
                    <a:gd name="connsiteX2" fmla="*/ 26144 w 26380"/>
                    <a:gd name="connsiteY2" fmla="*/ 15644 h 26434"/>
                    <a:gd name="connsiteX3" fmla="*/ 10823 w 26380"/>
                    <a:gd name="connsiteY3" fmla="*/ 26231 h 26434"/>
                    <a:gd name="connsiteX4" fmla="*/ 236 w 26380"/>
                    <a:gd name="connsiteY4" fmla="*/ 10911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0" h="26434">
                      <a:moveTo>
                        <a:pt x="236" y="10911"/>
                      </a:moveTo>
                      <a:cubicBezTo>
                        <a:pt x="1606" y="3686"/>
                        <a:pt x="8457" y="-1047"/>
                        <a:pt x="15681" y="199"/>
                      </a:cubicBezTo>
                      <a:cubicBezTo>
                        <a:pt x="22781" y="1444"/>
                        <a:pt x="27514" y="8544"/>
                        <a:pt x="26144" y="15644"/>
                      </a:cubicBezTo>
                      <a:cubicBezTo>
                        <a:pt x="24774" y="22868"/>
                        <a:pt x="17923" y="27477"/>
                        <a:pt x="10823" y="26231"/>
                      </a:cubicBezTo>
                      <a:cubicBezTo>
                        <a:pt x="3599" y="24986"/>
                        <a:pt x="-1134" y="18135"/>
                        <a:pt x="236" y="1091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29" name="Graphic 2987">
                <a:extLst>
                  <a:ext uri="{FF2B5EF4-FFF2-40B4-BE49-F238E27FC236}">
                    <a16:creationId xmlns:a16="http://schemas.microsoft.com/office/drawing/2014/main" id="{D450DCD9-D7CD-182E-980B-AD576E195966}"/>
                  </a:ext>
                </a:extLst>
              </p:cNvPr>
              <p:cNvGrpSpPr/>
              <p:nvPr/>
            </p:nvGrpSpPr>
            <p:grpSpPr>
              <a:xfrm>
                <a:off x="10056421" y="5703538"/>
                <a:ext cx="49801" cy="146628"/>
                <a:chOff x="10056421" y="5703538"/>
                <a:chExt cx="49801" cy="146628"/>
              </a:xfrm>
              <a:grpFill/>
            </p:grpSpPr>
            <p:sp>
              <p:nvSpPr>
                <p:cNvPr id="4145" name="Freeform 5441">
                  <a:extLst>
                    <a:ext uri="{FF2B5EF4-FFF2-40B4-BE49-F238E27FC236}">
                      <a16:creationId xmlns:a16="http://schemas.microsoft.com/office/drawing/2014/main" id="{ADCAB658-B8C8-482B-C2DB-E152763F62BB}"/>
                    </a:ext>
                  </a:extLst>
                </p:cNvPr>
                <p:cNvSpPr/>
                <p:nvPr/>
              </p:nvSpPr>
              <p:spPr>
                <a:xfrm>
                  <a:off x="10077338" y="5723001"/>
                  <a:ext cx="10587" cy="51068"/>
                </a:xfrm>
                <a:custGeom>
                  <a:avLst/>
                  <a:gdLst>
                    <a:gd name="connsiteX0" fmla="*/ 10588 w 10587"/>
                    <a:gd name="connsiteY0" fmla="*/ 0 h 51068"/>
                    <a:gd name="connsiteX1" fmla="*/ 5107 w 10587"/>
                    <a:gd name="connsiteY1" fmla="*/ 17936 h 51068"/>
                    <a:gd name="connsiteX2" fmla="*/ 5231 w 10587"/>
                    <a:gd name="connsiteY2" fmla="*/ 35374 h 51068"/>
                    <a:gd name="connsiteX3" fmla="*/ 0 w 1058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587" h="51068">
                      <a:moveTo>
                        <a:pt x="10588" y="0"/>
                      </a:moveTo>
                      <a:cubicBezTo>
                        <a:pt x="6602" y="7349"/>
                        <a:pt x="5481" y="13577"/>
                        <a:pt x="5107" y="17936"/>
                      </a:cubicBezTo>
                      <a:cubicBezTo>
                        <a:pt x="4609" y="24912"/>
                        <a:pt x="6103" y="28274"/>
                        <a:pt x="5231" y="35374"/>
                      </a:cubicBezTo>
                      <a:cubicBezTo>
                        <a:pt x="4360" y="42225"/>
                        <a:pt x="1993" y="47581"/>
                        <a:pt x="0"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6" name="Freeform 5442">
                  <a:extLst>
                    <a:ext uri="{FF2B5EF4-FFF2-40B4-BE49-F238E27FC236}">
                      <a16:creationId xmlns:a16="http://schemas.microsoft.com/office/drawing/2014/main" id="{2C7577F4-2E47-235A-46C7-F60967DE05DF}"/>
                    </a:ext>
                  </a:extLst>
                </p:cNvPr>
                <p:cNvSpPr/>
                <p:nvPr/>
              </p:nvSpPr>
              <p:spPr>
                <a:xfrm>
                  <a:off x="10086264" y="5719638"/>
                  <a:ext cx="9876" cy="51193"/>
                </a:xfrm>
                <a:custGeom>
                  <a:avLst/>
                  <a:gdLst>
                    <a:gd name="connsiteX0" fmla="*/ 291 w 9876"/>
                    <a:gd name="connsiteY0" fmla="*/ 51193 h 51193"/>
                    <a:gd name="connsiteX1" fmla="*/ 1911 w 9876"/>
                    <a:gd name="connsiteY1" fmla="*/ 32510 h 51193"/>
                    <a:gd name="connsiteX2" fmla="*/ 8513 w 9876"/>
                    <a:gd name="connsiteY2" fmla="*/ 16442 h 51193"/>
                    <a:gd name="connsiteX3" fmla="*/ 9509 w 9876"/>
                    <a:gd name="connsiteY3" fmla="*/ 0 h 51193"/>
                  </a:gdLst>
                  <a:ahLst/>
                  <a:cxnLst>
                    <a:cxn ang="0">
                      <a:pos x="connsiteX0" y="connsiteY0"/>
                    </a:cxn>
                    <a:cxn ang="0">
                      <a:pos x="connsiteX1" y="connsiteY1"/>
                    </a:cxn>
                    <a:cxn ang="0">
                      <a:pos x="connsiteX2" y="connsiteY2"/>
                    </a:cxn>
                    <a:cxn ang="0">
                      <a:pos x="connsiteX3" y="connsiteY3"/>
                    </a:cxn>
                  </a:cxnLst>
                  <a:rect l="l" t="t" r="r" b="b"/>
                  <a:pathLst>
                    <a:path w="9876" h="51193">
                      <a:moveTo>
                        <a:pt x="291" y="51193"/>
                      </a:moveTo>
                      <a:cubicBezTo>
                        <a:pt x="-581" y="42848"/>
                        <a:pt x="665" y="36620"/>
                        <a:pt x="1911" y="32510"/>
                      </a:cubicBezTo>
                      <a:cubicBezTo>
                        <a:pt x="4029" y="25784"/>
                        <a:pt x="6644" y="23292"/>
                        <a:pt x="8513" y="16442"/>
                      </a:cubicBezTo>
                      <a:cubicBezTo>
                        <a:pt x="10257" y="9715"/>
                        <a:pt x="10007" y="3861"/>
                        <a:pt x="950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7" name="Freeform 5443">
                  <a:extLst>
                    <a:ext uri="{FF2B5EF4-FFF2-40B4-BE49-F238E27FC236}">
                      <a16:creationId xmlns:a16="http://schemas.microsoft.com/office/drawing/2014/main" id="{00758E14-4477-AEEA-6820-7CCA73D86213}"/>
                    </a:ext>
                  </a:extLst>
                </p:cNvPr>
                <p:cNvSpPr/>
                <p:nvPr/>
              </p:nvSpPr>
              <p:spPr>
                <a:xfrm>
                  <a:off x="10079594" y="5703538"/>
                  <a:ext cx="26629" cy="26470"/>
                </a:xfrm>
                <a:custGeom>
                  <a:avLst/>
                  <a:gdLst>
                    <a:gd name="connsiteX0" fmla="*/ 26393 w 26629"/>
                    <a:gd name="connsiteY0" fmla="*/ 15851 h 26470"/>
                    <a:gd name="connsiteX1" fmla="*/ 10823 w 26629"/>
                    <a:gd name="connsiteY1" fmla="*/ 26189 h 26470"/>
                    <a:gd name="connsiteX2" fmla="*/ 236 w 26629"/>
                    <a:gd name="connsiteY2" fmla="*/ 10619 h 26470"/>
                    <a:gd name="connsiteX3" fmla="*/ 15806 w 26629"/>
                    <a:gd name="connsiteY3" fmla="*/ 281 h 26470"/>
                    <a:gd name="connsiteX4" fmla="*/ 26393 w 26629"/>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 h="26470">
                      <a:moveTo>
                        <a:pt x="26393" y="15851"/>
                      </a:moveTo>
                      <a:cubicBezTo>
                        <a:pt x="25023" y="23075"/>
                        <a:pt x="18048" y="27684"/>
                        <a:pt x="10823" y="26189"/>
                      </a:cubicBezTo>
                      <a:cubicBezTo>
                        <a:pt x="3599" y="24694"/>
                        <a:pt x="-1134" y="17719"/>
                        <a:pt x="236" y="10619"/>
                      </a:cubicBezTo>
                      <a:cubicBezTo>
                        <a:pt x="1606" y="3395"/>
                        <a:pt x="8581" y="-1213"/>
                        <a:pt x="15806" y="281"/>
                      </a:cubicBezTo>
                      <a:cubicBezTo>
                        <a:pt x="23030" y="1651"/>
                        <a:pt x="27764" y="8751"/>
                        <a:pt x="2639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8" name="Freeform 5444">
                  <a:extLst>
                    <a:ext uri="{FF2B5EF4-FFF2-40B4-BE49-F238E27FC236}">
                      <a16:creationId xmlns:a16="http://schemas.microsoft.com/office/drawing/2014/main" id="{6BF26F30-073C-8BEF-D316-A1B3A9FAC43F}"/>
                    </a:ext>
                  </a:extLst>
                </p:cNvPr>
                <p:cNvSpPr/>
                <p:nvPr/>
              </p:nvSpPr>
              <p:spPr>
                <a:xfrm>
                  <a:off x="10074474" y="5779675"/>
                  <a:ext cx="10587" cy="51068"/>
                </a:xfrm>
                <a:custGeom>
                  <a:avLst/>
                  <a:gdLst>
                    <a:gd name="connsiteX0" fmla="*/ 0 w 10587"/>
                    <a:gd name="connsiteY0" fmla="*/ 51069 h 51068"/>
                    <a:gd name="connsiteX1" fmla="*/ 5481 w 10587"/>
                    <a:gd name="connsiteY1" fmla="*/ 33132 h 51068"/>
                    <a:gd name="connsiteX2" fmla="*/ 5356 w 10587"/>
                    <a:gd name="connsiteY2" fmla="*/ 15694 h 51068"/>
                    <a:gd name="connsiteX3" fmla="*/ 10587 w 10587"/>
                    <a:gd name="connsiteY3" fmla="*/ 0 h 51068"/>
                  </a:gdLst>
                  <a:ahLst/>
                  <a:cxnLst>
                    <a:cxn ang="0">
                      <a:pos x="connsiteX0" y="connsiteY0"/>
                    </a:cxn>
                    <a:cxn ang="0">
                      <a:pos x="connsiteX1" y="connsiteY1"/>
                    </a:cxn>
                    <a:cxn ang="0">
                      <a:pos x="connsiteX2" y="connsiteY2"/>
                    </a:cxn>
                    <a:cxn ang="0">
                      <a:pos x="connsiteX3" y="connsiteY3"/>
                    </a:cxn>
                  </a:cxnLst>
                  <a:rect l="l" t="t" r="r" b="b"/>
                  <a:pathLst>
                    <a:path w="10587" h="51068">
                      <a:moveTo>
                        <a:pt x="0" y="51069"/>
                      </a:moveTo>
                      <a:cubicBezTo>
                        <a:pt x="3986" y="43595"/>
                        <a:pt x="5107" y="37492"/>
                        <a:pt x="5481" y="33132"/>
                      </a:cubicBezTo>
                      <a:cubicBezTo>
                        <a:pt x="6103" y="26157"/>
                        <a:pt x="4609" y="22794"/>
                        <a:pt x="5356" y="15694"/>
                      </a:cubicBezTo>
                      <a:cubicBezTo>
                        <a:pt x="6228" y="8843"/>
                        <a:pt x="8595" y="3488"/>
                        <a:pt x="105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9" name="Freeform 5445">
                  <a:extLst>
                    <a:ext uri="{FF2B5EF4-FFF2-40B4-BE49-F238E27FC236}">
                      <a16:creationId xmlns:a16="http://schemas.microsoft.com/office/drawing/2014/main" id="{39513898-9A35-EBD4-F1B8-3446A6DEB97F}"/>
                    </a:ext>
                  </a:extLst>
                </p:cNvPr>
                <p:cNvSpPr/>
                <p:nvPr/>
              </p:nvSpPr>
              <p:spPr>
                <a:xfrm>
                  <a:off x="10066260" y="5783038"/>
                  <a:ext cx="9875" cy="51318"/>
                </a:xfrm>
                <a:custGeom>
                  <a:avLst/>
                  <a:gdLst>
                    <a:gd name="connsiteX0" fmla="*/ 9584 w 9875"/>
                    <a:gd name="connsiteY0" fmla="*/ 0 h 51318"/>
                    <a:gd name="connsiteX1" fmla="*/ 7965 w 9875"/>
                    <a:gd name="connsiteY1" fmla="*/ 18808 h 51318"/>
                    <a:gd name="connsiteX2" fmla="*/ 1364 w 9875"/>
                    <a:gd name="connsiteY2" fmla="*/ 34876 h 51318"/>
                    <a:gd name="connsiteX3" fmla="*/ 367 w 9875"/>
                    <a:gd name="connsiteY3" fmla="*/ 51318 h 51318"/>
                  </a:gdLst>
                  <a:ahLst/>
                  <a:cxnLst>
                    <a:cxn ang="0">
                      <a:pos x="connsiteX0" y="connsiteY0"/>
                    </a:cxn>
                    <a:cxn ang="0">
                      <a:pos x="connsiteX1" y="connsiteY1"/>
                    </a:cxn>
                    <a:cxn ang="0">
                      <a:pos x="connsiteX2" y="connsiteY2"/>
                    </a:cxn>
                    <a:cxn ang="0">
                      <a:pos x="connsiteX3" y="connsiteY3"/>
                    </a:cxn>
                  </a:cxnLst>
                  <a:rect l="l" t="t" r="r" b="b"/>
                  <a:pathLst>
                    <a:path w="9875" h="51318">
                      <a:moveTo>
                        <a:pt x="9584" y="0"/>
                      </a:moveTo>
                      <a:cubicBezTo>
                        <a:pt x="10456" y="8346"/>
                        <a:pt x="9211" y="14573"/>
                        <a:pt x="7965" y="18808"/>
                      </a:cubicBezTo>
                      <a:cubicBezTo>
                        <a:pt x="5847" y="25535"/>
                        <a:pt x="3231" y="28025"/>
                        <a:pt x="1364" y="34876"/>
                      </a:cubicBezTo>
                      <a:cubicBezTo>
                        <a:pt x="-380" y="41603"/>
                        <a:pt x="-131" y="47457"/>
                        <a:pt x="367" y="5131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50" name="Freeform 5446">
                  <a:extLst>
                    <a:ext uri="{FF2B5EF4-FFF2-40B4-BE49-F238E27FC236}">
                      <a16:creationId xmlns:a16="http://schemas.microsoft.com/office/drawing/2014/main" id="{F371FD9B-93CA-B202-8BB7-C61AC6B7EF02}"/>
                    </a:ext>
                  </a:extLst>
                </p:cNvPr>
                <p:cNvSpPr/>
                <p:nvPr/>
              </p:nvSpPr>
              <p:spPr>
                <a:xfrm>
                  <a:off x="10056421" y="5823652"/>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461" y="-1129"/>
                        <a:pt x="15686" y="241"/>
                      </a:cubicBezTo>
                      <a:cubicBezTo>
                        <a:pt x="22786" y="1611"/>
                        <a:pt x="27394" y="8586"/>
                        <a:pt x="26024" y="15810"/>
                      </a:cubicBezTo>
                      <a:cubicBezTo>
                        <a:pt x="24654" y="23035"/>
                        <a:pt x="17679" y="27644"/>
                        <a:pt x="10579" y="26274"/>
                      </a:cubicBezTo>
                      <a:cubicBezTo>
                        <a:pt x="3480" y="24903"/>
                        <a:pt x="-1129" y="17928"/>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0" name="Graphic 2987">
                <a:extLst>
                  <a:ext uri="{FF2B5EF4-FFF2-40B4-BE49-F238E27FC236}">
                    <a16:creationId xmlns:a16="http://schemas.microsoft.com/office/drawing/2014/main" id="{B381290D-8FD7-C65E-C51F-8AA397F90C5B}"/>
                  </a:ext>
                </a:extLst>
              </p:cNvPr>
              <p:cNvGrpSpPr/>
              <p:nvPr/>
            </p:nvGrpSpPr>
            <p:grpSpPr>
              <a:xfrm>
                <a:off x="10085194" y="5709392"/>
                <a:ext cx="50304" cy="146628"/>
                <a:chOff x="10085194" y="5709392"/>
                <a:chExt cx="50304" cy="146628"/>
              </a:xfrm>
              <a:grpFill/>
            </p:grpSpPr>
            <p:sp>
              <p:nvSpPr>
                <p:cNvPr id="4139" name="Freeform 5448">
                  <a:extLst>
                    <a:ext uri="{FF2B5EF4-FFF2-40B4-BE49-F238E27FC236}">
                      <a16:creationId xmlns:a16="http://schemas.microsoft.com/office/drawing/2014/main" id="{EF73271E-C0C4-D6EC-A52B-1F268AC8E7D0}"/>
                    </a:ext>
                  </a:extLst>
                </p:cNvPr>
                <p:cNvSpPr/>
                <p:nvPr/>
              </p:nvSpPr>
              <p:spPr>
                <a:xfrm>
                  <a:off x="10106360" y="5728855"/>
                  <a:ext cx="10836" cy="50944"/>
                </a:xfrm>
                <a:custGeom>
                  <a:avLst/>
                  <a:gdLst>
                    <a:gd name="connsiteX0" fmla="*/ 10836 w 10836"/>
                    <a:gd name="connsiteY0" fmla="*/ 0 h 50944"/>
                    <a:gd name="connsiteX1" fmla="*/ 5231 w 10836"/>
                    <a:gd name="connsiteY1" fmla="*/ 17936 h 50944"/>
                    <a:gd name="connsiteX2" fmla="*/ 5231 w 10836"/>
                    <a:gd name="connsiteY2" fmla="*/ 35374 h 50944"/>
                    <a:gd name="connsiteX3" fmla="*/ 0 w 1083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836" h="50944">
                      <a:moveTo>
                        <a:pt x="10836" y="0"/>
                      </a:moveTo>
                      <a:cubicBezTo>
                        <a:pt x="6851" y="7349"/>
                        <a:pt x="5605" y="13577"/>
                        <a:pt x="5231" y="17936"/>
                      </a:cubicBezTo>
                      <a:cubicBezTo>
                        <a:pt x="4609" y="24912"/>
                        <a:pt x="6103" y="28274"/>
                        <a:pt x="5231" y="35374"/>
                      </a:cubicBezTo>
                      <a:cubicBezTo>
                        <a:pt x="4359" y="42225"/>
                        <a:pt x="1869"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0" name="Freeform 5449">
                  <a:extLst>
                    <a:ext uri="{FF2B5EF4-FFF2-40B4-BE49-F238E27FC236}">
                      <a16:creationId xmlns:a16="http://schemas.microsoft.com/office/drawing/2014/main" id="{FF3FDD36-A095-BC72-1915-1228D09BFC6F}"/>
                    </a:ext>
                  </a:extLst>
                </p:cNvPr>
                <p:cNvSpPr/>
                <p:nvPr/>
              </p:nvSpPr>
              <p:spPr>
                <a:xfrm>
                  <a:off x="10115288" y="5725368"/>
                  <a:ext cx="10239" cy="51193"/>
                </a:xfrm>
                <a:custGeom>
                  <a:avLst/>
                  <a:gdLst>
                    <a:gd name="connsiteX0" fmla="*/ 290 w 10239"/>
                    <a:gd name="connsiteY0" fmla="*/ 51193 h 51193"/>
                    <a:gd name="connsiteX1" fmla="*/ 2034 w 10239"/>
                    <a:gd name="connsiteY1" fmla="*/ 32509 h 51193"/>
                    <a:gd name="connsiteX2" fmla="*/ 8760 w 10239"/>
                    <a:gd name="connsiteY2" fmla="*/ 16441 h 51193"/>
                    <a:gd name="connsiteX3" fmla="*/ 9881 w 10239"/>
                    <a:gd name="connsiteY3" fmla="*/ 0 h 51193"/>
                  </a:gdLst>
                  <a:ahLst/>
                  <a:cxnLst>
                    <a:cxn ang="0">
                      <a:pos x="connsiteX0" y="connsiteY0"/>
                    </a:cxn>
                    <a:cxn ang="0">
                      <a:pos x="connsiteX1" y="connsiteY1"/>
                    </a:cxn>
                    <a:cxn ang="0">
                      <a:pos x="connsiteX2" y="connsiteY2"/>
                    </a:cxn>
                    <a:cxn ang="0">
                      <a:pos x="connsiteX3" y="connsiteY3"/>
                    </a:cxn>
                  </a:cxnLst>
                  <a:rect l="l" t="t" r="r" b="b"/>
                  <a:pathLst>
                    <a:path w="10239" h="51193">
                      <a:moveTo>
                        <a:pt x="290" y="51193"/>
                      </a:moveTo>
                      <a:cubicBezTo>
                        <a:pt x="-582" y="42848"/>
                        <a:pt x="664" y="36620"/>
                        <a:pt x="2034" y="32509"/>
                      </a:cubicBezTo>
                      <a:cubicBezTo>
                        <a:pt x="4151" y="25783"/>
                        <a:pt x="6892" y="23292"/>
                        <a:pt x="8760" y="16441"/>
                      </a:cubicBezTo>
                      <a:cubicBezTo>
                        <a:pt x="10628" y="9840"/>
                        <a:pt x="10379" y="3861"/>
                        <a:pt x="988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1" name="Freeform 5450">
                  <a:extLst>
                    <a:ext uri="{FF2B5EF4-FFF2-40B4-BE49-F238E27FC236}">
                      <a16:creationId xmlns:a16="http://schemas.microsoft.com/office/drawing/2014/main" id="{C160D777-C4CA-B043-AFE2-66611FFAE0AC}"/>
                    </a:ext>
                  </a:extLst>
                </p:cNvPr>
                <p:cNvSpPr/>
                <p:nvPr/>
              </p:nvSpPr>
              <p:spPr>
                <a:xfrm>
                  <a:off x="10108824" y="5709392"/>
                  <a:ext cx="26674" cy="26470"/>
                </a:xfrm>
                <a:custGeom>
                  <a:avLst/>
                  <a:gdLst>
                    <a:gd name="connsiteX0" fmla="*/ 26433 w 26674"/>
                    <a:gd name="connsiteY0" fmla="*/ 15851 h 26470"/>
                    <a:gd name="connsiteX1" fmla="*/ 10739 w 26674"/>
                    <a:gd name="connsiteY1" fmla="*/ 26189 h 26470"/>
                    <a:gd name="connsiteX2" fmla="*/ 276 w 26674"/>
                    <a:gd name="connsiteY2" fmla="*/ 10619 h 26470"/>
                    <a:gd name="connsiteX3" fmla="*/ 15970 w 26674"/>
                    <a:gd name="connsiteY3" fmla="*/ 281 h 26470"/>
                    <a:gd name="connsiteX4" fmla="*/ 26433 w 26674"/>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4" h="26470">
                      <a:moveTo>
                        <a:pt x="26433" y="15851"/>
                      </a:moveTo>
                      <a:cubicBezTo>
                        <a:pt x="24939" y="23075"/>
                        <a:pt x="17964" y="27684"/>
                        <a:pt x="10739" y="26189"/>
                      </a:cubicBezTo>
                      <a:cubicBezTo>
                        <a:pt x="3514" y="24694"/>
                        <a:pt x="-1219" y="17719"/>
                        <a:pt x="276" y="10619"/>
                      </a:cubicBezTo>
                      <a:cubicBezTo>
                        <a:pt x="1647" y="3395"/>
                        <a:pt x="8746" y="-1213"/>
                        <a:pt x="15970" y="281"/>
                      </a:cubicBezTo>
                      <a:cubicBezTo>
                        <a:pt x="23195" y="1776"/>
                        <a:pt x="27803" y="8751"/>
                        <a:pt x="2643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2" name="Freeform 5451">
                  <a:extLst>
                    <a:ext uri="{FF2B5EF4-FFF2-40B4-BE49-F238E27FC236}">
                      <a16:creationId xmlns:a16="http://schemas.microsoft.com/office/drawing/2014/main" id="{EC5D1520-A02E-126A-C699-E6B4E53C3549}"/>
                    </a:ext>
                  </a:extLst>
                </p:cNvPr>
                <p:cNvSpPr/>
                <p:nvPr/>
              </p:nvSpPr>
              <p:spPr>
                <a:xfrm>
                  <a:off x="10103246" y="5785529"/>
                  <a:ext cx="10961" cy="50944"/>
                </a:xfrm>
                <a:custGeom>
                  <a:avLst/>
                  <a:gdLst>
                    <a:gd name="connsiteX0" fmla="*/ 0 w 10961"/>
                    <a:gd name="connsiteY0" fmla="*/ 50944 h 50944"/>
                    <a:gd name="connsiteX1" fmla="*/ 5605 w 10961"/>
                    <a:gd name="connsiteY1" fmla="*/ 33008 h 50944"/>
                    <a:gd name="connsiteX2" fmla="*/ 5605 w 10961"/>
                    <a:gd name="connsiteY2" fmla="*/ 15570 h 50944"/>
                    <a:gd name="connsiteX3" fmla="*/ 10961 w 10961"/>
                    <a:gd name="connsiteY3" fmla="*/ 0 h 50944"/>
                  </a:gdLst>
                  <a:ahLst/>
                  <a:cxnLst>
                    <a:cxn ang="0">
                      <a:pos x="connsiteX0" y="connsiteY0"/>
                    </a:cxn>
                    <a:cxn ang="0">
                      <a:pos x="connsiteX1" y="connsiteY1"/>
                    </a:cxn>
                    <a:cxn ang="0">
                      <a:pos x="connsiteX2" y="connsiteY2"/>
                    </a:cxn>
                    <a:cxn ang="0">
                      <a:pos x="connsiteX3" y="connsiteY3"/>
                    </a:cxn>
                  </a:cxnLst>
                  <a:rect l="l" t="t" r="r" b="b"/>
                  <a:pathLst>
                    <a:path w="10961" h="50944">
                      <a:moveTo>
                        <a:pt x="0" y="50944"/>
                      </a:moveTo>
                      <a:cubicBezTo>
                        <a:pt x="3986" y="43595"/>
                        <a:pt x="5231" y="37367"/>
                        <a:pt x="5605" y="33008"/>
                      </a:cubicBezTo>
                      <a:cubicBezTo>
                        <a:pt x="6228" y="26033"/>
                        <a:pt x="4733" y="22670"/>
                        <a:pt x="5605" y="15570"/>
                      </a:cubicBezTo>
                      <a:cubicBezTo>
                        <a:pt x="6477" y="8719"/>
                        <a:pt x="8968" y="3363"/>
                        <a:pt x="109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3" name="Freeform 5452">
                  <a:extLst>
                    <a:ext uri="{FF2B5EF4-FFF2-40B4-BE49-F238E27FC236}">
                      <a16:creationId xmlns:a16="http://schemas.microsoft.com/office/drawing/2014/main" id="{80FE8204-9F34-2EBA-7F02-758C852C02A8}"/>
                    </a:ext>
                  </a:extLst>
                </p:cNvPr>
                <p:cNvSpPr/>
                <p:nvPr/>
              </p:nvSpPr>
              <p:spPr>
                <a:xfrm>
                  <a:off x="10095041" y="5788768"/>
                  <a:ext cx="10114" cy="51193"/>
                </a:xfrm>
                <a:custGeom>
                  <a:avLst/>
                  <a:gdLst>
                    <a:gd name="connsiteX0" fmla="*/ 9825 w 10114"/>
                    <a:gd name="connsiteY0" fmla="*/ 0 h 51193"/>
                    <a:gd name="connsiteX1" fmla="*/ 8081 w 10114"/>
                    <a:gd name="connsiteY1" fmla="*/ 18684 h 51193"/>
                    <a:gd name="connsiteX2" fmla="*/ 1480 w 10114"/>
                    <a:gd name="connsiteY2" fmla="*/ 34751 h 51193"/>
                    <a:gd name="connsiteX3" fmla="*/ 359 w 1011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114" h="51193">
                      <a:moveTo>
                        <a:pt x="9825" y="0"/>
                      </a:moveTo>
                      <a:cubicBezTo>
                        <a:pt x="10697" y="8345"/>
                        <a:pt x="9451" y="14573"/>
                        <a:pt x="8081" y="18684"/>
                      </a:cubicBezTo>
                      <a:cubicBezTo>
                        <a:pt x="5964" y="25409"/>
                        <a:pt x="3348" y="27901"/>
                        <a:pt x="1480"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44" name="Freeform 5453">
                  <a:extLst>
                    <a:ext uri="{FF2B5EF4-FFF2-40B4-BE49-F238E27FC236}">
                      <a16:creationId xmlns:a16="http://schemas.microsoft.com/office/drawing/2014/main" id="{42224342-8876-BB92-B1D1-8D566FBC01FB}"/>
                    </a:ext>
                  </a:extLst>
                </p:cNvPr>
                <p:cNvSpPr/>
                <p:nvPr/>
              </p:nvSpPr>
              <p:spPr>
                <a:xfrm>
                  <a:off x="10085194" y="5829506"/>
                  <a:ext cx="26265" cy="26514"/>
                </a:xfrm>
                <a:custGeom>
                  <a:avLst/>
                  <a:gdLst>
                    <a:gd name="connsiteX0" fmla="*/ 241 w 26265"/>
                    <a:gd name="connsiteY0" fmla="*/ 10704 h 26514"/>
                    <a:gd name="connsiteX1" fmla="*/ 15686 w 26265"/>
                    <a:gd name="connsiteY1" fmla="*/ 241 h 26514"/>
                    <a:gd name="connsiteX2" fmla="*/ 26024 w 26265"/>
                    <a:gd name="connsiteY2" fmla="*/ 15810 h 26514"/>
                    <a:gd name="connsiteX3" fmla="*/ 10579 w 26265"/>
                    <a:gd name="connsiteY3" fmla="*/ 26274 h 26514"/>
                    <a:gd name="connsiteX4" fmla="*/ 241 w 26265"/>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5" h="26513">
                      <a:moveTo>
                        <a:pt x="241" y="10704"/>
                      </a:moveTo>
                      <a:cubicBezTo>
                        <a:pt x="1611" y="3479"/>
                        <a:pt x="8586" y="-1129"/>
                        <a:pt x="15686" y="241"/>
                      </a:cubicBezTo>
                      <a:cubicBezTo>
                        <a:pt x="22786" y="1611"/>
                        <a:pt x="27394" y="8586"/>
                        <a:pt x="26024" y="15810"/>
                      </a:cubicBezTo>
                      <a:cubicBezTo>
                        <a:pt x="24654" y="23035"/>
                        <a:pt x="17679" y="27644"/>
                        <a:pt x="10579" y="26274"/>
                      </a:cubicBezTo>
                      <a:cubicBezTo>
                        <a:pt x="3480" y="24779"/>
                        <a:pt x="-1129" y="17803"/>
                        <a:pt x="241"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1" name="Graphic 2987">
                <a:extLst>
                  <a:ext uri="{FF2B5EF4-FFF2-40B4-BE49-F238E27FC236}">
                    <a16:creationId xmlns:a16="http://schemas.microsoft.com/office/drawing/2014/main" id="{FB17E9DA-B82F-EF9D-6B35-47EC1BFAAE72}"/>
                  </a:ext>
                </a:extLst>
              </p:cNvPr>
              <p:cNvGrpSpPr/>
              <p:nvPr/>
            </p:nvGrpSpPr>
            <p:grpSpPr>
              <a:xfrm>
                <a:off x="10113962" y="5715252"/>
                <a:ext cx="50842" cy="146498"/>
                <a:chOff x="10113962" y="5715252"/>
                <a:chExt cx="50842" cy="146498"/>
              </a:xfrm>
              <a:grpFill/>
            </p:grpSpPr>
            <p:sp>
              <p:nvSpPr>
                <p:cNvPr id="4133" name="Freeform 5455">
                  <a:extLst>
                    <a:ext uri="{FF2B5EF4-FFF2-40B4-BE49-F238E27FC236}">
                      <a16:creationId xmlns:a16="http://schemas.microsoft.com/office/drawing/2014/main" id="{3C67FEAF-A295-6A3A-E3DF-F16340412AB4}"/>
                    </a:ext>
                  </a:extLst>
                </p:cNvPr>
                <p:cNvSpPr/>
                <p:nvPr/>
              </p:nvSpPr>
              <p:spPr>
                <a:xfrm>
                  <a:off x="10135506" y="5734710"/>
                  <a:ext cx="10961" cy="50944"/>
                </a:xfrm>
                <a:custGeom>
                  <a:avLst/>
                  <a:gdLst>
                    <a:gd name="connsiteX0" fmla="*/ 10961 w 10961"/>
                    <a:gd name="connsiteY0" fmla="*/ 0 h 50944"/>
                    <a:gd name="connsiteX1" fmla="*/ 5357 w 10961"/>
                    <a:gd name="connsiteY1" fmla="*/ 17936 h 50944"/>
                    <a:gd name="connsiteX2" fmla="*/ 5357 w 10961"/>
                    <a:gd name="connsiteY2" fmla="*/ 35374 h 50944"/>
                    <a:gd name="connsiteX3" fmla="*/ 0 w 10961"/>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0961" h="50944">
                      <a:moveTo>
                        <a:pt x="10961" y="0"/>
                      </a:moveTo>
                      <a:cubicBezTo>
                        <a:pt x="6976" y="7349"/>
                        <a:pt x="5730" y="13577"/>
                        <a:pt x="5357" y="17936"/>
                      </a:cubicBezTo>
                      <a:cubicBezTo>
                        <a:pt x="4733" y="24912"/>
                        <a:pt x="6228" y="28274"/>
                        <a:pt x="5357" y="35374"/>
                      </a:cubicBezTo>
                      <a:cubicBezTo>
                        <a:pt x="4485"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4" name="Freeform 5456">
                  <a:extLst>
                    <a:ext uri="{FF2B5EF4-FFF2-40B4-BE49-F238E27FC236}">
                      <a16:creationId xmlns:a16="http://schemas.microsoft.com/office/drawing/2014/main" id="{410D9FB4-0731-8581-732B-D97B4F7E8EDB}"/>
                    </a:ext>
                  </a:extLst>
                </p:cNvPr>
                <p:cNvSpPr/>
                <p:nvPr/>
              </p:nvSpPr>
              <p:spPr>
                <a:xfrm>
                  <a:off x="10144324" y="5731222"/>
                  <a:ext cx="10224" cy="51193"/>
                </a:xfrm>
                <a:custGeom>
                  <a:avLst/>
                  <a:gdLst>
                    <a:gd name="connsiteX0" fmla="*/ 275 w 10224"/>
                    <a:gd name="connsiteY0" fmla="*/ 51193 h 51193"/>
                    <a:gd name="connsiteX1" fmla="*/ 2019 w 10224"/>
                    <a:gd name="connsiteY1" fmla="*/ 32509 h 51193"/>
                    <a:gd name="connsiteX2" fmla="*/ 8745 w 10224"/>
                    <a:gd name="connsiteY2" fmla="*/ 16441 h 51193"/>
                    <a:gd name="connsiteX3" fmla="*/ 9866 w 10224"/>
                    <a:gd name="connsiteY3" fmla="*/ 0 h 51193"/>
                  </a:gdLst>
                  <a:ahLst/>
                  <a:cxnLst>
                    <a:cxn ang="0">
                      <a:pos x="connsiteX0" y="connsiteY0"/>
                    </a:cxn>
                    <a:cxn ang="0">
                      <a:pos x="connsiteX1" y="connsiteY1"/>
                    </a:cxn>
                    <a:cxn ang="0">
                      <a:pos x="connsiteX2" y="connsiteY2"/>
                    </a:cxn>
                    <a:cxn ang="0">
                      <a:pos x="connsiteX3" y="connsiteY3"/>
                    </a:cxn>
                  </a:cxnLst>
                  <a:rect l="l" t="t" r="r" b="b"/>
                  <a:pathLst>
                    <a:path w="10224" h="51193">
                      <a:moveTo>
                        <a:pt x="275" y="51193"/>
                      </a:moveTo>
                      <a:cubicBezTo>
                        <a:pt x="-597" y="42847"/>
                        <a:pt x="773" y="36620"/>
                        <a:pt x="2019" y="32509"/>
                      </a:cubicBezTo>
                      <a:cubicBezTo>
                        <a:pt x="4136" y="25783"/>
                        <a:pt x="6876" y="23292"/>
                        <a:pt x="8745" y="16441"/>
                      </a:cubicBezTo>
                      <a:cubicBezTo>
                        <a:pt x="10614" y="9840"/>
                        <a:pt x="10364" y="3861"/>
                        <a:pt x="98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5" name="Freeform 5457">
                  <a:extLst>
                    <a:ext uri="{FF2B5EF4-FFF2-40B4-BE49-F238E27FC236}">
                      <a16:creationId xmlns:a16="http://schemas.microsoft.com/office/drawing/2014/main" id="{F754FA96-E0C1-36CF-C315-6C2386284A0D}"/>
                    </a:ext>
                  </a:extLst>
                </p:cNvPr>
                <p:cNvSpPr/>
                <p:nvPr/>
              </p:nvSpPr>
              <p:spPr>
                <a:xfrm>
                  <a:off x="10138096" y="5715252"/>
                  <a:ext cx="26708" cy="26465"/>
                </a:xfrm>
                <a:custGeom>
                  <a:avLst/>
                  <a:gdLst>
                    <a:gd name="connsiteX0" fmla="*/ 26433 w 26708"/>
                    <a:gd name="connsiteY0" fmla="*/ 15846 h 26465"/>
                    <a:gd name="connsiteX1" fmla="*/ 10738 w 26708"/>
                    <a:gd name="connsiteY1" fmla="*/ 26184 h 26465"/>
                    <a:gd name="connsiteX2" fmla="*/ 276 w 26708"/>
                    <a:gd name="connsiteY2" fmla="*/ 10614 h 26465"/>
                    <a:gd name="connsiteX3" fmla="*/ 15970 w 26708"/>
                    <a:gd name="connsiteY3" fmla="*/ 276 h 26465"/>
                    <a:gd name="connsiteX4" fmla="*/ 26433 w 26708"/>
                    <a:gd name="connsiteY4" fmla="*/ 15846 h 26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465">
                      <a:moveTo>
                        <a:pt x="26433" y="15846"/>
                      </a:moveTo>
                      <a:cubicBezTo>
                        <a:pt x="24938" y="23070"/>
                        <a:pt x="17963" y="27679"/>
                        <a:pt x="10738" y="26184"/>
                      </a:cubicBezTo>
                      <a:cubicBezTo>
                        <a:pt x="3514" y="24689"/>
                        <a:pt x="-1219" y="17714"/>
                        <a:pt x="276" y="10614"/>
                      </a:cubicBezTo>
                      <a:cubicBezTo>
                        <a:pt x="1770" y="3515"/>
                        <a:pt x="8746" y="-1219"/>
                        <a:pt x="15970" y="276"/>
                      </a:cubicBezTo>
                      <a:cubicBezTo>
                        <a:pt x="23194" y="1771"/>
                        <a:pt x="27927" y="8746"/>
                        <a:pt x="26433" y="158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6" name="Freeform 5458">
                  <a:extLst>
                    <a:ext uri="{FF2B5EF4-FFF2-40B4-BE49-F238E27FC236}">
                      <a16:creationId xmlns:a16="http://schemas.microsoft.com/office/drawing/2014/main" id="{4D5BB539-F50E-7651-0602-53E78C5DE000}"/>
                    </a:ext>
                  </a:extLst>
                </p:cNvPr>
                <p:cNvSpPr/>
                <p:nvPr/>
              </p:nvSpPr>
              <p:spPr>
                <a:xfrm>
                  <a:off x="10132019" y="5791258"/>
                  <a:ext cx="11085" cy="50944"/>
                </a:xfrm>
                <a:custGeom>
                  <a:avLst/>
                  <a:gdLst>
                    <a:gd name="connsiteX0" fmla="*/ 0 w 11085"/>
                    <a:gd name="connsiteY0" fmla="*/ 50944 h 50944"/>
                    <a:gd name="connsiteX1" fmla="*/ 5605 w 11085"/>
                    <a:gd name="connsiteY1" fmla="*/ 33008 h 50944"/>
                    <a:gd name="connsiteX2" fmla="*/ 5730 w 11085"/>
                    <a:gd name="connsiteY2" fmla="*/ 15570 h 50944"/>
                    <a:gd name="connsiteX3" fmla="*/ 11086 w 11085"/>
                    <a:gd name="connsiteY3" fmla="*/ 0 h 50944"/>
                  </a:gdLst>
                  <a:ahLst/>
                  <a:cxnLst>
                    <a:cxn ang="0">
                      <a:pos x="connsiteX0" y="connsiteY0"/>
                    </a:cxn>
                    <a:cxn ang="0">
                      <a:pos x="connsiteX1" y="connsiteY1"/>
                    </a:cxn>
                    <a:cxn ang="0">
                      <a:pos x="connsiteX2" y="connsiteY2"/>
                    </a:cxn>
                    <a:cxn ang="0">
                      <a:pos x="connsiteX3" y="connsiteY3"/>
                    </a:cxn>
                  </a:cxnLst>
                  <a:rect l="l" t="t" r="r" b="b"/>
                  <a:pathLst>
                    <a:path w="11085" h="50944">
                      <a:moveTo>
                        <a:pt x="0" y="50944"/>
                      </a:moveTo>
                      <a:cubicBezTo>
                        <a:pt x="3986" y="43595"/>
                        <a:pt x="5231" y="37367"/>
                        <a:pt x="5605" y="33008"/>
                      </a:cubicBezTo>
                      <a:cubicBezTo>
                        <a:pt x="6228" y="26033"/>
                        <a:pt x="4733" y="22670"/>
                        <a:pt x="5730" y="15570"/>
                      </a:cubicBezTo>
                      <a:cubicBezTo>
                        <a:pt x="6601" y="8719"/>
                        <a:pt x="9092" y="3363"/>
                        <a:pt x="110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7" name="Freeform 5459">
                  <a:extLst>
                    <a:ext uri="{FF2B5EF4-FFF2-40B4-BE49-F238E27FC236}">
                      <a16:creationId xmlns:a16="http://schemas.microsoft.com/office/drawing/2014/main" id="{E51F1354-1002-C283-950B-683B37F266B1}"/>
                    </a:ext>
                  </a:extLst>
                </p:cNvPr>
                <p:cNvSpPr/>
                <p:nvPr/>
              </p:nvSpPr>
              <p:spPr>
                <a:xfrm>
                  <a:off x="10123938" y="5794622"/>
                  <a:ext cx="10224" cy="51193"/>
                </a:xfrm>
                <a:custGeom>
                  <a:avLst/>
                  <a:gdLst>
                    <a:gd name="connsiteX0" fmla="*/ 9950 w 10224"/>
                    <a:gd name="connsiteY0" fmla="*/ 0 h 51193"/>
                    <a:gd name="connsiteX1" fmla="*/ 8206 w 10224"/>
                    <a:gd name="connsiteY1" fmla="*/ 18684 h 51193"/>
                    <a:gd name="connsiteX2" fmla="*/ 1479 w 10224"/>
                    <a:gd name="connsiteY2" fmla="*/ 34751 h 51193"/>
                    <a:gd name="connsiteX3" fmla="*/ 359 w 10224"/>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224" h="51193">
                      <a:moveTo>
                        <a:pt x="9950" y="0"/>
                      </a:moveTo>
                      <a:cubicBezTo>
                        <a:pt x="10821" y="8345"/>
                        <a:pt x="9451" y="14573"/>
                        <a:pt x="8206" y="18684"/>
                      </a:cubicBezTo>
                      <a:cubicBezTo>
                        <a:pt x="6089" y="25409"/>
                        <a:pt x="3348" y="27901"/>
                        <a:pt x="1479" y="34751"/>
                      </a:cubicBezTo>
                      <a:cubicBezTo>
                        <a:pt x="-389" y="41353"/>
                        <a:pt x="-139" y="47332"/>
                        <a:pt x="359"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8" name="Freeform 5460">
                  <a:extLst>
                    <a:ext uri="{FF2B5EF4-FFF2-40B4-BE49-F238E27FC236}">
                      <a16:creationId xmlns:a16="http://schemas.microsoft.com/office/drawing/2014/main" id="{C608EC20-5DFF-6B56-292D-5FBB833FBDE9}"/>
                    </a:ext>
                  </a:extLst>
                </p:cNvPr>
                <p:cNvSpPr/>
                <p:nvPr/>
              </p:nvSpPr>
              <p:spPr>
                <a:xfrm>
                  <a:off x="10113962" y="5835236"/>
                  <a:ext cx="26186" cy="26514"/>
                </a:xfrm>
                <a:custGeom>
                  <a:avLst/>
                  <a:gdLst>
                    <a:gd name="connsiteX0" fmla="*/ 246 w 26186"/>
                    <a:gd name="connsiteY0" fmla="*/ 10704 h 26514"/>
                    <a:gd name="connsiteX1" fmla="*/ 15691 w 26186"/>
                    <a:gd name="connsiteY1" fmla="*/ 241 h 26514"/>
                    <a:gd name="connsiteX2" fmla="*/ 25905 w 26186"/>
                    <a:gd name="connsiteY2" fmla="*/ 15811 h 26514"/>
                    <a:gd name="connsiteX3" fmla="*/ 10460 w 26186"/>
                    <a:gd name="connsiteY3" fmla="*/ 26273 h 26514"/>
                    <a:gd name="connsiteX4" fmla="*/ 246 w 2618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513">
                      <a:moveTo>
                        <a:pt x="246" y="10704"/>
                      </a:moveTo>
                      <a:cubicBezTo>
                        <a:pt x="1741" y="3479"/>
                        <a:pt x="8591" y="-1129"/>
                        <a:pt x="15691" y="241"/>
                      </a:cubicBezTo>
                      <a:cubicBezTo>
                        <a:pt x="22791" y="1611"/>
                        <a:pt x="27399" y="8586"/>
                        <a:pt x="25905" y="15811"/>
                      </a:cubicBezTo>
                      <a:cubicBezTo>
                        <a:pt x="24410" y="23035"/>
                        <a:pt x="17435" y="27643"/>
                        <a:pt x="10460" y="26273"/>
                      </a:cubicBezTo>
                      <a:cubicBezTo>
                        <a:pt x="3360" y="24779"/>
                        <a:pt x="-1124" y="17804"/>
                        <a:pt x="246"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2" name="Graphic 2987">
                <a:extLst>
                  <a:ext uri="{FF2B5EF4-FFF2-40B4-BE49-F238E27FC236}">
                    <a16:creationId xmlns:a16="http://schemas.microsoft.com/office/drawing/2014/main" id="{3110DF11-6B6C-E125-E648-B8BAC7B6D25A}"/>
                  </a:ext>
                </a:extLst>
              </p:cNvPr>
              <p:cNvGrpSpPr/>
              <p:nvPr/>
            </p:nvGrpSpPr>
            <p:grpSpPr>
              <a:xfrm>
                <a:off x="10142699" y="5721101"/>
                <a:ext cx="51377" cy="146379"/>
                <a:chOff x="10142699" y="5721101"/>
                <a:chExt cx="51377" cy="146379"/>
              </a:xfrm>
              <a:grpFill/>
            </p:grpSpPr>
            <p:sp>
              <p:nvSpPr>
                <p:cNvPr id="4127" name="Freeform 5462">
                  <a:extLst>
                    <a:ext uri="{FF2B5EF4-FFF2-40B4-BE49-F238E27FC236}">
                      <a16:creationId xmlns:a16="http://schemas.microsoft.com/office/drawing/2014/main" id="{F2518269-670E-5FAA-086B-4AD30BCBEEDF}"/>
                    </a:ext>
                  </a:extLst>
                </p:cNvPr>
                <p:cNvSpPr/>
                <p:nvPr/>
              </p:nvSpPr>
              <p:spPr>
                <a:xfrm>
                  <a:off x="10164280" y="5740564"/>
                  <a:ext cx="11334" cy="50944"/>
                </a:xfrm>
                <a:custGeom>
                  <a:avLst/>
                  <a:gdLst>
                    <a:gd name="connsiteX0" fmla="*/ 11334 w 11334"/>
                    <a:gd name="connsiteY0" fmla="*/ 0 h 50944"/>
                    <a:gd name="connsiteX1" fmla="*/ 5604 w 11334"/>
                    <a:gd name="connsiteY1" fmla="*/ 17936 h 50944"/>
                    <a:gd name="connsiteX2" fmla="*/ 5480 w 11334"/>
                    <a:gd name="connsiteY2" fmla="*/ 35374 h 50944"/>
                    <a:gd name="connsiteX3" fmla="*/ 0 w 11334"/>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334" h="50944">
                      <a:moveTo>
                        <a:pt x="11334" y="0"/>
                      </a:moveTo>
                      <a:cubicBezTo>
                        <a:pt x="7224" y="7349"/>
                        <a:pt x="5979" y="13577"/>
                        <a:pt x="5604" y="17936"/>
                      </a:cubicBezTo>
                      <a:cubicBezTo>
                        <a:pt x="4982" y="24912"/>
                        <a:pt x="6476" y="28274"/>
                        <a:pt x="5480" y="35374"/>
                      </a:cubicBezTo>
                      <a:cubicBezTo>
                        <a:pt x="4609" y="42225"/>
                        <a:pt x="1993" y="47581"/>
                        <a:pt x="0"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8" name="Freeform 5463">
                  <a:extLst>
                    <a:ext uri="{FF2B5EF4-FFF2-40B4-BE49-F238E27FC236}">
                      <a16:creationId xmlns:a16="http://schemas.microsoft.com/office/drawing/2014/main" id="{BAAB7EC1-8FF9-A4FD-6AA7-ECD8DFE16181}"/>
                    </a:ext>
                  </a:extLst>
                </p:cNvPr>
                <p:cNvSpPr/>
                <p:nvPr/>
              </p:nvSpPr>
              <p:spPr>
                <a:xfrm>
                  <a:off x="10173521" y="5737076"/>
                  <a:ext cx="10452" cy="51193"/>
                </a:xfrm>
                <a:custGeom>
                  <a:avLst/>
                  <a:gdLst>
                    <a:gd name="connsiteX0" fmla="*/ 224 w 10452"/>
                    <a:gd name="connsiteY0" fmla="*/ 51193 h 51193"/>
                    <a:gd name="connsiteX1" fmla="*/ 2093 w 10452"/>
                    <a:gd name="connsiteY1" fmla="*/ 32509 h 51193"/>
                    <a:gd name="connsiteX2" fmla="*/ 8944 w 10452"/>
                    <a:gd name="connsiteY2" fmla="*/ 16441 h 51193"/>
                    <a:gd name="connsiteX3" fmla="*/ 10190 w 10452"/>
                    <a:gd name="connsiteY3" fmla="*/ 0 h 51193"/>
                  </a:gdLst>
                  <a:ahLst/>
                  <a:cxnLst>
                    <a:cxn ang="0">
                      <a:pos x="connsiteX0" y="connsiteY0"/>
                    </a:cxn>
                    <a:cxn ang="0">
                      <a:pos x="connsiteX1" y="connsiteY1"/>
                    </a:cxn>
                    <a:cxn ang="0">
                      <a:pos x="connsiteX2" y="connsiteY2"/>
                    </a:cxn>
                    <a:cxn ang="0">
                      <a:pos x="connsiteX3" y="connsiteY3"/>
                    </a:cxn>
                  </a:cxnLst>
                  <a:rect l="l" t="t" r="r" b="b"/>
                  <a:pathLst>
                    <a:path w="10452" h="51193">
                      <a:moveTo>
                        <a:pt x="224" y="51193"/>
                      </a:moveTo>
                      <a:cubicBezTo>
                        <a:pt x="-523" y="42847"/>
                        <a:pt x="723" y="36620"/>
                        <a:pt x="2093" y="32509"/>
                      </a:cubicBezTo>
                      <a:cubicBezTo>
                        <a:pt x="4210" y="25908"/>
                        <a:pt x="6951" y="23292"/>
                        <a:pt x="8944" y="16441"/>
                      </a:cubicBezTo>
                      <a:cubicBezTo>
                        <a:pt x="10812" y="9840"/>
                        <a:pt x="10563" y="3861"/>
                        <a:pt x="101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9" name="Freeform 5464">
                  <a:extLst>
                    <a:ext uri="{FF2B5EF4-FFF2-40B4-BE49-F238E27FC236}">
                      <a16:creationId xmlns:a16="http://schemas.microsoft.com/office/drawing/2014/main" id="{52C2AB80-879B-1AE4-9AA5-03DBF0E7E2DE}"/>
                    </a:ext>
                  </a:extLst>
                </p:cNvPr>
                <p:cNvSpPr/>
                <p:nvPr/>
              </p:nvSpPr>
              <p:spPr>
                <a:xfrm>
                  <a:off x="10167277" y="5721101"/>
                  <a:ext cx="26798" cy="26470"/>
                </a:xfrm>
                <a:custGeom>
                  <a:avLst/>
                  <a:gdLst>
                    <a:gd name="connsiteX0" fmla="*/ 26523 w 26798"/>
                    <a:gd name="connsiteY0" fmla="*/ 15851 h 26470"/>
                    <a:gd name="connsiteX1" fmla="*/ 10704 w 26798"/>
                    <a:gd name="connsiteY1" fmla="*/ 26189 h 26470"/>
                    <a:gd name="connsiteX2" fmla="*/ 241 w 26798"/>
                    <a:gd name="connsiteY2" fmla="*/ 10619 h 26470"/>
                    <a:gd name="connsiteX3" fmla="*/ 16060 w 26798"/>
                    <a:gd name="connsiteY3" fmla="*/ 281 h 26470"/>
                    <a:gd name="connsiteX4" fmla="*/ 26523 w 26798"/>
                    <a:gd name="connsiteY4" fmla="*/ 15851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8" h="26470">
                      <a:moveTo>
                        <a:pt x="26523" y="15851"/>
                      </a:moveTo>
                      <a:cubicBezTo>
                        <a:pt x="25028" y="23075"/>
                        <a:pt x="17928" y="27684"/>
                        <a:pt x="10704" y="26189"/>
                      </a:cubicBezTo>
                      <a:cubicBezTo>
                        <a:pt x="3479" y="24694"/>
                        <a:pt x="-1129" y="17719"/>
                        <a:pt x="241" y="10619"/>
                      </a:cubicBezTo>
                      <a:cubicBezTo>
                        <a:pt x="1735" y="3395"/>
                        <a:pt x="8835" y="-1213"/>
                        <a:pt x="16060" y="281"/>
                      </a:cubicBezTo>
                      <a:cubicBezTo>
                        <a:pt x="23284" y="1776"/>
                        <a:pt x="28018" y="8751"/>
                        <a:pt x="26523" y="1585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0" name="Freeform 5465">
                  <a:extLst>
                    <a:ext uri="{FF2B5EF4-FFF2-40B4-BE49-F238E27FC236}">
                      <a16:creationId xmlns:a16="http://schemas.microsoft.com/office/drawing/2014/main" id="{1842153D-D3D3-B4AE-DAFA-13A8B0F4EBFC}"/>
                    </a:ext>
                  </a:extLst>
                </p:cNvPr>
                <p:cNvSpPr/>
                <p:nvPr/>
              </p:nvSpPr>
              <p:spPr>
                <a:xfrm>
                  <a:off x="10160792" y="5797113"/>
                  <a:ext cx="11334" cy="50944"/>
                </a:xfrm>
                <a:custGeom>
                  <a:avLst/>
                  <a:gdLst>
                    <a:gd name="connsiteX0" fmla="*/ 0 w 11334"/>
                    <a:gd name="connsiteY0" fmla="*/ 50944 h 50944"/>
                    <a:gd name="connsiteX1" fmla="*/ 5730 w 11334"/>
                    <a:gd name="connsiteY1" fmla="*/ 33008 h 50944"/>
                    <a:gd name="connsiteX2" fmla="*/ 5854 w 11334"/>
                    <a:gd name="connsiteY2" fmla="*/ 15570 h 50944"/>
                    <a:gd name="connsiteX3" fmla="*/ 11334 w 11334"/>
                    <a:gd name="connsiteY3" fmla="*/ 0 h 50944"/>
                  </a:gdLst>
                  <a:ahLst/>
                  <a:cxnLst>
                    <a:cxn ang="0">
                      <a:pos x="connsiteX0" y="connsiteY0"/>
                    </a:cxn>
                    <a:cxn ang="0">
                      <a:pos x="connsiteX1" y="connsiteY1"/>
                    </a:cxn>
                    <a:cxn ang="0">
                      <a:pos x="connsiteX2" y="connsiteY2"/>
                    </a:cxn>
                    <a:cxn ang="0">
                      <a:pos x="connsiteX3" y="connsiteY3"/>
                    </a:cxn>
                  </a:cxnLst>
                  <a:rect l="l" t="t" r="r" b="b"/>
                  <a:pathLst>
                    <a:path w="11334" h="50944">
                      <a:moveTo>
                        <a:pt x="0" y="50944"/>
                      </a:moveTo>
                      <a:cubicBezTo>
                        <a:pt x="3986" y="43595"/>
                        <a:pt x="5356" y="37367"/>
                        <a:pt x="5730" y="33008"/>
                      </a:cubicBezTo>
                      <a:cubicBezTo>
                        <a:pt x="6353" y="26033"/>
                        <a:pt x="4983" y="22670"/>
                        <a:pt x="5854" y="15570"/>
                      </a:cubicBezTo>
                      <a:cubicBezTo>
                        <a:pt x="6726" y="8719"/>
                        <a:pt x="9342" y="3363"/>
                        <a:pt x="113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1" name="Freeform 5466">
                  <a:extLst>
                    <a:ext uri="{FF2B5EF4-FFF2-40B4-BE49-F238E27FC236}">
                      <a16:creationId xmlns:a16="http://schemas.microsoft.com/office/drawing/2014/main" id="{3A140C44-F917-87DB-5454-18F790EFA6C4}"/>
                    </a:ext>
                  </a:extLst>
                </p:cNvPr>
                <p:cNvSpPr/>
                <p:nvPr/>
              </p:nvSpPr>
              <p:spPr>
                <a:xfrm>
                  <a:off x="10152682" y="5800351"/>
                  <a:ext cx="10326" cy="51193"/>
                </a:xfrm>
                <a:custGeom>
                  <a:avLst/>
                  <a:gdLst>
                    <a:gd name="connsiteX0" fmla="*/ 10102 w 10326"/>
                    <a:gd name="connsiteY0" fmla="*/ 0 h 51193"/>
                    <a:gd name="connsiteX1" fmla="*/ 8234 w 10326"/>
                    <a:gd name="connsiteY1" fmla="*/ 18684 h 51193"/>
                    <a:gd name="connsiteX2" fmla="*/ 1508 w 10326"/>
                    <a:gd name="connsiteY2" fmla="*/ 34752 h 51193"/>
                    <a:gd name="connsiteX3" fmla="*/ 263 w 10326"/>
                    <a:gd name="connsiteY3" fmla="*/ 51193 h 51193"/>
                  </a:gdLst>
                  <a:ahLst/>
                  <a:cxnLst>
                    <a:cxn ang="0">
                      <a:pos x="connsiteX0" y="connsiteY0"/>
                    </a:cxn>
                    <a:cxn ang="0">
                      <a:pos x="connsiteX1" y="connsiteY1"/>
                    </a:cxn>
                    <a:cxn ang="0">
                      <a:pos x="connsiteX2" y="connsiteY2"/>
                    </a:cxn>
                    <a:cxn ang="0">
                      <a:pos x="connsiteX3" y="connsiteY3"/>
                    </a:cxn>
                  </a:cxnLst>
                  <a:rect l="l" t="t" r="r" b="b"/>
                  <a:pathLst>
                    <a:path w="10326" h="51193">
                      <a:moveTo>
                        <a:pt x="10102" y="0"/>
                      </a:moveTo>
                      <a:cubicBezTo>
                        <a:pt x="10850" y="8346"/>
                        <a:pt x="9604" y="14573"/>
                        <a:pt x="8234" y="18684"/>
                      </a:cubicBezTo>
                      <a:cubicBezTo>
                        <a:pt x="6117" y="25285"/>
                        <a:pt x="3376" y="27901"/>
                        <a:pt x="1508" y="34752"/>
                      </a:cubicBezTo>
                      <a:cubicBezTo>
                        <a:pt x="-360" y="41353"/>
                        <a:pt x="-111" y="47332"/>
                        <a:pt x="263" y="5119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32" name="Freeform 5467">
                  <a:extLst>
                    <a:ext uri="{FF2B5EF4-FFF2-40B4-BE49-F238E27FC236}">
                      <a16:creationId xmlns:a16="http://schemas.microsoft.com/office/drawing/2014/main" id="{84C103FA-A3E2-59EC-BF28-661051D77AF3}"/>
                    </a:ext>
                  </a:extLst>
                </p:cNvPr>
                <p:cNvSpPr/>
                <p:nvPr/>
              </p:nvSpPr>
              <p:spPr>
                <a:xfrm>
                  <a:off x="10142699" y="5840965"/>
                  <a:ext cx="26346" cy="26514"/>
                </a:xfrm>
                <a:custGeom>
                  <a:avLst/>
                  <a:gdLst>
                    <a:gd name="connsiteX0" fmla="*/ 282 w 26346"/>
                    <a:gd name="connsiteY0" fmla="*/ 10704 h 26514"/>
                    <a:gd name="connsiteX1" fmla="*/ 15851 w 26346"/>
                    <a:gd name="connsiteY1" fmla="*/ 241 h 26514"/>
                    <a:gd name="connsiteX2" fmla="*/ 26065 w 26346"/>
                    <a:gd name="connsiteY2" fmla="*/ 15810 h 26514"/>
                    <a:gd name="connsiteX3" fmla="*/ 10495 w 26346"/>
                    <a:gd name="connsiteY3" fmla="*/ 26273 h 26514"/>
                    <a:gd name="connsiteX4" fmla="*/ 282 w 26346"/>
                    <a:gd name="connsiteY4" fmla="*/ 10704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45" h="26513">
                      <a:moveTo>
                        <a:pt x="282" y="10704"/>
                      </a:moveTo>
                      <a:cubicBezTo>
                        <a:pt x="1776" y="3479"/>
                        <a:pt x="8751" y="-1129"/>
                        <a:pt x="15851" y="241"/>
                      </a:cubicBezTo>
                      <a:cubicBezTo>
                        <a:pt x="22951" y="1611"/>
                        <a:pt x="27560" y="8586"/>
                        <a:pt x="26065" y="15810"/>
                      </a:cubicBezTo>
                      <a:cubicBezTo>
                        <a:pt x="24570" y="23035"/>
                        <a:pt x="17595" y="27644"/>
                        <a:pt x="10495" y="26273"/>
                      </a:cubicBezTo>
                      <a:cubicBezTo>
                        <a:pt x="3395" y="24779"/>
                        <a:pt x="-1213" y="17803"/>
                        <a:pt x="282" y="1070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3" name="Graphic 2987">
                <a:extLst>
                  <a:ext uri="{FF2B5EF4-FFF2-40B4-BE49-F238E27FC236}">
                    <a16:creationId xmlns:a16="http://schemas.microsoft.com/office/drawing/2014/main" id="{474A27F2-B9CF-08D0-8AB8-88F39180B943}"/>
                  </a:ext>
                </a:extLst>
              </p:cNvPr>
              <p:cNvGrpSpPr/>
              <p:nvPr/>
            </p:nvGrpSpPr>
            <p:grpSpPr>
              <a:xfrm>
                <a:off x="10171466" y="5727155"/>
                <a:ext cx="51761" cy="146344"/>
                <a:chOff x="10171466" y="5727155"/>
                <a:chExt cx="51761" cy="146344"/>
              </a:xfrm>
              <a:grpFill/>
            </p:grpSpPr>
            <p:sp>
              <p:nvSpPr>
                <p:cNvPr id="4121" name="Freeform 5469">
                  <a:extLst>
                    <a:ext uri="{FF2B5EF4-FFF2-40B4-BE49-F238E27FC236}">
                      <a16:creationId xmlns:a16="http://schemas.microsoft.com/office/drawing/2014/main" id="{A840BB87-2606-4281-FA5F-342415342ED0}"/>
                    </a:ext>
                  </a:extLst>
                </p:cNvPr>
                <p:cNvSpPr/>
                <p:nvPr/>
              </p:nvSpPr>
              <p:spPr>
                <a:xfrm>
                  <a:off x="10193426" y="5746542"/>
                  <a:ext cx="11459" cy="50819"/>
                </a:xfrm>
                <a:custGeom>
                  <a:avLst/>
                  <a:gdLst>
                    <a:gd name="connsiteX0" fmla="*/ 11459 w 11459"/>
                    <a:gd name="connsiteY0" fmla="*/ 0 h 50819"/>
                    <a:gd name="connsiteX1" fmla="*/ 5605 w 11459"/>
                    <a:gd name="connsiteY1" fmla="*/ 17812 h 50819"/>
                    <a:gd name="connsiteX2" fmla="*/ 5481 w 11459"/>
                    <a:gd name="connsiteY2" fmla="*/ 35250 h 50819"/>
                    <a:gd name="connsiteX3" fmla="*/ 0 w 11459"/>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459" h="50818">
                      <a:moveTo>
                        <a:pt x="11459" y="0"/>
                      </a:moveTo>
                      <a:cubicBezTo>
                        <a:pt x="7349" y="7349"/>
                        <a:pt x="6103" y="13577"/>
                        <a:pt x="5605" y="17812"/>
                      </a:cubicBezTo>
                      <a:cubicBezTo>
                        <a:pt x="4983" y="24787"/>
                        <a:pt x="6353" y="28275"/>
                        <a:pt x="5481" y="35250"/>
                      </a:cubicBezTo>
                      <a:cubicBezTo>
                        <a:pt x="4484" y="42101"/>
                        <a:pt x="1993" y="47456"/>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2" name="Freeform 5470">
                  <a:extLst>
                    <a:ext uri="{FF2B5EF4-FFF2-40B4-BE49-F238E27FC236}">
                      <a16:creationId xmlns:a16="http://schemas.microsoft.com/office/drawing/2014/main" id="{CC16FF3C-D472-AA5D-C48F-F94A2F9D91D3}"/>
                    </a:ext>
                  </a:extLst>
                </p:cNvPr>
                <p:cNvSpPr/>
                <p:nvPr/>
              </p:nvSpPr>
              <p:spPr>
                <a:xfrm>
                  <a:off x="10202432" y="5743304"/>
                  <a:ext cx="10618" cy="51068"/>
                </a:xfrm>
                <a:custGeom>
                  <a:avLst/>
                  <a:gdLst>
                    <a:gd name="connsiteX0" fmla="*/ 211 w 10618"/>
                    <a:gd name="connsiteY0" fmla="*/ 51068 h 51068"/>
                    <a:gd name="connsiteX1" fmla="*/ 2205 w 10618"/>
                    <a:gd name="connsiteY1" fmla="*/ 32385 h 51068"/>
                    <a:gd name="connsiteX2" fmla="*/ 9055 w 10618"/>
                    <a:gd name="connsiteY2" fmla="*/ 16441 h 51068"/>
                    <a:gd name="connsiteX3" fmla="*/ 10300 w 10618"/>
                    <a:gd name="connsiteY3" fmla="*/ 0 h 51068"/>
                  </a:gdLst>
                  <a:ahLst/>
                  <a:cxnLst>
                    <a:cxn ang="0">
                      <a:pos x="connsiteX0" y="connsiteY0"/>
                    </a:cxn>
                    <a:cxn ang="0">
                      <a:pos x="connsiteX1" y="connsiteY1"/>
                    </a:cxn>
                    <a:cxn ang="0">
                      <a:pos x="connsiteX2" y="connsiteY2"/>
                    </a:cxn>
                    <a:cxn ang="0">
                      <a:pos x="connsiteX3" y="connsiteY3"/>
                    </a:cxn>
                  </a:cxnLst>
                  <a:rect l="l" t="t" r="r" b="b"/>
                  <a:pathLst>
                    <a:path w="10618" h="51068">
                      <a:moveTo>
                        <a:pt x="211" y="51068"/>
                      </a:moveTo>
                      <a:cubicBezTo>
                        <a:pt x="-536" y="42723"/>
                        <a:pt x="834" y="36495"/>
                        <a:pt x="2205" y="32385"/>
                      </a:cubicBezTo>
                      <a:cubicBezTo>
                        <a:pt x="4447" y="25783"/>
                        <a:pt x="7187" y="23168"/>
                        <a:pt x="9055" y="16441"/>
                      </a:cubicBezTo>
                      <a:cubicBezTo>
                        <a:pt x="10923" y="9840"/>
                        <a:pt x="10799" y="3861"/>
                        <a:pt x="103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3" name="Freeform 5471">
                  <a:extLst>
                    <a:ext uri="{FF2B5EF4-FFF2-40B4-BE49-F238E27FC236}">
                      <a16:creationId xmlns:a16="http://schemas.microsoft.com/office/drawing/2014/main" id="{7EE6F295-FB66-8FE2-C4BA-5301DAC12FD6}"/>
                    </a:ext>
                  </a:extLst>
                </p:cNvPr>
                <p:cNvSpPr/>
                <p:nvPr/>
              </p:nvSpPr>
              <p:spPr>
                <a:xfrm>
                  <a:off x="10196508" y="5727155"/>
                  <a:ext cx="26719" cy="26563"/>
                </a:xfrm>
                <a:custGeom>
                  <a:avLst/>
                  <a:gdLst>
                    <a:gd name="connsiteX0" fmla="*/ 26438 w 26719"/>
                    <a:gd name="connsiteY0" fmla="*/ 16150 h 26563"/>
                    <a:gd name="connsiteX1" fmla="*/ 10619 w 26719"/>
                    <a:gd name="connsiteY1" fmla="*/ 26239 h 26563"/>
                    <a:gd name="connsiteX2" fmla="*/ 281 w 26719"/>
                    <a:gd name="connsiteY2" fmla="*/ 10420 h 26563"/>
                    <a:gd name="connsiteX3" fmla="*/ 16100 w 26719"/>
                    <a:gd name="connsiteY3" fmla="*/ 331 h 26563"/>
                    <a:gd name="connsiteX4" fmla="*/ 26438 w 26719"/>
                    <a:gd name="connsiteY4" fmla="*/ 16150 h 26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 h="26563">
                      <a:moveTo>
                        <a:pt x="26438" y="16150"/>
                      </a:moveTo>
                      <a:cubicBezTo>
                        <a:pt x="24943" y="23249"/>
                        <a:pt x="17844" y="27858"/>
                        <a:pt x="10619" y="26239"/>
                      </a:cubicBezTo>
                      <a:cubicBezTo>
                        <a:pt x="3395" y="24619"/>
                        <a:pt x="-1213" y="17520"/>
                        <a:pt x="281" y="10420"/>
                      </a:cubicBezTo>
                      <a:cubicBezTo>
                        <a:pt x="1776" y="3195"/>
                        <a:pt x="8876" y="-1289"/>
                        <a:pt x="16100" y="331"/>
                      </a:cubicBezTo>
                      <a:cubicBezTo>
                        <a:pt x="23324" y="1950"/>
                        <a:pt x="27933" y="9050"/>
                        <a:pt x="26438" y="1615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4" name="Freeform 5472">
                  <a:extLst>
                    <a:ext uri="{FF2B5EF4-FFF2-40B4-BE49-F238E27FC236}">
                      <a16:creationId xmlns:a16="http://schemas.microsoft.com/office/drawing/2014/main" id="{6A50CACE-F5CD-A22B-5ED7-E2FAA9C91648}"/>
                    </a:ext>
                  </a:extLst>
                </p:cNvPr>
                <p:cNvSpPr/>
                <p:nvPr/>
              </p:nvSpPr>
              <p:spPr>
                <a:xfrm>
                  <a:off x="10189565" y="5803216"/>
                  <a:ext cx="11583" cy="50819"/>
                </a:xfrm>
                <a:custGeom>
                  <a:avLst/>
                  <a:gdLst>
                    <a:gd name="connsiteX0" fmla="*/ 0 w 11583"/>
                    <a:gd name="connsiteY0" fmla="*/ 50819 h 50819"/>
                    <a:gd name="connsiteX1" fmla="*/ 5855 w 11583"/>
                    <a:gd name="connsiteY1" fmla="*/ 33008 h 50819"/>
                    <a:gd name="connsiteX2" fmla="*/ 6103 w 11583"/>
                    <a:gd name="connsiteY2" fmla="*/ 15570 h 50819"/>
                    <a:gd name="connsiteX3" fmla="*/ 11584 w 11583"/>
                    <a:gd name="connsiteY3" fmla="*/ 0 h 50819"/>
                  </a:gdLst>
                  <a:ahLst/>
                  <a:cxnLst>
                    <a:cxn ang="0">
                      <a:pos x="connsiteX0" y="connsiteY0"/>
                    </a:cxn>
                    <a:cxn ang="0">
                      <a:pos x="connsiteX1" y="connsiteY1"/>
                    </a:cxn>
                    <a:cxn ang="0">
                      <a:pos x="connsiteX2" y="connsiteY2"/>
                    </a:cxn>
                    <a:cxn ang="0">
                      <a:pos x="connsiteX3" y="connsiteY3"/>
                    </a:cxn>
                  </a:cxnLst>
                  <a:rect l="l" t="t" r="r" b="b"/>
                  <a:pathLst>
                    <a:path w="11583" h="50818">
                      <a:moveTo>
                        <a:pt x="0" y="50819"/>
                      </a:moveTo>
                      <a:cubicBezTo>
                        <a:pt x="4111" y="43471"/>
                        <a:pt x="5356" y="37243"/>
                        <a:pt x="5855" y="33008"/>
                      </a:cubicBezTo>
                      <a:cubicBezTo>
                        <a:pt x="6602" y="26033"/>
                        <a:pt x="5107" y="22545"/>
                        <a:pt x="6103" y="15570"/>
                      </a:cubicBezTo>
                      <a:cubicBezTo>
                        <a:pt x="7100" y="8719"/>
                        <a:pt x="9591" y="3363"/>
                        <a:pt x="115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5" name="Freeform 5473">
                  <a:extLst>
                    <a:ext uri="{FF2B5EF4-FFF2-40B4-BE49-F238E27FC236}">
                      <a16:creationId xmlns:a16="http://schemas.microsoft.com/office/drawing/2014/main" id="{4D570FB9-005E-AAE4-5629-296031CFF305}"/>
                    </a:ext>
                  </a:extLst>
                </p:cNvPr>
                <p:cNvSpPr/>
                <p:nvPr/>
              </p:nvSpPr>
              <p:spPr>
                <a:xfrm>
                  <a:off x="10181400" y="5806330"/>
                  <a:ext cx="10617" cy="51068"/>
                </a:xfrm>
                <a:custGeom>
                  <a:avLst/>
                  <a:gdLst>
                    <a:gd name="connsiteX0" fmla="*/ 10407 w 10617"/>
                    <a:gd name="connsiteY0" fmla="*/ 0 h 51068"/>
                    <a:gd name="connsiteX1" fmla="*/ 8414 w 10617"/>
                    <a:gd name="connsiteY1" fmla="*/ 18684 h 51068"/>
                    <a:gd name="connsiteX2" fmla="*/ 1563 w 10617"/>
                    <a:gd name="connsiteY2" fmla="*/ 34627 h 51068"/>
                    <a:gd name="connsiteX3" fmla="*/ 317 w 10617"/>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0617" h="51068">
                      <a:moveTo>
                        <a:pt x="10407" y="0"/>
                      </a:moveTo>
                      <a:cubicBezTo>
                        <a:pt x="11154" y="8345"/>
                        <a:pt x="9784" y="14573"/>
                        <a:pt x="8414" y="18684"/>
                      </a:cubicBezTo>
                      <a:cubicBezTo>
                        <a:pt x="6172" y="25285"/>
                        <a:pt x="3556" y="27901"/>
                        <a:pt x="1563" y="34627"/>
                      </a:cubicBezTo>
                      <a:cubicBezTo>
                        <a:pt x="-305" y="41229"/>
                        <a:pt x="-181" y="47207"/>
                        <a:pt x="317"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6" name="Freeform 5474">
                  <a:extLst>
                    <a:ext uri="{FF2B5EF4-FFF2-40B4-BE49-F238E27FC236}">
                      <a16:creationId xmlns:a16="http://schemas.microsoft.com/office/drawing/2014/main" id="{E7AE3ED4-976A-7701-276B-16391B552740}"/>
                    </a:ext>
                  </a:extLst>
                </p:cNvPr>
                <p:cNvSpPr/>
                <p:nvPr/>
              </p:nvSpPr>
              <p:spPr>
                <a:xfrm>
                  <a:off x="10171466" y="5846898"/>
                  <a:ext cx="26233" cy="26601"/>
                </a:xfrm>
                <a:custGeom>
                  <a:avLst/>
                  <a:gdLst>
                    <a:gd name="connsiteX0" fmla="*/ 287 w 26233"/>
                    <a:gd name="connsiteY0" fmla="*/ 10500 h 26601"/>
                    <a:gd name="connsiteX1" fmla="*/ 15857 w 26233"/>
                    <a:gd name="connsiteY1" fmla="*/ 287 h 26601"/>
                    <a:gd name="connsiteX2" fmla="*/ 25946 w 26233"/>
                    <a:gd name="connsiteY2" fmla="*/ 16106 h 26601"/>
                    <a:gd name="connsiteX3" fmla="*/ 10376 w 26233"/>
                    <a:gd name="connsiteY3" fmla="*/ 26320 h 26601"/>
                    <a:gd name="connsiteX4" fmla="*/ 287 w 26233"/>
                    <a:gd name="connsiteY4" fmla="*/ 10500 h 2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3" h="26601">
                      <a:moveTo>
                        <a:pt x="287" y="10500"/>
                      </a:moveTo>
                      <a:cubicBezTo>
                        <a:pt x="1782" y="3276"/>
                        <a:pt x="8757" y="-1208"/>
                        <a:pt x="15857" y="287"/>
                      </a:cubicBezTo>
                      <a:cubicBezTo>
                        <a:pt x="22957" y="1906"/>
                        <a:pt x="27441" y="8882"/>
                        <a:pt x="25946" y="16106"/>
                      </a:cubicBezTo>
                      <a:cubicBezTo>
                        <a:pt x="24451" y="23206"/>
                        <a:pt x="17476" y="27814"/>
                        <a:pt x="10376" y="26320"/>
                      </a:cubicBezTo>
                      <a:cubicBezTo>
                        <a:pt x="3276" y="24700"/>
                        <a:pt x="-1207" y="17600"/>
                        <a:pt x="287" y="1050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4" name="Graphic 2987">
                <a:extLst>
                  <a:ext uri="{FF2B5EF4-FFF2-40B4-BE49-F238E27FC236}">
                    <a16:creationId xmlns:a16="http://schemas.microsoft.com/office/drawing/2014/main" id="{F8282FFC-B9A1-DAF8-6C9B-9CE9167D7C5A}"/>
                  </a:ext>
                </a:extLst>
              </p:cNvPr>
              <p:cNvGrpSpPr/>
              <p:nvPr/>
            </p:nvGrpSpPr>
            <p:grpSpPr>
              <a:xfrm>
                <a:off x="10200070" y="5733638"/>
                <a:ext cx="52346" cy="146132"/>
                <a:chOff x="10200070" y="5733638"/>
                <a:chExt cx="52346" cy="146132"/>
              </a:xfrm>
              <a:grpFill/>
            </p:grpSpPr>
            <p:sp>
              <p:nvSpPr>
                <p:cNvPr id="4115" name="Freeform 5476">
                  <a:extLst>
                    <a:ext uri="{FF2B5EF4-FFF2-40B4-BE49-F238E27FC236}">
                      <a16:creationId xmlns:a16="http://schemas.microsoft.com/office/drawing/2014/main" id="{0F7E45CA-E8AB-1457-219A-1FE49ACFFD18}"/>
                    </a:ext>
                  </a:extLst>
                </p:cNvPr>
                <p:cNvSpPr/>
                <p:nvPr/>
              </p:nvSpPr>
              <p:spPr>
                <a:xfrm>
                  <a:off x="10222324" y="5753020"/>
                  <a:ext cx="11708" cy="50819"/>
                </a:xfrm>
                <a:custGeom>
                  <a:avLst/>
                  <a:gdLst>
                    <a:gd name="connsiteX0" fmla="*/ 11708 w 11708"/>
                    <a:gd name="connsiteY0" fmla="*/ 0 h 50819"/>
                    <a:gd name="connsiteX1" fmla="*/ 5854 w 11708"/>
                    <a:gd name="connsiteY1" fmla="*/ 17812 h 50819"/>
                    <a:gd name="connsiteX2" fmla="*/ 5605 w 11708"/>
                    <a:gd name="connsiteY2" fmla="*/ 35250 h 50819"/>
                    <a:gd name="connsiteX3" fmla="*/ 0 w 11708"/>
                    <a:gd name="connsiteY3" fmla="*/ 50819 h 50819"/>
                  </a:gdLst>
                  <a:ahLst/>
                  <a:cxnLst>
                    <a:cxn ang="0">
                      <a:pos x="connsiteX0" y="connsiteY0"/>
                    </a:cxn>
                    <a:cxn ang="0">
                      <a:pos x="connsiteX1" y="connsiteY1"/>
                    </a:cxn>
                    <a:cxn ang="0">
                      <a:pos x="connsiteX2" y="connsiteY2"/>
                    </a:cxn>
                    <a:cxn ang="0">
                      <a:pos x="connsiteX3" y="connsiteY3"/>
                    </a:cxn>
                  </a:cxnLst>
                  <a:rect l="l" t="t" r="r" b="b"/>
                  <a:pathLst>
                    <a:path w="11708" h="50818">
                      <a:moveTo>
                        <a:pt x="11708" y="0"/>
                      </a:moveTo>
                      <a:cubicBezTo>
                        <a:pt x="7598" y="7349"/>
                        <a:pt x="6228" y="13577"/>
                        <a:pt x="5854" y="17812"/>
                      </a:cubicBezTo>
                      <a:cubicBezTo>
                        <a:pt x="5107" y="24787"/>
                        <a:pt x="6601" y="28274"/>
                        <a:pt x="5605" y="35250"/>
                      </a:cubicBezTo>
                      <a:cubicBezTo>
                        <a:pt x="4609" y="42100"/>
                        <a:pt x="1993" y="47332"/>
                        <a:pt x="0" y="5081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6" name="Freeform 5477">
                  <a:extLst>
                    <a:ext uri="{FF2B5EF4-FFF2-40B4-BE49-F238E27FC236}">
                      <a16:creationId xmlns:a16="http://schemas.microsoft.com/office/drawing/2014/main" id="{FC633153-34BC-1B7E-E1A5-C6C64B23927E}"/>
                    </a:ext>
                  </a:extLst>
                </p:cNvPr>
                <p:cNvSpPr/>
                <p:nvPr/>
              </p:nvSpPr>
              <p:spPr>
                <a:xfrm>
                  <a:off x="10231454" y="5749656"/>
                  <a:ext cx="10806" cy="51068"/>
                </a:xfrm>
                <a:custGeom>
                  <a:avLst/>
                  <a:gdLst>
                    <a:gd name="connsiteX0" fmla="*/ 211 w 10806"/>
                    <a:gd name="connsiteY0" fmla="*/ 51069 h 51068"/>
                    <a:gd name="connsiteX1" fmla="*/ 2204 w 10806"/>
                    <a:gd name="connsiteY1" fmla="*/ 32385 h 51068"/>
                    <a:gd name="connsiteX2" fmla="*/ 9179 w 10806"/>
                    <a:gd name="connsiteY2" fmla="*/ 16442 h 51068"/>
                    <a:gd name="connsiteX3" fmla="*/ 10550 w 10806"/>
                    <a:gd name="connsiteY3" fmla="*/ 0 h 51068"/>
                  </a:gdLst>
                  <a:ahLst/>
                  <a:cxnLst>
                    <a:cxn ang="0">
                      <a:pos x="connsiteX0" y="connsiteY0"/>
                    </a:cxn>
                    <a:cxn ang="0">
                      <a:pos x="connsiteX1" y="connsiteY1"/>
                    </a:cxn>
                    <a:cxn ang="0">
                      <a:pos x="connsiteX2" y="connsiteY2"/>
                    </a:cxn>
                    <a:cxn ang="0">
                      <a:pos x="connsiteX3" y="connsiteY3"/>
                    </a:cxn>
                  </a:cxnLst>
                  <a:rect l="l" t="t" r="r" b="b"/>
                  <a:pathLst>
                    <a:path w="10806" h="51068">
                      <a:moveTo>
                        <a:pt x="211" y="51069"/>
                      </a:moveTo>
                      <a:cubicBezTo>
                        <a:pt x="-536" y="42723"/>
                        <a:pt x="834" y="36495"/>
                        <a:pt x="2204" y="32385"/>
                      </a:cubicBezTo>
                      <a:cubicBezTo>
                        <a:pt x="4447" y="25784"/>
                        <a:pt x="7187" y="23292"/>
                        <a:pt x="9179" y="16442"/>
                      </a:cubicBezTo>
                      <a:cubicBezTo>
                        <a:pt x="11172" y="9840"/>
                        <a:pt x="10923" y="3861"/>
                        <a:pt x="105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7" name="Freeform 5478">
                  <a:extLst>
                    <a:ext uri="{FF2B5EF4-FFF2-40B4-BE49-F238E27FC236}">
                      <a16:creationId xmlns:a16="http://schemas.microsoft.com/office/drawing/2014/main" id="{5C06C162-1DB1-EACC-EB94-E44D38B2B941}"/>
                    </a:ext>
                  </a:extLst>
                </p:cNvPr>
                <p:cNvSpPr/>
                <p:nvPr/>
              </p:nvSpPr>
              <p:spPr>
                <a:xfrm>
                  <a:off x="10225736" y="5733638"/>
                  <a:ext cx="26681" cy="26556"/>
                </a:xfrm>
                <a:custGeom>
                  <a:avLst/>
                  <a:gdLst>
                    <a:gd name="connsiteX0" fmla="*/ 26357 w 26681"/>
                    <a:gd name="connsiteY0" fmla="*/ 16143 h 26556"/>
                    <a:gd name="connsiteX1" fmla="*/ 10538 w 26681"/>
                    <a:gd name="connsiteY1" fmla="*/ 26232 h 26556"/>
                    <a:gd name="connsiteX2" fmla="*/ 324 w 26681"/>
                    <a:gd name="connsiteY2" fmla="*/ 10414 h 26556"/>
                    <a:gd name="connsiteX3" fmla="*/ 16143 w 26681"/>
                    <a:gd name="connsiteY3" fmla="*/ 325 h 26556"/>
                    <a:gd name="connsiteX4" fmla="*/ 26357 w 26681"/>
                    <a:gd name="connsiteY4" fmla="*/ 16143 h 26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 h="26556">
                      <a:moveTo>
                        <a:pt x="26357" y="16143"/>
                      </a:moveTo>
                      <a:cubicBezTo>
                        <a:pt x="24738" y="23243"/>
                        <a:pt x="17638" y="27852"/>
                        <a:pt x="10538" y="26232"/>
                      </a:cubicBezTo>
                      <a:cubicBezTo>
                        <a:pt x="3313" y="24613"/>
                        <a:pt x="-1295" y="17513"/>
                        <a:pt x="324" y="10414"/>
                      </a:cubicBezTo>
                      <a:cubicBezTo>
                        <a:pt x="1944" y="3314"/>
                        <a:pt x="8919" y="-1295"/>
                        <a:pt x="16143" y="325"/>
                      </a:cubicBezTo>
                      <a:cubicBezTo>
                        <a:pt x="23368" y="1943"/>
                        <a:pt x="27976" y="8919"/>
                        <a:pt x="26357"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8" name="Freeform 5479">
                  <a:extLst>
                    <a:ext uri="{FF2B5EF4-FFF2-40B4-BE49-F238E27FC236}">
                      <a16:creationId xmlns:a16="http://schemas.microsoft.com/office/drawing/2014/main" id="{DE556A71-6987-A791-D326-009A3F29AF95}"/>
                    </a:ext>
                  </a:extLst>
                </p:cNvPr>
                <p:cNvSpPr/>
                <p:nvPr/>
              </p:nvSpPr>
              <p:spPr>
                <a:xfrm>
                  <a:off x="10218213" y="5809568"/>
                  <a:ext cx="11708" cy="50819"/>
                </a:xfrm>
                <a:custGeom>
                  <a:avLst/>
                  <a:gdLst>
                    <a:gd name="connsiteX0" fmla="*/ 0 w 11708"/>
                    <a:gd name="connsiteY0" fmla="*/ 50820 h 50819"/>
                    <a:gd name="connsiteX1" fmla="*/ 5855 w 11708"/>
                    <a:gd name="connsiteY1" fmla="*/ 33008 h 50819"/>
                    <a:gd name="connsiteX2" fmla="*/ 6103 w 11708"/>
                    <a:gd name="connsiteY2" fmla="*/ 15570 h 50819"/>
                    <a:gd name="connsiteX3" fmla="*/ 11708 w 11708"/>
                    <a:gd name="connsiteY3" fmla="*/ 0 h 50819"/>
                  </a:gdLst>
                  <a:ahLst/>
                  <a:cxnLst>
                    <a:cxn ang="0">
                      <a:pos x="connsiteX0" y="connsiteY0"/>
                    </a:cxn>
                    <a:cxn ang="0">
                      <a:pos x="connsiteX1" y="connsiteY1"/>
                    </a:cxn>
                    <a:cxn ang="0">
                      <a:pos x="connsiteX2" y="connsiteY2"/>
                    </a:cxn>
                    <a:cxn ang="0">
                      <a:pos x="connsiteX3" y="connsiteY3"/>
                    </a:cxn>
                  </a:cxnLst>
                  <a:rect l="l" t="t" r="r" b="b"/>
                  <a:pathLst>
                    <a:path w="11708" h="50818">
                      <a:moveTo>
                        <a:pt x="0" y="50820"/>
                      </a:moveTo>
                      <a:cubicBezTo>
                        <a:pt x="4111" y="43471"/>
                        <a:pt x="5481" y="37243"/>
                        <a:pt x="5855" y="33008"/>
                      </a:cubicBezTo>
                      <a:cubicBezTo>
                        <a:pt x="6602" y="26033"/>
                        <a:pt x="5107" y="22670"/>
                        <a:pt x="6103" y="15570"/>
                      </a:cubicBezTo>
                      <a:cubicBezTo>
                        <a:pt x="7100" y="8719"/>
                        <a:pt x="9716" y="3488"/>
                        <a:pt x="1170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9" name="Freeform 5480">
                  <a:extLst>
                    <a:ext uri="{FF2B5EF4-FFF2-40B4-BE49-F238E27FC236}">
                      <a16:creationId xmlns:a16="http://schemas.microsoft.com/office/drawing/2014/main" id="{C87B5DC0-F3F6-6171-0FCB-ADA1C26C7681}"/>
                    </a:ext>
                  </a:extLst>
                </p:cNvPr>
                <p:cNvSpPr/>
                <p:nvPr/>
              </p:nvSpPr>
              <p:spPr>
                <a:xfrm>
                  <a:off x="10210140" y="5812682"/>
                  <a:ext cx="10775" cy="51068"/>
                </a:xfrm>
                <a:custGeom>
                  <a:avLst/>
                  <a:gdLst>
                    <a:gd name="connsiteX0" fmla="*/ 10564 w 10775"/>
                    <a:gd name="connsiteY0" fmla="*/ 0 h 51068"/>
                    <a:gd name="connsiteX1" fmla="*/ 8572 w 10775"/>
                    <a:gd name="connsiteY1" fmla="*/ 18684 h 51068"/>
                    <a:gd name="connsiteX2" fmla="*/ 1597 w 10775"/>
                    <a:gd name="connsiteY2" fmla="*/ 34627 h 51068"/>
                    <a:gd name="connsiteX3" fmla="*/ 226 w 10775"/>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775" h="51068">
                      <a:moveTo>
                        <a:pt x="10564" y="0"/>
                      </a:moveTo>
                      <a:cubicBezTo>
                        <a:pt x="11312" y="8346"/>
                        <a:pt x="9942" y="14573"/>
                        <a:pt x="8572" y="18684"/>
                      </a:cubicBezTo>
                      <a:cubicBezTo>
                        <a:pt x="6329" y="25285"/>
                        <a:pt x="3589" y="27776"/>
                        <a:pt x="1597" y="34627"/>
                      </a:cubicBezTo>
                      <a:cubicBezTo>
                        <a:pt x="-272" y="41229"/>
                        <a:pt x="-147" y="47207"/>
                        <a:pt x="226"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20" name="Freeform 5481">
                  <a:extLst>
                    <a:ext uri="{FF2B5EF4-FFF2-40B4-BE49-F238E27FC236}">
                      <a16:creationId xmlns:a16="http://schemas.microsoft.com/office/drawing/2014/main" id="{8C9D03CB-D705-61D7-2414-E6C476D4B50B}"/>
                    </a:ext>
                  </a:extLst>
                </p:cNvPr>
                <p:cNvSpPr/>
                <p:nvPr/>
              </p:nvSpPr>
              <p:spPr>
                <a:xfrm>
                  <a:off x="10200070" y="5853213"/>
                  <a:ext cx="26195" cy="26557"/>
                </a:xfrm>
                <a:custGeom>
                  <a:avLst/>
                  <a:gdLst>
                    <a:gd name="connsiteX0" fmla="*/ 331 w 26195"/>
                    <a:gd name="connsiteY0" fmla="*/ 10414 h 26557"/>
                    <a:gd name="connsiteX1" fmla="*/ 15901 w 26195"/>
                    <a:gd name="connsiteY1" fmla="*/ 324 h 26557"/>
                    <a:gd name="connsiteX2" fmla="*/ 25865 w 26195"/>
                    <a:gd name="connsiteY2" fmla="*/ 16144 h 26557"/>
                    <a:gd name="connsiteX3" fmla="*/ 10295 w 26195"/>
                    <a:gd name="connsiteY3" fmla="*/ 26233 h 26557"/>
                    <a:gd name="connsiteX4" fmla="*/ 331 w 26195"/>
                    <a:gd name="connsiteY4" fmla="*/ 1041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 h="26556">
                      <a:moveTo>
                        <a:pt x="331" y="10414"/>
                      </a:moveTo>
                      <a:cubicBezTo>
                        <a:pt x="1826" y="3314"/>
                        <a:pt x="8801" y="-1295"/>
                        <a:pt x="15901" y="324"/>
                      </a:cubicBezTo>
                      <a:cubicBezTo>
                        <a:pt x="23000" y="1944"/>
                        <a:pt x="27484" y="8919"/>
                        <a:pt x="25865" y="16144"/>
                      </a:cubicBezTo>
                      <a:cubicBezTo>
                        <a:pt x="24246" y="23243"/>
                        <a:pt x="17271" y="27852"/>
                        <a:pt x="10295" y="26233"/>
                      </a:cubicBezTo>
                      <a:cubicBezTo>
                        <a:pt x="3195" y="24738"/>
                        <a:pt x="-1288" y="17638"/>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5" name="Graphic 2987">
                <a:extLst>
                  <a:ext uri="{FF2B5EF4-FFF2-40B4-BE49-F238E27FC236}">
                    <a16:creationId xmlns:a16="http://schemas.microsoft.com/office/drawing/2014/main" id="{63248BD9-7036-DC8D-A94C-CD8803588C69}"/>
                  </a:ext>
                </a:extLst>
              </p:cNvPr>
              <p:cNvGrpSpPr/>
              <p:nvPr/>
            </p:nvGrpSpPr>
            <p:grpSpPr>
              <a:xfrm>
                <a:off x="10228719" y="5739990"/>
                <a:ext cx="52850" cy="146007"/>
                <a:chOff x="10228719" y="5739990"/>
                <a:chExt cx="52850" cy="146007"/>
              </a:xfrm>
              <a:grpFill/>
            </p:grpSpPr>
            <p:sp>
              <p:nvSpPr>
                <p:cNvPr id="4109" name="Freeform 5483">
                  <a:extLst>
                    <a:ext uri="{FF2B5EF4-FFF2-40B4-BE49-F238E27FC236}">
                      <a16:creationId xmlns:a16="http://schemas.microsoft.com/office/drawing/2014/main" id="{4B87F013-7D1B-7B68-8080-F6EF355DBEDA}"/>
                    </a:ext>
                  </a:extLst>
                </p:cNvPr>
                <p:cNvSpPr/>
                <p:nvPr/>
              </p:nvSpPr>
              <p:spPr>
                <a:xfrm>
                  <a:off x="10251221" y="5759372"/>
                  <a:ext cx="11957" cy="50819"/>
                </a:xfrm>
                <a:custGeom>
                  <a:avLst/>
                  <a:gdLst>
                    <a:gd name="connsiteX0" fmla="*/ 11957 w 11957"/>
                    <a:gd name="connsiteY0" fmla="*/ 0 h 50819"/>
                    <a:gd name="connsiteX1" fmla="*/ 5979 w 11957"/>
                    <a:gd name="connsiteY1" fmla="*/ 17812 h 50819"/>
                    <a:gd name="connsiteX2" fmla="*/ 5605 w 11957"/>
                    <a:gd name="connsiteY2" fmla="*/ 35250 h 50819"/>
                    <a:gd name="connsiteX3" fmla="*/ 0 w 11957"/>
                    <a:gd name="connsiteY3" fmla="*/ 50820 h 50819"/>
                  </a:gdLst>
                  <a:ahLst/>
                  <a:cxnLst>
                    <a:cxn ang="0">
                      <a:pos x="connsiteX0" y="connsiteY0"/>
                    </a:cxn>
                    <a:cxn ang="0">
                      <a:pos x="connsiteX1" y="connsiteY1"/>
                    </a:cxn>
                    <a:cxn ang="0">
                      <a:pos x="connsiteX2" y="connsiteY2"/>
                    </a:cxn>
                    <a:cxn ang="0">
                      <a:pos x="connsiteX3" y="connsiteY3"/>
                    </a:cxn>
                  </a:cxnLst>
                  <a:rect l="l" t="t" r="r" b="b"/>
                  <a:pathLst>
                    <a:path w="11957" h="50818">
                      <a:moveTo>
                        <a:pt x="11957" y="0"/>
                      </a:moveTo>
                      <a:cubicBezTo>
                        <a:pt x="7847" y="7349"/>
                        <a:pt x="6477" y="13452"/>
                        <a:pt x="5979" y="17812"/>
                      </a:cubicBezTo>
                      <a:cubicBezTo>
                        <a:pt x="5231" y="24787"/>
                        <a:pt x="6726" y="28150"/>
                        <a:pt x="5605" y="35250"/>
                      </a:cubicBezTo>
                      <a:cubicBezTo>
                        <a:pt x="4609" y="42101"/>
                        <a:pt x="1993" y="47332"/>
                        <a:pt x="0" y="5082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0" name="Freeform 5484">
                  <a:extLst>
                    <a:ext uri="{FF2B5EF4-FFF2-40B4-BE49-F238E27FC236}">
                      <a16:creationId xmlns:a16="http://schemas.microsoft.com/office/drawing/2014/main" id="{6AC90706-1752-B974-7BC2-9C1C9D4CA219}"/>
                    </a:ext>
                  </a:extLst>
                </p:cNvPr>
                <p:cNvSpPr/>
                <p:nvPr/>
              </p:nvSpPr>
              <p:spPr>
                <a:xfrm>
                  <a:off x="10260408" y="5756009"/>
                  <a:ext cx="11053" cy="51068"/>
                </a:xfrm>
                <a:custGeom>
                  <a:avLst/>
                  <a:gdLst>
                    <a:gd name="connsiteX0" fmla="*/ 155 w 11053"/>
                    <a:gd name="connsiteY0" fmla="*/ 51069 h 51068"/>
                    <a:gd name="connsiteX1" fmla="*/ 2272 w 11053"/>
                    <a:gd name="connsiteY1" fmla="*/ 32385 h 51068"/>
                    <a:gd name="connsiteX2" fmla="*/ 9372 w 11053"/>
                    <a:gd name="connsiteY2" fmla="*/ 16442 h 51068"/>
                    <a:gd name="connsiteX3" fmla="*/ 10742 w 11053"/>
                    <a:gd name="connsiteY3" fmla="*/ 0 h 51068"/>
                  </a:gdLst>
                  <a:ahLst/>
                  <a:cxnLst>
                    <a:cxn ang="0">
                      <a:pos x="connsiteX0" y="connsiteY0"/>
                    </a:cxn>
                    <a:cxn ang="0">
                      <a:pos x="connsiteX1" y="connsiteY1"/>
                    </a:cxn>
                    <a:cxn ang="0">
                      <a:pos x="connsiteX2" y="connsiteY2"/>
                    </a:cxn>
                    <a:cxn ang="0">
                      <a:pos x="connsiteX3" y="connsiteY3"/>
                    </a:cxn>
                  </a:cxnLst>
                  <a:rect l="l" t="t" r="r" b="b"/>
                  <a:pathLst>
                    <a:path w="11053" h="51068">
                      <a:moveTo>
                        <a:pt x="155" y="51069"/>
                      </a:moveTo>
                      <a:cubicBezTo>
                        <a:pt x="-468" y="42723"/>
                        <a:pt x="902" y="36495"/>
                        <a:pt x="2272" y="32385"/>
                      </a:cubicBezTo>
                      <a:cubicBezTo>
                        <a:pt x="4514" y="25784"/>
                        <a:pt x="7254" y="23292"/>
                        <a:pt x="9372" y="16442"/>
                      </a:cubicBezTo>
                      <a:cubicBezTo>
                        <a:pt x="11364" y="9840"/>
                        <a:pt x="11240" y="3986"/>
                        <a:pt x="107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1" name="Freeform 5485">
                  <a:extLst>
                    <a:ext uri="{FF2B5EF4-FFF2-40B4-BE49-F238E27FC236}">
                      <a16:creationId xmlns:a16="http://schemas.microsoft.com/office/drawing/2014/main" id="{80F054E8-106D-484F-CAE9-9206FF6C8BA9}"/>
                    </a:ext>
                  </a:extLst>
                </p:cNvPr>
                <p:cNvSpPr/>
                <p:nvPr/>
              </p:nvSpPr>
              <p:spPr>
                <a:xfrm>
                  <a:off x="10254795" y="5739990"/>
                  <a:ext cx="26773" cy="26557"/>
                </a:xfrm>
                <a:custGeom>
                  <a:avLst/>
                  <a:gdLst>
                    <a:gd name="connsiteX0" fmla="*/ 26444 w 26773"/>
                    <a:gd name="connsiteY0" fmla="*/ 16144 h 26557"/>
                    <a:gd name="connsiteX1" fmla="*/ 10501 w 26773"/>
                    <a:gd name="connsiteY1" fmla="*/ 26233 h 26557"/>
                    <a:gd name="connsiteX2" fmla="*/ 287 w 26773"/>
                    <a:gd name="connsiteY2" fmla="*/ 10414 h 26557"/>
                    <a:gd name="connsiteX3" fmla="*/ 16230 w 26773"/>
                    <a:gd name="connsiteY3" fmla="*/ 324 h 26557"/>
                    <a:gd name="connsiteX4" fmla="*/ 26444 w 26773"/>
                    <a:gd name="connsiteY4" fmla="*/ 16144 h 26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3" h="26556">
                      <a:moveTo>
                        <a:pt x="26444" y="16144"/>
                      </a:moveTo>
                      <a:cubicBezTo>
                        <a:pt x="24824" y="23243"/>
                        <a:pt x="17725" y="27852"/>
                        <a:pt x="10501" y="26233"/>
                      </a:cubicBezTo>
                      <a:cubicBezTo>
                        <a:pt x="3276" y="24613"/>
                        <a:pt x="-1208" y="17514"/>
                        <a:pt x="287" y="10414"/>
                      </a:cubicBezTo>
                      <a:cubicBezTo>
                        <a:pt x="1906" y="3314"/>
                        <a:pt x="9006" y="-1295"/>
                        <a:pt x="16230" y="324"/>
                      </a:cubicBezTo>
                      <a:cubicBezTo>
                        <a:pt x="23579" y="1944"/>
                        <a:pt x="28063" y="9044"/>
                        <a:pt x="26444" y="161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2" name="Freeform 5486">
                  <a:extLst>
                    <a:ext uri="{FF2B5EF4-FFF2-40B4-BE49-F238E27FC236}">
                      <a16:creationId xmlns:a16="http://schemas.microsoft.com/office/drawing/2014/main" id="{D6689363-4382-2C0B-9683-6A8D637AF4A5}"/>
                    </a:ext>
                  </a:extLst>
                </p:cNvPr>
                <p:cNvSpPr/>
                <p:nvPr/>
              </p:nvSpPr>
              <p:spPr>
                <a:xfrm>
                  <a:off x="10246861" y="5815796"/>
                  <a:ext cx="11957" cy="50819"/>
                </a:xfrm>
                <a:custGeom>
                  <a:avLst/>
                  <a:gdLst>
                    <a:gd name="connsiteX0" fmla="*/ 0 w 11957"/>
                    <a:gd name="connsiteY0" fmla="*/ 50820 h 50819"/>
                    <a:gd name="connsiteX1" fmla="*/ 5979 w 11957"/>
                    <a:gd name="connsiteY1" fmla="*/ 33008 h 50819"/>
                    <a:gd name="connsiteX2" fmla="*/ 6353 w 11957"/>
                    <a:gd name="connsiteY2" fmla="*/ 15570 h 50819"/>
                    <a:gd name="connsiteX3" fmla="*/ 11958 w 11957"/>
                    <a:gd name="connsiteY3" fmla="*/ 0 h 50819"/>
                  </a:gdLst>
                  <a:ahLst/>
                  <a:cxnLst>
                    <a:cxn ang="0">
                      <a:pos x="connsiteX0" y="connsiteY0"/>
                    </a:cxn>
                    <a:cxn ang="0">
                      <a:pos x="connsiteX1" y="connsiteY1"/>
                    </a:cxn>
                    <a:cxn ang="0">
                      <a:pos x="connsiteX2" y="connsiteY2"/>
                    </a:cxn>
                    <a:cxn ang="0">
                      <a:pos x="connsiteX3" y="connsiteY3"/>
                    </a:cxn>
                  </a:cxnLst>
                  <a:rect l="l" t="t" r="r" b="b"/>
                  <a:pathLst>
                    <a:path w="11957" h="50818">
                      <a:moveTo>
                        <a:pt x="0" y="50820"/>
                      </a:moveTo>
                      <a:cubicBezTo>
                        <a:pt x="4111" y="43471"/>
                        <a:pt x="5481" y="37243"/>
                        <a:pt x="5979" y="33008"/>
                      </a:cubicBezTo>
                      <a:cubicBezTo>
                        <a:pt x="6727" y="26033"/>
                        <a:pt x="5357" y="22670"/>
                        <a:pt x="6353" y="15570"/>
                      </a:cubicBezTo>
                      <a:cubicBezTo>
                        <a:pt x="7349" y="8719"/>
                        <a:pt x="9965" y="3488"/>
                        <a:pt x="119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3" name="Freeform 5487">
                  <a:extLst>
                    <a:ext uri="{FF2B5EF4-FFF2-40B4-BE49-F238E27FC236}">
                      <a16:creationId xmlns:a16="http://schemas.microsoft.com/office/drawing/2014/main" id="{DF02FB1D-07A2-67DC-EC67-1DA0634A224B}"/>
                    </a:ext>
                  </a:extLst>
                </p:cNvPr>
                <p:cNvSpPr/>
                <p:nvPr/>
              </p:nvSpPr>
              <p:spPr>
                <a:xfrm>
                  <a:off x="10238668" y="5819035"/>
                  <a:ext cx="10963" cy="51068"/>
                </a:xfrm>
                <a:custGeom>
                  <a:avLst/>
                  <a:gdLst>
                    <a:gd name="connsiteX0" fmla="*/ 10809 w 10963"/>
                    <a:gd name="connsiteY0" fmla="*/ 0 h 51068"/>
                    <a:gd name="connsiteX1" fmla="*/ 8692 w 10963"/>
                    <a:gd name="connsiteY1" fmla="*/ 18684 h 51068"/>
                    <a:gd name="connsiteX2" fmla="*/ 1716 w 10963"/>
                    <a:gd name="connsiteY2" fmla="*/ 34627 h 51068"/>
                    <a:gd name="connsiteX3" fmla="*/ 222 w 10963"/>
                    <a:gd name="connsiteY3" fmla="*/ 51069 h 51068"/>
                  </a:gdLst>
                  <a:ahLst/>
                  <a:cxnLst>
                    <a:cxn ang="0">
                      <a:pos x="connsiteX0" y="connsiteY0"/>
                    </a:cxn>
                    <a:cxn ang="0">
                      <a:pos x="connsiteX1" y="connsiteY1"/>
                    </a:cxn>
                    <a:cxn ang="0">
                      <a:pos x="connsiteX2" y="connsiteY2"/>
                    </a:cxn>
                    <a:cxn ang="0">
                      <a:pos x="connsiteX3" y="connsiteY3"/>
                    </a:cxn>
                  </a:cxnLst>
                  <a:rect l="l" t="t" r="r" b="b"/>
                  <a:pathLst>
                    <a:path w="10963" h="51068">
                      <a:moveTo>
                        <a:pt x="10809" y="0"/>
                      </a:moveTo>
                      <a:cubicBezTo>
                        <a:pt x="11431" y="8346"/>
                        <a:pt x="10061" y="14573"/>
                        <a:pt x="8692" y="18684"/>
                      </a:cubicBezTo>
                      <a:cubicBezTo>
                        <a:pt x="6450" y="25285"/>
                        <a:pt x="3709" y="27776"/>
                        <a:pt x="1716" y="34627"/>
                      </a:cubicBezTo>
                      <a:cubicBezTo>
                        <a:pt x="-277" y="41229"/>
                        <a:pt x="-152" y="47083"/>
                        <a:pt x="222" y="5106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14" name="Freeform 5488">
                  <a:extLst>
                    <a:ext uri="{FF2B5EF4-FFF2-40B4-BE49-F238E27FC236}">
                      <a16:creationId xmlns:a16="http://schemas.microsoft.com/office/drawing/2014/main" id="{9BDBBCD1-2FB4-50A3-A83D-A37D2B9666F5}"/>
                    </a:ext>
                  </a:extLst>
                </p:cNvPr>
                <p:cNvSpPr/>
                <p:nvPr/>
              </p:nvSpPr>
              <p:spPr>
                <a:xfrm>
                  <a:off x="10228719" y="5859565"/>
                  <a:ext cx="26320" cy="26432"/>
                </a:xfrm>
                <a:custGeom>
                  <a:avLst/>
                  <a:gdLst>
                    <a:gd name="connsiteX0" fmla="*/ 331 w 26320"/>
                    <a:gd name="connsiteY0" fmla="*/ 10414 h 26432"/>
                    <a:gd name="connsiteX1" fmla="*/ 16025 w 26320"/>
                    <a:gd name="connsiteY1" fmla="*/ 325 h 26432"/>
                    <a:gd name="connsiteX2" fmla="*/ 25990 w 26320"/>
                    <a:gd name="connsiteY2" fmla="*/ 16019 h 26432"/>
                    <a:gd name="connsiteX3" fmla="*/ 10296 w 26320"/>
                    <a:gd name="connsiteY3" fmla="*/ 26108 h 26432"/>
                    <a:gd name="connsiteX4" fmla="*/ 331 w 26320"/>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0" h="26431">
                      <a:moveTo>
                        <a:pt x="331" y="10414"/>
                      </a:moveTo>
                      <a:cubicBezTo>
                        <a:pt x="1950" y="3314"/>
                        <a:pt x="8925" y="-1295"/>
                        <a:pt x="16025" y="325"/>
                      </a:cubicBezTo>
                      <a:cubicBezTo>
                        <a:pt x="23125" y="1944"/>
                        <a:pt x="27609" y="8919"/>
                        <a:pt x="25990" y="16019"/>
                      </a:cubicBezTo>
                      <a:cubicBezTo>
                        <a:pt x="24370" y="23118"/>
                        <a:pt x="17395" y="27727"/>
                        <a:pt x="10296" y="26108"/>
                      </a:cubicBezTo>
                      <a:cubicBezTo>
                        <a:pt x="3196" y="24613"/>
                        <a:pt x="-1288" y="17514"/>
                        <a:pt x="331"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6" name="Graphic 2987">
                <a:extLst>
                  <a:ext uri="{FF2B5EF4-FFF2-40B4-BE49-F238E27FC236}">
                    <a16:creationId xmlns:a16="http://schemas.microsoft.com/office/drawing/2014/main" id="{5FB03507-A79E-9790-CE80-8C5DD852A93D}"/>
                  </a:ext>
                </a:extLst>
              </p:cNvPr>
              <p:cNvGrpSpPr/>
              <p:nvPr/>
            </p:nvGrpSpPr>
            <p:grpSpPr>
              <a:xfrm>
                <a:off x="10257280" y="5746343"/>
                <a:ext cx="53554" cy="145883"/>
                <a:chOff x="10257280" y="5746343"/>
                <a:chExt cx="53554" cy="145883"/>
              </a:xfrm>
              <a:grpFill/>
            </p:grpSpPr>
            <p:sp>
              <p:nvSpPr>
                <p:cNvPr id="4103" name="Freeform 5490">
                  <a:extLst>
                    <a:ext uri="{FF2B5EF4-FFF2-40B4-BE49-F238E27FC236}">
                      <a16:creationId xmlns:a16="http://schemas.microsoft.com/office/drawing/2014/main" id="{F057E974-DF57-176C-3848-022D88E67EDA}"/>
                    </a:ext>
                  </a:extLst>
                </p:cNvPr>
                <p:cNvSpPr/>
                <p:nvPr/>
              </p:nvSpPr>
              <p:spPr>
                <a:xfrm>
                  <a:off x="10280118" y="5765849"/>
                  <a:ext cx="12206" cy="50694"/>
                </a:xfrm>
                <a:custGeom>
                  <a:avLst/>
                  <a:gdLst>
                    <a:gd name="connsiteX0" fmla="*/ 12206 w 12206"/>
                    <a:gd name="connsiteY0" fmla="*/ 0 h 50694"/>
                    <a:gd name="connsiteX1" fmla="*/ 6103 w 12206"/>
                    <a:gd name="connsiteY1" fmla="*/ 17812 h 50694"/>
                    <a:gd name="connsiteX2" fmla="*/ 5729 w 12206"/>
                    <a:gd name="connsiteY2" fmla="*/ 35250 h 50694"/>
                    <a:gd name="connsiteX3" fmla="*/ 0 w 12206"/>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06" h="50694">
                      <a:moveTo>
                        <a:pt x="12206" y="0"/>
                      </a:moveTo>
                      <a:cubicBezTo>
                        <a:pt x="7971" y="7349"/>
                        <a:pt x="6601" y="13452"/>
                        <a:pt x="6103" y="17812"/>
                      </a:cubicBezTo>
                      <a:cubicBezTo>
                        <a:pt x="5356" y="24787"/>
                        <a:pt x="6726" y="28150"/>
                        <a:pt x="5729" y="35250"/>
                      </a:cubicBezTo>
                      <a:cubicBezTo>
                        <a:pt x="4733" y="42100"/>
                        <a:pt x="2117"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4" name="Freeform 5491">
                  <a:extLst>
                    <a:ext uri="{FF2B5EF4-FFF2-40B4-BE49-F238E27FC236}">
                      <a16:creationId xmlns:a16="http://schemas.microsoft.com/office/drawing/2014/main" id="{3CA45030-E58B-F786-4FC8-1F3627DD9DFC}"/>
                    </a:ext>
                  </a:extLst>
                </p:cNvPr>
                <p:cNvSpPr/>
                <p:nvPr/>
              </p:nvSpPr>
              <p:spPr>
                <a:xfrm>
                  <a:off x="10289306" y="5762361"/>
                  <a:ext cx="11211" cy="51068"/>
                </a:xfrm>
                <a:custGeom>
                  <a:avLst/>
                  <a:gdLst>
                    <a:gd name="connsiteX0" fmla="*/ 154 w 11211"/>
                    <a:gd name="connsiteY0" fmla="*/ 51068 h 51068"/>
                    <a:gd name="connsiteX1" fmla="*/ 2396 w 11211"/>
                    <a:gd name="connsiteY1" fmla="*/ 32385 h 51068"/>
                    <a:gd name="connsiteX2" fmla="*/ 9496 w 11211"/>
                    <a:gd name="connsiteY2" fmla="*/ 16441 h 51068"/>
                    <a:gd name="connsiteX3" fmla="*/ 10990 w 11211"/>
                    <a:gd name="connsiteY3" fmla="*/ 0 h 51068"/>
                  </a:gdLst>
                  <a:ahLst/>
                  <a:cxnLst>
                    <a:cxn ang="0">
                      <a:pos x="connsiteX0" y="connsiteY0"/>
                    </a:cxn>
                    <a:cxn ang="0">
                      <a:pos x="connsiteX1" y="connsiteY1"/>
                    </a:cxn>
                    <a:cxn ang="0">
                      <a:pos x="connsiteX2" y="connsiteY2"/>
                    </a:cxn>
                    <a:cxn ang="0">
                      <a:pos x="connsiteX3" y="connsiteY3"/>
                    </a:cxn>
                  </a:cxnLst>
                  <a:rect l="l" t="t" r="r" b="b"/>
                  <a:pathLst>
                    <a:path w="11211" h="51068">
                      <a:moveTo>
                        <a:pt x="154" y="51068"/>
                      </a:moveTo>
                      <a:cubicBezTo>
                        <a:pt x="-469" y="42723"/>
                        <a:pt x="901" y="36495"/>
                        <a:pt x="2396" y="32385"/>
                      </a:cubicBezTo>
                      <a:cubicBezTo>
                        <a:pt x="4638" y="25783"/>
                        <a:pt x="7502" y="23292"/>
                        <a:pt x="9496" y="16441"/>
                      </a:cubicBezTo>
                      <a:cubicBezTo>
                        <a:pt x="11488" y="9840"/>
                        <a:pt x="11364" y="3986"/>
                        <a:pt x="1099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5" name="Freeform 5492">
                  <a:extLst>
                    <a:ext uri="{FF2B5EF4-FFF2-40B4-BE49-F238E27FC236}">
                      <a16:creationId xmlns:a16="http://schemas.microsoft.com/office/drawing/2014/main" id="{884E81B8-12C9-D77D-C546-1A1A13B36501}"/>
                    </a:ext>
                  </a:extLst>
                </p:cNvPr>
                <p:cNvSpPr/>
                <p:nvPr/>
              </p:nvSpPr>
              <p:spPr>
                <a:xfrm>
                  <a:off x="10284147" y="5746343"/>
                  <a:ext cx="26687" cy="26519"/>
                </a:xfrm>
                <a:custGeom>
                  <a:avLst/>
                  <a:gdLst>
                    <a:gd name="connsiteX0" fmla="*/ 26363 w 26687"/>
                    <a:gd name="connsiteY0" fmla="*/ 16143 h 26519"/>
                    <a:gd name="connsiteX1" fmla="*/ 10420 w 26687"/>
                    <a:gd name="connsiteY1" fmla="*/ 26232 h 26519"/>
                    <a:gd name="connsiteX2" fmla="*/ 331 w 26687"/>
                    <a:gd name="connsiteY2" fmla="*/ 10414 h 26519"/>
                    <a:gd name="connsiteX3" fmla="*/ 16274 w 26687"/>
                    <a:gd name="connsiteY3" fmla="*/ 325 h 26519"/>
                    <a:gd name="connsiteX4" fmla="*/ 26363 w 26687"/>
                    <a:gd name="connsiteY4" fmla="*/ 16143 h 2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7" h="26519">
                      <a:moveTo>
                        <a:pt x="26363" y="16143"/>
                      </a:moveTo>
                      <a:cubicBezTo>
                        <a:pt x="24744" y="23243"/>
                        <a:pt x="17520" y="27727"/>
                        <a:pt x="10420" y="26232"/>
                      </a:cubicBezTo>
                      <a:cubicBezTo>
                        <a:pt x="3195" y="24613"/>
                        <a:pt x="-1289" y="17638"/>
                        <a:pt x="331" y="10414"/>
                      </a:cubicBezTo>
                      <a:cubicBezTo>
                        <a:pt x="1950" y="3314"/>
                        <a:pt x="9050" y="-1295"/>
                        <a:pt x="16274" y="325"/>
                      </a:cubicBezTo>
                      <a:cubicBezTo>
                        <a:pt x="23374" y="1944"/>
                        <a:pt x="27983" y="9043"/>
                        <a:pt x="26363" y="161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6" name="Freeform 5493">
                  <a:extLst>
                    <a:ext uri="{FF2B5EF4-FFF2-40B4-BE49-F238E27FC236}">
                      <a16:creationId xmlns:a16="http://schemas.microsoft.com/office/drawing/2014/main" id="{2559440A-100C-7647-0060-88D3AFFB0F7A}"/>
                    </a:ext>
                  </a:extLst>
                </p:cNvPr>
                <p:cNvSpPr/>
                <p:nvPr/>
              </p:nvSpPr>
              <p:spPr>
                <a:xfrm>
                  <a:off x="10275510" y="5822274"/>
                  <a:ext cx="12331" cy="50694"/>
                </a:xfrm>
                <a:custGeom>
                  <a:avLst/>
                  <a:gdLst>
                    <a:gd name="connsiteX0" fmla="*/ 0 w 12331"/>
                    <a:gd name="connsiteY0" fmla="*/ 50695 h 50694"/>
                    <a:gd name="connsiteX1" fmla="*/ 6103 w 12331"/>
                    <a:gd name="connsiteY1" fmla="*/ 32883 h 50694"/>
                    <a:gd name="connsiteX2" fmla="*/ 6601 w 12331"/>
                    <a:gd name="connsiteY2" fmla="*/ 15445 h 50694"/>
                    <a:gd name="connsiteX3" fmla="*/ 12331 w 12331"/>
                    <a:gd name="connsiteY3" fmla="*/ 0 h 50694"/>
                  </a:gdLst>
                  <a:ahLst/>
                  <a:cxnLst>
                    <a:cxn ang="0">
                      <a:pos x="connsiteX0" y="connsiteY0"/>
                    </a:cxn>
                    <a:cxn ang="0">
                      <a:pos x="connsiteX1" y="connsiteY1"/>
                    </a:cxn>
                    <a:cxn ang="0">
                      <a:pos x="connsiteX2" y="connsiteY2"/>
                    </a:cxn>
                    <a:cxn ang="0">
                      <a:pos x="connsiteX3" y="connsiteY3"/>
                    </a:cxn>
                  </a:cxnLst>
                  <a:rect l="l" t="t" r="r" b="b"/>
                  <a:pathLst>
                    <a:path w="12331" h="50694">
                      <a:moveTo>
                        <a:pt x="0" y="50695"/>
                      </a:moveTo>
                      <a:cubicBezTo>
                        <a:pt x="4235" y="43346"/>
                        <a:pt x="5604" y="37243"/>
                        <a:pt x="6103" y="32883"/>
                      </a:cubicBezTo>
                      <a:cubicBezTo>
                        <a:pt x="6851" y="25908"/>
                        <a:pt x="5481" y="22545"/>
                        <a:pt x="6601" y="15445"/>
                      </a:cubicBezTo>
                      <a:cubicBezTo>
                        <a:pt x="7598" y="8595"/>
                        <a:pt x="10214"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7" name="Freeform 5494">
                  <a:extLst>
                    <a:ext uri="{FF2B5EF4-FFF2-40B4-BE49-F238E27FC236}">
                      <a16:creationId xmlns:a16="http://schemas.microsoft.com/office/drawing/2014/main" id="{3DB70397-2F22-9716-BE1C-261ED922E344}"/>
                    </a:ext>
                  </a:extLst>
                </p:cNvPr>
                <p:cNvSpPr/>
                <p:nvPr/>
              </p:nvSpPr>
              <p:spPr>
                <a:xfrm>
                  <a:off x="10267316" y="5825388"/>
                  <a:ext cx="11211" cy="51068"/>
                </a:xfrm>
                <a:custGeom>
                  <a:avLst/>
                  <a:gdLst>
                    <a:gd name="connsiteX0" fmla="*/ 11058 w 11211"/>
                    <a:gd name="connsiteY0" fmla="*/ 0 h 51068"/>
                    <a:gd name="connsiteX1" fmla="*/ 8816 w 11211"/>
                    <a:gd name="connsiteY1" fmla="*/ 18684 h 51068"/>
                    <a:gd name="connsiteX2" fmla="*/ 1716 w 11211"/>
                    <a:gd name="connsiteY2" fmla="*/ 34627 h 51068"/>
                    <a:gd name="connsiteX3" fmla="*/ 222 w 11211"/>
                    <a:gd name="connsiteY3" fmla="*/ 51068 h 51068"/>
                  </a:gdLst>
                  <a:ahLst/>
                  <a:cxnLst>
                    <a:cxn ang="0">
                      <a:pos x="connsiteX0" y="connsiteY0"/>
                    </a:cxn>
                    <a:cxn ang="0">
                      <a:pos x="connsiteX1" y="connsiteY1"/>
                    </a:cxn>
                    <a:cxn ang="0">
                      <a:pos x="connsiteX2" y="connsiteY2"/>
                    </a:cxn>
                    <a:cxn ang="0">
                      <a:pos x="connsiteX3" y="connsiteY3"/>
                    </a:cxn>
                  </a:cxnLst>
                  <a:rect l="l" t="t" r="r" b="b"/>
                  <a:pathLst>
                    <a:path w="11211" h="51068">
                      <a:moveTo>
                        <a:pt x="11058" y="0"/>
                      </a:moveTo>
                      <a:cubicBezTo>
                        <a:pt x="11681" y="8345"/>
                        <a:pt x="10311" y="14573"/>
                        <a:pt x="8816" y="18684"/>
                      </a:cubicBezTo>
                      <a:cubicBezTo>
                        <a:pt x="6574" y="25285"/>
                        <a:pt x="3833" y="27776"/>
                        <a:pt x="1716" y="34627"/>
                      </a:cubicBezTo>
                      <a:cubicBezTo>
                        <a:pt x="-276" y="41229"/>
                        <a:pt x="-152" y="47083"/>
                        <a:pt x="222" y="5106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8" name="Freeform 5495">
                  <a:extLst>
                    <a:ext uri="{FF2B5EF4-FFF2-40B4-BE49-F238E27FC236}">
                      <a16:creationId xmlns:a16="http://schemas.microsoft.com/office/drawing/2014/main" id="{FEF1AF39-5A74-D90A-648C-F6E1FCBD4C14}"/>
                    </a:ext>
                  </a:extLst>
                </p:cNvPr>
                <p:cNvSpPr/>
                <p:nvPr/>
              </p:nvSpPr>
              <p:spPr>
                <a:xfrm>
                  <a:off x="10257280" y="5865793"/>
                  <a:ext cx="26164" cy="26432"/>
                </a:xfrm>
                <a:custGeom>
                  <a:avLst/>
                  <a:gdLst>
                    <a:gd name="connsiteX0" fmla="*/ 293 w 26164"/>
                    <a:gd name="connsiteY0" fmla="*/ 10414 h 26432"/>
                    <a:gd name="connsiteX1" fmla="*/ 15988 w 26164"/>
                    <a:gd name="connsiteY1" fmla="*/ 325 h 26432"/>
                    <a:gd name="connsiteX2" fmla="*/ 25828 w 26164"/>
                    <a:gd name="connsiteY2" fmla="*/ 16019 h 26432"/>
                    <a:gd name="connsiteX3" fmla="*/ 10133 w 26164"/>
                    <a:gd name="connsiteY3" fmla="*/ 26108 h 26432"/>
                    <a:gd name="connsiteX4" fmla="*/ 293 w 26164"/>
                    <a:gd name="connsiteY4" fmla="*/ 10414 h 26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4" h="26431">
                      <a:moveTo>
                        <a:pt x="293" y="10414"/>
                      </a:moveTo>
                      <a:cubicBezTo>
                        <a:pt x="1913" y="3314"/>
                        <a:pt x="8888" y="-1295"/>
                        <a:pt x="15988" y="325"/>
                      </a:cubicBezTo>
                      <a:cubicBezTo>
                        <a:pt x="23087" y="1819"/>
                        <a:pt x="27447" y="8919"/>
                        <a:pt x="25828" y="16019"/>
                      </a:cubicBezTo>
                      <a:cubicBezTo>
                        <a:pt x="24208" y="23118"/>
                        <a:pt x="17108" y="27727"/>
                        <a:pt x="10133" y="26108"/>
                      </a:cubicBezTo>
                      <a:cubicBezTo>
                        <a:pt x="3158" y="24613"/>
                        <a:pt x="-1201" y="17638"/>
                        <a:pt x="293" y="1041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7" name="Graphic 2987">
                <a:extLst>
                  <a:ext uri="{FF2B5EF4-FFF2-40B4-BE49-F238E27FC236}">
                    <a16:creationId xmlns:a16="http://schemas.microsoft.com/office/drawing/2014/main" id="{6E0BA6B6-80B5-CF8E-FC19-66DACEC80844}"/>
                  </a:ext>
                </a:extLst>
              </p:cNvPr>
              <p:cNvGrpSpPr/>
              <p:nvPr/>
            </p:nvGrpSpPr>
            <p:grpSpPr>
              <a:xfrm>
                <a:off x="10285890" y="5753023"/>
                <a:ext cx="54017" cy="145731"/>
                <a:chOff x="10285890" y="5753023"/>
                <a:chExt cx="54017" cy="145731"/>
              </a:xfrm>
              <a:grpFill/>
            </p:grpSpPr>
            <p:sp>
              <p:nvSpPr>
                <p:cNvPr id="4097" name="Freeform 5497">
                  <a:extLst>
                    <a:ext uri="{FF2B5EF4-FFF2-40B4-BE49-F238E27FC236}">
                      <a16:creationId xmlns:a16="http://schemas.microsoft.com/office/drawing/2014/main" id="{789AB51F-FC4C-BB8D-5B3A-D43A999E0140}"/>
                    </a:ext>
                  </a:extLst>
                </p:cNvPr>
                <p:cNvSpPr/>
                <p:nvPr/>
              </p:nvSpPr>
              <p:spPr>
                <a:xfrm>
                  <a:off x="10309140" y="5772201"/>
                  <a:ext cx="12331" cy="50695"/>
                </a:xfrm>
                <a:custGeom>
                  <a:avLst/>
                  <a:gdLst>
                    <a:gd name="connsiteX0" fmla="*/ 12332 w 12331"/>
                    <a:gd name="connsiteY0" fmla="*/ 0 h 50695"/>
                    <a:gd name="connsiteX1" fmla="*/ 6228 w 12331"/>
                    <a:gd name="connsiteY1" fmla="*/ 17812 h 50695"/>
                    <a:gd name="connsiteX2" fmla="*/ 5730 w 12331"/>
                    <a:gd name="connsiteY2" fmla="*/ 35250 h 50695"/>
                    <a:gd name="connsiteX3" fmla="*/ 0 w 12331"/>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31" h="50695">
                      <a:moveTo>
                        <a:pt x="12332" y="0"/>
                      </a:moveTo>
                      <a:cubicBezTo>
                        <a:pt x="8097" y="7225"/>
                        <a:pt x="6727" y="13452"/>
                        <a:pt x="6228" y="17812"/>
                      </a:cubicBezTo>
                      <a:cubicBezTo>
                        <a:pt x="5481" y="24787"/>
                        <a:pt x="6851" y="28275"/>
                        <a:pt x="5730" y="35250"/>
                      </a:cubicBezTo>
                      <a:cubicBezTo>
                        <a:pt x="4609" y="42101"/>
                        <a:pt x="1993" y="47332"/>
                        <a:pt x="0"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8" name="Freeform 5498">
                  <a:extLst>
                    <a:ext uri="{FF2B5EF4-FFF2-40B4-BE49-F238E27FC236}">
                      <a16:creationId xmlns:a16="http://schemas.microsoft.com/office/drawing/2014/main" id="{58D83522-F9E7-818C-7AE4-2B90CDEAB9BF}"/>
                    </a:ext>
                  </a:extLst>
                </p:cNvPr>
                <p:cNvSpPr/>
                <p:nvPr/>
              </p:nvSpPr>
              <p:spPr>
                <a:xfrm>
                  <a:off x="10318212" y="5768963"/>
                  <a:ext cx="11422" cy="50944"/>
                </a:xfrm>
                <a:custGeom>
                  <a:avLst/>
                  <a:gdLst>
                    <a:gd name="connsiteX0" fmla="*/ 146 w 11422"/>
                    <a:gd name="connsiteY0" fmla="*/ 50944 h 50944"/>
                    <a:gd name="connsiteX1" fmla="*/ 2388 w 11422"/>
                    <a:gd name="connsiteY1" fmla="*/ 32260 h 50944"/>
                    <a:gd name="connsiteX2" fmla="*/ 9611 w 11422"/>
                    <a:gd name="connsiteY2" fmla="*/ 16441 h 50944"/>
                    <a:gd name="connsiteX3" fmla="*/ 11231 w 11422"/>
                    <a:gd name="connsiteY3" fmla="*/ 0 h 50944"/>
                  </a:gdLst>
                  <a:ahLst/>
                  <a:cxnLst>
                    <a:cxn ang="0">
                      <a:pos x="connsiteX0" y="connsiteY0"/>
                    </a:cxn>
                    <a:cxn ang="0">
                      <a:pos x="connsiteX1" y="connsiteY1"/>
                    </a:cxn>
                    <a:cxn ang="0">
                      <a:pos x="connsiteX2" y="connsiteY2"/>
                    </a:cxn>
                    <a:cxn ang="0">
                      <a:pos x="connsiteX3" y="connsiteY3"/>
                    </a:cxn>
                  </a:cxnLst>
                  <a:rect l="l" t="t" r="r" b="b"/>
                  <a:pathLst>
                    <a:path w="11422" h="50944">
                      <a:moveTo>
                        <a:pt x="146" y="50944"/>
                      </a:moveTo>
                      <a:cubicBezTo>
                        <a:pt x="-478" y="42474"/>
                        <a:pt x="1017" y="36371"/>
                        <a:pt x="2388" y="32260"/>
                      </a:cubicBezTo>
                      <a:cubicBezTo>
                        <a:pt x="4754" y="25659"/>
                        <a:pt x="7494" y="23168"/>
                        <a:pt x="9611" y="16441"/>
                      </a:cubicBezTo>
                      <a:cubicBezTo>
                        <a:pt x="11605" y="9840"/>
                        <a:pt x="11605" y="3986"/>
                        <a:pt x="112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9" name="Freeform 5499">
                  <a:extLst>
                    <a:ext uri="{FF2B5EF4-FFF2-40B4-BE49-F238E27FC236}">
                      <a16:creationId xmlns:a16="http://schemas.microsoft.com/office/drawing/2014/main" id="{8E2CC78F-02FF-38E7-2D9C-D29A2099F49B}"/>
                    </a:ext>
                  </a:extLst>
                </p:cNvPr>
                <p:cNvSpPr/>
                <p:nvPr/>
              </p:nvSpPr>
              <p:spPr>
                <a:xfrm>
                  <a:off x="10313175" y="5753023"/>
                  <a:ext cx="26733" cy="26490"/>
                </a:xfrm>
                <a:custGeom>
                  <a:avLst/>
                  <a:gdLst>
                    <a:gd name="connsiteX0" fmla="*/ 26357 w 26733"/>
                    <a:gd name="connsiteY0" fmla="*/ 16313 h 26490"/>
                    <a:gd name="connsiteX1" fmla="*/ 10414 w 26733"/>
                    <a:gd name="connsiteY1" fmla="*/ 26153 h 26490"/>
                    <a:gd name="connsiteX2" fmla="*/ 325 w 26733"/>
                    <a:gd name="connsiteY2" fmla="*/ 10334 h 26490"/>
                    <a:gd name="connsiteX3" fmla="*/ 16392 w 26733"/>
                    <a:gd name="connsiteY3" fmla="*/ 370 h 26490"/>
                    <a:gd name="connsiteX4" fmla="*/ 26357 w 26733"/>
                    <a:gd name="connsiteY4" fmla="*/ 16313 h 2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 h="26490">
                      <a:moveTo>
                        <a:pt x="26357" y="16313"/>
                      </a:moveTo>
                      <a:cubicBezTo>
                        <a:pt x="24737" y="23413"/>
                        <a:pt x="17514" y="27772"/>
                        <a:pt x="10414" y="26153"/>
                      </a:cubicBezTo>
                      <a:cubicBezTo>
                        <a:pt x="3314" y="24409"/>
                        <a:pt x="-1295" y="17434"/>
                        <a:pt x="325" y="10334"/>
                      </a:cubicBezTo>
                      <a:cubicBezTo>
                        <a:pt x="1944" y="3234"/>
                        <a:pt x="9168" y="-1374"/>
                        <a:pt x="16392" y="370"/>
                      </a:cubicBezTo>
                      <a:cubicBezTo>
                        <a:pt x="23617" y="1989"/>
                        <a:pt x="28101" y="9089"/>
                        <a:pt x="26357" y="163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0" name="Freeform 5500">
                  <a:extLst>
                    <a:ext uri="{FF2B5EF4-FFF2-40B4-BE49-F238E27FC236}">
                      <a16:creationId xmlns:a16="http://schemas.microsoft.com/office/drawing/2014/main" id="{4539DBCF-83F7-FB53-A17E-ABA22EC8B3B5}"/>
                    </a:ext>
                  </a:extLst>
                </p:cNvPr>
                <p:cNvSpPr/>
                <p:nvPr/>
              </p:nvSpPr>
              <p:spPr>
                <a:xfrm>
                  <a:off x="10304158" y="5828750"/>
                  <a:ext cx="12331" cy="50695"/>
                </a:xfrm>
                <a:custGeom>
                  <a:avLst/>
                  <a:gdLst>
                    <a:gd name="connsiteX0" fmla="*/ 0 w 12331"/>
                    <a:gd name="connsiteY0" fmla="*/ 50695 h 50695"/>
                    <a:gd name="connsiteX1" fmla="*/ 6103 w 12331"/>
                    <a:gd name="connsiteY1" fmla="*/ 32883 h 50695"/>
                    <a:gd name="connsiteX2" fmla="*/ 6601 w 12331"/>
                    <a:gd name="connsiteY2" fmla="*/ 15445 h 50695"/>
                    <a:gd name="connsiteX3" fmla="*/ 12331 w 12331"/>
                    <a:gd name="connsiteY3" fmla="*/ 0 h 50695"/>
                  </a:gdLst>
                  <a:ahLst/>
                  <a:cxnLst>
                    <a:cxn ang="0">
                      <a:pos x="connsiteX0" y="connsiteY0"/>
                    </a:cxn>
                    <a:cxn ang="0">
                      <a:pos x="connsiteX1" y="connsiteY1"/>
                    </a:cxn>
                    <a:cxn ang="0">
                      <a:pos x="connsiteX2" y="connsiteY2"/>
                    </a:cxn>
                    <a:cxn ang="0">
                      <a:pos x="connsiteX3" y="connsiteY3"/>
                    </a:cxn>
                  </a:cxnLst>
                  <a:rect l="l" t="t" r="r" b="b"/>
                  <a:pathLst>
                    <a:path w="12331" h="50695">
                      <a:moveTo>
                        <a:pt x="0" y="50695"/>
                      </a:moveTo>
                      <a:cubicBezTo>
                        <a:pt x="4235" y="43471"/>
                        <a:pt x="5605" y="37243"/>
                        <a:pt x="6103" y="32883"/>
                      </a:cubicBezTo>
                      <a:cubicBezTo>
                        <a:pt x="6975" y="25908"/>
                        <a:pt x="5605" y="22420"/>
                        <a:pt x="6601" y="15445"/>
                      </a:cubicBezTo>
                      <a:cubicBezTo>
                        <a:pt x="7723" y="8595"/>
                        <a:pt x="10339" y="3363"/>
                        <a:pt x="1233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1" name="Freeform 5501">
                  <a:extLst>
                    <a:ext uri="{FF2B5EF4-FFF2-40B4-BE49-F238E27FC236}">
                      <a16:creationId xmlns:a16="http://schemas.microsoft.com/office/drawing/2014/main" id="{44BC2053-C1B9-84A4-4762-D043937E7114}"/>
                    </a:ext>
                  </a:extLst>
                </p:cNvPr>
                <p:cNvSpPr/>
                <p:nvPr/>
              </p:nvSpPr>
              <p:spPr>
                <a:xfrm>
                  <a:off x="10296119" y="5831740"/>
                  <a:ext cx="11298" cy="50944"/>
                </a:xfrm>
                <a:custGeom>
                  <a:avLst/>
                  <a:gdLst>
                    <a:gd name="connsiteX0" fmla="*/ 11153 w 11298"/>
                    <a:gd name="connsiteY0" fmla="*/ 0 h 50944"/>
                    <a:gd name="connsiteX1" fmla="*/ 8911 w 11298"/>
                    <a:gd name="connsiteY1" fmla="*/ 18684 h 50944"/>
                    <a:gd name="connsiteX2" fmla="*/ 1811 w 11298"/>
                    <a:gd name="connsiteY2" fmla="*/ 34503 h 50944"/>
                    <a:gd name="connsiteX3" fmla="*/ 192 w 11298"/>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298" h="50944">
                      <a:moveTo>
                        <a:pt x="11153" y="0"/>
                      </a:moveTo>
                      <a:cubicBezTo>
                        <a:pt x="11776" y="8470"/>
                        <a:pt x="10281" y="14573"/>
                        <a:pt x="8911" y="18684"/>
                      </a:cubicBezTo>
                      <a:cubicBezTo>
                        <a:pt x="6544" y="25285"/>
                        <a:pt x="3804" y="27776"/>
                        <a:pt x="1811" y="34503"/>
                      </a:cubicBezTo>
                      <a:cubicBezTo>
                        <a:pt x="-182" y="41104"/>
                        <a:pt x="-182" y="46958"/>
                        <a:pt x="192"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102" name="Freeform 5502">
                  <a:extLst>
                    <a:ext uri="{FF2B5EF4-FFF2-40B4-BE49-F238E27FC236}">
                      <a16:creationId xmlns:a16="http://schemas.microsoft.com/office/drawing/2014/main" id="{8853E57C-6B4E-4BFF-1D9C-1B6F8029C916}"/>
                    </a:ext>
                  </a:extLst>
                </p:cNvPr>
                <p:cNvSpPr/>
                <p:nvPr/>
              </p:nvSpPr>
              <p:spPr>
                <a:xfrm>
                  <a:off x="10285890" y="5872225"/>
                  <a:ext cx="26249" cy="26529"/>
                </a:xfrm>
                <a:custGeom>
                  <a:avLst/>
                  <a:gdLst>
                    <a:gd name="connsiteX0" fmla="*/ 331 w 26249"/>
                    <a:gd name="connsiteY0" fmla="*/ 10334 h 26529"/>
                    <a:gd name="connsiteX1" fmla="*/ 16150 w 26249"/>
                    <a:gd name="connsiteY1" fmla="*/ 370 h 26529"/>
                    <a:gd name="connsiteX2" fmla="*/ 25865 w 26249"/>
                    <a:gd name="connsiteY2" fmla="*/ 16313 h 26529"/>
                    <a:gd name="connsiteX3" fmla="*/ 10171 w 26249"/>
                    <a:gd name="connsiteY3" fmla="*/ 26153 h 26529"/>
                    <a:gd name="connsiteX4" fmla="*/ 331 w 26249"/>
                    <a:gd name="connsiteY4" fmla="*/ 10334 h 2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529">
                      <a:moveTo>
                        <a:pt x="331" y="10334"/>
                      </a:moveTo>
                      <a:cubicBezTo>
                        <a:pt x="1951" y="3235"/>
                        <a:pt x="9050" y="-1374"/>
                        <a:pt x="16150" y="370"/>
                      </a:cubicBezTo>
                      <a:cubicBezTo>
                        <a:pt x="23249" y="2114"/>
                        <a:pt x="27609" y="9213"/>
                        <a:pt x="25865" y="16313"/>
                      </a:cubicBezTo>
                      <a:cubicBezTo>
                        <a:pt x="24246" y="23413"/>
                        <a:pt x="17146" y="27897"/>
                        <a:pt x="10171" y="26153"/>
                      </a:cubicBezTo>
                      <a:cubicBezTo>
                        <a:pt x="3196" y="24410"/>
                        <a:pt x="-1288" y="17559"/>
                        <a:pt x="331" y="103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8" name="Graphic 2987">
                <a:extLst>
                  <a:ext uri="{FF2B5EF4-FFF2-40B4-BE49-F238E27FC236}">
                    <a16:creationId xmlns:a16="http://schemas.microsoft.com/office/drawing/2014/main" id="{448855E8-2EFB-B985-7C39-A1632639AAC1}"/>
                  </a:ext>
                </a:extLst>
              </p:cNvPr>
              <p:cNvGrpSpPr/>
              <p:nvPr/>
            </p:nvGrpSpPr>
            <p:grpSpPr>
              <a:xfrm>
                <a:off x="10314401" y="5759860"/>
                <a:ext cx="54608" cy="145746"/>
                <a:chOff x="10314401" y="5759860"/>
                <a:chExt cx="54608" cy="145746"/>
              </a:xfrm>
              <a:grpFill/>
            </p:grpSpPr>
            <p:sp>
              <p:nvSpPr>
                <p:cNvPr id="4091" name="Freeform 5504">
                  <a:extLst>
                    <a:ext uri="{FF2B5EF4-FFF2-40B4-BE49-F238E27FC236}">
                      <a16:creationId xmlns:a16="http://schemas.microsoft.com/office/drawing/2014/main" id="{655F3E44-0752-D740-39B3-D359C71C7B4E}"/>
                    </a:ext>
                  </a:extLst>
                </p:cNvPr>
                <p:cNvSpPr/>
                <p:nvPr/>
              </p:nvSpPr>
              <p:spPr>
                <a:xfrm>
                  <a:off x="10337789" y="5779176"/>
                  <a:ext cx="12704" cy="50570"/>
                </a:xfrm>
                <a:custGeom>
                  <a:avLst/>
                  <a:gdLst>
                    <a:gd name="connsiteX0" fmla="*/ 12704 w 12704"/>
                    <a:gd name="connsiteY0" fmla="*/ 0 h 50570"/>
                    <a:gd name="connsiteX1" fmla="*/ 6476 w 12704"/>
                    <a:gd name="connsiteY1" fmla="*/ 17687 h 50570"/>
                    <a:gd name="connsiteX2" fmla="*/ 5854 w 12704"/>
                    <a:gd name="connsiteY2" fmla="*/ 35125 h 50570"/>
                    <a:gd name="connsiteX3" fmla="*/ 0 w 12704"/>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04" h="50570">
                      <a:moveTo>
                        <a:pt x="12704" y="0"/>
                      </a:moveTo>
                      <a:cubicBezTo>
                        <a:pt x="8470" y="7225"/>
                        <a:pt x="6975" y="13452"/>
                        <a:pt x="6476" y="17687"/>
                      </a:cubicBezTo>
                      <a:cubicBezTo>
                        <a:pt x="5604" y="24663"/>
                        <a:pt x="6975" y="28150"/>
                        <a:pt x="5854" y="35125"/>
                      </a:cubicBezTo>
                      <a:cubicBezTo>
                        <a:pt x="4733"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2" name="Freeform 5505">
                  <a:extLst>
                    <a:ext uri="{FF2B5EF4-FFF2-40B4-BE49-F238E27FC236}">
                      <a16:creationId xmlns:a16="http://schemas.microsoft.com/office/drawing/2014/main" id="{F33B18AD-E4F7-65C9-540D-37995BCCD4EA}"/>
                    </a:ext>
                  </a:extLst>
                </p:cNvPr>
                <p:cNvSpPr/>
                <p:nvPr/>
              </p:nvSpPr>
              <p:spPr>
                <a:xfrm>
                  <a:off x="10346985" y="5775938"/>
                  <a:ext cx="11572" cy="50944"/>
                </a:xfrm>
                <a:custGeom>
                  <a:avLst/>
                  <a:gdLst>
                    <a:gd name="connsiteX0" fmla="*/ 145 w 11572"/>
                    <a:gd name="connsiteY0" fmla="*/ 50944 h 50944"/>
                    <a:gd name="connsiteX1" fmla="*/ 2512 w 11572"/>
                    <a:gd name="connsiteY1" fmla="*/ 32260 h 50944"/>
                    <a:gd name="connsiteX2" fmla="*/ 9736 w 11572"/>
                    <a:gd name="connsiteY2" fmla="*/ 16441 h 50944"/>
                    <a:gd name="connsiteX3" fmla="*/ 11355 w 11572"/>
                    <a:gd name="connsiteY3" fmla="*/ 0 h 50944"/>
                  </a:gdLst>
                  <a:ahLst/>
                  <a:cxnLst>
                    <a:cxn ang="0">
                      <a:pos x="connsiteX0" y="connsiteY0"/>
                    </a:cxn>
                    <a:cxn ang="0">
                      <a:pos x="connsiteX1" y="connsiteY1"/>
                    </a:cxn>
                    <a:cxn ang="0">
                      <a:pos x="connsiteX2" y="connsiteY2"/>
                    </a:cxn>
                    <a:cxn ang="0">
                      <a:pos x="connsiteX3" y="connsiteY3"/>
                    </a:cxn>
                  </a:cxnLst>
                  <a:rect l="l" t="t" r="r" b="b"/>
                  <a:pathLst>
                    <a:path w="11572" h="50944">
                      <a:moveTo>
                        <a:pt x="145" y="50944"/>
                      </a:moveTo>
                      <a:cubicBezTo>
                        <a:pt x="-478" y="42599"/>
                        <a:pt x="1017" y="36371"/>
                        <a:pt x="2512" y="32260"/>
                      </a:cubicBezTo>
                      <a:cubicBezTo>
                        <a:pt x="4878" y="25659"/>
                        <a:pt x="7618" y="23168"/>
                        <a:pt x="9736" y="16441"/>
                      </a:cubicBezTo>
                      <a:cubicBezTo>
                        <a:pt x="11854" y="9840"/>
                        <a:pt x="11729" y="3986"/>
                        <a:pt x="1135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3" name="Freeform 5506">
                  <a:extLst>
                    <a:ext uri="{FF2B5EF4-FFF2-40B4-BE49-F238E27FC236}">
                      <a16:creationId xmlns:a16="http://schemas.microsoft.com/office/drawing/2014/main" id="{221E0A0D-9338-A80E-9BDC-BEDCD5BBD394}"/>
                    </a:ext>
                  </a:extLst>
                </p:cNvPr>
                <p:cNvSpPr/>
                <p:nvPr/>
              </p:nvSpPr>
              <p:spPr>
                <a:xfrm>
                  <a:off x="10342309" y="5759860"/>
                  <a:ext cx="26700" cy="26551"/>
                </a:xfrm>
                <a:custGeom>
                  <a:avLst/>
                  <a:gdLst>
                    <a:gd name="connsiteX0" fmla="*/ 26370 w 26700"/>
                    <a:gd name="connsiteY0" fmla="*/ 16452 h 26551"/>
                    <a:gd name="connsiteX1" fmla="*/ 10302 w 26700"/>
                    <a:gd name="connsiteY1" fmla="*/ 26168 h 26551"/>
                    <a:gd name="connsiteX2" fmla="*/ 337 w 26700"/>
                    <a:gd name="connsiteY2" fmla="*/ 10100 h 26551"/>
                    <a:gd name="connsiteX3" fmla="*/ 16406 w 26700"/>
                    <a:gd name="connsiteY3" fmla="*/ 384 h 26551"/>
                    <a:gd name="connsiteX4" fmla="*/ 26370 w 26700"/>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9" h="26551">
                      <a:moveTo>
                        <a:pt x="26370" y="16452"/>
                      </a:moveTo>
                      <a:cubicBezTo>
                        <a:pt x="24626" y="23552"/>
                        <a:pt x="17526" y="27911"/>
                        <a:pt x="10302" y="26168"/>
                      </a:cubicBezTo>
                      <a:cubicBezTo>
                        <a:pt x="3078" y="24424"/>
                        <a:pt x="-1282" y="17324"/>
                        <a:pt x="337" y="10100"/>
                      </a:cubicBezTo>
                      <a:cubicBezTo>
                        <a:pt x="1956" y="3000"/>
                        <a:pt x="9181" y="-1360"/>
                        <a:pt x="16406" y="384"/>
                      </a:cubicBezTo>
                      <a:cubicBezTo>
                        <a:pt x="23505" y="2128"/>
                        <a:pt x="27989" y="9352"/>
                        <a:pt x="26370"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4" name="Freeform 5507">
                  <a:extLst>
                    <a:ext uri="{FF2B5EF4-FFF2-40B4-BE49-F238E27FC236}">
                      <a16:creationId xmlns:a16="http://schemas.microsoft.com/office/drawing/2014/main" id="{4F11C496-BC92-AB75-DA74-8F29BF009BEC}"/>
                    </a:ext>
                  </a:extLst>
                </p:cNvPr>
                <p:cNvSpPr/>
                <p:nvPr/>
              </p:nvSpPr>
              <p:spPr>
                <a:xfrm>
                  <a:off x="10332681" y="5835726"/>
                  <a:ext cx="12705" cy="50570"/>
                </a:xfrm>
                <a:custGeom>
                  <a:avLst/>
                  <a:gdLst>
                    <a:gd name="connsiteX0" fmla="*/ 0 w 12705"/>
                    <a:gd name="connsiteY0" fmla="*/ 50570 h 50570"/>
                    <a:gd name="connsiteX1" fmla="*/ 6228 w 12705"/>
                    <a:gd name="connsiteY1" fmla="*/ 32883 h 50570"/>
                    <a:gd name="connsiteX2" fmla="*/ 6851 w 12705"/>
                    <a:gd name="connsiteY2" fmla="*/ 15445 h 50570"/>
                    <a:gd name="connsiteX3" fmla="*/ 12705 w 12705"/>
                    <a:gd name="connsiteY3" fmla="*/ 0 h 50570"/>
                  </a:gdLst>
                  <a:ahLst/>
                  <a:cxnLst>
                    <a:cxn ang="0">
                      <a:pos x="connsiteX0" y="connsiteY0"/>
                    </a:cxn>
                    <a:cxn ang="0">
                      <a:pos x="connsiteX1" y="connsiteY1"/>
                    </a:cxn>
                    <a:cxn ang="0">
                      <a:pos x="connsiteX2" y="connsiteY2"/>
                    </a:cxn>
                    <a:cxn ang="0">
                      <a:pos x="connsiteX3" y="connsiteY3"/>
                    </a:cxn>
                  </a:cxnLst>
                  <a:rect l="l" t="t" r="r" b="b"/>
                  <a:pathLst>
                    <a:path w="12705" h="50570">
                      <a:moveTo>
                        <a:pt x="0" y="50570"/>
                      </a:moveTo>
                      <a:cubicBezTo>
                        <a:pt x="4235" y="43346"/>
                        <a:pt x="5730" y="37118"/>
                        <a:pt x="6228" y="32883"/>
                      </a:cubicBezTo>
                      <a:cubicBezTo>
                        <a:pt x="7100" y="25908"/>
                        <a:pt x="5730" y="22420"/>
                        <a:pt x="6851" y="15445"/>
                      </a:cubicBezTo>
                      <a:cubicBezTo>
                        <a:pt x="7972" y="8595"/>
                        <a:pt x="10588" y="3363"/>
                        <a:pt x="127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5" name="Freeform 5508">
                  <a:extLst>
                    <a:ext uri="{FF2B5EF4-FFF2-40B4-BE49-F238E27FC236}">
                      <a16:creationId xmlns:a16="http://schemas.microsoft.com/office/drawing/2014/main" id="{765CDF7B-2C19-B859-0476-1FE88099284D}"/>
                    </a:ext>
                  </a:extLst>
                </p:cNvPr>
                <p:cNvSpPr/>
                <p:nvPr/>
              </p:nvSpPr>
              <p:spPr>
                <a:xfrm>
                  <a:off x="10324643" y="5838591"/>
                  <a:ext cx="11546" cy="50944"/>
                </a:xfrm>
                <a:custGeom>
                  <a:avLst/>
                  <a:gdLst>
                    <a:gd name="connsiteX0" fmla="*/ 11402 w 11546"/>
                    <a:gd name="connsiteY0" fmla="*/ 0 h 50944"/>
                    <a:gd name="connsiteX1" fmla="*/ 9035 w 11546"/>
                    <a:gd name="connsiteY1" fmla="*/ 18684 h 50944"/>
                    <a:gd name="connsiteX2" fmla="*/ 1811 w 11546"/>
                    <a:gd name="connsiteY2" fmla="*/ 34502 h 50944"/>
                    <a:gd name="connsiteX3" fmla="*/ 191 w 11546"/>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546" h="50944">
                      <a:moveTo>
                        <a:pt x="11402" y="0"/>
                      </a:moveTo>
                      <a:cubicBezTo>
                        <a:pt x="12025" y="8345"/>
                        <a:pt x="10530" y="14573"/>
                        <a:pt x="9035" y="18684"/>
                      </a:cubicBezTo>
                      <a:cubicBezTo>
                        <a:pt x="6669" y="25285"/>
                        <a:pt x="3928" y="27776"/>
                        <a:pt x="1811" y="34502"/>
                      </a:cubicBezTo>
                      <a:cubicBezTo>
                        <a:pt x="-182" y="41104"/>
                        <a:pt x="-182" y="46958"/>
                        <a:pt x="19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6" name="Freeform 5509">
                  <a:extLst>
                    <a:ext uri="{FF2B5EF4-FFF2-40B4-BE49-F238E27FC236}">
                      <a16:creationId xmlns:a16="http://schemas.microsoft.com/office/drawing/2014/main" id="{67548AC6-5483-0397-2994-FC05D07EFA16}"/>
                    </a:ext>
                  </a:extLst>
                </p:cNvPr>
                <p:cNvSpPr/>
                <p:nvPr/>
              </p:nvSpPr>
              <p:spPr>
                <a:xfrm>
                  <a:off x="10314401" y="5879069"/>
                  <a:ext cx="26262" cy="26537"/>
                </a:xfrm>
                <a:custGeom>
                  <a:avLst/>
                  <a:gdLst>
                    <a:gd name="connsiteX0" fmla="*/ 344 w 26262"/>
                    <a:gd name="connsiteY0" fmla="*/ 10217 h 26537"/>
                    <a:gd name="connsiteX1" fmla="*/ 16163 w 26262"/>
                    <a:gd name="connsiteY1" fmla="*/ 377 h 26537"/>
                    <a:gd name="connsiteX2" fmla="*/ 25878 w 26262"/>
                    <a:gd name="connsiteY2" fmla="*/ 16320 h 26537"/>
                    <a:gd name="connsiteX3" fmla="*/ 10060 w 26262"/>
                    <a:gd name="connsiteY3" fmla="*/ 26160 h 26537"/>
                    <a:gd name="connsiteX4" fmla="*/ 344 w 26262"/>
                    <a:gd name="connsiteY4" fmla="*/ 10217 h 2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2" h="26537">
                      <a:moveTo>
                        <a:pt x="344" y="10217"/>
                      </a:moveTo>
                      <a:cubicBezTo>
                        <a:pt x="1964" y="3117"/>
                        <a:pt x="9063" y="-1367"/>
                        <a:pt x="16163" y="377"/>
                      </a:cubicBezTo>
                      <a:cubicBezTo>
                        <a:pt x="23263" y="2120"/>
                        <a:pt x="27622" y="9220"/>
                        <a:pt x="25878" y="16320"/>
                      </a:cubicBezTo>
                      <a:cubicBezTo>
                        <a:pt x="24135" y="23420"/>
                        <a:pt x="17160" y="27904"/>
                        <a:pt x="10060" y="26160"/>
                      </a:cubicBezTo>
                      <a:cubicBezTo>
                        <a:pt x="2960" y="24416"/>
                        <a:pt x="-1275" y="17316"/>
                        <a:pt x="344" y="1021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39" name="Graphic 2987">
                <a:extLst>
                  <a:ext uri="{FF2B5EF4-FFF2-40B4-BE49-F238E27FC236}">
                    <a16:creationId xmlns:a16="http://schemas.microsoft.com/office/drawing/2014/main" id="{E97E6B39-4CF0-396B-CE45-467E21718CA6}"/>
                  </a:ext>
                </a:extLst>
              </p:cNvPr>
              <p:cNvGrpSpPr/>
              <p:nvPr/>
            </p:nvGrpSpPr>
            <p:grpSpPr>
              <a:xfrm>
                <a:off x="10342885" y="5766835"/>
                <a:ext cx="55192" cy="145582"/>
                <a:chOff x="10342885" y="5766835"/>
                <a:chExt cx="55192" cy="145582"/>
              </a:xfrm>
              <a:grpFill/>
            </p:grpSpPr>
            <p:sp>
              <p:nvSpPr>
                <p:cNvPr id="4085" name="Freeform 5511">
                  <a:extLst>
                    <a:ext uri="{FF2B5EF4-FFF2-40B4-BE49-F238E27FC236}">
                      <a16:creationId xmlns:a16="http://schemas.microsoft.com/office/drawing/2014/main" id="{FE065330-0DE9-05B1-0B7C-691FF5018CAF}"/>
                    </a:ext>
                  </a:extLst>
                </p:cNvPr>
                <p:cNvSpPr/>
                <p:nvPr/>
              </p:nvSpPr>
              <p:spPr>
                <a:xfrm>
                  <a:off x="10366562" y="5786152"/>
                  <a:ext cx="12953" cy="50570"/>
                </a:xfrm>
                <a:custGeom>
                  <a:avLst/>
                  <a:gdLst>
                    <a:gd name="connsiteX0" fmla="*/ 12954 w 12953"/>
                    <a:gd name="connsiteY0" fmla="*/ 0 h 50570"/>
                    <a:gd name="connsiteX1" fmla="*/ 6601 w 12953"/>
                    <a:gd name="connsiteY1" fmla="*/ 17687 h 50570"/>
                    <a:gd name="connsiteX2" fmla="*/ 5979 w 12953"/>
                    <a:gd name="connsiteY2" fmla="*/ 35125 h 50570"/>
                    <a:gd name="connsiteX3" fmla="*/ 0 w 12953"/>
                    <a:gd name="connsiteY3" fmla="*/ 50571 h 50570"/>
                  </a:gdLst>
                  <a:ahLst/>
                  <a:cxnLst>
                    <a:cxn ang="0">
                      <a:pos x="connsiteX0" y="connsiteY0"/>
                    </a:cxn>
                    <a:cxn ang="0">
                      <a:pos x="connsiteX1" y="connsiteY1"/>
                    </a:cxn>
                    <a:cxn ang="0">
                      <a:pos x="connsiteX2" y="connsiteY2"/>
                    </a:cxn>
                    <a:cxn ang="0">
                      <a:pos x="connsiteX3" y="connsiteY3"/>
                    </a:cxn>
                  </a:cxnLst>
                  <a:rect l="l" t="t" r="r" b="b"/>
                  <a:pathLst>
                    <a:path w="12952" h="50570">
                      <a:moveTo>
                        <a:pt x="12954" y="0"/>
                      </a:moveTo>
                      <a:cubicBezTo>
                        <a:pt x="8595" y="7225"/>
                        <a:pt x="7224" y="13452"/>
                        <a:pt x="6601" y="17687"/>
                      </a:cubicBezTo>
                      <a:cubicBezTo>
                        <a:pt x="5729" y="24663"/>
                        <a:pt x="7100" y="28150"/>
                        <a:pt x="5979" y="35125"/>
                      </a:cubicBezTo>
                      <a:cubicBezTo>
                        <a:pt x="4857" y="41976"/>
                        <a:pt x="2117" y="47207"/>
                        <a:pt x="0" y="5057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6" name="Freeform 5512">
                  <a:extLst>
                    <a:ext uri="{FF2B5EF4-FFF2-40B4-BE49-F238E27FC236}">
                      <a16:creationId xmlns:a16="http://schemas.microsoft.com/office/drawing/2014/main" id="{DFB3AD87-9334-0AB8-2CB5-BD2B0F47D283}"/>
                    </a:ext>
                  </a:extLst>
                </p:cNvPr>
                <p:cNvSpPr/>
                <p:nvPr/>
              </p:nvSpPr>
              <p:spPr>
                <a:xfrm>
                  <a:off x="10375930" y="5782789"/>
                  <a:ext cx="11869" cy="50944"/>
                </a:xfrm>
                <a:custGeom>
                  <a:avLst/>
                  <a:gdLst>
                    <a:gd name="connsiteX0" fmla="*/ 98 w 11869"/>
                    <a:gd name="connsiteY0" fmla="*/ 50944 h 50944"/>
                    <a:gd name="connsiteX1" fmla="*/ 2588 w 11869"/>
                    <a:gd name="connsiteY1" fmla="*/ 32260 h 50944"/>
                    <a:gd name="connsiteX2" fmla="*/ 9938 w 11869"/>
                    <a:gd name="connsiteY2" fmla="*/ 16442 h 50944"/>
                    <a:gd name="connsiteX3" fmla="*/ 11682 w 11869"/>
                    <a:gd name="connsiteY3" fmla="*/ 0 h 50944"/>
                  </a:gdLst>
                  <a:ahLst/>
                  <a:cxnLst>
                    <a:cxn ang="0">
                      <a:pos x="connsiteX0" y="connsiteY0"/>
                    </a:cxn>
                    <a:cxn ang="0">
                      <a:pos x="connsiteX1" y="connsiteY1"/>
                    </a:cxn>
                    <a:cxn ang="0">
                      <a:pos x="connsiteX2" y="connsiteY2"/>
                    </a:cxn>
                    <a:cxn ang="0">
                      <a:pos x="connsiteX3" y="connsiteY3"/>
                    </a:cxn>
                  </a:cxnLst>
                  <a:rect l="l" t="t" r="r" b="b"/>
                  <a:pathLst>
                    <a:path w="11869" h="50944">
                      <a:moveTo>
                        <a:pt x="98" y="50944"/>
                      </a:moveTo>
                      <a:cubicBezTo>
                        <a:pt x="-401" y="42599"/>
                        <a:pt x="1094" y="36371"/>
                        <a:pt x="2588" y="32260"/>
                      </a:cubicBezTo>
                      <a:cubicBezTo>
                        <a:pt x="4955" y="25659"/>
                        <a:pt x="7820" y="23168"/>
                        <a:pt x="9938" y="16442"/>
                      </a:cubicBezTo>
                      <a:cubicBezTo>
                        <a:pt x="12055" y="9840"/>
                        <a:pt x="12055" y="3986"/>
                        <a:pt x="1168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7" name="Freeform 5513">
                  <a:extLst>
                    <a:ext uri="{FF2B5EF4-FFF2-40B4-BE49-F238E27FC236}">
                      <a16:creationId xmlns:a16="http://schemas.microsoft.com/office/drawing/2014/main" id="{AE0B6834-041E-A85C-745D-8D490BCCF8AE}"/>
                    </a:ext>
                  </a:extLst>
                </p:cNvPr>
                <p:cNvSpPr/>
                <p:nvPr/>
              </p:nvSpPr>
              <p:spPr>
                <a:xfrm>
                  <a:off x="10371409" y="5766835"/>
                  <a:ext cx="26668" cy="26551"/>
                </a:xfrm>
                <a:custGeom>
                  <a:avLst/>
                  <a:gdLst>
                    <a:gd name="connsiteX0" fmla="*/ 26292 w 26668"/>
                    <a:gd name="connsiteY0" fmla="*/ 16452 h 26551"/>
                    <a:gd name="connsiteX1" fmla="*/ 10224 w 26668"/>
                    <a:gd name="connsiteY1" fmla="*/ 26168 h 26551"/>
                    <a:gd name="connsiteX2" fmla="*/ 384 w 26668"/>
                    <a:gd name="connsiteY2" fmla="*/ 10100 h 26551"/>
                    <a:gd name="connsiteX3" fmla="*/ 16451 w 26668"/>
                    <a:gd name="connsiteY3" fmla="*/ 384 h 26551"/>
                    <a:gd name="connsiteX4" fmla="*/ 26292 w 26668"/>
                    <a:gd name="connsiteY4" fmla="*/ 16452 h 26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7" h="26551">
                      <a:moveTo>
                        <a:pt x="26292" y="16452"/>
                      </a:moveTo>
                      <a:cubicBezTo>
                        <a:pt x="24548" y="23552"/>
                        <a:pt x="17323" y="27911"/>
                        <a:pt x="10224" y="26168"/>
                      </a:cubicBezTo>
                      <a:cubicBezTo>
                        <a:pt x="3000" y="24424"/>
                        <a:pt x="-1360" y="17324"/>
                        <a:pt x="384" y="10100"/>
                      </a:cubicBezTo>
                      <a:cubicBezTo>
                        <a:pt x="2128" y="3000"/>
                        <a:pt x="9352" y="-1360"/>
                        <a:pt x="16451" y="384"/>
                      </a:cubicBezTo>
                      <a:cubicBezTo>
                        <a:pt x="23551" y="2128"/>
                        <a:pt x="28035" y="9352"/>
                        <a:pt x="26292" y="1645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8" name="Freeform 5514">
                  <a:extLst>
                    <a:ext uri="{FF2B5EF4-FFF2-40B4-BE49-F238E27FC236}">
                      <a16:creationId xmlns:a16="http://schemas.microsoft.com/office/drawing/2014/main" id="{1EDF340B-9AC1-E981-476C-B881C4E976F1}"/>
                    </a:ext>
                  </a:extLst>
                </p:cNvPr>
                <p:cNvSpPr/>
                <p:nvPr/>
              </p:nvSpPr>
              <p:spPr>
                <a:xfrm>
                  <a:off x="10361206" y="5842576"/>
                  <a:ext cx="13078" cy="50570"/>
                </a:xfrm>
                <a:custGeom>
                  <a:avLst/>
                  <a:gdLst>
                    <a:gd name="connsiteX0" fmla="*/ 0 w 13078"/>
                    <a:gd name="connsiteY0" fmla="*/ 50571 h 50570"/>
                    <a:gd name="connsiteX1" fmla="*/ 6352 w 13078"/>
                    <a:gd name="connsiteY1" fmla="*/ 32883 h 50570"/>
                    <a:gd name="connsiteX2" fmla="*/ 7099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1"/>
                      </a:moveTo>
                      <a:cubicBezTo>
                        <a:pt x="4235" y="43346"/>
                        <a:pt x="5729" y="37118"/>
                        <a:pt x="6352" y="32883"/>
                      </a:cubicBezTo>
                      <a:cubicBezTo>
                        <a:pt x="7224" y="25908"/>
                        <a:pt x="5854" y="22545"/>
                        <a:pt x="7099" y="15445"/>
                      </a:cubicBezTo>
                      <a:cubicBezTo>
                        <a:pt x="8220" y="8595"/>
                        <a:pt x="10960"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9" name="Freeform 5515">
                  <a:extLst>
                    <a:ext uri="{FF2B5EF4-FFF2-40B4-BE49-F238E27FC236}">
                      <a16:creationId xmlns:a16="http://schemas.microsoft.com/office/drawing/2014/main" id="{700E8F84-ED6E-BF61-D6BF-42459C131A60}"/>
                    </a:ext>
                  </a:extLst>
                </p:cNvPr>
                <p:cNvSpPr/>
                <p:nvPr/>
              </p:nvSpPr>
              <p:spPr>
                <a:xfrm>
                  <a:off x="10352920" y="5845441"/>
                  <a:ext cx="11870" cy="50944"/>
                </a:xfrm>
                <a:custGeom>
                  <a:avLst/>
                  <a:gdLst>
                    <a:gd name="connsiteX0" fmla="*/ 11772 w 11870"/>
                    <a:gd name="connsiteY0" fmla="*/ 0 h 50944"/>
                    <a:gd name="connsiteX1" fmla="*/ 9281 w 11870"/>
                    <a:gd name="connsiteY1" fmla="*/ 18684 h 50944"/>
                    <a:gd name="connsiteX2" fmla="*/ 1933 w 11870"/>
                    <a:gd name="connsiteY2" fmla="*/ 34502 h 50944"/>
                    <a:gd name="connsiteX3" fmla="*/ 189 w 11870"/>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870" h="50944">
                      <a:moveTo>
                        <a:pt x="11772" y="0"/>
                      </a:moveTo>
                      <a:cubicBezTo>
                        <a:pt x="12270" y="8346"/>
                        <a:pt x="10776" y="14573"/>
                        <a:pt x="9281" y="18684"/>
                      </a:cubicBezTo>
                      <a:cubicBezTo>
                        <a:pt x="6914" y="25285"/>
                        <a:pt x="4175" y="27776"/>
                        <a:pt x="1933" y="34502"/>
                      </a:cubicBezTo>
                      <a:cubicBezTo>
                        <a:pt x="-185" y="41104"/>
                        <a:pt x="-185" y="46958"/>
                        <a:pt x="189"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90" name="Freeform 5516">
                  <a:extLst>
                    <a:ext uri="{FF2B5EF4-FFF2-40B4-BE49-F238E27FC236}">
                      <a16:creationId xmlns:a16="http://schemas.microsoft.com/office/drawing/2014/main" id="{7749DC4A-6377-31CE-224C-5F8D53C5B0CF}"/>
                    </a:ext>
                  </a:extLst>
                </p:cNvPr>
                <p:cNvSpPr/>
                <p:nvPr/>
              </p:nvSpPr>
              <p:spPr>
                <a:xfrm>
                  <a:off x="10342885" y="5885959"/>
                  <a:ext cx="26185" cy="26458"/>
                </a:xfrm>
                <a:custGeom>
                  <a:avLst/>
                  <a:gdLst>
                    <a:gd name="connsiteX0" fmla="*/ 385 w 26185"/>
                    <a:gd name="connsiteY0" fmla="*/ 10178 h 26458"/>
                    <a:gd name="connsiteX1" fmla="*/ 16203 w 26185"/>
                    <a:gd name="connsiteY1" fmla="*/ 337 h 26458"/>
                    <a:gd name="connsiteX2" fmla="*/ 25794 w 26185"/>
                    <a:gd name="connsiteY2" fmla="*/ 16281 h 26458"/>
                    <a:gd name="connsiteX3" fmla="*/ 9975 w 26185"/>
                    <a:gd name="connsiteY3" fmla="*/ 26121 h 26458"/>
                    <a:gd name="connsiteX4" fmla="*/ 385 w 26185"/>
                    <a:gd name="connsiteY4" fmla="*/ 10178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58">
                      <a:moveTo>
                        <a:pt x="385" y="10178"/>
                      </a:moveTo>
                      <a:cubicBezTo>
                        <a:pt x="2128" y="3078"/>
                        <a:pt x="9228" y="-1282"/>
                        <a:pt x="16203" y="337"/>
                      </a:cubicBezTo>
                      <a:cubicBezTo>
                        <a:pt x="23303" y="2081"/>
                        <a:pt x="27538" y="9181"/>
                        <a:pt x="25794" y="16281"/>
                      </a:cubicBezTo>
                      <a:cubicBezTo>
                        <a:pt x="24050" y="23381"/>
                        <a:pt x="16950" y="27740"/>
                        <a:pt x="9975" y="26121"/>
                      </a:cubicBezTo>
                      <a:cubicBezTo>
                        <a:pt x="3000" y="24502"/>
                        <a:pt x="-1359" y="17277"/>
                        <a:pt x="385"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0" name="Graphic 2987">
                <a:extLst>
                  <a:ext uri="{FF2B5EF4-FFF2-40B4-BE49-F238E27FC236}">
                    <a16:creationId xmlns:a16="http://schemas.microsoft.com/office/drawing/2014/main" id="{E0DC6DE2-1C44-D393-5BF0-2209FE55BC08}"/>
                  </a:ext>
                </a:extLst>
              </p:cNvPr>
              <p:cNvGrpSpPr/>
              <p:nvPr/>
            </p:nvGrpSpPr>
            <p:grpSpPr>
              <a:xfrm>
                <a:off x="10371401" y="5773935"/>
                <a:ext cx="55705" cy="145332"/>
                <a:chOff x="10371401" y="5773935"/>
                <a:chExt cx="55705" cy="145332"/>
              </a:xfrm>
              <a:grpFill/>
            </p:grpSpPr>
            <p:sp>
              <p:nvSpPr>
                <p:cNvPr id="4079" name="Freeform 5518">
                  <a:extLst>
                    <a:ext uri="{FF2B5EF4-FFF2-40B4-BE49-F238E27FC236}">
                      <a16:creationId xmlns:a16="http://schemas.microsoft.com/office/drawing/2014/main" id="{4ACA9261-D875-B27C-B4F5-A4A9EC8A203F}"/>
                    </a:ext>
                  </a:extLst>
                </p:cNvPr>
                <p:cNvSpPr/>
                <p:nvPr/>
              </p:nvSpPr>
              <p:spPr>
                <a:xfrm>
                  <a:off x="10395459" y="5793127"/>
                  <a:ext cx="13078" cy="50570"/>
                </a:xfrm>
                <a:custGeom>
                  <a:avLst/>
                  <a:gdLst>
                    <a:gd name="connsiteX0" fmla="*/ 13078 w 13078"/>
                    <a:gd name="connsiteY0" fmla="*/ 0 h 50570"/>
                    <a:gd name="connsiteX1" fmla="*/ 6726 w 13078"/>
                    <a:gd name="connsiteY1" fmla="*/ 17687 h 50570"/>
                    <a:gd name="connsiteX2" fmla="*/ 5979 w 13078"/>
                    <a:gd name="connsiteY2" fmla="*/ 35125 h 50570"/>
                    <a:gd name="connsiteX3" fmla="*/ 0 w 13078"/>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3078" h="50570">
                      <a:moveTo>
                        <a:pt x="13078" y="0"/>
                      </a:moveTo>
                      <a:cubicBezTo>
                        <a:pt x="8718" y="7224"/>
                        <a:pt x="7224" y="13327"/>
                        <a:pt x="6726" y="17687"/>
                      </a:cubicBezTo>
                      <a:cubicBezTo>
                        <a:pt x="5854" y="24662"/>
                        <a:pt x="7224" y="28025"/>
                        <a:pt x="5979" y="35125"/>
                      </a:cubicBezTo>
                      <a:cubicBezTo>
                        <a:pt x="4857" y="41976"/>
                        <a:pt x="2117" y="47207"/>
                        <a:pt x="0"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0" name="Freeform 5519">
                  <a:extLst>
                    <a:ext uri="{FF2B5EF4-FFF2-40B4-BE49-F238E27FC236}">
                      <a16:creationId xmlns:a16="http://schemas.microsoft.com/office/drawing/2014/main" id="{3961BBCB-1E3A-6FEC-B5EE-1C29126DB7E8}"/>
                    </a:ext>
                  </a:extLst>
                </p:cNvPr>
                <p:cNvSpPr/>
                <p:nvPr/>
              </p:nvSpPr>
              <p:spPr>
                <a:xfrm>
                  <a:off x="10404703" y="5789889"/>
                  <a:ext cx="12041" cy="50819"/>
                </a:xfrm>
                <a:custGeom>
                  <a:avLst/>
                  <a:gdLst>
                    <a:gd name="connsiteX0" fmla="*/ 98 w 12041"/>
                    <a:gd name="connsiteY0" fmla="*/ 50819 h 50819"/>
                    <a:gd name="connsiteX1" fmla="*/ 2588 w 12041"/>
                    <a:gd name="connsiteY1" fmla="*/ 32260 h 50819"/>
                    <a:gd name="connsiteX2" fmla="*/ 10062 w 12041"/>
                    <a:gd name="connsiteY2" fmla="*/ 16442 h 50819"/>
                    <a:gd name="connsiteX3" fmla="*/ 11930 w 12041"/>
                    <a:gd name="connsiteY3" fmla="*/ 0 h 50819"/>
                  </a:gdLst>
                  <a:ahLst/>
                  <a:cxnLst>
                    <a:cxn ang="0">
                      <a:pos x="connsiteX0" y="connsiteY0"/>
                    </a:cxn>
                    <a:cxn ang="0">
                      <a:pos x="connsiteX1" y="connsiteY1"/>
                    </a:cxn>
                    <a:cxn ang="0">
                      <a:pos x="connsiteX2" y="connsiteY2"/>
                    </a:cxn>
                    <a:cxn ang="0">
                      <a:pos x="connsiteX3" y="connsiteY3"/>
                    </a:cxn>
                  </a:cxnLst>
                  <a:rect l="l" t="t" r="r" b="b"/>
                  <a:pathLst>
                    <a:path w="12041" h="50818">
                      <a:moveTo>
                        <a:pt x="98" y="50819"/>
                      </a:moveTo>
                      <a:cubicBezTo>
                        <a:pt x="-401" y="42474"/>
                        <a:pt x="1094" y="36246"/>
                        <a:pt x="2588" y="32260"/>
                      </a:cubicBezTo>
                      <a:cubicBezTo>
                        <a:pt x="4955" y="25659"/>
                        <a:pt x="7820" y="23292"/>
                        <a:pt x="10062" y="16442"/>
                      </a:cubicBezTo>
                      <a:cubicBezTo>
                        <a:pt x="12180" y="9840"/>
                        <a:pt x="12180" y="3986"/>
                        <a:pt x="1193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1" name="Freeform 5520">
                  <a:extLst>
                    <a:ext uri="{FF2B5EF4-FFF2-40B4-BE49-F238E27FC236}">
                      <a16:creationId xmlns:a16="http://schemas.microsoft.com/office/drawing/2014/main" id="{E56F2B91-DC2D-D8E4-741E-51B6FD197BB5}"/>
                    </a:ext>
                  </a:extLst>
                </p:cNvPr>
                <p:cNvSpPr/>
                <p:nvPr/>
              </p:nvSpPr>
              <p:spPr>
                <a:xfrm>
                  <a:off x="10400313" y="5773935"/>
                  <a:ext cx="26792" cy="26427"/>
                </a:xfrm>
                <a:custGeom>
                  <a:avLst/>
                  <a:gdLst>
                    <a:gd name="connsiteX0" fmla="*/ 26409 w 26792"/>
                    <a:gd name="connsiteY0" fmla="*/ 16328 h 26427"/>
                    <a:gd name="connsiteX1" fmla="*/ 10217 w 26792"/>
                    <a:gd name="connsiteY1" fmla="*/ 26043 h 26427"/>
                    <a:gd name="connsiteX2" fmla="*/ 377 w 26792"/>
                    <a:gd name="connsiteY2" fmla="*/ 10100 h 26427"/>
                    <a:gd name="connsiteX3" fmla="*/ 16569 w 26792"/>
                    <a:gd name="connsiteY3" fmla="*/ 384 h 26427"/>
                    <a:gd name="connsiteX4" fmla="*/ 26409 w 26792"/>
                    <a:gd name="connsiteY4" fmla="*/ 16328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427">
                      <a:moveTo>
                        <a:pt x="26409" y="16328"/>
                      </a:moveTo>
                      <a:cubicBezTo>
                        <a:pt x="24666" y="23427"/>
                        <a:pt x="17441" y="27787"/>
                        <a:pt x="10217" y="26043"/>
                      </a:cubicBezTo>
                      <a:cubicBezTo>
                        <a:pt x="3117" y="24299"/>
                        <a:pt x="-1367" y="17200"/>
                        <a:pt x="377" y="10100"/>
                      </a:cubicBezTo>
                      <a:cubicBezTo>
                        <a:pt x="2121" y="3000"/>
                        <a:pt x="9345" y="-1360"/>
                        <a:pt x="16569" y="384"/>
                      </a:cubicBezTo>
                      <a:cubicBezTo>
                        <a:pt x="23794" y="2003"/>
                        <a:pt x="28153" y="9228"/>
                        <a:pt x="26409" y="163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2" name="Freeform 5521">
                  <a:extLst>
                    <a:ext uri="{FF2B5EF4-FFF2-40B4-BE49-F238E27FC236}">
                      <a16:creationId xmlns:a16="http://schemas.microsoft.com/office/drawing/2014/main" id="{8950B458-1410-D366-3A7F-E3F03907D34F}"/>
                    </a:ext>
                  </a:extLst>
                </p:cNvPr>
                <p:cNvSpPr/>
                <p:nvPr/>
              </p:nvSpPr>
              <p:spPr>
                <a:xfrm>
                  <a:off x="10389729" y="5849427"/>
                  <a:ext cx="13078" cy="50570"/>
                </a:xfrm>
                <a:custGeom>
                  <a:avLst/>
                  <a:gdLst>
                    <a:gd name="connsiteX0" fmla="*/ 0 w 13078"/>
                    <a:gd name="connsiteY0" fmla="*/ 50570 h 50570"/>
                    <a:gd name="connsiteX1" fmla="*/ 6353 w 13078"/>
                    <a:gd name="connsiteY1" fmla="*/ 32883 h 50570"/>
                    <a:gd name="connsiteX2" fmla="*/ 7100 w 13078"/>
                    <a:gd name="connsiteY2" fmla="*/ 15445 h 50570"/>
                    <a:gd name="connsiteX3" fmla="*/ 13078 w 13078"/>
                    <a:gd name="connsiteY3" fmla="*/ 0 h 50570"/>
                  </a:gdLst>
                  <a:ahLst/>
                  <a:cxnLst>
                    <a:cxn ang="0">
                      <a:pos x="connsiteX0" y="connsiteY0"/>
                    </a:cxn>
                    <a:cxn ang="0">
                      <a:pos x="connsiteX1" y="connsiteY1"/>
                    </a:cxn>
                    <a:cxn ang="0">
                      <a:pos x="connsiteX2" y="connsiteY2"/>
                    </a:cxn>
                    <a:cxn ang="0">
                      <a:pos x="connsiteX3" y="connsiteY3"/>
                    </a:cxn>
                  </a:cxnLst>
                  <a:rect l="l" t="t" r="r" b="b"/>
                  <a:pathLst>
                    <a:path w="13078" h="50570">
                      <a:moveTo>
                        <a:pt x="0" y="50570"/>
                      </a:moveTo>
                      <a:cubicBezTo>
                        <a:pt x="4359" y="43346"/>
                        <a:pt x="5854" y="37118"/>
                        <a:pt x="6353" y="32883"/>
                      </a:cubicBezTo>
                      <a:cubicBezTo>
                        <a:pt x="7225" y="25908"/>
                        <a:pt x="5979" y="22545"/>
                        <a:pt x="7100" y="15445"/>
                      </a:cubicBezTo>
                      <a:cubicBezTo>
                        <a:pt x="8220" y="8595"/>
                        <a:pt x="10961" y="3363"/>
                        <a:pt x="1307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3" name="Freeform 5522">
                  <a:extLst>
                    <a:ext uri="{FF2B5EF4-FFF2-40B4-BE49-F238E27FC236}">
                      <a16:creationId xmlns:a16="http://schemas.microsoft.com/office/drawing/2014/main" id="{00127B1E-FF54-D67E-B4FD-A23D95A3AB47}"/>
                    </a:ext>
                  </a:extLst>
                </p:cNvPr>
                <p:cNvSpPr/>
                <p:nvPr/>
              </p:nvSpPr>
              <p:spPr>
                <a:xfrm>
                  <a:off x="10381646" y="5852416"/>
                  <a:ext cx="11917" cy="50944"/>
                </a:xfrm>
                <a:custGeom>
                  <a:avLst/>
                  <a:gdLst>
                    <a:gd name="connsiteX0" fmla="*/ 11820 w 11917"/>
                    <a:gd name="connsiteY0" fmla="*/ 0 h 50944"/>
                    <a:gd name="connsiteX1" fmla="*/ 9328 w 11917"/>
                    <a:gd name="connsiteY1" fmla="*/ 18684 h 50944"/>
                    <a:gd name="connsiteX2" fmla="*/ 1980 w 11917"/>
                    <a:gd name="connsiteY2" fmla="*/ 34503 h 50944"/>
                    <a:gd name="connsiteX3" fmla="*/ 111 w 11917"/>
                    <a:gd name="connsiteY3" fmla="*/ 50944 h 50944"/>
                  </a:gdLst>
                  <a:ahLst/>
                  <a:cxnLst>
                    <a:cxn ang="0">
                      <a:pos x="connsiteX0" y="connsiteY0"/>
                    </a:cxn>
                    <a:cxn ang="0">
                      <a:pos x="connsiteX1" y="connsiteY1"/>
                    </a:cxn>
                    <a:cxn ang="0">
                      <a:pos x="connsiteX2" y="connsiteY2"/>
                    </a:cxn>
                    <a:cxn ang="0">
                      <a:pos x="connsiteX3" y="connsiteY3"/>
                    </a:cxn>
                  </a:cxnLst>
                  <a:rect l="l" t="t" r="r" b="b"/>
                  <a:pathLst>
                    <a:path w="11917" h="50944">
                      <a:moveTo>
                        <a:pt x="11820" y="0"/>
                      </a:moveTo>
                      <a:cubicBezTo>
                        <a:pt x="12318" y="8346"/>
                        <a:pt x="10823" y="14573"/>
                        <a:pt x="9328" y="18684"/>
                      </a:cubicBezTo>
                      <a:cubicBezTo>
                        <a:pt x="6962" y="25285"/>
                        <a:pt x="4097" y="27776"/>
                        <a:pt x="1980" y="34503"/>
                      </a:cubicBezTo>
                      <a:cubicBezTo>
                        <a:pt x="-138" y="41104"/>
                        <a:pt x="-138" y="46958"/>
                        <a:pt x="111" y="5094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84" name="Freeform 5523">
                  <a:extLst>
                    <a:ext uri="{FF2B5EF4-FFF2-40B4-BE49-F238E27FC236}">
                      <a16:creationId xmlns:a16="http://schemas.microsoft.com/office/drawing/2014/main" id="{93F5D68D-809D-2FE5-7768-2F8A636B3E35}"/>
                    </a:ext>
                  </a:extLst>
                </p:cNvPr>
                <p:cNvSpPr/>
                <p:nvPr/>
              </p:nvSpPr>
              <p:spPr>
                <a:xfrm>
                  <a:off x="10371401" y="5892810"/>
                  <a:ext cx="26317" cy="26458"/>
                </a:xfrm>
                <a:custGeom>
                  <a:avLst/>
                  <a:gdLst>
                    <a:gd name="connsiteX0" fmla="*/ 392 w 26317"/>
                    <a:gd name="connsiteY0" fmla="*/ 10177 h 26458"/>
                    <a:gd name="connsiteX1" fmla="*/ 16335 w 26317"/>
                    <a:gd name="connsiteY1" fmla="*/ 337 h 26458"/>
                    <a:gd name="connsiteX2" fmla="*/ 25926 w 26317"/>
                    <a:gd name="connsiteY2" fmla="*/ 16281 h 26458"/>
                    <a:gd name="connsiteX3" fmla="*/ 9983 w 26317"/>
                    <a:gd name="connsiteY3" fmla="*/ 26121 h 26458"/>
                    <a:gd name="connsiteX4" fmla="*/ 392 w 26317"/>
                    <a:gd name="connsiteY4" fmla="*/ 10177 h 2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7" h="26458">
                      <a:moveTo>
                        <a:pt x="392" y="10177"/>
                      </a:moveTo>
                      <a:cubicBezTo>
                        <a:pt x="2136" y="3078"/>
                        <a:pt x="9236" y="-1282"/>
                        <a:pt x="16335" y="337"/>
                      </a:cubicBezTo>
                      <a:cubicBezTo>
                        <a:pt x="23435" y="2081"/>
                        <a:pt x="27670" y="9181"/>
                        <a:pt x="25926" y="16281"/>
                      </a:cubicBezTo>
                      <a:cubicBezTo>
                        <a:pt x="24182" y="23380"/>
                        <a:pt x="17083" y="27740"/>
                        <a:pt x="9983" y="26121"/>
                      </a:cubicBezTo>
                      <a:cubicBezTo>
                        <a:pt x="2883" y="24501"/>
                        <a:pt x="-1352" y="17277"/>
                        <a:pt x="392" y="101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1" name="Graphic 2987">
                <a:extLst>
                  <a:ext uri="{FF2B5EF4-FFF2-40B4-BE49-F238E27FC236}">
                    <a16:creationId xmlns:a16="http://schemas.microsoft.com/office/drawing/2014/main" id="{A4EFECCE-22FB-5A24-EED1-722A2C579E51}"/>
                  </a:ext>
                </a:extLst>
              </p:cNvPr>
              <p:cNvGrpSpPr/>
              <p:nvPr/>
            </p:nvGrpSpPr>
            <p:grpSpPr>
              <a:xfrm>
                <a:off x="10399800" y="5780910"/>
                <a:ext cx="56329" cy="145138"/>
                <a:chOff x="10399800" y="5780910"/>
                <a:chExt cx="56329" cy="145138"/>
              </a:xfrm>
              <a:grpFill/>
            </p:grpSpPr>
            <p:sp>
              <p:nvSpPr>
                <p:cNvPr id="4073" name="Freeform 5525">
                  <a:extLst>
                    <a:ext uri="{FF2B5EF4-FFF2-40B4-BE49-F238E27FC236}">
                      <a16:creationId xmlns:a16="http://schemas.microsoft.com/office/drawing/2014/main" id="{7FC35E00-0B5C-DC84-049C-99A6FC543131}"/>
                    </a:ext>
                  </a:extLst>
                </p:cNvPr>
                <p:cNvSpPr/>
                <p:nvPr/>
              </p:nvSpPr>
              <p:spPr>
                <a:xfrm>
                  <a:off x="10424107" y="5800102"/>
                  <a:ext cx="13451" cy="50321"/>
                </a:xfrm>
                <a:custGeom>
                  <a:avLst/>
                  <a:gdLst>
                    <a:gd name="connsiteX0" fmla="*/ 13452 w 13451"/>
                    <a:gd name="connsiteY0" fmla="*/ 0 h 50321"/>
                    <a:gd name="connsiteX1" fmla="*/ 6975 w 13451"/>
                    <a:gd name="connsiteY1" fmla="*/ 17687 h 50321"/>
                    <a:gd name="connsiteX2" fmla="*/ 6103 w 13451"/>
                    <a:gd name="connsiteY2" fmla="*/ 35001 h 50321"/>
                    <a:gd name="connsiteX3" fmla="*/ 0 w 13451"/>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451" h="50321">
                      <a:moveTo>
                        <a:pt x="13452" y="0"/>
                      </a:moveTo>
                      <a:cubicBezTo>
                        <a:pt x="9092" y="7224"/>
                        <a:pt x="7598" y="13327"/>
                        <a:pt x="6975" y="17687"/>
                      </a:cubicBezTo>
                      <a:cubicBezTo>
                        <a:pt x="6103" y="24662"/>
                        <a:pt x="7348" y="28025"/>
                        <a:pt x="6103" y="35001"/>
                      </a:cubicBezTo>
                      <a:cubicBezTo>
                        <a:pt x="4858" y="41851"/>
                        <a:pt x="2117" y="47083"/>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4" name="Freeform 5526">
                  <a:extLst>
                    <a:ext uri="{FF2B5EF4-FFF2-40B4-BE49-F238E27FC236}">
                      <a16:creationId xmlns:a16="http://schemas.microsoft.com/office/drawing/2014/main" id="{3E15133A-3C23-6F5A-956F-ABFBC4C4C514}"/>
                    </a:ext>
                  </a:extLst>
                </p:cNvPr>
                <p:cNvSpPr/>
                <p:nvPr/>
              </p:nvSpPr>
              <p:spPr>
                <a:xfrm>
                  <a:off x="10433482" y="5796864"/>
                  <a:ext cx="12213" cy="50819"/>
                </a:xfrm>
                <a:custGeom>
                  <a:avLst/>
                  <a:gdLst>
                    <a:gd name="connsiteX0" fmla="*/ 92 w 12213"/>
                    <a:gd name="connsiteY0" fmla="*/ 50819 h 50819"/>
                    <a:gd name="connsiteX1" fmla="*/ 2707 w 12213"/>
                    <a:gd name="connsiteY1" fmla="*/ 32136 h 50819"/>
                    <a:gd name="connsiteX2" fmla="*/ 10181 w 12213"/>
                    <a:gd name="connsiteY2" fmla="*/ 16442 h 50819"/>
                    <a:gd name="connsiteX3" fmla="*/ 12049 w 12213"/>
                    <a:gd name="connsiteY3" fmla="*/ 0 h 50819"/>
                  </a:gdLst>
                  <a:ahLst/>
                  <a:cxnLst>
                    <a:cxn ang="0">
                      <a:pos x="connsiteX0" y="connsiteY0"/>
                    </a:cxn>
                    <a:cxn ang="0">
                      <a:pos x="connsiteX1" y="connsiteY1"/>
                    </a:cxn>
                    <a:cxn ang="0">
                      <a:pos x="connsiteX2" y="connsiteY2"/>
                    </a:cxn>
                    <a:cxn ang="0">
                      <a:pos x="connsiteX3" y="connsiteY3"/>
                    </a:cxn>
                  </a:cxnLst>
                  <a:rect l="l" t="t" r="r" b="b"/>
                  <a:pathLst>
                    <a:path w="12213" h="50818">
                      <a:moveTo>
                        <a:pt x="92" y="50819"/>
                      </a:moveTo>
                      <a:cubicBezTo>
                        <a:pt x="-407" y="42350"/>
                        <a:pt x="1213" y="36246"/>
                        <a:pt x="2707" y="32136"/>
                      </a:cubicBezTo>
                      <a:cubicBezTo>
                        <a:pt x="5199" y="25534"/>
                        <a:pt x="7939" y="23168"/>
                        <a:pt x="10181" y="16442"/>
                      </a:cubicBezTo>
                      <a:cubicBezTo>
                        <a:pt x="12299" y="9840"/>
                        <a:pt x="12423" y="3986"/>
                        <a:pt x="1204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5" name="Freeform 5527">
                  <a:extLst>
                    <a:ext uri="{FF2B5EF4-FFF2-40B4-BE49-F238E27FC236}">
                      <a16:creationId xmlns:a16="http://schemas.microsoft.com/office/drawing/2014/main" id="{866C4D71-338E-D715-0FAC-8ECD5C8F34AC}"/>
                    </a:ext>
                  </a:extLst>
                </p:cNvPr>
                <p:cNvSpPr/>
                <p:nvPr/>
              </p:nvSpPr>
              <p:spPr>
                <a:xfrm>
                  <a:off x="10429404" y="5780910"/>
                  <a:ext cx="26724" cy="26484"/>
                </a:xfrm>
                <a:custGeom>
                  <a:avLst/>
                  <a:gdLst>
                    <a:gd name="connsiteX0" fmla="*/ 26341 w 26724"/>
                    <a:gd name="connsiteY0" fmla="*/ 16577 h 26484"/>
                    <a:gd name="connsiteX1" fmla="*/ 10148 w 26724"/>
                    <a:gd name="connsiteY1" fmla="*/ 26043 h 26484"/>
                    <a:gd name="connsiteX2" fmla="*/ 432 w 26724"/>
                    <a:gd name="connsiteY2" fmla="*/ 10100 h 26484"/>
                    <a:gd name="connsiteX3" fmla="*/ 16625 w 26724"/>
                    <a:gd name="connsiteY3" fmla="*/ 384 h 26484"/>
                    <a:gd name="connsiteX4" fmla="*/ 26341 w 26724"/>
                    <a:gd name="connsiteY4" fmla="*/ 16577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4" h="26484">
                      <a:moveTo>
                        <a:pt x="26341" y="16577"/>
                      </a:moveTo>
                      <a:cubicBezTo>
                        <a:pt x="24597" y="23676"/>
                        <a:pt x="17248" y="27911"/>
                        <a:pt x="10148" y="26043"/>
                      </a:cubicBezTo>
                      <a:cubicBezTo>
                        <a:pt x="2924" y="24299"/>
                        <a:pt x="-1436" y="17200"/>
                        <a:pt x="432" y="10100"/>
                      </a:cubicBezTo>
                      <a:cubicBezTo>
                        <a:pt x="2176" y="3000"/>
                        <a:pt x="9401" y="-1360"/>
                        <a:pt x="16625" y="384"/>
                      </a:cubicBezTo>
                      <a:cubicBezTo>
                        <a:pt x="23725" y="2252"/>
                        <a:pt x="28085" y="9477"/>
                        <a:pt x="26341" y="1657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6" name="Freeform 5528">
                  <a:extLst>
                    <a:ext uri="{FF2B5EF4-FFF2-40B4-BE49-F238E27FC236}">
                      <a16:creationId xmlns:a16="http://schemas.microsoft.com/office/drawing/2014/main" id="{2E9A0F62-B683-DABA-A93F-9D855689F03E}"/>
                    </a:ext>
                  </a:extLst>
                </p:cNvPr>
                <p:cNvSpPr/>
                <p:nvPr/>
              </p:nvSpPr>
              <p:spPr>
                <a:xfrm>
                  <a:off x="10418128" y="5856402"/>
                  <a:ext cx="13452" cy="50445"/>
                </a:xfrm>
                <a:custGeom>
                  <a:avLst/>
                  <a:gdLst>
                    <a:gd name="connsiteX0" fmla="*/ 0 w 13452"/>
                    <a:gd name="connsiteY0" fmla="*/ 50446 h 50445"/>
                    <a:gd name="connsiteX1" fmla="*/ 6477 w 13452"/>
                    <a:gd name="connsiteY1" fmla="*/ 32759 h 50445"/>
                    <a:gd name="connsiteX2" fmla="*/ 7349 w 13452"/>
                    <a:gd name="connsiteY2" fmla="*/ 15321 h 50445"/>
                    <a:gd name="connsiteX3" fmla="*/ 13452 w 13452"/>
                    <a:gd name="connsiteY3" fmla="*/ 0 h 50445"/>
                  </a:gdLst>
                  <a:ahLst/>
                  <a:cxnLst>
                    <a:cxn ang="0">
                      <a:pos x="connsiteX0" y="connsiteY0"/>
                    </a:cxn>
                    <a:cxn ang="0">
                      <a:pos x="connsiteX1" y="connsiteY1"/>
                    </a:cxn>
                    <a:cxn ang="0">
                      <a:pos x="connsiteX2" y="connsiteY2"/>
                    </a:cxn>
                    <a:cxn ang="0">
                      <a:pos x="connsiteX3" y="connsiteY3"/>
                    </a:cxn>
                  </a:cxnLst>
                  <a:rect l="l" t="t" r="r" b="b"/>
                  <a:pathLst>
                    <a:path w="13451" h="50445">
                      <a:moveTo>
                        <a:pt x="0" y="50446"/>
                      </a:moveTo>
                      <a:cubicBezTo>
                        <a:pt x="4360" y="43222"/>
                        <a:pt x="5855" y="37118"/>
                        <a:pt x="6477" y="32759"/>
                      </a:cubicBezTo>
                      <a:cubicBezTo>
                        <a:pt x="7474" y="25784"/>
                        <a:pt x="6104" y="22296"/>
                        <a:pt x="7349" y="15321"/>
                      </a:cubicBezTo>
                      <a:cubicBezTo>
                        <a:pt x="8595" y="8470"/>
                        <a:pt x="11335" y="3363"/>
                        <a:pt x="134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7" name="Freeform 5529">
                  <a:extLst>
                    <a:ext uri="{FF2B5EF4-FFF2-40B4-BE49-F238E27FC236}">
                      <a16:creationId xmlns:a16="http://schemas.microsoft.com/office/drawing/2014/main" id="{C860763D-3879-350B-B6BB-8ABFDD16E214}"/>
                    </a:ext>
                  </a:extLst>
                </p:cNvPr>
                <p:cNvSpPr/>
                <p:nvPr/>
              </p:nvSpPr>
              <p:spPr>
                <a:xfrm>
                  <a:off x="10410117" y="5859267"/>
                  <a:ext cx="12213" cy="50694"/>
                </a:xfrm>
                <a:custGeom>
                  <a:avLst/>
                  <a:gdLst>
                    <a:gd name="connsiteX0" fmla="*/ 12122 w 12213"/>
                    <a:gd name="connsiteY0" fmla="*/ 0 h 50694"/>
                    <a:gd name="connsiteX1" fmla="*/ 9506 w 12213"/>
                    <a:gd name="connsiteY1" fmla="*/ 18559 h 50694"/>
                    <a:gd name="connsiteX2" fmla="*/ 2032 w 12213"/>
                    <a:gd name="connsiteY2" fmla="*/ 34378 h 50694"/>
                    <a:gd name="connsiteX3" fmla="*/ 165 w 12213"/>
                    <a:gd name="connsiteY3" fmla="*/ 50695 h 50694"/>
                  </a:gdLst>
                  <a:ahLst/>
                  <a:cxnLst>
                    <a:cxn ang="0">
                      <a:pos x="connsiteX0" y="connsiteY0"/>
                    </a:cxn>
                    <a:cxn ang="0">
                      <a:pos x="connsiteX1" y="connsiteY1"/>
                    </a:cxn>
                    <a:cxn ang="0">
                      <a:pos x="connsiteX2" y="connsiteY2"/>
                    </a:cxn>
                    <a:cxn ang="0">
                      <a:pos x="connsiteX3" y="connsiteY3"/>
                    </a:cxn>
                  </a:cxnLst>
                  <a:rect l="l" t="t" r="r" b="b"/>
                  <a:pathLst>
                    <a:path w="12213" h="50694">
                      <a:moveTo>
                        <a:pt x="12122" y="0"/>
                      </a:moveTo>
                      <a:cubicBezTo>
                        <a:pt x="12620" y="8345"/>
                        <a:pt x="11001" y="14573"/>
                        <a:pt x="9506" y="18559"/>
                      </a:cubicBezTo>
                      <a:cubicBezTo>
                        <a:pt x="7015" y="25161"/>
                        <a:pt x="4274" y="27527"/>
                        <a:pt x="2032" y="34378"/>
                      </a:cubicBezTo>
                      <a:cubicBezTo>
                        <a:pt x="-85" y="40979"/>
                        <a:pt x="-210" y="46833"/>
                        <a:pt x="165"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8" name="Freeform 5530">
                  <a:extLst>
                    <a:ext uri="{FF2B5EF4-FFF2-40B4-BE49-F238E27FC236}">
                      <a16:creationId xmlns:a16="http://schemas.microsoft.com/office/drawing/2014/main" id="{882B1356-ED45-181C-A734-2E9D628AB93B}"/>
                    </a:ext>
                  </a:extLst>
                </p:cNvPr>
                <p:cNvSpPr/>
                <p:nvPr/>
              </p:nvSpPr>
              <p:spPr>
                <a:xfrm>
                  <a:off x="10399800" y="5899535"/>
                  <a:ext cx="26194" cy="26512"/>
                </a:xfrm>
                <a:custGeom>
                  <a:avLst/>
                  <a:gdLst>
                    <a:gd name="connsiteX0" fmla="*/ 392 w 26194"/>
                    <a:gd name="connsiteY0" fmla="*/ 10178 h 26512"/>
                    <a:gd name="connsiteX1" fmla="*/ 16336 w 26194"/>
                    <a:gd name="connsiteY1" fmla="*/ 337 h 26512"/>
                    <a:gd name="connsiteX2" fmla="*/ 25802 w 26194"/>
                    <a:gd name="connsiteY2" fmla="*/ 16530 h 26512"/>
                    <a:gd name="connsiteX3" fmla="*/ 9858 w 26194"/>
                    <a:gd name="connsiteY3" fmla="*/ 26121 h 26512"/>
                    <a:gd name="connsiteX4" fmla="*/ 392 w 26194"/>
                    <a:gd name="connsiteY4" fmla="*/ 10178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4" h="26512">
                      <a:moveTo>
                        <a:pt x="392" y="10178"/>
                      </a:moveTo>
                      <a:cubicBezTo>
                        <a:pt x="2136" y="3078"/>
                        <a:pt x="9360" y="-1282"/>
                        <a:pt x="16336" y="337"/>
                      </a:cubicBezTo>
                      <a:cubicBezTo>
                        <a:pt x="23311" y="2206"/>
                        <a:pt x="27546" y="9430"/>
                        <a:pt x="25802" y="16530"/>
                      </a:cubicBezTo>
                      <a:cubicBezTo>
                        <a:pt x="24058" y="23630"/>
                        <a:pt x="16834" y="27865"/>
                        <a:pt x="9858" y="26121"/>
                      </a:cubicBezTo>
                      <a:cubicBezTo>
                        <a:pt x="2883" y="24502"/>
                        <a:pt x="-1351" y="17402"/>
                        <a:pt x="392" y="101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2" name="Graphic 2987">
                <a:extLst>
                  <a:ext uri="{FF2B5EF4-FFF2-40B4-BE49-F238E27FC236}">
                    <a16:creationId xmlns:a16="http://schemas.microsoft.com/office/drawing/2014/main" id="{34DA5089-9965-7540-9644-AF86FC5DE18F}"/>
                  </a:ext>
                </a:extLst>
              </p:cNvPr>
              <p:cNvGrpSpPr/>
              <p:nvPr/>
            </p:nvGrpSpPr>
            <p:grpSpPr>
              <a:xfrm>
                <a:off x="10428191" y="5788451"/>
                <a:ext cx="56884" cy="145120"/>
                <a:chOff x="10428191" y="5788451"/>
                <a:chExt cx="56884" cy="145120"/>
              </a:xfrm>
              <a:grpFill/>
            </p:grpSpPr>
            <p:sp>
              <p:nvSpPr>
                <p:cNvPr id="4067" name="Freeform 5532">
                  <a:extLst>
                    <a:ext uri="{FF2B5EF4-FFF2-40B4-BE49-F238E27FC236}">
                      <a16:creationId xmlns:a16="http://schemas.microsoft.com/office/drawing/2014/main" id="{810CF3D4-B847-3F96-50D9-D00DD9F4AD75}"/>
                    </a:ext>
                  </a:extLst>
                </p:cNvPr>
                <p:cNvSpPr/>
                <p:nvPr/>
              </p:nvSpPr>
              <p:spPr>
                <a:xfrm>
                  <a:off x="10452880" y="5807576"/>
                  <a:ext cx="13576" cy="50321"/>
                </a:xfrm>
                <a:custGeom>
                  <a:avLst/>
                  <a:gdLst>
                    <a:gd name="connsiteX0" fmla="*/ 13576 w 13576"/>
                    <a:gd name="connsiteY0" fmla="*/ 0 h 50321"/>
                    <a:gd name="connsiteX1" fmla="*/ 6975 w 13576"/>
                    <a:gd name="connsiteY1" fmla="*/ 17563 h 50321"/>
                    <a:gd name="connsiteX2" fmla="*/ 6103 w 13576"/>
                    <a:gd name="connsiteY2" fmla="*/ 35001 h 50321"/>
                    <a:gd name="connsiteX3" fmla="*/ 0 w 13576"/>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576" h="50321">
                      <a:moveTo>
                        <a:pt x="13576" y="0"/>
                      </a:moveTo>
                      <a:cubicBezTo>
                        <a:pt x="9217" y="7100"/>
                        <a:pt x="7598" y="13328"/>
                        <a:pt x="6975" y="17563"/>
                      </a:cubicBezTo>
                      <a:cubicBezTo>
                        <a:pt x="5979" y="24538"/>
                        <a:pt x="7348" y="28025"/>
                        <a:pt x="6103" y="35001"/>
                      </a:cubicBezTo>
                      <a:cubicBezTo>
                        <a:pt x="4858" y="41852"/>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8" name="Freeform 5533">
                  <a:extLst>
                    <a:ext uri="{FF2B5EF4-FFF2-40B4-BE49-F238E27FC236}">
                      <a16:creationId xmlns:a16="http://schemas.microsoft.com/office/drawing/2014/main" id="{05910A28-074F-A663-134B-A0909C776570}"/>
                    </a:ext>
                  </a:extLst>
                </p:cNvPr>
                <p:cNvSpPr/>
                <p:nvPr/>
              </p:nvSpPr>
              <p:spPr>
                <a:xfrm>
                  <a:off x="10462167" y="5804462"/>
                  <a:ext cx="12494" cy="50695"/>
                </a:xfrm>
                <a:custGeom>
                  <a:avLst/>
                  <a:gdLst>
                    <a:gd name="connsiteX0" fmla="*/ 55 w 12494"/>
                    <a:gd name="connsiteY0" fmla="*/ 50695 h 50695"/>
                    <a:gd name="connsiteX1" fmla="*/ 2794 w 12494"/>
                    <a:gd name="connsiteY1" fmla="*/ 32136 h 50695"/>
                    <a:gd name="connsiteX2" fmla="*/ 10393 w 12494"/>
                    <a:gd name="connsiteY2" fmla="*/ 16442 h 50695"/>
                    <a:gd name="connsiteX3" fmla="*/ 12386 w 12494"/>
                    <a:gd name="connsiteY3" fmla="*/ 0 h 50695"/>
                  </a:gdLst>
                  <a:ahLst/>
                  <a:cxnLst>
                    <a:cxn ang="0">
                      <a:pos x="connsiteX0" y="connsiteY0"/>
                    </a:cxn>
                    <a:cxn ang="0">
                      <a:pos x="connsiteX1" y="connsiteY1"/>
                    </a:cxn>
                    <a:cxn ang="0">
                      <a:pos x="connsiteX2" y="connsiteY2"/>
                    </a:cxn>
                    <a:cxn ang="0">
                      <a:pos x="connsiteX3" y="connsiteY3"/>
                    </a:cxn>
                  </a:cxnLst>
                  <a:rect l="l" t="t" r="r" b="b"/>
                  <a:pathLst>
                    <a:path w="12494" h="50695">
                      <a:moveTo>
                        <a:pt x="55" y="50695"/>
                      </a:moveTo>
                      <a:cubicBezTo>
                        <a:pt x="-320" y="42225"/>
                        <a:pt x="1300" y="36122"/>
                        <a:pt x="2794" y="32136"/>
                      </a:cubicBezTo>
                      <a:cubicBezTo>
                        <a:pt x="5286" y="25535"/>
                        <a:pt x="8150" y="23168"/>
                        <a:pt x="10393" y="16442"/>
                      </a:cubicBezTo>
                      <a:cubicBezTo>
                        <a:pt x="12635" y="9840"/>
                        <a:pt x="12635" y="3986"/>
                        <a:pt x="1238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9" name="Freeform 5534">
                  <a:extLst>
                    <a:ext uri="{FF2B5EF4-FFF2-40B4-BE49-F238E27FC236}">
                      <a16:creationId xmlns:a16="http://schemas.microsoft.com/office/drawing/2014/main" id="{85BC9BB5-1E7A-20B7-A750-5AF4F9A35087}"/>
                    </a:ext>
                  </a:extLst>
                </p:cNvPr>
                <p:cNvSpPr/>
                <p:nvPr/>
              </p:nvSpPr>
              <p:spPr>
                <a:xfrm>
                  <a:off x="10458426" y="5788451"/>
                  <a:ext cx="26649" cy="26541"/>
                </a:xfrm>
                <a:custGeom>
                  <a:avLst/>
                  <a:gdLst>
                    <a:gd name="connsiteX0" fmla="*/ 26216 w 26649"/>
                    <a:gd name="connsiteY0" fmla="*/ 16634 h 26541"/>
                    <a:gd name="connsiteX1" fmla="*/ 10024 w 26649"/>
                    <a:gd name="connsiteY1" fmla="*/ 26100 h 26541"/>
                    <a:gd name="connsiteX2" fmla="*/ 433 w 26649"/>
                    <a:gd name="connsiteY2" fmla="*/ 9908 h 26541"/>
                    <a:gd name="connsiteX3" fmla="*/ 16625 w 26649"/>
                    <a:gd name="connsiteY3" fmla="*/ 441 h 26541"/>
                    <a:gd name="connsiteX4" fmla="*/ 26216 w 26649"/>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9" h="26541">
                      <a:moveTo>
                        <a:pt x="26216" y="16634"/>
                      </a:moveTo>
                      <a:cubicBezTo>
                        <a:pt x="24348" y="23734"/>
                        <a:pt x="17124" y="27969"/>
                        <a:pt x="10024" y="26100"/>
                      </a:cubicBezTo>
                      <a:cubicBezTo>
                        <a:pt x="2924" y="24232"/>
                        <a:pt x="-1435" y="17008"/>
                        <a:pt x="433" y="9908"/>
                      </a:cubicBezTo>
                      <a:cubicBezTo>
                        <a:pt x="2301" y="2808"/>
                        <a:pt x="9525" y="-1427"/>
                        <a:pt x="16625" y="441"/>
                      </a:cubicBezTo>
                      <a:cubicBezTo>
                        <a:pt x="23725" y="2310"/>
                        <a:pt x="28085" y="9534"/>
                        <a:pt x="26216"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0" name="Freeform 5535">
                  <a:extLst>
                    <a:ext uri="{FF2B5EF4-FFF2-40B4-BE49-F238E27FC236}">
                      <a16:creationId xmlns:a16="http://schemas.microsoft.com/office/drawing/2014/main" id="{B5EB52B0-BBBC-1E08-EF4E-CF9E0AF15326}"/>
                    </a:ext>
                  </a:extLst>
                </p:cNvPr>
                <p:cNvSpPr/>
                <p:nvPr/>
              </p:nvSpPr>
              <p:spPr>
                <a:xfrm>
                  <a:off x="10446527" y="5864000"/>
                  <a:ext cx="13701" cy="50321"/>
                </a:xfrm>
                <a:custGeom>
                  <a:avLst/>
                  <a:gdLst>
                    <a:gd name="connsiteX0" fmla="*/ 0 w 13701"/>
                    <a:gd name="connsiteY0" fmla="*/ 50321 h 50321"/>
                    <a:gd name="connsiteX1" fmla="*/ 6601 w 13701"/>
                    <a:gd name="connsiteY1" fmla="*/ 32759 h 50321"/>
                    <a:gd name="connsiteX2" fmla="*/ 7598 w 13701"/>
                    <a:gd name="connsiteY2" fmla="*/ 15321 h 50321"/>
                    <a:gd name="connsiteX3" fmla="*/ 13701 w 13701"/>
                    <a:gd name="connsiteY3" fmla="*/ 0 h 50321"/>
                  </a:gdLst>
                  <a:ahLst/>
                  <a:cxnLst>
                    <a:cxn ang="0">
                      <a:pos x="connsiteX0" y="connsiteY0"/>
                    </a:cxn>
                    <a:cxn ang="0">
                      <a:pos x="connsiteX1" y="connsiteY1"/>
                    </a:cxn>
                    <a:cxn ang="0">
                      <a:pos x="connsiteX2" y="connsiteY2"/>
                    </a:cxn>
                    <a:cxn ang="0">
                      <a:pos x="connsiteX3" y="connsiteY3"/>
                    </a:cxn>
                  </a:cxnLst>
                  <a:rect l="l" t="t" r="r" b="b"/>
                  <a:pathLst>
                    <a:path w="13701" h="50321">
                      <a:moveTo>
                        <a:pt x="0" y="50321"/>
                      </a:moveTo>
                      <a:cubicBezTo>
                        <a:pt x="4359" y="43097"/>
                        <a:pt x="5979" y="36994"/>
                        <a:pt x="6601" y="32759"/>
                      </a:cubicBezTo>
                      <a:cubicBezTo>
                        <a:pt x="7598" y="25784"/>
                        <a:pt x="6353" y="22296"/>
                        <a:pt x="7598" y="15321"/>
                      </a:cubicBezTo>
                      <a:cubicBezTo>
                        <a:pt x="8844" y="8470"/>
                        <a:pt x="11584" y="3363"/>
                        <a:pt x="1370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1" name="Freeform 5536">
                  <a:extLst>
                    <a:ext uri="{FF2B5EF4-FFF2-40B4-BE49-F238E27FC236}">
                      <a16:creationId xmlns:a16="http://schemas.microsoft.com/office/drawing/2014/main" id="{BF9E5844-7F80-3A83-A373-ADAEB0978394}"/>
                    </a:ext>
                  </a:extLst>
                </p:cNvPr>
                <p:cNvSpPr/>
                <p:nvPr/>
              </p:nvSpPr>
              <p:spPr>
                <a:xfrm>
                  <a:off x="10438463" y="5866740"/>
                  <a:ext cx="12354" cy="50695"/>
                </a:xfrm>
                <a:custGeom>
                  <a:avLst/>
                  <a:gdLst>
                    <a:gd name="connsiteX0" fmla="*/ 12300 w 12354"/>
                    <a:gd name="connsiteY0" fmla="*/ 0 h 50695"/>
                    <a:gd name="connsiteX1" fmla="*/ 9559 w 12354"/>
                    <a:gd name="connsiteY1" fmla="*/ 18559 h 50695"/>
                    <a:gd name="connsiteX2" fmla="*/ 2086 w 12354"/>
                    <a:gd name="connsiteY2" fmla="*/ 34253 h 50695"/>
                    <a:gd name="connsiteX3" fmla="*/ 93 w 12354"/>
                    <a:gd name="connsiteY3" fmla="*/ 50695 h 50695"/>
                  </a:gdLst>
                  <a:ahLst/>
                  <a:cxnLst>
                    <a:cxn ang="0">
                      <a:pos x="connsiteX0" y="connsiteY0"/>
                    </a:cxn>
                    <a:cxn ang="0">
                      <a:pos x="connsiteX1" y="connsiteY1"/>
                    </a:cxn>
                    <a:cxn ang="0">
                      <a:pos x="connsiteX2" y="connsiteY2"/>
                    </a:cxn>
                    <a:cxn ang="0">
                      <a:pos x="connsiteX3" y="connsiteY3"/>
                    </a:cxn>
                  </a:cxnLst>
                  <a:rect l="l" t="t" r="r" b="b"/>
                  <a:pathLst>
                    <a:path w="12354" h="50695">
                      <a:moveTo>
                        <a:pt x="12300" y="0"/>
                      </a:moveTo>
                      <a:cubicBezTo>
                        <a:pt x="12673" y="8470"/>
                        <a:pt x="11054" y="14573"/>
                        <a:pt x="9559" y="18559"/>
                      </a:cubicBezTo>
                      <a:cubicBezTo>
                        <a:pt x="7068" y="25161"/>
                        <a:pt x="4328" y="27528"/>
                        <a:pt x="2086" y="34253"/>
                      </a:cubicBezTo>
                      <a:cubicBezTo>
                        <a:pt x="-32" y="40855"/>
                        <a:pt x="-156" y="46709"/>
                        <a:pt x="93" y="5069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72" name="Freeform 5537">
                  <a:extLst>
                    <a:ext uri="{FF2B5EF4-FFF2-40B4-BE49-F238E27FC236}">
                      <a16:creationId xmlns:a16="http://schemas.microsoft.com/office/drawing/2014/main" id="{0287CC3F-B237-A828-58C7-6F4ED11EE5AC}"/>
                    </a:ext>
                  </a:extLst>
                </p:cNvPr>
                <p:cNvSpPr/>
                <p:nvPr/>
              </p:nvSpPr>
              <p:spPr>
                <a:xfrm>
                  <a:off x="10428191" y="5907030"/>
                  <a:ext cx="26127" cy="26541"/>
                </a:xfrm>
                <a:custGeom>
                  <a:avLst/>
                  <a:gdLst>
                    <a:gd name="connsiteX0" fmla="*/ 400 w 26127"/>
                    <a:gd name="connsiteY0" fmla="*/ 9907 h 26541"/>
                    <a:gd name="connsiteX1" fmla="*/ 16344 w 26127"/>
                    <a:gd name="connsiteY1" fmla="*/ 441 h 26541"/>
                    <a:gd name="connsiteX2" fmla="*/ 25686 w 26127"/>
                    <a:gd name="connsiteY2" fmla="*/ 16634 h 26541"/>
                    <a:gd name="connsiteX3" fmla="*/ 9742 w 26127"/>
                    <a:gd name="connsiteY3" fmla="*/ 26100 h 26541"/>
                    <a:gd name="connsiteX4" fmla="*/ 400 w 26127"/>
                    <a:gd name="connsiteY4" fmla="*/ 9907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7" h="26541">
                      <a:moveTo>
                        <a:pt x="400" y="9907"/>
                      </a:moveTo>
                      <a:cubicBezTo>
                        <a:pt x="2144" y="2808"/>
                        <a:pt x="9368" y="-1427"/>
                        <a:pt x="16344" y="441"/>
                      </a:cubicBezTo>
                      <a:cubicBezTo>
                        <a:pt x="23319" y="2310"/>
                        <a:pt x="27554" y="9534"/>
                        <a:pt x="25686" y="16634"/>
                      </a:cubicBezTo>
                      <a:cubicBezTo>
                        <a:pt x="23817" y="23734"/>
                        <a:pt x="16717" y="27968"/>
                        <a:pt x="9742" y="26100"/>
                      </a:cubicBezTo>
                      <a:cubicBezTo>
                        <a:pt x="2767" y="24232"/>
                        <a:pt x="-1344" y="17007"/>
                        <a:pt x="400" y="990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3" name="Graphic 2987">
                <a:extLst>
                  <a:ext uri="{FF2B5EF4-FFF2-40B4-BE49-F238E27FC236}">
                    <a16:creationId xmlns:a16="http://schemas.microsoft.com/office/drawing/2014/main" id="{7DCB5C88-5658-EBFD-2950-EA1AEBAE9AF7}"/>
                  </a:ext>
                </a:extLst>
              </p:cNvPr>
              <p:cNvGrpSpPr/>
              <p:nvPr/>
            </p:nvGrpSpPr>
            <p:grpSpPr>
              <a:xfrm>
                <a:off x="10456549" y="5796049"/>
                <a:ext cx="57431" cy="144995"/>
                <a:chOff x="10456549" y="5796049"/>
                <a:chExt cx="57431" cy="144995"/>
              </a:xfrm>
              <a:grpFill/>
            </p:grpSpPr>
            <p:sp>
              <p:nvSpPr>
                <p:cNvPr id="4061" name="Freeform 5539">
                  <a:extLst>
                    <a:ext uri="{FF2B5EF4-FFF2-40B4-BE49-F238E27FC236}">
                      <a16:creationId xmlns:a16="http://schemas.microsoft.com/office/drawing/2014/main" id="{994DB4AC-4769-FC37-8A53-392874E9F3AD}"/>
                    </a:ext>
                  </a:extLst>
                </p:cNvPr>
                <p:cNvSpPr/>
                <p:nvPr/>
              </p:nvSpPr>
              <p:spPr>
                <a:xfrm>
                  <a:off x="10481528" y="5815174"/>
                  <a:ext cx="13825" cy="50321"/>
                </a:xfrm>
                <a:custGeom>
                  <a:avLst/>
                  <a:gdLst>
                    <a:gd name="connsiteX0" fmla="*/ 13826 w 13825"/>
                    <a:gd name="connsiteY0" fmla="*/ 0 h 50321"/>
                    <a:gd name="connsiteX1" fmla="*/ 7225 w 13825"/>
                    <a:gd name="connsiteY1" fmla="*/ 17563 h 50321"/>
                    <a:gd name="connsiteX2" fmla="*/ 6228 w 13825"/>
                    <a:gd name="connsiteY2" fmla="*/ 35001 h 50321"/>
                    <a:gd name="connsiteX3" fmla="*/ 0 w 13825"/>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25" h="50321">
                      <a:moveTo>
                        <a:pt x="13826" y="0"/>
                      </a:moveTo>
                      <a:cubicBezTo>
                        <a:pt x="9342" y="7100"/>
                        <a:pt x="7847" y="13328"/>
                        <a:pt x="7225" y="17563"/>
                      </a:cubicBezTo>
                      <a:cubicBezTo>
                        <a:pt x="6228" y="24538"/>
                        <a:pt x="7473" y="28025"/>
                        <a:pt x="6228" y="35001"/>
                      </a:cubicBezTo>
                      <a:cubicBezTo>
                        <a:pt x="4983" y="41851"/>
                        <a:pt x="2117" y="46958"/>
                        <a:pt x="0"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2" name="Freeform 5540">
                  <a:extLst>
                    <a:ext uri="{FF2B5EF4-FFF2-40B4-BE49-F238E27FC236}">
                      <a16:creationId xmlns:a16="http://schemas.microsoft.com/office/drawing/2014/main" id="{613C48A4-61DA-582D-B178-AE4C610E1431}"/>
                    </a:ext>
                  </a:extLst>
                </p:cNvPr>
                <p:cNvSpPr/>
                <p:nvPr/>
              </p:nvSpPr>
              <p:spPr>
                <a:xfrm>
                  <a:off x="10490815" y="5812184"/>
                  <a:ext cx="12672" cy="50570"/>
                </a:xfrm>
                <a:custGeom>
                  <a:avLst/>
                  <a:gdLst>
                    <a:gd name="connsiteX0" fmla="*/ 54 w 12672"/>
                    <a:gd name="connsiteY0" fmla="*/ 50570 h 50570"/>
                    <a:gd name="connsiteX1" fmla="*/ 2919 w 12672"/>
                    <a:gd name="connsiteY1" fmla="*/ 32011 h 50570"/>
                    <a:gd name="connsiteX2" fmla="*/ 10518 w 12672"/>
                    <a:gd name="connsiteY2" fmla="*/ 16317 h 50570"/>
                    <a:gd name="connsiteX3" fmla="*/ 12510 w 12672"/>
                    <a:gd name="connsiteY3" fmla="*/ 0 h 50570"/>
                  </a:gdLst>
                  <a:ahLst/>
                  <a:cxnLst>
                    <a:cxn ang="0">
                      <a:pos x="connsiteX0" y="connsiteY0"/>
                    </a:cxn>
                    <a:cxn ang="0">
                      <a:pos x="connsiteX1" y="connsiteY1"/>
                    </a:cxn>
                    <a:cxn ang="0">
                      <a:pos x="connsiteX2" y="connsiteY2"/>
                    </a:cxn>
                    <a:cxn ang="0">
                      <a:pos x="connsiteX3" y="connsiteY3"/>
                    </a:cxn>
                  </a:cxnLst>
                  <a:rect l="l" t="t" r="r" b="b"/>
                  <a:pathLst>
                    <a:path w="12672" h="50570">
                      <a:moveTo>
                        <a:pt x="54" y="50570"/>
                      </a:moveTo>
                      <a:cubicBezTo>
                        <a:pt x="-320" y="42225"/>
                        <a:pt x="1300" y="35997"/>
                        <a:pt x="2919" y="32011"/>
                      </a:cubicBezTo>
                      <a:cubicBezTo>
                        <a:pt x="5410" y="25534"/>
                        <a:pt x="8275" y="23043"/>
                        <a:pt x="10518" y="16317"/>
                      </a:cubicBezTo>
                      <a:cubicBezTo>
                        <a:pt x="12760" y="9840"/>
                        <a:pt x="12884" y="3861"/>
                        <a:pt x="1251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3" name="Freeform 5541">
                  <a:extLst>
                    <a:ext uri="{FF2B5EF4-FFF2-40B4-BE49-F238E27FC236}">
                      <a16:creationId xmlns:a16="http://schemas.microsoft.com/office/drawing/2014/main" id="{2D691F0E-D17D-CB1F-6ECA-0FA588670190}"/>
                    </a:ext>
                  </a:extLst>
                </p:cNvPr>
                <p:cNvSpPr/>
                <p:nvPr/>
              </p:nvSpPr>
              <p:spPr>
                <a:xfrm>
                  <a:off x="10487198" y="5796049"/>
                  <a:ext cx="26781" cy="26541"/>
                </a:xfrm>
                <a:custGeom>
                  <a:avLst/>
                  <a:gdLst>
                    <a:gd name="connsiteX0" fmla="*/ 26341 w 26781"/>
                    <a:gd name="connsiteY0" fmla="*/ 16634 h 26541"/>
                    <a:gd name="connsiteX1" fmla="*/ 10024 w 26781"/>
                    <a:gd name="connsiteY1" fmla="*/ 26100 h 26541"/>
                    <a:gd name="connsiteX2" fmla="*/ 433 w 26781"/>
                    <a:gd name="connsiteY2" fmla="*/ 9908 h 26541"/>
                    <a:gd name="connsiteX3" fmla="*/ 16750 w 26781"/>
                    <a:gd name="connsiteY3" fmla="*/ 441 h 26541"/>
                    <a:gd name="connsiteX4" fmla="*/ 26341 w 26781"/>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1" h="26541">
                      <a:moveTo>
                        <a:pt x="26341" y="16634"/>
                      </a:moveTo>
                      <a:cubicBezTo>
                        <a:pt x="24472" y="23734"/>
                        <a:pt x="17124" y="27968"/>
                        <a:pt x="10024" y="26100"/>
                      </a:cubicBezTo>
                      <a:cubicBezTo>
                        <a:pt x="2924" y="24232"/>
                        <a:pt x="-1435" y="17007"/>
                        <a:pt x="433" y="9908"/>
                      </a:cubicBezTo>
                      <a:cubicBezTo>
                        <a:pt x="2301" y="2808"/>
                        <a:pt x="9525" y="-1427"/>
                        <a:pt x="16750" y="441"/>
                      </a:cubicBezTo>
                      <a:cubicBezTo>
                        <a:pt x="23974" y="2310"/>
                        <a:pt x="28209" y="9534"/>
                        <a:pt x="26341"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4" name="Freeform 5542">
                  <a:extLst>
                    <a:ext uri="{FF2B5EF4-FFF2-40B4-BE49-F238E27FC236}">
                      <a16:creationId xmlns:a16="http://schemas.microsoft.com/office/drawing/2014/main" id="{E7986207-F383-A269-4E48-2DD382A56843}"/>
                    </a:ext>
                  </a:extLst>
                </p:cNvPr>
                <p:cNvSpPr/>
                <p:nvPr/>
              </p:nvSpPr>
              <p:spPr>
                <a:xfrm>
                  <a:off x="10474926" y="5871474"/>
                  <a:ext cx="13826" cy="50321"/>
                </a:xfrm>
                <a:custGeom>
                  <a:avLst/>
                  <a:gdLst>
                    <a:gd name="connsiteX0" fmla="*/ 0 w 13826"/>
                    <a:gd name="connsiteY0" fmla="*/ 50321 h 50321"/>
                    <a:gd name="connsiteX1" fmla="*/ 6602 w 13826"/>
                    <a:gd name="connsiteY1" fmla="*/ 32759 h 50321"/>
                    <a:gd name="connsiteX2" fmla="*/ 7599 w 13826"/>
                    <a:gd name="connsiteY2" fmla="*/ 15321 h 50321"/>
                    <a:gd name="connsiteX3" fmla="*/ 13826 w 13826"/>
                    <a:gd name="connsiteY3" fmla="*/ 0 h 50321"/>
                  </a:gdLst>
                  <a:ahLst/>
                  <a:cxnLst>
                    <a:cxn ang="0">
                      <a:pos x="connsiteX0" y="connsiteY0"/>
                    </a:cxn>
                    <a:cxn ang="0">
                      <a:pos x="connsiteX1" y="connsiteY1"/>
                    </a:cxn>
                    <a:cxn ang="0">
                      <a:pos x="connsiteX2" y="connsiteY2"/>
                    </a:cxn>
                    <a:cxn ang="0">
                      <a:pos x="connsiteX3" y="connsiteY3"/>
                    </a:cxn>
                  </a:cxnLst>
                  <a:rect l="l" t="t" r="r" b="b"/>
                  <a:pathLst>
                    <a:path w="13826" h="50321">
                      <a:moveTo>
                        <a:pt x="0" y="50321"/>
                      </a:moveTo>
                      <a:cubicBezTo>
                        <a:pt x="4360" y="43222"/>
                        <a:pt x="5979" y="36994"/>
                        <a:pt x="6602" y="32759"/>
                      </a:cubicBezTo>
                      <a:cubicBezTo>
                        <a:pt x="7599" y="25784"/>
                        <a:pt x="6353" y="22296"/>
                        <a:pt x="7599" y="15321"/>
                      </a:cubicBezTo>
                      <a:cubicBezTo>
                        <a:pt x="8844" y="8595"/>
                        <a:pt x="11708" y="3363"/>
                        <a:pt x="1382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5" name="Freeform 5543">
                  <a:extLst>
                    <a:ext uri="{FF2B5EF4-FFF2-40B4-BE49-F238E27FC236}">
                      <a16:creationId xmlns:a16="http://schemas.microsoft.com/office/drawing/2014/main" id="{5797AC5A-0888-3514-130A-9FC000BFD592}"/>
                    </a:ext>
                  </a:extLst>
                </p:cNvPr>
                <p:cNvSpPr/>
                <p:nvPr/>
              </p:nvSpPr>
              <p:spPr>
                <a:xfrm>
                  <a:off x="10466739" y="5874214"/>
                  <a:ext cx="12726" cy="50570"/>
                </a:xfrm>
                <a:custGeom>
                  <a:avLst/>
                  <a:gdLst>
                    <a:gd name="connsiteX0" fmla="*/ 12672 w 12726"/>
                    <a:gd name="connsiteY0" fmla="*/ 0 h 50570"/>
                    <a:gd name="connsiteX1" fmla="*/ 9807 w 12726"/>
                    <a:gd name="connsiteY1" fmla="*/ 18559 h 50570"/>
                    <a:gd name="connsiteX2" fmla="*/ 2209 w 12726"/>
                    <a:gd name="connsiteY2" fmla="*/ 34253 h 50570"/>
                    <a:gd name="connsiteX3" fmla="*/ 92 w 12726"/>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725" h="50570">
                      <a:moveTo>
                        <a:pt x="12672" y="0"/>
                      </a:moveTo>
                      <a:cubicBezTo>
                        <a:pt x="13045" y="8470"/>
                        <a:pt x="11426" y="14573"/>
                        <a:pt x="9807" y="18559"/>
                      </a:cubicBezTo>
                      <a:cubicBezTo>
                        <a:pt x="7316" y="25036"/>
                        <a:pt x="4451" y="27527"/>
                        <a:pt x="2209" y="34253"/>
                      </a:cubicBezTo>
                      <a:cubicBezTo>
                        <a:pt x="-33" y="40855"/>
                        <a:pt x="-158" y="46709"/>
                        <a:pt x="92"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6" name="Freeform 5544">
                  <a:extLst>
                    <a:ext uri="{FF2B5EF4-FFF2-40B4-BE49-F238E27FC236}">
                      <a16:creationId xmlns:a16="http://schemas.microsoft.com/office/drawing/2014/main" id="{9B704B8E-A8EA-8A29-5A48-78E2962E6FEF}"/>
                    </a:ext>
                  </a:extLst>
                </p:cNvPr>
                <p:cNvSpPr/>
                <p:nvPr/>
              </p:nvSpPr>
              <p:spPr>
                <a:xfrm>
                  <a:off x="10456549" y="5914503"/>
                  <a:ext cx="26293" cy="26541"/>
                </a:xfrm>
                <a:custGeom>
                  <a:avLst/>
                  <a:gdLst>
                    <a:gd name="connsiteX0" fmla="*/ 442 w 26293"/>
                    <a:gd name="connsiteY0" fmla="*/ 9908 h 26541"/>
                    <a:gd name="connsiteX1" fmla="*/ 16510 w 26293"/>
                    <a:gd name="connsiteY1" fmla="*/ 441 h 26541"/>
                    <a:gd name="connsiteX2" fmla="*/ 25851 w 26293"/>
                    <a:gd name="connsiteY2" fmla="*/ 16634 h 26541"/>
                    <a:gd name="connsiteX3" fmla="*/ 9784 w 26293"/>
                    <a:gd name="connsiteY3" fmla="*/ 26100 h 26541"/>
                    <a:gd name="connsiteX4" fmla="*/ 442 w 26293"/>
                    <a:gd name="connsiteY4" fmla="*/ 9908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3" h="26541">
                      <a:moveTo>
                        <a:pt x="442" y="9908"/>
                      </a:moveTo>
                      <a:cubicBezTo>
                        <a:pt x="2310" y="2808"/>
                        <a:pt x="9410" y="-1427"/>
                        <a:pt x="16510" y="441"/>
                      </a:cubicBezTo>
                      <a:cubicBezTo>
                        <a:pt x="23485" y="2310"/>
                        <a:pt x="27719" y="9534"/>
                        <a:pt x="25851" y="16634"/>
                      </a:cubicBezTo>
                      <a:cubicBezTo>
                        <a:pt x="23983" y="23734"/>
                        <a:pt x="16759" y="27969"/>
                        <a:pt x="9784" y="26100"/>
                      </a:cubicBezTo>
                      <a:cubicBezTo>
                        <a:pt x="2808" y="24232"/>
                        <a:pt x="-1427" y="16883"/>
                        <a:pt x="442"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4" name="Graphic 2987">
                <a:extLst>
                  <a:ext uri="{FF2B5EF4-FFF2-40B4-BE49-F238E27FC236}">
                    <a16:creationId xmlns:a16="http://schemas.microsoft.com/office/drawing/2014/main" id="{4A95BC12-50A5-A5A9-C1E6-459773F40566}"/>
                  </a:ext>
                </a:extLst>
              </p:cNvPr>
              <p:cNvGrpSpPr/>
              <p:nvPr/>
            </p:nvGrpSpPr>
            <p:grpSpPr>
              <a:xfrm>
                <a:off x="10484814" y="5803647"/>
                <a:ext cx="58188" cy="144622"/>
                <a:chOff x="10484814" y="5803647"/>
                <a:chExt cx="58188" cy="144622"/>
              </a:xfrm>
              <a:grpFill/>
            </p:grpSpPr>
            <p:sp>
              <p:nvSpPr>
                <p:cNvPr id="4055" name="Freeform 5546">
                  <a:extLst>
                    <a:ext uri="{FF2B5EF4-FFF2-40B4-BE49-F238E27FC236}">
                      <a16:creationId xmlns:a16="http://schemas.microsoft.com/office/drawing/2014/main" id="{D2C9B2B5-52C7-9E70-27B7-5C07C7B90D47}"/>
                    </a:ext>
                  </a:extLst>
                </p:cNvPr>
                <p:cNvSpPr/>
                <p:nvPr/>
              </p:nvSpPr>
              <p:spPr>
                <a:xfrm>
                  <a:off x="10510051" y="5822772"/>
                  <a:ext cx="14199" cy="50196"/>
                </a:xfrm>
                <a:custGeom>
                  <a:avLst/>
                  <a:gdLst>
                    <a:gd name="connsiteX0" fmla="*/ 14200 w 14199"/>
                    <a:gd name="connsiteY0" fmla="*/ 0 h 50196"/>
                    <a:gd name="connsiteX1" fmla="*/ 7474 w 14199"/>
                    <a:gd name="connsiteY1" fmla="*/ 17563 h 50196"/>
                    <a:gd name="connsiteX2" fmla="*/ 6353 w 14199"/>
                    <a:gd name="connsiteY2" fmla="*/ 34876 h 50196"/>
                    <a:gd name="connsiteX3" fmla="*/ 0 w 14199"/>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99" h="50196">
                      <a:moveTo>
                        <a:pt x="14200" y="0"/>
                      </a:moveTo>
                      <a:cubicBezTo>
                        <a:pt x="9716" y="7100"/>
                        <a:pt x="8097" y="13328"/>
                        <a:pt x="7474" y="17563"/>
                      </a:cubicBezTo>
                      <a:cubicBezTo>
                        <a:pt x="6477" y="24538"/>
                        <a:pt x="7723" y="28025"/>
                        <a:pt x="6353" y="34876"/>
                      </a:cubicBezTo>
                      <a:cubicBezTo>
                        <a:pt x="5107" y="41602"/>
                        <a:pt x="2242" y="46834"/>
                        <a:pt x="0"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6" name="Freeform 5547">
                  <a:extLst>
                    <a:ext uri="{FF2B5EF4-FFF2-40B4-BE49-F238E27FC236}">
                      <a16:creationId xmlns:a16="http://schemas.microsoft.com/office/drawing/2014/main" id="{DBD113DB-18BB-4C14-BE47-E538D9657784}"/>
                    </a:ext>
                  </a:extLst>
                </p:cNvPr>
                <p:cNvSpPr/>
                <p:nvPr/>
              </p:nvSpPr>
              <p:spPr>
                <a:xfrm>
                  <a:off x="10519467" y="5819782"/>
                  <a:ext cx="12847" cy="50445"/>
                </a:xfrm>
                <a:custGeom>
                  <a:avLst/>
                  <a:gdLst>
                    <a:gd name="connsiteX0" fmla="*/ 51 w 12847"/>
                    <a:gd name="connsiteY0" fmla="*/ 50446 h 50445"/>
                    <a:gd name="connsiteX1" fmla="*/ 2916 w 12847"/>
                    <a:gd name="connsiteY1" fmla="*/ 31887 h 50445"/>
                    <a:gd name="connsiteX2" fmla="*/ 10639 w 12847"/>
                    <a:gd name="connsiteY2" fmla="*/ 16317 h 50445"/>
                    <a:gd name="connsiteX3" fmla="*/ 12756 w 12847"/>
                    <a:gd name="connsiteY3" fmla="*/ 0 h 50445"/>
                  </a:gdLst>
                  <a:ahLst/>
                  <a:cxnLst>
                    <a:cxn ang="0">
                      <a:pos x="connsiteX0" y="connsiteY0"/>
                    </a:cxn>
                    <a:cxn ang="0">
                      <a:pos x="connsiteX1" y="connsiteY1"/>
                    </a:cxn>
                    <a:cxn ang="0">
                      <a:pos x="connsiteX2" y="connsiteY2"/>
                    </a:cxn>
                    <a:cxn ang="0">
                      <a:pos x="connsiteX3" y="connsiteY3"/>
                    </a:cxn>
                  </a:cxnLst>
                  <a:rect l="l" t="t" r="r" b="b"/>
                  <a:pathLst>
                    <a:path w="12847" h="50445">
                      <a:moveTo>
                        <a:pt x="51" y="50446"/>
                      </a:moveTo>
                      <a:cubicBezTo>
                        <a:pt x="-322" y="42101"/>
                        <a:pt x="1421" y="35873"/>
                        <a:pt x="2916" y="31887"/>
                      </a:cubicBezTo>
                      <a:cubicBezTo>
                        <a:pt x="5532" y="25410"/>
                        <a:pt x="8272" y="22919"/>
                        <a:pt x="10639" y="16317"/>
                      </a:cubicBezTo>
                      <a:cubicBezTo>
                        <a:pt x="12881" y="9840"/>
                        <a:pt x="13006" y="3861"/>
                        <a:pt x="1275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7" name="Freeform 5548">
                  <a:extLst>
                    <a:ext uri="{FF2B5EF4-FFF2-40B4-BE49-F238E27FC236}">
                      <a16:creationId xmlns:a16="http://schemas.microsoft.com/office/drawing/2014/main" id="{E9B59978-5F36-AC96-F910-480CBB23F1E4}"/>
                    </a:ext>
                  </a:extLst>
                </p:cNvPr>
                <p:cNvSpPr/>
                <p:nvPr/>
              </p:nvSpPr>
              <p:spPr>
                <a:xfrm>
                  <a:off x="10516337" y="5803647"/>
                  <a:ext cx="26666" cy="26541"/>
                </a:xfrm>
                <a:custGeom>
                  <a:avLst/>
                  <a:gdLst>
                    <a:gd name="connsiteX0" fmla="*/ 26225 w 26666"/>
                    <a:gd name="connsiteY0" fmla="*/ 16634 h 26541"/>
                    <a:gd name="connsiteX1" fmla="*/ 9908 w 26666"/>
                    <a:gd name="connsiteY1" fmla="*/ 26100 h 26541"/>
                    <a:gd name="connsiteX2" fmla="*/ 441 w 26666"/>
                    <a:gd name="connsiteY2" fmla="*/ 9908 h 26541"/>
                    <a:gd name="connsiteX3" fmla="*/ 16758 w 26666"/>
                    <a:gd name="connsiteY3" fmla="*/ 441 h 26541"/>
                    <a:gd name="connsiteX4" fmla="*/ 26225 w 26666"/>
                    <a:gd name="connsiteY4" fmla="*/ 16634 h 26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6" h="26541">
                      <a:moveTo>
                        <a:pt x="26225" y="16634"/>
                      </a:moveTo>
                      <a:cubicBezTo>
                        <a:pt x="24356" y="23734"/>
                        <a:pt x="17007" y="27969"/>
                        <a:pt x="9908" y="26100"/>
                      </a:cubicBezTo>
                      <a:cubicBezTo>
                        <a:pt x="2808" y="24232"/>
                        <a:pt x="-1427" y="17008"/>
                        <a:pt x="441" y="9908"/>
                      </a:cubicBezTo>
                      <a:cubicBezTo>
                        <a:pt x="2309" y="2808"/>
                        <a:pt x="9659" y="-1427"/>
                        <a:pt x="16758" y="441"/>
                      </a:cubicBezTo>
                      <a:cubicBezTo>
                        <a:pt x="23858" y="2310"/>
                        <a:pt x="28093" y="9534"/>
                        <a:pt x="26225" y="1663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8" name="Freeform 5549">
                  <a:extLst>
                    <a:ext uri="{FF2B5EF4-FFF2-40B4-BE49-F238E27FC236}">
                      <a16:creationId xmlns:a16="http://schemas.microsoft.com/office/drawing/2014/main" id="{E144CFB8-E397-2C07-36FB-905CF11A1463}"/>
                    </a:ext>
                  </a:extLst>
                </p:cNvPr>
                <p:cNvSpPr/>
                <p:nvPr/>
              </p:nvSpPr>
              <p:spPr>
                <a:xfrm>
                  <a:off x="10503201" y="5878947"/>
                  <a:ext cx="14199" cy="50196"/>
                </a:xfrm>
                <a:custGeom>
                  <a:avLst/>
                  <a:gdLst>
                    <a:gd name="connsiteX0" fmla="*/ 0 w 14199"/>
                    <a:gd name="connsiteY0" fmla="*/ 50197 h 50196"/>
                    <a:gd name="connsiteX1" fmla="*/ 6727 w 14199"/>
                    <a:gd name="connsiteY1" fmla="*/ 32634 h 50196"/>
                    <a:gd name="connsiteX2" fmla="*/ 7847 w 14199"/>
                    <a:gd name="connsiteY2" fmla="*/ 15321 h 50196"/>
                    <a:gd name="connsiteX3" fmla="*/ 14200 w 14199"/>
                    <a:gd name="connsiteY3" fmla="*/ 0 h 50196"/>
                  </a:gdLst>
                  <a:ahLst/>
                  <a:cxnLst>
                    <a:cxn ang="0">
                      <a:pos x="connsiteX0" y="connsiteY0"/>
                    </a:cxn>
                    <a:cxn ang="0">
                      <a:pos x="connsiteX1" y="connsiteY1"/>
                    </a:cxn>
                    <a:cxn ang="0">
                      <a:pos x="connsiteX2" y="connsiteY2"/>
                    </a:cxn>
                    <a:cxn ang="0">
                      <a:pos x="connsiteX3" y="connsiteY3"/>
                    </a:cxn>
                  </a:cxnLst>
                  <a:rect l="l" t="t" r="r" b="b"/>
                  <a:pathLst>
                    <a:path w="14199" h="50196">
                      <a:moveTo>
                        <a:pt x="0" y="50197"/>
                      </a:moveTo>
                      <a:cubicBezTo>
                        <a:pt x="4484" y="43097"/>
                        <a:pt x="6103" y="36869"/>
                        <a:pt x="6727" y="32634"/>
                      </a:cubicBezTo>
                      <a:cubicBezTo>
                        <a:pt x="7723" y="25659"/>
                        <a:pt x="6477" y="22296"/>
                        <a:pt x="7847" y="15321"/>
                      </a:cubicBezTo>
                      <a:cubicBezTo>
                        <a:pt x="9092" y="8595"/>
                        <a:pt x="11958" y="3363"/>
                        <a:pt x="1420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9" name="Freeform 5550">
                  <a:extLst>
                    <a:ext uri="{FF2B5EF4-FFF2-40B4-BE49-F238E27FC236}">
                      <a16:creationId xmlns:a16="http://schemas.microsoft.com/office/drawing/2014/main" id="{A985C77E-1BDA-398B-C4BB-CD77264D7660}"/>
                    </a:ext>
                  </a:extLst>
                </p:cNvPr>
                <p:cNvSpPr/>
                <p:nvPr/>
              </p:nvSpPr>
              <p:spPr>
                <a:xfrm>
                  <a:off x="10495138" y="5881687"/>
                  <a:ext cx="12847" cy="50570"/>
                </a:xfrm>
                <a:custGeom>
                  <a:avLst/>
                  <a:gdLst>
                    <a:gd name="connsiteX0" fmla="*/ 12796 w 12847"/>
                    <a:gd name="connsiteY0" fmla="*/ 0 h 50570"/>
                    <a:gd name="connsiteX1" fmla="*/ 9932 w 12847"/>
                    <a:gd name="connsiteY1" fmla="*/ 18559 h 50570"/>
                    <a:gd name="connsiteX2" fmla="*/ 2209 w 12847"/>
                    <a:gd name="connsiteY2" fmla="*/ 34253 h 50570"/>
                    <a:gd name="connsiteX3" fmla="*/ 91 w 12847"/>
                    <a:gd name="connsiteY3" fmla="*/ 50570 h 50570"/>
                  </a:gdLst>
                  <a:ahLst/>
                  <a:cxnLst>
                    <a:cxn ang="0">
                      <a:pos x="connsiteX0" y="connsiteY0"/>
                    </a:cxn>
                    <a:cxn ang="0">
                      <a:pos x="connsiteX1" y="connsiteY1"/>
                    </a:cxn>
                    <a:cxn ang="0">
                      <a:pos x="connsiteX2" y="connsiteY2"/>
                    </a:cxn>
                    <a:cxn ang="0">
                      <a:pos x="connsiteX3" y="connsiteY3"/>
                    </a:cxn>
                  </a:cxnLst>
                  <a:rect l="l" t="t" r="r" b="b"/>
                  <a:pathLst>
                    <a:path w="12847" h="50570">
                      <a:moveTo>
                        <a:pt x="12796" y="0"/>
                      </a:moveTo>
                      <a:cubicBezTo>
                        <a:pt x="13170" y="8346"/>
                        <a:pt x="11426" y="14573"/>
                        <a:pt x="9932" y="18559"/>
                      </a:cubicBezTo>
                      <a:cubicBezTo>
                        <a:pt x="7441" y="25036"/>
                        <a:pt x="4576" y="27527"/>
                        <a:pt x="2209" y="34253"/>
                      </a:cubicBezTo>
                      <a:cubicBezTo>
                        <a:pt x="-33" y="40730"/>
                        <a:pt x="-157" y="46709"/>
                        <a:pt x="91" y="5057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60" name="Freeform 5551">
                  <a:extLst>
                    <a:ext uri="{FF2B5EF4-FFF2-40B4-BE49-F238E27FC236}">
                      <a16:creationId xmlns:a16="http://schemas.microsoft.com/office/drawing/2014/main" id="{2FB07CDC-150E-B757-679A-DEEF514FA47F}"/>
                    </a:ext>
                  </a:extLst>
                </p:cNvPr>
                <p:cNvSpPr/>
                <p:nvPr/>
              </p:nvSpPr>
              <p:spPr>
                <a:xfrm>
                  <a:off x="10484814" y="5921852"/>
                  <a:ext cx="26229" cy="26416"/>
                </a:xfrm>
                <a:custGeom>
                  <a:avLst/>
                  <a:gdLst>
                    <a:gd name="connsiteX0" fmla="*/ 450 w 26229"/>
                    <a:gd name="connsiteY0" fmla="*/ 9908 h 26416"/>
                    <a:gd name="connsiteX1" fmla="*/ 16519 w 26229"/>
                    <a:gd name="connsiteY1" fmla="*/ 441 h 26416"/>
                    <a:gd name="connsiteX2" fmla="*/ 25736 w 26229"/>
                    <a:gd name="connsiteY2" fmla="*/ 16509 h 26416"/>
                    <a:gd name="connsiteX3" fmla="*/ 9668 w 26229"/>
                    <a:gd name="connsiteY3" fmla="*/ 25976 h 26416"/>
                    <a:gd name="connsiteX4" fmla="*/ 450 w 26229"/>
                    <a:gd name="connsiteY4" fmla="*/ 9908 h 2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9" h="26416">
                      <a:moveTo>
                        <a:pt x="450" y="9908"/>
                      </a:moveTo>
                      <a:cubicBezTo>
                        <a:pt x="2319" y="2808"/>
                        <a:pt x="9544" y="-1427"/>
                        <a:pt x="16519" y="441"/>
                      </a:cubicBezTo>
                      <a:cubicBezTo>
                        <a:pt x="23494" y="2310"/>
                        <a:pt x="27729" y="9534"/>
                        <a:pt x="25736" y="16509"/>
                      </a:cubicBezTo>
                      <a:cubicBezTo>
                        <a:pt x="23867" y="23609"/>
                        <a:pt x="16643" y="27844"/>
                        <a:pt x="9668" y="25976"/>
                      </a:cubicBezTo>
                      <a:cubicBezTo>
                        <a:pt x="2692" y="24232"/>
                        <a:pt x="-1417" y="17007"/>
                        <a:pt x="450"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5" name="Graphic 2987">
                <a:extLst>
                  <a:ext uri="{FF2B5EF4-FFF2-40B4-BE49-F238E27FC236}">
                    <a16:creationId xmlns:a16="http://schemas.microsoft.com/office/drawing/2014/main" id="{13C20B09-17CB-C9EE-4839-0961583DECA4}"/>
                  </a:ext>
                </a:extLst>
              </p:cNvPr>
              <p:cNvGrpSpPr/>
              <p:nvPr/>
            </p:nvGrpSpPr>
            <p:grpSpPr>
              <a:xfrm>
                <a:off x="10513089" y="5811193"/>
                <a:ext cx="58737" cy="144567"/>
                <a:chOff x="10513089" y="5811193"/>
                <a:chExt cx="58737" cy="144567"/>
              </a:xfrm>
              <a:grpFill/>
            </p:grpSpPr>
            <p:sp>
              <p:nvSpPr>
                <p:cNvPr id="4049" name="Freeform 5553">
                  <a:extLst>
                    <a:ext uri="{FF2B5EF4-FFF2-40B4-BE49-F238E27FC236}">
                      <a16:creationId xmlns:a16="http://schemas.microsoft.com/office/drawing/2014/main" id="{6037FE6E-F3FF-C143-81EF-78A1DAFC5CB3}"/>
                    </a:ext>
                  </a:extLst>
                </p:cNvPr>
                <p:cNvSpPr/>
                <p:nvPr/>
              </p:nvSpPr>
              <p:spPr>
                <a:xfrm>
                  <a:off x="10538824" y="5830370"/>
                  <a:ext cx="14324" cy="50072"/>
                </a:xfrm>
                <a:custGeom>
                  <a:avLst/>
                  <a:gdLst>
                    <a:gd name="connsiteX0" fmla="*/ 14324 w 14324"/>
                    <a:gd name="connsiteY0" fmla="*/ 0 h 50072"/>
                    <a:gd name="connsiteX1" fmla="*/ 7474 w 14324"/>
                    <a:gd name="connsiteY1" fmla="*/ 17563 h 50072"/>
                    <a:gd name="connsiteX2" fmla="*/ 6353 w 14324"/>
                    <a:gd name="connsiteY2" fmla="*/ 34876 h 50072"/>
                    <a:gd name="connsiteX3" fmla="*/ 0 w 1432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324" h="50072">
                      <a:moveTo>
                        <a:pt x="14324" y="0"/>
                      </a:moveTo>
                      <a:cubicBezTo>
                        <a:pt x="9841" y="7100"/>
                        <a:pt x="8097" y="13203"/>
                        <a:pt x="7474" y="17563"/>
                      </a:cubicBezTo>
                      <a:cubicBezTo>
                        <a:pt x="6353" y="24538"/>
                        <a:pt x="7723" y="27901"/>
                        <a:pt x="6353" y="34876"/>
                      </a:cubicBezTo>
                      <a:cubicBezTo>
                        <a:pt x="4983" y="41602"/>
                        <a:pt x="2118"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0" name="Freeform 5554">
                  <a:extLst>
                    <a:ext uri="{FF2B5EF4-FFF2-40B4-BE49-F238E27FC236}">
                      <a16:creationId xmlns:a16="http://schemas.microsoft.com/office/drawing/2014/main" id="{EA764863-4B86-76CB-78C6-2BBD89AC6936}"/>
                    </a:ext>
                  </a:extLst>
                </p:cNvPr>
                <p:cNvSpPr/>
                <p:nvPr/>
              </p:nvSpPr>
              <p:spPr>
                <a:xfrm>
                  <a:off x="10548141" y="5827381"/>
                  <a:ext cx="13182" cy="50445"/>
                </a:xfrm>
                <a:custGeom>
                  <a:avLst/>
                  <a:gdLst>
                    <a:gd name="connsiteX0" fmla="*/ 25 w 13182"/>
                    <a:gd name="connsiteY0" fmla="*/ 50446 h 50445"/>
                    <a:gd name="connsiteX1" fmla="*/ 3015 w 13182"/>
                    <a:gd name="connsiteY1" fmla="*/ 31887 h 50445"/>
                    <a:gd name="connsiteX2" fmla="*/ 10862 w 13182"/>
                    <a:gd name="connsiteY2" fmla="*/ 16317 h 50445"/>
                    <a:gd name="connsiteX3" fmla="*/ 13105 w 13182"/>
                    <a:gd name="connsiteY3" fmla="*/ 0 h 50445"/>
                  </a:gdLst>
                  <a:ahLst/>
                  <a:cxnLst>
                    <a:cxn ang="0">
                      <a:pos x="connsiteX0" y="connsiteY0"/>
                    </a:cxn>
                    <a:cxn ang="0">
                      <a:pos x="connsiteX1" y="connsiteY1"/>
                    </a:cxn>
                    <a:cxn ang="0">
                      <a:pos x="connsiteX2" y="connsiteY2"/>
                    </a:cxn>
                    <a:cxn ang="0">
                      <a:pos x="connsiteX3" y="connsiteY3"/>
                    </a:cxn>
                  </a:cxnLst>
                  <a:rect l="l" t="t" r="r" b="b"/>
                  <a:pathLst>
                    <a:path w="13181" h="50445">
                      <a:moveTo>
                        <a:pt x="25" y="50446"/>
                      </a:moveTo>
                      <a:cubicBezTo>
                        <a:pt x="-223" y="41976"/>
                        <a:pt x="1396" y="35997"/>
                        <a:pt x="3015" y="31887"/>
                      </a:cubicBezTo>
                      <a:cubicBezTo>
                        <a:pt x="5631" y="25409"/>
                        <a:pt x="8496" y="23043"/>
                        <a:pt x="10862" y="16317"/>
                      </a:cubicBezTo>
                      <a:cubicBezTo>
                        <a:pt x="13105" y="9840"/>
                        <a:pt x="13353" y="3861"/>
                        <a:pt x="1310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1" name="Freeform 5555">
                  <a:extLst>
                    <a:ext uri="{FF2B5EF4-FFF2-40B4-BE49-F238E27FC236}">
                      <a16:creationId xmlns:a16="http://schemas.microsoft.com/office/drawing/2014/main" id="{5BD91460-07B0-03DA-0CC8-6AA70E251A30}"/>
                    </a:ext>
                  </a:extLst>
                </p:cNvPr>
                <p:cNvSpPr/>
                <p:nvPr/>
              </p:nvSpPr>
              <p:spPr>
                <a:xfrm>
                  <a:off x="10544985" y="5811193"/>
                  <a:ext cx="26842" cy="26486"/>
                </a:xfrm>
                <a:custGeom>
                  <a:avLst/>
                  <a:gdLst>
                    <a:gd name="connsiteX0" fmla="*/ 26350 w 26842"/>
                    <a:gd name="connsiteY0" fmla="*/ 16810 h 26486"/>
                    <a:gd name="connsiteX1" fmla="*/ 9908 w 26842"/>
                    <a:gd name="connsiteY1" fmla="*/ 26027 h 26486"/>
                    <a:gd name="connsiteX2" fmla="*/ 441 w 26842"/>
                    <a:gd name="connsiteY2" fmla="*/ 9835 h 26486"/>
                    <a:gd name="connsiteX3" fmla="*/ 16883 w 26842"/>
                    <a:gd name="connsiteY3" fmla="*/ 493 h 26486"/>
                    <a:gd name="connsiteX4" fmla="*/ 26350 w 26842"/>
                    <a:gd name="connsiteY4" fmla="*/ 16810 h 26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486">
                      <a:moveTo>
                        <a:pt x="26350" y="16810"/>
                      </a:moveTo>
                      <a:cubicBezTo>
                        <a:pt x="24356" y="23910"/>
                        <a:pt x="17132" y="27896"/>
                        <a:pt x="9908" y="26027"/>
                      </a:cubicBezTo>
                      <a:cubicBezTo>
                        <a:pt x="2808" y="24159"/>
                        <a:pt x="-1427" y="16935"/>
                        <a:pt x="441" y="9835"/>
                      </a:cubicBezTo>
                      <a:cubicBezTo>
                        <a:pt x="2310" y="2735"/>
                        <a:pt x="9659" y="-1500"/>
                        <a:pt x="16883" y="493"/>
                      </a:cubicBezTo>
                      <a:cubicBezTo>
                        <a:pt x="24108" y="2361"/>
                        <a:pt x="28342" y="9835"/>
                        <a:pt x="26350" y="1681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2" name="Freeform 5556">
                  <a:extLst>
                    <a:ext uri="{FF2B5EF4-FFF2-40B4-BE49-F238E27FC236}">
                      <a16:creationId xmlns:a16="http://schemas.microsoft.com/office/drawing/2014/main" id="{2FB74AB0-5682-EAAA-3611-A3AA515A59EC}"/>
                    </a:ext>
                  </a:extLst>
                </p:cNvPr>
                <p:cNvSpPr/>
                <p:nvPr/>
              </p:nvSpPr>
              <p:spPr>
                <a:xfrm>
                  <a:off x="10531600" y="5886545"/>
                  <a:ext cx="14448" cy="50072"/>
                </a:xfrm>
                <a:custGeom>
                  <a:avLst/>
                  <a:gdLst>
                    <a:gd name="connsiteX0" fmla="*/ 0 w 14448"/>
                    <a:gd name="connsiteY0" fmla="*/ 50072 h 50072"/>
                    <a:gd name="connsiteX1" fmla="*/ 6851 w 14448"/>
                    <a:gd name="connsiteY1" fmla="*/ 32634 h 50072"/>
                    <a:gd name="connsiteX2" fmla="*/ 8096 w 14448"/>
                    <a:gd name="connsiteY2" fmla="*/ 15196 h 50072"/>
                    <a:gd name="connsiteX3" fmla="*/ 14448 w 14448"/>
                    <a:gd name="connsiteY3" fmla="*/ 0 h 50072"/>
                  </a:gdLst>
                  <a:ahLst/>
                  <a:cxnLst>
                    <a:cxn ang="0">
                      <a:pos x="connsiteX0" y="connsiteY0"/>
                    </a:cxn>
                    <a:cxn ang="0">
                      <a:pos x="connsiteX1" y="connsiteY1"/>
                    </a:cxn>
                    <a:cxn ang="0">
                      <a:pos x="connsiteX2" y="connsiteY2"/>
                    </a:cxn>
                    <a:cxn ang="0">
                      <a:pos x="connsiteX3" y="connsiteY3"/>
                    </a:cxn>
                  </a:cxnLst>
                  <a:rect l="l" t="t" r="r" b="b"/>
                  <a:pathLst>
                    <a:path w="14448" h="50072">
                      <a:moveTo>
                        <a:pt x="0" y="50072"/>
                      </a:moveTo>
                      <a:cubicBezTo>
                        <a:pt x="4484" y="42972"/>
                        <a:pt x="6103" y="36869"/>
                        <a:pt x="6851" y="32634"/>
                      </a:cubicBezTo>
                      <a:cubicBezTo>
                        <a:pt x="7971" y="25659"/>
                        <a:pt x="6726" y="22171"/>
                        <a:pt x="8096" y="15196"/>
                      </a:cubicBezTo>
                      <a:cubicBezTo>
                        <a:pt x="9467" y="8470"/>
                        <a:pt x="12331" y="3238"/>
                        <a:pt x="144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3" name="Freeform 5557">
                  <a:extLst>
                    <a:ext uri="{FF2B5EF4-FFF2-40B4-BE49-F238E27FC236}">
                      <a16:creationId xmlns:a16="http://schemas.microsoft.com/office/drawing/2014/main" id="{E846B394-BD7F-8345-51C0-6AA45C2DAA37}"/>
                    </a:ext>
                  </a:extLst>
                </p:cNvPr>
                <p:cNvSpPr/>
                <p:nvPr/>
              </p:nvSpPr>
              <p:spPr>
                <a:xfrm>
                  <a:off x="10523551" y="5889161"/>
                  <a:ext cx="13057" cy="50445"/>
                </a:xfrm>
                <a:custGeom>
                  <a:avLst/>
                  <a:gdLst>
                    <a:gd name="connsiteX0" fmla="*/ 13032 w 13057"/>
                    <a:gd name="connsiteY0" fmla="*/ 0 h 50445"/>
                    <a:gd name="connsiteX1" fmla="*/ 10042 w 13057"/>
                    <a:gd name="connsiteY1" fmla="*/ 18559 h 50445"/>
                    <a:gd name="connsiteX2" fmla="*/ 2320 w 13057"/>
                    <a:gd name="connsiteY2" fmla="*/ 34129 h 50445"/>
                    <a:gd name="connsiteX3" fmla="*/ 78 w 13057"/>
                    <a:gd name="connsiteY3" fmla="*/ 50446 h 50445"/>
                  </a:gdLst>
                  <a:ahLst/>
                  <a:cxnLst>
                    <a:cxn ang="0">
                      <a:pos x="connsiteX0" y="connsiteY0"/>
                    </a:cxn>
                    <a:cxn ang="0">
                      <a:pos x="connsiteX1" y="connsiteY1"/>
                    </a:cxn>
                    <a:cxn ang="0">
                      <a:pos x="connsiteX2" y="connsiteY2"/>
                    </a:cxn>
                    <a:cxn ang="0">
                      <a:pos x="connsiteX3" y="connsiteY3"/>
                    </a:cxn>
                  </a:cxnLst>
                  <a:rect l="l" t="t" r="r" b="b"/>
                  <a:pathLst>
                    <a:path w="13057" h="50445">
                      <a:moveTo>
                        <a:pt x="13032" y="0"/>
                      </a:moveTo>
                      <a:cubicBezTo>
                        <a:pt x="13281" y="8345"/>
                        <a:pt x="11662" y="14449"/>
                        <a:pt x="10042" y="18559"/>
                      </a:cubicBezTo>
                      <a:cubicBezTo>
                        <a:pt x="7426" y="25036"/>
                        <a:pt x="4562" y="27527"/>
                        <a:pt x="2320" y="34129"/>
                      </a:cubicBezTo>
                      <a:cubicBezTo>
                        <a:pt x="78" y="40606"/>
                        <a:pt x="-171" y="46584"/>
                        <a:pt x="78"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54" name="Freeform 5558">
                  <a:extLst>
                    <a:ext uri="{FF2B5EF4-FFF2-40B4-BE49-F238E27FC236}">
                      <a16:creationId xmlns:a16="http://schemas.microsoft.com/office/drawing/2014/main" id="{B8EB1999-EE9B-DAED-EA6B-103F4C6F735F}"/>
                    </a:ext>
                  </a:extLst>
                </p:cNvPr>
                <p:cNvSpPr/>
                <p:nvPr/>
              </p:nvSpPr>
              <p:spPr>
                <a:xfrm>
                  <a:off x="10513089" y="5929325"/>
                  <a:ext cx="26238" cy="26434"/>
                </a:xfrm>
                <a:custGeom>
                  <a:avLst/>
                  <a:gdLst>
                    <a:gd name="connsiteX0" fmla="*/ 451 w 26238"/>
                    <a:gd name="connsiteY0" fmla="*/ 9908 h 26434"/>
                    <a:gd name="connsiteX1" fmla="*/ 16643 w 26238"/>
                    <a:gd name="connsiteY1" fmla="*/ 441 h 26434"/>
                    <a:gd name="connsiteX2" fmla="*/ 25735 w 26238"/>
                    <a:gd name="connsiteY2" fmla="*/ 16759 h 26434"/>
                    <a:gd name="connsiteX3" fmla="*/ 9668 w 26238"/>
                    <a:gd name="connsiteY3" fmla="*/ 25976 h 26434"/>
                    <a:gd name="connsiteX4" fmla="*/ 451 w 26238"/>
                    <a:gd name="connsiteY4" fmla="*/ 9908 h 26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8" h="26434">
                      <a:moveTo>
                        <a:pt x="451" y="9908"/>
                      </a:moveTo>
                      <a:cubicBezTo>
                        <a:pt x="2319" y="2808"/>
                        <a:pt x="9543" y="-1427"/>
                        <a:pt x="16643" y="441"/>
                      </a:cubicBezTo>
                      <a:cubicBezTo>
                        <a:pt x="23618" y="2310"/>
                        <a:pt x="27729" y="9783"/>
                        <a:pt x="25735" y="16759"/>
                      </a:cubicBezTo>
                      <a:cubicBezTo>
                        <a:pt x="23743" y="23858"/>
                        <a:pt x="16643" y="27844"/>
                        <a:pt x="9668" y="25976"/>
                      </a:cubicBezTo>
                      <a:cubicBezTo>
                        <a:pt x="2693" y="24108"/>
                        <a:pt x="-1418" y="16883"/>
                        <a:pt x="451" y="990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6" name="Graphic 2987">
                <a:extLst>
                  <a:ext uri="{FF2B5EF4-FFF2-40B4-BE49-F238E27FC236}">
                    <a16:creationId xmlns:a16="http://schemas.microsoft.com/office/drawing/2014/main" id="{85163F3C-7333-7476-7D0D-5242358890BC}"/>
                  </a:ext>
                </a:extLst>
              </p:cNvPr>
              <p:cNvGrpSpPr/>
              <p:nvPr/>
            </p:nvGrpSpPr>
            <p:grpSpPr>
              <a:xfrm>
                <a:off x="10541310" y="5819270"/>
                <a:ext cx="59289" cy="144505"/>
                <a:chOff x="10541310" y="5819270"/>
                <a:chExt cx="59289" cy="144505"/>
              </a:xfrm>
              <a:grpFill/>
            </p:grpSpPr>
            <p:sp>
              <p:nvSpPr>
                <p:cNvPr id="4043" name="Freeform 5560">
                  <a:extLst>
                    <a:ext uri="{FF2B5EF4-FFF2-40B4-BE49-F238E27FC236}">
                      <a16:creationId xmlns:a16="http://schemas.microsoft.com/office/drawing/2014/main" id="{6E693595-BECA-F002-BB90-F2CF8435135B}"/>
                    </a:ext>
                  </a:extLst>
                </p:cNvPr>
                <p:cNvSpPr/>
                <p:nvPr/>
              </p:nvSpPr>
              <p:spPr>
                <a:xfrm>
                  <a:off x="10567224" y="5838341"/>
                  <a:ext cx="14697" cy="50072"/>
                </a:xfrm>
                <a:custGeom>
                  <a:avLst/>
                  <a:gdLst>
                    <a:gd name="connsiteX0" fmla="*/ 14698 w 14697"/>
                    <a:gd name="connsiteY0" fmla="*/ 0 h 50072"/>
                    <a:gd name="connsiteX1" fmla="*/ 7723 w 14697"/>
                    <a:gd name="connsiteY1" fmla="*/ 17438 h 50072"/>
                    <a:gd name="connsiteX2" fmla="*/ 6477 w 14697"/>
                    <a:gd name="connsiteY2" fmla="*/ 34876 h 50072"/>
                    <a:gd name="connsiteX3" fmla="*/ 0 w 14697"/>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697" h="50072">
                      <a:moveTo>
                        <a:pt x="14698" y="0"/>
                      </a:moveTo>
                      <a:cubicBezTo>
                        <a:pt x="10089" y="7100"/>
                        <a:pt x="8470" y="13203"/>
                        <a:pt x="7723" y="17438"/>
                      </a:cubicBezTo>
                      <a:cubicBezTo>
                        <a:pt x="6601" y="24414"/>
                        <a:pt x="7847" y="27901"/>
                        <a:pt x="6477" y="34876"/>
                      </a:cubicBezTo>
                      <a:cubicBezTo>
                        <a:pt x="5107" y="41602"/>
                        <a:pt x="2242" y="46834"/>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4" name="Freeform 5561">
                  <a:extLst>
                    <a:ext uri="{FF2B5EF4-FFF2-40B4-BE49-F238E27FC236}">
                      <a16:creationId xmlns:a16="http://schemas.microsoft.com/office/drawing/2014/main" id="{00F67A89-7E9E-0206-7A40-DFA3C7277860}"/>
                    </a:ext>
                  </a:extLst>
                </p:cNvPr>
                <p:cNvSpPr/>
                <p:nvPr/>
              </p:nvSpPr>
              <p:spPr>
                <a:xfrm>
                  <a:off x="10576666" y="5835477"/>
                  <a:ext cx="13384" cy="50445"/>
                </a:xfrm>
                <a:custGeom>
                  <a:avLst/>
                  <a:gdLst>
                    <a:gd name="connsiteX0" fmla="*/ 24 w 13384"/>
                    <a:gd name="connsiteY0" fmla="*/ 50446 h 50445"/>
                    <a:gd name="connsiteX1" fmla="*/ 3138 w 13384"/>
                    <a:gd name="connsiteY1" fmla="*/ 31887 h 50445"/>
                    <a:gd name="connsiteX2" fmla="*/ 10985 w 13384"/>
                    <a:gd name="connsiteY2" fmla="*/ 16317 h 50445"/>
                    <a:gd name="connsiteX3" fmla="*/ 13352 w 13384"/>
                    <a:gd name="connsiteY3" fmla="*/ 0 h 50445"/>
                  </a:gdLst>
                  <a:ahLst/>
                  <a:cxnLst>
                    <a:cxn ang="0">
                      <a:pos x="connsiteX0" y="connsiteY0"/>
                    </a:cxn>
                    <a:cxn ang="0">
                      <a:pos x="connsiteX1" y="connsiteY1"/>
                    </a:cxn>
                    <a:cxn ang="0">
                      <a:pos x="connsiteX2" y="connsiteY2"/>
                    </a:cxn>
                    <a:cxn ang="0">
                      <a:pos x="connsiteX3" y="connsiteY3"/>
                    </a:cxn>
                  </a:cxnLst>
                  <a:rect l="l" t="t" r="r" b="b"/>
                  <a:pathLst>
                    <a:path w="13383" h="50445">
                      <a:moveTo>
                        <a:pt x="24" y="50446"/>
                      </a:moveTo>
                      <a:cubicBezTo>
                        <a:pt x="-225" y="41976"/>
                        <a:pt x="1519" y="35873"/>
                        <a:pt x="3138" y="31887"/>
                      </a:cubicBezTo>
                      <a:cubicBezTo>
                        <a:pt x="5753" y="25409"/>
                        <a:pt x="8618" y="23043"/>
                        <a:pt x="10985" y="16317"/>
                      </a:cubicBezTo>
                      <a:cubicBezTo>
                        <a:pt x="13352" y="9840"/>
                        <a:pt x="13476" y="3861"/>
                        <a:pt x="1335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5" name="Freeform 5562">
                  <a:extLst>
                    <a:ext uri="{FF2B5EF4-FFF2-40B4-BE49-F238E27FC236}">
                      <a16:creationId xmlns:a16="http://schemas.microsoft.com/office/drawing/2014/main" id="{0C51CDEB-42AD-4346-1816-06FD6D5F6FCC}"/>
                    </a:ext>
                  </a:extLst>
                </p:cNvPr>
                <p:cNvSpPr/>
                <p:nvPr/>
              </p:nvSpPr>
              <p:spPr>
                <a:xfrm>
                  <a:off x="10573874" y="5819270"/>
                  <a:ext cx="26726" cy="26558"/>
                </a:xfrm>
                <a:custGeom>
                  <a:avLst/>
                  <a:gdLst>
                    <a:gd name="connsiteX0" fmla="*/ 26234 w 26726"/>
                    <a:gd name="connsiteY0" fmla="*/ 16954 h 26558"/>
                    <a:gd name="connsiteX1" fmla="*/ 9792 w 26726"/>
                    <a:gd name="connsiteY1" fmla="*/ 26047 h 26558"/>
                    <a:gd name="connsiteX2" fmla="*/ 450 w 26726"/>
                    <a:gd name="connsiteY2" fmla="*/ 9605 h 26558"/>
                    <a:gd name="connsiteX3" fmla="*/ 16892 w 26726"/>
                    <a:gd name="connsiteY3" fmla="*/ 512 h 26558"/>
                    <a:gd name="connsiteX4" fmla="*/ 26234 w 26726"/>
                    <a:gd name="connsiteY4" fmla="*/ 16954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6" h="26558">
                      <a:moveTo>
                        <a:pt x="26234" y="16954"/>
                      </a:moveTo>
                      <a:cubicBezTo>
                        <a:pt x="24240" y="24054"/>
                        <a:pt x="16892" y="28040"/>
                        <a:pt x="9792" y="26047"/>
                      </a:cubicBezTo>
                      <a:cubicBezTo>
                        <a:pt x="2692" y="24054"/>
                        <a:pt x="-1419" y="16705"/>
                        <a:pt x="450" y="9605"/>
                      </a:cubicBezTo>
                      <a:cubicBezTo>
                        <a:pt x="2443" y="2505"/>
                        <a:pt x="9792" y="-1481"/>
                        <a:pt x="16892" y="512"/>
                      </a:cubicBezTo>
                      <a:cubicBezTo>
                        <a:pt x="23992" y="2505"/>
                        <a:pt x="28226" y="9979"/>
                        <a:pt x="26234"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6" name="Freeform 5563">
                  <a:extLst>
                    <a:ext uri="{FF2B5EF4-FFF2-40B4-BE49-F238E27FC236}">
                      <a16:creationId xmlns:a16="http://schemas.microsoft.com/office/drawing/2014/main" id="{C31B08B5-C1C7-F37D-477C-FFD4A185A06C}"/>
                    </a:ext>
                  </a:extLst>
                </p:cNvPr>
                <p:cNvSpPr/>
                <p:nvPr/>
              </p:nvSpPr>
              <p:spPr>
                <a:xfrm>
                  <a:off x="10559751" y="5894517"/>
                  <a:ext cx="14821" cy="50072"/>
                </a:xfrm>
                <a:custGeom>
                  <a:avLst/>
                  <a:gdLst>
                    <a:gd name="connsiteX0" fmla="*/ 0 w 14821"/>
                    <a:gd name="connsiteY0" fmla="*/ 50072 h 50072"/>
                    <a:gd name="connsiteX1" fmla="*/ 6975 w 14821"/>
                    <a:gd name="connsiteY1" fmla="*/ 32634 h 50072"/>
                    <a:gd name="connsiteX2" fmla="*/ 8345 w 14821"/>
                    <a:gd name="connsiteY2" fmla="*/ 15196 h 50072"/>
                    <a:gd name="connsiteX3" fmla="*/ 14822 w 14821"/>
                    <a:gd name="connsiteY3" fmla="*/ 0 h 50072"/>
                  </a:gdLst>
                  <a:ahLst/>
                  <a:cxnLst>
                    <a:cxn ang="0">
                      <a:pos x="connsiteX0" y="connsiteY0"/>
                    </a:cxn>
                    <a:cxn ang="0">
                      <a:pos x="connsiteX1" y="connsiteY1"/>
                    </a:cxn>
                    <a:cxn ang="0">
                      <a:pos x="connsiteX2" y="connsiteY2"/>
                    </a:cxn>
                    <a:cxn ang="0">
                      <a:pos x="connsiteX3" y="connsiteY3"/>
                    </a:cxn>
                  </a:cxnLst>
                  <a:rect l="l" t="t" r="r" b="b"/>
                  <a:pathLst>
                    <a:path w="14821" h="50072">
                      <a:moveTo>
                        <a:pt x="0" y="50072"/>
                      </a:moveTo>
                      <a:cubicBezTo>
                        <a:pt x="4484" y="42973"/>
                        <a:pt x="6228" y="36869"/>
                        <a:pt x="6975" y="32634"/>
                      </a:cubicBezTo>
                      <a:cubicBezTo>
                        <a:pt x="8096" y="25784"/>
                        <a:pt x="6851" y="22171"/>
                        <a:pt x="8345" y="15196"/>
                      </a:cubicBezTo>
                      <a:cubicBezTo>
                        <a:pt x="9715" y="8470"/>
                        <a:pt x="12580" y="3239"/>
                        <a:pt x="1482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7" name="Freeform 5564">
                  <a:extLst>
                    <a:ext uri="{FF2B5EF4-FFF2-40B4-BE49-F238E27FC236}">
                      <a16:creationId xmlns:a16="http://schemas.microsoft.com/office/drawing/2014/main" id="{330F0A4B-3E05-F3A3-D094-E15D8734D29E}"/>
                    </a:ext>
                  </a:extLst>
                </p:cNvPr>
                <p:cNvSpPr/>
                <p:nvPr/>
              </p:nvSpPr>
              <p:spPr>
                <a:xfrm>
                  <a:off x="10551621" y="5897133"/>
                  <a:ext cx="13384" cy="50446"/>
                </a:xfrm>
                <a:custGeom>
                  <a:avLst/>
                  <a:gdLst>
                    <a:gd name="connsiteX0" fmla="*/ 13360 w 13384"/>
                    <a:gd name="connsiteY0" fmla="*/ 0 h 50446"/>
                    <a:gd name="connsiteX1" fmla="*/ 10246 w 13384"/>
                    <a:gd name="connsiteY1" fmla="*/ 18559 h 50446"/>
                    <a:gd name="connsiteX2" fmla="*/ 2399 w 13384"/>
                    <a:gd name="connsiteY2" fmla="*/ 34129 h 50446"/>
                    <a:gd name="connsiteX3" fmla="*/ 33 w 13384"/>
                    <a:gd name="connsiteY3" fmla="*/ 50446 h 50446"/>
                  </a:gdLst>
                  <a:ahLst/>
                  <a:cxnLst>
                    <a:cxn ang="0">
                      <a:pos x="connsiteX0" y="connsiteY0"/>
                    </a:cxn>
                    <a:cxn ang="0">
                      <a:pos x="connsiteX1" y="connsiteY1"/>
                    </a:cxn>
                    <a:cxn ang="0">
                      <a:pos x="connsiteX2" y="connsiteY2"/>
                    </a:cxn>
                    <a:cxn ang="0">
                      <a:pos x="connsiteX3" y="connsiteY3"/>
                    </a:cxn>
                  </a:cxnLst>
                  <a:rect l="l" t="t" r="r" b="b"/>
                  <a:pathLst>
                    <a:path w="13383" h="50446">
                      <a:moveTo>
                        <a:pt x="13360" y="0"/>
                      </a:moveTo>
                      <a:cubicBezTo>
                        <a:pt x="13609" y="8470"/>
                        <a:pt x="11866" y="14573"/>
                        <a:pt x="10246" y="18559"/>
                      </a:cubicBezTo>
                      <a:cubicBezTo>
                        <a:pt x="7630" y="25036"/>
                        <a:pt x="4766" y="27403"/>
                        <a:pt x="2399" y="34129"/>
                      </a:cubicBezTo>
                      <a:cubicBezTo>
                        <a:pt x="33" y="40606"/>
                        <a:pt x="-92" y="46585"/>
                        <a:pt x="33" y="5044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8" name="Freeform 5565">
                  <a:extLst>
                    <a:ext uri="{FF2B5EF4-FFF2-40B4-BE49-F238E27FC236}">
                      <a16:creationId xmlns:a16="http://schemas.microsoft.com/office/drawing/2014/main" id="{0A600F6C-149B-CF93-9D65-818D28846A85}"/>
                    </a:ext>
                  </a:extLst>
                </p:cNvPr>
                <p:cNvSpPr/>
                <p:nvPr/>
              </p:nvSpPr>
              <p:spPr>
                <a:xfrm>
                  <a:off x="10541310" y="5937236"/>
                  <a:ext cx="26177" cy="26539"/>
                </a:xfrm>
                <a:custGeom>
                  <a:avLst/>
                  <a:gdLst>
                    <a:gd name="connsiteX0" fmla="*/ 504 w 26177"/>
                    <a:gd name="connsiteY0" fmla="*/ 9720 h 26539"/>
                    <a:gd name="connsiteX1" fmla="*/ 16696 w 26177"/>
                    <a:gd name="connsiteY1" fmla="*/ 503 h 26539"/>
                    <a:gd name="connsiteX2" fmla="*/ 25664 w 26177"/>
                    <a:gd name="connsiteY2" fmla="*/ 16820 h 26539"/>
                    <a:gd name="connsiteX3" fmla="*/ 9472 w 26177"/>
                    <a:gd name="connsiteY3" fmla="*/ 26037 h 26539"/>
                    <a:gd name="connsiteX4" fmla="*/ 504 w 26177"/>
                    <a:gd name="connsiteY4" fmla="*/ 9720 h 2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7" h="26538">
                      <a:moveTo>
                        <a:pt x="504" y="9720"/>
                      </a:moveTo>
                      <a:cubicBezTo>
                        <a:pt x="2497" y="2620"/>
                        <a:pt x="9721" y="-1490"/>
                        <a:pt x="16696" y="503"/>
                      </a:cubicBezTo>
                      <a:cubicBezTo>
                        <a:pt x="23671" y="2496"/>
                        <a:pt x="27657" y="9844"/>
                        <a:pt x="25664" y="16820"/>
                      </a:cubicBezTo>
                      <a:cubicBezTo>
                        <a:pt x="23671" y="23919"/>
                        <a:pt x="16447" y="28030"/>
                        <a:pt x="9472" y="26037"/>
                      </a:cubicBezTo>
                      <a:cubicBezTo>
                        <a:pt x="2621" y="24044"/>
                        <a:pt x="-1489" y="16695"/>
                        <a:pt x="504" y="97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7" name="Graphic 2987">
                <a:extLst>
                  <a:ext uri="{FF2B5EF4-FFF2-40B4-BE49-F238E27FC236}">
                    <a16:creationId xmlns:a16="http://schemas.microsoft.com/office/drawing/2014/main" id="{C85769EF-47D8-6FF4-7272-D86963276324}"/>
                  </a:ext>
                </a:extLst>
              </p:cNvPr>
              <p:cNvGrpSpPr/>
              <p:nvPr/>
            </p:nvGrpSpPr>
            <p:grpSpPr>
              <a:xfrm>
                <a:off x="10569451" y="5827491"/>
                <a:ext cx="59985" cy="144204"/>
                <a:chOff x="10569451" y="5827491"/>
                <a:chExt cx="59985" cy="144204"/>
              </a:xfrm>
              <a:grpFill/>
            </p:grpSpPr>
            <p:sp>
              <p:nvSpPr>
                <p:cNvPr id="4037" name="Freeform 5567">
                  <a:extLst>
                    <a:ext uri="{FF2B5EF4-FFF2-40B4-BE49-F238E27FC236}">
                      <a16:creationId xmlns:a16="http://schemas.microsoft.com/office/drawing/2014/main" id="{E7D13003-6040-3CBF-BB93-66E2DC37F770}"/>
                    </a:ext>
                  </a:extLst>
                </p:cNvPr>
                <p:cNvSpPr/>
                <p:nvPr/>
              </p:nvSpPr>
              <p:spPr>
                <a:xfrm>
                  <a:off x="10595623" y="5846562"/>
                  <a:ext cx="14947" cy="49947"/>
                </a:xfrm>
                <a:custGeom>
                  <a:avLst/>
                  <a:gdLst>
                    <a:gd name="connsiteX0" fmla="*/ 14947 w 14947"/>
                    <a:gd name="connsiteY0" fmla="*/ 0 h 49947"/>
                    <a:gd name="connsiteX1" fmla="*/ 7972 w 14947"/>
                    <a:gd name="connsiteY1" fmla="*/ 17438 h 49947"/>
                    <a:gd name="connsiteX2" fmla="*/ 6602 w 14947"/>
                    <a:gd name="connsiteY2" fmla="*/ 34752 h 49947"/>
                    <a:gd name="connsiteX3" fmla="*/ 0 w 14947"/>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4947" h="49947">
                      <a:moveTo>
                        <a:pt x="14947" y="0"/>
                      </a:moveTo>
                      <a:cubicBezTo>
                        <a:pt x="10339" y="7100"/>
                        <a:pt x="8595" y="13203"/>
                        <a:pt x="7972" y="17438"/>
                      </a:cubicBezTo>
                      <a:cubicBezTo>
                        <a:pt x="6851" y="24289"/>
                        <a:pt x="8097" y="27901"/>
                        <a:pt x="6602" y="34752"/>
                      </a:cubicBezTo>
                      <a:cubicBezTo>
                        <a:pt x="5232" y="41478"/>
                        <a:pt x="2243" y="46585"/>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8" name="Freeform 5568">
                  <a:extLst>
                    <a:ext uri="{FF2B5EF4-FFF2-40B4-BE49-F238E27FC236}">
                      <a16:creationId xmlns:a16="http://schemas.microsoft.com/office/drawing/2014/main" id="{A983F7BE-B4FF-409D-8D27-C91EC608789D}"/>
                    </a:ext>
                  </a:extLst>
                </p:cNvPr>
                <p:cNvSpPr/>
                <p:nvPr/>
              </p:nvSpPr>
              <p:spPr>
                <a:xfrm>
                  <a:off x="10605207" y="5843698"/>
                  <a:ext cx="13660" cy="50321"/>
                </a:xfrm>
                <a:custGeom>
                  <a:avLst/>
                  <a:gdLst>
                    <a:gd name="connsiteX0" fmla="*/ 6 w 13660"/>
                    <a:gd name="connsiteY0" fmla="*/ 50321 h 50321"/>
                    <a:gd name="connsiteX1" fmla="*/ 3245 w 13660"/>
                    <a:gd name="connsiteY1" fmla="*/ 31762 h 50321"/>
                    <a:gd name="connsiteX2" fmla="*/ 11217 w 13660"/>
                    <a:gd name="connsiteY2" fmla="*/ 16317 h 50321"/>
                    <a:gd name="connsiteX3" fmla="*/ 13583 w 13660"/>
                    <a:gd name="connsiteY3" fmla="*/ 0 h 50321"/>
                  </a:gdLst>
                  <a:ahLst/>
                  <a:cxnLst>
                    <a:cxn ang="0">
                      <a:pos x="connsiteX0" y="connsiteY0"/>
                    </a:cxn>
                    <a:cxn ang="0">
                      <a:pos x="connsiteX1" y="connsiteY1"/>
                    </a:cxn>
                    <a:cxn ang="0">
                      <a:pos x="connsiteX2" y="connsiteY2"/>
                    </a:cxn>
                    <a:cxn ang="0">
                      <a:pos x="connsiteX3" y="connsiteY3"/>
                    </a:cxn>
                  </a:cxnLst>
                  <a:rect l="l" t="t" r="r" b="b"/>
                  <a:pathLst>
                    <a:path w="13660" h="50321">
                      <a:moveTo>
                        <a:pt x="6" y="50321"/>
                      </a:moveTo>
                      <a:cubicBezTo>
                        <a:pt x="-118" y="41851"/>
                        <a:pt x="1626" y="35872"/>
                        <a:pt x="3245" y="31762"/>
                      </a:cubicBezTo>
                      <a:cubicBezTo>
                        <a:pt x="5861" y="25285"/>
                        <a:pt x="8850" y="22919"/>
                        <a:pt x="11217" y="16317"/>
                      </a:cubicBezTo>
                      <a:cubicBezTo>
                        <a:pt x="13583" y="9840"/>
                        <a:pt x="13832" y="3986"/>
                        <a:pt x="1358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9" name="Freeform 5569">
                  <a:extLst>
                    <a:ext uri="{FF2B5EF4-FFF2-40B4-BE49-F238E27FC236}">
                      <a16:creationId xmlns:a16="http://schemas.microsoft.com/office/drawing/2014/main" id="{F93AF755-B657-B715-A8F1-8E7C1E167051}"/>
                    </a:ext>
                  </a:extLst>
                </p:cNvPr>
                <p:cNvSpPr/>
                <p:nvPr/>
              </p:nvSpPr>
              <p:spPr>
                <a:xfrm>
                  <a:off x="10602594" y="5827491"/>
                  <a:ext cx="26842" cy="26549"/>
                </a:xfrm>
                <a:custGeom>
                  <a:avLst/>
                  <a:gdLst>
                    <a:gd name="connsiteX0" fmla="*/ 26286 w 26842"/>
                    <a:gd name="connsiteY0" fmla="*/ 16954 h 26549"/>
                    <a:gd name="connsiteX1" fmla="*/ 9720 w 26842"/>
                    <a:gd name="connsiteY1" fmla="*/ 26047 h 26549"/>
                    <a:gd name="connsiteX2" fmla="*/ 503 w 26842"/>
                    <a:gd name="connsiteY2" fmla="*/ 9605 h 26549"/>
                    <a:gd name="connsiteX3" fmla="*/ 17069 w 26842"/>
                    <a:gd name="connsiteY3" fmla="*/ 512 h 26549"/>
                    <a:gd name="connsiteX4" fmla="*/ 26286 w 26842"/>
                    <a:gd name="connsiteY4" fmla="*/ 16954 h 26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549">
                      <a:moveTo>
                        <a:pt x="26286" y="16954"/>
                      </a:moveTo>
                      <a:cubicBezTo>
                        <a:pt x="24293" y="23929"/>
                        <a:pt x="16820" y="28040"/>
                        <a:pt x="9720" y="26047"/>
                      </a:cubicBezTo>
                      <a:cubicBezTo>
                        <a:pt x="2620" y="24054"/>
                        <a:pt x="-1491" y="16705"/>
                        <a:pt x="503" y="9605"/>
                      </a:cubicBezTo>
                      <a:cubicBezTo>
                        <a:pt x="2495" y="2505"/>
                        <a:pt x="9845" y="-1481"/>
                        <a:pt x="17069" y="512"/>
                      </a:cubicBezTo>
                      <a:cubicBezTo>
                        <a:pt x="24293" y="2505"/>
                        <a:pt x="28404" y="9979"/>
                        <a:pt x="26286" y="1695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0" name="Freeform 5570">
                  <a:extLst>
                    <a:ext uri="{FF2B5EF4-FFF2-40B4-BE49-F238E27FC236}">
                      <a16:creationId xmlns:a16="http://schemas.microsoft.com/office/drawing/2014/main" id="{2C85C9C0-B287-3675-363D-2A3892494F87}"/>
                    </a:ext>
                  </a:extLst>
                </p:cNvPr>
                <p:cNvSpPr/>
                <p:nvPr/>
              </p:nvSpPr>
              <p:spPr>
                <a:xfrm>
                  <a:off x="10587900" y="5902738"/>
                  <a:ext cx="14947" cy="49947"/>
                </a:xfrm>
                <a:custGeom>
                  <a:avLst/>
                  <a:gdLst>
                    <a:gd name="connsiteX0" fmla="*/ 0 w 14947"/>
                    <a:gd name="connsiteY0" fmla="*/ 49948 h 49947"/>
                    <a:gd name="connsiteX1" fmla="*/ 6975 w 14947"/>
                    <a:gd name="connsiteY1" fmla="*/ 32509 h 49947"/>
                    <a:gd name="connsiteX2" fmla="*/ 8346 w 14947"/>
                    <a:gd name="connsiteY2" fmla="*/ 15196 h 49947"/>
                    <a:gd name="connsiteX3" fmla="*/ 14947 w 14947"/>
                    <a:gd name="connsiteY3" fmla="*/ 0 h 49947"/>
                  </a:gdLst>
                  <a:ahLst/>
                  <a:cxnLst>
                    <a:cxn ang="0">
                      <a:pos x="connsiteX0" y="connsiteY0"/>
                    </a:cxn>
                    <a:cxn ang="0">
                      <a:pos x="connsiteX1" y="connsiteY1"/>
                    </a:cxn>
                    <a:cxn ang="0">
                      <a:pos x="connsiteX2" y="connsiteY2"/>
                    </a:cxn>
                    <a:cxn ang="0">
                      <a:pos x="connsiteX3" y="connsiteY3"/>
                    </a:cxn>
                  </a:cxnLst>
                  <a:rect l="l" t="t" r="r" b="b"/>
                  <a:pathLst>
                    <a:path w="14947" h="49947">
                      <a:moveTo>
                        <a:pt x="0" y="49948"/>
                      </a:moveTo>
                      <a:cubicBezTo>
                        <a:pt x="4609" y="42848"/>
                        <a:pt x="6353" y="36745"/>
                        <a:pt x="6975" y="32509"/>
                      </a:cubicBezTo>
                      <a:cubicBezTo>
                        <a:pt x="8097" y="25659"/>
                        <a:pt x="6975" y="22047"/>
                        <a:pt x="8346" y="15196"/>
                      </a:cubicBezTo>
                      <a:cubicBezTo>
                        <a:pt x="9716" y="8470"/>
                        <a:pt x="12705" y="3363"/>
                        <a:pt x="1494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1" name="Freeform 5571">
                  <a:extLst>
                    <a:ext uri="{FF2B5EF4-FFF2-40B4-BE49-F238E27FC236}">
                      <a16:creationId xmlns:a16="http://schemas.microsoft.com/office/drawing/2014/main" id="{18128D6C-FBED-29EC-DDB2-A90E09A9BC29}"/>
                    </a:ext>
                  </a:extLst>
                </p:cNvPr>
                <p:cNvSpPr/>
                <p:nvPr/>
              </p:nvSpPr>
              <p:spPr>
                <a:xfrm>
                  <a:off x="10579852" y="5905229"/>
                  <a:ext cx="13659" cy="50321"/>
                </a:xfrm>
                <a:custGeom>
                  <a:avLst/>
                  <a:gdLst>
                    <a:gd name="connsiteX0" fmla="*/ 13653 w 13659"/>
                    <a:gd name="connsiteY0" fmla="*/ 0 h 50321"/>
                    <a:gd name="connsiteX1" fmla="*/ 10415 w 13659"/>
                    <a:gd name="connsiteY1" fmla="*/ 18559 h 50321"/>
                    <a:gd name="connsiteX2" fmla="*/ 2444 w 13659"/>
                    <a:gd name="connsiteY2" fmla="*/ 34004 h 50321"/>
                    <a:gd name="connsiteX3" fmla="*/ 77 w 13659"/>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659" h="50321">
                      <a:moveTo>
                        <a:pt x="13653" y="0"/>
                      </a:moveTo>
                      <a:cubicBezTo>
                        <a:pt x="13778" y="8470"/>
                        <a:pt x="12034" y="14448"/>
                        <a:pt x="10415" y="18559"/>
                      </a:cubicBezTo>
                      <a:cubicBezTo>
                        <a:pt x="7800" y="25036"/>
                        <a:pt x="4934" y="27402"/>
                        <a:pt x="2444" y="34004"/>
                      </a:cubicBezTo>
                      <a:cubicBezTo>
                        <a:pt x="77" y="40481"/>
                        <a:pt x="-172" y="46335"/>
                        <a:pt x="77"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42" name="Freeform 5572">
                  <a:extLst>
                    <a:ext uri="{FF2B5EF4-FFF2-40B4-BE49-F238E27FC236}">
                      <a16:creationId xmlns:a16="http://schemas.microsoft.com/office/drawing/2014/main" id="{17302B5E-B48C-0408-02AE-53D2F9134EF1}"/>
                    </a:ext>
                  </a:extLst>
                </p:cNvPr>
                <p:cNvSpPr/>
                <p:nvPr/>
              </p:nvSpPr>
              <p:spPr>
                <a:xfrm>
                  <a:off x="10569451" y="5945251"/>
                  <a:ext cx="26186" cy="26443"/>
                </a:xfrm>
                <a:custGeom>
                  <a:avLst/>
                  <a:gdLst>
                    <a:gd name="connsiteX0" fmla="*/ 513 w 26186"/>
                    <a:gd name="connsiteY0" fmla="*/ 9676 h 26443"/>
                    <a:gd name="connsiteX1" fmla="*/ 16706 w 26186"/>
                    <a:gd name="connsiteY1" fmla="*/ 459 h 26443"/>
                    <a:gd name="connsiteX2" fmla="*/ 25674 w 26186"/>
                    <a:gd name="connsiteY2" fmla="*/ 16776 h 26443"/>
                    <a:gd name="connsiteX3" fmla="*/ 9481 w 26186"/>
                    <a:gd name="connsiteY3" fmla="*/ 25993 h 26443"/>
                    <a:gd name="connsiteX4" fmla="*/ 513 w 26186"/>
                    <a:gd name="connsiteY4" fmla="*/ 9676 h 26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6" h="26443">
                      <a:moveTo>
                        <a:pt x="513" y="9676"/>
                      </a:moveTo>
                      <a:cubicBezTo>
                        <a:pt x="2506" y="2576"/>
                        <a:pt x="9731" y="-1410"/>
                        <a:pt x="16706" y="459"/>
                      </a:cubicBezTo>
                      <a:cubicBezTo>
                        <a:pt x="23681" y="2452"/>
                        <a:pt x="27667" y="9801"/>
                        <a:pt x="25674" y="16776"/>
                      </a:cubicBezTo>
                      <a:cubicBezTo>
                        <a:pt x="23681" y="23751"/>
                        <a:pt x="16332" y="27862"/>
                        <a:pt x="9481" y="25993"/>
                      </a:cubicBezTo>
                      <a:cubicBezTo>
                        <a:pt x="2506" y="24000"/>
                        <a:pt x="-1480" y="16776"/>
                        <a:pt x="513" y="96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8" name="Graphic 2987">
                <a:extLst>
                  <a:ext uri="{FF2B5EF4-FFF2-40B4-BE49-F238E27FC236}">
                    <a16:creationId xmlns:a16="http://schemas.microsoft.com/office/drawing/2014/main" id="{6FBAD2F3-0A03-44B4-41AE-43FDE1C00B71}"/>
                  </a:ext>
                </a:extLst>
              </p:cNvPr>
              <p:cNvGrpSpPr/>
              <p:nvPr/>
            </p:nvGrpSpPr>
            <p:grpSpPr>
              <a:xfrm>
                <a:off x="10597600" y="5835721"/>
                <a:ext cx="60679" cy="143998"/>
                <a:chOff x="10597600" y="5835721"/>
                <a:chExt cx="60679" cy="143998"/>
              </a:xfrm>
              <a:grpFill/>
            </p:grpSpPr>
            <p:sp>
              <p:nvSpPr>
                <p:cNvPr id="4031" name="Freeform 5574">
                  <a:extLst>
                    <a:ext uri="{FF2B5EF4-FFF2-40B4-BE49-F238E27FC236}">
                      <a16:creationId xmlns:a16="http://schemas.microsoft.com/office/drawing/2014/main" id="{2D84D849-712C-436A-86D0-757B2503C828}"/>
                    </a:ext>
                  </a:extLst>
                </p:cNvPr>
                <p:cNvSpPr/>
                <p:nvPr/>
              </p:nvSpPr>
              <p:spPr>
                <a:xfrm>
                  <a:off x="10624147" y="5854783"/>
                  <a:ext cx="15195" cy="49823"/>
                </a:xfrm>
                <a:custGeom>
                  <a:avLst/>
                  <a:gdLst>
                    <a:gd name="connsiteX0" fmla="*/ 15196 w 15195"/>
                    <a:gd name="connsiteY0" fmla="*/ 0 h 49823"/>
                    <a:gd name="connsiteX1" fmla="*/ 8096 w 15195"/>
                    <a:gd name="connsiteY1" fmla="*/ 17438 h 49823"/>
                    <a:gd name="connsiteX2" fmla="*/ 6601 w 15195"/>
                    <a:gd name="connsiteY2" fmla="*/ 34752 h 49823"/>
                    <a:gd name="connsiteX3" fmla="*/ 0 w 1519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194" h="49823">
                      <a:moveTo>
                        <a:pt x="15196" y="0"/>
                      </a:moveTo>
                      <a:cubicBezTo>
                        <a:pt x="10587" y="7100"/>
                        <a:pt x="8843" y="13079"/>
                        <a:pt x="8096" y="17438"/>
                      </a:cubicBezTo>
                      <a:cubicBezTo>
                        <a:pt x="6975" y="24289"/>
                        <a:pt x="8096" y="27901"/>
                        <a:pt x="6601" y="34752"/>
                      </a:cubicBezTo>
                      <a:cubicBezTo>
                        <a:pt x="5107"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2" name="Freeform 5575">
                  <a:extLst>
                    <a:ext uri="{FF2B5EF4-FFF2-40B4-BE49-F238E27FC236}">
                      <a16:creationId xmlns:a16="http://schemas.microsoft.com/office/drawing/2014/main" id="{28751357-A4AC-8F54-0D1A-B43D5DCB5457}"/>
                    </a:ext>
                  </a:extLst>
                </p:cNvPr>
                <p:cNvSpPr/>
                <p:nvPr/>
              </p:nvSpPr>
              <p:spPr>
                <a:xfrm>
                  <a:off x="10633607" y="5851794"/>
                  <a:ext cx="13982" cy="50321"/>
                </a:xfrm>
                <a:custGeom>
                  <a:avLst/>
                  <a:gdLst>
                    <a:gd name="connsiteX0" fmla="*/ 6 w 13982"/>
                    <a:gd name="connsiteY0" fmla="*/ 50321 h 50321"/>
                    <a:gd name="connsiteX1" fmla="*/ 3369 w 13982"/>
                    <a:gd name="connsiteY1" fmla="*/ 31762 h 50321"/>
                    <a:gd name="connsiteX2" fmla="*/ 11465 w 13982"/>
                    <a:gd name="connsiteY2" fmla="*/ 16317 h 50321"/>
                    <a:gd name="connsiteX3" fmla="*/ 13957 w 13982"/>
                    <a:gd name="connsiteY3" fmla="*/ 0 h 50321"/>
                  </a:gdLst>
                  <a:ahLst/>
                  <a:cxnLst>
                    <a:cxn ang="0">
                      <a:pos x="connsiteX0" y="connsiteY0"/>
                    </a:cxn>
                    <a:cxn ang="0">
                      <a:pos x="connsiteX1" y="connsiteY1"/>
                    </a:cxn>
                    <a:cxn ang="0">
                      <a:pos x="connsiteX2" y="connsiteY2"/>
                    </a:cxn>
                    <a:cxn ang="0">
                      <a:pos x="connsiteX3" y="connsiteY3"/>
                    </a:cxn>
                  </a:cxnLst>
                  <a:rect l="l" t="t" r="r" b="b"/>
                  <a:pathLst>
                    <a:path w="13982" h="50321">
                      <a:moveTo>
                        <a:pt x="6" y="50321"/>
                      </a:moveTo>
                      <a:cubicBezTo>
                        <a:pt x="-118" y="41976"/>
                        <a:pt x="1626" y="35873"/>
                        <a:pt x="3369" y="31762"/>
                      </a:cubicBezTo>
                      <a:cubicBezTo>
                        <a:pt x="6110" y="25285"/>
                        <a:pt x="8974" y="22919"/>
                        <a:pt x="11465" y="16317"/>
                      </a:cubicBezTo>
                      <a:cubicBezTo>
                        <a:pt x="13832" y="9840"/>
                        <a:pt x="14081" y="3986"/>
                        <a:pt x="1395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3" name="Freeform 5576">
                  <a:extLst>
                    <a:ext uri="{FF2B5EF4-FFF2-40B4-BE49-F238E27FC236}">
                      <a16:creationId xmlns:a16="http://schemas.microsoft.com/office/drawing/2014/main" id="{0DAC1930-F92A-982F-8490-271D4496EBD2}"/>
                    </a:ext>
                  </a:extLst>
                </p:cNvPr>
                <p:cNvSpPr/>
                <p:nvPr/>
              </p:nvSpPr>
              <p:spPr>
                <a:xfrm>
                  <a:off x="10631491" y="5835721"/>
                  <a:ext cx="26788" cy="26540"/>
                </a:xfrm>
                <a:custGeom>
                  <a:avLst/>
                  <a:gdLst>
                    <a:gd name="connsiteX0" fmla="*/ 26286 w 26788"/>
                    <a:gd name="connsiteY0" fmla="*/ 16945 h 26540"/>
                    <a:gd name="connsiteX1" fmla="*/ 9720 w 26788"/>
                    <a:gd name="connsiteY1" fmla="*/ 26037 h 26540"/>
                    <a:gd name="connsiteX2" fmla="*/ 503 w 26788"/>
                    <a:gd name="connsiteY2" fmla="*/ 9596 h 26540"/>
                    <a:gd name="connsiteX3" fmla="*/ 17068 w 26788"/>
                    <a:gd name="connsiteY3" fmla="*/ 503 h 26540"/>
                    <a:gd name="connsiteX4" fmla="*/ 26286 w 26788"/>
                    <a:gd name="connsiteY4" fmla="*/ 16945 h 2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8" h="26540">
                      <a:moveTo>
                        <a:pt x="26286" y="16945"/>
                      </a:moveTo>
                      <a:cubicBezTo>
                        <a:pt x="24168" y="23920"/>
                        <a:pt x="16820" y="28030"/>
                        <a:pt x="9720" y="26037"/>
                      </a:cubicBezTo>
                      <a:cubicBezTo>
                        <a:pt x="2620" y="24044"/>
                        <a:pt x="-1491" y="16696"/>
                        <a:pt x="503" y="9596"/>
                      </a:cubicBezTo>
                      <a:cubicBezTo>
                        <a:pt x="2495" y="2620"/>
                        <a:pt x="9969" y="-1490"/>
                        <a:pt x="17068" y="503"/>
                      </a:cubicBezTo>
                      <a:cubicBezTo>
                        <a:pt x="24168" y="2496"/>
                        <a:pt x="28279" y="9969"/>
                        <a:pt x="26286" y="169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4" name="Freeform 5577">
                  <a:extLst>
                    <a:ext uri="{FF2B5EF4-FFF2-40B4-BE49-F238E27FC236}">
                      <a16:creationId xmlns:a16="http://schemas.microsoft.com/office/drawing/2014/main" id="{979B4D47-40B9-9657-27E3-ACB0F1742FF9}"/>
                    </a:ext>
                  </a:extLst>
                </p:cNvPr>
                <p:cNvSpPr/>
                <p:nvPr/>
              </p:nvSpPr>
              <p:spPr>
                <a:xfrm>
                  <a:off x="10616050" y="5910834"/>
                  <a:ext cx="15196" cy="49823"/>
                </a:xfrm>
                <a:custGeom>
                  <a:avLst/>
                  <a:gdLst>
                    <a:gd name="connsiteX0" fmla="*/ 0 w 15196"/>
                    <a:gd name="connsiteY0" fmla="*/ 49823 h 49823"/>
                    <a:gd name="connsiteX1" fmla="*/ 7100 w 15196"/>
                    <a:gd name="connsiteY1" fmla="*/ 32385 h 49823"/>
                    <a:gd name="connsiteX2" fmla="*/ 8595 w 15196"/>
                    <a:gd name="connsiteY2" fmla="*/ 15071 h 49823"/>
                    <a:gd name="connsiteX3" fmla="*/ 15196 w 15196"/>
                    <a:gd name="connsiteY3" fmla="*/ 0 h 49823"/>
                  </a:gdLst>
                  <a:ahLst/>
                  <a:cxnLst>
                    <a:cxn ang="0">
                      <a:pos x="connsiteX0" y="connsiteY0"/>
                    </a:cxn>
                    <a:cxn ang="0">
                      <a:pos x="connsiteX1" y="connsiteY1"/>
                    </a:cxn>
                    <a:cxn ang="0">
                      <a:pos x="connsiteX2" y="connsiteY2"/>
                    </a:cxn>
                    <a:cxn ang="0">
                      <a:pos x="connsiteX3" y="connsiteY3"/>
                    </a:cxn>
                  </a:cxnLst>
                  <a:rect l="l" t="t" r="r" b="b"/>
                  <a:pathLst>
                    <a:path w="15196" h="49823">
                      <a:moveTo>
                        <a:pt x="0" y="49823"/>
                      </a:moveTo>
                      <a:cubicBezTo>
                        <a:pt x="4609" y="42723"/>
                        <a:pt x="6353" y="36745"/>
                        <a:pt x="7100" y="32385"/>
                      </a:cubicBezTo>
                      <a:cubicBezTo>
                        <a:pt x="8345" y="25535"/>
                        <a:pt x="7100" y="22047"/>
                        <a:pt x="8595" y="15071"/>
                      </a:cubicBezTo>
                      <a:cubicBezTo>
                        <a:pt x="10089" y="8346"/>
                        <a:pt x="12954" y="3239"/>
                        <a:pt x="151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5" name="Freeform 5578">
                  <a:extLst>
                    <a:ext uri="{FF2B5EF4-FFF2-40B4-BE49-F238E27FC236}">
                      <a16:creationId xmlns:a16="http://schemas.microsoft.com/office/drawing/2014/main" id="{7BB71897-F5F1-5A86-0EF5-252826935BDE}"/>
                    </a:ext>
                  </a:extLst>
                </p:cNvPr>
                <p:cNvSpPr/>
                <p:nvPr/>
              </p:nvSpPr>
              <p:spPr>
                <a:xfrm>
                  <a:off x="10608053" y="5913325"/>
                  <a:ext cx="13858" cy="50321"/>
                </a:xfrm>
                <a:custGeom>
                  <a:avLst/>
                  <a:gdLst>
                    <a:gd name="connsiteX0" fmla="*/ 13852 w 13858"/>
                    <a:gd name="connsiteY0" fmla="*/ 0 h 50321"/>
                    <a:gd name="connsiteX1" fmla="*/ 10489 w 13858"/>
                    <a:gd name="connsiteY1" fmla="*/ 18559 h 50321"/>
                    <a:gd name="connsiteX2" fmla="*/ 2517 w 13858"/>
                    <a:gd name="connsiteY2" fmla="*/ 34004 h 50321"/>
                    <a:gd name="connsiteX3" fmla="*/ 26 w 13858"/>
                    <a:gd name="connsiteY3" fmla="*/ 50321 h 50321"/>
                  </a:gdLst>
                  <a:ahLst/>
                  <a:cxnLst>
                    <a:cxn ang="0">
                      <a:pos x="connsiteX0" y="connsiteY0"/>
                    </a:cxn>
                    <a:cxn ang="0">
                      <a:pos x="connsiteX1" y="connsiteY1"/>
                    </a:cxn>
                    <a:cxn ang="0">
                      <a:pos x="connsiteX2" y="connsiteY2"/>
                    </a:cxn>
                    <a:cxn ang="0">
                      <a:pos x="connsiteX3" y="connsiteY3"/>
                    </a:cxn>
                  </a:cxnLst>
                  <a:rect l="l" t="t" r="r" b="b"/>
                  <a:pathLst>
                    <a:path w="13858" h="50321">
                      <a:moveTo>
                        <a:pt x="13852" y="0"/>
                      </a:moveTo>
                      <a:cubicBezTo>
                        <a:pt x="13977" y="8345"/>
                        <a:pt x="12233" y="14449"/>
                        <a:pt x="10489" y="18559"/>
                      </a:cubicBezTo>
                      <a:cubicBezTo>
                        <a:pt x="7749" y="25036"/>
                        <a:pt x="4884" y="27402"/>
                        <a:pt x="2517" y="34004"/>
                      </a:cubicBezTo>
                      <a:cubicBezTo>
                        <a:pt x="150" y="40481"/>
                        <a:pt x="-98" y="46335"/>
                        <a:pt x="26" y="5032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6" name="Freeform 5579">
                  <a:extLst>
                    <a:ext uri="{FF2B5EF4-FFF2-40B4-BE49-F238E27FC236}">
                      <a16:creationId xmlns:a16="http://schemas.microsoft.com/office/drawing/2014/main" id="{690427F9-993C-7477-7C9D-FBAFB8743FE2}"/>
                    </a:ext>
                  </a:extLst>
                </p:cNvPr>
                <p:cNvSpPr/>
                <p:nvPr/>
              </p:nvSpPr>
              <p:spPr>
                <a:xfrm>
                  <a:off x="10597600" y="5953303"/>
                  <a:ext cx="26242" cy="26415"/>
                </a:xfrm>
                <a:custGeom>
                  <a:avLst/>
                  <a:gdLst>
                    <a:gd name="connsiteX0" fmla="*/ 514 w 26242"/>
                    <a:gd name="connsiteY0" fmla="*/ 9596 h 26415"/>
                    <a:gd name="connsiteX1" fmla="*/ 16831 w 26242"/>
                    <a:gd name="connsiteY1" fmla="*/ 503 h 26415"/>
                    <a:gd name="connsiteX2" fmla="*/ 25674 w 26242"/>
                    <a:gd name="connsiteY2" fmla="*/ 16820 h 26415"/>
                    <a:gd name="connsiteX3" fmla="*/ 9357 w 26242"/>
                    <a:gd name="connsiteY3" fmla="*/ 25913 h 26415"/>
                    <a:gd name="connsiteX4" fmla="*/ 514 w 26242"/>
                    <a:gd name="connsiteY4" fmla="*/ 9596 h 26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2" h="26415">
                      <a:moveTo>
                        <a:pt x="514" y="9596"/>
                      </a:moveTo>
                      <a:cubicBezTo>
                        <a:pt x="2507" y="2620"/>
                        <a:pt x="9855" y="-1490"/>
                        <a:pt x="16831" y="503"/>
                      </a:cubicBezTo>
                      <a:cubicBezTo>
                        <a:pt x="23806" y="2496"/>
                        <a:pt x="27792" y="9845"/>
                        <a:pt x="25674" y="16820"/>
                      </a:cubicBezTo>
                      <a:cubicBezTo>
                        <a:pt x="23557" y="23795"/>
                        <a:pt x="16333" y="27906"/>
                        <a:pt x="9357" y="25913"/>
                      </a:cubicBezTo>
                      <a:cubicBezTo>
                        <a:pt x="2507" y="23920"/>
                        <a:pt x="-1479" y="16696"/>
                        <a:pt x="514"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49" name="Graphic 2987">
                <a:extLst>
                  <a:ext uri="{FF2B5EF4-FFF2-40B4-BE49-F238E27FC236}">
                    <a16:creationId xmlns:a16="http://schemas.microsoft.com/office/drawing/2014/main" id="{C848D606-51AE-A1E0-8673-97FF414F58B5}"/>
                  </a:ext>
                </a:extLst>
              </p:cNvPr>
              <p:cNvGrpSpPr/>
              <p:nvPr/>
            </p:nvGrpSpPr>
            <p:grpSpPr>
              <a:xfrm>
                <a:off x="10625695" y="5843932"/>
                <a:ext cx="61298" cy="143958"/>
                <a:chOff x="10625695" y="5843932"/>
                <a:chExt cx="61298" cy="143958"/>
              </a:xfrm>
              <a:grpFill/>
            </p:grpSpPr>
            <p:sp>
              <p:nvSpPr>
                <p:cNvPr id="4025" name="Freeform 5581">
                  <a:extLst>
                    <a:ext uri="{FF2B5EF4-FFF2-40B4-BE49-F238E27FC236}">
                      <a16:creationId xmlns:a16="http://schemas.microsoft.com/office/drawing/2014/main" id="{17D566A8-97DE-66E5-E5CF-E9B8E2541895}"/>
                    </a:ext>
                  </a:extLst>
                </p:cNvPr>
                <p:cNvSpPr/>
                <p:nvPr/>
              </p:nvSpPr>
              <p:spPr>
                <a:xfrm>
                  <a:off x="10652670" y="5863004"/>
                  <a:ext cx="15445" cy="49823"/>
                </a:xfrm>
                <a:custGeom>
                  <a:avLst/>
                  <a:gdLst>
                    <a:gd name="connsiteX0" fmla="*/ 15445 w 15445"/>
                    <a:gd name="connsiteY0" fmla="*/ 0 h 49823"/>
                    <a:gd name="connsiteX1" fmla="*/ 8221 w 15445"/>
                    <a:gd name="connsiteY1" fmla="*/ 17438 h 49823"/>
                    <a:gd name="connsiteX2" fmla="*/ 6727 w 15445"/>
                    <a:gd name="connsiteY2" fmla="*/ 34752 h 49823"/>
                    <a:gd name="connsiteX3" fmla="*/ 0 w 15445"/>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445" h="49823">
                      <a:moveTo>
                        <a:pt x="15445" y="0"/>
                      </a:moveTo>
                      <a:cubicBezTo>
                        <a:pt x="10712" y="6975"/>
                        <a:pt x="8969" y="13078"/>
                        <a:pt x="8221" y="17438"/>
                      </a:cubicBezTo>
                      <a:cubicBezTo>
                        <a:pt x="6975" y="24289"/>
                        <a:pt x="8221" y="27776"/>
                        <a:pt x="6727" y="34752"/>
                      </a:cubicBezTo>
                      <a:cubicBezTo>
                        <a:pt x="5231" y="41478"/>
                        <a:pt x="2242" y="46584"/>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6" name="Freeform 5582">
                  <a:extLst>
                    <a:ext uri="{FF2B5EF4-FFF2-40B4-BE49-F238E27FC236}">
                      <a16:creationId xmlns:a16="http://schemas.microsoft.com/office/drawing/2014/main" id="{D7D1349F-37C7-ED8D-41B0-E07092666AD8}"/>
                    </a:ext>
                  </a:extLst>
                </p:cNvPr>
                <p:cNvSpPr/>
                <p:nvPr/>
              </p:nvSpPr>
              <p:spPr>
                <a:xfrm>
                  <a:off x="10662131" y="5860264"/>
                  <a:ext cx="14231" cy="50072"/>
                </a:xfrm>
                <a:custGeom>
                  <a:avLst/>
                  <a:gdLst>
                    <a:gd name="connsiteX0" fmla="*/ 6 w 14231"/>
                    <a:gd name="connsiteY0" fmla="*/ 50072 h 50072"/>
                    <a:gd name="connsiteX1" fmla="*/ 3494 w 14231"/>
                    <a:gd name="connsiteY1" fmla="*/ 31638 h 50072"/>
                    <a:gd name="connsiteX2" fmla="*/ 11590 w 14231"/>
                    <a:gd name="connsiteY2" fmla="*/ 16317 h 50072"/>
                    <a:gd name="connsiteX3" fmla="*/ 14206 w 14231"/>
                    <a:gd name="connsiteY3" fmla="*/ 0 h 50072"/>
                  </a:gdLst>
                  <a:ahLst/>
                  <a:cxnLst>
                    <a:cxn ang="0">
                      <a:pos x="connsiteX0" y="connsiteY0"/>
                    </a:cxn>
                    <a:cxn ang="0">
                      <a:pos x="connsiteX1" y="connsiteY1"/>
                    </a:cxn>
                    <a:cxn ang="0">
                      <a:pos x="connsiteX2" y="connsiteY2"/>
                    </a:cxn>
                    <a:cxn ang="0">
                      <a:pos x="connsiteX3" y="connsiteY3"/>
                    </a:cxn>
                  </a:cxnLst>
                  <a:rect l="l" t="t" r="r" b="b"/>
                  <a:pathLst>
                    <a:path w="14231" h="50072">
                      <a:moveTo>
                        <a:pt x="6" y="50072"/>
                      </a:moveTo>
                      <a:cubicBezTo>
                        <a:pt x="-119" y="41602"/>
                        <a:pt x="1750" y="35624"/>
                        <a:pt x="3494" y="31638"/>
                      </a:cubicBezTo>
                      <a:cubicBezTo>
                        <a:pt x="6234" y="25161"/>
                        <a:pt x="9098" y="22919"/>
                        <a:pt x="11590" y="16317"/>
                      </a:cubicBezTo>
                      <a:cubicBezTo>
                        <a:pt x="14081" y="9840"/>
                        <a:pt x="14330" y="3986"/>
                        <a:pt x="142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7" name="Freeform 5583">
                  <a:extLst>
                    <a:ext uri="{FF2B5EF4-FFF2-40B4-BE49-F238E27FC236}">
                      <a16:creationId xmlns:a16="http://schemas.microsoft.com/office/drawing/2014/main" id="{141492F6-A988-447F-697A-D59B5D845FD3}"/>
                    </a:ext>
                  </a:extLst>
                </p:cNvPr>
                <p:cNvSpPr/>
                <p:nvPr/>
              </p:nvSpPr>
              <p:spPr>
                <a:xfrm>
                  <a:off x="10660209" y="5843932"/>
                  <a:ext cx="26783" cy="26579"/>
                </a:xfrm>
                <a:custGeom>
                  <a:avLst/>
                  <a:gdLst>
                    <a:gd name="connsiteX0" fmla="*/ 26216 w 26783"/>
                    <a:gd name="connsiteY0" fmla="*/ 17203 h 26579"/>
                    <a:gd name="connsiteX1" fmla="*/ 9650 w 26783"/>
                    <a:gd name="connsiteY1" fmla="*/ 26047 h 26579"/>
                    <a:gd name="connsiteX2" fmla="*/ 557 w 26783"/>
                    <a:gd name="connsiteY2" fmla="*/ 9605 h 26579"/>
                    <a:gd name="connsiteX3" fmla="*/ 17248 w 26783"/>
                    <a:gd name="connsiteY3" fmla="*/ 512 h 26579"/>
                    <a:gd name="connsiteX4" fmla="*/ 26216 w 26783"/>
                    <a:gd name="connsiteY4" fmla="*/ 17203 h 26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79">
                      <a:moveTo>
                        <a:pt x="26216" y="17203"/>
                      </a:moveTo>
                      <a:cubicBezTo>
                        <a:pt x="24099" y="24303"/>
                        <a:pt x="16750" y="28040"/>
                        <a:pt x="9650" y="26047"/>
                      </a:cubicBezTo>
                      <a:cubicBezTo>
                        <a:pt x="2550" y="24054"/>
                        <a:pt x="-1561" y="16705"/>
                        <a:pt x="557" y="9605"/>
                      </a:cubicBezTo>
                      <a:cubicBezTo>
                        <a:pt x="2675" y="2505"/>
                        <a:pt x="10024" y="-1481"/>
                        <a:pt x="17248" y="512"/>
                      </a:cubicBezTo>
                      <a:cubicBezTo>
                        <a:pt x="24347" y="2630"/>
                        <a:pt x="28333" y="10228"/>
                        <a:pt x="26216" y="172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8" name="Freeform 5584">
                  <a:extLst>
                    <a:ext uri="{FF2B5EF4-FFF2-40B4-BE49-F238E27FC236}">
                      <a16:creationId xmlns:a16="http://schemas.microsoft.com/office/drawing/2014/main" id="{4F403404-E6F8-2A6F-62D3-D8CD0266EFA8}"/>
                    </a:ext>
                  </a:extLst>
                </p:cNvPr>
                <p:cNvSpPr/>
                <p:nvPr/>
              </p:nvSpPr>
              <p:spPr>
                <a:xfrm>
                  <a:off x="10644325" y="5919055"/>
                  <a:ext cx="15569" cy="49698"/>
                </a:xfrm>
                <a:custGeom>
                  <a:avLst/>
                  <a:gdLst>
                    <a:gd name="connsiteX0" fmla="*/ 0 w 15569"/>
                    <a:gd name="connsiteY0" fmla="*/ 49698 h 49698"/>
                    <a:gd name="connsiteX1" fmla="*/ 7225 w 15569"/>
                    <a:gd name="connsiteY1" fmla="*/ 32385 h 49698"/>
                    <a:gd name="connsiteX2" fmla="*/ 8844 w 15569"/>
                    <a:gd name="connsiteY2" fmla="*/ 15071 h 49698"/>
                    <a:gd name="connsiteX3" fmla="*/ 15570 w 15569"/>
                    <a:gd name="connsiteY3" fmla="*/ 0 h 49698"/>
                  </a:gdLst>
                  <a:ahLst/>
                  <a:cxnLst>
                    <a:cxn ang="0">
                      <a:pos x="connsiteX0" y="connsiteY0"/>
                    </a:cxn>
                    <a:cxn ang="0">
                      <a:pos x="connsiteX1" y="connsiteY1"/>
                    </a:cxn>
                    <a:cxn ang="0">
                      <a:pos x="connsiteX2" y="connsiteY2"/>
                    </a:cxn>
                    <a:cxn ang="0">
                      <a:pos x="connsiteX3" y="connsiteY3"/>
                    </a:cxn>
                  </a:cxnLst>
                  <a:rect l="l" t="t" r="r" b="b"/>
                  <a:pathLst>
                    <a:path w="15569" h="49698">
                      <a:moveTo>
                        <a:pt x="0" y="49698"/>
                      </a:moveTo>
                      <a:cubicBezTo>
                        <a:pt x="4609" y="42723"/>
                        <a:pt x="6477" y="36620"/>
                        <a:pt x="7225" y="32385"/>
                      </a:cubicBezTo>
                      <a:cubicBezTo>
                        <a:pt x="8470" y="25534"/>
                        <a:pt x="7348" y="21922"/>
                        <a:pt x="8844" y="15071"/>
                      </a:cubicBezTo>
                      <a:cubicBezTo>
                        <a:pt x="10339" y="8346"/>
                        <a:pt x="13328" y="3239"/>
                        <a:pt x="155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9" name="Freeform 5585">
                  <a:extLst>
                    <a:ext uri="{FF2B5EF4-FFF2-40B4-BE49-F238E27FC236}">
                      <a16:creationId xmlns:a16="http://schemas.microsoft.com/office/drawing/2014/main" id="{D87D077F-D6D3-79A9-2D3C-7B0D1BFD1C69}"/>
                    </a:ext>
                  </a:extLst>
                </p:cNvPr>
                <p:cNvSpPr/>
                <p:nvPr/>
              </p:nvSpPr>
              <p:spPr>
                <a:xfrm>
                  <a:off x="10636207" y="5921421"/>
                  <a:ext cx="14102" cy="50196"/>
                </a:xfrm>
                <a:custGeom>
                  <a:avLst/>
                  <a:gdLst>
                    <a:gd name="connsiteX0" fmla="*/ 14096 w 14102"/>
                    <a:gd name="connsiteY0" fmla="*/ 0 h 50196"/>
                    <a:gd name="connsiteX1" fmla="*/ 10734 w 14102"/>
                    <a:gd name="connsiteY1" fmla="*/ 18435 h 50196"/>
                    <a:gd name="connsiteX2" fmla="*/ 2637 w 14102"/>
                    <a:gd name="connsiteY2" fmla="*/ 33880 h 50196"/>
                    <a:gd name="connsiteX3" fmla="*/ 21 w 14102"/>
                    <a:gd name="connsiteY3" fmla="*/ 50197 h 50196"/>
                  </a:gdLst>
                  <a:ahLst/>
                  <a:cxnLst>
                    <a:cxn ang="0">
                      <a:pos x="connsiteX0" y="connsiteY0"/>
                    </a:cxn>
                    <a:cxn ang="0">
                      <a:pos x="connsiteX1" y="connsiteY1"/>
                    </a:cxn>
                    <a:cxn ang="0">
                      <a:pos x="connsiteX2" y="connsiteY2"/>
                    </a:cxn>
                    <a:cxn ang="0">
                      <a:pos x="connsiteX3" y="connsiteY3"/>
                    </a:cxn>
                  </a:cxnLst>
                  <a:rect l="l" t="t" r="r" b="b"/>
                  <a:pathLst>
                    <a:path w="14102" h="50196">
                      <a:moveTo>
                        <a:pt x="14096" y="0"/>
                      </a:moveTo>
                      <a:cubicBezTo>
                        <a:pt x="14221" y="8345"/>
                        <a:pt x="12352" y="14449"/>
                        <a:pt x="10734" y="18435"/>
                      </a:cubicBezTo>
                      <a:cubicBezTo>
                        <a:pt x="7993" y="24912"/>
                        <a:pt x="5128" y="27278"/>
                        <a:pt x="2637" y="33880"/>
                      </a:cubicBezTo>
                      <a:cubicBezTo>
                        <a:pt x="270" y="40357"/>
                        <a:pt x="-104" y="46211"/>
                        <a:pt x="21" y="5019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30" name="Freeform 5586">
                  <a:extLst>
                    <a:ext uri="{FF2B5EF4-FFF2-40B4-BE49-F238E27FC236}">
                      <a16:creationId xmlns:a16="http://schemas.microsoft.com/office/drawing/2014/main" id="{D5A3F1C0-B167-091F-6EE2-7426D8EB0EFC}"/>
                    </a:ext>
                  </a:extLst>
                </p:cNvPr>
                <p:cNvSpPr/>
                <p:nvPr/>
              </p:nvSpPr>
              <p:spPr>
                <a:xfrm>
                  <a:off x="10625695" y="5961399"/>
                  <a:ext cx="26184" cy="26491"/>
                </a:xfrm>
                <a:custGeom>
                  <a:avLst/>
                  <a:gdLst>
                    <a:gd name="connsiteX0" fmla="*/ 569 w 26184"/>
                    <a:gd name="connsiteY0" fmla="*/ 9596 h 26491"/>
                    <a:gd name="connsiteX1" fmla="*/ 16886 w 26184"/>
                    <a:gd name="connsiteY1" fmla="*/ 503 h 26491"/>
                    <a:gd name="connsiteX2" fmla="*/ 25605 w 26184"/>
                    <a:gd name="connsiteY2" fmla="*/ 17069 h 26491"/>
                    <a:gd name="connsiteX3" fmla="*/ 9288 w 26184"/>
                    <a:gd name="connsiteY3" fmla="*/ 25913 h 26491"/>
                    <a:gd name="connsiteX4" fmla="*/ 569 w 26184"/>
                    <a:gd name="connsiteY4" fmla="*/ 9596 h 26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4" h="26491">
                      <a:moveTo>
                        <a:pt x="569" y="9596"/>
                      </a:moveTo>
                      <a:cubicBezTo>
                        <a:pt x="2686" y="2620"/>
                        <a:pt x="9911" y="-1490"/>
                        <a:pt x="16886" y="503"/>
                      </a:cubicBezTo>
                      <a:cubicBezTo>
                        <a:pt x="23861" y="2496"/>
                        <a:pt x="27723" y="10094"/>
                        <a:pt x="25605" y="17069"/>
                      </a:cubicBezTo>
                      <a:cubicBezTo>
                        <a:pt x="23488" y="24169"/>
                        <a:pt x="16263" y="28030"/>
                        <a:pt x="9288" y="25913"/>
                      </a:cubicBezTo>
                      <a:cubicBezTo>
                        <a:pt x="2438" y="23920"/>
                        <a:pt x="-1548" y="16571"/>
                        <a:pt x="569" y="959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0" name="Graphic 2987">
                <a:extLst>
                  <a:ext uri="{FF2B5EF4-FFF2-40B4-BE49-F238E27FC236}">
                    <a16:creationId xmlns:a16="http://schemas.microsoft.com/office/drawing/2014/main" id="{71F51DD9-1074-323F-BF6E-4EF735D27A2E}"/>
                  </a:ext>
                </a:extLst>
              </p:cNvPr>
              <p:cNvGrpSpPr/>
              <p:nvPr/>
            </p:nvGrpSpPr>
            <p:grpSpPr>
              <a:xfrm>
                <a:off x="10653709" y="5852663"/>
                <a:ext cx="61931" cy="143688"/>
                <a:chOff x="10653709" y="5852663"/>
                <a:chExt cx="61931" cy="143688"/>
              </a:xfrm>
              <a:grpFill/>
            </p:grpSpPr>
            <p:sp>
              <p:nvSpPr>
                <p:cNvPr id="4019" name="Freeform 5588">
                  <a:extLst>
                    <a:ext uri="{FF2B5EF4-FFF2-40B4-BE49-F238E27FC236}">
                      <a16:creationId xmlns:a16="http://schemas.microsoft.com/office/drawing/2014/main" id="{59EED413-746C-DCB8-5092-B9D4D262C2CA}"/>
                    </a:ext>
                  </a:extLst>
                </p:cNvPr>
                <p:cNvSpPr/>
                <p:nvPr/>
              </p:nvSpPr>
              <p:spPr>
                <a:xfrm>
                  <a:off x="10680820" y="5871723"/>
                  <a:ext cx="15819" cy="49698"/>
                </a:xfrm>
                <a:custGeom>
                  <a:avLst/>
                  <a:gdLst>
                    <a:gd name="connsiteX0" fmla="*/ 15819 w 15819"/>
                    <a:gd name="connsiteY0" fmla="*/ 0 h 49698"/>
                    <a:gd name="connsiteX1" fmla="*/ 8470 w 15819"/>
                    <a:gd name="connsiteY1" fmla="*/ 17313 h 49698"/>
                    <a:gd name="connsiteX2" fmla="*/ 6851 w 15819"/>
                    <a:gd name="connsiteY2" fmla="*/ 34627 h 49698"/>
                    <a:gd name="connsiteX3" fmla="*/ 0 w 15819"/>
                    <a:gd name="connsiteY3" fmla="*/ 49698 h 49698"/>
                  </a:gdLst>
                  <a:ahLst/>
                  <a:cxnLst>
                    <a:cxn ang="0">
                      <a:pos x="connsiteX0" y="connsiteY0"/>
                    </a:cxn>
                    <a:cxn ang="0">
                      <a:pos x="connsiteX1" y="connsiteY1"/>
                    </a:cxn>
                    <a:cxn ang="0">
                      <a:pos x="connsiteX2" y="connsiteY2"/>
                    </a:cxn>
                    <a:cxn ang="0">
                      <a:pos x="connsiteX3" y="connsiteY3"/>
                    </a:cxn>
                  </a:cxnLst>
                  <a:rect l="l" t="t" r="r" b="b"/>
                  <a:pathLst>
                    <a:path w="15818" h="49698">
                      <a:moveTo>
                        <a:pt x="15819" y="0"/>
                      </a:moveTo>
                      <a:cubicBezTo>
                        <a:pt x="11086" y="6975"/>
                        <a:pt x="9342" y="13078"/>
                        <a:pt x="8470" y="17313"/>
                      </a:cubicBezTo>
                      <a:cubicBezTo>
                        <a:pt x="7225" y="24164"/>
                        <a:pt x="8345" y="27776"/>
                        <a:pt x="6851" y="34627"/>
                      </a:cubicBezTo>
                      <a:cubicBezTo>
                        <a:pt x="5356" y="41353"/>
                        <a:pt x="2367" y="46460"/>
                        <a:pt x="0" y="4969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0" name="Freeform 5589">
                  <a:extLst>
                    <a:ext uri="{FF2B5EF4-FFF2-40B4-BE49-F238E27FC236}">
                      <a16:creationId xmlns:a16="http://schemas.microsoft.com/office/drawing/2014/main" id="{665CECE9-9FCA-0541-5940-680A11082FAA}"/>
                    </a:ext>
                  </a:extLst>
                </p:cNvPr>
                <p:cNvSpPr/>
                <p:nvPr/>
              </p:nvSpPr>
              <p:spPr>
                <a:xfrm>
                  <a:off x="10690411" y="5868983"/>
                  <a:ext cx="14349" cy="50072"/>
                </a:xfrm>
                <a:custGeom>
                  <a:avLst/>
                  <a:gdLst>
                    <a:gd name="connsiteX0" fmla="*/ 0 w 14349"/>
                    <a:gd name="connsiteY0" fmla="*/ 50072 h 50072"/>
                    <a:gd name="connsiteX1" fmla="*/ 3487 w 14349"/>
                    <a:gd name="connsiteY1" fmla="*/ 31637 h 50072"/>
                    <a:gd name="connsiteX2" fmla="*/ 11708 w 14349"/>
                    <a:gd name="connsiteY2" fmla="*/ 16317 h 50072"/>
                    <a:gd name="connsiteX3" fmla="*/ 14324 w 14349"/>
                    <a:gd name="connsiteY3" fmla="*/ 0 h 50072"/>
                  </a:gdLst>
                  <a:ahLst/>
                  <a:cxnLst>
                    <a:cxn ang="0">
                      <a:pos x="connsiteX0" y="connsiteY0"/>
                    </a:cxn>
                    <a:cxn ang="0">
                      <a:pos x="connsiteX1" y="connsiteY1"/>
                    </a:cxn>
                    <a:cxn ang="0">
                      <a:pos x="connsiteX2" y="connsiteY2"/>
                    </a:cxn>
                    <a:cxn ang="0">
                      <a:pos x="connsiteX3" y="connsiteY3"/>
                    </a:cxn>
                  </a:cxnLst>
                  <a:rect l="l" t="t" r="r" b="b"/>
                  <a:pathLst>
                    <a:path w="14349" h="50072">
                      <a:moveTo>
                        <a:pt x="0" y="50072"/>
                      </a:moveTo>
                      <a:cubicBezTo>
                        <a:pt x="0" y="41602"/>
                        <a:pt x="1868" y="35623"/>
                        <a:pt x="3487" y="31637"/>
                      </a:cubicBezTo>
                      <a:cubicBezTo>
                        <a:pt x="6228" y="25161"/>
                        <a:pt x="9217" y="22919"/>
                        <a:pt x="11708" y="16317"/>
                      </a:cubicBezTo>
                      <a:cubicBezTo>
                        <a:pt x="14199" y="9840"/>
                        <a:pt x="14448" y="3986"/>
                        <a:pt x="143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1" name="Freeform 5590">
                  <a:extLst>
                    <a:ext uri="{FF2B5EF4-FFF2-40B4-BE49-F238E27FC236}">
                      <a16:creationId xmlns:a16="http://schemas.microsoft.com/office/drawing/2014/main" id="{36F85799-D143-A35A-E103-3987BCC7C84F}"/>
                    </a:ext>
                  </a:extLst>
                </p:cNvPr>
                <p:cNvSpPr/>
                <p:nvPr/>
              </p:nvSpPr>
              <p:spPr>
                <a:xfrm>
                  <a:off x="10688847" y="5852663"/>
                  <a:ext cx="26793" cy="26661"/>
                </a:xfrm>
                <a:custGeom>
                  <a:avLst/>
                  <a:gdLst>
                    <a:gd name="connsiteX0" fmla="*/ 26226 w 26793"/>
                    <a:gd name="connsiteY0" fmla="*/ 17316 h 26661"/>
                    <a:gd name="connsiteX1" fmla="*/ 9535 w 26793"/>
                    <a:gd name="connsiteY1" fmla="*/ 26036 h 26661"/>
                    <a:gd name="connsiteX2" fmla="*/ 568 w 26793"/>
                    <a:gd name="connsiteY2" fmla="*/ 9345 h 26661"/>
                    <a:gd name="connsiteX3" fmla="*/ 17259 w 26793"/>
                    <a:gd name="connsiteY3" fmla="*/ 626 h 26661"/>
                    <a:gd name="connsiteX4" fmla="*/ 26226 w 26793"/>
                    <a:gd name="connsiteY4" fmla="*/ 17316 h 2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2" h="26661">
                      <a:moveTo>
                        <a:pt x="26226" y="17316"/>
                      </a:moveTo>
                      <a:cubicBezTo>
                        <a:pt x="24109" y="24292"/>
                        <a:pt x="16635" y="28278"/>
                        <a:pt x="9535" y="26036"/>
                      </a:cubicBezTo>
                      <a:cubicBezTo>
                        <a:pt x="2436" y="23793"/>
                        <a:pt x="-1550" y="16444"/>
                        <a:pt x="568" y="9345"/>
                      </a:cubicBezTo>
                      <a:cubicBezTo>
                        <a:pt x="2685" y="2369"/>
                        <a:pt x="10159" y="-1616"/>
                        <a:pt x="17259" y="626"/>
                      </a:cubicBezTo>
                      <a:cubicBezTo>
                        <a:pt x="24358" y="2868"/>
                        <a:pt x="28344" y="10216"/>
                        <a:pt x="26226" y="1731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2" name="Freeform 5591">
                  <a:extLst>
                    <a:ext uri="{FF2B5EF4-FFF2-40B4-BE49-F238E27FC236}">
                      <a16:creationId xmlns:a16="http://schemas.microsoft.com/office/drawing/2014/main" id="{AD7D6979-56DF-C447-0D8B-2ED2BB06DB87}"/>
                    </a:ext>
                  </a:extLst>
                </p:cNvPr>
                <p:cNvSpPr/>
                <p:nvPr/>
              </p:nvSpPr>
              <p:spPr>
                <a:xfrm>
                  <a:off x="10672226" y="5927774"/>
                  <a:ext cx="15943" cy="49698"/>
                </a:xfrm>
                <a:custGeom>
                  <a:avLst/>
                  <a:gdLst>
                    <a:gd name="connsiteX0" fmla="*/ 0 w 15943"/>
                    <a:gd name="connsiteY0" fmla="*/ 49698 h 49698"/>
                    <a:gd name="connsiteX1" fmla="*/ 7349 w 15943"/>
                    <a:gd name="connsiteY1" fmla="*/ 32385 h 49698"/>
                    <a:gd name="connsiteX2" fmla="*/ 9092 w 15943"/>
                    <a:gd name="connsiteY2" fmla="*/ 15071 h 49698"/>
                    <a:gd name="connsiteX3" fmla="*/ 15944 w 15943"/>
                    <a:gd name="connsiteY3" fmla="*/ 0 h 49698"/>
                  </a:gdLst>
                  <a:ahLst/>
                  <a:cxnLst>
                    <a:cxn ang="0">
                      <a:pos x="connsiteX0" y="connsiteY0"/>
                    </a:cxn>
                    <a:cxn ang="0">
                      <a:pos x="connsiteX1" y="connsiteY1"/>
                    </a:cxn>
                    <a:cxn ang="0">
                      <a:pos x="connsiteX2" y="connsiteY2"/>
                    </a:cxn>
                    <a:cxn ang="0">
                      <a:pos x="connsiteX3" y="connsiteY3"/>
                    </a:cxn>
                  </a:cxnLst>
                  <a:rect l="l" t="t" r="r" b="b"/>
                  <a:pathLst>
                    <a:path w="15943" h="49698">
                      <a:moveTo>
                        <a:pt x="0" y="49698"/>
                      </a:moveTo>
                      <a:cubicBezTo>
                        <a:pt x="4733" y="42723"/>
                        <a:pt x="6477" y="36620"/>
                        <a:pt x="7349" y="32385"/>
                      </a:cubicBezTo>
                      <a:cubicBezTo>
                        <a:pt x="8595" y="25534"/>
                        <a:pt x="7473" y="21922"/>
                        <a:pt x="9092" y="15071"/>
                      </a:cubicBezTo>
                      <a:cubicBezTo>
                        <a:pt x="10587" y="8345"/>
                        <a:pt x="13577" y="3238"/>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3" name="Freeform 5592">
                  <a:extLst>
                    <a:ext uri="{FF2B5EF4-FFF2-40B4-BE49-F238E27FC236}">
                      <a16:creationId xmlns:a16="http://schemas.microsoft.com/office/drawing/2014/main" id="{5D94C074-4009-3475-7EF3-8C27C00B6CA4}"/>
                    </a:ext>
                  </a:extLst>
                </p:cNvPr>
                <p:cNvSpPr/>
                <p:nvPr/>
              </p:nvSpPr>
              <p:spPr>
                <a:xfrm>
                  <a:off x="10664129" y="5930016"/>
                  <a:ext cx="14449" cy="50072"/>
                </a:xfrm>
                <a:custGeom>
                  <a:avLst/>
                  <a:gdLst>
                    <a:gd name="connsiteX0" fmla="*/ 14449 w 14449"/>
                    <a:gd name="connsiteY0" fmla="*/ 0 h 50072"/>
                    <a:gd name="connsiteX1" fmla="*/ 10961 w 14449"/>
                    <a:gd name="connsiteY1" fmla="*/ 18434 h 50072"/>
                    <a:gd name="connsiteX2" fmla="*/ 2741 w 14449"/>
                    <a:gd name="connsiteY2" fmla="*/ 33755 h 50072"/>
                    <a:gd name="connsiteX3" fmla="*/ 0 w 14449"/>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449" h="50072">
                      <a:moveTo>
                        <a:pt x="14449" y="0"/>
                      </a:moveTo>
                      <a:cubicBezTo>
                        <a:pt x="14449" y="8470"/>
                        <a:pt x="12580" y="14449"/>
                        <a:pt x="10961" y="18434"/>
                      </a:cubicBezTo>
                      <a:cubicBezTo>
                        <a:pt x="8221" y="24912"/>
                        <a:pt x="5357" y="27153"/>
                        <a:pt x="2741" y="33755"/>
                      </a:cubicBezTo>
                      <a:cubicBezTo>
                        <a:pt x="249" y="40232"/>
                        <a:pt x="0" y="46086"/>
                        <a:pt x="0"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24" name="Freeform 5593">
                  <a:extLst>
                    <a:ext uri="{FF2B5EF4-FFF2-40B4-BE49-F238E27FC236}">
                      <a16:creationId xmlns:a16="http://schemas.microsoft.com/office/drawing/2014/main" id="{6085A1FE-1213-740B-8105-D23B30D63E93}"/>
                    </a:ext>
                  </a:extLst>
                </p:cNvPr>
                <p:cNvSpPr/>
                <p:nvPr/>
              </p:nvSpPr>
              <p:spPr>
                <a:xfrm>
                  <a:off x="10653709" y="5969804"/>
                  <a:ext cx="26118" cy="26546"/>
                </a:xfrm>
                <a:custGeom>
                  <a:avLst/>
                  <a:gdLst>
                    <a:gd name="connsiteX0" fmla="*/ 580 w 26118"/>
                    <a:gd name="connsiteY0" fmla="*/ 9412 h 26546"/>
                    <a:gd name="connsiteX1" fmla="*/ 16897 w 26118"/>
                    <a:gd name="connsiteY1" fmla="*/ 568 h 26546"/>
                    <a:gd name="connsiteX2" fmla="*/ 25492 w 26118"/>
                    <a:gd name="connsiteY2" fmla="*/ 17135 h 26546"/>
                    <a:gd name="connsiteX3" fmla="*/ 9175 w 26118"/>
                    <a:gd name="connsiteY3" fmla="*/ 25978 h 26546"/>
                    <a:gd name="connsiteX4" fmla="*/ 580 w 26118"/>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8" h="26545">
                      <a:moveTo>
                        <a:pt x="580" y="9412"/>
                      </a:moveTo>
                      <a:cubicBezTo>
                        <a:pt x="2697" y="2437"/>
                        <a:pt x="10047" y="-1549"/>
                        <a:pt x="16897" y="568"/>
                      </a:cubicBezTo>
                      <a:cubicBezTo>
                        <a:pt x="23748" y="2686"/>
                        <a:pt x="27734" y="10160"/>
                        <a:pt x="25492" y="17135"/>
                      </a:cubicBezTo>
                      <a:cubicBezTo>
                        <a:pt x="23374" y="24110"/>
                        <a:pt x="16025" y="28095"/>
                        <a:pt x="9175" y="25978"/>
                      </a:cubicBezTo>
                      <a:cubicBezTo>
                        <a:pt x="2324" y="23861"/>
                        <a:pt x="-1537" y="16512"/>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1" name="Graphic 2987">
                <a:extLst>
                  <a:ext uri="{FF2B5EF4-FFF2-40B4-BE49-F238E27FC236}">
                    <a16:creationId xmlns:a16="http://schemas.microsoft.com/office/drawing/2014/main" id="{11DA0485-94D6-BAF9-39C4-542C408784FF}"/>
                  </a:ext>
                </a:extLst>
              </p:cNvPr>
              <p:cNvGrpSpPr/>
              <p:nvPr/>
            </p:nvGrpSpPr>
            <p:grpSpPr>
              <a:xfrm>
                <a:off x="10681610" y="5861677"/>
                <a:ext cx="62611" cy="143392"/>
                <a:chOff x="10681610" y="5861677"/>
                <a:chExt cx="62611" cy="143392"/>
              </a:xfrm>
              <a:grpFill/>
            </p:grpSpPr>
            <p:sp>
              <p:nvSpPr>
                <p:cNvPr id="4013" name="Freeform 5595">
                  <a:extLst>
                    <a:ext uri="{FF2B5EF4-FFF2-40B4-BE49-F238E27FC236}">
                      <a16:creationId xmlns:a16="http://schemas.microsoft.com/office/drawing/2014/main" id="{6CA9F757-531C-4B16-6710-7406FD00FF3F}"/>
                    </a:ext>
                  </a:extLst>
                </p:cNvPr>
                <p:cNvSpPr/>
                <p:nvPr/>
              </p:nvSpPr>
              <p:spPr>
                <a:xfrm>
                  <a:off x="10709220" y="5880567"/>
                  <a:ext cx="16067" cy="49574"/>
                </a:xfrm>
                <a:custGeom>
                  <a:avLst/>
                  <a:gdLst>
                    <a:gd name="connsiteX0" fmla="*/ 16068 w 16067"/>
                    <a:gd name="connsiteY0" fmla="*/ 0 h 49574"/>
                    <a:gd name="connsiteX1" fmla="*/ 8594 w 16067"/>
                    <a:gd name="connsiteY1" fmla="*/ 17313 h 49574"/>
                    <a:gd name="connsiteX2" fmla="*/ 6851 w 16067"/>
                    <a:gd name="connsiteY2" fmla="*/ 34627 h 49574"/>
                    <a:gd name="connsiteX3" fmla="*/ 0 w 16067"/>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067" h="49574">
                      <a:moveTo>
                        <a:pt x="16068" y="0"/>
                      </a:moveTo>
                      <a:cubicBezTo>
                        <a:pt x="11334" y="6975"/>
                        <a:pt x="9466" y="12954"/>
                        <a:pt x="8594" y="17313"/>
                      </a:cubicBezTo>
                      <a:cubicBezTo>
                        <a:pt x="7348" y="24164"/>
                        <a:pt x="8470" y="27776"/>
                        <a:pt x="6851" y="34627"/>
                      </a:cubicBezTo>
                      <a:cubicBezTo>
                        <a:pt x="5231" y="41353"/>
                        <a:pt x="2242" y="46460"/>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4" name="Freeform 5596">
                  <a:extLst>
                    <a:ext uri="{FF2B5EF4-FFF2-40B4-BE49-F238E27FC236}">
                      <a16:creationId xmlns:a16="http://schemas.microsoft.com/office/drawing/2014/main" id="{4FC65231-D25E-1047-84AE-0FB6B8336744}"/>
                    </a:ext>
                  </a:extLst>
                </p:cNvPr>
                <p:cNvSpPr/>
                <p:nvPr/>
              </p:nvSpPr>
              <p:spPr>
                <a:xfrm>
                  <a:off x="10718810" y="5877702"/>
                  <a:ext cx="14718" cy="50072"/>
                </a:xfrm>
                <a:custGeom>
                  <a:avLst/>
                  <a:gdLst>
                    <a:gd name="connsiteX0" fmla="*/ 0 w 14718"/>
                    <a:gd name="connsiteY0" fmla="*/ 50072 h 50072"/>
                    <a:gd name="connsiteX1" fmla="*/ 3613 w 14718"/>
                    <a:gd name="connsiteY1" fmla="*/ 31638 h 50072"/>
                    <a:gd name="connsiteX2" fmla="*/ 11958 w 14718"/>
                    <a:gd name="connsiteY2" fmla="*/ 16317 h 50072"/>
                    <a:gd name="connsiteX3" fmla="*/ 14698 w 14718"/>
                    <a:gd name="connsiteY3" fmla="*/ 0 h 50072"/>
                  </a:gdLst>
                  <a:ahLst/>
                  <a:cxnLst>
                    <a:cxn ang="0">
                      <a:pos x="connsiteX0" y="connsiteY0"/>
                    </a:cxn>
                    <a:cxn ang="0">
                      <a:pos x="connsiteX1" y="connsiteY1"/>
                    </a:cxn>
                    <a:cxn ang="0">
                      <a:pos x="connsiteX2" y="connsiteY2"/>
                    </a:cxn>
                    <a:cxn ang="0">
                      <a:pos x="connsiteX3" y="connsiteY3"/>
                    </a:cxn>
                  </a:cxnLst>
                  <a:rect l="l" t="t" r="r" b="b"/>
                  <a:pathLst>
                    <a:path w="14718" h="50072">
                      <a:moveTo>
                        <a:pt x="0" y="50072"/>
                      </a:moveTo>
                      <a:cubicBezTo>
                        <a:pt x="0" y="41602"/>
                        <a:pt x="1869" y="35624"/>
                        <a:pt x="3613" y="31638"/>
                      </a:cubicBezTo>
                      <a:cubicBezTo>
                        <a:pt x="6477" y="25161"/>
                        <a:pt x="9342" y="22919"/>
                        <a:pt x="11958" y="16317"/>
                      </a:cubicBezTo>
                      <a:cubicBezTo>
                        <a:pt x="14449" y="9840"/>
                        <a:pt x="14822" y="3986"/>
                        <a:pt x="146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5" name="Freeform 5597">
                  <a:extLst>
                    <a:ext uri="{FF2B5EF4-FFF2-40B4-BE49-F238E27FC236}">
                      <a16:creationId xmlns:a16="http://schemas.microsoft.com/office/drawing/2014/main" id="{AB6CA4FB-E0C7-D889-4C42-A10B8955868D}"/>
                    </a:ext>
                  </a:extLst>
                </p:cNvPr>
                <p:cNvSpPr/>
                <p:nvPr/>
              </p:nvSpPr>
              <p:spPr>
                <a:xfrm>
                  <a:off x="10717438" y="5861677"/>
                  <a:ext cx="26783" cy="26444"/>
                </a:xfrm>
                <a:custGeom>
                  <a:avLst/>
                  <a:gdLst>
                    <a:gd name="connsiteX0" fmla="*/ 26159 w 26783"/>
                    <a:gd name="connsiteY0" fmla="*/ 17146 h 26444"/>
                    <a:gd name="connsiteX1" fmla="*/ 9469 w 26783"/>
                    <a:gd name="connsiteY1" fmla="*/ 25865 h 26444"/>
                    <a:gd name="connsiteX2" fmla="*/ 625 w 26783"/>
                    <a:gd name="connsiteY2" fmla="*/ 9299 h 26444"/>
                    <a:gd name="connsiteX3" fmla="*/ 17316 w 26783"/>
                    <a:gd name="connsiteY3" fmla="*/ 580 h 26444"/>
                    <a:gd name="connsiteX4" fmla="*/ 26159 w 26783"/>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444">
                      <a:moveTo>
                        <a:pt x="26159" y="17146"/>
                      </a:moveTo>
                      <a:cubicBezTo>
                        <a:pt x="23917" y="24121"/>
                        <a:pt x="16444" y="27982"/>
                        <a:pt x="9469" y="25865"/>
                      </a:cubicBezTo>
                      <a:cubicBezTo>
                        <a:pt x="2369" y="23623"/>
                        <a:pt x="-1617" y="16274"/>
                        <a:pt x="625" y="9299"/>
                      </a:cubicBezTo>
                      <a:cubicBezTo>
                        <a:pt x="2742" y="2323"/>
                        <a:pt x="10216" y="-1538"/>
                        <a:pt x="17316" y="580"/>
                      </a:cubicBezTo>
                      <a:cubicBezTo>
                        <a:pt x="24416" y="2697"/>
                        <a:pt x="28401" y="10170"/>
                        <a:pt x="26159"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6" name="Freeform 5598">
                  <a:extLst>
                    <a:ext uri="{FF2B5EF4-FFF2-40B4-BE49-F238E27FC236}">
                      <a16:creationId xmlns:a16="http://schemas.microsoft.com/office/drawing/2014/main" id="{0BB4E5F2-47D4-B7E4-43A5-CBF7AA332C3E}"/>
                    </a:ext>
                  </a:extLst>
                </p:cNvPr>
                <p:cNvSpPr/>
                <p:nvPr/>
              </p:nvSpPr>
              <p:spPr>
                <a:xfrm>
                  <a:off x="10700251" y="5936493"/>
                  <a:ext cx="16192" cy="49574"/>
                </a:xfrm>
                <a:custGeom>
                  <a:avLst/>
                  <a:gdLst>
                    <a:gd name="connsiteX0" fmla="*/ 0 w 16192"/>
                    <a:gd name="connsiteY0" fmla="*/ 49574 h 49574"/>
                    <a:gd name="connsiteX1" fmla="*/ 7473 w 16192"/>
                    <a:gd name="connsiteY1" fmla="*/ 32260 h 49574"/>
                    <a:gd name="connsiteX2" fmla="*/ 9342 w 16192"/>
                    <a:gd name="connsiteY2" fmla="*/ 14947 h 49574"/>
                    <a:gd name="connsiteX3" fmla="*/ 16192 w 16192"/>
                    <a:gd name="connsiteY3" fmla="*/ 0 h 49574"/>
                  </a:gdLst>
                  <a:ahLst/>
                  <a:cxnLst>
                    <a:cxn ang="0">
                      <a:pos x="connsiteX0" y="connsiteY0"/>
                    </a:cxn>
                    <a:cxn ang="0">
                      <a:pos x="connsiteX1" y="connsiteY1"/>
                    </a:cxn>
                    <a:cxn ang="0">
                      <a:pos x="connsiteX2" y="connsiteY2"/>
                    </a:cxn>
                    <a:cxn ang="0">
                      <a:pos x="connsiteX3" y="connsiteY3"/>
                    </a:cxn>
                  </a:cxnLst>
                  <a:rect l="l" t="t" r="r" b="b"/>
                  <a:pathLst>
                    <a:path w="16192" h="49574">
                      <a:moveTo>
                        <a:pt x="0" y="49574"/>
                      </a:moveTo>
                      <a:cubicBezTo>
                        <a:pt x="4733" y="42599"/>
                        <a:pt x="6602" y="36620"/>
                        <a:pt x="7473" y="32260"/>
                      </a:cubicBezTo>
                      <a:cubicBezTo>
                        <a:pt x="8844" y="25410"/>
                        <a:pt x="7723" y="21798"/>
                        <a:pt x="9342" y="14947"/>
                      </a:cubicBezTo>
                      <a:cubicBezTo>
                        <a:pt x="10961" y="8221"/>
                        <a:pt x="13950" y="3114"/>
                        <a:pt x="1619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7" name="Freeform 5599">
                  <a:extLst>
                    <a:ext uri="{FF2B5EF4-FFF2-40B4-BE49-F238E27FC236}">
                      <a16:creationId xmlns:a16="http://schemas.microsoft.com/office/drawing/2014/main" id="{895C1729-4800-ECA4-9DA7-1FA57F895C9B}"/>
                    </a:ext>
                  </a:extLst>
                </p:cNvPr>
                <p:cNvSpPr/>
                <p:nvPr/>
              </p:nvSpPr>
              <p:spPr>
                <a:xfrm>
                  <a:off x="10692134" y="5938735"/>
                  <a:ext cx="14594" cy="50072"/>
                </a:xfrm>
                <a:custGeom>
                  <a:avLst/>
                  <a:gdLst>
                    <a:gd name="connsiteX0" fmla="*/ 14595 w 14594"/>
                    <a:gd name="connsiteY0" fmla="*/ 0 h 50072"/>
                    <a:gd name="connsiteX1" fmla="*/ 10982 w 14594"/>
                    <a:gd name="connsiteY1" fmla="*/ 18435 h 50072"/>
                    <a:gd name="connsiteX2" fmla="*/ 2761 w 14594"/>
                    <a:gd name="connsiteY2" fmla="*/ 33755 h 50072"/>
                    <a:gd name="connsiteX3" fmla="*/ 21 w 14594"/>
                    <a:gd name="connsiteY3" fmla="*/ 50072 h 50072"/>
                  </a:gdLst>
                  <a:ahLst/>
                  <a:cxnLst>
                    <a:cxn ang="0">
                      <a:pos x="connsiteX0" y="connsiteY0"/>
                    </a:cxn>
                    <a:cxn ang="0">
                      <a:pos x="connsiteX1" y="connsiteY1"/>
                    </a:cxn>
                    <a:cxn ang="0">
                      <a:pos x="connsiteX2" y="connsiteY2"/>
                    </a:cxn>
                    <a:cxn ang="0">
                      <a:pos x="connsiteX3" y="connsiteY3"/>
                    </a:cxn>
                  </a:cxnLst>
                  <a:rect l="l" t="t" r="r" b="b"/>
                  <a:pathLst>
                    <a:path w="14594" h="50072">
                      <a:moveTo>
                        <a:pt x="14595" y="0"/>
                      </a:moveTo>
                      <a:cubicBezTo>
                        <a:pt x="14595" y="8470"/>
                        <a:pt x="12726" y="14449"/>
                        <a:pt x="10982" y="18435"/>
                      </a:cubicBezTo>
                      <a:cubicBezTo>
                        <a:pt x="8242" y="24912"/>
                        <a:pt x="5253" y="27154"/>
                        <a:pt x="2761" y="33755"/>
                      </a:cubicBezTo>
                      <a:cubicBezTo>
                        <a:pt x="270" y="40232"/>
                        <a:pt x="-103" y="46086"/>
                        <a:pt x="21" y="5007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8" name="Freeform 5600">
                  <a:extLst>
                    <a:ext uri="{FF2B5EF4-FFF2-40B4-BE49-F238E27FC236}">
                      <a16:creationId xmlns:a16="http://schemas.microsoft.com/office/drawing/2014/main" id="{F1C0B074-D328-270A-2F85-D104B9E8344B}"/>
                    </a:ext>
                  </a:extLst>
                </p:cNvPr>
                <p:cNvSpPr/>
                <p:nvPr/>
              </p:nvSpPr>
              <p:spPr>
                <a:xfrm>
                  <a:off x="10681610" y="5978523"/>
                  <a:ext cx="26207" cy="26546"/>
                </a:xfrm>
                <a:custGeom>
                  <a:avLst/>
                  <a:gdLst>
                    <a:gd name="connsiteX0" fmla="*/ 580 w 26207"/>
                    <a:gd name="connsiteY0" fmla="*/ 9412 h 26546"/>
                    <a:gd name="connsiteX1" fmla="*/ 17022 w 26207"/>
                    <a:gd name="connsiteY1" fmla="*/ 568 h 26546"/>
                    <a:gd name="connsiteX2" fmla="*/ 25616 w 26207"/>
                    <a:gd name="connsiteY2" fmla="*/ 17134 h 26546"/>
                    <a:gd name="connsiteX3" fmla="*/ 9175 w 26207"/>
                    <a:gd name="connsiteY3" fmla="*/ 25978 h 26546"/>
                    <a:gd name="connsiteX4" fmla="*/ 580 w 26207"/>
                    <a:gd name="connsiteY4" fmla="*/ 9412 h 2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7" h="26545">
                      <a:moveTo>
                        <a:pt x="580" y="9412"/>
                      </a:moveTo>
                      <a:cubicBezTo>
                        <a:pt x="2698" y="2437"/>
                        <a:pt x="10047" y="-1549"/>
                        <a:pt x="17022" y="568"/>
                      </a:cubicBezTo>
                      <a:cubicBezTo>
                        <a:pt x="23997" y="2686"/>
                        <a:pt x="27734" y="10159"/>
                        <a:pt x="25616" y="17134"/>
                      </a:cubicBezTo>
                      <a:cubicBezTo>
                        <a:pt x="23499" y="24110"/>
                        <a:pt x="16025" y="28096"/>
                        <a:pt x="9175" y="25978"/>
                      </a:cubicBezTo>
                      <a:cubicBezTo>
                        <a:pt x="2324" y="23861"/>
                        <a:pt x="-1537" y="16387"/>
                        <a:pt x="580" y="941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2" name="Graphic 2987">
                <a:extLst>
                  <a:ext uri="{FF2B5EF4-FFF2-40B4-BE49-F238E27FC236}">
                    <a16:creationId xmlns:a16="http://schemas.microsoft.com/office/drawing/2014/main" id="{A9F1D8A5-E139-3208-D8CA-3F12B44E27C9}"/>
                  </a:ext>
                </a:extLst>
              </p:cNvPr>
              <p:cNvGrpSpPr/>
              <p:nvPr/>
            </p:nvGrpSpPr>
            <p:grpSpPr>
              <a:xfrm>
                <a:off x="10709499" y="5870521"/>
                <a:ext cx="63371" cy="143200"/>
                <a:chOff x="10709499" y="5870521"/>
                <a:chExt cx="63371" cy="143200"/>
              </a:xfrm>
              <a:grpFill/>
            </p:grpSpPr>
            <p:sp>
              <p:nvSpPr>
                <p:cNvPr id="4007" name="Freeform 5602">
                  <a:extLst>
                    <a:ext uri="{FF2B5EF4-FFF2-40B4-BE49-F238E27FC236}">
                      <a16:creationId xmlns:a16="http://schemas.microsoft.com/office/drawing/2014/main" id="{CB628D37-2814-3067-0DD9-B3ED0C12F010}"/>
                    </a:ext>
                  </a:extLst>
                </p:cNvPr>
                <p:cNvSpPr/>
                <p:nvPr/>
              </p:nvSpPr>
              <p:spPr>
                <a:xfrm>
                  <a:off x="10737494" y="5889410"/>
                  <a:ext cx="16317" cy="49449"/>
                </a:xfrm>
                <a:custGeom>
                  <a:avLst/>
                  <a:gdLst>
                    <a:gd name="connsiteX0" fmla="*/ 16317 w 16317"/>
                    <a:gd name="connsiteY0" fmla="*/ 0 h 49449"/>
                    <a:gd name="connsiteX1" fmla="*/ 8844 w 16317"/>
                    <a:gd name="connsiteY1" fmla="*/ 17189 h 49449"/>
                    <a:gd name="connsiteX2" fmla="*/ 6975 w 16317"/>
                    <a:gd name="connsiteY2" fmla="*/ 34503 h 49449"/>
                    <a:gd name="connsiteX3" fmla="*/ 0 w 16317"/>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317" h="49449">
                      <a:moveTo>
                        <a:pt x="16317" y="0"/>
                      </a:moveTo>
                      <a:cubicBezTo>
                        <a:pt x="11459" y="6975"/>
                        <a:pt x="9591" y="12954"/>
                        <a:pt x="8844" y="17189"/>
                      </a:cubicBezTo>
                      <a:cubicBezTo>
                        <a:pt x="7474" y="24040"/>
                        <a:pt x="8595" y="27652"/>
                        <a:pt x="6975" y="34503"/>
                      </a:cubicBezTo>
                      <a:cubicBezTo>
                        <a:pt x="5356"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8" name="Freeform 5603">
                  <a:extLst>
                    <a:ext uri="{FF2B5EF4-FFF2-40B4-BE49-F238E27FC236}">
                      <a16:creationId xmlns:a16="http://schemas.microsoft.com/office/drawing/2014/main" id="{767706A9-197D-73CE-7ED2-C52BCC438EB8}"/>
                    </a:ext>
                  </a:extLst>
                </p:cNvPr>
                <p:cNvSpPr/>
                <p:nvPr/>
              </p:nvSpPr>
              <p:spPr>
                <a:xfrm>
                  <a:off x="10747085" y="5886670"/>
                  <a:ext cx="15092" cy="49947"/>
                </a:xfrm>
                <a:custGeom>
                  <a:avLst/>
                  <a:gdLst>
                    <a:gd name="connsiteX0" fmla="*/ 0 w 15092"/>
                    <a:gd name="connsiteY0" fmla="*/ 49948 h 49947"/>
                    <a:gd name="connsiteX1" fmla="*/ 3737 w 15092"/>
                    <a:gd name="connsiteY1" fmla="*/ 31513 h 49947"/>
                    <a:gd name="connsiteX2" fmla="*/ 12206 w 15092"/>
                    <a:gd name="connsiteY2" fmla="*/ 16193 h 49947"/>
                    <a:gd name="connsiteX3" fmla="*/ 15072 w 15092"/>
                    <a:gd name="connsiteY3" fmla="*/ 0 h 49947"/>
                  </a:gdLst>
                  <a:ahLst/>
                  <a:cxnLst>
                    <a:cxn ang="0">
                      <a:pos x="connsiteX0" y="connsiteY0"/>
                    </a:cxn>
                    <a:cxn ang="0">
                      <a:pos x="connsiteX1" y="connsiteY1"/>
                    </a:cxn>
                    <a:cxn ang="0">
                      <a:pos x="connsiteX2" y="connsiteY2"/>
                    </a:cxn>
                    <a:cxn ang="0">
                      <a:pos x="connsiteX3" y="connsiteY3"/>
                    </a:cxn>
                  </a:cxnLst>
                  <a:rect l="l" t="t" r="r" b="b"/>
                  <a:pathLst>
                    <a:path w="15092" h="49947">
                      <a:moveTo>
                        <a:pt x="0" y="49948"/>
                      </a:moveTo>
                      <a:cubicBezTo>
                        <a:pt x="0" y="41602"/>
                        <a:pt x="1993" y="35499"/>
                        <a:pt x="3737" y="31513"/>
                      </a:cubicBezTo>
                      <a:cubicBezTo>
                        <a:pt x="6601" y="25161"/>
                        <a:pt x="9591" y="22794"/>
                        <a:pt x="12206" y="16193"/>
                      </a:cubicBezTo>
                      <a:cubicBezTo>
                        <a:pt x="14822" y="9715"/>
                        <a:pt x="15196" y="3861"/>
                        <a:pt x="1507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9" name="Freeform 5604">
                  <a:extLst>
                    <a:ext uri="{FF2B5EF4-FFF2-40B4-BE49-F238E27FC236}">
                      <a16:creationId xmlns:a16="http://schemas.microsoft.com/office/drawing/2014/main" id="{F8F85A3C-FDAD-E66A-D071-36C09623BAD7}"/>
                    </a:ext>
                  </a:extLst>
                </p:cNvPr>
                <p:cNvSpPr/>
                <p:nvPr/>
              </p:nvSpPr>
              <p:spPr>
                <a:xfrm>
                  <a:off x="10746008" y="5870521"/>
                  <a:ext cx="26862" cy="26444"/>
                </a:xfrm>
                <a:custGeom>
                  <a:avLst/>
                  <a:gdLst>
                    <a:gd name="connsiteX0" fmla="*/ 26238 w 26862"/>
                    <a:gd name="connsiteY0" fmla="*/ 17146 h 26444"/>
                    <a:gd name="connsiteX1" fmla="*/ 9422 w 26862"/>
                    <a:gd name="connsiteY1" fmla="*/ 25865 h 26444"/>
                    <a:gd name="connsiteX2" fmla="*/ 579 w 26862"/>
                    <a:gd name="connsiteY2" fmla="*/ 9299 h 26444"/>
                    <a:gd name="connsiteX3" fmla="*/ 17394 w 26862"/>
                    <a:gd name="connsiteY3" fmla="*/ 579 h 26444"/>
                    <a:gd name="connsiteX4" fmla="*/ 26238 w 26862"/>
                    <a:gd name="connsiteY4" fmla="*/ 17146 h 2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 h="26444">
                      <a:moveTo>
                        <a:pt x="26238" y="17146"/>
                      </a:moveTo>
                      <a:cubicBezTo>
                        <a:pt x="23995" y="24121"/>
                        <a:pt x="16522" y="27982"/>
                        <a:pt x="9422" y="25865"/>
                      </a:cubicBezTo>
                      <a:cubicBezTo>
                        <a:pt x="2322" y="23623"/>
                        <a:pt x="-1539" y="16274"/>
                        <a:pt x="579" y="9299"/>
                      </a:cubicBezTo>
                      <a:cubicBezTo>
                        <a:pt x="2696" y="2323"/>
                        <a:pt x="10294" y="-1538"/>
                        <a:pt x="17394" y="579"/>
                      </a:cubicBezTo>
                      <a:cubicBezTo>
                        <a:pt x="24494" y="2697"/>
                        <a:pt x="28480" y="10171"/>
                        <a:pt x="26238" y="1714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0" name="Freeform 5605">
                  <a:extLst>
                    <a:ext uri="{FF2B5EF4-FFF2-40B4-BE49-F238E27FC236}">
                      <a16:creationId xmlns:a16="http://schemas.microsoft.com/office/drawing/2014/main" id="{3AC2E53D-7D9C-4DF9-76BE-B14C4DF60B02}"/>
                    </a:ext>
                  </a:extLst>
                </p:cNvPr>
                <p:cNvSpPr/>
                <p:nvPr/>
              </p:nvSpPr>
              <p:spPr>
                <a:xfrm>
                  <a:off x="10728152" y="5945336"/>
                  <a:ext cx="16317" cy="49449"/>
                </a:xfrm>
                <a:custGeom>
                  <a:avLst/>
                  <a:gdLst>
                    <a:gd name="connsiteX0" fmla="*/ 0 w 16317"/>
                    <a:gd name="connsiteY0" fmla="*/ 49449 h 49449"/>
                    <a:gd name="connsiteX1" fmla="*/ 7474 w 16317"/>
                    <a:gd name="connsiteY1" fmla="*/ 32261 h 49449"/>
                    <a:gd name="connsiteX2" fmla="*/ 9342 w 16317"/>
                    <a:gd name="connsiteY2" fmla="*/ 14947 h 49449"/>
                    <a:gd name="connsiteX3" fmla="*/ 16317 w 16317"/>
                    <a:gd name="connsiteY3" fmla="*/ 0 h 49449"/>
                  </a:gdLst>
                  <a:ahLst/>
                  <a:cxnLst>
                    <a:cxn ang="0">
                      <a:pos x="connsiteX0" y="connsiteY0"/>
                    </a:cxn>
                    <a:cxn ang="0">
                      <a:pos x="connsiteX1" y="connsiteY1"/>
                    </a:cxn>
                    <a:cxn ang="0">
                      <a:pos x="connsiteX2" y="connsiteY2"/>
                    </a:cxn>
                    <a:cxn ang="0">
                      <a:pos x="connsiteX3" y="connsiteY3"/>
                    </a:cxn>
                  </a:cxnLst>
                  <a:rect l="l" t="t" r="r" b="b"/>
                  <a:pathLst>
                    <a:path w="16317" h="49449">
                      <a:moveTo>
                        <a:pt x="0" y="49449"/>
                      </a:moveTo>
                      <a:cubicBezTo>
                        <a:pt x="4733" y="42474"/>
                        <a:pt x="6727" y="36496"/>
                        <a:pt x="7474" y="32261"/>
                      </a:cubicBezTo>
                      <a:cubicBezTo>
                        <a:pt x="8844" y="25410"/>
                        <a:pt x="7723" y="21922"/>
                        <a:pt x="9342" y="14947"/>
                      </a:cubicBezTo>
                      <a:cubicBezTo>
                        <a:pt x="10961" y="8221"/>
                        <a:pt x="13950" y="3239"/>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1" name="Freeform 5606">
                  <a:extLst>
                    <a:ext uri="{FF2B5EF4-FFF2-40B4-BE49-F238E27FC236}">
                      <a16:creationId xmlns:a16="http://schemas.microsoft.com/office/drawing/2014/main" id="{40E9DA96-6873-F4E6-A4D5-CF967074133D}"/>
                    </a:ext>
                  </a:extLst>
                </p:cNvPr>
                <p:cNvSpPr/>
                <p:nvPr/>
              </p:nvSpPr>
              <p:spPr>
                <a:xfrm>
                  <a:off x="10720056" y="5947579"/>
                  <a:ext cx="14946" cy="49947"/>
                </a:xfrm>
                <a:custGeom>
                  <a:avLst/>
                  <a:gdLst>
                    <a:gd name="connsiteX0" fmla="*/ 14946 w 14946"/>
                    <a:gd name="connsiteY0" fmla="*/ 0 h 49947"/>
                    <a:gd name="connsiteX1" fmla="*/ 11210 w 14946"/>
                    <a:gd name="connsiteY1" fmla="*/ 18434 h 49947"/>
                    <a:gd name="connsiteX2" fmla="*/ 2865 w 14946"/>
                    <a:gd name="connsiteY2" fmla="*/ 33755 h 49947"/>
                    <a:gd name="connsiteX3" fmla="*/ 0 w 14946"/>
                    <a:gd name="connsiteY3" fmla="*/ 49947 h 49947"/>
                  </a:gdLst>
                  <a:ahLst/>
                  <a:cxnLst>
                    <a:cxn ang="0">
                      <a:pos x="connsiteX0" y="connsiteY0"/>
                    </a:cxn>
                    <a:cxn ang="0">
                      <a:pos x="connsiteX1" y="connsiteY1"/>
                    </a:cxn>
                    <a:cxn ang="0">
                      <a:pos x="connsiteX2" y="connsiteY2"/>
                    </a:cxn>
                    <a:cxn ang="0">
                      <a:pos x="connsiteX3" y="connsiteY3"/>
                    </a:cxn>
                  </a:cxnLst>
                  <a:rect l="l" t="t" r="r" b="b"/>
                  <a:pathLst>
                    <a:path w="14946" h="49947">
                      <a:moveTo>
                        <a:pt x="14946" y="0"/>
                      </a:moveTo>
                      <a:cubicBezTo>
                        <a:pt x="14946" y="8345"/>
                        <a:pt x="12954" y="14449"/>
                        <a:pt x="11210" y="18434"/>
                      </a:cubicBezTo>
                      <a:cubicBezTo>
                        <a:pt x="8345" y="24787"/>
                        <a:pt x="5481" y="27153"/>
                        <a:pt x="2865" y="33755"/>
                      </a:cubicBezTo>
                      <a:cubicBezTo>
                        <a:pt x="373" y="40232"/>
                        <a:pt x="0" y="46086"/>
                        <a:pt x="0" y="4994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12" name="Freeform 5607">
                  <a:extLst>
                    <a:ext uri="{FF2B5EF4-FFF2-40B4-BE49-F238E27FC236}">
                      <a16:creationId xmlns:a16="http://schemas.microsoft.com/office/drawing/2014/main" id="{26DBA884-CAEA-A0B3-E09C-13DEB500BC27}"/>
                    </a:ext>
                  </a:extLst>
                </p:cNvPr>
                <p:cNvSpPr/>
                <p:nvPr/>
              </p:nvSpPr>
              <p:spPr>
                <a:xfrm>
                  <a:off x="10709499" y="5987185"/>
                  <a:ext cx="26153" cy="26536"/>
                </a:xfrm>
                <a:custGeom>
                  <a:avLst/>
                  <a:gdLst>
                    <a:gd name="connsiteX0" fmla="*/ 592 w 26153"/>
                    <a:gd name="connsiteY0" fmla="*/ 9345 h 26536"/>
                    <a:gd name="connsiteX1" fmla="*/ 17033 w 26153"/>
                    <a:gd name="connsiteY1" fmla="*/ 626 h 26536"/>
                    <a:gd name="connsiteX2" fmla="*/ 25503 w 26153"/>
                    <a:gd name="connsiteY2" fmla="*/ 17192 h 26536"/>
                    <a:gd name="connsiteX3" fmla="*/ 9062 w 26153"/>
                    <a:gd name="connsiteY3" fmla="*/ 25911 h 26536"/>
                    <a:gd name="connsiteX4" fmla="*/ 592 w 26153"/>
                    <a:gd name="connsiteY4" fmla="*/ 9345 h 2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2" h="26536">
                      <a:moveTo>
                        <a:pt x="592" y="9345"/>
                      </a:moveTo>
                      <a:cubicBezTo>
                        <a:pt x="2834" y="2370"/>
                        <a:pt x="10183" y="-1616"/>
                        <a:pt x="17033" y="626"/>
                      </a:cubicBezTo>
                      <a:cubicBezTo>
                        <a:pt x="24009" y="2743"/>
                        <a:pt x="27746" y="10217"/>
                        <a:pt x="25503" y="17192"/>
                      </a:cubicBezTo>
                      <a:cubicBezTo>
                        <a:pt x="23261" y="24167"/>
                        <a:pt x="15913" y="28153"/>
                        <a:pt x="9062" y="25911"/>
                      </a:cubicBezTo>
                      <a:cubicBezTo>
                        <a:pt x="2211" y="23794"/>
                        <a:pt x="-1526" y="16320"/>
                        <a:pt x="592" y="93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3" name="Graphic 2987">
                <a:extLst>
                  <a:ext uri="{FF2B5EF4-FFF2-40B4-BE49-F238E27FC236}">
                    <a16:creationId xmlns:a16="http://schemas.microsoft.com/office/drawing/2014/main" id="{4296A4C6-4ADF-99F8-9895-CCCB847DDAA0}"/>
                  </a:ext>
                </a:extLst>
              </p:cNvPr>
              <p:cNvGrpSpPr/>
              <p:nvPr/>
            </p:nvGrpSpPr>
            <p:grpSpPr>
              <a:xfrm>
                <a:off x="10737354" y="5879306"/>
                <a:ext cx="64052" cy="143158"/>
                <a:chOff x="10737354" y="5879306"/>
                <a:chExt cx="64052" cy="143158"/>
              </a:xfrm>
              <a:grpFill/>
            </p:grpSpPr>
            <p:sp>
              <p:nvSpPr>
                <p:cNvPr id="4001" name="Freeform 5609">
                  <a:extLst>
                    <a:ext uri="{FF2B5EF4-FFF2-40B4-BE49-F238E27FC236}">
                      <a16:creationId xmlns:a16="http://schemas.microsoft.com/office/drawing/2014/main" id="{3EEF6BE3-B866-69C9-39C5-FB82C9C4068A}"/>
                    </a:ext>
                  </a:extLst>
                </p:cNvPr>
                <p:cNvSpPr/>
                <p:nvPr/>
              </p:nvSpPr>
              <p:spPr>
                <a:xfrm>
                  <a:off x="10765644" y="5898253"/>
                  <a:ext cx="16691" cy="49449"/>
                </a:xfrm>
                <a:custGeom>
                  <a:avLst/>
                  <a:gdLst>
                    <a:gd name="connsiteX0" fmla="*/ 16691 w 16691"/>
                    <a:gd name="connsiteY0" fmla="*/ 0 h 49449"/>
                    <a:gd name="connsiteX1" fmla="*/ 9092 w 16691"/>
                    <a:gd name="connsiteY1" fmla="*/ 17189 h 49449"/>
                    <a:gd name="connsiteX2" fmla="*/ 7100 w 16691"/>
                    <a:gd name="connsiteY2" fmla="*/ 34503 h 49449"/>
                    <a:gd name="connsiteX3" fmla="*/ 0 w 16691"/>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691" h="49449">
                      <a:moveTo>
                        <a:pt x="16691" y="0"/>
                      </a:moveTo>
                      <a:cubicBezTo>
                        <a:pt x="11833" y="6976"/>
                        <a:pt x="9964" y="12954"/>
                        <a:pt x="9092" y="17189"/>
                      </a:cubicBezTo>
                      <a:cubicBezTo>
                        <a:pt x="7723" y="24040"/>
                        <a:pt x="8844" y="27528"/>
                        <a:pt x="7100" y="34503"/>
                      </a:cubicBezTo>
                      <a:cubicBezTo>
                        <a:pt x="5481" y="41229"/>
                        <a:pt x="2367" y="46211"/>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2" name="Freeform 5610">
                  <a:extLst>
                    <a:ext uri="{FF2B5EF4-FFF2-40B4-BE49-F238E27FC236}">
                      <a16:creationId xmlns:a16="http://schemas.microsoft.com/office/drawing/2014/main" id="{812F690B-F9F3-5079-0A0E-EED1CDFCEA4E}"/>
                    </a:ext>
                  </a:extLst>
                </p:cNvPr>
                <p:cNvSpPr/>
                <p:nvPr/>
              </p:nvSpPr>
              <p:spPr>
                <a:xfrm>
                  <a:off x="10775360" y="5895513"/>
                  <a:ext cx="15320" cy="49947"/>
                </a:xfrm>
                <a:custGeom>
                  <a:avLst/>
                  <a:gdLst>
                    <a:gd name="connsiteX0" fmla="*/ 0 w 15320"/>
                    <a:gd name="connsiteY0" fmla="*/ 49948 h 49947"/>
                    <a:gd name="connsiteX1" fmla="*/ 3861 w 15320"/>
                    <a:gd name="connsiteY1" fmla="*/ 31513 h 49947"/>
                    <a:gd name="connsiteX2" fmla="*/ 12331 w 15320"/>
                    <a:gd name="connsiteY2" fmla="*/ 16317 h 49947"/>
                    <a:gd name="connsiteX3" fmla="*/ 15320 w 15320"/>
                    <a:gd name="connsiteY3" fmla="*/ 0 h 49947"/>
                  </a:gdLst>
                  <a:ahLst/>
                  <a:cxnLst>
                    <a:cxn ang="0">
                      <a:pos x="connsiteX0" y="connsiteY0"/>
                    </a:cxn>
                    <a:cxn ang="0">
                      <a:pos x="connsiteX1" y="connsiteY1"/>
                    </a:cxn>
                    <a:cxn ang="0">
                      <a:pos x="connsiteX2" y="connsiteY2"/>
                    </a:cxn>
                    <a:cxn ang="0">
                      <a:pos x="connsiteX3" y="connsiteY3"/>
                    </a:cxn>
                  </a:cxnLst>
                  <a:rect l="l" t="t" r="r" b="b"/>
                  <a:pathLst>
                    <a:path w="15319" h="49947">
                      <a:moveTo>
                        <a:pt x="0" y="49948"/>
                      </a:moveTo>
                      <a:cubicBezTo>
                        <a:pt x="124" y="41478"/>
                        <a:pt x="2117" y="35499"/>
                        <a:pt x="3861" y="31513"/>
                      </a:cubicBezTo>
                      <a:cubicBezTo>
                        <a:pt x="6726" y="25161"/>
                        <a:pt x="9715" y="22919"/>
                        <a:pt x="12331" y="16317"/>
                      </a:cubicBezTo>
                      <a:cubicBezTo>
                        <a:pt x="14946" y="9965"/>
                        <a:pt x="15320" y="3986"/>
                        <a:pt x="1532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3" name="Freeform 5611">
                  <a:extLst>
                    <a:ext uri="{FF2B5EF4-FFF2-40B4-BE49-F238E27FC236}">
                      <a16:creationId xmlns:a16="http://schemas.microsoft.com/office/drawing/2014/main" id="{4F9E685D-2F74-4F0B-ACE7-E015C3153934}"/>
                    </a:ext>
                  </a:extLst>
                </p:cNvPr>
                <p:cNvSpPr/>
                <p:nvPr/>
              </p:nvSpPr>
              <p:spPr>
                <a:xfrm>
                  <a:off x="10774599" y="5879306"/>
                  <a:ext cx="26807" cy="26509"/>
                </a:xfrm>
                <a:custGeom>
                  <a:avLst/>
                  <a:gdLst>
                    <a:gd name="connsiteX0" fmla="*/ 26171 w 26807"/>
                    <a:gd name="connsiteY0" fmla="*/ 17453 h 26509"/>
                    <a:gd name="connsiteX1" fmla="*/ 9356 w 26807"/>
                    <a:gd name="connsiteY1" fmla="*/ 25798 h 26509"/>
                    <a:gd name="connsiteX2" fmla="*/ 637 w 26807"/>
                    <a:gd name="connsiteY2" fmla="*/ 9232 h 26509"/>
                    <a:gd name="connsiteX3" fmla="*/ 17452 w 26807"/>
                    <a:gd name="connsiteY3" fmla="*/ 638 h 26509"/>
                    <a:gd name="connsiteX4" fmla="*/ 26171 w 26807"/>
                    <a:gd name="connsiteY4" fmla="*/ 17453 h 2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6" h="26509">
                      <a:moveTo>
                        <a:pt x="26171" y="17453"/>
                      </a:moveTo>
                      <a:cubicBezTo>
                        <a:pt x="23929" y="24428"/>
                        <a:pt x="16331" y="28165"/>
                        <a:pt x="9356" y="25798"/>
                      </a:cubicBezTo>
                      <a:cubicBezTo>
                        <a:pt x="2256" y="23557"/>
                        <a:pt x="-1605" y="16207"/>
                        <a:pt x="637" y="9232"/>
                      </a:cubicBezTo>
                      <a:cubicBezTo>
                        <a:pt x="2879" y="2257"/>
                        <a:pt x="10352" y="-1604"/>
                        <a:pt x="17452" y="638"/>
                      </a:cubicBezTo>
                      <a:cubicBezTo>
                        <a:pt x="24552" y="3004"/>
                        <a:pt x="28413" y="10602"/>
                        <a:pt x="26171" y="1745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4" name="Freeform 5612">
                  <a:extLst>
                    <a:ext uri="{FF2B5EF4-FFF2-40B4-BE49-F238E27FC236}">
                      <a16:creationId xmlns:a16="http://schemas.microsoft.com/office/drawing/2014/main" id="{F832173F-96F5-3520-1EC1-5AA3F2982DBD}"/>
                    </a:ext>
                  </a:extLst>
                </p:cNvPr>
                <p:cNvSpPr/>
                <p:nvPr/>
              </p:nvSpPr>
              <p:spPr>
                <a:xfrm>
                  <a:off x="10756053" y="5954055"/>
                  <a:ext cx="16691" cy="49449"/>
                </a:xfrm>
                <a:custGeom>
                  <a:avLst/>
                  <a:gdLst>
                    <a:gd name="connsiteX0" fmla="*/ 0 w 16691"/>
                    <a:gd name="connsiteY0" fmla="*/ 49449 h 49449"/>
                    <a:gd name="connsiteX1" fmla="*/ 7599 w 16691"/>
                    <a:gd name="connsiteY1" fmla="*/ 32260 h 49449"/>
                    <a:gd name="connsiteX2" fmla="*/ 9591 w 16691"/>
                    <a:gd name="connsiteY2" fmla="*/ 14947 h 49449"/>
                    <a:gd name="connsiteX3" fmla="*/ 16691 w 16691"/>
                    <a:gd name="connsiteY3" fmla="*/ 0 h 49449"/>
                  </a:gdLst>
                  <a:ahLst/>
                  <a:cxnLst>
                    <a:cxn ang="0">
                      <a:pos x="connsiteX0" y="connsiteY0"/>
                    </a:cxn>
                    <a:cxn ang="0">
                      <a:pos x="connsiteX1" y="connsiteY1"/>
                    </a:cxn>
                    <a:cxn ang="0">
                      <a:pos x="connsiteX2" y="connsiteY2"/>
                    </a:cxn>
                    <a:cxn ang="0">
                      <a:pos x="connsiteX3" y="connsiteY3"/>
                    </a:cxn>
                  </a:cxnLst>
                  <a:rect l="l" t="t" r="r" b="b"/>
                  <a:pathLst>
                    <a:path w="16691" h="49449">
                      <a:moveTo>
                        <a:pt x="0" y="49449"/>
                      </a:moveTo>
                      <a:cubicBezTo>
                        <a:pt x="4733" y="42599"/>
                        <a:pt x="6727" y="36495"/>
                        <a:pt x="7599" y="32260"/>
                      </a:cubicBezTo>
                      <a:cubicBezTo>
                        <a:pt x="8969" y="25410"/>
                        <a:pt x="7972" y="21798"/>
                        <a:pt x="9591" y="14947"/>
                      </a:cubicBezTo>
                      <a:cubicBezTo>
                        <a:pt x="11210" y="8221"/>
                        <a:pt x="14324" y="3239"/>
                        <a:pt x="1669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5" name="Freeform 5613">
                  <a:extLst>
                    <a:ext uri="{FF2B5EF4-FFF2-40B4-BE49-F238E27FC236}">
                      <a16:creationId xmlns:a16="http://schemas.microsoft.com/office/drawing/2014/main" id="{6DB28E05-11BD-451B-A464-9AA95155577C}"/>
                    </a:ext>
                  </a:extLst>
                </p:cNvPr>
                <p:cNvSpPr/>
                <p:nvPr/>
              </p:nvSpPr>
              <p:spPr>
                <a:xfrm>
                  <a:off x="10747957" y="5956297"/>
                  <a:ext cx="15320" cy="49947"/>
                </a:xfrm>
                <a:custGeom>
                  <a:avLst/>
                  <a:gdLst>
                    <a:gd name="connsiteX0" fmla="*/ 15320 w 15320"/>
                    <a:gd name="connsiteY0" fmla="*/ 0 h 49947"/>
                    <a:gd name="connsiteX1" fmla="*/ 11459 w 15320"/>
                    <a:gd name="connsiteY1" fmla="*/ 18435 h 49947"/>
                    <a:gd name="connsiteX2" fmla="*/ 2989 w 15320"/>
                    <a:gd name="connsiteY2" fmla="*/ 33755 h 49947"/>
                    <a:gd name="connsiteX3" fmla="*/ 0 w 15320"/>
                    <a:gd name="connsiteY3" fmla="*/ 49948 h 49947"/>
                  </a:gdLst>
                  <a:ahLst/>
                  <a:cxnLst>
                    <a:cxn ang="0">
                      <a:pos x="connsiteX0" y="connsiteY0"/>
                    </a:cxn>
                    <a:cxn ang="0">
                      <a:pos x="connsiteX1" y="connsiteY1"/>
                    </a:cxn>
                    <a:cxn ang="0">
                      <a:pos x="connsiteX2" y="connsiteY2"/>
                    </a:cxn>
                    <a:cxn ang="0">
                      <a:pos x="connsiteX3" y="connsiteY3"/>
                    </a:cxn>
                  </a:cxnLst>
                  <a:rect l="l" t="t" r="r" b="b"/>
                  <a:pathLst>
                    <a:path w="15319" h="49947">
                      <a:moveTo>
                        <a:pt x="15320" y="0"/>
                      </a:moveTo>
                      <a:cubicBezTo>
                        <a:pt x="15196" y="8346"/>
                        <a:pt x="13203" y="14449"/>
                        <a:pt x="11459" y="18435"/>
                      </a:cubicBezTo>
                      <a:cubicBezTo>
                        <a:pt x="8595" y="24787"/>
                        <a:pt x="5605" y="27154"/>
                        <a:pt x="2989" y="33755"/>
                      </a:cubicBezTo>
                      <a:cubicBezTo>
                        <a:pt x="373" y="40108"/>
                        <a:pt x="0" y="46086"/>
                        <a:pt x="0" y="4994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6" name="Freeform 5614">
                  <a:extLst>
                    <a:ext uri="{FF2B5EF4-FFF2-40B4-BE49-F238E27FC236}">
                      <a16:creationId xmlns:a16="http://schemas.microsoft.com/office/drawing/2014/main" id="{2E0FB1F3-AE67-E77B-E514-2C55997C9CCF}"/>
                    </a:ext>
                  </a:extLst>
                </p:cNvPr>
                <p:cNvSpPr/>
                <p:nvPr/>
              </p:nvSpPr>
              <p:spPr>
                <a:xfrm>
                  <a:off x="10737354" y="5995950"/>
                  <a:ext cx="26201" cy="26514"/>
                </a:xfrm>
                <a:custGeom>
                  <a:avLst/>
                  <a:gdLst>
                    <a:gd name="connsiteX0" fmla="*/ 639 w 26201"/>
                    <a:gd name="connsiteY0" fmla="*/ 9299 h 26514"/>
                    <a:gd name="connsiteX1" fmla="*/ 17204 w 26201"/>
                    <a:gd name="connsiteY1" fmla="*/ 580 h 26514"/>
                    <a:gd name="connsiteX2" fmla="*/ 25550 w 26201"/>
                    <a:gd name="connsiteY2" fmla="*/ 17395 h 26514"/>
                    <a:gd name="connsiteX3" fmla="*/ 9109 w 26201"/>
                    <a:gd name="connsiteY3" fmla="*/ 25865 h 26514"/>
                    <a:gd name="connsiteX4" fmla="*/ 639 w 26201"/>
                    <a:gd name="connsiteY4" fmla="*/ 9299 h 2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1" h="26513">
                      <a:moveTo>
                        <a:pt x="639" y="9299"/>
                      </a:moveTo>
                      <a:cubicBezTo>
                        <a:pt x="2881" y="2323"/>
                        <a:pt x="10229" y="-1538"/>
                        <a:pt x="17204" y="580"/>
                      </a:cubicBezTo>
                      <a:cubicBezTo>
                        <a:pt x="24055" y="2821"/>
                        <a:pt x="27792" y="10420"/>
                        <a:pt x="25550" y="17395"/>
                      </a:cubicBezTo>
                      <a:cubicBezTo>
                        <a:pt x="23308" y="24370"/>
                        <a:pt x="15959" y="28107"/>
                        <a:pt x="9109" y="25865"/>
                      </a:cubicBezTo>
                      <a:cubicBezTo>
                        <a:pt x="2257" y="23623"/>
                        <a:pt x="-1604" y="16274"/>
                        <a:pt x="639" y="929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4" name="Graphic 2987">
                <a:extLst>
                  <a:ext uri="{FF2B5EF4-FFF2-40B4-BE49-F238E27FC236}">
                    <a16:creationId xmlns:a16="http://schemas.microsoft.com/office/drawing/2014/main" id="{3DF5AF96-91D4-A50D-5E83-C213BDBE2156}"/>
                  </a:ext>
                </a:extLst>
              </p:cNvPr>
              <p:cNvGrpSpPr/>
              <p:nvPr/>
            </p:nvGrpSpPr>
            <p:grpSpPr>
              <a:xfrm>
                <a:off x="10765105" y="5888824"/>
                <a:ext cx="64759" cy="142722"/>
                <a:chOff x="10765105" y="5888824"/>
                <a:chExt cx="64759" cy="142722"/>
              </a:xfrm>
              <a:grpFill/>
            </p:grpSpPr>
            <p:sp>
              <p:nvSpPr>
                <p:cNvPr id="3995" name="Freeform 5616">
                  <a:extLst>
                    <a:ext uri="{FF2B5EF4-FFF2-40B4-BE49-F238E27FC236}">
                      <a16:creationId xmlns:a16="http://schemas.microsoft.com/office/drawing/2014/main" id="{352B2B6C-03F5-7724-2E7A-B56F07F8C7D1}"/>
                    </a:ext>
                  </a:extLst>
                </p:cNvPr>
                <p:cNvSpPr/>
                <p:nvPr/>
              </p:nvSpPr>
              <p:spPr>
                <a:xfrm>
                  <a:off x="10793919" y="5907595"/>
                  <a:ext cx="16939" cy="49325"/>
                </a:xfrm>
                <a:custGeom>
                  <a:avLst/>
                  <a:gdLst>
                    <a:gd name="connsiteX0" fmla="*/ 16940 w 16939"/>
                    <a:gd name="connsiteY0" fmla="*/ 0 h 49325"/>
                    <a:gd name="connsiteX1" fmla="*/ 9217 w 16939"/>
                    <a:gd name="connsiteY1" fmla="*/ 17189 h 49325"/>
                    <a:gd name="connsiteX2" fmla="*/ 7100 w 16939"/>
                    <a:gd name="connsiteY2" fmla="*/ 34503 h 49325"/>
                    <a:gd name="connsiteX3" fmla="*/ 0 w 16939"/>
                    <a:gd name="connsiteY3" fmla="*/ 49325 h 49325"/>
                  </a:gdLst>
                  <a:ahLst/>
                  <a:cxnLst>
                    <a:cxn ang="0">
                      <a:pos x="connsiteX0" y="connsiteY0"/>
                    </a:cxn>
                    <a:cxn ang="0">
                      <a:pos x="connsiteX1" y="connsiteY1"/>
                    </a:cxn>
                    <a:cxn ang="0">
                      <a:pos x="connsiteX2" y="connsiteY2"/>
                    </a:cxn>
                    <a:cxn ang="0">
                      <a:pos x="connsiteX3" y="connsiteY3"/>
                    </a:cxn>
                  </a:cxnLst>
                  <a:rect l="l" t="t" r="r" b="b"/>
                  <a:pathLst>
                    <a:path w="16939" h="49325">
                      <a:moveTo>
                        <a:pt x="16940" y="0"/>
                      </a:moveTo>
                      <a:cubicBezTo>
                        <a:pt x="12082" y="6851"/>
                        <a:pt x="10089" y="12829"/>
                        <a:pt x="9217" y="17189"/>
                      </a:cubicBezTo>
                      <a:cubicBezTo>
                        <a:pt x="7847" y="24040"/>
                        <a:pt x="8843" y="27652"/>
                        <a:pt x="7100" y="34503"/>
                      </a:cubicBezTo>
                      <a:cubicBezTo>
                        <a:pt x="5356" y="41229"/>
                        <a:pt x="2242" y="46211"/>
                        <a:pt x="0" y="4932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6" name="Freeform 5617">
                  <a:extLst>
                    <a:ext uri="{FF2B5EF4-FFF2-40B4-BE49-F238E27FC236}">
                      <a16:creationId xmlns:a16="http://schemas.microsoft.com/office/drawing/2014/main" id="{86CD6A17-04A8-A130-C988-1CE87755F533}"/>
                    </a:ext>
                  </a:extLst>
                </p:cNvPr>
                <p:cNvSpPr/>
                <p:nvPr/>
              </p:nvSpPr>
              <p:spPr>
                <a:xfrm>
                  <a:off x="10803385" y="5905104"/>
                  <a:ext cx="15693" cy="49698"/>
                </a:xfrm>
                <a:custGeom>
                  <a:avLst/>
                  <a:gdLst>
                    <a:gd name="connsiteX0" fmla="*/ 0 w 15693"/>
                    <a:gd name="connsiteY0" fmla="*/ 49698 h 49698"/>
                    <a:gd name="connsiteX1" fmla="*/ 3985 w 15693"/>
                    <a:gd name="connsiteY1" fmla="*/ 31264 h 49698"/>
                    <a:gd name="connsiteX2" fmla="*/ 12580 w 15693"/>
                    <a:gd name="connsiteY2" fmla="*/ 16192 h 49698"/>
                    <a:gd name="connsiteX3" fmla="*/ 15694 w 15693"/>
                    <a:gd name="connsiteY3" fmla="*/ 0 h 49698"/>
                  </a:gdLst>
                  <a:ahLst/>
                  <a:cxnLst>
                    <a:cxn ang="0">
                      <a:pos x="connsiteX0" y="connsiteY0"/>
                    </a:cxn>
                    <a:cxn ang="0">
                      <a:pos x="connsiteX1" y="connsiteY1"/>
                    </a:cxn>
                    <a:cxn ang="0">
                      <a:pos x="connsiteX2" y="connsiteY2"/>
                    </a:cxn>
                    <a:cxn ang="0">
                      <a:pos x="connsiteX3" y="connsiteY3"/>
                    </a:cxn>
                  </a:cxnLst>
                  <a:rect l="l" t="t" r="r" b="b"/>
                  <a:pathLst>
                    <a:path w="15693" h="49698">
                      <a:moveTo>
                        <a:pt x="0" y="49698"/>
                      </a:moveTo>
                      <a:cubicBezTo>
                        <a:pt x="124" y="41229"/>
                        <a:pt x="2117" y="35250"/>
                        <a:pt x="3985" y="31264"/>
                      </a:cubicBezTo>
                      <a:cubicBezTo>
                        <a:pt x="6851" y="24912"/>
                        <a:pt x="9840" y="22670"/>
                        <a:pt x="12580" y="16192"/>
                      </a:cubicBezTo>
                      <a:cubicBezTo>
                        <a:pt x="15196" y="9840"/>
                        <a:pt x="15694" y="3861"/>
                        <a:pt x="1569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7" name="Freeform 5618">
                  <a:extLst>
                    <a:ext uri="{FF2B5EF4-FFF2-40B4-BE49-F238E27FC236}">
                      <a16:creationId xmlns:a16="http://schemas.microsoft.com/office/drawing/2014/main" id="{3EB19C86-FBBB-930D-6341-DEA9CC83A42D}"/>
                    </a:ext>
                  </a:extLst>
                </p:cNvPr>
                <p:cNvSpPr/>
                <p:nvPr/>
              </p:nvSpPr>
              <p:spPr>
                <a:xfrm>
                  <a:off x="10803121" y="5888824"/>
                  <a:ext cx="26743" cy="26581"/>
                </a:xfrm>
                <a:custGeom>
                  <a:avLst/>
                  <a:gdLst>
                    <a:gd name="connsiteX0" fmla="*/ 26047 w 26743"/>
                    <a:gd name="connsiteY0" fmla="*/ 17526 h 26581"/>
                    <a:gd name="connsiteX1" fmla="*/ 9232 w 26743"/>
                    <a:gd name="connsiteY1" fmla="*/ 25871 h 26581"/>
                    <a:gd name="connsiteX2" fmla="*/ 638 w 26743"/>
                    <a:gd name="connsiteY2" fmla="*/ 9056 h 26581"/>
                    <a:gd name="connsiteX3" fmla="*/ 17453 w 26743"/>
                    <a:gd name="connsiteY3" fmla="*/ 711 h 26581"/>
                    <a:gd name="connsiteX4" fmla="*/ 26047 w 26743"/>
                    <a:gd name="connsiteY4" fmla="*/ 17526 h 2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 h="26581">
                      <a:moveTo>
                        <a:pt x="26047" y="17526"/>
                      </a:moveTo>
                      <a:cubicBezTo>
                        <a:pt x="23680" y="24501"/>
                        <a:pt x="16207" y="28238"/>
                        <a:pt x="9232" y="25871"/>
                      </a:cubicBezTo>
                      <a:cubicBezTo>
                        <a:pt x="2257" y="23505"/>
                        <a:pt x="-1604" y="16031"/>
                        <a:pt x="638" y="9056"/>
                      </a:cubicBezTo>
                      <a:cubicBezTo>
                        <a:pt x="2880" y="2081"/>
                        <a:pt x="10477" y="-1656"/>
                        <a:pt x="17453" y="711"/>
                      </a:cubicBezTo>
                      <a:cubicBezTo>
                        <a:pt x="24552" y="3077"/>
                        <a:pt x="28414" y="10551"/>
                        <a:pt x="2604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8" name="Freeform 5619">
                  <a:extLst>
                    <a:ext uri="{FF2B5EF4-FFF2-40B4-BE49-F238E27FC236}">
                      <a16:creationId xmlns:a16="http://schemas.microsoft.com/office/drawing/2014/main" id="{EF511670-B84C-E438-0F20-FE3B97B9B9C1}"/>
                    </a:ext>
                  </a:extLst>
                </p:cNvPr>
                <p:cNvSpPr/>
                <p:nvPr/>
              </p:nvSpPr>
              <p:spPr>
                <a:xfrm>
                  <a:off x="10783830" y="5963397"/>
                  <a:ext cx="17064" cy="49324"/>
                </a:xfrm>
                <a:custGeom>
                  <a:avLst/>
                  <a:gdLst>
                    <a:gd name="connsiteX0" fmla="*/ 0 w 17064"/>
                    <a:gd name="connsiteY0" fmla="*/ 49325 h 49324"/>
                    <a:gd name="connsiteX1" fmla="*/ 7723 w 17064"/>
                    <a:gd name="connsiteY1" fmla="*/ 32136 h 49324"/>
                    <a:gd name="connsiteX2" fmla="*/ 9840 w 17064"/>
                    <a:gd name="connsiteY2" fmla="*/ 14822 h 49324"/>
                    <a:gd name="connsiteX3" fmla="*/ 17064 w 17064"/>
                    <a:gd name="connsiteY3" fmla="*/ 0 h 49324"/>
                  </a:gdLst>
                  <a:ahLst/>
                  <a:cxnLst>
                    <a:cxn ang="0">
                      <a:pos x="connsiteX0" y="connsiteY0"/>
                    </a:cxn>
                    <a:cxn ang="0">
                      <a:pos x="connsiteX1" y="connsiteY1"/>
                    </a:cxn>
                    <a:cxn ang="0">
                      <a:pos x="connsiteX2" y="connsiteY2"/>
                    </a:cxn>
                    <a:cxn ang="0">
                      <a:pos x="connsiteX3" y="connsiteY3"/>
                    </a:cxn>
                  </a:cxnLst>
                  <a:rect l="l" t="t" r="r" b="b"/>
                  <a:pathLst>
                    <a:path w="17064" h="49324">
                      <a:moveTo>
                        <a:pt x="0" y="49325"/>
                      </a:moveTo>
                      <a:cubicBezTo>
                        <a:pt x="4857" y="42474"/>
                        <a:pt x="6851" y="36495"/>
                        <a:pt x="7723" y="32136"/>
                      </a:cubicBezTo>
                      <a:cubicBezTo>
                        <a:pt x="9217" y="25285"/>
                        <a:pt x="8096" y="21673"/>
                        <a:pt x="9840" y="14822"/>
                      </a:cubicBezTo>
                      <a:cubicBezTo>
                        <a:pt x="11584" y="8096"/>
                        <a:pt x="14698" y="3114"/>
                        <a:pt x="1706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9" name="Freeform 5620">
                  <a:extLst>
                    <a:ext uri="{FF2B5EF4-FFF2-40B4-BE49-F238E27FC236}">
                      <a16:creationId xmlns:a16="http://schemas.microsoft.com/office/drawing/2014/main" id="{E7E0B037-CFC8-32DC-BDA7-79BA0DC1E0B0}"/>
                    </a:ext>
                  </a:extLst>
                </p:cNvPr>
                <p:cNvSpPr/>
                <p:nvPr/>
              </p:nvSpPr>
              <p:spPr>
                <a:xfrm>
                  <a:off x="10775609" y="5965515"/>
                  <a:ext cx="15694" cy="49823"/>
                </a:xfrm>
                <a:custGeom>
                  <a:avLst/>
                  <a:gdLst>
                    <a:gd name="connsiteX0" fmla="*/ 15694 w 15694"/>
                    <a:gd name="connsiteY0" fmla="*/ 0 h 49823"/>
                    <a:gd name="connsiteX1" fmla="*/ 11708 w 15694"/>
                    <a:gd name="connsiteY1" fmla="*/ 18434 h 49823"/>
                    <a:gd name="connsiteX2" fmla="*/ 3114 w 15694"/>
                    <a:gd name="connsiteY2" fmla="*/ 33630 h 49823"/>
                    <a:gd name="connsiteX3" fmla="*/ 0 w 15694"/>
                    <a:gd name="connsiteY3" fmla="*/ 49823 h 49823"/>
                  </a:gdLst>
                  <a:ahLst/>
                  <a:cxnLst>
                    <a:cxn ang="0">
                      <a:pos x="connsiteX0" y="connsiteY0"/>
                    </a:cxn>
                    <a:cxn ang="0">
                      <a:pos x="connsiteX1" y="connsiteY1"/>
                    </a:cxn>
                    <a:cxn ang="0">
                      <a:pos x="connsiteX2" y="connsiteY2"/>
                    </a:cxn>
                    <a:cxn ang="0">
                      <a:pos x="connsiteX3" y="connsiteY3"/>
                    </a:cxn>
                  </a:cxnLst>
                  <a:rect l="l" t="t" r="r" b="b"/>
                  <a:pathLst>
                    <a:path w="15694" h="49823">
                      <a:moveTo>
                        <a:pt x="15694" y="0"/>
                      </a:moveTo>
                      <a:cubicBezTo>
                        <a:pt x="15570" y="8470"/>
                        <a:pt x="13577" y="14449"/>
                        <a:pt x="11708" y="18434"/>
                      </a:cubicBezTo>
                      <a:cubicBezTo>
                        <a:pt x="8844" y="24787"/>
                        <a:pt x="5855" y="27029"/>
                        <a:pt x="3114" y="33630"/>
                      </a:cubicBezTo>
                      <a:cubicBezTo>
                        <a:pt x="499" y="39983"/>
                        <a:pt x="0" y="45962"/>
                        <a:pt x="0" y="4982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4000" name="Freeform 5621">
                  <a:extLst>
                    <a:ext uri="{FF2B5EF4-FFF2-40B4-BE49-F238E27FC236}">
                      <a16:creationId xmlns:a16="http://schemas.microsoft.com/office/drawing/2014/main" id="{A9709D16-B215-8A87-3576-F0646CF71F10}"/>
                    </a:ext>
                  </a:extLst>
                </p:cNvPr>
                <p:cNvSpPr/>
                <p:nvPr/>
              </p:nvSpPr>
              <p:spPr>
                <a:xfrm>
                  <a:off x="10765105" y="6005097"/>
                  <a:ext cx="26162" cy="26449"/>
                </a:xfrm>
                <a:custGeom>
                  <a:avLst/>
                  <a:gdLst>
                    <a:gd name="connsiteX0" fmla="*/ 664 w 26162"/>
                    <a:gd name="connsiteY0" fmla="*/ 9120 h 26449"/>
                    <a:gd name="connsiteX1" fmla="*/ 17230 w 26162"/>
                    <a:gd name="connsiteY1" fmla="*/ 650 h 26449"/>
                    <a:gd name="connsiteX2" fmla="*/ 25450 w 26162"/>
                    <a:gd name="connsiteY2" fmla="*/ 17341 h 26449"/>
                    <a:gd name="connsiteX3" fmla="*/ 8884 w 26162"/>
                    <a:gd name="connsiteY3" fmla="*/ 25811 h 26449"/>
                    <a:gd name="connsiteX4" fmla="*/ 664 w 26162"/>
                    <a:gd name="connsiteY4" fmla="*/ 9120 h 26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49">
                      <a:moveTo>
                        <a:pt x="664" y="9120"/>
                      </a:moveTo>
                      <a:cubicBezTo>
                        <a:pt x="2906" y="2145"/>
                        <a:pt x="10379" y="-1592"/>
                        <a:pt x="17230" y="650"/>
                      </a:cubicBezTo>
                      <a:cubicBezTo>
                        <a:pt x="24081" y="2892"/>
                        <a:pt x="27817" y="10490"/>
                        <a:pt x="25450" y="17341"/>
                      </a:cubicBezTo>
                      <a:cubicBezTo>
                        <a:pt x="23084" y="24191"/>
                        <a:pt x="15735" y="28053"/>
                        <a:pt x="8884" y="25811"/>
                      </a:cubicBezTo>
                      <a:cubicBezTo>
                        <a:pt x="2034" y="23568"/>
                        <a:pt x="-1578" y="16095"/>
                        <a:pt x="664"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5" name="Graphic 2987">
                <a:extLst>
                  <a:ext uri="{FF2B5EF4-FFF2-40B4-BE49-F238E27FC236}">
                    <a16:creationId xmlns:a16="http://schemas.microsoft.com/office/drawing/2014/main" id="{6538B41A-94E7-6AC3-1F93-524D90506C5A}"/>
                  </a:ext>
                </a:extLst>
              </p:cNvPr>
              <p:cNvGrpSpPr/>
              <p:nvPr/>
            </p:nvGrpSpPr>
            <p:grpSpPr>
              <a:xfrm>
                <a:off x="10792845" y="5898290"/>
                <a:ext cx="65432" cy="142484"/>
                <a:chOff x="10792845" y="5898290"/>
                <a:chExt cx="65432" cy="142484"/>
              </a:xfrm>
              <a:grpFill/>
            </p:grpSpPr>
            <p:sp>
              <p:nvSpPr>
                <p:cNvPr id="3989" name="Freeform 5623">
                  <a:extLst>
                    <a:ext uri="{FF2B5EF4-FFF2-40B4-BE49-F238E27FC236}">
                      <a16:creationId xmlns:a16="http://schemas.microsoft.com/office/drawing/2014/main" id="{5F8CF9C1-C168-0957-8548-89132C694F4F}"/>
                    </a:ext>
                  </a:extLst>
                </p:cNvPr>
                <p:cNvSpPr/>
                <p:nvPr/>
              </p:nvSpPr>
              <p:spPr>
                <a:xfrm>
                  <a:off x="10821944" y="5917187"/>
                  <a:ext cx="17189" cy="49200"/>
                </a:xfrm>
                <a:custGeom>
                  <a:avLst/>
                  <a:gdLst>
                    <a:gd name="connsiteX0" fmla="*/ 17189 w 17189"/>
                    <a:gd name="connsiteY0" fmla="*/ 0 h 49200"/>
                    <a:gd name="connsiteX1" fmla="*/ 9342 w 17189"/>
                    <a:gd name="connsiteY1" fmla="*/ 17064 h 49200"/>
                    <a:gd name="connsiteX2" fmla="*/ 7224 w 17189"/>
                    <a:gd name="connsiteY2" fmla="*/ 34378 h 49200"/>
                    <a:gd name="connsiteX3" fmla="*/ 0 w 17189"/>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189" h="49200">
                      <a:moveTo>
                        <a:pt x="17189" y="0"/>
                      </a:moveTo>
                      <a:cubicBezTo>
                        <a:pt x="12206" y="6851"/>
                        <a:pt x="10214" y="12829"/>
                        <a:pt x="9342" y="17064"/>
                      </a:cubicBezTo>
                      <a:cubicBezTo>
                        <a:pt x="7847" y="23915"/>
                        <a:pt x="8968" y="27527"/>
                        <a:pt x="7224" y="34378"/>
                      </a:cubicBezTo>
                      <a:cubicBezTo>
                        <a:pt x="5481"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0" name="Freeform 5624">
                  <a:extLst>
                    <a:ext uri="{FF2B5EF4-FFF2-40B4-BE49-F238E27FC236}">
                      <a16:creationId xmlns:a16="http://schemas.microsoft.com/office/drawing/2014/main" id="{DEB1F11F-53E6-E627-8A13-58BC7F327CC3}"/>
                    </a:ext>
                  </a:extLst>
                </p:cNvPr>
                <p:cNvSpPr/>
                <p:nvPr/>
              </p:nvSpPr>
              <p:spPr>
                <a:xfrm>
                  <a:off x="10831535" y="5914695"/>
                  <a:ext cx="15943" cy="49574"/>
                </a:xfrm>
                <a:custGeom>
                  <a:avLst/>
                  <a:gdLst>
                    <a:gd name="connsiteX0" fmla="*/ 0 w 15943"/>
                    <a:gd name="connsiteY0" fmla="*/ 49574 h 49574"/>
                    <a:gd name="connsiteX1" fmla="*/ 4111 w 15943"/>
                    <a:gd name="connsiteY1" fmla="*/ 31264 h 49574"/>
                    <a:gd name="connsiteX2" fmla="*/ 12830 w 15943"/>
                    <a:gd name="connsiteY2" fmla="*/ 16193 h 49574"/>
                    <a:gd name="connsiteX3" fmla="*/ 15944 w 15943"/>
                    <a:gd name="connsiteY3" fmla="*/ 0 h 49574"/>
                  </a:gdLst>
                  <a:ahLst/>
                  <a:cxnLst>
                    <a:cxn ang="0">
                      <a:pos x="connsiteX0" y="connsiteY0"/>
                    </a:cxn>
                    <a:cxn ang="0">
                      <a:pos x="connsiteX1" y="connsiteY1"/>
                    </a:cxn>
                    <a:cxn ang="0">
                      <a:pos x="connsiteX2" y="connsiteY2"/>
                    </a:cxn>
                    <a:cxn ang="0">
                      <a:pos x="connsiteX3" y="connsiteY3"/>
                    </a:cxn>
                  </a:cxnLst>
                  <a:rect l="l" t="t" r="r" b="b"/>
                  <a:pathLst>
                    <a:path w="15943" h="49574">
                      <a:moveTo>
                        <a:pt x="0" y="49574"/>
                      </a:moveTo>
                      <a:cubicBezTo>
                        <a:pt x="249" y="41104"/>
                        <a:pt x="2243" y="35125"/>
                        <a:pt x="4111" y="31264"/>
                      </a:cubicBezTo>
                      <a:cubicBezTo>
                        <a:pt x="7100" y="24912"/>
                        <a:pt x="10089" y="22670"/>
                        <a:pt x="12830" y="16193"/>
                      </a:cubicBezTo>
                      <a:cubicBezTo>
                        <a:pt x="15446" y="9840"/>
                        <a:pt x="15944" y="3986"/>
                        <a:pt x="1594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1" name="Freeform 5625">
                  <a:extLst>
                    <a:ext uri="{FF2B5EF4-FFF2-40B4-BE49-F238E27FC236}">
                      <a16:creationId xmlns:a16="http://schemas.microsoft.com/office/drawing/2014/main" id="{61F2771B-DD34-FE41-E39D-117D3F8C317B}"/>
                    </a:ext>
                  </a:extLst>
                </p:cNvPr>
                <p:cNvSpPr/>
                <p:nvPr/>
              </p:nvSpPr>
              <p:spPr>
                <a:xfrm>
                  <a:off x="10831461" y="5898290"/>
                  <a:ext cx="26816" cy="26533"/>
                </a:xfrm>
                <a:custGeom>
                  <a:avLst/>
                  <a:gdLst>
                    <a:gd name="connsiteX0" fmla="*/ 26107 w 26816"/>
                    <a:gd name="connsiteY0" fmla="*/ 17526 h 26533"/>
                    <a:gd name="connsiteX1" fmla="*/ 9167 w 26816"/>
                    <a:gd name="connsiteY1" fmla="*/ 25871 h 26533"/>
                    <a:gd name="connsiteX2" fmla="*/ 698 w 26816"/>
                    <a:gd name="connsiteY2" fmla="*/ 9056 h 26533"/>
                    <a:gd name="connsiteX3" fmla="*/ 17637 w 26816"/>
                    <a:gd name="connsiteY3" fmla="*/ 711 h 26533"/>
                    <a:gd name="connsiteX4" fmla="*/ 26107 w 26816"/>
                    <a:gd name="connsiteY4" fmla="*/ 17526 h 2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6" h="26533">
                      <a:moveTo>
                        <a:pt x="26107" y="17526"/>
                      </a:moveTo>
                      <a:cubicBezTo>
                        <a:pt x="23740" y="24501"/>
                        <a:pt x="16143" y="28113"/>
                        <a:pt x="9167" y="25871"/>
                      </a:cubicBezTo>
                      <a:cubicBezTo>
                        <a:pt x="2192" y="23505"/>
                        <a:pt x="-1669" y="16031"/>
                        <a:pt x="698" y="9056"/>
                      </a:cubicBezTo>
                      <a:cubicBezTo>
                        <a:pt x="3064" y="2081"/>
                        <a:pt x="10537" y="-1656"/>
                        <a:pt x="17637" y="711"/>
                      </a:cubicBezTo>
                      <a:cubicBezTo>
                        <a:pt x="24737" y="3077"/>
                        <a:pt x="28474" y="10675"/>
                        <a:pt x="26107" y="1752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2" name="Freeform 5626">
                  <a:extLst>
                    <a:ext uri="{FF2B5EF4-FFF2-40B4-BE49-F238E27FC236}">
                      <a16:creationId xmlns:a16="http://schemas.microsoft.com/office/drawing/2014/main" id="{DF7EE3A5-6B0F-4D88-126A-3B64938FD3A2}"/>
                    </a:ext>
                  </a:extLst>
                </p:cNvPr>
                <p:cNvSpPr/>
                <p:nvPr/>
              </p:nvSpPr>
              <p:spPr>
                <a:xfrm>
                  <a:off x="10811606" y="5972864"/>
                  <a:ext cx="17313" cy="49200"/>
                </a:xfrm>
                <a:custGeom>
                  <a:avLst/>
                  <a:gdLst>
                    <a:gd name="connsiteX0" fmla="*/ 0 w 17313"/>
                    <a:gd name="connsiteY0" fmla="*/ 49200 h 49200"/>
                    <a:gd name="connsiteX1" fmla="*/ 7847 w 17313"/>
                    <a:gd name="connsiteY1" fmla="*/ 32136 h 49200"/>
                    <a:gd name="connsiteX2" fmla="*/ 10089 w 17313"/>
                    <a:gd name="connsiteY2" fmla="*/ 14822 h 49200"/>
                    <a:gd name="connsiteX3" fmla="*/ 17314 w 17313"/>
                    <a:gd name="connsiteY3" fmla="*/ 0 h 49200"/>
                  </a:gdLst>
                  <a:ahLst/>
                  <a:cxnLst>
                    <a:cxn ang="0">
                      <a:pos x="connsiteX0" y="connsiteY0"/>
                    </a:cxn>
                    <a:cxn ang="0">
                      <a:pos x="connsiteX1" y="connsiteY1"/>
                    </a:cxn>
                    <a:cxn ang="0">
                      <a:pos x="connsiteX2" y="connsiteY2"/>
                    </a:cxn>
                    <a:cxn ang="0">
                      <a:pos x="connsiteX3" y="connsiteY3"/>
                    </a:cxn>
                  </a:cxnLst>
                  <a:rect l="l" t="t" r="r" b="b"/>
                  <a:pathLst>
                    <a:path w="17313" h="49200">
                      <a:moveTo>
                        <a:pt x="0" y="49200"/>
                      </a:moveTo>
                      <a:cubicBezTo>
                        <a:pt x="4858" y="42350"/>
                        <a:pt x="6851" y="36371"/>
                        <a:pt x="7847" y="32136"/>
                      </a:cubicBezTo>
                      <a:cubicBezTo>
                        <a:pt x="9342" y="25285"/>
                        <a:pt x="8345" y="21798"/>
                        <a:pt x="10089" y="14822"/>
                      </a:cubicBezTo>
                      <a:cubicBezTo>
                        <a:pt x="11833" y="8096"/>
                        <a:pt x="14947" y="3114"/>
                        <a:pt x="173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3" name="Freeform 5627">
                  <a:extLst>
                    <a:ext uri="{FF2B5EF4-FFF2-40B4-BE49-F238E27FC236}">
                      <a16:creationId xmlns:a16="http://schemas.microsoft.com/office/drawing/2014/main" id="{76F5F2D7-B1F6-A80C-D25C-82EC498F67D7}"/>
                    </a:ext>
                  </a:extLst>
                </p:cNvPr>
                <p:cNvSpPr/>
                <p:nvPr/>
              </p:nvSpPr>
              <p:spPr>
                <a:xfrm>
                  <a:off x="10803385" y="5974981"/>
                  <a:ext cx="15942" cy="49574"/>
                </a:xfrm>
                <a:custGeom>
                  <a:avLst/>
                  <a:gdLst>
                    <a:gd name="connsiteX0" fmla="*/ 15943 w 15942"/>
                    <a:gd name="connsiteY0" fmla="*/ 0 h 49574"/>
                    <a:gd name="connsiteX1" fmla="*/ 11832 w 15942"/>
                    <a:gd name="connsiteY1" fmla="*/ 18310 h 49574"/>
                    <a:gd name="connsiteX2" fmla="*/ 3238 w 15942"/>
                    <a:gd name="connsiteY2" fmla="*/ 33382 h 49574"/>
                    <a:gd name="connsiteX3" fmla="*/ 0 w 1594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5942" h="49574">
                      <a:moveTo>
                        <a:pt x="15943" y="0"/>
                      </a:moveTo>
                      <a:cubicBezTo>
                        <a:pt x="15694" y="8470"/>
                        <a:pt x="13701" y="14449"/>
                        <a:pt x="11832" y="18310"/>
                      </a:cubicBezTo>
                      <a:cubicBezTo>
                        <a:pt x="8843" y="24663"/>
                        <a:pt x="5854" y="26905"/>
                        <a:pt x="3238" y="33382"/>
                      </a:cubicBezTo>
                      <a:cubicBezTo>
                        <a:pt x="623" y="39734"/>
                        <a:pt x="124"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94" name="Freeform 5628">
                  <a:extLst>
                    <a:ext uri="{FF2B5EF4-FFF2-40B4-BE49-F238E27FC236}">
                      <a16:creationId xmlns:a16="http://schemas.microsoft.com/office/drawing/2014/main" id="{544EA1F7-346E-1A07-1E8B-0A1D80BA436A}"/>
                    </a:ext>
                  </a:extLst>
                </p:cNvPr>
                <p:cNvSpPr/>
                <p:nvPr/>
              </p:nvSpPr>
              <p:spPr>
                <a:xfrm>
                  <a:off x="10792845" y="6014314"/>
                  <a:ext cx="26150" cy="26460"/>
                </a:xfrm>
                <a:custGeom>
                  <a:avLst/>
                  <a:gdLst>
                    <a:gd name="connsiteX0" fmla="*/ 700 w 26150"/>
                    <a:gd name="connsiteY0" fmla="*/ 9120 h 26460"/>
                    <a:gd name="connsiteX1" fmla="*/ 17266 w 26150"/>
                    <a:gd name="connsiteY1" fmla="*/ 650 h 26460"/>
                    <a:gd name="connsiteX2" fmla="*/ 25486 w 26150"/>
                    <a:gd name="connsiteY2" fmla="*/ 17341 h 26460"/>
                    <a:gd name="connsiteX3" fmla="*/ 8921 w 26150"/>
                    <a:gd name="connsiteY3" fmla="*/ 25811 h 26460"/>
                    <a:gd name="connsiteX4" fmla="*/ 700 w 26150"/>
                    <a:gd name="connsiteY4" fmla="*/ 9120 h 26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0" h="26460">
                      <a:moveTo>
                        <a:pt x="700" y="9120"/>
                      </a:moveTo>
                      <a:cubicBezTo>
                        <a:pt x="3066" y="2145"/>
                        <a:pt x="10415" y="-1592"/>
                        <a:pt x="17266" y="650"/>
                      </a:cubicBezTo>
                      <a:cubicBezTo>
                        <a:pt x="24116" y="2892"/>
                        <a:pt x="27728" y="10490"/>
                        <a:pt x="25486" y="17341"/>
                      </a:cubicBezTo>
                      <a:cubicBezTo>
                        <a:pt x="23120" y="24316"/>
                        <a:pt x="15647" y="28052"/>
                        <a:pt x="8921" y="25811"/>
                      </a:cubicBezTo>
                      <a:cubicBezTo>
                        <a:pt x="2194" y="23569"/>
                        <a:pt x="-1667" y="16095"/>
                        <a:pt x="700" y="912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6" name="Graphic 2987">
                <a:extLst>
                  <a:ext uri="{FF2B5EF4-FFF2-40B4-BE49-F238E27FC236}">
                    <a16:creationId xmlns:a16="http://schemas.microsoft.com/office/drawing/2014/main" id="{1BAE4A2A-98BF-BE9E-7023-36A4E20E48D8}"/>
                  </a:ext>
                </a:extLst>
              </p:cNvPr>
              <p:cNvGrpSpPr/>
              <p:nvPr/>
            </p:nvGrpSpPr>
            <p:grpSpPr>
              <a:xfrm>
                <a:off x="10820472" y="5907868"/>
                <a:ext cx="66329" cy="142309"/>
                <a:chOff x="10820472" y="5907868"/>
                <a:chExt cx="66329" cy="142309"/>
              </a:xfrm>
              <a:grpFill/>
            </p:grpSpPr>
            <p:sp>
              <p:nvSpPr>
                <p:cNvPr id="3983" name="Freeform 5630">
                  <a:extLst>
                    <a:ext uri="{FF2B5EF4-FFF2-40B4-BE49-F238E27FC236}">
                      <a16:creationId xmlns:a16="http://schemas.microsoft.com/office/drawing/2014/main" id="{66337DAF-2C52-0533-EE5C-7DA0ADE95B73}"/>
                    </a:ext>
                  </a:extLst>
                </p:cNvPr>
                <p:cNvSpPr/>
                <p:nvPr/>
              </p:nvSpPr>
              <p:spPr>
                <a:xfrm>
                  <a:off x="10849970" y="5926653"/>
                  <a:ext cx="17562" cy="49200"/>
                </a:xfrm>
                <a:custGeom>
                  <a:avLst/>
                  <a:gdLst>
                    <a:gd name="connsiteX0" fmla="*/ 17562 w 17562"/>
                    <a:gd name="connsiteY0" fmla="*/ 0 h 49200"/>
                    <a:gd name="connsiteX1" fmla="*/ 9590 w 17562"/>
                    <a:gd name="connsiteY1" fmla="*/ 17065 h 49200"/>
                    <a:gd name="connsiteX2" fmla="*/ 7348 w 17562"/>
                    <a:gd name="connsiteY2" fmla="*/ 34378 h 49200"/>
                    <a:gd name="connsiteX3" fmla="*/ 0 w 17562"/>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562" h="49200">
                      <a:moveTo>
                        <a:pt x="17562" y="0"/>
                      </a:moveTo>
                      <a:cubicBezTo>
                        <a:pt x="12580" y="6851"/>
                        <a:pt x="10587" y="12830"/>
                        <a:pt x="9590" y="17065"/>
                      </a:cubicBezTo>
                      <a:cubicBezTo>
                        <a:pt x="8096" y="23915"/>
                        <a:pt x="9092" y="27403"/>
                        <a:pt x="7348" y="34378"/>
                      </a:cubicBezTo>
                      <a:cubicBezTo>
                        <a:pt x="5605" y="41104"/>
                        <a:pt x="2367" y="46086"/>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4" name="Freeform 5631">
                  <a:extLst>
                    <a:ext uri="{FF2B5EF4-FFF2-40B4-BE49-F238E27FC236}">
                      <a16:creationId xmlns:a16="http://schemas.microsoft.com/office/drawing/2014/main" id="{AD8ECCC3-C13F-73EE-676C-F844A6F250B5}"/>
                    </a:ext>
                  </a:extLst>
                </p:cNvPr>
                <p:cNvSpPr/>
                <p:nvPr/>
              </p:nvSpPr>
              <p:spPr>
                <a:xfrm>
                  <a:off x="10859685" y="5924162"/>
                  <a:ext cx="16317" cy="49574"/>
                </a:xfrm>
                <a:custGeom>
                  <a:avLst/>
                  <a:gdLst>
                    <a:gd name="connsiteX0" fmla="*/ 0 w 16317"/>
                    <a:gd name="connsiteY0" fmla="*/ 49574 h 49574"/>
                    <a:gd name="connsiteX1" fmla="*/ 4235 w 16317"/>
                    <a:gd name="connsiteY1" fmla="*/ 31264 h 49574"/>
                    <a:gd name="connsiteX2" fmla="*/ 13078 w 16317"/>
                    <a:gd name="connsiteY2" fmla="*/ 16192 h 49574"/>
                    <a:gd name="connsiteX3" fmla="*/ 16317 w 16317"/>
                    <a:gd name="connsiteY3" fmla="*/ 0 h 49574"/>
                  </a:gdLst>
                  <a:ahLst/>
                  <a:cxnLst>
                    <a:cxn ang="0">
                      <a:pos x="connsiteX0" y="connsiteY0"/>
                    </a:cxn>
                    <a:cxn ang="0">
                      <a:pos x="connsiteX1" y="connsiteY1"/>
                    </a:cxn>
                    <a:cxn ang="0">
                      <a:pos x="connsiteX2" y="connsiteY2"/>
                    </a:cxn>
                    <a:cxn ang="0">
                      <a:pos x="connsiteX3" y="connsiteY3"/>
                    </a:cxn>
                  </a:cxnLst>
                  <a:rect l="l" t="t" r="r" b="b"/>
                  <a:pathLst>
                    <a:path w="16317" h="49574">
                      <a:moveTo>
                        <a:pt x="0" y="49574"/>
                      </a:moveTo>
                      <a:cubicBezTo>
                        <a:pt x="249" y="41229"/>
                        <a:pt x="2367" y="35250"/>
                        <a:pt x="4235" y="31264"/>
                      </a:cubicBezTo>
                      <a:cubicBezTo>
                        <a:pt x="7225" y="24912"/>
                        <a:pt x="10214" y="22794"/>
                        <a:pt x="13078" y="16192"/>
                      </a:cubicBezTo>
                      <a:cubicBezTo>
                        <a:pt x="15819" y="9840"/>
                        <a:pt x="16317" y="3986"/>
                        <a:pt x="1631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5" name="Freeform 5632">
                  <a:extLst>
                    <a:ext uri="{FF2B5EF4-FFF2-40B4-BE49-F238E27FC236}">
                      <a16:creationId xmlns:a16="http://schemas.microsoft.com/office/drawing/2014/main" id="{C867723E-39A9-2DF1-5044-33DA2F139477}"/>
                    </a:ext>
                  </a:extLst>
                </p:cNvPr>
                <p:cNvSpPr/>
                <p:nvPr/>
              </p:nvSpPr>
              <p:spPr>
                <a:xfrm>
                  <a:off x="10859907" y="5907868"/>
                  <a:ext cx="26893" cy="26484"/>
                </a:xfrm>
                <a:custGeom>
                  <a:avLst/>
                  <a:gdLst>
                    <a:gd name="connsiteX0" fmla="*/ 26184 w 26893"/>
                    <a:gd name="connsiteY0" fmla="*/ 17540 h 26484"/>
                    <a:gd name="connsiteX1" fmla="*/ 9120 w 26893"/>
                    <a:gd name="connsiteY1" fmla="*/ 25761 h 26484"/>
                    <a:gd name="connsiteX2" fmla="*/ 650 w 26893"/>
                    <a:gd name="connsiteY2" fmla="*/ 8945 h 26484"/>
                    <a:gd name="connsiteX3" fmla="*/ 17714 w 26893"/>
                    <a:gd name="connsiteY3" fmla="*/ 724 h 26484"/>
                    <a:gd name="connsiteX4" fmla="*/ 26184 w 26893"/>
                    <a:gd name="connsiteY4" fmla="*/ 17540 h 2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92" h="26484">
                      <a:moveTo>
                        <a:pt x="26184" y="17540"/>
                      </a:moveTo>
                      <a:cubicBezTo>
                        <a:pt x="23817" y="24515"/>
                        <a:pt x="16220" y="28127"/>
                        <a:pt x="9120" y="25761"/>
                      </a:cubicBezTo>
                      <a:cubicBezTo>
                        <a:pt x="2145" y="23394"/>
                        <a:pt x="-1592" y="15920"/>
                        <a:pt x="650" y="8945"/>
                      </a:cubicBezTo>
                      <a:cubicBezTo>
                        <a:pt x="3017" y="1970"/>
                        <a:pt x="10614" y="-1642"/>
                        <a:pt x="17714" y="724"/>
                      </a:cubicBezTo>
                      <a:cubicBezTo>
                        <a:pt x="24814" y="3091"/>
                        <a:pt x="28551" y="10564"/>
                        <a:pt x="26184" y="1754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6" name="Freeform 5633">
                  <a:extLst>
                    <a:ext uri="{FF2B5EF4-FFF2-40B4-BE49-F238E27FC236}">
                      <a16:creationId xmlns:a16="http://schemas.microsoft.com/office/drawing/2014/main" id="{711D3988-FFE2-B89E-C67F-BD681A3D88D2}"/>
                    </a:ext>
                  </a:extLst>
                </p:cNvPr>
                <p:cNvSpPr/>
                <p:nvPr/>
              </p:nvSpPr>
              <p:spPr>
                <a:xfrm>
                  <a:off x="10839257" y="5982330"/>
                  <a:ext cx="17687" cy="49075"/>
                </a:xfrm>
                <a:custGeom>
                  <a:avLst/>
                  <a:gdLst>
                    <a:gd name="connsiteX0" fmla="*/ 0 w 17687"/>
                    <a:gd name="connsiteY0" fmla="*/ 49076 h 49075"/>
                    <a:gd name="connsiteX1" fmla="*/ 7972 w 17687"/>
                    <a:gd name="connsiteY1" fmla="*/ 32011 h 49075"/>
                    <a:gd name="connsiteX2" fmla="*/ 10339 w 17687"/>
                    <a:gd name="connsiteY2" fmla="*/ 14822 h 49075"/>
                    <a:gd name="connsiteX3" fmla="*/ 17688 w 17687"/>
                    <a:gd name="connsiteY3" fmla="*/ 0 h 49075"/>
                  </a:gdLst>
                  <a:ahLst/>
                  <a:cxnLst>
                    <a:cxn ang="0">
                      <a:pos x="connsiteX0" y="connsiteY0"/>
                    </a:cxn>
                    <a:cxn ang="0">
                      <a:pos x="connsiteX1" y="connsiteY1"/>
                    </a:cxn>
                    <a:cxn ang="0">
                      <a:pos x="connsiteX2" y="connsiteY2"/>
                    </a:cxn>
                    <a:cxn ang="0">
                      <a:pos x="connsiteX3" y="connsiteY3"/>
                    </a:cxn>
                  </a:cxnLst>
                  <a:rect l="l" t="t" r="r" b="b"/>
                  <a:pathLst>
                    <a:path w="17687" h="49075">
                      <a:moveTo>
                        <a:pt x="0" y="49076"/>
                      </a:moveTo>
                      <a:cubicBezTo>
                        <a:pt x="4983" y="42225"/>
                        <a:pt x="6976" y="36246"/>
                        <a:pt x="7972" y="32011"/>
                      </a:cubicBezTo>
                      <a:cubicBezTo>
                        <a:pt x="9467" y="25161"/>
                        <a:pt x="8471" y="21673"/>
                        <a:pt x="10339" y="14822"/>
                      </a:cubicBezTo>
                      <a:cubicBezTo>
                        <a:pt x="12082" y="8097"/>
                        <a:pt x="15321" y="3239"/>
                        <a:pt x="1768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7" name="Freeform 5634">
                  <a:extLst>
                    <a:ext uri="{FF2B5EF4-FFF2-40B4-BE49-F238E27FC236}">
                      <a16:creationId xmlns:a16="http://schemas.microsoft.com/office/drawing/2014/main" id="{7B908098-34BD-2A62-08D9-B18C8F821E39}"/>
                    </a:ext>
                  </a:extLst>
                </p:cNvPr>
                <p:cNvSpPr/>
                <p:nvPr/>
              </p:nvSpPr>
              <p:spPr>
                <a:xfrm>
                  <a:off x="10831162" y="5984323"/>
                  <a:ext cx="16192" cy="49574"/>
                </a:xfrm>
                <a:custGeom>
                  <a:avLst/>
                  <a:gdLst>
                    <a:gd name="connsiteX0" fmla="*/ 16192 w 16192"/>
                    <a:gd name="connsiteY0" fmla="*/ 0 h 49574"/>
                    <a:gd name="connsiteX1" fmla="*/ 11958 w 16192"/>
                    <a:gd name="connsiteY1" fmla="*/ 18310 h 49574"/>
                    <a:gd name="connsiteX2" fmla="*/ 3239 w 16192"/>
                    <a:gd name="connsiteY2" fmla="*/ 33382 h 49574"/>
                    <a:gd name="connsiteX3" fmla="*/ 0 w 16192"/>
                    <a:gd name="connsiteY3" fmla="*/ 49574 h 49574"/>
                  </a:gdLst>
                  <a:ahLst/>
                  <a:cxnLst>
                    <a:cxn ang="0">
                      <a:pos x="connsiteX0" y="connsiteY0"/>
                    </a:cxn>
                    <a:cxn ang="0">
                      <a:pos x="connsiteX1" y="connsiteY1"/>
                    </a:cxn>
                    <a:cxn ang="0">
                      <a:pos x="connsiteX2" y="connsiteY2"/>
                    </a:cxn>
                    <a:cxn ang="0">
                      <a:pos x="connsiteX3" y="connsiteY3"/>
                    </a:cxn>
                  </a:cxnLst>
                  <a:rect l="l" t="t" r="r" b="b"/>
                  <a:pathLst>
                    <a:path w="16192" h="49574">
                      <a:moveTo>
                        <a:pt x="16192" y="0"/>
                      </a:moveTo>
                      <a:cubicBezTo>
                        <a:pt x="15943" y="8346"/>
                        <a:pt x="13826" y="14324"/>
                        <a:pt x="11958" y="18310"/>
                      </a:cubicBezTo>
                      <a:cubicBezTo>
                        <a:pt x="8968" y="24663"/>
                        <a:pt x="5979" y="26905"/>
                        <a:pt x="3239" y="33382"/>
                      </a:cubicBezTo>
                      <a:cubicBezTo>
                        <a:pt x="498" y="39734"/>
                        <a:pt x="0" y="45588"/>
                        <a:pt x="0" y="4957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8" name="Freeform 5635">
                  <a:extLst>
                    <a:ext uri="{FF2B5EF4-FFF2-40B4-BE49-F238E27FC236}">
                      <a16:creationId xmlns:a16="http://schemas.microsoft.com/office/drawing/2014/main" id="{E44F3CAD-DC17-C72A-4DCA-755BC5EA9E6F}"/>
                    </a:ext>
                  </a:extLst>
                </p:cNvPr>
                <p:cNvSpPr/>
                <p:nvPr/>
              </p:nvSpPr>
              <p:spPr>
                <a:xfrm>
                  <a:off x="10820472" y="6023720"/>
                  <a:ext cx="26237" cy="26457"/>
                </a:xfrm>
                <a:custGeom>
                  <a:avLst/>
                  <a:gdLst>
                    <a:gd name="connsiteX0" fmla="*/ 725 w 26237"/>
                    <a:gd name="connsiteY0" fmla="*/ 9056 h 26457"/>
                    <a:gd name="connsiteX1" fmla="*/ 17416 w 26237"/>
                    <a:gd name="connsiteY1" fmla="*/ 711 h 26457"/>
                    <a:gd name="connsiteX2" fmla="*/ 25512 w 26237"/>
                    <a:gd name="connsiteY2" fmla="*/ 17401 h 26457"/>
                    <a:gd name="connsiteX3" fmla="*/ 8821 w 26237"/>
                    <a:gd name="connsiteY3" fmla="*/ 25747 h 26457"/>
                    <a:gd name="connsiteX4" fmla="*/ 725 w 26237"/>
                    <a:gd name="connsiteY4" fmla="*/ 9056 h 26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56">
                      <a:moveTo>
                        <a:pt x="725" y="9056"/>
                      </a:moveTo>
                      <a:cubicBezTo>
                        <a:pt x="3092" y="2081"/>
                        <a:pt x="10565" y="-1656"/>
                        <a:pt x="17416" y="711"/>
                      </a:cubicBezTo>
                      <a:cubicBezTo>
                        <a:pt x="24266" y="2953"/>
                        <a:pt x="27879" y="10426"/>
                        <a:pt x="25512" y="17401"/>
                      </a:cubicBezTo>
                      <a:cubicBezTo>
                        <a:pt x="23146" y="24377"/>
                        <a:pt x="15672" y="28114"/>
                        <a:pt x="8821" y="25747"/>
                      </a:cubicBezTo>
                      <a:cubicBezTo>
                        <a:pt x="1971" y="23505"/>
                        <a:pt x="-1641" y="16031"/>
                        <a:pt x="725" y="905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7" name="Graphic 2987">
                <a:extLst>
                  <a:ext uri="{FF2B5EF4-FFF2-40B4-BE49-F238E27FC236}">
                    <a16:creationId xmlns:a16="http://schemas.microsoft.com/office/drawing/2014/main" id="{C4076419-CC8F-3307-6692-8DA513392104}"/>
                  </a:ext>
                </a:extLst>
              </p:cNvPr>
              <p:cNvGrpSpPr/>
              <p:nvPr/>
            </p:nvGrpSpPr>
            <p:grpSpPr>
              <a:xfrm>
                <a:off x="10848121" y="5917484"/>
                <a:ext cx="66968" cy="142050"/>
                <a:chOff x="10848121" y="5917484"/>
                <a:chExt cx="66968" cy="142050"/>
              </a:xfrm>
              <a:grpFill/>
            </p:grpSpPr>
            <p:sp>
              <p:nvSpPr>
                <p:cNvPr id="3977" name="Freeform 5637">
                  <a:extLst>
                    <a:ext uri="{FF2B5EF4-FFF2-40B4-BE49-F238E27FC236}">
                      <a16:creationId xmlns:a16="http://schemas.microsoft.com/office/drawing/2014/main" id="{4399522C-E2DD-B53C-5193-ECD019AB0B9A}"/>
                    </a:ext>
                  </a:extLst>
                </p:cNvPr>
                <p:cNvSpPr/>
                <p:nvPr/>
              </p:nvSpPr>
              <p:spPr>
                <a:xfrm>
                  <a:off x="10877995" y="5936244"/>
                  <a:ext cx="17936" cy="48951"/>
                </a:xfrm>
                <a:custGeom>
                  <a:avLst/>
                  <a:gdLst>
                    <a:gd name="connsiteX0" fmla="*/ 17936 w 17936"/>
                    <a:gd name="connsiteY0" fmla="*/ 0 h 48951"/>
                    <a:gd name="connsiteX1" fmla="*/ 9840 w 17936"/>
                    <a:gd name="connsiteY1" fmla="*/ 16940 h 48951"/>
                    <a:gd name="connsiteX2" fmla="*/ 7473 w 17936"/>
                    <a:gd name="connsiteY2" fmla="*/ 3425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2954" y="6726"/>
                        <a:pt x="10836" y="12705"/>
                        <a:pt x="9840" y="16940"/>
                      </a:cubicBezTo>
                      <a:cubicBezTo>
                        <a:pt x="8345" y="23791"/>
                        <a:pt x="9342" y="27402"/>
                        <a:pt x="7473" y="34253"/>
                      </a:cubicBezTo>
                      <a:cubicBezTo>
                        <a:pt x="5605" y="40980"/>
                        <a:pt x="2491"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8" name="Freeform 5638">
                  <a:extLst>
                    <a:ext uri="{FF2B5EF4-FFF2-40B4-BE49-F238E27FC236}">
                      <a16:creationId xmlns:a16="http://schemas.microsoft.com/office/drawing/2014/main" id="{89D377A2-1123-1869-3ABC-CC51EC5FB53C}"/>
                    </a:ext>
                  </a:extLst>
                </p:cNvPr>
                <p:cNvSpPr/>
                <p:nvPr/>
              </p:nvSpPr>
              <p:spPr>
                <a:xfrm>
                  <a:off x="10887586" y="5933877"/>
                  <a:ext cx="16566" cy="49449"/>
                </a:xfrm>
                <a:custGeom>
                  <a:avLst/>
                  <a:gdLst>
                    <a:gd name="connsiteX0" fmla="*/ 0 w 16566"/>
                    <a:gd name="connsiteY0" fmla="*/ 49449 h 49449"/>
                    <a:gd name="connsiteX1" fmla="*/ 4360 w 16566"/>
                    <a:gd name="connsiteY1" fmla="*/ 31139 h 49449"/>
                    <a:gd name="connsiteX2" fmla="*/ 13203 w 16566"/>
                    <a:gd name="connsiteY2" fmla="*/ 16192 h 49449"/>
                    <a:gd name="connsiteX3" fmla="*/ 16566 w 16566"/>
                    <a:gd name="connsiteY3" fmla="*/ 0 h 49449"/>
                  </a:gdLst>
                  <a:ahLst/>
                  <a:cxnLst>
                    <a:cxn ang="0">
                      <a:pos x="connsiteX0" y="connsiteY0"/>
                    </a:cxn>
                    <a:cxn ang="0">
                      <a:pos x="connsiteX1" y="connsiteY1"/>
                    </a:cxn>
                    <a:cxn ang="0">
                      <a:pos x="connsiteX2" y="connsiteY2"/>
                    </a:cxn>
                    <a:cxn ang="0">
                      <a:pos x="connsiteX3" y="connsiteY3"/>
                    </a:cxn>
                  </a:cxnLst>
                  <a:rect l="l" t="t" r="r" b="b"/>
                  <a:pathLst>
                    <a:path w="16566" h="49449">
                      <a:moveTo>
                        <a:pt x="0" y="49449"/>
                      </a:moveTo>
                      <a:cubicBezTo>
                        <a:pt x="374" y="40980"/>
                        <a:pt x="2491" y="35001"/>
                        <a:pt x="4360" y="31139"/>
                      </a:cubicBezTo>
                      <a:cubicBezTo>
                        <a:pt x="7349" y="24787"/>
                        <a:pt x="10463" y="22670"/>
                        <a:pt x="13203" y="16192"/>
                      </a:cubicBezTo>
                      <a:cubicBezTo>
                        <a:pt x="15944" y="9840"/>
                        <a:pt x="16566" y="3986"/>
                        <a:pt x="1656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9" name="Freeform 5639">
                  <a:extLst>
                    <a:ext uri="{FF2B5EF4-FFF2-40B4-BE49-F238E27FC236}">
                      <a16:creationId xmlns:a16="http://schemas.microsoft.com/office/drawing/2014/main" id="{775D68C5-5BF9-E1E1-C79E-2B918150E4EE}"/>
                    </a:ext>
                  </a:extLst>
                </p:cNvPr>
                <p:cNvSpPr/>
                <p:nvPr/>
              </p:nvSpPr>
              <p:spPr>
                <a:xfrm>
                  <a:off x="10888246" y="5917484"/>
                  <a:ext cx="26843" cy="26648"/>
                </a:xfrm>
                <a:custGeom>
                  <a:avLst/>
                  <a:gdLst>
                    <a:gd name="connsiteX0" fmla="*/ 26120 w 26843"/>
                    <a:gd name="connsiteY0" fmla="*/ 17888 h 26648"/>
                    <a:gd name="connsiteX1" fmla="*/ 9056 w 26843"/>
                    <a:gd name="connsiteY1" fmla="*/ 25860 h 26648"/>
                    <a:gd name="connsiteX2" fmla="*/ 711 w 26843"/>
                    <a:gd name="connsiteY2" fmla="*/ 8920 h 26648"/>
                    <a:gd name="connsiteX3" fmla="*/ 17775 w 26843"/>
                    <a:gd name="connsiteY3" fmla="*/ 824 h 26648"/>
                    <a:gd name="connsiteX4" fmla="*/ 26120 w 26843"/>
                    <a:gd name="connsiteY4" fmla="*/ 17888 h 2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6648">
                      <a:moveTo>
                        <a:pt x="26120" y="17888"/>
                      </a:moveTo>
                      <a:cubicBezTo>
                        <a:pt x="23629" y="24738"/>
                        <a:pt x="16031" y="28351"/>
                        <a:pt x="9056" y="25860"/>
                      </a:cubicBezTo>
                      <a:cubicBezTo>
                        <a:pt x="2081" y="23244"/>
                        <a:pt x="-1656" y="15895"/>
                        <a:pt x="711" y="8920"/>
                      </a:cubicBezTo>
                      <a:cubicBezTo>
                        <a:pt x="3077" y="2069"/>
                        <a:pt x="10800" y="-1792"/>
                        <a:pt x="17775" y="824"/>
                      </a:cubicBezTo>
                      <a:cubicBezTo>
                        <a:pt x="24875" y="3315"/>
                        <a:pt x="28487" y="11037"/>
                        <a:pt x="26120" y="178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0" name="Freeform 5640">
                  <a:extLst>
                    <a:ext uri="{FF2B5EF4-FFF2-40B4-BE49-F238E27FC236}">
                      <a16:creationId xmlns:a16="http://schemas.microsoft.com/office/drawing/2014/main" id="{CFC7FC4E-F52A-51E7-6B9A-0EF7D5283535}"/>
                    </a:ext>
                  </a:extLst>
                </p:cNvPr>
                <p:cNvSpPr/>
                <p:nvPr/>
              </p:nvSpPr>
              <p:spPr>
                <a:xfrm>
                  <a:off x="10866910" y="5991921"/>
                  <a:ext cx="18061" cy="48951"/>
                </a:xfrm>
                <a:custGeom>
                  <a:avLst/>
                  <a:gdLst>
                    <a:gd name="connsiteX0" fmla="*/ 0 w 18061"/>
                    <a:gd name="connsiteY0" fmla="*/ 48951 h 48951"/>
                    <a:gd name="connsiteX1" fmla="*/ 8097 w 18061"/>
                    <a:gd name="connsiteY1" fmla="*/ 32011 h 48951"/>
                    <a:gd name="connsiteX2" fmla="*/ 10587 w 18061"/>
                    <a:gd name="connsiteY2" fmla="*/ 1469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4983" y="42225"/>
                        <a:pt x="7100" y="36246"/>
                        <a:pt x="8097" y="32011"/>
                      </a:cubicBezTo>
                      <a:cubicBezTo>
                        <a:pt x="9715" y="25161"/>
                        <a:pt x="8719" y="21548"/>
                        <a:pt x="10587" y="14698"/>
                      </a:cubicBezTo>
                      <a:cubicBezTo>
                        <a:pt x="12456" y="7971"/>
                        <a:pt x="15570" y="3114"/>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1" name="Freeform 5641">
                  <a:extLst>
                    <a:ext uri="{FF2B5EF4-FFF2-40B4-BE49-F238E27FC236}">
                      <a16:creationId xmlns:a16="http://schemas.microsoft.com/office/drawing/2014/main" id="{B5D82693-D118-073F-5648-4BA1DEE72E06}"/>
                    </a:ext>
                  </a:extLst>
                </p:cNvPr>
                <p:cNvSpPr/>
                <p:nvPr/>
              </p:nvSpPr>
              <p:spPr>
                <a:xfrm>
                  <a:off x="10858689" y="5993789"/>
                  <a:ext cx="16565" cy="49449"/>
                </a:xfrm>
                <a:custGeom>
                  <a:avLst/>
                  <a:gdLst>
                    <a:gd name="connsiteX0" fmla="*/ 16566 w 16565"/>
                    <a:gd name="connsiteY0" fmla="*/ 0 h 49449"/>
                    <a:gd name="connsiteX1" fmla="*/ 12206 w 16565"/>
                    <a:gd name="connsiteY1" fmla="*/ 18310 h 49449"/>
                    <a:gd name="connsiteX2" fmla="*/ 3363 w 16565"/>
                    <a:gd name="connsiteY2" fmla="*/ 33257 h 49449"/>
                    <a:gd name="connsiteX3" fmla="*/ 0 w 16565"/>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565" h="49449">
                      <a:moveTo>
                        <a:pt x="16566" y="0"/>
                      </a:moveTo>
                      <a:cubicBezTo>
                        <a:pt x="16192" y="8470"/>
                        <a:pt x="14074" y="14449"/>
                        <a:pt x="12206" y="18310"/>
                      </a:cubicBezTo>
                      <a:cubicBezTo>
                        <a:pt x="9217" y="24663"/>
                        <a:pt x="6228" y="26780"/>
                        <a:pt x="3363" y="33257"/>
                      </a:cubicBezTo>
                      <a:cubicBezTo>
                        <a:pt x="623" y="39609"/>
                        <a:pt x="0"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82" name="Freeform 5642">
                  <a:extLst>
                    <a:ext uri="{FF2B5EF4-FFF2-40B4-BE49-F238E27FC236}">
                      <a16:creationId xmlns:a16="http://schemas.microsoft.com/office/drawing/2014/main" id="{445A1EAC-3FBA-AA99-AD9D-CFBAE55F5F13}"/>
                    </a:ext>
                  </a:extLst>
                </p:cNvPr>
                <p:cNvSpPr/>
                <p:nvPr/>
              </p:nvSpPr>
              <p:spPr>
                <a:xfrm>
                  <a:off x="10848121" y="6032963"/>
                  <a:ext cx="26069" cy="26570"/>
                </a:xfrm>
                <a:custGeom>
                  <a:avLst/>
                  <a:gdLst>
                    <a:gd name="connsiteX0" fmla="*/ 728 w 26069"/>
                    <a:gd name="connsiteY0" fmla="*/ 9030 h 26570"/>
                    <a:gd name="connsiteX1" fmla="*/ 17419 w 26069"/>
                    <a:gd name="connsiteY1" fmla="*/ 809 h 26570"/>
                    <a:gd name="connsiteX2" fmla="*/ 25266 w 26069"/>
                    <a:gd name="connsiteY2" fmla="*/ 17749 h 26570"/>
                    <a:gd name="connsiteX3" fmla="*/ 8575 w 26069"/>
                    <a:gd name="connsiteY3" fmla="*/ 25845 h 26570"/>
                    <a:gd name="connsiteX4" fmla="*/ 728 w 26069"/>
                    <a:gd name="connsiteY4" fmla="*/ 9030 h 2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9" h="26570">
                      <a:moveTo>
                        <a:pt x="728" y="9030"/>
                      </a:moveTo>
                      <a:cubicBezTo>
                        <a:pt x="3094" y="2179"/>
                        <a:pt x="10692" y="-1807"/>
                        <a:pt x="17419" y="809"/>
                      </a:cubicBezTo>
                      <a:cubicBezTo>
                        <a:pt x="24269" y="3300"/>
                        <a:pt x="27756" y="10898"/>
                        <a:pt x="25266" y="17749"/>
                      </a:cubicBezTo>
                      <a:cubicBezTo>
                        <a:pt x="22775" y="24600"/>
                        <a:pt x="15425" y="28212"/>
                        <a:pt x="8575" y="25845"/>
                      </a:cubicBezTo>
                      <a:cubicBezTo>
                        <a:pt x="1974" y="23354"/>
                        <a:pt x="-1639" y="16005"/>
                        <a:pt x="728" y="903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8" name="Graphic 2987">
                <a:extLst>
                  <a:ext uri="{FF2B5EF4-FFF2-40B4-BE49-F238E27FC236}">
                    <a16:creationId xmlns:a16="http://schemas.microsoft.com/office/drawing/2014/main" id="{20555D1A-0289-384D-2608-53FF96939334}"/>
                  </a:ext>
                </a:extLst>
              </p:cNvPr>
              <p:cNvGrpSpPr/>
              <p:nvPr/>
            </p:nvGrpSpPr>
            <p:grpSpPr>
              <a:xfrm>
                <a:off x="10875572" y="5927667"/>
                <a:ext cx="67731" cy="141894"/>
                <a:chOff x="10875572" y="5927667"/>
                <a:chExt cx="67731" cy="141894"/>
              </a:xfrm>
              <a:grpFill/>
            </p:grpSpPr>
            <p:sp>
              <p:nvSpPr>
                <p:cNvPr id="3971" name="Freeform 5644">
                  <a:extLst>
                    <a:ext uri="{FF2B5EF4-FFF2-40B4-BE49-F238E27FC236}">
                      <a16:creationId xmlns:a16="http://schemas.microsoft.com/office/drawing/2014/main" id="{1CA24606-8206-6936-208A-53BE35DFE3BA}"/>
                    </a:ext>
                  </a:extLst>
                </p:cNvPr>
                <p:cNvSpPr/>
                <p:nvPr/>
              </p:nvSpPr>
              <p:spPr>
                <a:xfrm>
                  <a:off x="10905896" y="5946458"/>
                  <a:ext cx="18185" cy="48951"/>
                </a:xfrm>
                <a:custGeom>
                  <a:avLst/>
                  <a:gdLst>
                    <a:gd name="connsiteX0" fmla="*/ 18186 w 18185"/>
                    <a:gd name="connsiteY0" fmla="*/ 0 h 48951"/>
                    <a:gd name="connsiteX1" fmla="*/ 9964 w 18185"/>
                    <a:gd name="connsiteY1" fmla="*/ 16940 h 48951"/>
                    <a:gd name="connsiteX2" fmla="*/ 7473 w 18185"/>
                    <a:gd name="connsiteY2" fmla="*/ 34253 h 48951"/>
                    <a:gd name="connsiteX3" fmla="*/ 0 w 18185"/>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185" h="48951">
                      <a:moveTo>
                        <a:pt x="18186" y="0"/>
                      </a:moveTo>
                      <a:cubicBezTo>
                        <a:pt x="13078" y="6726"/>
                        <a:pt x="10961" y="12705"/>
                        <a:pt x="9964" y="16940"/>
                      </a:cubicBezTo>
                      <a:cubicBezTo>
                        <a:pt x="8345" y="23790"/>
                        <a:pt x="9342" y="27402"/>
                        <a:pt x="7473" y="34253"/>
                      </a:cubicBezTo>
                      <a:cubicBezTo>
                        <a:pt x="5605" y="40855"/>
                        <a:pt x="2367" y="45837"/>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2" name="Freeform 5645">
                  <a:extLst>
                    <a:ext uri="{FF2B5EF4-FFF2-40B4-BE49-F238E27FC236}">
                      <a16:creationId xmlns:a16="http://schemas.microsoft.com/office/drawing/2014/main" id="{A7769957-77C7-70E0-B470-1E548CE696EF}"/>
                    </a:ext>
                  </a:extLst>
                </p:cNvPr>
                <p:cNvSpPr/>
                <p:nvPr/>
              </p:nvSpPr>
              <p:spPr>
                <a:xfrm>
                  <a:off x="10915487" y="5943966"/>
                  <a:ext cx="16939" cy="49449"/>
                </a:xfrm>
                <a:custGeom>
                  <a:avLst/>
                  <a:gdLst>
                    <a:gd name="connsiteX0" fmla="*/ 0 w 16939"/>
                    <a:gd name="connsiteY0" fmla="*/ 49449 h 49449"/>
                    <a:gd name="connsiteX1" fmla="*/ 4484 w 16939"/>
                    <a:gd name="connsiteY1" fmla="*/ 31139 h 49449"/>
                    <a:gd name="connsiteX2" fmla="*/ 13452 w 16939"/>
                    <a:gd name="connsiteY2" fmla="*/ 16192 h 49449"/>
                    <a:gd name="connsiteX3" fmla="*/ 16940 w 16939"/>
                    <a:gd name="connsiteY3" fmla="*/ 0 h 49449"/>
                  </a:gdLst>
                  <a:ahLst/>
                  <a:cxnLst>
                    <a:cxn ang="0">
                      <a:pos x="connsiteX0" y="connsiteY0"/>
                    </a:cxn>
                    <a:cxn ang="0">
                      <a:pos x="connsiteX1" y="connsiteY1"/>
                    </a:cxn>
                    <a:cxn ang="0">
                      <a:pos x="connsiteX2" y="connsiteY2"/>
                    </a:cxn>
                    <a:cxn ang="0">
                      <a:pos x="connsiteX3" y="connsiteY3"/>
                    </a:cxn>
                  </a:cxnLst>
                  <a:rect l="l" t="t" r="r" b="b"/>
                  <a:pathLst>
                    <a:path w="16939" h="49449">
                      <a:moveTo>
                        <a:pt x="0" y="49449"/>
                      </a:moveTo>
                      <a:cubicBezTo>
                        <a:pt x="373" y="40980"/>
                        <a:pt x="2491" y="35125"/>
                        <a:pt x="4484" y="31139"/>
                      </a:cubicBezTo>
                      <a:cubicBezTo>
                        <a:pt x="7598" y="24912"/>
                        <a:pt x="10587" y="22670"/>
                        <a:pt x="13452" y="16192"/>
                      </a:cubicBezTo>
                      <a:cubicBezTo>
                        <a:pt x="16192" y="9840"/>
                        <a:pt x="16815" y="3986"/>
                        <a:pt x="1694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3" name="Freeform 5646">
                  <a:extLst>
                    <a:ext uri="{FF2B5EF4-FFF2-40B4-BE49-F238E27FC236}">
                      <a16:creationId xmlns:a16="http://schemas.microsoft.com/office/drawing/2014/main" id="{E67E8683-FB90-B786-2428-88EC2D9125F4}"/>
                    </a:ext>
                  </a:extLst>
                </p:cNvPr>
                <p:cNvSpPr/>
                <p:nvPr/>
              </p:nvSpPr>
              <p:spPr>
                <a:xfrm>
                  <a:off x="10916568" y="5927667"/>
                  <a:ext cx="26736" cy="26619"/>
                </a:xfrm>
                <a:custGeom>
                  <a:avLst/>
                  <a:gdLst>
                    <a:gd name="connsiteX0" fmla="*/ 25949 w 26736"/>
                    <a:gd name="connsiteY0" fmla="*/ 17918 h 26619"/>
                    <a:gd name="connsiteX1" fmla="*/ 8884 w 26736"/>
                    <a:gd name="connsiteY1" fmla="*/ 25766 h 26619"/>
                    <a:gd name="connsiteX2" fmla="*/ 788 w 26736"/>
                    <a:gd name="connsiteY2" fmla="*/ 8701 h 26619"/>
                    <a:gd name="connsiteX3" fmla="*/ 17852 w 26736"/>
                    <a:gd name="connsiteY3" fmla="*/ 854 h 26619"/>
                    <a:gd name="connsiteX4" fmla="*/ 25949 w 26736"/>
                    <a:gd name="connsiteY4" fmla="*/ 17918 h 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5" h="26619">
                      <a:moveTo>
                        <a:pt x="25949" y="17918"/>
                      </a:moveTo>
                      <a:cubicBezTo>
                        <a:pt x="23457" y="24769"/>
                        <a:pt x="15859" y="28381"/>
                        <a:pt x="8884" y="25766"/>
                      </a:cubicBezTo>
                      <a:cubicBezTo>
                        <a:pt x="1909" y="23150"/>
                        <a:pt x="-1704" y="15552"/>
                        <a:pt x="788" y="8701"/>
                      </a:cubicBezTo>
                      <a:cubicBezTo>
                        <a:pt x="3279" y="1850"/>
                        <a:pt x="10877" y="-1762"/>
                        <a:pt x="17852" y="854"/>
                      </a:cubicBezTo>
                      <a:cubicBezTo>
                        <a:pt x="24827" y="3470"/>
                        <a:pt x="28440" y="11068"/>
                        <a:pt x="25949" y="1791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4" name="Freeform 5647">
                  <a:extLst>
                    <a:ext uri="{FF2B5EF4-FFF2-40B4-BE49-F238E27FC236}">
                      <a16:creationId xmlns:a16="http://schemas.microsoft.com/office/drawing/2014/main" id="{32F806B6-C7BF-A2DF-2286-C8D873E20026}"/>
                    </a:ext>
                  </a:extLst>
                </p:cNvPr>
                <p:cNvSpPr/>
                <p:nvPr/>
              </p:nvSpPr>
              <p:spPr>
                <a:xfrm>
                  <a:off x="10894437" y="6002010"/>
                  <a:ext cx="18434" cy="48826"/>
                </a:xfrm>
                <a:custGeom>
                  <a:avLst/>
                  <a:gdLst>
                    <a:gd name="connsiteX0" fmla="*/ 0 w 18434"/>
                    <a:gd name="connsiteY0" fmla="*/ 48826 h 48826"/>
                    <a:gd name="connsiteX1" fmla="*/ 8220 w 18434"/>
                    <a:gd name="connsiteY1" fmla="*/ 31887 h 48826"/>
                    <a:gd name="connsiteX2" fmla="*/ 10836 w 18434"/>
                    <a:gd name="connsiteY2" fmla="*/ 14698 h 48826"/>
                    <a:gd name="connsiteX3" fmla="*/ 18434 w 18434"/>
                    <a:gd name="connsiteY3" fmla="*/ 0 h 48826"/>
                  </a:gdLst>
                  <a:ahLst/>
                  <a:cxnLst>
                    <a:cxn ang="0">
                      <a:pos x="connsiteX0" y="connsiteY0"/>
                    </a:cxn>
                    <a:cxn ang="0">
                      <a:pos x="connsiteX1" y="connsiteY1"/>
                    </a:cxn>
                    <a:cxn ang="0">
                      <a:pos x="connsiteX2" y="connsiteY2"/>
                    </a:cxn>
                    <a:cxn ang="0">
                      <a:pos x="connsiteX3" y="connsiteY3"/>
                    </a:cxn>
                  </a:cxnLst>
                  <a:rect l="l" t="t" r="r" b="b"/>
                  <a:pathLst>
                    <a:path w="18434" h="48826">
                      <a:moveTo>
                        <a:pt x="0" y="48826"/>
                      </a:moveTo>
                      <a:cubicBezTo>
                        <a:pt x="4982" y="42101"/>
                        <a:pt x="7099" y="36122"/>
                        <a:pt x="8220" y="31887"/>
                      </a:cubicBezTo>
                      <a:cubicBezTo>
                        <a:pt x="9840" y="25036"/>
                        <a:pt x="8843" y="21549"/>
                        <a:pt x="10836" y="14698"/>
                      </a:cubicBezTo>
                      <a:cubicBezTo>
                        <a:pt x="12704" y="8096"/>
                        <a:pt x="15943" y="3114"/>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5" name="Freeform 5648">
                  <a:extLst>
                    <a:ext uri="{FF2B5EF4-FFF2-40B4-BE49-F238E27FC236}">
                      <a16:creationId xmlns:a16="http://schemas.microsoft.com/office/drawing/2014/main" id="{83D1F719-B7BD-853B-B991-4A59B85603FA}"/>
                    </a:ext>
                  </a:extLst>
                </p:cNvPr>
                <p:cNvSpPr/>
                <p:nvPr/>
              </p:nvSpPr>
              <p:spPr>
                <a:xfrm>
                  <a:off x="10886091" y="6003879"/>
                  <a:ext cx="16940" cy="49449"/>
                </a:xfrm>
                <a:custGeom>
                  <a:avLst/>
                  <a:gdLst>
                    <a:gd name="connsiteX0" fmla="*/ 16940 w 16940"/>
                    <a:gd name="connsiteY0" fmla="*/ 0 h 49449"/>
                    <a:gd name="connsiteX1" fmla="*/ 12456 w 16940"/>
                    <a:gd name="connsiteY1" fmla="*/ 18310 h 49449"/>
                    <a:gd name="connsiteX2" fmla="*/ 3488 w 16940"/>
                    <a:gd name="connsiteY2" fmla="*/ 33257 h 49449"/>
                    <a:gd name="connsiteX3" fmla="*/ 0 w 16940"/>
                    <a:gd name="connsiteY3" fmla="*/ 49449 h 49449"/>
                  </a:gdLst>
                  <a:ahLst/>
                  <a:cxnLst>
                    <a:cxn ang="0">
                      <a:pos x="connsiteX0" y="connsiteY0"/>
                    </a:cxn>
                    <a:cxn ang="0">
                      <a:pos x="connsiteX1" y="connsiteY1"/>
                    </a:cxn>
                    <a:cxn ang="0">
                      <a:pos x="connsiteX2" y="connsiteY2"/>
                    </a:cxn>
                    <a:cxn ang="0">
                      <a:pos x="connsiteX3" y="connsiteY3"/>
                    </a:cxn>
                  </a:cxnLst>
                  <a:rect l="l" t="t" r="r" b="b"/>
                  <a:pathLst>
                    <a:path w="16940" h="49449">
                      <a:moveTo>
                        <a:pt x="16940" y="0"/>
                      </a:moveTo>
                      <a:cubicBezTo>
                        <a:pt x="16566" y="8470"/>
                        <a:pt x="14449" y="14324"/>
                        <a:pt x="12456" y="18310"/>
                      </a:cubicBezTo>
                      <a:cubicBezTo>
                        <a:pt x="9342" y="24538"/>
                        <a:pt x="6353" y="26780"/>
                        <a:pt x="3488" y="33257"/>
                      </a:cubicBezTo>
                      <a:cubicBezTo>
                        <a:pt x="747" y="39609"/>
                        <a:pt x="125" y="45463"/>
                        <a:pt x="0" y="4944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6" name="Freeform 5649">
                  <a:extLst>
                    <a:ext uri="{FF2B5EF4-FFF2-40B4-BE49-F238E27FC236}">
                      <a16:creationId xmlns:a16="http://schemas.microsoft.com/office/drawing/2014/main" id="{30A2383D-B429-A925-5CA3-CCFB3E8088C1}"/>
                    </a:ext>
                  </a:extLst>
                </p:cNvPr>
                <p:cNvSpPr/>
                <p:nvPr/>
              </p:nvSpPr>
              <p:spPr>
                <a:xfrm>
                  <a:off x="10875572" y="6043073"/>
                  <a:ext cx="26145" cy="26489"/>
                </a:xfrm>
                <a:custGeom>
                  <a:avLst/>
                  <a:gdLst>
                    <a:gd name="connsiteX0" fmla="*/ 804 w 26145"/>
                    <a:gd name="connsiteY0" fmla="*/ 8761 h 26489"/>
                    <a:gd name="connsiteX1" fmla="*/ 17494 w 26145"/>
                    <a:gd name="connsiteY1" fmla="*/ 789 h 26489"/>
                    <a:gd name="connsiteX2" fmla="*/ 25341 w 26145"/>
                    <a:gd name="connsiteY2" fmla="*/ 17729 h 26489"/>
                    <a:gd name="connsiteX3" fmla="*/ 8651 w 26145"/>
                    <a:gd name="connsiteY3" fmla="*/ 25700 h 26489"/>
                    <a:gd name="connsiteX4" fmla="*/ 804 w 26145"/>
                    <a:gd name="connsiteY4" fmla="*/ 8761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5" h="26488">
                      <a:moveTo>
                        <a:pt x="804" y="8761"/>
                      </a:moveTo>
                      <a:cubicBezTo>
                        <a:pt x="3295" y="1910"/>
                        <a:pt x="10768" y="-1702"/>
                        <a:pt x="17494" y="789"/>
                      </a:cubicBezTo>
                      <a:cubicBezTo>
                        <a:pt x="24346" y="3280"/>
                        <a:pt x="27833" y="10878"/>
                        <a:pt x="25341" y="17729"/>
                      </a:cubicBezTo>
                      <a:cubicBezTo>
                        <a:pt x="22850" y="24579"/>
                        <a:pt x="15377" y="28192"/>
                        <a:pt x="8651" y="25700"/>
                      </a:cubicBezTo>
                      <a:cubicBezTo>
                        <a:pt x="1801" y="23209"/>
                        <a:pt x="-1687" y="15611"/>
                        <a:pt x="804"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59" name="Graphic 2987">
                <a:extLst>
                  <a:ext uri="{FF2B5EF4-FFF2-40B4-BE49-F238E27FC236}">
                    <a16:creationId xmlns:a16="http://schemas.microsoft.com/office/drawing/2014/main" id="{895B9373-EBCE-60AB-44BE-B5938DF3C3AB}"/>
                  </a:ext>
                </a:extLst>
              </p:cNvPr>
              <p:cNvGrpSpPr/>
              <p:nvPr/>
            </p:nvGrpSpPr>
            <p:grpSpPr>
              <a:xfrm>
                <a:off x="10902974" y="5937881"/>
                <a:ext cx="68604" cy="141645"/>
                <a:chOff x="10902974" y="5937881"/>
                <a:chExt cx="68604" cy="141645"/>
              </a:xfrm>
              <a:grpFill/>
            </p:grpSpPr>
            <p:sp>
              <p:nvSpPr>
                <p:cNvPr id="3965" name="Freeform 5651">
                  <a:extLst>
                    <a:ext uri="{FF2B5EF4-FFF2-40B4-BE49-F238E27FC236}">
                      <a16:creationId xmlns:a16="http://schemas.microsoft.com/office/drawing/2014/main" id="{858EF662-7126-EE62-CFAE-9925A8537A9D}"/>
                    </a:ext>
                  </a:extLst>
                </p:cNvPr>
                <p:cNvSpPr/>
                <p:nvPr/>
              </p:nvSpPr>
              <p:spPr>
                <a:xfrm>
                  <a:off x="10933797" y="5956671"/>
                  <a:ext cx="18434" cy="48702"/>
                </a:xfrm>
                <a:custGeom>
                  <a:avLst/>
                  <a:gdLst>
                    <a:gd name="connsiteX0" fmla="*/ 18434 w 18434"/>
                    <a:gd name="connsiteY0" fmla="*/ 0 h 48702"/>
                    <a:gd name="connsiteX1" fmla="*/ 10214 w 18434"/>
                    <a:gd name="connsiteY1" fmla="*/ 16940 h 48702"/>
                    <a:gd name="connsiteX2" fmla="*/ 7598 w 18434"/>
                    <a:gd name="connsiteY2" fmla="*/ 34129 h 48702"/>
                    <a:gd name="connsiteX3" fmla="*/ 0 w 18434"/>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434" h="48702">
                      <a:moveTo>
                        <a:pt x="18434" y="0"/>
                      </a:moveTo>
                      <a:cubicBezTo>
                        <a:pt x="13328" y="6726"/>
                        <a:pt x="11210" y="12705"/>
                        <a:pt x="10214" y="16940"/>
                      </a:cubicBezTo>
                      <a:cubicBezTo>
                        <a:pt x="8595" y="23791"/>
                        <a:pt x="9591" y="27278"/>
                        <a:pt x="7598" y="34129"/>
                      </a:cubicBezTo>
                      <a:cubicBezTo>
                        <a:pt x="5730" y="40731"/>
                        <a:pt x="2367" y="45713"/>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6" name="Freeform 5652">
                  <a:extLst>
                    <a:ext uri="{FF2B5EF4-FFF2-40B4-BE49-F238E27FC236}">
                      <a16:creationId xmlns:a16="http://schemas.microsoft.com/office/drawing/2014/main" id="{65F770D7-EF37-34E8-E7C6-C84EF9C268BA}"/>
                    </a:ext>
                  </a:extLst>
                </p:cNvPr>
                <p:cNvSpPr/>
                <p:nvPr/>
              </p:nvSpPr>
              <p:spPr>
                <a:xfrm>
                  <a:off x="10943388" y="5954554"/>
                  <a:ext cx="17312" cy="49075"/>
                </a:xfrm>
                <a:custGeom>
                  <a:avLst/>
                  <a:gdLst>
                    <a:gd name="connsiteX0" fmla="*/ 0 w 17312"/>
                    <a:gd name="connsiteY0" fmla="*/ 49076 h 49075"/>
                    <a:gd name="connsiteX1" fmla="*/ 4609 w 17312"/>
                    <a:gd name="connsiteY1" fmla="*/ 30890 h 49075"/>
                    <a:gd name="connsiteX2" fmla="*/ 13701 w 17312"/>
                    <a:gd name="connsiteY2" fmla="*/ 16068 h 49075"/>
                    <a:gd name="connsiteX3" fmla="*/ 17313 w 17312"/>
                    <a:gd name="connsiteY3" fmla="*/ 0 h 49075"/>
                  </a:gdLst>
                  <a:ahLst/>
                  <a:cxnLst>
                    <a:cxn ang="0">
                      <a:pos x="connsiteX0" y="connsiteY0"/>
                    </a:cxn>
                    <a:cxn ang="0">
                      <a:pos x="connsiteX1" y="connsiteY1"/>
                    </a:cxn>
                    <a:cxn ang="0">
                      <a:pos x="connsiteX2" y="connsiteY2"/>
                    </a:cxn>
                    <a:cxn ang="0">
                      <a:pos x="connsiteX3" y="connsiteY3"/>
                    </a:cxn>
                  </a:cxnLst>
                  <a:rect l="l" t="t" r="r" b="b"/>
                  <a:pathLst>
                    <a:path w="17312" h="49075">
                      <a:moveTo>
                        <a:pt x="0" y="49076"/>
                      </a:moveTo>
                      <a:cubicBezTo>
                        <a:pt x="498" y="40730"/>
                        <a:pt x="2615" y="34752"/>
                        <a:pt x="4609" y="30890"/>
                      </a:cubicBezTo>
                      <a:cubicBezTo>
                        <a:pt x="7723" y="24662"/>
                        <a:pt x="10836" y="22545"/>
                        <a:pt x="13701" y="16068"/>
                      </a:cubicBezTo>
                      <a:cubicBezTo>
                        <a:pt x="16566" y="9715"/>
                        <a:pt x="17189" y="3861"/>
                        <a:pt x="1731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7" name="Freeform 5653">
                  <a:extLst>
                    <a:ext uri="{FF2B5EF4-FFF2-40B4-BE49-F238E27FC236}">
                      <a16:creationId xmlns:a16="http://schemas.microsoft.com/office/drawing/2014/main" id="{5379E1CF-9C26-D92F-EB91-37B6025557F7}"/>
                    </a:ext>
                  </a:extLst>
                </p:cNvPr>
                <p:cNvSpPr/>
                <p:nvPr/>
              </p:nvSpPr>
              <p:spPr>
                <a:xfrm>
                  <a:off x="10944718" y="5937881"/>
                  <a:ext cx="26860" cy="26569"/>
                </a:xfrm>
                <a:custGeom>
                  <a:avLst/>
                  <a:gdLst>
                    <a:gd name="connsiteX0" fmla="*/ 26073 w 26860"/>
                    <a:gd name="connsiteY0" fmla="*/ 17919 h 26569"/>
                    <a:gd name="connsiteX1" fmla="*/ 8884 w 26860"/>
                    <a:gd name="connsiteY1" fmla="*/ 25765 h 26569"/>
                    <a:gd name="connsiteX2" fmla="*/ 788 w 26860"/>
                    <a:gd name="connsiteY2" fmla="*/ 8701 h 26569"/>
                    <a:gd name="connsiteX3" fmla="*/ 17977 w 26860"/>
                    <a:gd name="connsiteY3" fmla="*/ 854 h 26569"/>
                    <a:gd name="connsiteX4" fmla="*/ 26073 w 26860"/>
                    <a:gd name="connsiteY4" fmla="*/ 17919 h 26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 h="26569">
                      <a:moveTo>
                        <a:pt x="26073" y="17919"/>
                      </a:moveTo>
                      <a:cubicBezTo>
                        <a:pt x="23582" y="24769"/>
                        <a:pt x="15859" y="28257"/>
                        <a:pt x="8884" y="25765"/>
                      </a:cubicBezTo>
                      <a:cubicBezTo>
                        <a:pt x="1909" y="23275"/>
                        <a:pt x="-1704" y="15676"/>
                        <a:pt x="788" y="8701"/>
                      </a:cubicBezTo>
                      <a:cubicBezTo>
                        <a:pt x="3279" y="1851"/>
                        <a:pt x="11001" y="-1762"/>
                        <a:pt x="17977" y="854"/>
                      </a:cubicBezTo>
                      <a:cubicBezTo>
                        <a:pt x="24952" y="3470"/>
                        <a:pt x="28564" y="11068"/>
                        <a:pt x="26073" y="17919"/>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8" name="Freeform 5654">
                  <a:extLst>
                    <a:ext uri="{FF2B5EF4-FFF2-40B4-BE49-F238E27FC236}">
                      <a16:creationId xmlns:a16="http://schemas.microsoft.com/office/drawing/2014/main" id="{2B031F1A-00FB-53B8-76B4-0E7E86FCFD8B}"/>
                    </a:ext>
                  </a:extLst>
                </p:cNvPr>
                <p:cNvSpPr/>
                <p:nvPr/>
              </p:nvSpPr>
              <p:spPr>
                <a:xfrm>
                  <a:off x="10921839" y="6012099"/>
                  <a:ext cx="18559" cy="48702"/>
                </a:xfrm>
                <a:custGeom>
                  <a:avLst/>
                  <a:gdLst>
                    <a:gd name="connsiteX0" fmla="*/ 0 w 18559"/>
                    <a:gd name="connsiteY0" fmla="*/ 48702 h 48702"/>
                    <a:gd name="connsiteX1" fmla="*/ 8221 w 18559"/>
                    <a:gd name="connsiteY1" fmla="*/ 31762 h 48702"/>
                    <a:gd name="connsiteX2" fmla="*/ 10961 w 18559"/>
                    <a:gd name="connsiteY2" fmla="*/ 14573 h 48702"/>
                    <a:gd name="connsiteX3" fmla="*/ 18560 w 18559"/>
                    <a:gd name="connsiteY3" fmla="*/ 0 h 48702"/>
                  </a:gdLst>
                  <a:ahLst/>
                  <a:cxnLst>
                    <a:cxn ang="0">
                      <a:pos x="connsiteX0" y="connsiteY0"/>
                    </a:cxn>
                    <a:cxn ang="0">
                      <a:pos x="connsiteX1" y="connsiteY1"/>
                    </a:cxn>
                    <a:cxn ang="0">
                      <a:pos x="connsiteX2" y="connsiteY2"/>
                    </a:cxn>
                    <a:cxn ang="0">
                      <a:pos x="connsiteX3" y="connsiteY3"/>
                    </a:cxn>
                  </a:cxnLst>
                  <a:rect l="l" t="t" r="r" b="b"/>
                  <a:pathLst>
                    <a:path w="18559" h="48702">
                      <a:moveTo>
                        <a:pt x="0" y="48702"/>
                      </a:moveTo>
                      <a:cubicBezTo>
                        <a:pt x="5107" y="41976"/>
                        <a:pt x="7225" y="35997"/>
                        <a:pt x="8221" y="31762"/>
                      </a:cubicBezTo>
                      <a:cubicBezTo>
                        <a:pt x="9841" y="24912"/>
                        <a:pt x="8969" y="21424"/>
                        <a:pt x="10961" y="14573"/>
                      </a:cubicBezTo>
                      <a:cubicBezTo>
                        <a:pt x="12830" y="7971"/>
                        <a:pt x="16193" y="2989"/>
                        <a:pt x="1856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9" name="Freeform 5655">
                  <a:extLst>
                    <a:ext uri="{FF2B5EF4-FFF2-40B4-BE49-F238E27FC236}">
                      <a16:creationId xmlns:a16="http://schemas.microsoft.com/office/drawing/2014/main" id="{60E0A405-CAA2-CA53-77F8-DBDEFD7AD6B7}"/>
                    </a:ext>
                  </a:extLst>
                </p:cNvPr>
                <p:cNvSpPr/>
                <p:nvPr/>
              </p:nvSpPr>
              <p:spPr>
                <a:xfrm>
                  <a:off x="10913494" y="6013968"/>
                  <a:ext cx="17313" cy="49200"/>
                </a:xfrm>
                <a:custGeom>
                  <a:avLst/>
                  <a:gdLst>
                    <a:gd name="connsiteX0" fmla="*/ 17314 w 17313"/>
                    <a:gd name="connsiteY0" fmla="*/ 0 h 49200"/>
                    <a:gd name="connsiteX1" fmla="*/ 12705 w 17313"/>
                    <a:gd name="connsiteY1" fmla="*/ 18185 h 49200"/>
                    <a:gd name="connsiteX2" fmla="*/ 3612 w 17313"/>
                    <a:gd name="connsiteY2" fmla="*/ 33132 h 49200"/>
                    <a:gd name="connsiteX3" fmla="*/ 0 w 17313"/>
                    <a:gd name="connsiteY3" fmla="*/ 49200 h 49200"/>
                  </a:gdLst>
                  <a:ahLst/>
                  <a:cxnLst>
                    <a:cxn ang="0">
                      <a:pos x="connsiteX0" y="connsiteY0"/>
                    </a:cxn>
                    <a:cxn ang="0">
                      <a:pos x="connsiteX1" y="connsiteY1"/>
                    </a:cxn>
                    <a:cxn ang="0">
                      <a:pos x="connsiteX2" y="connsiteY2"/>
                    </a:cxn>
                    <a:cxn ang="0">
                      <a:pos x="connsiteX3" y="connsiteY3"/>
                    </a:cxn>
                  </a:cxnLst>
                  <a:rect l="l" t="t" r="r" b="b"/>
                  <a:pathLst>
                    <a:path w="17313" h="49200">
                      <a:moveTo>
                        <a:pt x="17314" y="0"/>
                      </a:moveTo>
                      <a:cubicBezTo>
                        <a:pt x="16940" y="8346"/>
                        <a:pt x="14698" y="14324"/>
                        <a:pt x="12705" y="18185"/>
                      </a:cubicBezTo>
                      <a:cubicBezTo>
                        <a:pt x="9591" y="24413"/>
                        <a:pt x="6602" y="26656"/>
                        <a:pt x="3612" y="33132"/>
                      </a:cubicBezTo>
                      <a:cubicBezTo>
                        <a:pt x="747" y="39485"/>
                        <a:pt x="125" y="45339"/>
                        <a:pt x="0" y="4920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70" name="Freeform 5656">
                  <a:extLst>
                    <a:ext uri="{FF2B5EF4-FFF2-40B4-BE49-F238E27FC236}">
                      <a16:creationId xmlns:a16="http://schemas.microsoft.com/office/drawing/2014/main" id="{84CE184F-8E89-BA5C-C928-7887AD9DE0A4}"/>
                    </a:ext>
                  </a:extLst>
                </p:cNvPr>
                <p:cNvSpPr/>
                <p:nvPr/>
              </p:nvSpPr>
              <p:spPr>
                <a:xfrm>
                  <a:off x="10902974" y="6053037"/>
                  <a:ext cx="26162" cy="26489"/>
                </a:xfrm>
                <a:custGeom>
                  <a:avLst/>
                  <a:gdLst>
                    <a:gd name="connsiteX0" fmla="*/ 805 w 26162"/>
                    <a:gd name="connsiteY0" fmla="*/ 8760 h 26489"/>
                    <a:gd name="connsiteX1" fmla="*/ 17620 w 26162"/>
                    <a:gd name="connsiteY1" fmla="*/ 789 h 26489"/>
                    <a:gd name="connsiteX2" fmla="*/ 25343 w 26162"/>
                    <a:gd name="connsiteY2" fmla="*/ 17729 h 26489"/>
                    <a:gd name="connsiteX3" fmla="*/ 8528 w 26162"/>
                    <a:gd name="connsiteY3" fmla="*/ 25700 h 26489"/>
                    <a:gd name="connsiteX4" fmla="*/ 805 w 26162"/>
                    <a:gd name="connsiteY4" fmla="*/ 8760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2" h="26488">
                      <a:moveTo>
                        <a:pt x="805" y="8760"/>
                      </a:moveTo>
                      <a:cubicBezTo>
                        <a:pt x="3296" y="1910"/>
                        <a:pt x="10770" y="-1702"/>
                        <a:pt x="17620" y="789"/>
                      </a:cubicBezTo>
                      <a:cubicBezTo>
                        <a:pt x="24471" y="3280"/>
                        <a:pt x="27834" y="10878"/>
                        <a:pt x="25343" y="17729"/>
                      </a:cubicBezTo>
                      <a:cubicBezTo>
                        <a:pt x="22852" y="24580"/>
                        <a:pt x="15254" y="28191"/>
                        <a:pt x="8528" y="25700"/>
                      </a:cubicBezTo>
                      <a:cubicBezTo>
                        <a:pt x="1801" y="23209"/>
                        <a:pt x="-1686" y="15611"/>
                        <a:pt x="805" y="8760"/>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0" name="Graphic 2987">
                <a:extLst>
                  <a:ext uri="{FF2B5EF4-FFF2-40B4-BE49-F238E27FC236}">
                    <a16:creationId xmlns:a16="http://schemas.microsoft.com/office/drawing/2014/main" id="{45EDDE57-CA26-9A05-CC7B-BDEB151FE280}"/>
                  </a:ext>
                </a:extLst>
              </p:cNvPr>
              <p:cNvGrpSpPr/>
              <p:nvPr/>
            </p:nvGrpSpPr>
            <p:grpSpPr>
              <a:xfrm>
                <a:off x="10930360" y="5948394"/>
                <a:ext cx="69432" cy="140972"/>
                <a:chOff x="10930360" y="5948394"/>
                <a:chExt cx="69432" cy="140972"/>
              </a:xfrm>
              <a:grpFill/>
            </p:grpSpPr>
            <p:sp>
              <p:nvSpPr>
                <p:cNvPr id="3959" name="Freeform 5658">
                  <a:extLst>
                    <a:ext uri="{FF2B5EF4-FFF2-40B4-BE49-F238E27FC236}">
                      <a16:creationId xmlns:a16="http://schemas.microsoft.com/office/drawing/2014/main" id="{614ACC59-13B0-B799-3B75-FB194C72AE98}"/>
                    </a:ext>
                  </a:extLst>
                </p:cNvPr>
                <p:cNvSpPr/>
                <p:nvPr/>
              </p:nvSpPr>
              <p:spPr>
                <a:xfrm>
                  <a:off x="10961573" y="5966885"/>
                  <a:ext cx="18808" cy="48577"/>
                </a:xfrm>
                <a:custGeom>
                  <a:avLst/>
                  <a:gdLst>
                    <a:gd name="connsiteX0" fmla="*/ 18808 w 18808"/>
                    <a:gd name="connsiteY0" fmla="*/ 0 h 48577"/>
                    <a:gd name="connsiteX1" fmla="*/ 10463 w 18808"/>
                    <a:gd name="connsiteY1" fmla="*/ 16815 h 48577"/>
                    <a:gd name="connsiteX2" fmla="*/ 7723 w 18808"/>
                    <a:gd name="connsiteY2" fmla="*/ 34004 h 48577"/>
                    <a:gd name="connsiteX3" fmla="*/ 0 w 18808"/>
                    <a:gd name="connsiteY3" fmla="*/ 48577 h 48577"/>
                  </a:gdLst>
                  <a:ahLst/>
                  <a:cxnLst>
                    <a:cxn ang="0">
                      <a:pos x="connsiteX0" y="connsiteY0"/>
                    </a:cxn>
                    <a:cxn ang="0">
                      <a:pos x="connsiteX1" y="connsiteY1"/>
                    </a:cxn>
                    <a:cxn ang="0">
                      <a:pos x="connsiteX2" y="connsiteY2"/>
                    </a:cxn>
                    <a:cxn ang="0">
                      <a:pos x="connsiteX3" y="connsiteY3"/>
                    </a:cxn>
                  </a:cxnLst>
                  <a:rect l="l" t="t" r="r" b="b"/>
                  <a:pathLst>
                    <a:path w="18808" h="48577">
                      <a:moveTo>
                        <a:pt x="18808" y="0"/>
                      </a:moveTo>
                      <a:cubicBezTo>
                        <a:pt x="13702" y="6726"/>
                        <a:pt x="11460" y="12580"/>
                        <a:pt x="10463" y="16815"/>
                      </a:cubicBezTo>
                      <a:cubicBezTo>
                        <a:pt x="8719" y="23666"/>
                        <a:pt x="9716" y="27153"/>
                        <a:pt x="7723" y="34004"/>
                      </a:cubicBezTo>
                      <a:cubicBezTo>
                        <a:pt x="5730" y="40606"/>
                        <a:pt x="2491" y="45463"/>
                        <a:pt x="0" y="4857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0" name="Freeform 5659">
                  <a:extLst>
                    <a:ext uri="{FF2B5EF4-FFF2-40B4-BE49-F238E27FC236}">
                      <a16:creationId xmlns:a16="http://schemas.microsoft.com/office/drawing/2014/main" id="{3DADB84C-0155-ABB1-45C3-5B129610E707}"/>
                    </a:ext>
                  </a:extLst>
                </p:cNvPr>
                <p:cNvSpPr/>
                <p:nvPr/>
              </p:nvSpPr>
              <p:spPr>
                <a:xfrm>
                  <a:off x="10971164" y="5964643"/>
                  <a:ext cx="17686" cy="49075"/>
                </a:xfrm>
                <a:custGeom>
                  <a:avLst/>
                  <a:gdLst>
                    <a:gd name="connsiteX0" fmla="*/ 0 w 17686"/>
                    <a:gd name="connsiteY0" fmla="*/ 49076 h 49075"/>
                    <a:gd name="connsiteX1" fmla="*/ 4733 w 17686"/>
                    <a:gd name="connsiteY1" fmla="*/ 30890 h 49075"/>
                    <a:gd name="connsiteX2" fmla="*/ 13950 w 17686"/>
                    <a:gd name="connsiteY2" fmla="*/ 16068 h 49075"/>
                    <a:gd name="connsiteX3" fmla="*/ 17687 w 17686"/>
                    <a:gd name="connsiteY3" fmla="*/ 0 h 49075"/>
                  </a:gdLst>
                  <a:ahLst/>
                  <a:cxnLst>
                    <a:cxn ang="0">
                      <a:pos x="connsiteX0" y="connsiteY0"/>
                    </a:cxn>
                    <a:cxn ang="0">
                      <a:pos x="connsiteX1" y="connsiteY1"/>
                    </a:cxn>
                    <a:cxn ang="0">
                      <a:pos x="connsiteX2" y="connsiteY2"/>
                    </a:cxn>
                    <a:cxn ang="0">
                      <a:pos x="connsiteX3" y="connsiteY3"/>
                    </a:cxn>
                  </a:cxnLst>
                  <a:rect l="l" t="t" r="r" b="b"/>
                  <a:pathLst>
                    <a:path w="17686" h="49075">
                      <a:moveTo>
                        <a:pt x="0" y="49076"/>
                      </a:moveTo>
                      <a:cubicBezTo>
                        <a:pt x="498" y="40730"/>
                        <a:pt x="2741" y="34752"/>
                        <a:pt x="4733" y="30890"/>
                      </a:cubicBezTo>
                      <a:cubicBezTo>
                        <a:pt x="7847" y="24663"/>
                        <a:pt x="10961" y="22545"/>
                        <a:pt x="13950" y="16068"/>
                      </a:cubicBezTo>
                      <a:cubicBezTo>
                        <a:pt x="16815" y="9840"/>
                        <a:pt x="17562" y="3986"/>
                        <a:pt x="1768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1" name="Freeform 5660">
                  <a:extLst>
                    <a:ext uri="{FF2B5EF4-FFF2-40B4-BE49-F238E27FC236}">
                      <a16:creationId xmlns:a16="http://schemas.microsoft.com/office/drawing/2014/main" id="{469EE631-1429-CD51-E97D-9C1F9E138D4F}"/>
                    </a:ext>
                  </a:extLst>
                </p:cNvPr>
                <p:cNvSpPr/>
                <p:nvPr/>
              </p:nvSpPr>
              <p:spPr>
                <a:xfrm>
                  <a:off x="10972853" y="5948394"/>
                  <a:ext cx="26940" cy="26394"/>
                </a:xfrm>
                <a:custGeom>
                  <a:avLst/>
                  <a:gdLst>
                    <a:gd name="connsiteX0" fmla="*/ 26087 w 26940"/>
                    <a:gd name="connsiteY0" fmla="*/ 17744 h 26394"/>
                    <a:gd name="connsiteX1" fmla="*/ 8775 w 26940"/>
                    <a:gd name="connsiteY1" fmla="*/ 25591 h 26394"/>
                    <a:gd name="connsiteX2" fmla="*/ 803 w 26940"/>
                    <a:gd name="connsiteY2" fmla="*/ 8651 h 26394"/>
                    <a:gd name="connsiteX3" fmla="*/ 18116 w 26940"/>
                    <a:gd name="connsiteY3" fmla="*/ 804 h 26394"/>
                    <a:gd name="connsiteX4" fmla="*/ 26087 w 26940"/>
                    <a:gd name="connsiteY4" fmla="*/ 17744 h 2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0" h="26394">
                      <a:moveTo>
                        <a:pt x="26087" y="17744"/>
                      </a:moveTo>
                      <a:cubicBezTo>
                        <a:pt x="23472" y="24594"/>
                        <a:pt x="15750" y="28082"/>
                        <a:pt x="8775" y="25591"/>
                      </a:cubicBezTo>
                      <a:cubicBezTo>
                        <a:pt x="1799" y="23100"/>
                        <a:pt x="-1689" y="15502"/>
                        <a:pt x="803" y="8651"/>
                      </a:cubicBezTo>
                      <a:cubicBezTo>
                        <a:pt x="3294" y="1800"/>
                        <a:pt x="11016" y="-1687"/>
                        <a:pt x="18116" y="804"/>
                      </a:cubicBezTo>
                      <a:cubicBezTo>
                        <a:pt x="25092" y="3295"/>
                        <a:pt x="28703" y="10893"/>
                        <a:pt x="26087" y="177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2" name="Freeform 5661">
                  <a:extLst>
                    <a:ext uri="{FF2B5EF4-FFF2-40B4-BE49-F238E27FC236}">
                      <a16:creationId xmlns:a16="http://schemas.microsoft.com/office/drawing/2014/main" id="{96146421-1F4C-5891-05AE-59E3628C8203}"/>
                    </a:ext>
                  </a:extLst>
                </p:cNvPr>
                <p:cNvSpPr/>
                <p:nvPr/>
              </p:nvSpPr>
              <p:spPr>
                <a:xfrm>
                  <a:off x="10949367" y="6022189"/>
                  <a:ext cx="18933" cy="48577"/>
                </a:xfrm>
                <a:custGeom>
                  <a:avLst/>
                  <a:gdLst>
                    <a:gd name="connsiteX0" fmla="*/ 0 w 18933"/>
                    <a:gd name="connsiteY0" fmla="*/ 48577 h 48577"/>
                    <a:gd name="connsiteX1" fmla="*/ 8345 w 18933"/>
                    <a:gd name="connsiteY1" fmla="*/ 31762 h 48577"/>
                    <a:gd name="connsiteX2" fmla="*/ 11210 w 18933"/>
                    <a:gd name="connsiteY2" fmla="*/ 14573 h 48577"/>
                    <a:gd name="connsiteX3" fmla="*/ 18933 w 18933"/>
                    <a:gd name="connsiteY3" fmla="*/ 0 h 48577"/>
                  </a:gdLst>
                  <a:ahLst/>
                  <a:cxnLst>
                    <a:cxn ang="0">
                      <a:pos x="connsiteX0" y="connsiteY0"/>
                    </a:cxn>
                    <a:cxn ang="0">
                      <a:pos x="connsiteX1" y="connsiteY1"/>
                    </a:cxn>
                    <a:cxn ang="0">
                      <a:pos x="connsiteX2" y="connsiteY2"/>
                    </a:cxn>
                    <a:cxn ang="0">
                      <a:pos x="connsiteX3" y="connsiteY3"/>
                    </a:cxn>
                  </a:cxnLst>
                  <a:rect l="l" t="t" r="r" b="b"/>
                  <a:pathLst>
                    <a:path w="18933" h="48577">
                      <a:moveTo>
                        <a:pt x="0" y="48577"/>
                      </a:moveTo>
                      <a:cubicBezTo>
                        <a:pt x="5107" y="41852"/>
                        <a:pt x="7349" y="35997"/>
                        <a:pt x="8345" y="31762"/>
                      </a:cubicBezTo>
                      <a:cubicBezTo>
                        <a:pt x="10089" y="25036"/>
                        <a:pt x="9092" y="21424"/>
                        <a:pt x="11210" y="14573"/>
                      </a:cubicBezTo>
                      <a:cubicBezTo>
                        <a:pt x="13203" y="7972"/>
                        <a:pt x="16442" y="3114"/>
                        <a:pt x="1893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3" name="Freeform 5662">
                  <a:extLst>
                    <a:ext uri="{FF2B5EF4-FFF2-40B4-BE49-F238E27FC236}">
                      <a16:creationId xmlns:a16="http://schemas.microsoft.com/office/drawing/2014/main" id="{DEB79EA2-B8CB-0AF5-9C80-61F4736E360F}"/>
                    </a:ext>
                  </a:extLst>
                </p:cNvPr>
                <p:cNvSpPr/>
                <p:nvPr/>
              </p:nvSpPr>
              <p:spPr>
                <a:xfrm>
                  <a:off x="10941021" y="6024057"/>
                  <a:ext cx="17562" cy="49075"/>
                </a:xfrm>
                <a:custGeom>
                  <a:avLst/>
                  <a:gdLst>
                    <a:gd name="connsiteX0" fmla="*/ 17562 w 17562"/>
                    <a:gd name="connsiteY0" fmla="*/ 0 h 49075"/>
                    <a:gd name="connsiteX1" fmla="*/ 12829 w 17562"/>
                    <a:gd name="connsiteY1" fmla="*/ 18186 h 49075"/>
                    <a:gd name="connsiteX2" fmla="*/ 3737 w 17562"/>
                    <a:gd name="connsiteY2" fmla="*/ 33008 h 49075"/>
                    <a:gd name="connsiteX3" fmla="*/ 0 w 17562"/>
                    <a:gd name="connsiteY3" fmla="*/ 49076 h 49075"/>
                  </a:gdLst>
                  <a:ahLst/>
                  <a:cxnLst>
                    <a:cxn ang="0">
                      <a:pos x="connsiteX0" y="connsiteY0"/>
                    </a:cxn>
                    <a:cxn ang="0">
                      <a:pos x="connsiteX1" y="connsiteY1"/>
                    </a:cxn>
                    <a:cxn ang="0">
                      <a:pos x="connsiteX2" y="connsiteY2"/>
                    </a:cxn>
                    <a:cxn ang="0">
                      <a:pos x="connsiteX3" y="connsiteY3"/>
                    </a:cxn>
                  </a:cxnLst>
                  <a:rect l="l" t="t" r="r" b="b"/>
                  <a:pathLst>
                    <a:path w="17562" h="49075">
                      <a:moveTo>
                        <a:pt x="17562" y="0"/>
                      </a:moveTo>
                      <a:cubicBezTo>
                        <a:pt x="17064" y="8346"/>
                        <a:pt x="14822" y="14324"/>
                        <a:pt x="12829" y="18186"/>
                      </a:cubicBezTo>
                      <a:cubicBezTo>
                        <a:pt x="9715" y="24414"/>
                        <a:pt x="6601" y="26531"/>
                        <a:pt x="3737" y="33008"/>
                      </a:cubicBezTo>
                      <a:cubicBezTo>
                        <a:pt x="872" y="39236"/>
                        <a:pt x="125" y="45090"/>
                        <a:pt x="0" y="4907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64" name="Freeform 5663">
                  <a:extLst>
                    <a:ext uri="{FF2B5EF4-FFF2-40B4-BE49-F238E27FC236}">
                      <a16:creationId xmlns:a16="http://schemas.microsoft.com/office/drawing/2014/main" id="{8C5116F4-C2E6-02F6-0501-60CA814E3B02}"/>
                    </a:ext>
                  </a:extLst>
                </p:cNvPr>
                <p:cNvSpPr/>
                <p:nvPr/>
              </p:nvSpPr>
              <p:spPr>
                <a:xfrm>
                  <a:off x="10930360" y="6063002"/>
                  <a:ext cx="26245" cy="26364"/>
                </a:xfrm>
                <a:custGeom>
                  <a:avLst/>
                  <a:gdLst>
                    <a:gd name="connsiteX0" fmla="*/ 821 w 26245"/>
                    <a:gd name="connsiteY0" fmla="*/ 8761 h 26364"/>
                    <a:gd name="connsiteX1" fmla="*/ 17761 w 26245"/>
                    <a:gd name="connsiteY1" fmla="*/ 789 h 26364"/>
                    <a:gd name="connsiteX2" fmla="*/ 25359 w 26245"/>
                    <a:gd name="connsiteY2" fmla="*/ 17604 h 26364"/>
                    <a:gd name="connsiteX3" fmla="*/ 8419 w 26245"/>
                    <a:gd name="connsiteY3" fmla="*/ 25576 h 26364"/>
                    <a:gd name="connsiteX4" fmla="*/ 821 w 26245"/>
                    <a:gd name="connsiteY4" fmla="*/ 8761 h 2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5" h="26363">
                      <a:moveTo>
                        <a:pt x="821" y="8761"/>
                      </a:moveTo>
                      <a:cubicBezTo>
                        <a:pt x="3312" y="1910"/>
                        <a:pt x="10910" y="-1702"/>
                        <a:pt x="17761" y="789"/>
                      </a:cubicBezTo>
                      <a:cubicBezTo>
                        <a:pt x="24612" y="3280"/>
                        <a:pt x="27975" y="10754"/>
                        <a:pt x="25359" y="17604"/>
                      </a:cubicBezTo>
                      <a:cubicBezTo>
                        <a:pt x="22743" y="24455"/>
                        <a:pt x="15145" y="28067"/>
                        <a:pt x="8419" y="25576"/>
                      </a:cubicBezTo>
                      <a:cubicBezTo>
                        <a:pt x="1693" y="23209"/>
                        <a:pt x="-1670" y="15611"/>
                        <a:pt x="821" y="876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1" name="Graphic 2987">
                <a:extLst>
                  <a:ext uri="{FF2B5EF4-FFF2-40B4-BE49-F238E27FC236}">
                    <a16:creationId xmlns:a16="http://schemas.microsoft.com/office/drawing/2014/main" id="{E4674184-F7A9-0CDC-06E3-D0B5F2BA5D9F}"/>
                  </a:ext>
                </a:extLst>
              </p:cNvPr>
              <p:cNvGrpSpPr/>
              <p:nvPr/>
            </p:nvGrpSpPr>
            <p:grpSpPr>
              <a:xfrm>
                <a:off x="10957745" y="5958706"/>
                <a:ext cx="70089" cy="141096"/>
                <a:chOff x="10957745" y="5958706"/>
                <a:chExt cx="70089" cy="141096"/>
              </a:xfrm>
              <a:grpFill/>
            </p:grpSpPr>
            <p:sp>
              <p:nvSpPr>
                <p:cNvPr id="3953" name="Freeform 5665">
                  <a:extLst>
                    <a:ext uri="{FF2B5EF4-FFF2-40B4-BE49-F238E27FC236}">
                      <a16:creationId xmlns:a16="http://schemas.microsoft.com/office/drawing/2014/main" id="{69BEAF52-0F30-F16F-2137-6A78C1262497}"/>
                    </a:ext>
                  </a:extLst>
                </p:cNvPr>
                <p:cNvSpPr/>
                <p:nvPr/>
              </p:nvSpPr>
              <p:spPr>
                <a:xfrm>
                  <a:off x="10989350" y="5977348"/>
                  <a:ext cx="19181" cy="48328"/>
                </a:xfrm>
                <a:custGeom>
                  <a:avLst/>
                  <a:gdLst>
                    <a:gd name="connsiteX0" fmla="*/ 19182 w 19181"/>
                    <a:gd name="connsiteY0" fmla="*/ 0 h 48328"/>
                    <a:gd name="connsiteX1" fmla="*/ 10712 w 19181"/>
                    <a:gd name="connsiteY1" fmla="*/ 16691 h 48328"/>
                    <a:gd name="connsiteX2" fmla="*/ 7847 w 19181"/>
                    <a:gd name="connsiteY2" fmla="*/ 33880 h 48328"/>
                    <a:gd name="connsiteX3" fmla="*/ 0 w 19181"/>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181" h="48328">
                      <a:moveTo>
                        <a:pt x="19182" y="0"/>
                      </a:moveTo>
                      <a:cubicBezTo>
                        <a:pt x="13950" y="6602"/>
                        <a:pt x="11708" y="12580"/>
                        <a:pt x="10712" y="16691"/>
                      </a:cubicBezTo>
                      <a:cubicBezTo>
                        <a:pt x="8968" y="23542"/>
                        <a:pt x="9840" y="27153"/>
                        <a:pt x="7847" y="33880"/>
                      </a:cubicBezTo>
                      <a:cubicBezTo>
                        <a:pt x="5854"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4" name="Freeform 5666">
                  <a:extLst>
                    <a:ext uri="{FF2B5EF4-FFF2-40B4-BE49-F238E27FC236}">
                      <a16:creationId xmlns:a16="http://schemas.microsoft.com/office/drawing/2014/main" id="{AEF27493-5BAF-CF95-F1BA-CA12E68B2CE5}"/>
                    </a:ext>
                  </a:extLst>
                </p:cNvPr>
                <p:cNvSpPr/>
                <p:nvPr/>
              </p:nvSpPr>
              <p:spPr>
                <a:xfrm>
                  <a:off x="10998940" y="5975230"/>
                  <a:ext cx="18061" cy="48951"/>
                </a:xfrm>
                <a:custGeom>
                  <a:avLst/>
                  <a:gdLst>
                    <a:gd name="connsiteX0" fmla="*/ 0 w 18061"/>
                    <a:gd name="connsiteY0" fmla="*/ 48951 h 48951"/>
                    <a:gd name="connsiteX1" fmla="*/ 4858 w 18061"/>
                    <a:gd name="connsiteY1" fmla="*/ 30766 h 48951"/>
                    <a:gd name="connsiteX2" fmla="*/ 14200 w 18061"/>
                    <a:gd name="connsiteY2" fmla="*/ 16068 h 48951"/>
                    <a:gd name="connsiteX3" fmla="*/ 18061 w 18061"/>
                    <a:gd name="connsiteY3" fmla="*/ 0 h 48951"/>
                  </a:gdLst>
                  <a:ahLst/>
                  <a:cxnLst>
                    <a:cxn ang="0">
                      <a:pos x="connsiteX0" y="connsiteY0"/>
                    </a:cxn>
                    <a:cxn ang="0">
                      <a:pos x="connsiteX1" y="connsiteY1"/>
                    </a:cxn>
                    <a:cxn ang="0">
                      <a:pos x="connsiteX2" y="connsiteY2"/>
                    </a:cxn>
                    <a:cxn ang="0">
                      <a:pos x="connsiteX3" y="connsiteY3"/>
                    </a:cxn>
                  </a:cxnLst>
                  <a:rect l="l" t="t" r="r" b="b"/>
                  <a:pathLst>
                    <a:path w="18061" h="48951">
                      <a:moveTo>
                        <a:pt x="0" y="48951"/>
                      </a:moveTo>
                      <a:cubicBezTo>
                        <a:pt x="623" y="40481"/>
                        <a:pt x="2865" y="34627"/>
                        <a:pt x="4858" y="30766"/>
                      </a:cubicBezTo>
                      <a:cubicBezTo>
                        <a:pt x="8097" y="24538"/>
                        <a:pt x="11210" y="22545"/>
                        <a:pt x="14200" y="16068"/>
                      </a:cubicBezTo>
                      <a:cubicBezTo>
                        <a:pt x="17189" y="9840"/>
                        <a:pt x="17812" y="3986"/>
                        <a:pt x="18061"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5" name="Freeform 5667">
                  <a:extLst>
                    <a:ext uri="{FF2B5EF4-FFF2-40B4-BE49-F238E27FC236}">
                      <a16:creationId xmlns:a16="http://schemas.microsoft.com/office/drawing/2014/main" id="{C5A84812-8C9B-D71A-EE08-E269D0585B6B}"/>
                    </a:ext>
                  </a:extLst>
                </p:cNvPr>
                <p:cNvSpPr/>
                <p:nvPr/>
              </p:nvSpPr>
              <p:spPr>
                <a:xfrm>
                  <a:off x="11001126" y="5958706"/>
                  <a:ext cx="26708" cy="26696"/>
                </a:xfrm>
                <a:custGeom>
                  <a:avLst/>
                  <a:gdLst>
                    <a:gd name="connsiteX0" fmla="*/ 25840 w 26708"/>
                    <a:gd name="connsiteY0" fmla="*/ 18268 h 26696"/>
                    <a:gd name="connsiteX1" fmla="*/ 8650 w 26708"/>
                    <a:gd name="connsiteY1" fmla="*/ 25742 h 26696"/>
                    <a:gd name="connsiteX2" fmla="*/ 804 w 26708"/>
                    <a:gd name="connsiteY2" fmla="*/ 8428 h 26696"/>
                    <a:gd name="connsiteX3" fmla="*/ 17992 w 26708"/>
                    <a:gd name="connsiteY3" fmla="*/ 955 h 26696"/>
                    <a:gd name="connsiteX4" fmla="*/ 25840 w 26708"/>
                    <a:gd name="connsiteY4" fmla="*/ 18268 h 2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08" h="26696">
                      <a:moveTo>
                        <a:pt x="25840" y="18268"/>
                      </a:moveTo>
                      <a:cubicBezTo>
                        <a:pt x="23224" y="25119"/>
                        <a:pt x="15502" y="28482"/>
                        <a:pt x="8650" y="25742"/>
                      </a:cubicBezTo>
                      <a:cubicBezTo>
                        <a:pt x="1800" y="23001"/>
                        <a:pt x="-1687" y="15279"/>
                        <a:pt x="804" y="8428"/>
                      </a:cubicBezTo>
                      <a:cubicBezTo>
                        <a:pt x="3419" y="1577"/>
                        <a:pt x="11142" y="-1786"/>
                        <a:pt x="17992" y="955"/>
                      </a:cubicBezTo>
                      <a:cubicBezTo>
                        <a:pt x="24968" y="3695"/>
                        <a:pt x="28455" y="11418"/>
                        <a:pt x="25840"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6" name="Freeform 5668">
                  <a:extLst>
                    <a:ext uri="{FF2B5EF4-FFF2-40B4-BE49-F238E27FC236}">
                      <a16:creationId xmlns:a16="http://schemas.microsoft.com/office/drawing/2014/main" id="{8A636070-422D-2964-FFE3-4FFDDE64FA1C}"/>
                    </a:ext>
                  </a:extLst>
                </p:cNvPr>
                <p:cNvSpPr/>
                <p:nvPr/>
              </p:nvSpPr>
              <p:spPr>
                <a:xfrm>
                  <a:off x="10976645" y="6032776"/>
                  <a:ext cx="19306" cy="48328"/>
                </a:xfrm>
                <a:custGeom>
                  <a:avLst/>
                  <a:gdLst>
                    <a:gd name="connsiteX0" fmla="*/ 0 w 19306"/>
                    <a:gd name="connsiteY0" fmla="*/ 48328 h 48328"/>
                    <a:gd name="connsiteX1" fmla="*/ 8470 w 19306"/>
                    <a:gd name="connsiteY1" fmla="*/ 31638 h 48328"/>
                    <a:gd name="connsiteX2" fmla="*/ 11459 w 19306"/>
                    <a:gd name="connsiteY2" fmla="*/ 14449 h 48328"/>
                    <a:gd name="connsiteX3" fmla="*/ 19306 w 19306"/>
                    <a:gd name="connsiteY3" fmla="*/ 0 h 48328"/>
                  </a:gdLst>
                  <a:ahLst/>
                  <a:cxnLst>
                    <a:cxn ang="0">
                      <a:pos x="connsiteX0" y="connsiteY0"/>
                    </a:cxn>
                    <a:cxn ang="0">
                      <a:pos x="connsiteX1" y="connsiteY1"/>
                    </a:cxn>
                    <a:cxn ang="0">
                      <a:pos x="connsiteX2" y="connsiteY2"/>
                    </a:cxn>
                    <a:cxn ang="0">
                      <a:pos x="connsiteX3" y="connsiteY3"/>
                    </a:cxn>
                  </a:cxnLst>
                  <a:rect l="l" t="t" r="r" b="b"/>
                  <a:pathLst>
                    <a:path w="19306" h="48328">
                      <a:moveTo>
                        <a:pt x="0" y="48328"/>
                      </a:moveTo>
                      <a:cubicBezTo>
                        <a:pt x="5107" y="41727"/>
                        <a:pt x="7349" y="35748"/>
                        <a:pt x="8470" y="31638"/>
                      </a:cubicBezTo>
                      <a:cubicBezTo>
                        <a:pt x="10214" y="24912"/>
                        <a:pt x="9342" y="21299"/>
                        <a:pt x="11459" y="14449"/>
                      </a:cubicBezTo>
                      <a:cubicBezTo>
                        <a:pt x="13452" y="7847"/>
                        <a:pt x="16815" y="2989"/>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7" name="Freeform 5669">
                  <a:extLst>
                    <a:ext uri="{FF2B5EF4-FFF2-40B4-BE49-F238E27FC236}">
                      <a16:creationId xmlns:a16="http://schemas.microsoft.com/office/drawing/2014/main" id="{4F4385F1-36F1-4B3B-A67E-182005D3456E}"/>
                    </a:ext>
                  </a:extLst>
                </p:cNvPr>
                <p:cNvSpPr/>
                <p:nvPr/>
              </p:nvSpPr>
              <p:spPr>
                <a:xfrm>
                  <a:off x="10968300" y="6034395"/>
                  <a:ext cx="17936" cy="48951"/>
                </a:xfrm>
                <a:custGeom>
                  <a:avLst/>
                  <a:gdLst>
                    <a:gd name="connsiteX0" fmla="*/ 17936 w 17936"/>
                    <a:gd name="connsiteY0" fmla="*/ 0 h 48951"/>
                    <a:gd name="connsiteX1" fmla="*/ 13078 w 17936"/>
                    <a:gd name="connsiteY1" fmla="*/ 18185 h 48951"/>
                    <a:gd name="connsiteX2" fmla="*/ 3861 w 17936"/>
                    <a:gd name="connsiteY2" fmla="*/ 32883 h 48951"/>
                    <a:gd name="connsiteX3" fmla="*/ 0 w 17936"/>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7936" h="48951">
                      <a:moveTo>
                        <a:pt x="17936" y="0"/>
                      </a:moveTo>
                      <a:cubicBezTo>
                        <a:pt x="17438" y="8470"/>
                        <a:pt x="15071" y="14324"/>
                        <a:pt x="13078" y="18185"/>
                      </a:cubicBezTo>
                      <a:cubicBezTo>
                        <a:pt x="9840" y="24413"/>
                        <a:pt x="6851" y="26531"/>
                        <a:pt x="3861" y="32883"/>
                      </a:cubicBezTo>
                      <a:cubicBezTo>
                        <a:pt x="996" y="39111"/>
                        <a:pt x="249" y="44965"/>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8" name="Freeform 5670">
                  <a:extLst>
                    <a:ext uri="{FF2B5EF4-FFF2-40B4-BE49-F238E27FC236}">
                      <a16:creationId xmlns:a16="http://schemas.microsoft.com/office/drawing/2014/main" id="{FE75D557-FB93-1C78-993C-F9A6B97151D0}"/>
                    </a:ext>
                  </a:extLst>
                </p:cNvPr>
                <p:cNvSpPr/>
                <p:nvPr/>
              </p:nvSpPr>
              <p:spPr>
                <a:xfrm>
                  <a:off x="10957745" y="6073243"/>
                  <a:ext cx="25959" cy="26559"/>
                </a:xfrm>
                <a:custGeom>
                  <a:avLst/>
                  <a:gdLst>
                    <a:gd name="connsiteX0" fmla="*/ 839 w 25959"/>
                    <a:gd name="connsiteY0" fmla="*/ 8484 h 26559"/>
                    <a:gd name="connsiteX1" fmla="*/ 17654 w 25959"/>
                    <a:gd name="connsiteY1" fmla="*/ 886 h 26559"/>
                    <a:gd name="connsiteX2" fmla="*/ 25003 w 25959"/>
                    <a:gd name="connsiteY2" fmla="*/ 18075 h 26559"/>
                    <a:gd name="connsiteX3" fmla="*/ 8188 w 25959"/>
                    <a:gd name="connsiteY3" fmla="*/ 25673 h 26559"/>
                    <a:gd name="connsiteX4" fmla="*/ 839 w 25959"/>
                    <a:gd name="connsiteY4" fmla="*/ 8484 h 2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59" h="26559">
                      <a:moveTo>
                        <a:pt x="839" y="8484"/>
                      </a:moveTo>
                      <a:cubicBezTo>
                        <a:pt x="3454" y="1634"/>
                        <a:pt x="10928" y="-1730"/>
                        <a:pt x="17654" y="886"/>
                      </a:cubicBezTo>
                      <a:cubicBezTo>
                        <a:pt x="24380" y="3502"/>
                        <a:pt x="27743" y="11225"/>
                        <a:pt x="25003" y="18075"/>
                      </a:cubicBezTo>
                      <a:cubicBezTo>
                        <a:pt x="22388" y="24926"/>
                        <a:pt x="14789" y="28289"/>
                        <a:pt x="8188" y="25673"/>
                      </a:cubicBezTo>
                      <a:cubicBezTo>
                        <a:pt x="1586" y="22933"/>
                        <a:pt x="-1653" y="15335"/>
                        <a:pt x="839"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2" name="Graphic 2987">
                <a:extLst>
                  <a:ext uri="{FF2B5EF4-FFF2-40B4-BE49-F238E27FC236}">
                    <a16:creationId xmlns:a16="http://schemas.microsoft.com/office/drawing/2014/main" id="{77D587EC-339F-020C-DB3E-1D5902C5FFF8}"/>
                  </a:ext>
                </a:extLst>
              </p:cNvPr>
              <p:cNvGrpSpPr/>
              <p:nvPr/>
            </p:nvGrpSpPr>
            <p:grpSpPr>
              <a:xfrm>
                <a:off x="10984833" y="5969667"/>
                <a:ext cx="70970" cy="140583"/>
                <a:chOff x="10984833" y="5969667"/>
                <a:chExt cx="70970" cy="140583"/>
              </a:xfrm>
              <a:grpFill/>
            </p:grpSpPr>
            <p:sp>
              <p:nvSpPr>
                <p:cNvPr id="3947" name="Freeform 5672">
                  <a:extLst>
                    <a:ext uri="{FF2B5EF4-FFF2-40B4-BE49-F238E27FC236}">
                      <a16:creationId xmlns:a16="http://schemas.microsoft.com/office/drawing/2014/main" id="{6BE205E0-BF99-4234-BAC0-03249220841F}"/>
                    </a:ext>
                  </a:extLst>
                </p:cNvPr>
                <p:cNvSpPr/>
                <p:nvPr/>
              </p:nvSpPr>
              <p:spPr>
                <a:xfrm>
                  <a:off x="11016877" y="5988309"/>
                  <a:ext cx="19555" cy="48328"/>
                </a:xfrm>
                <a:custGeom>
                  <a:avLst/>
                  <a:gdLst>
                    <a:gd name="connsiteX0" fmla="*/ 19556 w 19555"/>
                    <a:gd name="connsiteY0" fmla="*/ 0 h 48328"/>
                    <a:gd name="connsiteX1" fmla="*/ 10961 w 19555"/>
                    <a:gd name="connsiteY1" fmla="*/ 16691 h 48328"/>
                    <a:gd name="connsiteX2" fmla="*/ 7972 w 19555"/>
                    <a:gd name="connsiteY2" fmla="*/ 33880 h 48328"/>
                    <a:gd name="connsiteX3" fmla="*/ 0 w 1955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555" h="48328">
                      <a:moveTo>
                        <a:pt x="19556" y="0"/>
                      </a:moveTo>
                      <a:cubicBezTo>
                        <a:pt x="14324" y="6602"/>
                        <a:pt x="12082" y="12456"/>
                        <a:pt x="10961" y="16691"/>
                      </a:cubicBezTo>
                      <a:cubicBezTo>
                        <a:pt x="9217" y="23417"/>
                        <a:pt x="10089" y="27029"/>
                        <a:pt x="7972" y="33880"/>
                      </a:cubicBezTo>
                      <a:cubicBezTo>
                        <a:pt x="5979" y="40481"/>
                        <a:pt x="2491" y="45339"/>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8" name="Freeform 5673">
                  <a:extLst>
                    <a:ext uri="{FF2B5EF4-FFF2-40B4-BE49-F238E27FC236}">
                      <a16:creationId xmlns:a16="http://schemas.microsoft.com/office/drawing/2014/main" id="{29EF48E4-D378-5D4F-04FE-C1BAC41B5E73}"/>
                    </a:ext>
                  </a:extLst>
                </p:cNvPr>
                <p:cNvSpPr/>
                <p:nvPr/>
              </p:nvSpPr>
              <p:spPr>
                <a:xfrm>
                  <a:off x="11026468" y="5986067"/>
                  <a:ext cx="18434" cy="48951"/>
                </a:xfrm>
                <a:custGeom>
                  <a:avLst/>
                  <a:gdLst>
                    <a:gd name="connsiteX0" fmla="*/ 0 w 18434"/>
                    <a:gd name="connsiteY0" fmla="*/ 48951 h 48951"/>
                    <a:gd name="connsiteX1" fmla="*/ 4983 w 18434"/>
                    <a:gd name="connsiteY1" fmla="*/ 30766 h 48951"/>
                    <a:gd name="connsiteX2" fmla="*/ 14448 w 18434"/>
                    <a:gd name="connsiteY2" fmla="*/ 16068 h 48951"/>
                    <a:gd name="connsiteX3" fmla="*/ 18434 w 18434"/>
                    <a:gd name="connsiteY3" fmla="*/ 0 h 48951"/>
                  </a:gdLst>
                  <a:ahLst/>
                  <a:cxnLst>
                    <a:cxn ang="0">
                      <a:pos x="connsiteX0" y="connsiteY0"/>
                    </a:cxn>
                    <a:cxn ang="0">
                      <a:pos x="connsiteX1" y="connsiteY1"/>
                    </a:cxn>
                    <a:cxn ang="0">
                      <a:pos x="connsiteX2" y="connsiteY2"/>
                    </a:cxn>
                    <a:cxn ang="0">
                      <a:pos x="connsiteX3" y="connsiteY3"/>
                    </a:cxn>
                  </a:cxnLst>
                  <a:rect l="l" t="t" r="r" b="b"/>
                  <a:pathLst>
                    <a:path w="18434" h="48951">
                      <a:moveTo>
                        <a:pt x="0" y="48951"/>
                      </a:moveTo>
                      <a:cubicBezTo>
                        <a:pt x="623" y="40606"/>
                        <a:pt x="2989" y="34627"/>
                        <a:pt x="4983" y="30766"/>
                      </a:cubicBezTo>
                      <a:cubicBezTo>
                        <a:pt x="8220" y="24538"/>
                        <a:pt x="11334" y="22545"/>
                        <a:pt x="14448" y="16068"/>
                      </a:cubicBezTo>
                      <a:cubicBezTo>
                        <a:pt x="17438" y="9840"/>
                        <a:pt x="18186" y="3986"/>
                        <a:pt x="1843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9" name="Freeform 5674">
                  <a:extLst>
                    <a:ext uri="{FF2B5EF4-FFF2-40B4-BE49-F238E27FC236}">
                      <a16:creationId xmlns:a16="http://schemas.microsoft.com/office/drawing/2014/main" id="{0A0482E7-2445-F481-2C73-637A802FA778}"/>
                    </a:ext>
                  </a:extLst>
                </p:cNvPr>
                <p:cNvSpPr/>
                <p:nvPr/>
              </p:nvSpPr>
              <p:spPr>
                <a:xfrm>
                  <a:off x="11028961" y="5969667"/>
                  <a:ext cx="26841" cy="26644"/>
                </a:xfrm>
                <a:custGeom>
                  <a:avLst/>
                  <a:gdLst>
                    <a:gd name="connsiteX0" fmla="*/ 25906 w 26841"/>
                    <a:gd name="connsiteY0" fmla="*/ 18268 h 26644"/>
                    <a:gd name="connsiteX1" fmla="*/ 8593 w 26841"/>
                    <a:gd name="connsiteY1" fmla="*/ 25742 h 26644"/>
                    <a:gd name="connsiteX2" fmla="*/ 870 w 26841"/>
                    <a:gd name="connsiteY2" fmla="*/ 8428 h 26644"/>
                    <a:gd name="connsiteX3" fmla="*/ 18183 w 26841"/>
                    <a:gd name="connsiteY3" fmla="*/ 955 h 26644"/>
                    <a:gd name="connsiteX4" fmla="*/ 25906 w 26841"/>
                    <a:gd name="connsiteY4" fmla="*/ 18268 h 2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6644">
                      <a:moveTo>
                        <a:pt x="25906" y="18268"/>
                      </a:moveTo>
                      <a:cubicBezTo>
                        <a:pt x="23166" y="25119"/>
                        <a:pt x="15443" y="28357"/>
                        <a:pt x="8593" y="25742"/>
                      </a:cubicBezTo>
                      <a:cubicBezTo>
                        <a:pt x="1742" y="23001"/>
                        <a:pt x="-1746" y="15279"/>
                        <a:pt x="870" y="8428"/>
                      </a:cubicBezTo>
                      <a:cubicBezTo>
                        <a:pt x="3485" y="1577"/>
                        <a:pt x="11208" y="-1786"/>
                        <a:pt x="18183" y="955"/>
                      </a:cubicBezTo>
                      <a:cubicBezTo>
                        <a:pt x="25158" y="3819"/>
                        <a:pt x="28646" y="11542"/>
                        <a:pt x="25906" y="1826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0" name="Freeform 5675">
                  <a:extLst>
                    <a:ext uri="{FF2B5EF4-FFF2-40B4-BE49-F238E27FC236}">
                      <a16:creationId xmlns:a16="http://schemas.microsoft.com/office/drawing/2014/main" id="{1F61BBEA-2F4E-4AB8-F1DE-8C8178444600}"/>
                    </a:ext>
                  </a:extLst>
                </p:cNvPr>
                <p:cNvSpPr/>
                <p:nvPr/>
              </p:nvSpPr>
              <p:spPr>
                <a:xfrm>
                  <a:off x="11003798" y="6043488"/>
                  <a:ext cx="19680" cy="48328"/>
                </a:xfrm>
                <a:custGeom>
                  <a:avLst/>
                  <a:gdLst>
                    <a:gd name="connsiteX0" fmla="*/ 0 w 19680"/>
                    <a:gd name="connsiteY0" fmla="*/ 48328 h 48328"/>
                    <a:gd name="connsiteX1" fmla="*/ 8595 w 19680"/>
                    <a:gd name="connsiteY1" fmla="*/ 31638 h 48328"/>
                    <a:gd name="connsiteX2" fmla="*/ 11708 w 19680"/>
                    <a:gd name="connsiteY2" fmla="*/ 14449 h 48328"/>
                    <a:gd name="connsiteX3" fmla="*/ 19680 w 19680"/>
                    <a:gd name="connsiteY3" fmla="*/ 0 h 48328"/>
                  </a:gdLst>
                  <a:ahLst/>
                  <a:cxnLst>
                    <a:cxn ang="0">
                      <a:pos x="connsiteX0" y="connsiteY0"/>
                    </a:cxn>
                    <a:cxn ang="0">
                      <a:pos x="connsiteX1" y="connsiteY1"/>
                    </a:cxn>
                    <a:cxn ang="0">
                      <a:pos x="connsiteX2" y="connsiteY2"/>
                    </a:cxn>
                    <a:cxn ang="0">
                      <a:pos x="connsiteX3" y="connsiteY3"/>
                    </a:cxn>
                  </a:cxnLst>
                  <a:rect l="l" t="t" r="r" b="b"/>
                  <a:pathLst>
                    <a:path w="19680" h="48328">
                      <a:moveTo>
                        <a:pt x="0" y="48328"/>
                      </a:moveTo>
                      <a:cubicBezTo>
                        <a:pt x="5231" y="41727"/>
                        <a:pt x="7474" y="35873"/>
                        <a:pt x="8595" y="31638"/>
                      </a:cubicBezTo>
                      <a:cubicBezTo>
                        <a:pt x="10463" y="24912"/>
                        <a:pt x="9591" y="21300"/>
                        <a:pt x="11708" y="14449"/>
                      </a:cubicBezTo>
                      <a:cubicBezTo>
                        <a:pt x="13702" y="7847"/>
                        <a:pt x="17189" y="2990"/>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1" name="Freeform 5676">
                  <a:extLst>
                    <a:ext uri="{FF2B5EF4-FFF2-40B4-BE49-F238E27FC236}">
                      <a16:creationId xmlns:a16="http://schemas.microsoft.com/office/drawing/2014/main" id="{7434A775-C0EF-99E7-2269-338164C938E3}"/>
                    </a:ext>
                  </a:extLst>
                </p:cNvPr>
                <p:cNvSpPr/>
                <p:nvPr/>
              </p:nvSpPr>
              <p:spPr>
                <a:xfrm>
                  <a:off x="10995453" y="6045107"/>
                  <a:ext cx="18309" cy="48951"/>
                </a:xfrm>
                <a:custGeom>
                  <a:avLst/>
                  <a:gdLst>
                    <a:gd name="connsiteX0" fmla="*/ 18310 w 18309"/>
                    <a:gd name="connsiteY0" fmla="*/ 0 h 48951"/>
                    <a:gd name="connsiteX1" fmla="*/ 13328 w 18309"/>
                    <a:gd name="connsiteY1" fmla="*/ 18185 h 48951"/>
                    <a:gd name="connsiteX2" fmla="*/ 3986 w 18309"/>
                    <a:gd name="connsiteY2" fmla="*/ 32883 h 48951"/>
                    <a:gd name="connsiteX3" fmla="*/ 0 w 18309"/>
                    <a:gd name="connsiteY3" fmla="*/ 48951 h 48951"/>
                  </a:gdLst>
                  <a:ahLst/>
                  <a:cxnLst>
                    <a:cxn ang="0">
                      <a:pos x="connsiteX0" y="connsiteY0"/>
                    </a:cxn>
                    <a:cxn ang="0">
                      <a:pos x="connsiteX1" y="connsiteY1"/>
                    </a:cxn>
                    <a:cxn ang="0">
                      <a:pos x="connsiteX2" y="connsiteY2"/>
                    </a:cxn>
                    <a:cxn ang="0">
                      <a:pos x="connsiteX3" y="connsiteY3"/>
                    </a:cxn>
                  </a:cxnLst>
                  <a:rect l="l" t="t" r="r" b="b"/>
                  <a:pathLst>
                    <a:path w="18309" h="48951">
                      <a:moveTo>
                        <a:pt x="18310" y="0"/>
                      </a:moveTo>
                      <a:cubicBezTo>
                        <a:pt x="17687" y="8346"/>
                        <a:pt x="15320" y="14324"/>
                        <a:pt x="13328" y="18185"/>
                      </a:cubicBezTo>
                      <a:cubicBezTo>
                        <a:pt x="10089" y="24413"/>
                        <a:pt x="6975" y="26406"/>
                        <a:pt x="3986" y="32883"/>
                      </a:cubicBezTo>
                      <a:cubicBezTo>
                        <a:pt x="997" y="39111"/>
                        <a:pt x="249" y="44966"/>
                        <a:pt x="0" y="4895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52" name="Freeform 5677">
                  <a:extLst>
                    <a:ext uri="{FF2B5EF4-FFF2-40B4-BE49-F238E27FC236}">
                      <a16:creationId xmlns:a16="http://schemas.microsoft.com/office/drawing/2014/main" id="{7371DCAF-AF49-3440-1C1A-20E432A3C5A7}"/>
                    </a:ext>
                  </a:extLst>
                </p:cNvPr>
                <p:cNvSpPr/>
                <p:nvPr/>
              </p:nvSpPr>
              <p:spPr>
                <a:xfrm>
                  <a:off x="10984833" y="6083830"/>
                  <a:ext cx="26098" cy="26420"/>
                </a:xfrm>
                <a:custGeom>
                  <a:avLst/>
                  <a:gdLst>
                    <a:gd name="connsiteX0" fmla="*/ 905 w 26098"/>
                    <a:gd name="connsiteY0" fmla="*/ 8484 h 26420"/>
                    <a:gd name="connsiteX1" fmla="*/ 17845 w 26098"/>
                    <a:gd name="connsiteY1" fmla="*/ 886 h 26420"/>
                    <a:gd name="connsiteX2" fmla="*/ 25194 w 26098"/>
                    <a:gd name="connsiteY2" fmla="*/ 17951 h 26420"/>
                    <a:gd name="connsiteX3" fmla="*/ 8254 w 26098"/>
                    <a:gd name="connsiteY3" fmla="*/ 25549 h 26420"/>
                    <a:gd name="connsiteX4" fmla="*/ 905 w 26098"/>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8" h="26420">
                      <a:moveTo>
                        <a:pt x="905" y="8484"/>
                      </a:moveTo>
                      <a:cubicBezTo>
                        <a:pt x="3521" y="1634"/>
                        <a:pt x="11118" y="-1729"/>
                        <a:pt x="17845" y="886"/>
                      </a:cubicBezTo>
                      <a:cubicBezTo>
                        <a:pt x="24571" y="3502"/>
                        <a:pt x="27810" y="11225"/>
                        <a:pt x="25194" y="17951"/>
                      </a:cubicBezTo>
                      <a:cubicBezTo>
                        <a:pt x="22578" y="24677"/>
                        <a:pt x="14980" y="28164"/>
                        <a:pt x="8254" y="25549"/>
                      </a:cubicBezTo>
                      <a:cubicBezTo>
                        <a:pt x="1528" y="23058"/>
                        <a:pt x="-1711" y="15335"/>
                        <a:pt x="905"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3" name="Graphic 2987">
                <a:extLst>
                  <a:ext uri="{FF2B5EF4-FFF2-40B4-BE49-F238E27FC236}">
                    <a16:creationId xmlns:a16="http://schemas.microsoft.com/office/drawing/2014/main" id="{9FA1524F-D324-5674-8822-149952E88731}"/>
                  </a:ext>
                </a:extLst>
              </p:cNvPr>
              <p:cNvGrpSpPr/>
              <p:nvPr/>
            </p:nvGrpSpPr>
            <p:grpSpPr>
              <a:xfrm>
                <a:off x="11011917" y="5980859"/>
                <a:ext cx="71913" cy="140102"/>
                <a:chOff x="11011917" y="5980859"/>
                <a:chExt cx="71913" cy="140102"/>
              </a:xfrm>
              <a:grpFill/>
            </p:grpSpPr>
            <p:sp>
              <p:nvSpPr>
                <p:cNvPr id="3941" name="Freeform 5679">
                  <a:extLst>
                    <a:ext uri="{FF2B5EF4-FFF2-40B4-BE49-F238E27FC236}">
                      <a16:creationId xmlns:a16="http://schemas.microsoft.com/office/drawing/2014/main" id="{AA13E71D-12D3-6F10-4F45-AF9F9A681C74}"/>
                    </a:ext>
                  </a:extLst>
                </p:cNvPr>
                <p:cNvSpPr/>
                <p:nvPr/>
              </p:nvSpPr>
              <p:spPr>
                <a:xfrm>
                  <a:off x="11044404" y="5999270"/>
                  <a:ext cx="19928" cy="48328"/>
                </a:xfrm>
                <a:custGeom>
                  <a:avLst/>
                  <a:gdLst>
                    <a:gd name="connsiteX0" fmla="*/ 19929 w 19928"/>
                    <a:gd name="connsiteY0" fmla="*/ 0 h 48328"/>
                    <a:gd name="connsiteX1" fmla="*/ 11210 w 19928"/>
                    <a:gd name="connsiteY1" fmla="*/ 16691 h 48328"/>
                    <a:gd name="connsiteX2" fmla="*/ 8097 w 19928"/>
                    <a:gd name="connsiteY2" fmla="*/ 33880 h 48328"/>
                    <a:gd name="connsiteX3" fmla="*/ 0 w 19928"/>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928" h="48328">
                      <a:moveTo>
                        <a:pt x="19929" y="0"/>
                      </a:moveTo>
                      <a:cubicBezTo>
                        <a:pt x="14573" y="6602"/>
                        <a:pt x="12331" y="12456"/>
                        <a:pt x="11210" y="16691"/>
                      </a:cubicBezTo>
                      <a:cubicBezTo>
                        <a:pt x="9342" y="23417"/>
                        <a:pt x="10214" y="27029"/>
                        <a:pt x="8097" y="33880"/>
                      </a:cubicBezTo>
                      <a:cubicBezTo>
                        <a:pt x="5979" y="40481"/>
                        <a:pt x="2616" y="45214"/>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2" name="Freeform 5680">
                  <a:extLst>
                    <a:ext uri="{FF2B5EF4-FFF2-40B4-BE49-F238E27FC236}">
                      <a16:creationId xmlns:a16="http://schemas.microsoft.com/office/drawing/2014/main" id="{7105D5CF-E9E9-5D49-B6C4-B8B3669BB09B}"/>
                    </a:ext>
                  </a:extLst>
                </p:cNvPr>
                <p:cNvSpPr/>
                <p:nvPr/>
              </p:nvSpPr>
              <p:spPr>
                <a:xfrm>
                  <a:off x="11054119" y="5997277"/>
                  <a:ext cx="18683" cy="48577"/>
                </a:xfrm>
                <a:custGeom>
                  <a:avLst/>
                  <a:gdLst>
                    <a:gd name="connsiteX0" fmla="*/ 0 w 18683"/>
                    <a:gd name="connsiteY0" fmla="*/ 48577 h 48577"/>
                    <a:gd name="connsiteX1" fmla="*/ 5107 w 18683"/>
                    <a:gd name="connsiteY1" fmla="*/ 30517 h 48577"/>
                    <a:gd name="connsiteX2" fmla="*/ 14698 w 18683"/>
                    <a:gd name="connsiteY2" fmla="*/ 15943 h 48577"/>
                    <a:gd name="connsiteX3" fmla="*/ 18684 w 18683"/>
                    <a:gd name="connsiteY3" fmla="*/ 0 h 48577"/>
                  </a:gdLst>
                  <a:ahLst/>
                  <a:cxnLst>
                    <a:cxn ang="0">
                      <a:pos x="connsiteX0" y="connsiteY0"/>
                    </a:cxn>
                    <a:cxn ang="0">
                      <a:pos x="connsiteX1" y="connsiteY1"/>
                    </a:cxn>
                    <a:cxn ang="0">
                      <a:pos x="connsiteX2" y="connsiteY2"/>
                    </a:cxn>
                    <a:cxn ang="0">
                      <a:pos x="connsiteX3" y="connsiteY3"/>
                    </a:cxn>
                  </a:cxnLst>
                  <a:rect l="l" t="t" r="r" b="b"/>
                  <a:pathLst>
                    <a:path w="18683" h="48577">
                      <a:moveTo>
                        <a:pt x="0" y="48577"/>
                      </a:moveTo>
                      <a:cubicBezTo>
                        <a:pt x="623" y="40232"/>
                        <a:pt x="2990" y="34378"/>
                        <a:pt x="5107" y="30517"/>
                      </a:cubicBezTo>
                      <a:cubicBezTo>
                        <a:pt x="8471" y="24289"/>
                        <a:pt x="11585" y="22296"/>
                        <a:pt x="14698" y="15943"/>
                      </a:cubicBezTo>
                      <a:cubicBezTo>
                        <a:pt x="17688" y="9715"/>
                        <a:pt x="18560" y="3861"/>
                        <a:pt x="1868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3" name="Freeform 5681">
                  <a:extLst>
                    <a:ext uri="{FF2B5EF4-FFF2-40B4-BE49-F238E27FC236}">
                      <a16:creationId xmlns:a16="http://schemas.microsoft.com/office/drawing/2014/main" id="{F3965C24-CAF5-E0A5-55D9-018BCB5CDACA}"/>
                    </a:ext>
                  </a:extLst>
                </p:cNvPr>
                <p:cNvSpPr/>
                <p:nvPr/>
              </p:nvSpPr>
              <p:spPr>
                <a:xfrm>
                  <a:off x="11056919" y="5980859"/>
                  <a:ext cx="26910" cy="26483"/>
                </a:xfrm>
                <a:custGeom>
                  <a:avLst/>
                  <a:gdLst>
                    <a:gd name="connsiteX0" fmla="*/ 25974 w 26910"/>
                    <a:gd name="connsiteY0" fmla="*/ 18162 h 26483"/>
                    <a:gd name="connsiteX1" fmla="*/ 8535 w 26910"/>
                    <a:gd name="connsiteY1" fmla="*/ 25511 h 26483"/>
                    <a:gd name="connsiteX2" fmla="*/ 938 w 26910"/>
                    <a:gd name="connsiteY2" fmla="*/ 8321 h 26483"/>
                    <a:gd name="connsiteX3" fmla="*/ 18375 w 26910"/>
                    <a:gd name="connsiteY3" fmla="*/ 973 h 26483"/>
                    <a:gd name="connsiteX4" fmla="*/ 25974 w 26910"/>
                    <a:gd name="connsiteY4" fmla="*/ 18162 h 2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0" h="26483">
                      <a:moveTo>
                        <a:pt x="25974" y="18162"/>
                      </a:moveTo>
                      <a:cubicBezTo>
                        <a:pt x="23233" y="25012"/>
                        <a:pt x="15386" y="28251"/>
                        <a:pt x="8535" y="25511"/>
                      </a:cubicBezTo>
                      <a:cubicBezTo>
                        <a:pt x="1685" y="22770"/>
                        <a:pt x="-1803" y="15048"/>
                        <a:pt x="938" y="8321"/>
                      </a:cubicBezTo>
                      <a:cubicBezTo>
                        <a:pt x="3677" y="1471"/>
                        <a:pt x="11400" y="-1768"/>
                        <a:pt x="18375" y="973"/>
                      </a:cubicBezTo>
                      <a:cubicBezTo>
                        <a:pt x="25226" y="3588"/>
                        <a:pt x="28714" y="11311"/>
                        <a:pt x="25974" y="1816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4" name="Freeform 5682">
                  <a:extLst>
                    <a:ext uri="{FF2B5EF4-FFF2-40B4-BE49-F238E27FC236}">
                      <a16:creationId xmlns:a16="http://schemas.microsoft.com/office/drawing/2014/main" id="{8CEE72A0-8B3E-E47A-C34A-43F6C923BFC9}"/>
                    </a:ext>
                  </a:extLst>
                </p:cNvPr>
                <p:cNvSpPr/>
                <p:nvPr/>
              </p:nvSpPr>
              <p:spPr>
                <a:xfrm>
                  <a:off x="11030952" y="6054324"/>
                  <a:ext cx="20053" cy="48204"/>
                </a:xfrm>
                <a:custGeom>
                  <a:avLst/>
                  <a:gdLst>
                    <a:gd name="connsiteX0" fmla="*/ 0 w 20053"/>
                    <a:gd name="connsiteY0" fmla="*/ 48204 h 48204"/>
                    <a:gd name="connsiteX1" fmla="*/ 8719 w 20053"/>
                    <a:gd name="connsiteY1" fmla="*/ 31513 h 48204"/>
                    <a:gd name="connsiteX2" fmla="*/ 11958 w 20053"/>
                    <a:gd name="connsiteY2" fmla="*/ 14449 h 48204"/>
                    <a:gd name="connsiteX3" fmla="*/ 20054 w 20053"/>
                    <a:gd name="connsiteY3" fmla="*/ 0 h 48204"/>
                  </a:gdLst>
                  <a:ahLst/>
                  <a:cxnLst>
                    <a:cxn ang="0">
                      <a:pos x="connsiteX0" y="connsiteY0"/>
                    </a:cxn>
                    <a:cxn ang="0">
                      <a:pos x="connsiteX1" y="connsiteY1"/>
                    </a:cxn>
                    <a:cxn ang="0">
                      <a:pos x="connsiteX2" y="connsiteY2"/>
                    </a:cxn>
                    <a:cxn ang="0">
                      <a:pos x="connsiteX3" y="connsiteY3"/>
                    </a:cxn>
                  </a:cxnLst>
                  <a:rect l="l" t="t" r="r" b="b"/>
                  <a:pathLst>
                    <a:path w="20053" h="48204">
                      <a:moveTo>
                        <a:pt x="0" y="48204"/>
                      </a:moveTo>
                      <a:cubicBezTo>
                        <a:pt x="5232" y="41603"/>
                        <a:pt x="7598" y="35748"/>
                        <a:pt x="8719" y="31513"/>
                      </a:cubicBezTo>
                      <a:cubicBezTo>
                        <a:pt x="10588" y="24787"/>
                        <a:pt x="9716" y="21175"/>
                        <a:pt x="11958" y="14449"/>
                      </a:cubicBezTo>
                      <a:cubicBezTo>
                        <a:pt x="14075" y="7847"/>
                        <a:pt x="17438" y="3114"/>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5" name="Freeform 5683">
                  <a:extLst>
                    <a:ext uri="{FF2B5EF4-FFF2-40B4-BE49-F238E27FC236}">
                      <a16:creationId xmlns:a16="http://schemas.microsoft.com/office/drawing/2014/main" id="{022181A0-F11C-F6DB-2024-CF0F34C288C3}"/>
                    </a:ext>
                  </a:extLst>
                </p:cNvPr>
                <p:cNvSpPr/>
                <p:nvPr/>
              </p:nvSpPr>
              <p:spPr>
                <a:xfrm>
                  <a:off x="11022607" y="6055944"/>
                  <a:ext cx="18683" cy="48702"/>
                </a:xfrm>
                <a:custGeom>
                  <a:avLst/>
                  <a:gdLst>
                    <a:gd name="connsiteX0" fmla="*/ 18684 w 18683"/>
                    <a:gd name="connsiteY0" fmla="*/ 0 h 48702"/>
                    <a:gd name="connsiteX1" fmla="*/ 13577 w 18683"/>
                    <a:gd name="connsiteY1" fmla="*/ 18061 h 48702"/>
                    <a:gd name="connsiteX2" fmla="*/ 4111 w 18683"/>
                    <a:gd name="connsiteY2" fmla="*/ 32759 h 48702"/>
                    <a:gd name="connsiteX3" fmla="*/ 0 w 18683"/>
                    <a:gd name="connsiteY3" fmla="*/ 48702 h 48702"/>
                  </a:gdLst>
                  <a:ahLst/>
                  <a:cxnLst>
                    <a:cxn ang="0">
                      <a:pos x="connsiteX0" y="connsiteY0"/>
                    </a:cxn>
                    <a:cxn ang="0">
                      <a:pos x="connsiteX1" y="connsiteY1"/>
                    </a:cxn>
                    <a:cxn ang="0">
                      <a:pos x="connsiteX2" y="connsiteY2"/>
                    </a:cxn>
                    <a:cxn ang="0">
                      <a:pos x="connsiteX3" y="connsiteY3"/>
                    </a:cxn>
                  </a:cxnLst>
                  <a:rect l="l" t="t" r="r" b="b"/>
                  <a:pathLst>
                    <a:path w="18683" h="48702">
                      <a:moveTo>
                        <a:pt x="18684" y="0"/>
                      </a:moveTo>
                      <a:cubicBezTo>
                        <a:pt x="18061" y="8346"/>
                        <a:pt x="15694" y="14200"/>
                        <a:pt x="13577" y="18061"/>
                      </a:cubicBezTo>
                      <a:cubicBezTo>
                        <a:pt x="10339" y="24289"/>
                        <a:pt x="7225" y="26282"/>
                        <a:pt x="4111" y="32759"/>
                      </a:cubicBezTo>
                      <a:cubicBezTo>
                        <a:pt x="1121" y="38987"/>
                        <a:pt x="249" y="44841"/>
                        <a:pt x="0" y="48702"/>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6" name="Freeform 5684">
                  <a:extLst>
                    <a:ext uri="{FF2B5EF4-FFF2-40B4-BE49-F238E27FC236}">
                      <a16:creationId xmlns:a16="http://schemas.microsoft.com/office/drawing/2014/main" id="{90F6541B-2213-3B4B-4043-0EFF31536E7A}"/>
                    </a:ext>
                  </a:extLst>
                </p:cNvPr>
                <p:cNvSpPr/>
                <p:nvPr/>
              </p:nvSpPr>
              <p:spPr>
                <a:xfrm>
                  <a:off x="11011917" y="6094542"/>
                  <a:ext cx="26237" cy="26420"/>
                </a:xfrm>
                <a:custGeom>
                  <a:avLst/>
                  <a:gdLst>
                    <a:gd name="connsiteX0" fmla="*/ 974 w 26237"/>
                    <a:gd name="connsiteY0" fmla="*/ 8484 h 26420"/>
                    <a:gd name="connsiteX1" fmla="*/ 18039 w 26237"/>
                    <a:gd name="connsiteY1" fmla="*/ 886 h 26420"/>
                    <a:gd name="connsiteX2" fmla="*/ 25263 w 26237"/>
                    <a:gd name="connsiteY2" fmla="*/ 17951 h 26420"/>
                    <a:gd name="connsiteX3" fmla="*/ 8199 w 26237"/>
                    <a:gd name="connsiteY3" fmla="*/ 25549 h 26420"/>
                    <a:gd name="connsiteX4" fmla="*/ 974 w 26237"/>
                    <a:gd name="connsiteY4" fmla="*/ 8484 h 2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7" h="26420">
                      <a:moveTo>
                        <a:pt x="974" y="8484"/>
                      </a:moveTo>
                      <a:cubicBezTo>
                        <a:pt x="3715" y="1634"/>
                        <a:pt x="11313" y="-1729"/>
                        <a:pt x="18039" y="886"/>
                      </a:cubicBezTo>
                      <a:cubicBezTo>
                        <a:pt x="24765" y="3502"/>
                        <a:pt x="28004" y="11224"/>
                        <a:pt x="25263" y="17951"/>
                      </a:cubicBezTo>
                      <a:cubicBezTo>
                        <a:pt x="22523" y="24677"/>
                        <a:pt x="14925" y="28164"/>
                        <a:pt x="8199" y="25549"/>
                      </a:cubicBezTo>
                      <a:cubicBezTo>
                        <a:pt x="1473" y="22933"/>
                        <a:pt x="-1766" y="15335"/>
                        <a:pt x="974" y="848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4" name="Graphic 2987">
                <a:extLst>
                  <a:ext uri="{FF2B5EF4-FFF2-40B4-BE49-F238E27FC236}">
                    <a16:creationId xmlns:a16="http://schemas.microsoft.com/office/drawing/2014/main" id="{A1F1B143-2453-D0E3-818E-E3E14B7DD547}"/>
                  </a:ext>
                </a:extLst>
              </p:cNvPr>
              <p:cNvGrpSpPr/>
              <p:nvPr/>
            </p:nvGrpSpPr>
            <p:grpSpPr>
              <a:xfrm>
                <a:off x="11039054" y="5991837"/>
                <a:ext cx="72712" cy="139710"/>
                <a:chOff x="11039054" y="5991837"/>
                <a:chExt cx="72712" cy="139710"/>
              </a:xfrm>
              <a:grpFill/>
            </p:grpSpPr>
            <p:sp>
              <p:nvSpPr>
                <p:cNvPr id="3935" name="Freeform 5686">
                  <a:extLst>
                    <a:ext uri="{FF2B5EF4-FFF2-40B4-BE49-F238E27FC236}">
                      <a16:creationId xmlns:a16="http://schemas.microsoft.com/office/drawing/2014/main" id="{22BF5251-424F-4A64-7643-D590AB00A38B}"/>
                    </a:ext>
                  </a:extLst>
                </p:cNvPr>
                <p:cNvSpPr/>
                <p:nvPr/>
              </p:nvSpPr>
              <p:spPr>
                <a:xfrm>
                  <a:off x="11071932" y="6010231"/>
                  <a:ext cx="20302" cy="47954"/>
                </a:xfrm>
                <a:custGeom>
                  <a:avLst/>
                  <a:gdLst>
                    <a:gd name="connsiteX0" fmla="*/ 20303 w 20302"/>
                    <a:gd name="connsiteY0" fmla="*/ 0 h 47954"/>
                    <a:gd name="connsiteX1" fmla="*/ 11459 w 20302"/>
                    <a:gd name="connsiteY1" fmla="*/ 16566 h 47954"/>
                    <a:gd name="connsiteX2" fmla="*/ 8220 w 20302"/>
                    <a:gd name="connsiteY2" fmla="*/ 33630 h 47954"/>
                    <a:gd name="connsiteX3" fmla="*/ 0 w 2030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302" h="47954">
                      <a:moveTo>
                        <a:pt x="20303" y="0"/>
                      </a:moveTo>
                      <a:cubicBezTo>
                        <a:pt x="14946" y="6477"/>
                        <a:pt x="12580" y="12456"/>
                        <a:pt x="11459" y="16566"/>
                      </a:cubicBezTo>
                      <a:cubicBezTo>
                        <a:pt x="9590" y="23292"/>
                        <a:pt x="10462" y="26905"/>
                        <a:pt x="8220" y="33630"/>
                      </a:cubicBezTo>
                      <a:cubicBezTo>
                        <a:pt x="6103" y="40232"/>
                        <a:pt x="2615" y="44965"/>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6" name="Freeform 5687">
                  <a:extLst>
                    <a:ext uri="{FF2B5EF4-FFF2-40B4-BE49-F238E27FC236}">
                      <a16:creationId xmlns:a16="http://schemas.microsoft.com/office/drawing/2014/main" id="{CCCE742A-C26E-9A8F-223E-D60C97A04666}"/>
                    </a:ext>
                  </a:extLst>
                </p:cNvPr>
                <p:cNvSpPr/>
                <p:nvPr/>
              </p:nvSpPr>
              <p:spPr>
                <a:xfrm>
                  <a:off x="11081647" y="6008113"/>
                  <a:ext cx="19057" cy="48577"/>
                </a:xfrm>
                <a:custGeom>
                  <a:avLst/>
                  <a:gdLst>
                    <a:gd name="connsiteX0" fmla="*/ 0 w 19057"/>
                    <a:gd name="connsiteY0" fmla="*/ 48577 h 48577"/>
                    <a:gd name="connsiteX1" fmla="*/ 5231 w 19057"/>
                    <a:gd name="connsiteY1" fmla="*/ 30517 h 48577"/>
                    <a:gd name="connsiteX2" fmla="*/ 14947 w 19057"/>
                    <a:gd name="connsiteY2" fmla="*/ 15943 h 48577"/>
                    <a:gd name="connsiteX3" fmla="*/ 19058 w 19057"/>
                    <a:gd name="connsiteY3" fmla="*/ 0 h 48577"/>
                  </a:gdLst>
                  <a:ahLst/>
                  <a:cxnLst>
                    <a:cxn ang="0">
                      <a:pos x="connsiteX0" y="connsiteY0"/>
                    </a:cxn>
                    <a:cxn ang="0">
                      <a:pos x="connsiteX1" y="connsiteY1"/>
                    </a:cxn>
                    <a:cxn ang="0">
                      <a:pos x="connsiteX2" y="connsiteY2"/>
                    </a:cxn>
                    <a:cxn ang="0">
                      <a:pos x="connsiteX3" y="connsiteY3"/>
                    </a:cxn>
                  </a:cxnLst>
                  <a:rect l="l" t="t" r="r" b="b"/>
                  <a:pathLst>
                    <a:path w="19057" h="48577">
                      <a:moveTo>
                        <a:pt x="0" y="48577"/>
                      </a:moveTo>
                      <a:cubicBezTo>
                        <a:pt x="747" y="40232"/>
                        <a:pt x="3114" y="34378"/>
                        <a:pt x="5231" y="30517"/>
                      </a:cubicBezTo>
                      <a:cubicBezTo>
                        <a:pt x="8595" y="24413"/>
                        <a:pt x="11708" y="22296"/>
                        <a:pt x="14947" y="15943"/>
                      </a:cubicBezTo>
                      <a:cubicBezTo>
                        <a:pt x="18061" y="9715"/>
                        <a:pt x="18933" y="3861"/>
                        <a:pt x="1905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7" name="Freeform 5688">
                  <a:extLst>
                    <a:ext uri="{FF2B5EF4-FFF2-40B4-BE49-F238E27FC236}">
                      <a16:creationId xmlns:a16="http://schemas.microsoft.com/office/drawing/2014/main" id="{442B0487-D19C-270F-0CA3-A26A9817AEA1}"/>
                    </a:ext>
                  </a:extLst>
                </p:cNvPr>
                <p:cNvSpPr/>
                <p:nvPr/>
              </p:nvSpPr>
              <p:spPr>
                <a:xfrm>
                  <a:off x="11084927" y="5991837"/>
                  <a:ext cx="26838" cy="26504"/>
                </a:xfrm>
                <a:custGeom>
                  <a:avLst/>
                  <a:gdLst>
                    <a:gd name="connsiteX0" fmla="*/ 25866 w 26838"/>
                    <a:gd name="connsiteY0" fmla="*/ 18394 h 26504"/>
                    <a:gd name="connsiteX1" fmla="*/ 8428 w 26838"/>
                    <a:gd name="connsiteY1" fmla="*/ 25494 h 26504"/>
                    <a:gd name="connsiteX2" fmla="*/ 955 w 26838"/>
                    <a:gd name="connsiteY2" fmla="*/ 8305 h 26504"/>
                    <a:gd name="connsiteX3" fmla="*/ 18517 w 26838"/>
                    <a:gd name="connsiteY3" fmla="*/ 956 h 26504"/>
                    <a:gd name="connsiteX4" fmla="*/ 25866 w 26838"/>
                    <a:gd name="connsiteY4" fmla="*/ 18394 h 2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8" h="26504">
                      <a:moveTo>
                        <a:pt x="25866" y="18394"/>
                      </a:moveTo>
                      <a:cubicBezTo>
                        <a:pt x="23001" y="25245"/>
                        <a:pt x="15403" y="28234"/>
                        <a:pt x="8428" y="25494"/>
                      </a:cubicBezTo>
                      <a:cubicBezTo>
                        <a:pt x="1578" y="22754"/>
                        <a:pt x="-1786" y="15031"/>
                        <a:pt x="955" y="8305"/>
                      </a:cubicBezTo>
                      <a:cubicBezTo>
                        <a:pt x="3695" y="1579"/>
                        <a:pt x="11542" y="-1784"/>
                        <a:pt x="18517" y="956"/>
                      </a:cubicBezTo>
                      <a:cubicBezTo>
                        <a:pt x="25368" y="3572"/>
                        <a:pt x="28606" y="11668"/>
                        <a:pt x="25866" y="1839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8" name="Freeform 5689">
                  <a:extLst>
                    <a:ext uri="{FF2B5EF4-FFF2-40B4-BE49-F238E27FC236}">
                      <a16:creationId xmlns:a16="http://schemas.microsoft.com/office/drawing/2014/main" id="{C32919F2-2DE6-076A-4767-EFC1FC577045}"/>
                    </a:ext>
                  </a:extLst>
                </p:cNvPr>
                <p:cNvSpPr/>
                <p:nvPr/>
              </p:nvSpPr>
              <p:spPr>
                <a:xfrm>
                  <a:off x="11058105" y="6065285"/>
                  <a:ext cx="20427" cy="47954"/>
                </a:xfrm>
                <a:custGeom>
                  <a:avLst/>
                  <a:gdLst>
                    <a:gd name="connsiteX0" fmla="*/ 0 w 20427"/>
                    <a:gd name="connsiteY0" fmla="*/ 47955 h 47954"/>
                    <a:gd name="connsiteX1" fmla="*/ 8844 w 20427"/>
                    <a:gd name="connsiteY1" fmla="*/ 31389 h 47954"/>
                    <a:gd name="connsiteX2" fmla="*/ 12207 w 20427"/>
                    <a:gd name="connsiteY2" fmla="*/ 14324 h 47954"/>
                    <a:gd name="connsiteX3" fmla="*/ 20428 w 20427"/>
                    <a:gd name="connsiteY3" fmla="*/ 0 h 47954"/>
                  </a:gdLst>
                  <a:ahLst/>
                  <a:cxnLst>
                    <a:cxn ang="0">
                      <a:pos x="connsiteX0" y="connsiteY0"/>
                    </a:cxn>
                    <a:cxn ang="0">
                      <a:pos x="connsiteX1" y="connsiteY1"/>
                    </a:cxn>
                    <a:cxn ang="0">
                      <a:pos x="connsiteX2" y="connsiteY2"/>
                    </a:cxn>
                    <a:cxn ang="0">
                      <a:pos x="connsiteX3" y="connsiteY3"/>
                    </a:cxn>
                  </a:cxnLst>
                  <a:rect l="l" t="t" r="r" b="b"/>
                  <a:pathLst>
                    <a:path w="20427" h="47954">
                      <a:moveTo>
                        <a:pt x="0" y="47955"/>
                      </a:moveTo>
                      <a:cubicBezTo>
                        <a:pt x="5356" y="41353"/>
                        <a:pt x="7723" y="35499"/>
                        <a:pt x="8844" y="31389"/>
                      </a:cubicBezTo>
                      <a:cubicBezTo>
                        <a:pt x="10713" y="24663"/>
                        <a:pt x="9965" y="21050"/>
                        <a:pt x="12207" y="14324"/>
                      </a:cubicBezTo>
                      <a:cubicBezTo>
                        <a:pt x="14324" y="7723"/>
                        <a:pt x="17812" y="2990"/>
                        <a:pt x="2042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9" name="Freeform 5690">
                  <a:extLst>
                    <a:ext uri="{FF2B5EF4-FFF2-40B4-BE49-F238E27FC236}">
                      <a16:creationId xmlns:a16="http://schemas.microsoft.com/office/drawing/2014/main" id="{68775F42-6195-568B-9CDD-177B8563EBC9}"/>
                    </a:ext>
                  </a:extLst>
                </p:cNvPr>
                <p:cNvSpPr/>
                <p:nvPr/>
              </p:nvSpPr>
              <p:spPr>
                <a:xfrm>
                  <a:off x="11049885" y="6066780"/>
                  <a:ext cx="18933" cy="48577"/>
                </a:xfrm>
                <a:custGeom>
                  <a:avLst/>
                  <a:gdLst>
                    <a:gd name="connsiteX0" fmla="*/ 18933 w 18933"/>
                    <a:gd name="connsiteY0" fmla="*/ 0 h 48577"/>
                    <a:gd name="connsiteX1" fmla="*/ 13701 w 18933"/>
                    <a:gd name="connsiteY1" fmla="*/ 18061 h 48577"/>
                    <a:gd name="connsiteX2" fmla="*/ 4111 w 18933"/>
                    <a:gd name="connsiteY2" fmla="*/ 32634 h 48577"/>
                    <a:gd name="connsiteX3" fmla="*/ 0 w 18933"/>
                    <a:gd name="connsiteY3" fmla="*/ 48578 h 48577"/>
                  </a:gdLst>
                  <a:ahLst/>
                  <a:cxnLst>
                    <a:cxn ang="0">
                      <a:pos x="connsiteX0" y="connsiteY0"/>
                    </a:cxn>
                    <a:cxn ang="0">
                      <a:pos x="connsiteX1" y="connsiteY1"/>
                    </a:cxn>
                    <a:cxn ang="0">
                      <a:pos x="connsiteX2" y="connsiteY2"/>
                    </a:cxn>
                    <a:cxn ang="0">
                      <a:pos x="connsiteX3" y="connsiteY3"/>
                    </a:cxn>
                  </a:cxnLst>
                  <a:rect l="l" t="t" r="r" b="b"/>
                  <a:pathLst>
                    <a:path w="18933" h="48577">
                      <a:moveTo>
                        <a:pt x="18933" y="0"/>
                      </a:moveTo>
                      <a:cubicBezTo>
                        <a:pt x="18186" y="8346"/>
                        <a:pt x="15819" y="14200"/>
                        <a:pt x="13701" y="18061"/>
                      </a:cubicBezTo>
                      <a:cubicBezTo>
                        <a:pt x="10339" y="24164"/>
                        <a:pt x="7225" y="26282"/>
                        <a:pt x="4111" y="32634"/>
                      </a:cubicBezTo>
                      <a:cubicBezTo>
                        <a:pt x="1121" y="38862"/>
                        <a:pt x="249" y="44717"/>
                        <a:pt x="0" y="4857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40" name="Freeform 5691">
                  <a:extLst>
                    <a:ext uri="{FF2B5EF4-FFF2-40B4-BE49-F238E27FC236}">
                      <a16:creationId xmlns:a16="http://schemas.microsoft.com/office/drawing/2014/main" id="{CFAA9CA2-B773-C292-3995-498E6D019A66}"/>
                    </a:ext>
                  </a:extLst>
                </p:cNvPr>
                <p:cNvSpPr/>
                <p:nvPr/>
              </p:nvSpPr>
              <p:spPr>
                <a:xfrm>
                  <a:off x="11039054" y="6105186"/>
                  <a:ext cx="26272" cy="26361"/>
                </a:xfrm>
                <a:custGeom>
                  <a:avLst/>
                  <a:gdLst>
                    <a:gd name="connsiteX0" fmla="*/ 991 w 26272"/>
                    <a:gd name="connsiteY0" fmla="*/ 8428 h 26361"/>
                    <a:gd name="connsiteX1" fmla="*/ 18180 w 26272"/>
                    <a:gd name="connsiteY1" fmla="*/ 955 h 26361"/>
                    <a:gd name="connsiteX2" fmla="*/ 25279 w 26272"/>
                    <a:gd name="connsiteY2" fmla="*/ 18144 h 26361"/>
                    <a:gd name="connsiteX3" fmla="*/ 8215 w 26272"/>
                    <a:gd name="connsiteY3" fmla="*/ 25493 h 26361"/>
                    <a:gd name="connsiteX4" fmla="*/ 991 w 26272"/>
                    <a:gd name="connsiteY4" fmla="*/ 8428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72" h="26361">
                      <a:moveTo>
                        <a:pt x="991" y="8428"/>
                      </a:moveTo>
                      <a:cubicBezTo>
                        <a:pt x="3731" y="1578"/>
                        <a:pt x="11454" y="-1786"/>
                        <a:pt x="18180" y="955"/>
                      </a:cubicBezTo>
                      <a:cubicBezTo>
                        <a:pt x="24906" y="3571"/>
                        <a:pt x="28020" y="11542"/>
                        <a:pt x="25279" y="18144"/>
                      </a:cubicBezTo>
                      <a:cubicBezTo>
                        <a:pt x="22415" y="24995"/>
                        <a:pt x="14942" y="27984"/>
                        <a:pt x="8215" y="25493"/>
                      </a:cubicBezTo>
                      <a:cubicBezTo>
                        <a:pt x="1365" y="22877"/>
                        <a:pt x="-1749" y="15279"/>
                        <a:pt x="991" y="842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5" name="Graphic 2987">
                <a:extLst>
                  <a:ext uri="{FF2B5EF4-FFF2-40B4-BE49-F238E27FC236}">
                    <a16:creationId xmlns:a16="http://schemas.microsoft.com/office/drawing/2014/main" id="{5E01DAE0-D03E-02EB-D0A5-B01984DBBF82}"/>
                  </a:ext>
                </a:extLst>
              </p:cNvPr>
              <p:cNvGrpSpPr/>
              <p:nvPr/>
            </p:nvGrpSpPr>
            <p:grpSpPr>
              <a:xfrm>
                <a:off x="11065953" y="6003437"/>
                <a:ext cx="73516" cy="139497"/>
                <a:chOff x="11065953" y="6003437"/>
                <a:chExt cx="73516" cy="139497"/>
              </a:xfrm>
              <a:grpFill/>
            </p:grpSpPr>
            <p:sp>
              <p:nvSpPr>
                <p:cNvPr id="3929" name="Freeform 5693">
                  <a:extLst>
                    <a:ext uri="{FF2B5EF4-FFF2-40B4-BE49-F238E27FC236}">
                      <a16:creationId xmlns:a16="http://schemas.microsoft.com/office/drawing/2014/main" id="{C7ED414D-B514-CA12-4222-030DBC140949}"/>
                    </a:ext>
                  </a:extLst>
                </p:cNvPr>
                <p:cNvSpPr/>
                <p:nvPr/>
              </p:nvSpPr>
              <p:spPr>
                <a:xfrm>
                  <a:off x="11099334" y="6021815"/>
                  <a:ext cx="20552" cy="47830"/>
                </a:xfrm>
                <a:custGeom>
                  <a:avLst/>
                  <a:gdLst>
                    <a:gd name="connsiteX0" fmla="*/ 20552 w 20552"/>
                    <a:gd name="connsiteY0" fmla="*/ 0 h 47830"/>
                    <a:gd name="connsiteX1" fmla="*/ 11585 w 20552"/>
                    <a:gd name="connsiteY1" fmla="*/ 16442 h 47830"/>
                    <a:gd name="connsiteX2" fmla="*/ 8221 w 20552"/>
                    <a:gd name="connsiteY2" fmla="*/ 33506 h 47830"/>
                    <a:gd name="connsiteX3" fmla="*/ 0 w 20552"/>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552" h="47830">
                      <a:moveTo>
                        <a:pt x="20552" y="0"/>
                      </a:moveTo>
                      <a:cubicBezTo>
                        <a:pt x="15196" y="6477"/>
                        <a:pt x="12705" y="12331"/>
                        <a:pt x="11585" y="16442"/>
                      </a:cubicBezTo>
                      <a:cubicBezTo>
                        <a:pt x="9591" y="23168"/>
                        <a:pt x="10463" y="26780"/>
                        <a:pt x="8221" y="33506"/>
                      </a:cubicBezTo>
                      <a:cubicBezTo>
                        <a:pt x="5979" y="40108"/>
                        <a:pt x="2491" y="44841"/>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0" name="Freeform 5694">
                  <a:extLst>
                    <a:ext uri="{FF2B5EF4-FFF2-40B4-BE49-F238E27FC236}">
                      <a16:creationId xmlns:a16="http://schemas.microsoft.com/office/drawing/2014/main" id="{126B9804-BB9D-6C46-137F-C43D8405F0AC}"/>
                    </a:ext>
                  </a:extLst>
                </p:cNvPr>
                <p:cNvSpPr/>
                <p:nvPr/>
              </p:nvSpPr>
              <p:spPr>
                <a:xfrm>
                  <a:off x="11108925" y="6019822"/>
                  <a:ext cx="19306" cy="48453"/>
                </a:xfrm>
                <a:custGeom>
                  <a:avLst/>
                  <a:gdLst>
                    <a:gd name="connsiteX0" fmla="*/ 0 w 19306"/>
                    <a:gd name="connsiteY0" fmla="*/ 48453 h 48453"/>
                    <a:gd name="connsiteX1" fmla="*/ 5356 w 19306"/>
                    <a:gd name="connsiteY1" fmla="*/ 30392 h 48453"/>
                    <a:gd name="connsiteX2" fmla="*/ 15072 w 19306"/>
                    <a:gd name="connsiteY2" fmla="*/ 15943 h 48453"/>
                    <a:gd name="connsiteX3" fmla="*/ 19306 w 19306"/>
                    <a:gd name="connsiteY3" fmla="*/ 0 h 48453"/>
                  </a:gdLst>
                  <a:ahLst/>
                  <a:cxnLst>
                    <a:cxn ang="0">
                      <a:pos x="connsiteX0" y="connsiteY0"/>
                    </a:cxn>
                    <a:cxn ang="0">
                      <a:pos x="connsiteX1" y="connsiteY1"/>
                    </a:cxn>
                    <a:cxn ang="0">
                      <a:pos x="connsiteX2" y="connsiteY2"/>
                    </a:cxn>
                    <a:cxn ang="0">
                      <a:pos x="connsiteX3" y="connsiteY3"/>
                    </a:cxn>
                  </a:cxnLst>
                  <a:rect l="l" t="t" r="r" b="b"/>
                  <a:pathLst>
                    <a:path w="19306" h="48453">
                      <a:moveTo>
                        <a:pt x="0" y="48453"/>
                      </a:moveTo>
                      <a:cubicBezTo>
                        <a:pt x="872" y="40108"/>
                        <a:pt x="3239" y="34253"/>
                        <a:pt x="5356" y="30392"/>
                      </a:cubicBezTo>
                      <a:cubicBezTo>
                        <a:pt x="8719" y="24289"/>
                        <a:pt x="11958" y="22296"/>
                        <a:pt x="15072" y="15943"/>
                      </a:cubicBezTo>
                      <a:cubicBezTo>
                        <a:pt x="18186" y="9840"/>
                        <a:pt x="19058" y="3986"/>
                        <a:pt x="1930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1" name="Freeform 5695">
                  <a:extLst>
                    <a:ext uri="{FF2B5EF4-FFF2-40B4-BE49-F238E27FC236}">
                      <a16:creationId xmlns:a16="http://schemas.microsoft.com/office/drawing/2014/main" id="{CDE5DEC0-825E-CFFB-C1A4-134CD13D52C4}"/>
                    </a:ext>
                  </a:extLst>
                </p:cNvPr>
                <p:cNvSpPr/>
                <p:nvPr/>
              </p:nvSpPr>
              <p:spPr>
                <a:xfrm>
                  <a:off x="11112686" y="6003437"/>
                  <a:ext cx="26783" cy="26542"/>
                </a:xfrm>
                <a:custGeom>
                  <a:avLst/>
                  <a:gdLst>
                    <a:gd name="connsiteX0" fmla="*/ 25759 w 26783"/>
                    <a:gd name="connsiteY0" fmla="*/ 18503 h 26542"/>
                    <a:gd name="connsiteX1" fmla="*/ 8322 w 26783"/>
                    <a:gd name="connsiteY1" fmla="*/ 25478 h 26542"/>
                    <a:gd name="connsiteX2" fmla="*/ 972 w 26783"/>
                    <a:gd name="connsiteY2" fmla="*/ 8040 h 26542"/>
                    <a:gd name="connsiteX3" fmla="*/ 18411 w 26783"/>
                    <a:gd name="connsiteY3" fmla="*/ 1065 h 26542"/>
                    <a:gd name="connsiteX4" fmla="*/ 25759 w 2678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3" h="26542">
                      <a:moveTo>
                        <a:pt x="25759" y="18503"/>
                      </a:moveTo>
                      <a:cubicBezTo>
                        <a:pt x="22895" y="25229"/>
                        <a:pt x="15048" y="28343"/>
                        <a:pt x="8322" y="25478"/>
                      </a:cubicBezTo>
                      <a:cubicBezTo>
                        <a:pt x="1470" y="22613"/>
                        <a:pt x="-1767" y="14766"/>
                        <a:pt x="972" y="8040"/>
                      </a:cubicBezTo>
                      <a:cubicBezTo>
                        <a:pt x="3712" y="1314"/>
                        <a:pt x="11560" y="-1800"/>
                        <a:pt x="18411" y="1065"/>
                      </a:cubicBezTo>
                      <a:cubicBezTo>
                        <a:pt x="25261" y="3929"/>
                        <a:pt x="28624" y="11777"/>
                        <a:pt x="25759"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2" name="Freeform 5696">
                  <a:extLst>
                    <a:ext uri="{FF2B5EF4-FFF2-40B4-BE49-F238E27FC236}">
                      <a16:creationId xmlns:a16="http://schemas.microsoft.com/office/drawing/2014/main" id="{68845065-2D6B-B2E6-AABD-E2D88B91ADDD}"/>
                    </a:ext>
                  </a:extLst>
                </p:cNvPr>
                <p:cNvSpPr/>
                <p:nvPr/>
              </p:nvSpPr>
              <p:spPr>
                <a:xfrm>
                  <a:off x="11085010" y="6076870"/>
                  <a:ext cx="20676" cy="47705"/>
                </a:xfrm>
                <a:custGeom>
                  <a:avLst/>
                  <a:gdLst>
                    <a:gd name="connsiteX0" fmla="*/ 0 w 20676"/>
                    <a:gd name="connsiteY0" fmla="*/ 47705 h 47705"/>
                    <a:gd name="connsiteX1" fmla="*/ 8968 w 20676"/>
                    <a:gd name="connsiteY1" fmla="*/ 31264 h 47705"/>
                    <a:gd name="connsiteX2" fmla="*/ 12456 w 20676"/>
                    <a:gd name="connsiteY2" fmla="*/ 14199 h 47705"/>
                    <a:gd name="connsiteX3" fmla="*/ 20676 w 20676"/>
                    <a:gd name="connsiteY3" fmla="*/ 0 h 47705"/>
                  </a:gdLst>
                  <a:ahLst/>
                  <a:cxnLst>
                    <a:cxn ang="0">
                      <a:pos x="connsiteX0" y="connsiteY0"/>
                    </a:cxn>
                    <a:cxn ang="0">
                      <a:pos x="connsiteX1" y="connsiteY1"/>
                    </a:cxn>
                    <a:cxn ang="0">
                      <a:pos x="connsiteX2" y="connsiteY2"/>
                    </a:cxn>
                    <a:cxn ang="0">
                      <a:pos x="connsiteX3" y="connsiteY3"/>
                    </a:cxn>
                  </a:cxnLst>
                  <a:rect l="l" t="t" r="r" b="b"/>
                  <a:pathLst>
                    <a:path w="20676" h="47705">
                      <a:moveTo>
                        <a:pt x="0" y="47705"/>
                      </a:moveTo>
                      <a:cubicBezTo>
                        <a:pt x="5356" y="41229"/>
                        <a:pt x="7723" y="35374"/>
                        <a:pt x="8968" y="31264"/>
                      </a:cubicBezTo>
                      <a:cubicBezTo>
                        <a:pt x="10961" y="24538"/>
                        <a:pt x="10214" y="20926"/>
                        <a:pt x="12456" y="14199"/>
                      </a:cubicBezTo>
                      <a:cubicBezTo>
                        <a:pt x="14698" y="7598"/>
                        <a:pt x="18185" y="2865"/>
                        <a:pt x="2067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3" name="Freeform 5697">
                  <a:extLst>
                    <a:ext uri="{FF2B5EF4-FFF2-40B4-BE49-F238E27FC236}">
                      <a16:creationId xmlns:a16="http://schemas.microsoft.com/office/drawing/2014/main" id="{FDF40933-7E33-EA0D-28A5-980A297E21EF}"/>
                    </a:ext>
                  </a:extLst>
                </p:cNvPr>
                <p:cNvSpPr/>
                <p:nvPr/>
              </p:nvSpPr>
              <p:spPr>
                <a:xfrm>
                  <a:off x="11076665" y="6078115"/>
                  <a:ext cx="19430" cy="48453"/>
                </a:xfrm>
                <a:custGeom>
                  <a:avLst/>
                  <a:gdLst>
                    <a:gd name="connsiteX0" fmla="*/ 19431 w 19430"/>
                    <a:gd name="connsiteY0" fmla="*/ 0 h 48453"/>
                    <a:gd name="connsiteX1" fmla="*/ 14074 w 19430"/>
                    <a:gd name="connsiteY1" fmla="*/ 18061 h 48453"/>
                    <a:gd name="connsiteX2" fmla="*/ 4359 w 19430"/>
                    <a:gd name="connsiteY2" fmla="*/ 32510 h 48453"/>
                    <a:gd name="connsiteX3" fmla="*/ 0 w 19430"/>
                    <a:gd name="connsiteY3" fmla="*/ 48453 h 48453"/>
                  </a:gdLst>
                  <a:ahLst/>
                  <a:cxnLst>
                    <a:cxn ang="0">
                      <a:pos x="connsiteX0" y="connsiteY0"/>
                    </a:cxn>
                    <a:cxn ang="0">
                      <a:pos x="connsiteX1" y="connsiteY1"/>
                    </a:cxn>
                    <a:cxn ang="0">
                      <a:pos x="connsiteX2" y="connsiteY2"/>
                    </a:cxn>
                    <a:cxn ang="0">
                      <a:pos x="connsiteX3" y="connsiteY3"/>
                    </a:cxn>
                  </a:cxnLst>
                  <a:rect l="l" t="t" r="r" b="b"/>
                  <a:pathLst>
                    <a:path w="19430" h="48453">
                      <a:moveTo>
                        <a:pt x="19431" y="0"/>
                      </a:moveTo>
                      <a:cubicBezTo>
                        <a:pt x="18684" y="8346"/>
                        <a:pt x="16192" y="14200"/>
                        <a:pt x="14074" y="18061"/>
                      </a:cubicBezTo>
                      <a:cubicBezTo>
                        <a:pt x="10712" y="24164"/>
                        <a:pt x="7598" y="26157"/>
                        <a:pt x="4359" y="32510"/>
                      </a:cubicBezTo>
                      <a:cubicBezTo>
                        <a:pt x="1245" y="38738"/>
                        <a:pt x="373" y="44467"/>
                        <a:pt x="0" y="4845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34" name="Freeform 5698">
                  <a:extLst>
                    <a:ext uri="{FF2B5EF4-FFF2-40B4-BE49-F238E27FC236}">
                      <a16:creationId xmlns:a16="http://schemas.microsoft.com/office/drawing/2014/main" id="{369936D2-B1BE-3679-F042-5531F9C77691}"/>
                    </a:ext>
                  </a:extLst>
                </p:cNvPr>
                <p:cNvSpPr/>
                <p:nvPr/>
              </p:nvSpPr>
              <p:spPr>
                <a:xfrm>
                  <a:off x="11065953" y="6116430"/>
                  <a:ext cx="25978" cy="26503"/>
                </a:xfrm>
                <a:custGeom>
                  <a:avLst/>
                  <a:gdLst>
                    <a:gd name="connsiteX0" fmla="*/ 996 w 25978"/>
                    <a:gd name="connsiteY0" fmla="*/ 8145 h 26503"/>
                    <a:gd name="connsiteX1" fmla="*/ 18061 w 25978"/>
                    <a:gd name="connsiteY1" fmla="*/ 1045 h 26503"/>
                    <a:gd name="connsiteX2" fmla="*/ 24911 w 25978"/>
                    <a:gd name="connsiteY2" fmla="*/ 18359 h 26503"/>
                    <a:gd name="connsiteX3" fmla="*/ 7847 w 25978"/>
                    <a:gd name="connsiteY3" fmla="*/ 25459 h 26503"/>
                    <a:gd name="connsiteX4" fmla="*/ 996 w 25978"/>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7" h="26503">
                      <a:moveTo>
                        <a:pt x="996" y="8145"/>
                      </a:moveTo>
                      <a:cubicBezTo>
                        <a:pt x="3736" y="1419"/>
                        <a:pt x="11460" y="-1819"/>
                        <a:pt x="18061" y="1045"/>
                      </a:cubicBezTo>
                      <a:cubicBezTo>
                        <a:pt x="24663" y="3910"/>
                        <a:pt x="27777" y="11633"/>
                        <a:pt x="24911" y="18359"/>
                      </a:cubicBezTo>
                      <a:cubicBezTo>
                        <a:pt x="22047" y="25085"/>
                        <a:pt x="14449" y="28323"/>
                        <a:pt x="7847" y="25459"/>
                      </a:cubicBezTo>
                      <a:cubicBezTo>
                        <a:pt x="1370" y="22718"/>
                        <a:pt x="-1744" y="14995"/>
                        <a:pt x="996"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6" name="Graphic 2987">
                <a:extLst>
                  <a:ext uri="{FF2B5EF4-FFF2-40B4-BE49-F238E27FC236}">
                    <a16:creationId xmlns:a16="http://schemas.microsoft.com/office/drawing/2014/main" id="{20380EAC-653E-103D-CC3D-A7160E5C7806}"/>
                  </a:ext>
                </a:extLst>
              </p:cNvPr>
              <p:cNvGrpSpPr/>
              <p:nvPr/>
            </p:nvGrpSpPr>
            <p:grpSpPr>
              <a:xfrm>
                <a:off x="11092715" y="6015145"/>
                <a:ext cx="74425" cy="139247"/>
                <a:chOff x="11092715" y="6015145"/>
                <a:chExt cx="74425" cy="139247"/>
              </a:xfrm>
              <a:grpFill/>
            </p:grpSpPr>
            <p:sp>
              <p:nvSpPr>
                <p:cNvPr id="3923" name="Freeform 5700">
                  <a:extLst>
                    <a:ext uri="{FF2B5EF4-FFF2-40B4-BE49-F238E27FC236}">
                      <a16:creationId xmlns:a16="http://schemas.microsoft.com/office/drawing/2014/main" id="{C430ED08-0F69-86AB-43FC-34E556D52942}"/>
                    </a:ext>
                  </a:extLst>
                </p:cNvPr>
                <p:cNvSpPr/>
                <p:nvPr/>
              </p:nvSpPr>
              <p:spPr>
                <a:xfrm>
                  <a:off x="11126612" y="6033523"/>
                  <a:ext cx="20925" cy="47705"/>
                </a:xfrm>
                <a:custGeom>
                  <a:avLst/>
                  <a:gdLst>
                    <a:gd name="connsiteX0" fmla="*/ 20926 w 20925"/>
                    <a:gd name="connsiteY0" fmla="*/ 0 h 47705"/>
                    <a:gd name="connsiteX1" fmla="*/ 11833 w 20925"/>
                    <a:gd name="connsiteY1" fmla="*/ 16442 h 47705"/>
                    <a:gd name="connsiteX2" fmla="*/ 8346 w 20925"/>
                    <a:gd name="connsiteY2" fmla="*/ 33506 h 47705"/>
                    <a:gd name="connsiteX3" fmla="*/ 0 w 20925"/>
                    <a:gd name="connsiteY3" fmla="*/ 47705 h 47705"/>
                  </a:gdLst>
                  <a:ahLst/>
                  <a:cxnLst>
                    <a:cxn ang="0">
                      <a:pos x="connsiteX0" y="connsiteY0"/>
                    </a:cxn>
                    <a:cxn ang="0">
                      <a:pos x="connsiteX1" y="connsiteY1"/>
                    </a:cxn>
                    <a:cxn ang="0">
                      <a:pos x="connsiteX2" y="connsiteY2"/>
                    </a:cxn>
                    <a:cxn ang="0">
                      <a:pos x="connsiteX3" y="connsiteY3"/>
                    </a:cxn>
                  </a:cxnLst>
                  <a:rect l="l" t="t" r="r" b="b"/>
                  <a:pathLst>
                    <a:path w="20925" h="47705">
                      <a:moveTo>
                        <a:pt x="20926" y="0"/>
                      </a:moveTo>
                      <a:cubicBezTo>
                        <a:pt x="15446" y="6477"/>
                        <a:pt x="13079" y="12207"/>
                        <a:pt x="11833" y="16442"/>
                      </a:cubicBezTo>
                      <a:cubicBezTo>
                        <a:pt x="9841" y="23168"/>
                        <a:pt x="10588" y="26780"/>
                        <a:pt x="8346" y="33506"/>
                      </a:cubicBezTo>
                      <a:cubicBezTo>
                        <a:pt x="6104" y="39983"/>
                        <a:pt x="2616" y="44716"/>
                        <a:pt x="0" y="4770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4" name="Freeform 5701">
                  <a:extLst>
                    <a:ext uri="{FF2B5EF4-FFF2-40B4-BE49-F238E27FC236}">
                      <a16:creationId xmlns:a16="http://schemas.microsoft.com/office/drawing/2014/main" id="{36C14179-999C-478B-1579-D14A409B551C}"/>
                    </a:ext>
                  </a:extLst>
                </p:cNvPr>
                <p:cNvSpPr/>
                <p:nvPr/>
              </p:nvSpPr>
              <p:spPr>
                <a:xfrm>
                  <a:off x="11136203" y="6031655"/>
                  <a:ext cx="19680" cy="48203"/>
                </a:xfrm>
                <a:custGeom>
                  <a:avLst/>
                  <a:gdLst>
                    <a:gd name="connsiteX0" fmla="*/ 0 w 19680"/>
                    <a:gd name="connsiteY0" fmla="*/ 48204 h 48203"/>
                    <a:gd name="connsiteX1" fmla="*/ 5481 w 19680"/>
                    <a:gd name="connsiteY1" fmla="*/ 30267 h 48203"/>
                    <a:gd name="connsiteX2" fmla="*/ 15320 w 19680"/>
                    <a:gd name="connsiteY2" fmla="*/ 15943 h 48203"/>
                    <a:gd name="connsiteX3" fmla="*/ 19680 w 19680"/>
                    <a:gd name="connsiteY3" fmla="*/ 0 h 48203"/>
                  </a:gdLst>
                  <a:ahLst/>
                  <a:cxnLst>
                    <a:cxn ang="0">
                      <a:pos x="connsiteX0" y="connsiteY0"/>
                    </a:cxn>
                    <a:cxn ang="0">
                      <a:pos x="connsiteX1" y="connsiteY1"/>
                    </a:cxn>
                    <a:cxn ang="0">
                      <a:pos x="connsiteX2" y="connsiteY2"/>
                    </a:cxn>
                    <a:cxn ang="0">
                      <a:pos x="connsiteX3" y="connsiteY3"/>
                    </a:cxn>
                  </a:cxnLst>
                  <a:rect l="l" t="t" r="r" b="b"/>
                  <a:pathLst>
                    <a:path w="19680" h="48203">
                      <a:moveTo>
                        <a:pt x="0" y="48204"/>
                      </a:moveTo>
                      <a:cubicBezTo>
                        <a:pt x="872" y="39858"/>
                        <a:pt x="3363" y="34004"/>
                        <a:pt x="5481" y="30267"/>
                      </a:cubicBezTo>
                      <a:cubicBezTo>
                        <a:pt x="8969" y="24164"/>
                        <a:pt x="12082" y="22171"/>
                        <a:pt x="15320" y="15943"/>
                      </a:cubicBezTo>
                      <a:cubicBezTo>
                        <a:pt x="18434" y="9840"/>
                        <a:pt x="19431" y="3986"/>
                        <a:pt x="1968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5" name="Freeform 5702">
                  <a:extLst>
                    <a:ext uri="{FF2B5EF4-FFF2-40B4-BE49-F238E27FC236}">
                      <a16:creationId xmlns:a16="http://schemas.microsoft.com/office/drawing/2014/main" id="{47A99888-69E5-52E1-D717-A47883D7DA1F}"/>
                    </a:ext>
                  </a:extLst>
                </p:cNvPr>
                <p:cNvSpPr/>
                <p:nvPr/>
              </p:nvSpPr>
              <p:spPr>
                <a:xfrm>
                  <a:off x="11140267" y="6015145"/>
                  <a:ext cx="26873" cy="26542"/>
                </a:xfrm>
                <a:custGeom>
                  <a:avLst/>
                  <a:gdLst>
                    <a:gd name="connsiteX0" fmla="*/ 25831 w 26873"/>
                    <a:gd name="connsiteY0" fmla="*/ 18503 h 26542"/>
                    <a:gd name="connsiteX1" fmla="*/ 8268 w 26873"/>
                    <a:gd name="connsiteY1" fmla="*/ 25478 h 26542"/>
                    <a:gd name="connsiteX2" fmla="*/ 1043 w 26873"/>
                    <a:gd name="connsiteY2" fmla="*/ 8040 h 26542"/>
                    <a:gd name="connsiteX3" fmla="*/ 18606 w 26873"/>
                    <a:gd name="connsiteY3" fmla="*/ 1065 h 26542"/>
                    <a:gd name="connsiteX4" fmla="*/ 25831 w 26873"/>
                    <a:gd name="connsiteY4" fmla="*/ 18503 h 2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3" h="26542">
                      <a:moveTo>
                        <a:pt x="25831" y="18503"/>
                      </a:moveTo>
                      <a:cubicBezTo>
                        <a:pt x="22965" y="25229"/>
                        <a:pt x="15118" y="28343"/>
                        <a:pt x="8268" y="25478"/>
                      </a:cubicBezTo>
                      <a:cubicBezTo>
                        <a:pt x="1417" y="22613"/>
                        <a:pt x="-1821" y="14766"/>
                        <a:pt x="1043" y="8040"/>
                      </a:cubicBezTo>
                      <a:cubicBezTo>
                        <a:pt x="3908" y="1314"/>
                        <a:pt x="11756" y="-1800"/>
                        <a:pt x="18606" y="1065"/>
                      </a:cubicBezTo>
                      <a:cubicBezTo>
                        <a:pt x="25457" y="3929"/>
                        <a:pt x="28695" y="11901"/>
                        <a:pt x="25831" y="185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6" name="Freeform 5703">
                  <a:extLst>
                    <a:ext uri="{FF2B5EF4-FFF2-40B4-BE49-F238E27FC236}">
                      <a16:creationId xmlns:a16="http://schemas.microsoft.com/office/drawing/2014/main" id="{E4A22087-2C8F-F000-8294-744057FEA788}"/>
                    </a:ext>
                  </a:extLst>
                </p:cNvPr>
                <p:cNvSpPr/>
                <p:nvPr/>
              </p:nvSpPr>
              <p:spPr>
                <a:xfrm>
                  <a:off x="11111790" y="6088204"/>
                  <a:ext cx="21050" cy="47705"/>
                </a:xfrm>
                <a:custGeom>
                  <a:avLst/>
                  <a:gdLst>
                    <a:gd name="connsiteX0" fmla="*/ 0 w 21050"/>
                    <a:gd name="connsiteY0" fmla="*/ 47706 h 47705"/>
                    <a:gd name="connsiteX1" fmla="*/ 9093 w 21050"/>
                    <a:gd name="connsiteY1" fmla="*/ 31264 h 47705"/>
                    <a:gd name="connsiteX2" fmla="*/ 12705 w 21050"/>
                    <a:gd name="connsiteY2" fmla="*/ 14200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6"/>
                      </a:moveTo>
                      <a:cubicBezTo>
                        <a:pt x="5357" y="41229"/>
                        <a:pt x="7847" y="35375"/>
                        <a:pt x="9093" y="31264"/>
                      </a:cubicBezTo>
                      <a:cubicBezTo>
                        <a:pt x="11086" y="24538"/>
                        <a:pt x="10339" y="20926"/>
                        <a:pt x="12705" y="14200"/>
                      </a:cubicBezTo>
                      <a:cubicBezTo>
                        <a:pt x="14947" y="7723"/>
                        <a:pt x="18435" y="2990"/>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7" name="Freeform 5704">
                  <a:extLst>
                    <a:ext uri="{FF2B5EF4-FFF2-40B4-BE49-F238E27FC236}">
                      <a16:creationId xmlns:a16="http://schemas.microsoft.com/office/drawing/2014/main" id="{4D090F89-9134-0285-1EDC-AF95489C3861}"/>
                    </a:ext>
                  </a:extLst>
                </p:cNvPr>
                <p:cNvSpPr/>
                <p:nvPr/>
              </p:nvSpPr>
              <p:spPr>
                <a:xfrm>
                  <a:off x="11103444" y="6089574"/>
                  <a:ext cx="19805" cy="48328"/>
                </a:xfrm>
                <a:custGeom>
                  <a:avLst/>
                  <a:gdLst>
                    <a:gd name="connsiteX0" fmla="*/ 19805 w 19805"/>
                    <a:gd name="connsiteY0" fmla="*/ 0 h 48328"/>
                    <a:gd name="connsiteX1" fmla="*/ 14324 w 19805"/>
                    <a:gd name="connsiteY1" fmla="*/ 17936 h 48328"/>
                    <a:gd name="connsiteX2" fmla="*/ 4484 w 19805"/>
                    <a:gd name="connsiteY2" fmla="*/ 32385 h 48328"/>
                    <a:gd name="connsiteX3" fmla="*/ 0 w 19805"/>
                    <a:gd name="connsiteY3" fmla="*/ 48328 h 48328"/>
                  </a:gdLst>
                  <a:ahLst/>
                  <a:cxnLst>
                    <a:cxn ang="0">
                      <a:pos x="connsiteX0" y="connsiteY0"/>
                    </a:cxn>
                    <a:cxn ang="0">
                      <a:pos x="connsiteX1" y="connsiteY1"/>
                    </a:cxn>
                    <a:cxn ang="0">
                      <a:pos x="connsiteX2" y="connsiteY2"/>
                    </a:cxn>
                    <a:cxn ang="0">
                      <a:pos x="connsiteX3" y="connsiteY3"/>
                    </a:cxn>
                  </a:cxnLst>
                  <a:rect l="l" t="t" r="r" b="b"/>
                  <a:pathLst>
                    <a:path w="19805" h="48328">
                      <a:moveTo>
                        <a:pt x="19805" y="0"/>
                      </a:moveTo>
                      <a:cubicBezTo>
                        <a:pt x="18933" y="8345"/>
                        <a:pt x="16442" y="14199"/>
                        <a:pt x="14324" y="17936"/>
                      </a:cubicBezTo>
                      <a:cubicBezTo>
                        <a:pt x="10836" y="24040"/>
                        <a:pt x="7723" y="26033"/>
                        <a:pt x="4484" y="32385"/>
                      </a:cubicBezTo>
                      <a:cubicBezTo>
                        <a:pt x="1370" y="38488"/>
                        <a:pt x="374" y="44343"/>
                        <a:pt x="0" y="4832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8" name="Freeform 5705">
                  <a:extLst>
                    <a:ext uri="{FF2B5EF4-FFF2-40B4-BE49-F238E27FC236}">
                      <a16:creationId xmlns:a16="http://schemas.microsoft.com/office/drawing/2014/main" id="{24E56731-FC72-40AA-662C-97C2F2549D23}"/>
                    </a:ext>
                  </a:extLst>
                </p:cNvPr>
                <p:cNvSpPr/>
                <p:nvPr/>
              </p:nvSpPr>
              <p:spPr>
                <a:xfrm>
                  <a:off x="11092715" y="6127889"/>
                  <a:ext cx="26120" cy="26503"/>
                </a:xfrm>
                <a:custGeom>
                  <a:avLst/>
                  <a:gdLst>
                    <a:gd name="connsiteX0" fmla="*/ 1014 w 26120"/>
                    <a:gd name="connsiteY0" fmla="*/ 8145 h 26503"/>
                    <a:gd name="connsiteX1" fmla="*/ 18203 w 26120"/>
                    <a:gd name="connsiteY1" fmla="*/ 1045 h 26503"/>
                    <a:gd name="connsiteX2" fmla="*/ 25054 w 26120"/>
                    <a:gd name="connsiteY2" fmla="*/ 18359 h 26503"/>
                    <a:gd name="connsiteX3" fmla="*/ 7865 w 26120"/>
                    <a:gd name="connsiteY3" fmla="*/ 25458 h 26503"/>
                    <a:gd name="connsiteX4" fmla="*/ 1014 w 26120"/>
                    <a:gd name="connsiteY4" fmla="*/ 8145 h 26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0" h="26503">
                      <a:moveTo>
                        <a:pt x="1014" y="8145"/>
                      </a:moveTo>
                      <a:cubicBezTo>
                        <a:pt x="3879" y="1419"/>
                        <a:pt x="11601" y="-1820"/>
                        <a:pt x="18203" y="1045"/>
                      </a:cubicBezTo>
                      <a:cubicBezTo>
                        <a:pt x="24804" y="3910"/>
                        <a:pt x="27918" y="11633"/>
                        <a:pt x="25054" y="18359"/>
                      </a:cubicBezTo>
                      <a:cubicBezTo>
                        <a:pt x="22188" y="25085"/>
                        <a:pt x="14466" y="28323"/>
                        <a:pt x="7865" y="25458"/>
                      </a:cubicBezTo>
                      <a:cubicBezTo>
                        <a:pt x="1263" y="22593"/>
                        <a:pt x="-1726" y="14871"/>
                        <a:pt x="1014" y="814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7" name="Graphic 2987">
                <a:extLst>
                  <a:ext uri="{FF2B5EF4-FFF2-40B4-BE49-F238E27FC236}">
                    <a16:creationId xmlns:a16="http://schemas.microsoft.com/office/drawing/2014/main" id="{D3BF09FC-1BE5-7D64-DBA1-A2AF1AAC95F3}"/>
                  </a:ext>
                </a:extLst>
              </p:cNvPr>
              <p:cNvGrpSpPr/>
              <p:nvPr/>
            </p:nvGrpSpPr>
            <p:grpSpPr>
              <a:xfrm>
                <a:off x="11119422" y="6026905"/>
                <a:ext cx="75441" cy="138628"/>
                <a:chOff x="11119422" y="6026905"/>
                <a:chExt cx="75441" cy="138628"/>
              </a:xfrm>
              <a:grpFill/>
            </p:grpSpPr>
            <p:sp>
              <p:nvSpPr>
                <p:cNvPr id="3917" name="Freeform 5707">
                  <a:extLst>
                    <a:ext uri="{FF2B5EF4-FFF2-40B4-BE49-F238E27FC236}">
                      <a16:creationId xmlns:a16="http://schemas.microsoft.com/office/drawing/2014/main" id="{B3C080AC-6CCA-B11E-147A-CB5521D06390}"/>
                    </a:ext>
                  </a:extLst>
                </p:cNvPr>
                <p:cNvSpPr/>
                <p:nvPr/>
              </p:nvSpPr>
              <p:spPr>
                <a:xfrm>
                  <a:off x="11153765" y="6045232"/>
                  <a:ext cx="21424" cy="47581"/>
                </a:xfrm>
                <a:custGeom>
                  <a:avLst/>
                  <a:gdLst>
                    <a:gd name="connsiteX0" fmla="*/ 21424 w 21424"/>
                    <a:gd name="connsiteY0" fmla="*/ 0 h 47581"/>
                    <a:gd name="connsiteX1" fmla="*/ 12082 w 21424"/>
                    <a:gd name="connsiteY1" fmla="*/ 16317 h 47581"/>
                    <a:gd name="connsiteX2" fmla="*/ 8471 w 21424"/>
                    <a:gd name="connsiteY2" fmla="*/ 33381 h 47581"/>
                    <a:gd name="connsiteX3" fmla="*/ 0 w 21424"/>
                    <a:gd name="connsiteY3" fmla="*/ 47581 h 47581"/>
                  </a:gdLst>
                  <a:ahLst/>
                  <a:cxnLst>
                    <a:cxn ang="0">
                      <a:pos x="connsiteX0" y="connsiteY0"/>
                    </a:cxn>
                    <a:cxn ang="0">
                      <a:pos x="connsiteX1" y="connsiteY1"/>
                    </a:cxn>
                    <a:cxn ang="0">
                      <a:pos x="connsiteX2" y="connsiteY2"/>
                    </a:cxn>
                    <a:cxn ang="0">
                      <a:pos x="connsiteX3" y="connsiteY3"/>
                    </a:cxn>
                  </a:cxnLst>
                  <a:rect l="l" t="t" r="r" b="b"/>
                  <a:pathLst>
                    <a:path w="21424" h="47581">
                      <a:moveTo>
                        <a:pt x="21424" y="0"/>
                      </a:moveTo>
                      <a:cubicBezTo>
                        <a:pt x="15944" y="6353"/>
                        <a:pt x="13452" y="12206"/>
                        <a:pt x="12082" y="16317"/>
                      </a:cubicBezTo>
                      <a:cubicBezTo>
                        <a:pt x="10090" y="23043"/>
                        <a:pt x="10837" y="26655"/>
                        <a:pt x="8471" y="33381"/>
                      </a:cubicBezTo>
                      <a:cubicBezTo>
                        <a:pt x="6228" y="39858"/>
                        <a:pt x="2616" y="44591"/>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8" name="Freeform 5708">
                  <a:extLst>
                    <a:ext uri="{FF2B5EF4-FFF2-40B4-BE49-F238E27FC236}">
                      <a16:creationId xmlns:a16="http://schemas.microsoft.com/office/drawing/2014/main" id="{2A48DB18-2138-1193-6F1E-9BDA92EFD865}"/>
                    </a:ext>
                  </a:extLst>
                </p:cNvPr>
                <p:cNvSpPr/>
                <p:nvPr/>
              </p:nvSpPr>
              <p:spPr>
                <a:xfrm>
                  <a:off x="11163606" y="6043488"/>
                  <a:ext cx="20053" cy="48079"/>
                </a:xfrm>
                <a:custGeom>
                  <a:avLst/>
                  <a:gdLst>
                    <a:gd name="connsiteX0" fmla="*/ 0 w 20053"/>
                    <a:gd name="connsiteY0" fmla="*/ 48079 h 48079"/>
                    <a:gd name="connsiteX1" fmla="*/ 5605 w 20053"/>
                    <a:gd name="connsiteY1" fmla="*/ 30143 h 48079"/>
                    <a:gd name="connsiteX2" fmla="*/ 15570 w 20053"/>
                    <a:gd name="connsiteY2" fmla="*/ 15819 h 48079"/>
                    <a:gd name="connsiteX3" fmla="*/ 20054 w 20053"/>
                    <a:gd name="connsiteY3" fmla="*/ 0 h 48079"/>
                  </a:gdLst>
                  <a:ahLst/>
                  <a:cxnLst>
                    <a:cxn ang="0">
                      <a:pos x="connsiteX0" y="connsiteY0"/>
                    </a:cxn>
                    <a:cxn ang="0">
                      <a:pos x="connsiteX1" y="connsiteY1"/>
                    </a:cxn>
                    <a:cxn ang="0">
                      <a:pos x="connsiteX2" y="connsiteY2"/>
                    </a:cxn>
                    <a:cxn ang="0">
                      <a:pos x="connsiteX3" y="connsiteY3"/>
                    </a:cxn>
                  </a:cxnLst>
                  <a:rect l="l" t="t" r="r" b="b"/>
                  <a:pathLst>
                    <a:path w="20053" h="48079">
                      <a:moveTo>
                        <a:pt x="0" y="48079"/>
                      </a:moveTo>
                      <a:cubicBezTo>
                        <a:pt x="872" y="39734"/>
                        <a:pt x="3487" y="33880"/>
                        <a:pt x="5605" y="30143"/>
                      </a:cubicBezTo>
                      <a:cubicBezTo>
                        <a:pt x="9092" y="24040"/>
                        <a:pt x="12331" y="22171"/>
                        <a:pt x="15570" y="15819"/>
                      </a:cubicBezTo>
                      <a:cubicBezTo>
                        <a:pt x="18808" y="9715"/>
                        <a:pt x="19804" y="3861"/>
                        <a:pt x="2005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9" name="Freeform 5709">
                  <a:extLst>
                    <a:ext uri="{FF2B5EF4-FFF2-40B4-BE49-F238E27FC236}">
                      <a16:creationId xmlns:a16="http://schemas.microsoft.com/office/drawing/2014/main" id="{1434FF0E-56D1-C308-C57D-8D4158CED3C9}"/>
                    </a:ext>
                  </a:extLst>
                </p:cNvPr>
                <p:cNvSpPr/>
                <p:nvPr/>
              </p:nvSpPr>
              <p:spPr>
                <a:xfrm>
                  <a:off x="11167899" y="6026905"/>
                  <a:ext cx="26964" cy="26564"/>
                </a:xfrm>
                <a:custGeom>
                  <a:avLst/>
                  <a:gdLst>
                    <a:gd name="connsiteX0" fmla="*/ 25849 w 26964"/>
                    <a:gd name="connsiteY0" fmla="*/ 18576 h 26564"/>
                    <a:gd name="connsiteX1" fmla="*/ 8162 w 26964"/>
                    <a:gd name="connsiteY1" fmla="*/ 25427 h 26564"/>
                    <a:gd name="connsiteX2" fmla="*/ 1063 w 26964"/>
                    <a:gd name="connsiteY2" fmla="*/ 7988 h 26564"/>
                    <a:gd name="connsiteX3" fmla="*/ 18750 w 26964"/>
                    <a:gd name="connsiteY3" fmla="*/ 1138 h 26564"/>
                    <a:gd name="connsiteX4" fmla="*/ 25849 w 26964"/>
                    <a:gd name="connsiteY4" fmla="*/ 18576 h 26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4" h="26563">
                      <a:moveTo>
                        <a:pt x="25849" y="18576"/>
                      </a:moveTo>
                      <a:cubicBezTo>
                        <a:pt x="22860" y="25302"/>
                        <a:pt x="15013" y="28416"/>
                        <a:pt x="8162" y="25427"/>
                      </a:cubicBezTo>
                      <a:cubicBezTo>
                        <a:pt x="1312" y="22562"/>
                        <a:pt x="-1802" y="14714"/>
                        <a:pt x="1063" y="7988"/>
                      </a:cubicBezTo>
                      <a:cubicBezTo>
                        <a:pt x="3927" y="1262"/>
                        <a:pt x="11899" y="-1852"/>
                        <a:pt x="18750" y="1138"/>
                      </a:cubicBezTo>
                      <a:cubicBezTo>
                        <a:pt x="25600" y="4127"/>
                        <a:pt x="28839" y="11849"/>
                        <a:pt x="25849" y="18576"/>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0" name="Freeform 5710">
                  <a:extLst>
                    <a:ext uri="{FF2B5EF4-FFF2-40B4-BE49-F238E27FC236}">
                      <a16:creationId xmlns:a16="http://schemas.microsoft.com/office/drawing/2014/main" id="{88347DD8-D21C-2E0B-59E8-7CFB878F595E}"/>
                    </a:ext>
                  </a:extLst>
                </p:cNvPr>
                <p:cNvSpPr/>
                <p:nvPr/>
              </p:nvSpPr>
              <p:spPr>
                <a:xfrm>
                  <a:off x="11138694" y="6099912"/>
                  <a:ext cx="21548" cy="47456"/>
                </a:xfrm>
                <a:custGeom>
                  <a:avLst/>
                  <a:gdLst>
                    <a:gd name="connsiteX0" fmla="*/ 0 w 21548"/>
                    <a:gd name="connsiteY0" fmla="*/ 47456 h 47456"/>
                    <a:gd name="connsiteX1" fmla="*/ 9342 w 21548"/>
                    <a:gd name="connsiteY1" fmla="*/ 31139 h 47456"/>
                    <a:gd name="connsiteX2" fmla="*/ 13078 w 21548"/>
                    <a:gd name="connsiteY2" fmla="*/ 14200 h 47456"/>
                    <a:gd name="connsiteX3" fmla="*/ 21548 w 21548"/>
                    <a:gd name="connsiteY3" fmla="*/ 0 h 47456"/>
                  </a:gdLst>
                  <a:ahLst/>
                  <a:cxnLst>
                    <a:cxn ang="0">
                      <a:pos x="connsiteX0" y="connsiteY0"/>
                    </a:cxn>
                    <a:cxn ang="0">
                      <a:pos x="connsiteX1" y="connsiteY1"/>
                    </a:cxn>
                    <a:cxn ang="0">
                      <a:pos x="connsiteX2" y="connsiteY2"/>
                    </a:cxn>
                    <a:cxn ang="0">
                      <a:pos x="connsiteX3" y="connsiteY3"/>
                    </a:cxn>
                  </a:cxnLst>
                  <a:rect l="l" t="t" r="r" b="b"/>
                  <a:pathLst>
                    <a:path w="21548" h="47456">
                      <a:moveTo>
                        <a:pt x="0" y="47456"/>
                      </a:moveTo>
                      <a:cubicBezTo>
                        <a:pt x="5481" y="40980"/>
                        <a:pt x="7972" y="35250"/>
                        <a:pt x="9342" y="31139"/>
                      </a:cubicBezTo>
                      <a:cubicBezTo>
                        <a:pt x="11459" y="24414"/>
                        <a:pt x="10712" y="20801"/>
                        <a:pt x="13078" y="14200"/>
                      </a:cubicBezTo>
                      <a:cubicBezTo>
                        <a:pt x="15320" y="7723"/>
                        <a:pt x="18933" y="2990"/>
                        <a:pt x="2154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1" name="Freeform 5711">
                  <a:extLst>
                    <a:ext uri="{FF2B5EF4-FFF2-40B4-BE49-F238E27FC236}">
                      <a16:creationId xmlns:a16="http://schemas.microsoft.com/office/drawing/2014/main" id="{D80CE43B-3D61-8E7B-3FA8-5E12336E4C4E}"/>
                    </a:ext>
                  </a:extLst>
                </p:cNvPr>
                <p:cNvSpPr/>
                <p:nvPr/>
              </p:nvSpPr>
              <p:spPr>
                <a:xfrm>
                  <a:off x="11130225" y="6101158"/>
                  <a:ext cx="20178" cy="48079"/>
                </a:xfrm>
                <a:custGeom>
                  <a:avLst/>
                  <a:gdLst>
                    <a:gd name="connsiteX0" fmla="*/ 20178 w 20178"/>
                    <a:gd name="connsiteY0" fmla="*/ 0 h 48079"/>
                    <a:gd name="connsiteX1" fmla="*/ 14573 w 20178"/>
                    <a:gd name="connsiteY1" fmla="*/ 17936 h 48079"/>
                    <a:gd name="connsiteX2" fmla="*/ 4609 w 20178"/>
                    <a:gd name="connsiteY2" fmla="*/ 32260 h 48079"/>
                    <a:gd name="connsiteX3" fmla="*/ 0 w 20178"/>
                    <a:gd name="connsiteY3" fmla="*/ 48079 h 48079"/>
                  </a:gdLst>
                  <a:ahLst/>
                  <a:cxnLst>
                    <a:cxn ang="0">
                      <a:pos x="connsiteX0" y="connsiteY0"/>
                    </a:cxn>
                    <a:cxn ang="0">
                      <a:pos x="connsiteX1" y="connsiteY1"/>
                    </a:cxn>
                    <a:cxn ang="0">
                      <a:pos x="connsiteX2" y="connsiteY2"/>
                    </a:cxn>
                    <a:cxn ang="0">
                      <a:pos x="connsiteX3" y="connsiteY3"/>
                    </a:cxn>
                  </a:cxnLst>
                  <a:rect l="l" t="t" r="r" b="b"/>
                  <a:pathLst>
                    <a:path w="20178" h="48079">
                      <a:moveTo>
                        <a:pt x="20178" y="0"/>
                      </a:moveTo>
                      <a:cubicBezTo>
                        <a:pt x="19306" y="8346"/>
                        <a:pt x="16690" y="14200"/>
                        <a:pt x="14573" y="17936"/>
                      </a:cubicBezTo>
                      <a:cubicBezTo>
                        <a:pt x="11085" y="24040"/>
                        <a:pt x="7971" y="26033"/>
                        <a:pt x="4609" y="32260"/>
                      </a:cubicBezTo>
                      <a:cubicBezTo>
                        <a:pt x="1370" y="38364"/>
                        <a:pt x="373" y="44218"/>
                        <a:pt x="0" y="4807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22" name="Freeform 5712">
                  <a:extLst>
                    <a:ext uri="{FF2B5EF4-FFF2-40B4-BE49-F238E27FC236}">
                      <a16:creationId xmlns:a16="http://schemas.microsoft.com/office/drawing/2014/main" id="{DD60A468-8172-3314-CCD1-9662CC1E1232}"/>
                    </a:ext>
                  </a:extLst>
                </p:cNvPr>
                <p:cNvSpPr/>
                <p:nvPr/>
              </p:nvSpPr>
              <p:spPr>
                <a:xfrm>
                  <a:off x="11119422" y="6139276"/>
                  <a:ext cx="26213" cy="26257"/>
                </a:xfrm>
                <a:custGeom>
                  <a:avLst/>
                  <a:gdLst>
                    <a:gd name="connsiteX0" fmla="*/ 1087 w 26213"/>
                    <a:gd name="connsiteY0" fmla="*/ 8092 h 26257"/>
                    <a:gd name="connsiteX1" fmla="*/ 18400 w 26213"/>
                    <a:gd name="connsiteY1" fmla="*/ 993 h 26257"/>
                    <a:gd name="connsiteX2" fmla="*/ 25126 w 26213"/>
                    <a:gd name="connsiteY2" fmla="*/ 18182 h 26257"/>
                    <a:gd name="connsiteX3" fmla="*/ 7813 w 26213"/>
                    <a:gd name="connsiteY3" fmla="*/ 25281 h 26257"/>
                    <a:gd name="connsiteX4" fmla="*/ 1087 w 26213"/>
                    <a:gd name="connsiteY4" fmla="*/ 8092 h 26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3" h="26257">
                      <a:moveTo>
                        <a:pt x="1087" y="8092"/>
                      </a:moveTo>
                      <a:cubicBezTo>
                        <a:pt x="3952" y="1367"/>
                        <a:pt x="11675" y="-1747"/>
                        <a:pt x="18400" y="993"/>
                      </a:cubicBezTo>
                      <a:cubicBezTo>
                        <a:pt x="25002" y="3857"/>
                        <a:pt x="27992" y="11580"/>
                        <a:pt x="25126" y="18182"/>
                      </a:cubicBezTo>
                      <a:cubicBezTo>
                        <a:pt x="22262" y="24783"/>
                        <a:pt x="14414" y="28022"/>
                        <a:pt x="7813" y="25281"/>
                      </a:cubicBezTo>
                      <a:cubicBezTo>
                        <a:pt x="1211" y="22541"/>
                        <a:pt x="-1778" y="14819"/>
                        <a:pt x="1087" y="809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8" name="Graphic 2987">
                <a:extLst>
                  <a:ext uri="{FF2B5EF4-FFF2-40B4-BE49-F238E27FC236}">
                    <a16:creationId xmlns:a16="http://schemas.microsoft.com/office/drawing/2014/main" id="{F654A590-E085-04B4-E15C-23C8CEBADE77}"/>
                  </a:ext>
                </a:extLst>
              </p:cNvPr>
              <p:cNvGrpSpPr/>
              <p:nvPr/>
            </p:nvGrpSpPr>
            <p:grpSpPr>
              <a:xfrm>
                <a:off x="11146200" y="6038837"/>
                <a:ext cx="76214" cy="138463"/>
                <a:chOff x="11146200" y="6038837"/>
                <a:chExt cx="76214" cy="138463"/>
              </a:xfrm>
              <a:grpFill/>
            </p:grpSpPr>
            <p:sp>
              <p:nvSpPr>
                <p:cNvPr id="3911" name="Freeform 5714">
                  <a:extLst>
                    <a:ext uri="{FF2B5EF4-FFF2-40B4-BE49-F238E27FC236}">
                      <a16:creationId xmlns:a16="http://schemas.microsoft.com/office/drawing/2014/main" id="{F93A22EE-F486-BE2D-C34B-D128B25446CC}"/>
                    </a:ext>
                  </a:extLst>
                </p:cNvPr>
                <p:cNvSpPr/>
                <p:nvPr/>
              </p:nvSpPr>
              <p:spPr>
                <a:xfrm>
                  <a:off x="11180920" y="6057189"/>
                  <a:ext cx="21797" cy="47456"/>
                </a:xfrm>
                <a:custGeom>
                  <a:avLst/>
                  <a:gdLst>
                    <a:gd name="connsiteX0" fmla="*/ 21798 w 21797"/>
                    <a:gd name="connsiteY0" fmla="*/ 0 h 47456"/>
                    <a:gd name="connsiteX1" fmla="*/ 12456 w 21797"/>
                    <a:gd name="connsiteY1" fmla="*/ 16317 h 47456"/>
                    <a:gd name="connsiteX2" fmla="*/ 8595 w 21797"/>
                    <a:gd name="connsiteY2" fmla="*/ 33381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16192" y="6353"/>
                        <a:pt x="13701" y="12082"/>
                        <a:pt x="12456" y="16317"/>
                      </a:cubicBezTo>
                      <a:cubicBezTo>
                        <a:pt x="10338" y="23043"/>
                        <a:pt x="11085" y="26656"/>
                        <a:pt x="8595" y="33381"/>
                      </a:cubicBezTo>
                      <a:cubicBezTo>
                        <a:pt x="6228" y="39859"/>
                        <a:pt x="2615" y="44592"/>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2" name="Freeform 5715">
                  <a:extLst>
                    <a:ext uri="{FF2B5EF4-FFF2-40B4-BE49-F238E27FC236}">
                      <a16:creationId xmlns:a16="http://schemas.microsoft.com/office/drawing/2014/main" id="{F7E0AD1B-1419-FB78-D10D-2D51A7AAEDE6}"/>
                    </a:ext>
                  </a:extLst>
                </p:cNvPr>
                <p:cNvSpPr/>
                <p:nvPr/>
              </p:nvSpPr>
              <p:spPr>
                <a:xfrm>
                  <a:off x="11190635" y="6055446"/>
                  <a:ext cx="20677" cy="47954"/>
                </a:xfrm>
                <a:custGeom>
                  <a:avLst/>
                  <a:gdLst>
                    <a:gd name="connsiteX0" fmla="*/ 0 w 20677"/>
                    <a:gd name="connsiteY0" fmla="*/ 47954 h 47954"/>
                    <a:gd name="connsiteX1" fmla="*/ 5855 w 20677"/>
                    <a:gd name="connsiteY1" fmla="*/ 30018 h 47954"/>
                    <a:gd name="connsiteX2" fmla="*/ 15944 w 20677"/>
                    <a:gd name="connsiteY2" fmla="*/ 15819 h 47954"/>
                    <a:gd name="connsiteX3" fmla="*/ 20677 w 20677"/>
                    <a:gd name="connsiteY3" fmla="*/ 0 h 47954"/>
                  </a:gdLst>
                  <a:ahLst/>
                  <a:cxnLst>
                    <a:cxn ang="0">
                      <a:pos x="connsiteX0" y="connsiteY0"/>
                    </a:cxn>
                    <a:cxn ang="0">
                      <a:pos x="connsiteX1" y="connsiteY1"/>
                    </a:cxn>
                    <a:cxn ang="0">
                      <a:pos x="connsiteX2" y="connsiteY2"/>
                    </a:cxn>
                    <a:cxn ang="0">
                      <a:pos x="connsiteX3" y="connsiteY3"/>
                    </a:cxn>
                  </a:cxnLst>
                  <a:rect l="l" t="t" r="r" b="b"/>
                  <a:pathLst>
                    <a:path w="20677" h="47954">
                      <a:moveTo>
                        <a:pt x="0" y="47954"/>
                      </a:moveTo>
                      <a:cubicBezTo>
                        <a:pt x="997" y="39609"/>
                        <a:pt x="3612" y="33755"/>
                        <a:pt x="5855" y="30018"/>
                      </a:cubicBezTo>
                      <a:cubicBezTo>
                        <a:pt x="9342" y="24040"/>
                        <a:pt x="12580" y="22171"/>
                        <a:pt x="15944" y="15819"/>
                      </a:cubicBezTo>
                      <a:cubicBezTo>
                        <a:pt x="19182" y="9715"/>
                        <a:pt x="20303" y="3861"/>
                        <a:pt x="20677"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3" name="Freeform 5716">
                  <a:extLst>
                    <a:ext uri="{FF2B5EF4-FFF2-40B4-BE49-F238E27FC236}">
                      <a16:creationId xmlns:a16="http://schemas.microsoft.com/office/drawing/2014/main" id="{A3C708F8-15AA-1EBD-33D0-4A7ECA4ABFFF}"/>
                    </a:ext>
                  </a:extLst>
                </p:cNvPr>
                <p:cNvSpPr/>
                <p:nvPr/>
              </p:nvSpPr>
              <p:spPr>
                <a:xfrm>
                  <a:off x="11195600" y="6038837"/>
                  <a:ext cx="26813" cy="26708"/>
                </a:xfrm>
                <a:custGeom>
                  <a:avLst/>
                  <a:gdLst>
                    <a:gd name="connsiteX0" fmla="*/ 25676 w 26813"/>
                    <a:gd name="connsiteY0" fmla="*/ 18975 h 26708"/>
                    <a:gd name="connsiteX1" fmla="*/ 7988 w 26813"/>
                    <a:gd name="connsiteY1" fmla="*/ 25452 h 26708"/>
                    <a:gd name="connsiteX2" fmla="*/ 1138 w 26813"/>
                    <a:gd name="connsiteY2" fmla="*/ 7889 h 26708"/>
                    <a:gd name="connsiteX3" fmla="*/ 18825 w 26813"/>
                    <a:gd name="connsiteY3" fmla="*/ 1288 h 26708"/>
                    <a:gd name="connsiteX4" fmla="*/ 25676 w 26813"/>
                    <a:gd name="connsiteY4" fmla="*/ 18975 h 2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13" h="26708">
                      <a:moveTo>
                        <a:pt x="25676" y="18975"/>
                      </a:moveTo>
                      <a:cubicBezTo>
                        <a:pt x="22687" y="25701"/>
                        <a:pt x="14715" y="28566"/>
                        <a:pt x="7988" y="25452"/>
                      </a:cubicBezTo>
                      <a:cubicBezTo>
                        <a:pt x="1262" y="22338"/>
                        <a:pt x="-1852" y="14491"/>
                        <a:pt x="1138" y="7889"/>
                      </a:cubicBezTo>
                      <a:cubicBezTo>
                        <a:pt x="4127" y="1163"/>
                        <a:pt x="12099" y="-1951"/>
                        <a:pt x="18825" y="1288"/>
                      </a:cubicBezTo>
                      <a:cubicBezTo>
                        <a:pt x="25551" y="4402"/>
                        <a:pt x="28665" y="12373"/>
                        <a:pt x="25676" y="18975"/>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4" name="Freeform 5717">
                  <a:extLst>
                    <a:ext uri="{FF2B5EF4-FFF2-40B4-BE49-F238E27FC236}">
                      <a16:creationId xmlns:a16="http://schemas.microsoft.com/office/drawing/2014/main" id="{D9AF6D95-5B31-70F8-5DD6-33D39AF74135}"/>
                    </a:ext>
                  </a:extLst>
                </p:cNvPr>
                <p:cNvSpPr/>
                <p:nvPr/>
              </p:nvSpPr>
              <p:spPr>
                <a:xfrm>
                  <a:off x="11165350" y="6111621"/>
                  <a:ext cx="21797" cy="47456"/>
                </a:xfrm>
                <a:custGeom>
                  <a:avLst/>
                  <a:gdLst>
                    <a:gd name="connsiteX0" fmla="*/ 0 w 21797"/>
                    <a:gd name="connsiteY0" fmla="*/ 47456 h 47456"/>
                    <a:gd name="connsiteX1" fmla="*/ 9342 w 21797"/>
                    <a:gd name="connsiteY1" fmla="*/ 31139 h 47456"/>
                    <a:gd name="connsiteX2" fmla="*/ 13203 w 21797"/>
                    <a:gd name="connsiteY2" fmla="*/ 14075 h 47456"/>
                    <a:gd name="connsiteX3" fmla="*/ 21798 w 21797"/>
                    <a:gd name="connsiteY3" fmla="*/ 0 h 47456"/>
                  </a:gdLst>
                  <a:ahLst/>
                  <a:cxnLst>
                    <a:cxn ang="0">
                      <a:pos x="connsiteX0" y="connsiteY0"/>
                    </a:cxn>
                    <a:cxn ang="0">
                      <a:pos x="connsiteX1" y="connsiteY1"/>
                    </a:cxn>
                    <a:cxn ang="0">
                      <a:pos x="connsiteX2" y="connsiteY2"/>
                    </a:cxn>
                    <a:cxn ang="0">
                      <a:pos x="connsiteX3" y="connsiteY3"/>
                    </a:cxn>
                  </a:cxnLst>
                  <a:rect l="l" t="t" r="r" b="b"/>
                  <a:pathLst>
                    <a:path w="21797" h="47456">
                      <a:moveTo>
                        <a:pt x="0" y="47456"/>
                      </a:moveTo>
                      <a:cubicBezTo>
                        <a:pt x="5481" y="41104"/>
                        <a:pt x="8096" y="35374"/>
                        <a:pt x="9342" y="31139"/>
                      </a:cubicBezTo>
                      <a:cubicBezTo>
                        <a:pt x="11459" y="24414"/>
                        <a:pt x="10836" y="20801"/>
                        <a:pt x="13203" y="14075"/>
                      </a:cubicBezTo>
                      <a:cubicBezTo>
                        <a:pt x="15570" y="7598"/>
                        <a:pt x="19182" y="2990"/>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5" name="Freeform 5718">
                  <a:extLst>
                    <a:ext uri="{FF2B5EF4-FFF2-40B4-BE49-F238E27FC236}">
                      <a16:creationId xmlns:a16="http://schemas.microsoft.com/office/drawing/2014/main" id="{EF48D091-5763-9502-6EB9-9D33047F734E}"/>
                    </a:ext>
                  </a:extLst>
                </p:cNvPr>
                <p:cNvSpPr/>
                <p:nvPr/>
              </p:nvSpPr>
              <p:spPr>
                <a:xfrm>
                  <a:off x="11157004" y="6112867"/>
                  <a:ext cx="20552" cy="47954"/>
                </a:xfrm>
                <a:custGeom>
                  <a:avLst/>
                  <a:gdLst>
                    <a:gd name="connsiteX0" fmla="*/ 20552 w 20552"/>
                    <a:gd name="connsiteY0" fmla="*/ 0 h 47954"/>
                    <a:gd name="connsiteX1" fmla="*/ 14698 w 20552"/>
                    <a:gd name="connsiteY1" fmla="*/ 17936 h 47954"/>
                    <a:gd name="connsiteX2" fmla="*/ 4733 w 20552"/>
                    <a:gd name="connsiteY2" fmla="*/ 32136 h 47954"/>
                    <a:gd name="connsiteX3" fmla="*/ 0 w 20552"/>
                    <a:gd name="connsiteY3" fmla="*/ 47955 h 47954"/>
                  </a:gdLst>
                  <a:ahLst/>
                  <a:cxnLst>
                    <a:cxn ang="0">
                      <a:pos x="connsiteX0" y="connsiteY0"/>
                    </a:cxn>
                    <a:cxn ang="0">
                      <a:pos x="connsiteX1" y="connsiteY1"/>
                    </a:cxn>
                    <a:cxn ang="0">
                      <a:pos x="connsiteX2" y="connsiteY2"/>
                    </a:cxn>
                    <a:cxn ang="0">
                      <a:pos x="connsiteX3" y="connsiteY3"/>
                    </a:cxn>
                  </a:cxnLst>
                  <a:rect l="l" t="t" r="r" b="b"/>
                  <a:pathLst>
                    <a:path w="20552" h="47954">
                      <a:moveTo>
                        <a:pt x="20552" y="0"/>
                      </a:moveTo>
                      <a:cubicBezTo>
                        <a:pt x="19556" y="8346"/>
                        <a:pt x="16940" y="14200"/>
                        <a:pt x="14698" y="17936"/>
                      </a:cubicBezTo>
                      <a:cubicBezTo>
                        <a:pt x="11210" y="23915"/>
                        <a:pt x="7972" y="25908"/>
                        <a:pt x="4733" y="32136"/>
                      </a:cubicBezTo>
                      <a:cubicBezTo>
                        <a:pt x="1495" y="38239"/>
                        <a:pt x="374" y="44094"/>
                        <a:pt x="0" y="4795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6" name="Freeform 5719">
                  <a:extLst>
                    <a:ext uri="{FF2B5EF4-FFF2-40B4-BE49-F238E27FC236}">
                      <a16:creationId xmlns:a16="http://schemas.microsoft.com/office/drawing/2014/main" id="{C394D35C-8F2E-D07D-8045-F811A72048F5}"/>
                    </a:ext>
                  </a:extLst>
                </p:cNvPr>
                <p:cNvSpPr/>
                <p:nvPr/>
              </p:nvSpPr>
              <p:spPr>
                <a:xfrm>
                  <a:off x="11146200" y="6150715"/>
                  <a:ext cx="26062" cy="26585"/>
                </a:xfrm>
                <a:custGeom>
                  <a:avLst/>
                  <a:gdLst>
                    <a:gd name="connsiteX0" fmla="*/ 1089 w 26062"/>
                    <a:gd name="connsiteY0" fmla="*/ 7988 h 26585"/>
                    <a:gd name="connsiteX1" fmla="*/ 18403 w 26062"/>
                    <a:gd name="connsiteY1" fmla="*/ 1138 h 26585"/>
                    <a:gd name="connsiteX2" fmla="*/ 24879 w 26062"/>
                    <a:gd name="connsiteY2" fmla="*/ 18700 h 26585"/>
                    <a:gd name="connsiteX3" fmla="*/ 7690 w 26062"/>
                    <a:gd name="connsiteY3" fmla="*/ 25427 h 26585"/>
                    <a:gd name="connsiteX4" fmla="*/ 1089 w 26062"/>
                    <a:gd name="connsiteY4" fmla="*/ 7988 h 26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62" h="26585">
                      <a:moveTo>
                        <a:pt x="1089" y="7988"/>
                      </a:moveTo>
                      <a:cubicBezTo>
                        <a:pt x="4078" y="1262"/>
                        <a:pt x="11801" y="-1852"/>
                        <a:pt x="18403" y="1138"/>
                      </a:cubicBezTo>
                      <a:cubicBezTo>
                        <a:pt x="25004" y="4127"/>
                        <a:pt x="27869" y="11974"/>
                        <a:pt x="24879" y="18700"/>
                      </a:cubicBezTo>
                      <a:cubicBezTo>
                        <a:pt x="21890" y="25427"/>
                        <a:pt x="14168" y="28416"/>
                        <a:pt x="7690" y="25427"/>
                      </a:cubicBezTo>
                      <a:cubicBezTo>
                        <a:pt x="1214" y="22437"/>
                        <a:pt x="-1776" y="14714"/>
                        <a:pt x="1089" y="798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69" name="Graphic 2987">
                <a:extLst>
                  <a:ext uri="{FF2B5EF4-FFF2-40B4-BE49-F238E27FC236}">
                    <a16:creationId xmlns:a16="http://schemas.microsoft.com/office/drawing/2014/main" id="{24BDC47D-6064-0714-3566-A6ED60CE9A65}"/>
                  </a:ext>
                </a:extLst>
              </p:cNvPr>
              <p:cNvGrpSpPr/>
              <p:nvPr/>
            </p:nvGrpSpPr>
            <p:grpSpPr>
              <a:xfrm>
                <a:off x="11172635" y="6051449"/>
                <a:ext cx="77151" cy="137936"/>
                <a:chOff x="11172635" y="6051449"/>
                <a:chExt cx="77151" cy="137936"/>
              </a:xfrm>
              <a:grpFill/>
            </p:grpSpPr>
            <p:sp>
              <p:nvSpPr>
                <p:cNvPr id="3905" name="Freeform 5721">
                  <a:extLst>
                    <a:ext uri="{FF2B5EF4-FFF2-40B4-BE49-F238E27FC236}">
                      <a16:creationId xmlns:a16="http://schemas.microsoft.com/office/drawing/2014/main" id="{208504A3-BB81-3A9F-E0D8-46AA8A5BB344}"/>
                    </a:ext>
                  </a:extLst>
                </p:cNvPr>
                <p:cNvSpPr/>
                <p:nvPr/>
              </p:nvSpPr>
              <p:spPr>
                <a:xfrm>
                  <a:off x="11207824" y="6069645"/>
                  <a:ext cx="22295" cy="47082"/>
                </a:xfrm>
                <a:custGeom>
                  <a:avLst/>
                  <a:gdLst>
                    <a:gd name="connsiteX0" fmla="*/ 22296 w 22295"/>
                    <a:gd name="connsiteY0" fmla="*/ 0 h 47082"/>
                    <a:gd name="connsiteX1" fmla="*/ 12705 w 22295"/>
                    <a:gd name="connsiteY1" fmla="*/ 16193 h 47082"/>
                    <a:gd name="connsiteX2" fmla="*/ 8719 w 22295"/>
                    <a:gd name="connsiteY2" fmla="*/ 33132 h 47082"/>
                    <a:gd name="connsiteX3" fmla="*/ 0 w 22295"/>
                    <a:gd name="connsiteY3" fmla="*/ 47083 h 47082"/>
                  </a:gdLst>
                  <a:ahLst/>
                  <a:cxnLst>
                    <a:cxn ang="0">
                      <a:pos x="connsiteX0" y="connsiteY0"/>
                    </a:cxn>
                    <a:cxn ang="0">
                      <a:pos x="connsiteX1" y="connsiteY1"/>
                    </a:cxn>
                    <a:cxn ang="0">
                      <a:pos x="connsiteX2" y="connsiteY2"/>
                    </a:cxn>
                    <a:cxn ang="0">
                      <a:pos x="connsiteX3" y="connsiteY3"/>
                    </a:cxn>
                  </a:cxnLst>
                  <a:rect l="l" t="t" r="r" b="b"/>
                  <a:pathLst>
                    <a:path w="22295" h="47082">
                      <a:moveTo>
                        <a:pt x="22296" y="0"/>
                      </a:moveTo>
                      <a:cubicBezTo>
                        <a:pt x="16691" y="6228"/>
                        <a:pt x="14075" y="12082"/>
                        <a:pt x="12705" y="16193"/>
                      </a:cubicBezTo>
                      <a:cubicBezTo>
                        <a:pt x="10587" y="22919"/>
                        <a:pt x="11210" y="26531"/>
                        <a:pt x="8719" y="33132"/>
                      </a:cubicBezTo>
                      <a:cubicBezTo>
                        <a:pt x="6353" y="39609"/>
                        <a:pt x="2616" y="44218"/>
                        <a:pt x="0" y="47083"/>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6" name="Freeform 5722">
                  <a:extLst>
                    <a:ext uri="{FF2B5EF4-FFF2-40B4-BE49-F238E27FC236}">
                      <a16:creationId xmlns:a16="http://schemas.microsoft.com/office/drawing/2014/main" id="{94182B90-45E3-F331-0CD8-4F85B7B10722}"/>
                    </a:ext>
                  </a:extLst>
                </p:cNvPr>
                <p:cNvSpPr/>
                <p:nvPr/>
              </p:nvSpPr>
              <p:spPr>
                <a:xfrm>
                  <a:off x="11217664" y="6068150"/>
                  <a:ext cx="21050" cy="47705"/>
                </a:xfrm>
                <a:custGeom>
                  <a:avLst/>
                  <a:gdLst>
                    <a:gd name="connsiteX0" fmla="*/ 0 w 21050"/>
                    <a:gd name="connsiteY0" fmla="*/ 47705 h 47705"/>
                    <a:gd name="connsiteX1" fmla="*/ 5979 w 21050"/>
                    <a:gd name="connsiteY1" fmla="*/ 29894 h 47705"/>
                    <a:gd name="connsiteX2" fmla="*/ 16193 w 21050"/>
                    <a:gd name="connsiteY2" fmla="*/ 15819 h 47705"/>
                    <a:gd name="connsiteX3" fmla="*/ 21050 w 21050"/>
                    <a:gd name="connsiteY3" fmla="*/ 0 h 47705"/>
                  </a:gdLst>
                  <a:ahLst/>
                  <a:cxnLst>
                    <a:cxn ang="0">
                      <a:pos x="connsiteX0" y="connsiteY0"/>
                    </a:cxn>
                    <a:cxn ang="0">
                      <a:pos x="connsiteX1" y="connsiteY1"/>
                    </a:cxn>
                    <a:cxn ang="0">
                      <a:pos x="connsiteX2" y="connsiteY2"/>
                    </a:cxn>
                    <a:cxn ang="0">
                      <a:pos x="connsiteX3" y="connsiteY3"/>
                    </a:cxn>
                  </a:cxnLst>
                  <a:rect l="l" t="t" r="r" b="b"/>
                  <a:pathLst>
                    <a:path w="21050" h="47705">
                      <a:moveTo>
                        <a:pt x="0" y="47705"/>
                      </a:moveTo>
                      <a:cubicBezTo>
                        <a:pt x="1121" y="39360"/>
                        <a:pt x="3737" y="33631"/>
                        <a:pt x="5979" y="29894"/>
                      </a:cubicBezTo>
                      <a:cubicBezTo>
                        <a:pt x="9591" y="23915"/>
                        <a:pt x="12830" y="22047"/>
                        <a:pt x="16193" y="15819"/>
                      </a:cubicBezTo>
                      <a:cubicBezTo>
                        <a:pt x="19556" y="9715"/>
                        <a:pt x="20552" y="3986"/>
                        <a:pt x="2105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7" name="Freeform 5723">
                  <a:extLst>
                    <a:ext uri="{FF2B5EF4-FFF2-40B4-BE49-F238E27FC236}">
                      <a16:creationId xmlns:a16="http://schemas.microsoft.com/office/drawing/2014/main" id="{77E9797B-0C21-BBF6-4A31-914F395E6865}"/>
                    </a:ext>
                  </a:extLst>
                </p:cNvPr>
                <p:cNvSpPr/>
                <p:nvPr/>
              </p:nvSpPr>
              <p:spPr>
                <a:xfrm>
                  <a:off x="11222982" y="6051449"/>
                  <a:ext cx="26803" cy="26603"/>
                </a:xfrm>
                <a:custGeom>
                  <a:avLst/>
                  <a:gdLst>
                    <a:gd name="connsiteX0" fmla="*/ 25572 w 26803"/>
                    <a:gd name="connsiteY0" fmla="*/ 18944 h 26603"/>
                    <a:gd name="connsiteX1" fmla="*/ 7885 w 26803"/>
                    <a:gd name="connsiteY1" fmla="*/ 25421 h 26603"/>
                    <a:gd name="connsiteX2" fmla="*/ 1159 w 26803"/>
                    <a:gd name="connsiteY2" fmla="*/ 7734 h 26603"/>
                    <a:gd name="connsiteX3" fmla="*/ 18846 w 26803"/>
                    <a:gd name="connsiteY3" fmla="*/ 1257 h 26603"/>
                    <a:gd name="connsiteX4" fmla="*/ 25572 w 26803"/>
                    <a:gd name="connsiteY4" fmla="*/ 18944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03" h="26603">
                      <a:moveTo>
                        <a:pt x="25572" y="18944"/>
                      </a:moveTo>
                      <a:cubicBezTo>
                        <a:pt x="22458" y="25545"/>
                        <a:pt x="14611" y="28410"/>
                        <a:pt x="7885" y="25421"/>
                      </a:cubicBezTo>
                      <a:cubicBezTo>
                        <a:pt x="1159" y="22307"/>
                        <a:pt x="-1831" y="14460"/>
                        <a:pt x="1159" y="7734"/>
                      </a:cubicBezTo>
                      <a:cubicBezTo>
                        <a:pt x="4148" y="1007"/>
                        <a:pt x="12120" y="-1857"/>
                        <a:pt x="18846" y="1257"/>
                      </a:cubicBezTo>
                      <a:cubicBezTo>
                        <a:pt x="25697" y="4371"/>
                        <a:pt x="28686" y="12342"/>
                        <a:pt x="25572" y="1894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8" name="Freeform 5724">
                  <a:extLst>
                    <a:ext uri="{FF2B5EF4-FFF2-40B4-BE49-F238E27FC236}">
                      <a16:creationId xmlns:a16="http://schemas.microsoft.com/office/drawing/2014/main" id="{88558395-CA40-79F1-24C4-7F32E986EE28}"/>
                    </a:ext>
                  </a:extLst>
                </p:cNvPr>
                <p:cNvSpPr/>
                <p:nvPr/>
              </p:nvSpPr>
              <p:spPr>
                <a:xfrm>
                  <a:off x="11191756" y="6124201"/>
                  <a:ext cx="22295" cy="47082"/>
                </a:xfrm>
                <a:custGeom>
                  <a:avLst/>
                  <a:gdLst>
                    <a:gd name="connsiteX0" fmla="*/ 0 w 22295"/>
                    <a:gd name="connsiteY0" fmla="*/ 47083 h 47082"/>
                    <a:gd name="connsiteX1" fmla="*/ 9590 w 22295"/>
                    <a:gd name="connsiteY1" fmla="*/ 30890 h 47082"/>
                    <a:gd name="connsiteX2" fmla="*/ 13576 w 22295"/>
                    <a:gd name="connsiteY2" fmla="*/ 13950 h 47082"/>
                    <a:gd name="connsiteX3" fmla="*/ 22296 w 22295"/>
                    <a:gd name="connsiteY3" fmla="*/ 0 h 47082"/>
                  </a:gdLst>
                  <a:ahLst/>
                  <a:cxnLst>
                    <a:cxn ang="0">
                      <a:pos x="connsiteX0" y="connsiteY0"/>
                    </a:cxn>
                    <a:cxn ang="0">
                      <a:pos x="connsiteX1" y="connsiteY1"/>
                    </a:cxn>
                    <a:cxn ang="0">
                      <a:pos x="connsiteX2" y="connsiteY2"/>
                    </a:cxn>
                    <a:cxn ang="0">
                      <a:pos x="connsiteX3" y="connsiteY3"/>
                    </a:cxn>
                  </a:cxnLst>
                  <a:rect l="l" t="t" r="r" b="b"/>
                  <a:pathLst>
                    <a:path w="22295" h="47082">
                      <a:moveTo>
                        <a:pt x="0" y="47083"/>
                      </a:moveTo>
                      <a:cubicBezTo>
                        <a:pt x="5604" y="40730"/>
                        <a:pt x="8220" y="35001"/>
                        <a:pt x="9590" y="30890"/>
                      </a:cubicBezTo>
                      <a:cubicBezTo>
                        <a:pt x="11832" y="24289"/>
                        <a:pt x="11085" y="20552"/>
                        <a:pt x="13576" y="13950"/>
                      </a:cubicBezTo>
                      <a:cubicBezTo>
                        <a:pt x="15943" y="7474"/>
                        <a:pt x="19680" y="2865"/>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9" name="Freeform 5725">
                  <a:extLst>
                    <a:ext uri="{FF2B5EF4-FFF2-40B4-BE49-F238E27FC236}">
                      <a16:creationId xmlns:a16="http://schemas.microsoft.com/office/drawing/2014/main" id="{88336718-0FF8-CA9A-3419-F7DF7BC63994}"/>
                    </a:ext>
                  </a:extLst>
                </p:cNvPr>
                <p:cNvSpPr/>
                <p:nvPr/>
              </p:nvSpPr>
              <p:spPr>
                <a:xfrm>
                  <a:off x="11183410" y="6125198"/>
                  <a:ext cx="20926" cy="47830"/>
                </a:xfrm>
                <a:custGeom>
                  <a:avLst/>
                  <a:gdLst>
                    <a:gd name="connsiteX0" fmla="*/ 20926 w 20926"/>
                    <a:gd name="connsiteY0" fmla="*/ 0 h 47830"/>
                    <a:gd name="connsiteX1" fmla="*/ 14947 w 20926"/>
                    <a:gd name="connsiteY1" fmla="*/ 17812 h 47830"/>
                    <a:gd name="connsiteX2" fmla="*/ 4858 w 20926"/>
                    <a:gd name="connsiteY2" fmla="*/ 32011 h 47830"/>
                    <a:gd name="connsiteX3" fmla="*/ 0 w 20926"/>
                    <a:gd name="connsiteY3" fmla="*/ 47830 h 47830"/>
                  </a:gdLst>
                  <a:ahLst/>
                  <a:cxnLst>
                    <a:cxn ang="0">
                      <a:pos x="connsiteX0" y="connsiteY0"/>
                    </a:cxn>
                    <a:cxn ang="0">
                      <a:pos x="connsiteX1" y="connsiteY1"/>
                    </a:cxn>
                    <a:cxn ang="0">
                      <a:pos x="connsiteX2" y="connsiteY2"/>
                    </a:cxn>
                    <a:cxn ang="0">
                      <a:pos x="connsiteX3" y="connsiteY3"/>
                    </a:cxn>
                  </a:cxnLst>
                  <a:rect l="l" t="t" r="r" b="b"/>
                  <a:pathLst>
                    <a:path w="20926" h="47830">
                      <a:moveTo>
                        <a:pt x="20926" y="0"/>
                      </a:moveTo>
                      <a:cubicBezTo>
                        <a:pt x="19805" y="8346"/>
                        <a:pt x="17189" y="14075"/>
                        <a:pt x="14947" y="17812"/>
                      </a:cubicBezTo>
                      <a:cubicBezTo>
                        <a:pt x="11335" y="23791"/>
                        <a:pt x="8221" y="25659"/>
                        <a:pt x="4858" y="32011"/>
                      </a:cubicBezTo>
                      <a:cubicBezTo>
                        <a:pt x="1619" y="38115"/>
                        <a:pt x="499" y="43845"/>
                        <a:pt x="0" y="4783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10" name="Freeform 5726">
                  <a:extLst>
                    <a:ext uri="{FF2B5EF4-FFF2-40B4-BE49-F238E27FC236}">
                      <a16:creationId xmlns:a16="http://schemas.microsoft.com/office/drawing/2014/main" id="{717F9CF0-3251-A811-9FD3-584164CFE67A}"/>
                    </a:ext>
                  </a:extLst>
                </p:cNvPr>
                <p:cNvSpPr/>
                <p:nvPr/>
              </p:nvSpPr>
              <p:spPr>
                <a:xfrm>
                  <a:off x="11172635" y="6163004"/>
                  <a:ext cx="26055" cy="26381"/>
                </a:xfrm>
                <a:custGeom>
                  <a:avLst/>
                  <a:gdLst>
                    <a:gd name="connsiteX0" fmla="*/ 1185 w 26055"/>
                    <a:gd name="connsiteY0" fmla="*/ 7782 h 26381"/>
                    <a:gd name="connsiteX1" fmla="*/ 18498 w 26055"/>
                    <a:gd name="connsiteY1" fmla="*/ 1180 h 26381"/>
                    <a:gd name="connsiteX2" fmla="*/ 24851 w 26055"/>
                    <a:gd name="connsiteY2" fmla="*/ 18618 h 26381"/>
                    <a:gd name="connsiteX3" fmla="*/ 7538 w 26055"/>
                    <a:gd name="connsiteY3" fmla="*/ 25220 h 26381"/>
                    <a:gd name="connsiteX4" fmla="*/ 1185 w 26055"/>
                    <a:gd name="connsiteY4" fmla="*/ 7782 h 2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55" h="26381">
                      <a:moveTo>
                        <a:pt x="1185" y="7782"/>
                      </a:moveTo>
                      <a:cubicBezTo>
                        <a:pt x="4174" y="1056"/>
                        <a:pt x="11897" y="-1809"/>
                        <a:pt x="18498" y="1180"/>
                      </a:cubicBezTo>
                      <a:cubicBezTo>
                        <a:pt x="25100" y="4170"/>
                        <a:pt x="27840" y="12017"/>
                        <a:pt x="24851" y="18618"/>
                      </a:cubicBezTo>
                      <a:cubicBezTo>
                        <a:pt x="21861" y="25220"/>
                        <a:pt x="14014" y="28210"/>
                        <a:pt x="7538" y="25220"/>
                      </a:cubicBezTo>
                      <a:cubicBezTo>
                        <a:pt x="1061" y="22231"/>
                        <a:pt x="-1804" y="14383"/>
                        <a:pt x="1185" y="7782"/>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0" name="Graphic 2987">
                <a:extLst>
                  <a:ext uri="{FF2B5EF4-FFF2-40B4-BE49-F238E27FC236}">
                    <a16:creationId xmlns:a16="http://schemas.microsoft.com/office/drawing/2014/main" id="{5090B328-F187-7B64-2C78-86C1109C8EB4}"/>
                  </a:ext>
                </a:extLst>
              </p:cNvPr>
              <p:cNvGrpSpPr/>
              <p:nvPr/>
            </p:nvGrpSpPr>
            <p:grpSpPr>
              <a:xfrm>
                <a:off x="11198964" y="6064026"/>
                <a:ext cx="78227" cy="137440"/>
                <a:chOff x="11198964" y="6064026"/>
                <a:chExt cx="78227" cy="137440"/>
              </a:xfrm>
              <a:grpFill/>
            </p:grpSpPr>
            <p:sp>
              <p:nvSpPr>
                <p:cNvPr id="3899" name="Freeform 5728">
                  <a:extLst>
                    <a:ext uri="{FF2B5EF4-FFF2-40B4-BE49-F238E27FC236}">
                      <a16:creationId xmlns:a16="http://schemas.microsoft.com/office/drawing/2014/main" id="{D9AEC4C8-44C2-2B08-4D25-90BBCD55226D}"/>
                    </a:ext>
                  </a:extLst>
                </p:cNvPr>
                <p:cNvSpPr/>
                <p:nvPr/>
              </p:nvSpPr>
              <p:spPr>
                <a:xfrm>
                  <a:off x="11234728" y="6082225"/>
                  <a:ext cx="22669" cy="46958"/>
                </a:xfrm>
                <a:custGeom>
                  <a:avLst/>
                  <a:gdLst>
                    <a:gd name="connsiteX0" fmla="*/ 22670 w 22669"/>
                    <a:gd name="connsiteY0" fmla="*/ 0 h 46958"/>
                    <a:gd name="connsiteX1" fmla="*/ 12954 w 22669"/>
                    <a:gd name="connsiteY1" fmla="*/ 16068 h 46958"/>
                    <a:gd name="connsiteX2" fmla="*/ 8844 w 22669"/>
                    <a:gd name="connsiteY2" fmla="*/ 33008 h 46958"/>
                    <a:gd name="connsiteX3" fmla="*/ 0 w 22669"/>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669" h="46958">
                      <a:moveTo>
                        <a:pt x="22670" y="0"/>
                      </a:moveTo>
                      <a:cubicBezTo>
                        <a:pt x="16940" y="6228"/>
                        <a:pt x="14324" y="11957"/>
                        <a:pt x="12954" y="16068"/>
                      </a:cubicBezTo>
                      <a:cubicBezTo>
                        <a:pt x="10713" y="22670"/>
                        <a:pt x="11460" y="26406"/>
                        <a:pt x="8844" y="33008"/>
                      </a:cubicBezTo>
                      <a:cubicBezTo>
                        <a:pt x="6353" y="39485"/>
                        <a:pt x="2741" y="44094"/>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0" name="Freeform 5729">
                  <a:extLst>
                    <a:ext uri="{FF2B5EF4-FFF2-40B4-BE49-F238E27FC236}">
                      <a16:creationId xmlns:a16="http://schemas.microsoft.com/office/drawing/2014/main" id="{BC0E1FCF-BE2C-FBB7-2CB0-6011739D5E4C}"/>
                    </a:ext>
                  </a:extLst>
                </p:cNvPr>
                <p:cNvSpPr/>
                <p:nvPr/>
              </p:nvSpPr>
              <p:spPr>
                <a:xfrm>
                  <a:off x="11244568" y="6080606"/>
                  <a:ext cx="21423" cy="47581"/>
                </a:xfrm>
                <a:custGeom>
                  <a:avLst/>
                  <a:gdLst>
                    <a:gd name="connsiteX0" fmla="*/ 0 w 21423"/>
                    <a:gd name="connsiteY0" fmla="*/ 47581 h 47581"/>
                    <a:gd name="connsiteX1" fmla="*/ 6103 w 21423"/>
                    <a:gd name="connsiteY1" fmla="*/ 29769 h 47581"/>
                    <a:gd name="connsiteX2" fmla="*/ 16442 w 21423"/>
                    <a:gd name="connsiteY2" fmla="*/ 15694 h 47581"/>
                    <a:gd name="connsiteX3" fmla="*/ 21424 w 21423"/>
                    <a:gd name="connsiteY3" fmla="*/ 0 h 47581"/>
                  </a:gdLst>
                  <a:ahLst/>
                  <a:cxnLst>
                    <a:cxn ang="0">
                      <a:pos x="connsiteX0" y="connsiteY0"/>
                    </a:cxn>
                    <a:cxn ang="0">
                      <a:pos x="connsiteX1" y="connsiteY1"/>
                    </a:cxn>
                    <a:cxn ang="0">
                      <a:pos x="connsiteX2" y="connsiteY2"/>
                    </a:cxn>
                    <a:cxn ang="0">
                      <a:pos x="connsiteX3" y="connsiteY3"/>
                    </a:cxn>
                  </a:cxnLst>
                  <a:rect l="l" t="t" r="r" b="b"/>
                  <a:pathLst>
                    <a:path w="21423" h="47581">
                      <a:moveTo>
                        <a:pt x="0" y="47581"/>
                      </a:moveTo>
                      <a:cubicBezTo>
                        <a:pt x="1121" y="39236"/>
                        <a:pt x="3861" y="33506"/>
                        <a:pt x="6103" y="29769"/>
                      </a:cubicBezTo>
                      <a:cubicBezTo>
                        <a:pt x="9715" y="23791"/>
                        <a:pt x="12954" y="21922"/>
                        <a:pt x="16442" y="15694"/>
                      </a:cubicBezTo>
                      <a:cubicBezTo>
                        <a:pt x="19804" y="9715"/>
                        <a:pt x="20926" y="3861"/>
                        <a:pt x="2142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1" name="Freeform 5730">
                  <a:extLst>
                    <a:ext uri="{FF2B5EF4-FFF2-40B4-BE49-F238E27FC236}">
                      <a16:creationId xmlns:a16="http://schemas.microsoft.com/office/drawing/2014/main" id="{46715A4D-C82C-5302-6CBB-004157D164C2}"/>
                    </a:ext>
                  </a:extLst>
                </p:cNvPr>
                <p:cNvSpPr/>
                <p:nvPr/>
              </p:nvSpPr>
              <p:spPr>
                <a:xfrm>
                  <a:off x="11250310" y="6064026"/>
                  <a:ext cx="26881" cy="26558"/>
                </a:xfrm>
                <a:custGeom>
                  <a:avLst/>
                  <a:gdLst>
                    <a:gd name="connsiteX0" fmla="*/ 25648 w 26881"/>
                    <a:gd name="connsiteY0" fmla="*/ 18947 h 26558"/>
                    <a:gd name="connsiteX1" fmla="*/ 7835 w 26881"/>
                    <a:gd name="connsiteY1" fmla="*/ 25299 h 26558"/>
                    <a:gd name="connsiteX2" fmla="*/ 1234 w 26881"/>
                    <a:gd name="connsiteY2" fmla="*/ 7612 h 26558"/>
                    <a:gd name="connsiteX3" fmla="*/ 19046 w 26881"/>
                    <a:gd name="connsiteY3" fmla="*/ 1259 h 26558"/>
                    <a:gd name="connsiteX4" fmla="*/ 25648 w 26881"/>
                    <a:gd name="connsiteY4" fmla="*/ 18947 h 26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1" h="26558">
                      <a:moveTo>
                        <a:pt x="25648" y="18947"/>
                      </a:moveTo>
                      <a:cubicBezTo>
                        <a:pt x="22534" y="25548"/>
                        <a:pt x="14562" y="28413"/>
                        <a:pt x="7835" y="25299"/>
                      </a:cubicBezTo>
                      <a:cubicBezTo>
                        <a:pt x="1109" y="22185"/>
                        <a:pt x="-1880" y="14338"/>
                        <a:pt x="1234" y="7612"/>
                      </a:cubicBezTo>
                      <a:cubicBezTo>
                        <a:pt x="4348" y="1010"/>
                        <a:pt x="12320" y="-1855"/>
                        <a:pt x="19046" y="1259"/>
                      </a:cubicBezTo>
                      <a:cubicBezTo>
                        <a:pt x="25772" y="4498"/>
                        <a:pt x="28762" y="12345"/>
                        <a:pt x="25648" y="18947"/>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2" name="Freeform 5731">
                  <a:extLst>
                    <a:ext uri="{FF2B5EF4-FFF2-40B4-BE49-F238E27FC236}">
                      <a16:creationId xmlns:a16="http://schemas.microsoft.com/office/drawing/2014/main" id="{F676214E-6DBA-8E8C-0D2C-DBDD996A8440}"/>
                    </a:ext>
                  </a:extLst>
                </p:cNvPr>
                <p:cNvSpPr/>
                <p:nvPr/>
              </p:nvSpPr>
              <p:spPr>
                <a:xfrm>
                  <a:off x="11218287" y="6136408"/>
                  <a:ext cx="22668" cy="46958"/>
                </a:xfrm>
                <a:custGeom>
                  <a:avLst/>
                  <a:gdLst>
                    <a:gd name="connsiteX0" fmla="*/ 0 w 22668"/>
                    <a:gd name="connsiteY0" fmla="*/ 46958 h 46958"/>
                    <a:gd name="connsiteX1" fmla="*/ 9715 w 22668"/>
                    <a:gd name="connsiteY1" fmla="*/ 30890 h 46958"/>
                    <a:gd name="connsiteX2" fmla="*/ 13826 w 22668"/>
                    <a:gd name="connsiteY2" fmla="*/ 13950 h 46958"/>
                    <a:gd name="connsiteX3" fmla="*/ 22669 w 22668"/>
                    <a:gd name="connsiteY3" fmla="*/ 0 h 46958"/>
                  </a:gdLst>
                  <a:ahLst/>
                  <a:cxnLst>
                    <a:cxn ang="0">
                      <a:pos x="connsiteX0" y="connsiteY0"/>
                    </a:cxn>
                    <a:cxn ang="0">
                      <a:pos x="connsiteX1" y="connsiteY1"/>
                    </a:cxn>
                    <a:cxn ang="0">
                      <a:pos x="connsiteX2" y="connsiteY2"/>
                    </a:cxn>
                    <a:cxn ang="0">
                      <a:pos x="connsiteX3" y="connsiteY3"/>
                    </a:cxn>
                  </a:cxnLst>
                  <a:rect l="l" t="t" r="r" b="b"/>
                  <a:pathLst>
                    <a:path w="22668" h="46958">
                      <a:moveTo>
                        <a:pt x="0" y="46958"/>
                      </a:moveTo>
                      <a:cubicBezTo>
                        <a:pt x="5604" y="40730"/>
                        <a:pt x="8345" y="35001"/>
                        <a:pt x="9715" y="30890"/>
                      </a:cubicBezTo>
                      <a:cubicBezTo>
                        <a:pt x="11957" y="24289"/>
                        <a:pt x="11334" y="20676"/>
                        <a:pt x="13826" y="13950"/>
                      </a:cubicBezTo>
                      <a:cubicBezTo>
                        <a:pt x="16317" y="7473"/>
                        <a:pt x="19929" y="2865"/>
                        <a:pt x="22669"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3" name="Freeform 5732">
                  <a:extLst>
                    <a:ext uri="{FF2B5EF4-FFF2-40B4-BE49-F238E27FC236}">
                      <a16:creationId xmlns:a16="http://schemas.microsoft.com/office/drawing/2014/main" id="{F7823FA2-2360-ED48-44BD-E51DD73D39F4}"/>
                    </a:ext>
                  </a:extLst>
                </p:cNvPr>
                <p:cNvSpPr/>
                <p:nvPr/>
              </p:nvSpPr>
              <p:spPr>
                <a:xfrm>
                  <a:off x="11209941" y="6137529"/>
                  <a:ext cx="21299" cy="47580"/>
                </a:xfrm>
                <a:custGeom>
                  <a:avLst/>
                  <a:gdLst>
                    <a:gd name="connsiteX0" fmla="*/ 21300 w 21299"/>
                    <a:gd name="connsiteY0" fmla="*/ 0 h 47580"/>
                    <a:gd name="connsiteX1" fmla="*/ 15196 w 21299"/>
                    <a:gd name="connsiteY1" fmla="*/ 17812 h 47580"/>
                    <a:gd name="connsiteX2" fmla="*/ 4983 w 21299"/>
                    <a:gd name="connsiteY2" fmla="*/ 31887 h 47580"/>
                    <a:gd name="connsiteX3" fmla="*/ 0 w 21299"/>
                    <a:gd name="connsiteY3" fmla="*/ 47581 h 47580"/>
                  </a:gdLst>
                  <a:ahLst/>
                  <a:cxnLst>
                    <a:cxn ang="0">
                      <a:pos x="connsiteX0" y="connsiteY0"/>
                    </a:cxn>
                    <a:cxn ang="0">
                      <a:pos x="connsiteX1" y="connsiteY1"/>
                    </a:cxn>
                    <a:cxn ang="0">
                      <a:pos x="connsiteX2" y="connsiteY2"/>
                    </a:cxn>
                    <a:cxn ang="0">
                      <a:pos x="connsiteX3" y="connsiteY3"/>
                    </a:cxn>
                  </a:cxnLst>
                  <a:rect l="l" t="t" r="r" b="b"/>
                  <a:pathLst>
                    <a:path w="21299" h="47580">
                      <a:moveTo>
                        <a:pt x="21300" y="0"/>
                      </a:moveTo>
                      <a:cubicBezTo>
                        <a:pt x="20178" y="8345"/>
                        <a:pt x="17438" y="14075"/>
                        <a:pt x="15196" y="17812"/>
                      </a:cubicBezTo>
                      <a:cubicBezTo>
                        <a:pt x="11584" y="23791"/>
                        <a:pt x="8346" y="25659"/>
                        <a:pt x="4983" y="31887"/>
                      </a:cubicBezTo>
                      <a:cubicBezTo>
                        <a:pt x="1619" y="37990"/>
                        <a:pt x="499" y="43719"/>
                        <a:pt x="0" y="47581"/>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904" name="Freeform 5733">
                  <a:extLst>
                    <a:ext uri="{FF2B5EF4-FFF2-40B4-BE49-F238E27FC236}">
                      <a16:creationId xmlns:a16="http://schemas.microsoft.com/office/drawing/2014/main" id="{0EBD9474-800C-995E-9FBA-4DF7F12E65E7}"/>
                    </a:ext>
                  </a:extLst>
                </p:cNvPr>
                <p:cNvSpPr/>
                <p:nvPr/>
              </p:nvSpPr>
              <p:spPr>
                <a:xfrm>
                  <a:off x="11198964" y="6175105"/>
                  <a:ext cx="26209" cy="26361"/>
                </a:xfrm>
                <a:custGeom>
                  <a:avLst/>
                  <a:gdLst>
                    <a:gd name="connsiteX0" fmla="*/ 1262 w 26209"/>
                    <a:gd name="connsiteY0" fmla="*/ 7763 h 26361"/>
                    <a:gd name="connsiteX1" fmla="*/ 18699 w 26209"/>
                    <a:gd name="connsiteY1" fmla="*/ 1161 h 26361"/>
                    <a:gd name="connsiteX2" fmla="*/ 24927 w 26209"/>
                    <a:gd name="connsiteY2" fmla="*/ 18599 h 26361"/>
                    <a:gd name="connsiteX3" fmla="*/ 7490 w 26209"/>
                    <a:gd name="connsiteY3" fmla="*/ 25201 h 26361"/>
                    <a:gd name="connsiteX4" fmla="*/ 1262 w 26209"/>
                    <a:gd name="connsiteY4" fmla="*/ 7763 h 2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9" h="26361">
                      <a:moveTo>
                        <a:pt x="1262" y="7763"/>
                      </a:moveTo>
                      <a:cubicBezTo>
                        <a:pt x="4376" y="1161"/>
                        <a:pt x="12098" y="-1828"/>
                        <a:pt x="18699" y="1161"/>
                      </a:cubicBezTo>
                      <a:cubicBezTo>
                        <a:pt x="25301" y="4151"/>
                        <a:pt x="28041" y="11997"/>
                        <a:pt x="24927" y="18599"/>
                      </a:cubicBezTo>
                      <a:cubicBezTo>
                        <a:pt x="21813" y="25201"/>
                        <a:pt x="13966" y="28190"/>
                        <a:pt x="7490" y="25201"/>
                      </a:cubicBezTo>
                      <a:cubicBezTo>
                        <a:pt x="1012" y="22211"/>
                        <a:pt x="-1852" y="14489"/>
                        <a:pt x="1262" y="776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1" name="Graphic 2987">
                <a:extLst>
                  <a:ext uri="{FF2B5EF4-FFF2-40B4-BE49-F238E27FC236}">
                    <a16:creationId xmlns:a16="http://schemas.microsoft.com/office/drawing/2014/main" id="{2D68238C-DA7C-FAAD-EC74-BB4A4818B58D}"/>
                  </a:ext>
                </a:extLst>
              </p:cNvPr>
              <p:cNvGrpSpPr/>
              <p:nvPr/>
            </p:nvGrpSpPr>
            <p:grpSpPr>
              <a:xfrm>
                <a:off x="11225347" y="6076731"/>
                <a:ext cx="79165" cy="137057"/>
                <a:chOff x="11225347" y="6076731"/>
                <a:chExt cx="79165" cy="137057"/>
              </a:xfrm>
              <a:grpFill/>
            </p:grpSpPr>
            <p:sp>
              <p:nvSpPr>
                <p:cNvPr id="3893" name="Freeform 5735">
                  <a:extLst>
                    <a:ext uri="{FF2B5EF4-FFF2-40B4-BE49-F238E27FC236}">
                      <a16:creationId xmlns:a16="http://schemas.microsoft.com/office/drawing/2014/main" id="{F536F6BF-F84F-14C1-A28E-87AE761870A7}"/>
                    </a:ext>
                  </a:extLst>
                </p:cNvPr>
                <p:cNvSpPr/>
                <p:nvPr/>
              </p:nvSpPr>
              <p:spPr>
                <a:xfrm>
                  <a:off x="11261633" y="6094805"/>
                  <a:ext cx="23042" cy="46709"/>
                </a:xfrm>
                <a:custGeom>
                  <a:avLst/>
                  <a:gdLst>
                    <a:gd name="connsiteX0" fmla="*/ 23043 w 23042"/>
                    <a:gd name="connsiteY0" fmla="*/ 0 h 46709"/>
                    <a:gd name="connsiteX1" fmla="*/ 13203 w 23042"/>
                    <a:gd name="connsiteY1" fmla="*/ 16068 h 46709"/>
                    <a:gd name="connsiteX2" fmla="*/ 8968 w 23042"/>
                    <a:gd name="connsiteY2" fmla="*/ 32883 h 46709"/>
                    <a:gd name="connsiteX3" fmla="*/ 0 w 23042"/>
                    <a:gd name="connsiteY3" fmla="*/ 46709 h 46709"/>
                  </a:gdLst>
                  <a:ahLst/>
                  <a:cxnLst>
                    <a:cxn ang="0">
                      <a:pos x="connsiteX0" y="connsiteY0"/>
                    </a:cxn>
                    <a:cxn ang="0">
                      <a:pos x="connsiteX1" y="connsiteY1"/>
                    </a:cxn>
                    <a:cxn ang="0">
                      <a:pos x="connsiteX2" y="connsiteY2"/>
                    </a:cxn>
                    <a:cxn ang="0">
                      <a:pos x="connsiteX3" y="connsiteY3"/>
                    </a:cxn>
                  </a:cxnLst>
                  <a:rect l="l" t="t" r="r" b="b"/>
                  <a:pathLst>
                    <a:path w="23042" h="46709">
                      <a:moveTo>
                        <a:pt x="23043" y="0"/>
                      </a:moveTo>
                      <a:cubicBezTo>
                        <a:pt x="17314" y="6228"/>
                        <a:pt x="14573" y="11958"/>
                        <a:pt x="13203" y="16068"/>
                      </a:cubicBezTo>
                      <a:cubicBezTo>
                        <a:pt x="10961" y="22670"/>
                        <a:pt x="11584" y="26282"/>
                        <a:pt x="8968" y="32883"/>
                      </a:cubicBezTo>
                      <a:cubicBezTo>
                        <a:pt x="6477" y="39360"/>
                        <a:pt x="2740" y="43845"/>
                        <a:pt x="0" y="46709"/>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4" name="Freeform 5736">
                  <a:extLst>
                    <a:ext uri="{FF2B5EF4-FFF2-40B4-BE49-F238E27FC236}">
                      <a16:creationId xmlns:a16="http://schemas.microsoft.com/office/drawing/2014/main" id="{802B2B12-E746-BECB-0BA9-32C171537D36}"/>
                    </a:ext>
                  </a:extLst>
                </p:cNvPr>
                <p:cNvSpPr/>
                <p:nvPr/>
              </p:nvSpPr>
              <p:spPr>
                <a:xfrm>
                  <a:off x="11271473" y="6093311"/>
                  <a:ext cx="21797" cy="47332"/>
                </a:xfrm>
                <a:custGeom>
                  <a:avLst/>
                  <a:gdLst>
                    <a:gd name="connsiteX0" fmla="*/ 0 w 21797"/>
                    <a:gd name="connsiteY0" fmla="*/ 47332 h 47332"/>
                    <a:gd name="connsiteX1" fmla="*/ 6228 w 21797"/>
                    <a:gd name="connsiteY1" fmla="*/ 29645 h 47332"/>
                    <a:gd name="connsiteX2" fmla="*/ 16691 w 21797"/>
                    <a:gd name="connsiteY2" fmla="*/ 15694 h 47332"/>
                    <a:gd name="connsiteX3" fmla="*/ 21798 w 21797"/>
                    <a:gd name="connsiteY3" fmla="*/ 0 h 47332"/>
                  </a:gdLst>
                  <a:ahLst/>
                  <a:cxnLst>
                    <a:cxn ang="0">
                      <a:pos x="connsiteX0" y="connsiteY0"/>
                    </a:cxn>
                    <a:cxn ang="0">
                      <a:pos x="connsiteX1" y="connsiteY1"/>
                    </a:cxn>
                    <a:cxn ang="0">
                      <a:pos x="connsiteX2" y="connsiteY2"/>
                    </a:cxn>
                    <a:cxn ang="0">
                      <a:pos x="connsiteX3" y="connsiteY3"/>
                    </a:cxn>
                  </a:cxnLst>
                  <a:rect l="l" t="t" r="r" b="b"/>
                  <a:pathLst>
                    <a:path w="21797" h="47332">
                      <a:moveTo>
                        <a:pt x="0" y="47332"/>
                      </a:moveTo>
                      <a:cubicBezTo>
                        <a:pt x="1246" y="38987"/>
                        <a:pt x="3986" y="33382"/>
                        <a:pt x="6228" y="29645"/>
                      </a:cubicBezTo>
                      <a:cubicBezTo>
                        <a:pt x="9964" y="23666"/>
                        <a:pt x="13203" y="21798"/>
                        <a:pt x="16691" y="15694"/>
                      </a:cubicBezTo>
                      <a:cubicBezTo>
                        <a:pt x="20054" y="9715"/>
                        <a:pt x="21300" y="3861"/>
                        <a:pt x="2179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5" name="Freeform 5737">
                  <a:extLst>
                    <a:ext uri="{FF2B5EF4-FFF2-40B4-BE49-F238E27FC236}">
                      <a16:creationId xmlns:a16="http://schemas.microsoft.com/office/drawing/2014/main" id="{03B55746-4A9E-23E1-AA70-8FDFD7D67C75}"/>
                    </a:ext>
                  </a:extLst>
                </p:cNvPr>
                <p:cNvSpPr/>
                <p:nvPr/>
              </p:nvSpPr>
              <p:spPr>
                <a:xfrm>
                  <a:off x="11277588" y="6076731"/>
                  <a:ext cx="26924" cy="26426"/>
                </a:xfrm>
                <a:custGeom>
                  <a:avLst/>
                  <a:gdLst>
                    <a:gd name="connsiteX0" fmla="*/ 25647 w 26924"/>
                    <a:gd name="connsiteY0" fmla="*/ 19071 h 26426"/>
                    <a:gd name="connsiteX1" fmla="*/ 7835 w 26924"/>
                    <a:gd name="connsiteY1" fmla="*/ 25174 h 26426"/>
                    <a:gd name="connsiteX2" fmla="*/ 1234 w 26924"/>
                    <a:gd name="connsiteY2" fmla="*/ 7611 h 26426"/>
                    <a:gd name="connsiteX3" fmla="*/ 19170 w 26924"/>
                    <a:gd name="connsiteY3" fmla="*/ 1259 h 26426"/>
                    <a:gd name="connsiteX4" fmla="*/ 25647 w 26924"/>
                    <a:gd name="connsiteY4" fmla="*/ 19071 h 26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 h="26426">
                      <a:moveTo>
                        <a:pt x="25647" y="19071"/>
                      </a:moveTo>
                      <a:cubicBezTo>
                        <a:pt x="22409" y="25672"/>
                        <a:pt x="14562" y="28164"/>
                        <a:pt x="7835" y="25174"/>
                      </a:cubicBezTo>
                      <a:cubicBezTo>
                        <a:pt x="1109" y="22060"/>
                        <a:pt x="-1880" y="14213"/>
                        <a:pt x="1234" y="7611"/>
                      </a:cubicBezTo>
                      <a:cubicBezTo>
                        <a:pt x="4348" y="1010"/>
                        <a:pt x="12444" y="-1855"/>
                        <a:pt x="19170" y="1259"/>
                      </a:cubicBezTo>
                      <a:cubicBezTo>
                        <a:pt x="26021" y="4373"/>
                        <a:pt x="28761" y="12594"/>
                        <a:pt x="25647" y="1907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6" name="Freeform 5738">
                  <a:extLst>
                    <a:ext uri="{FF2B5EF4-FFF2-40B4-BE49-F238E27FC236}">
                      <a16:creationId xmlns:a16="http://schemas.microsoft.com/office/drawing/2014/main" id="{FDF56111-6A0F-BFB1-1919-3B8190E36002}"/>
                    </a:ext>
                  </a:extLst>
                </p:cNvPr>
                <p:cNvSpPr/>
                <p:nvPr/>
              </p:nvSpPr>
              <p:spPr>
                <a:xfrm>
                  <a:off x="11244693" y="6148864"/>
                  <a:ext cx="23167" cy="46709"/>
                </a:xfrm>
                <a:custGeom>
                  <a:avLst/>
                  <a:gdLst>
                    <a:gd name="connsiteX0" fmla="*/ 0 w 23167"/>
                    <a:gd name="connsiteY0" fmla="*/ 46709 h 46709"/>
                    <a:gd name="connsiteX1" fmla="*/ 9840 w 23167"/>
                    <a:gd name="connsiteY1" fmla="*/ 30641 h 46709"/>
                    <a:gd name="connsiteX2" fmla="*/ 14199 w 23167"/>
                    <a:gd name="connsiteY2" fmla="*/ 13826 h 46709"/>
                    <a:gd name="connsiteX3" fmla="*/ 23168 w 23167"/>
                    <a:gd name="connsiteY3" fmla="*/ 0 h 46709"/>
                  </a:gdLst>
                  <a:ahLst/>
                  <a:cxnLst>
                    <a:cxn ang="0">
                      <a:pos x="connsiteX0" y="connsiteY0"/>
                    </a:cxn>
                    <a:cxn ang="0">
                      <a:pos x="connsiteX1" y="connsiteY1"/>
                    </a:cxn>
                    <a:cxn ang="0">
                      <a:pos x="connsiteX2" y="connsiteY2"/>
                    </a:cxn>
                    <a:cxn ang="0">
                      <a:pos x="connsiteX3" y="connsiteY3"/>
                    </a:cxn>
                  </a:cxnLst>
                  <a:rect l="l" t="t" r="r" b="b"/>
                  <a:pathLst>
                    <a:path w="23167" h="46709">
                      <a:moveTo>
                        <a:pt x="0" y="46709"/>
                      </a:moveTo>
                      <a:cubicBezTo>
                        <a:pt x="5729" y="40481"/>
                        <a:pt x="8345" y="34751"/>
                        <a:pt x="9840" y="30641"/>
                      </a:cubicBezTo>
                      <a:cubicBezTo>
                        <a:pt x="12206" y="24040"/>
                        <a:pt x="11584" y="20427"/>
                        <a:pt x="14199" y="13826"/>
                      </a:cubicBezTo>
                      <a:cubicBezTo>
                        <a:pt x="16690" y="7349"/>
                        <a:pt x="20427" y="2865"/>
                        <a:pt x="23168"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7" name="Freeform 5739">
                  <a:extLst>
                    <a:ext uri="{FF2B5EF4-FFF2-40B4-BE49-F238E27FC236}">
                      <a16:creationId xmlns:a16="http://schemas.microsoft.com/office/drawing/2014/main" id="{3829FAA6-0E9F-E268-79B8-0F971AB47454}"/>
                    </a:ext>
                  </a:extLst>
                </p:cNvPr>
                <p:cNvSpPr/>
                <p:nvPr/>
              </p:nvSpPr>
              <p:spPr>
                <a:xfrm>
                  <a:off x="11236223" y="6149860"/>
                  <a:ext cx="21797" cy="47456"/>
                </a:xfrm>
                <a:custGeom>
                  <a:avLst/>
                  <a:gdLst>
                    <a:gd name="connsiteX0" fmla="*/ 21798 w 21797"/>
                    <a:gd name="connsiteY0" fmla="*/ 0 h 47456"/>
                    <a:gd name="connsiteX1" fmla="*/ 15570 w 21797"/>
                    <a:gd name="connsiteY1" fmla="*/ 17687 h 47456"/>
                    <a:gd name="connsiteX2" fmla="*/ 5107 w 21797"/>
                    <a:gd name="connsiteY2" fmla="*/ 31762 h 47456"/>
                    <a:gd name="connsiteX3" fmla="*/ 0 w 21797"/>
                    <a:gd name="connsiteY3" fmla="*/ 47456 h 47456"/>
                  </a:gdLst>
                  <a:ahLst/>
                  <a:cxnLst>
                    <a:cxn ang="0">
                      <a:pos x="connsiteX0" y="connsiteY0"/>
                    </a:cxn>
                    <a:cxn ang="0">
                      <a:pos x="connsiteX1" y="connsiteY1"/>
                    </a:cxn>
                    <a:cxn ang="0">
                      <a:pos x="connsiteX2" y="connsiteY2"/>
                    </a:cxn>
                    <a:cxn ang="0">
                      <a:pos x="connsiteX3" y="connsiteY3"/>
                    </a:cxn>
                  </a:cxnLst>
                  <a:rect l="l" t="t" r="r" b="b"/>
                  <a:pathLst>
                    <a:path w="21797" h="47456">
                      <a:moveTo>
                        <a:pt x="21798" y="0"/>
                      </a:moveTo>
                      <a:cubicBezTo>
                        <a:pt x="20552" y="8346"/>
                        <a:pt x="17812" y="13950"/>
                        <a:pt x="15570" y="17687"/>
                      </a:cubicBezTo>
                      <a:cubicBezTo>
                        <a:pt x="11832" y="23666"/>
                        <a:pt x="8595" y="25534"/>
                        <a:pt x="5107" y="31762"/>
                      </a:cubicBezTo>
                      <a:cubicBezTo>
                        <a:pt x="1743" y="37741"/>
                        <a:pt x="498" y="43595"/>
                        <a:pt x="0" y="4745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8" name="Freeform 5740">
                  <a:extLst>
                    <a:ext uri="{FF2B5EF4-FFF2-40B4-BE49-F238E27FC236}">
                      <a16:creationId xmlns:a16="http://schemas.microsoft.com/office/drawing/2014/main" id="{376990F6-E880-E129-CD4A-6BDB176F1780}"/>
                    </a:ext>
                  </a:extLst>
                </p:cNvPr>
                <p:cNvSpPr/>
                <p:nvPr/>
              </p:nvSpPr>
              <p:spPr>
                <a:xfrm>
                  <a:off x="11225347" y="6187361"/>
                  <a:ext cx="26158" cy="26427"/>
                </a:xfrm>
                <a:custGeom>
                  <a:avLst/>
                  <a:gdLst>
                    <a:gd name="connsiteX0" fmla="*/ 1285 w 26158"/>
                    <a:gd name="connsiteY0" fmla="*/ 7713 h 26427"/>
                    <a:gd name="connsiteX1" fmla="*/ 18848 w 26158"/>
                    <a:gd name="connsiteY1" fmla="*/ 1237 h 26427"/>
                    <a:gd name="connsiteX2" fmla="*/ 24827 w 26158"/>
                    <a:gd name="connsiteY2" fmla="*/ 18924 h 26427"/>
                    <a:gd name="connsiteX3" fmla="*/ 7389 w 26158"/>
                    <a:gd name="connsiteY3" fmla="*/ 25276 h 26427"/>
                    <a:gd name="connsiteX4" fmla="*/ 1285 w 26158"/>
                    <a:gd name="connsiteY4" fmla="*/ 7713 h 26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8" h="26427">
                      <a:moveTo>
                        <a:pt x="1285" y="7713"/>
                      </a:moveTo>
                      <a:cubicBezTo>
                        <a:pt x="4399" y="1112"/>
                        <a:pt x="12246" y="-1877"/>
                        <a:pt x="18848" y="1237"/>
                      </a:cubicBezTo>
                      <a:cubicBezTo>
                        <a:pt x="25450" y="4226"/>
                        <a:pt x="27941" y="12322"/>
                        <a:pt x="24827" y="18924"/>
                      </a:cubicBezTo>
                      <a:cubicBezTo>
                        <a:pt x="21588" y="25525"/>
                        <a:pt x="13990" y="28141"/>
                        <a:pt x="7389" y="25276"/>
                      </a:cubicBezTo>
                      <a:cubicBezTo>
                        <a:pt x="911" y="22037"/>
                        <a:pt x="-1829" y="14315"/>
                        <a:pt x="1285" y="771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2" name="Graphic 2987">
                <a:extLst>
                  <a:ext uri="{FF2B5EF4-FFF2-40B4-BE49-F238E27FC236}">
                    <a16:creationId xmlns:a16="http://schemas.microsoft.com/office/drawing/2014/main" id="{79099D6A-881B-96AF-1DF7-A7B4EC1F366A}"/>
                  </a:ext>
                </a:extLst>
              </p:cNvPr>
              <p:cNvGrpSpPr/>
              <p:nvPr/>
            </p:nvGrpSpPr>
            <p:grpSpPr>
              <a:xfrm>
                <a:off x="11251477" y="6089851"/>
                <a:ext cx="80145" cy="136727"/>
                <a:chOff x="11251477" y="6089851"/>
                <a:chExt cx="80145" cy="136727"/>
              </a:xfrm>
              <a:grpFill/>
            </p:grpSpPr>
            <p:sp>
              <p:nvSpPr>
                <p:cNvPr id="3887" name="Freeform 5742">
                  <a:extLst>
                    <a:ext uri="{FF2B5EF4-FFF2-40B4-BE49-F238E27FC236}">
                      <a16:creationId xmlns:a16="http://schemas.microsoft.com/office/drawing/2014/main" id="{A7CDF914-697A-294D-AA1C-C5F9CDB2DB3D}"/>
                    </a:ext>
                  </a:extLst>
                </p:cNvPr>
                <p:cNvSpPr/>
                <p:nvPr/>
              </p:nvSpPr>
              <p:spPr>
                <a:xfrm>
                  <a:off x="11288288" y="6108009"/>
                  <a:ext cx="23416" cy="46584"/>
                </a:xfrm>
                <a:custGeom>
                  <a:avLst/>
                  <a:gdLst>
                    <a:gd name="connsiteX0" fmla="*/ 23417 w 23416"/>
                    <a:gd name="connsiteY0" fmla="*/ 0 h 46584"/>
                    <a:gd name="connsiteX1" fmla="*/ 13452 w 23416"/>
                    <a:gd name="connsiteY1" fmla="*/ 15943 h 46584"/>
                    <a:gd name="connsiteX2" fmla="*/ 9092 w 23416"/>
                    <a:gd name="connsiteY2" fmla="*/ 32883 h 46584"/>
                    <a:gd name="connsiteX3" fmla="*/ 0 w 23416"/>
                    <a:gd name="connsiteY3" fmla="*/ 46584 h 46584"/>
                  </a:gdLst>
                  <a:ahLst/>
                  <a:cxnLst>
                    <a:cxn ang="0">
                      <a:pos x="connsiteX0" y="connsiteY0"/>
                    </a:cxn>
                    <a:cxn ang="0">
                      <a:pos x="connsiteX1" y="connsiteY1"/>
                    </a:cxn>
                    <a:cxn ang="0">
                      <a:pos x="connsiteX2" y="connsiteY2"/>
                    </a:cxn>
                    <a:cxn ang="0">
                      <a:pos x="connsiteX3" y="connsiteY3"/>
                    </a:cxn>
                  </a:cxnLst>
                  <a:rect l="l" t="t" r="r" b="b"/>
                  <a:pathLst>
                    <a:path w="23416" h="46584">
                      <a:moveTo>
                        <a:pt x="23417" y="0"/>
                      </a:moveTo>
                      <a:cubicBezTo>
                        <a:pt x="17687" y="6103"/>
                        <a:pt x="14946" y="11833"/>
                        <a:pt x="13452" y="15943"/>
                      </a:cubicBezTo>
                      <a:cubicBezTo>
                        <a:pt x="11085" y="22545"/>
                        <a:pt x="11708" y="26281"/>
                        <a:pt x="9092" y="32883"/>
                      </a:cubicBezTo>
                      <a:cubicBezTo>
                        <a:pt x="6476" y="39236"/>
                        <a:pt x="2740" y="43844"/>
                        <a:pt x="0" y="4658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8" name="Freeform 5743">
                  <a:extLst>
                    <a:ext uri="{FF2B5EF4-FFF2-40B4-BE49-F238E27FC236}">
                      <a16:creationId xmlns:a16="http://schemas.microsoft.com/office/drawing/2014/main" id="{ABC3FFA7-5D32-D77B-31A9-AE4528E02ECE}"/>
                    </a:ext>
                  </a:extLst>
                </p:cNvPr>
                <p:cNvSpPr/>
                <p:nvPr/>
              </p:nvSpPr>
              <p:spPr>
                <a:xfrm>
                  <a:off x="11298003" y="6106639"/>
                  <a:ext cx="22296" cy="47207"/>
                </a:xfrm>
                <a:custGeom>
                  <a:avLst/>
                  <a:gdLst>
                    <a:gd name="connsiteX0" fmla="*/ 0 w 22296"/>
                    <a:gd name="connsiteY0" fmla="*/ 47207 h 47207"/>
                    <a:gd name="connsiteX1" fmla="*/ 6477 w 22296"/>
                    <a:gd name="connsiteY1" fmla="*/ 29520 h 47207"/>
                    <a:gd name="connsiteX2" fmla="*/ 17064 w 22296"/>
                    <a:gd name="connsiteY2" fmla="*/ 15694 h 47207"/>
                    <a:gd name="connsiteX3" fmla="*/ 22296 w 22296"/>
                    <a:gd name="connsiteY3" fmla="*/ 0 h 47207"/>
                  </a:gdLst>
                  <a:ahLst/>
                  <a:cxnLst>
                    <a:cxn ang="0">
                      <a:pos x="connsiteX0" y="connsiteY0"/>
                    </a:cxn>
                    <a:cxn ang="0">
                      <a:pos x="connsiteX1" y="connsiteY1"/>
                    </a:cxn>
                    <a:cxn ang="0">
                      <a:pos x="connsiteX2" y="connsiteY2"/>
                    </a:cxn>
                    <a:cxn ang="0">
                      <a:pos x="connsiteX3" y="connsiteY3"/>
                    </a:cxn>
                  </a:cxnLst>
                  <a:rect l="l" t="t" r="r" b="b"/>
                  <a:pathLst>
                    <a:path w="22296" h="47207">
                      <a:moveTo>
                        <a:pt x="0" y="47207"/>
                      </a:moveTo>
                      <a:cubicBezTo>
                        <a:pt x="1370" y="38862"/>
                        <a:pt x="4111" y="33132"/>
                        <a:pt x="6477" y="29520"/>
                      </a:cubicBezTo>
                      <a:cubicBezTo>
                        <a:pt x="10214" y="23666"/>
                        <a:pt x="13452" y="21798"/>
                        <a:pt x="17064" y="15694"/>
                      </a:cubicBezTo>
                      <a:cubicBezTo>
                        <a:pt x="20552" y="9715"/>
                        <a:pt x="21798" y="3986"/>
                        <a:pt x="22296"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9" name="Freeform 5744">
                  <a:extLst>
                    <a:ext uri="{FF2B5EF4-FFF2-40B4-BE49-F238E27FC236}">
                      <a16:creationId xmlns:a16="http://schemas.microsoft.com/office/drawing/2014/main" id="{3E192594-8496-1B4E-5EFD-A65F66742CD8}"/>
                    </a:ext>
                  </a:extLst>
                </p:cNvPr>
                <p:cNvSpPr/>
                <p:nvPr/>
              </p:nvSpPr>
              <p:spPr>
                <a:xfrm>
                  <a:off x="11304763" y="6089851"/>
                  <a:ext cx="26859" cy="26723"/>
                </a:xfrm>
                <a:custGeom>
                  <a:avLst/>
                  <a:gdLst>
                    <a:gd name="connsiteX0" fmla="*/ 25501 w 26859"/>
                    <a:gd name="connsiteY0" fmla="*/ 19403 h 26723"/>
                    <a:gd name="connsiteX1" fmla="*/ 7565 w 26859"/>
                    <a:gd name="connsiteY1" fmla="*/ 25257 h 26723"/>
                    <a:gd name="connsiteX2" fmla="*/ 1337 w 26859"/>
                    <a:gd name="connsiteY2" fmla="*/ 7321 h 26723"/>
                    <a:gd name="connsiteX3" fmla="*/ 19273 w 26859"/>
                    <a:gd name="connsiteY3" fmla="*/ 1467 h 26723"/>
                    <a:gd name="connsiteX4" fmla="*/ 25501 w 26859"/>
                    <a:gd name="connsiteY4" fmla="*/ 19403 h 26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9" h="26723">
                      <a:moveTo>
                        <a:pt x="25501" y="19403"/>
                      </a:moveTo>
                      <a:cubicBezTo>
                        <a:pt x="22263" y="26004"/>
                        <a:pt x="14291" y="28620"/>
                        <a:pt x="7565" y="25257"/>
                      </a:cubicBezTo>
                      <a:cubicBezTo>
                        <a:pt x="963" y="21894"/>
                        <a:pt x="-1902" y="13922"/>
                        <a:pt x="1337" y="7321"/>
                      </a:cubicBezTo>
                      <a:cubicBezTo>
                        <a:pt x="4576" y="719"/>
                        <a:pt x="12547" y="-1896"/>
                        <a:pt x="19273" y="1467"/>
                      </a:cubicBezTo>
                      <a:cubicBezTo>
                        <a:pt x="25999" y="4830"/>
                        <a:pt x="28740" y="12926"/>
                        <a:pt x="25501" y="1940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0" name="Freeform 5745">
                  <a:extLst>
                    <a:ext uri="{FF2B5EF4-FFF2-40B4-BE49-F238E27FC236}">
                      <a16:creationId xmlns:a16="http://schemas.microsoft.com/office/drawing/2014/main" id="{473E755F-667D-0B90-DE7A-2E33009194B9}"/>
                    </a:ext>
                  </a:extLst>
                </p:cNvPr>
                <p:cNvSpPr/>
                <p:nvPr/>
              </p:nvSpPr>
              <p:spPr>
                <a:xfrm>
                  <a:off x="11270725" y="6162067"/>
                  <a:ext cx="23541" cy="46459"/>
                </a:xfrm>
                <a:custGeom>
                  <a:avLst/>
                  <a:gdLst>
                    <a:gd name="connsiteX0" fmla="*/ 0 w 23541"/>
                    <a:gd name="connsiteY0" fmla="*/ 46460 h 46459"/>
                    <a:gd name="connsiteX1" fmla="*/ 9964 w 23541"/>
                    <a:gd name="connsiteY1" fmla="*/ 30516 h 46459"/>
                    <a:gd name="connsiteX2" fmla="*/ 14449 w 23541"/>
                    <a:gd name="connsiteY2" fmla="*/ 13701 h 46459"/>
                    <a:gd name="connsiteX3" fmla="*/ 23542 w 23541"/>
                    <a:gd name="connsiteY3" fmla="*/ 0 h 46459"/>
                  </a:gdLst>
                  <a:ahLst/>
                  <a:cxnLst>
                    <a:cxn ang="0">
                      <a:pos x="connsiteX0" y="connsiteY0"/>
                    </a:cxn>
                    <a:cxn ang="0">
                      <a:pos x="connsiteX1" y="connsiteY1"/>
                    </a:cxn>
                    <a:cxn ang="0">
                      <a:pos x="connsiteX2" y="connsiteY2"/>
                    </a:cxn>
                    <a:cxn ang="0">
                      <a:pos x="connsiteX3" y="connsiteY3"/>
                    </a:cxn>
                  </a:cxnLst>
                  <a:rect l="l" t="t" r="r" b="b"/>
                  <a:pathLst>
                    <a:path w="23541" h="46459">
                      <a:moveTo>
                        <a:pt x="0" y="46460"/>
                      </a:moveTo>
                      <a:cubicBezTo>
                        <a:pt x="5730" y="40357"/>
                        <a:pt x="8470" y="34627"/>
                        <a:pt x="9964" y="30516"/>
                      </a:cubicBezTo>
                      <a:cubicBezTo>
                        <a:pt x="12331" y="23915"/>
                        <a:pt x="11833" y="20303"/>
                        <a:pt x="14449" y="13701"/>
                      </a:cubicBezTo>
                      <a:cubicBezTo>
                        <a:pt x="17064" y="7349"/>
                        <a:pt x="20802" y="2740"/>
                        <a:pt x="23542"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1" name="Freeform 5746">
                  <a:extLst>
                    <a:ext uri="{FF2B5EF4-FFF2-40B4-BE49-F238E27FC236}">
                      <a16:creationId xmlns:a16="http://schemas.microsoft.com/office/drawing/2014/main" id="{466AA415-A4AE-616C-1BB8-31DD7E398DB9}"/>
                    </a:ext>
                  </a:extLst>
                </p:cNvPr>
                <p:cNvSpPr/>
                <p:nvPr/>
              </p:nvSpPr>
              <p:spPr>
                <a:xfrm>
                  <a:off x="11262380" y="6162814"/>
                  <a:ext cx="22170" cy="47207"/>
                </a:xfrm>
                <a:custGeom>
                  <a:avLst/>
                  <a:gdLst>
                    <a:gd name="connsiteX0" fmla="*/ 22171 w 22170"/>
                    <a:gd name="connsiteY0" fmla="*/ 0 h 47207"/>
                    <a:gd name="connsiteX1" fmla="*/ 15694 w 22170"/>
                    <a:gd name="connsiteY1" fmla="*/ 17687 h 47207"/>
                    <a:gd name="connsiteX2" fmla="*/ 5231 w 22170"/>
                    <a:gd name="connsiteY2" fmla="*/ 31513 h 47207"/>
                    <a:gd name="connsiteX3" fmla="*/ 0 w 22170"/>
                    <a:gd name="connsiteY3" fmla="*/ 47207 h 47207"/>
                  </a:gdLst>
                  <a:ahLst/>
                  <a:cxnLst>
                    <a:cxn ang="0">
                      <a:pos x="connsiteX0" y="connsiteY0"/>
                    </a:cxn>
                    <a:cxn ang="0">
                      <a:pos x="connsiteX1" y="connsiteY1"/>
                    </a:cxn>
                    <a:cxn ang="0">
                      <a:pos x="connsiteX2" y="connsiteY2"/>
                    </a:cxn>
                    <a:cxn ang="0">
                      <a:pos x="connsiteX3" y="connsiteY3"/>
                    </a:cxn>
                  </a:cxnLst>
                  <a:rect l="l" t="t" r="r" b="b"/>
                  <a:pathLst>
                    <a:path w="22170" h="47207">
                      <a:moveTo>
                        <a:pt x="22171" y="0"/>
                      </a:moveTo>
                      <a:cubicBezTo>
                        <a:pt x="20801" y="8345"/>
                        <a:pt x="18061" y="14075"/>
                        <a:pt x="15694" y="17687"/>
                      </a:cubicBezTo>
                      <a:cubicBezTo>
                        <a:pt x="11958" y="23541"/>
                        <a:pt x="8719" y="25409"/>
                        <a:pt x="5231" y="31513"/>
                      </a:cubicBezTo>
                      <a:cubicBezTo>
                        <a:pt x="1744" y="37492"/>
                        <a:pt x="498" y="43222"/>
                        <a:pt x="0" y="47207"/>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92" name="Freeform 5747">
                  <a:extLst>
                    <a:ext uri="{FF2B5EF4-FFF2-40B4-BE49-F238E27FC236}">
                      <a16:creationId xmlns:a16="http://schemas.microsoft.com/office/drawing/2014/main" id="{294E8282-5E4D-484A-F510-1A55301D87B4}"/>
                    </a:ext>
                  </a:extLst>
                </p:cNvPr>
                <p:cNvSpPr/>
                <p:nvPr/>
              </p:nvSpPr>
              <p:spPr>
                <a:xfrm>
                  <a:off x="11251477" y="6200066"/>
                  <a:ext cx="25993" cy="26512"/>
                </a:xfrm>
                <a:custGeom>
                  <a:avLst/>
                  <a:gdLst>
                    <a:gd name="connsiteX0" fmla="*/ 1312 w 25993"/>
                    <a:gd name="connsiteY0" fmla="*/ 7464 h 26512"/>
                    <a:gd name="connsiteX1" fmla="*/ 18751 w 25993"/>
                    <a:gd name="connsiteY1" fmla="*/ 1361 h 26512"/>
                    <a:gd name="connsiteX2" fmla="*/ 24605 w 25993"/>
                    <a:gd name="connsiteY2" fmla="*/ 19048 h 26512"/>
                    <a:gd name="connsiteX3" fmla="*/ 7167 w 25993"/>
                    <a:gd name="connsiteY3" fmla="*/ 25151 h 26512"/>
                    <a:gd name="connsiteX4" fmla="*/ 1312 w 25993"/>
                    <a:gd name="connsiteY4" fmla="*/ 7464 h 26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93" h="26512">
                      <a:moveTo>
                        <a:pt x="1312" y="7464"/>
                      </a:moveTo>
                      <a:cubicBezTo>
                        <a:pt x="4551" y="863"/>
                        <a:pt x="12273" y="-1877"/>
                        <a:pt x="18751" y="1361"/>
                      </a:cubicBezTo>
                      <a:cubicBezTo>
                        <a:pt x="25228" y="4599"/>
                        <a:pt x="27843" y="12447"/>
                        <a:pt x="24605" y="19048"/>
                      </a:cubicBezTo>
                      <a:cubicBezTo>
                        <a:pt x="21367" y="25650"/>
                        <a:pt x="13520" y="28390"/>
                        <a:pt x="7167" y="25151"/>
                      </a:cubicBezTo>
                      <a:cubicBezTo>
                        <a:pt x="814" y="21913"/>
                        <a:pt x="-1802" y="14066"/>
                        <a:pt x="1312"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3" name="Graphic 2987">
                <a:extLst>
                  <a:ext uri="{FF2B5EF4-FFF2-40B4-BE49-F238E27FC236}">
                    <a16:creationId xmlns:a16="http://schemas.microsoft.com/office/drawing/2014/main" id="{6EB96C1E-D13C-4D29-452C-DD82C1A17563}"/>
                  </a:ext>
                </a:extLst>
              </p:cNvPr>
              <p:cNvGrpSpPr/>
              <p:nvPr/>
            </p:nvGrpSpPr>
            <p:grpSpPr>
              <a:xfrm>
                <a:off x="11277407" y="6103428"/>
                <a:ext cx="81247" cy="136028"/>
                <a:chOff x="11277407" y="6103428"/>
                <a:chExt cx="81247" cy="136028"/>
              </a:xfrm>
              <a:grpFill/>
            </p:grpSpPr>
            <p:sp>
              <p:nvSpPr>
                <p:cNvPr id="3881" name="Freeform 5749">
                  <a:extLst>
                    <a:ext uri="{FF2B5EF4-FFF2-40B4-BE49-F238E27FC236}">
                      <a16:creationId xmlns:a16="http://schemas.microsoft.com/office/drawing/2014/main" id="{68DB3C2B-97FB-D4F8-85DC-AF1527B1EB9D}"/>
                    </a:ext>
                  </a:extLst>
                </p:cNvPr>
                <p:cNvSpPr/>
                <p:nvPr/>
              </p:nvSpPr>
              <p:spPr>
                <a:xfrm>
                  <a:off x="11314943" y="6121461"/>
                  <a:ext cx="23790" cy="46335"/>
                </a:xfrm>
                <a:custGeom>
                  <a:avLst/>
                  <a:gdLst>
                    <a:gd name="connsiteX0" fmla="*/ 23791 w 23790"/>
                    <a:gd name="connsiteY0" fmla="*/ 0 h 46335"/>
                    <a:gd name="connsiteX1" fmla="*/ 13702 w 23790"/>
                    <a:gd name="connsiteY1" fmla="*/ 15819 h 46335"/>
                    <a:gd name="connsiteX2" fmla="*/ 9218 w 23790"/>
                    <a:gd name="connsiteY2" fmla="*/ 32634 h 46335"/>
                    <a:gd name="connsiteX3" fmla="*/ 0 w 23790"/>
                    <a:gd name="connsiteY3" fmla="*/ 46335 h 46335"/>
                  </a:gdLst>
                  <a:ahLst/>
                  <a:cxnLst>
                    <a:cxn ang="0">
                      <a:pos x="connsiteX0" y="connsiteY0"/>
                    </a:cxn>
                    <a:cxn ang="0">
                      <a:pos x="connsiteX1" y="connsiteY1"/>
                    </a:cxn>
                    <a:cxn ang="0">
                      <a:pos x="connsiteX2" y="connsiteY2"/>
                    </a:cxn>
                    <a:cxn ang="0">
                      <a:pos x="connsiteX3" y="connsiteY3"/>
                    </a:cxn>
                  </a:cxnLst>
                  <a:rect l="l" t="t" r="r" b="b"/>
                  <a:pathLst>
                    <a:path w="23790" h="46335">
                      <a:moveTo>
                        <a:pt x="23791" y="0"/>
                      </a:moveTo>
                      <a:cubicBezTo>
                        <a:pt x="17936" y="6103"/>
                        <a:pt x="15196" y="11708"/>
                        <a:pt x="13702" y="15819"/>
                      </a:cubicBezTo>
                      <a:cubicBezTo>
                        <a:pt x="11335" y="22420"/>
                        <a:pt x="11833" y="26033"/>
                        <a:pt x="9218" y="32634"/>
                      </a:cubicBezTo>
                      <a:cubicBezTo>
                        <a:pt x="6602" y="38987"/>
                        <a:pt x="2741" y="43471"/>
                        <a:pt x="0" y="46335"/>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2" name="Freeform 5750">
                  <a:extLst>
                    <a:ext uri="{FF2B5EF4-FFF2-40B4-BE49-F238E27FC236}">
                      <a16:creationId xmlns:a16="http://schemas.microsoft.com/office/drawing/2014/main" id="{B5A83164-A18B-E1E0-1577-7A294BA3E562}"/>
                    </a:ext>
                  </a:extLst>
                </p:cNvPr>
                <p:cNvSpPr/>
                <p:nvPr/>
              </p:nvSpPr>
              <p:spPr>
                <a:xfrm>
                  <a:off x="11324659" y="6120215"/>
                  <a:ext cx="22669" cy="46833"/>
                </a:xfrm>
                <a:custGeom>
                  <a:avLst/>
                  <a:gdLst>
                    <a:gd name="connsiteX0" fmla="*/ 0 w 22669"/>
                    <a:gd name="connsiteY0" fmla="*/ 46834 h 46833"/>
                    <a:gd name="connsiteX1" fmla="*/ 6601 w 22669"/>
                    <a:gd name="connsiteY1" fmla="*/ 29271 h 46833"/>
                    <a:gd name="connsiteX2" fmla="*/ 17314 w 22669"/>
                    <a:gd name="connsiteY2" fmla="*/ 15570 h 46833"/>
                    <a:gd name="connsiteX3" fmla="*/ 22670 w 22669"/>
                    <a:gd name="connsiteY3" fmla="*/ 0 h 46833"/>
                  </a:gdLst>
                  <a:ahLst/>
                  <a:cxnLst>
                    <a:cxn ang="0">
                      <a:pos x="connsiteX0" y="connsiteY0"/>
                    </a:cxn>
                    <a:cxn ang="0">
                      <a:pos x="connsiteX1" y="connsiteY1"/>
                    </a:cxn>
                    <a:cxn ang="0">
                      <a:pos x="connsiteX2" y="connsiteY2"/>
                    </a:cxn>
                    <a:cxn ang="0">
                      <a:pos x="connsiteX3" y="connsiteY3"/>
                    </a:cxn>
                  </a:cxnLst>
                  <a:rect l="l" t="t" r="r" b="b"/>
                  <a:pathLst>
                    <a:path w="22669" h="46833">
                      <a:moveTo>
                        <a:pt x="0" y="46834"/>
                      </a:moveTo>
                      <a:cubicBezTo>
                        <a:pt x="1370" y="38488"/>
                        <a:pt x="4235" y="32883"/>
                        <a:pt x="6601" y="29271"/>
                      </a:cubicBezTo>
                      <a:cubicBezTo>
                        <a:pt x="10463" y="23417"/>
                        <a:pt x="13701" y="21673"/>
                        <a:pt x="17314" y="15570"/>
                      </a:cubicBezTo>
                      <a:cubicBezTo>
                        <a:pt x="20801" y="9591"/>
                        <a:pt x="22171" y="3861"/>
                        <a:pt x="22670"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3" name="Freeform 5751">
                  <a:extLst>
                    <a:ext uri="{FF2B5EF4-FFF2-40B4-BE49-F238E27FC236}">
                      <a16:creationId xmlns:a16="http://schemas.microsoft.com/office/drawing/2014/main" id="{F9D43012-2077-37B1-D686-A4671F1FF47F}"/>
                    </a:ext>
                  </a:extLst>
                </p:cNvPr>
                <p:cNvSpPr/>
                <p:nvPr/>
              </p:nvSpPr>
              <p:spPr>
                <a:xfrm>
                  <a:off x="11331746" y="6103428"/>
                  <a:ext cx="26908" cy="26521"/>
                </a:xfrm>
                <a:custGeom>
                  <a:avLst/>
                  <a:gdLst>
                    <a:gd name="connsiteX0" fmla="*/ 25547 w 26908"/>
                    <a:gd name="connsiteY0" fmla="*/ 19278 h 26521"/>
                    <a:gd name="connsiteX1" fmla="*/ 7486 w 26908"/>
                    <a:gd name="connsiteY1" fmla="*/ 25133 h 26521"/>
                    <a:gd name="connsiteX2" fmla="*/ 1383 w 26908"/>
                    <a:gd name="connsiteY2" fmla="*/ 7321 h 26521"/>
                    <a:gd name="connsiteX3" fmla="*/ 19444 w 26908"/>
                    <a:gd name="connsiteY3" fmla="*/ 1467 h 26521"/>
                    <a:gd name="connsiteX4" fmla="*/ 25547 w 26908"/>
                    <a:gd name="connsiteY4" fmla="*/ 19278 h 26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8" h="26520">
                      <a:moveTo>
                        <a:pt x="25547" y="19278"/>
                      </a:moveTo>
                      <a:cubicBezTo>
                        <a:pt x="22184" y="25755"/>
                        <a:pt x="14213" y="28371"/>
                        <a:pt x="7486" y="25133"/>
                      </a:cubicBezTo>
                      <a:cubicBezTo>
                        <a:pt x="760" y="21894"/>
                        <a:pt x="-1856" y="13798"/>
                        <a:pt x="1383" y="7321"/>
                      </a:cubicBezTo>
                      <a:cubicBezTo>
                        <a:pt x="4622" y="719"/>
                        <a:pt x="12718" y="-1897"/>
                        <a:pt x="19444" y="1467"/>
                      </a:cubicBezTo>
                      <a:cubicBezTo>
                        <a:pt x="26045" y="4830"/>
                        <a:pt x="28786" y="12801"/>
                        <a:pt x="25547" y="19278"/>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4" name="Freeform 5752">
                  <a:extLst>
                    <a:ext uri="{FF2B5EF4-FFF2-40B4-BE49-F238E27FC236}">
                      <a16:creationId xmlns:a16="http://schemas.microsoft.com/office/drawing/2014/main" id="{2F4750DA-BB9A-54B9-AB97-BC3C48BF3BD3}"/>
                    </a:ext>
                  </a:extLst>
                </p:cNvPr>
                <p:cNvSpPr/>
                <p:nvPr/>
              </p:nvSpPr>
              <p:spPr>
                <a:xfrm>
                  <a:off x="11296758" y="6175145"/>
                  <a:ext cx="23914" cy="46335"/>
                </a:xfrm>
                <a:custGeom>
                  <a:avLst/>
                  <a:gdLst>
                    <a:gd name="connsiteX0" fmla="*/ 0 w 23914"/>
                    <a:gd name="connsiteY0" fmla="*/ 46335 h 46335"/>
                    <a:gd name="connsiteX1" fmla="*/ 10089 w 23914"/>
                    <a:gd name="connsiteY1" fmla="*/ 30517 h 46335"/>
                    <a:gd name="connsiteX2" fmla="*/ 14698 w 23914"/>
                    <a:gd name="connsiteY2" fmla="*/ 13701 h 46335"/>
                    <a:gd name="connsiteX3" fmla="*/ 23915 w 23914"/>
                    <a:gd name="connsiteY3" fmla="*/ 0 h 46335"/>
                  </a:gdLst>
                  <a:ahLst/>
                  <a:cxnLst>
                    <a:cxn ang="0">
                      <a:pos x="connsiteX0" y="connsiteY0"/>
                    </a:cxn>
                    <a:cxn ang="0">
                      <a:pos x="connsiteX1" y="connsiteY1"/>
                    </a:cxn>
                    <a:cxn ang="0">
                      <a:pos x="connsiteX2" y="connsiteY2"/>
                    </a:cxn>
                    <a:cxn ang="0">
                      <a:pos x="connsiteX3" y="connsiteY3"/>
                    </a:cxn>
                  </a:cxnLst>
                  <a:rect l="l" t="t" r="r" b="b"/>
                  <a:pathLst>
                    <a:path w="23914" h="46335">
                      <a:moveTo>
                        <a:pt x="0" y="46335"/>
                      </a:moveTo>
                      <a:cubicBezTo>
                        <a:pt x="5729" y="40232"/>
                        <a:pt x="8595" y="34502"/>
                        <a:pt x="10089" y="30517"/>
                      </a:cubicBezTo>
                      <a:cubicBezTo>
                        <a:pt x="12580" y="23915"/>
                        <a:pt x="11957" y="20303"/>
                        <a:pt x="14698" y="13701"/>
                      </a:cubicBezTo>
                      <a:cubicBezTo>
                        <a:pt x="17314" y="7349"/>
                        <a:pt x="21175" y="2865"/>
                        <a:pt x="23915"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5" name="Freeform 5753">
                  <a:extLst>
                    <a:ext uri="{FF2B5EF4-FFF2-40B4-BE49-F238E27FC236}">
                      <a16:creationId xmlns:a16="http://schemas.microsoft.com/office/drawing/2014/main" id="{00B61B2A-CBB0-7CDD-0270-B21C1E98B284}"/>
                    </a:ext>
                  </a:extLst>
                </p:cNvPr>
                <p:cNvSpPr/>
                <p:nvPr/>
              </p:nvSpPr>
              <p:spPr>
                <a:xfrm>
                  <a:off x="11288413" y="6175893"/>
                  <a:ext cx="22544" cy="46958"/>
                </a:xfrm>
                <a:custGeom>
                  <a:avLst/>
                  <a:gdLst>
                    <a:gd name="connsiteX0" fmla="*/ 22545 w 22544"/>
                    <a:gd name="connsiteY0" fmla="*/ 0 h 46958"/>
                    <a:gd name="connsiteX1" fmla="*/ 15943 w 22544"/>
                    <a:gd name="connsiteY1" fmla="*/ 17563 h 46958"/>
                    <a:gd name="connsiteX2" fmla="*/ 5356 w 22544"/>
                    <a:gd name="connsiteY2" fmla="*/ 31389 h 46958"/>
                    <a:gd name="connsiteX3" fmla="*/ 0 w 22544"/>
                    <a:gd name="connsiteY3" fmla="*/ 46958 h 46958"/>
                  </a:gdLst>
                  <a:ahLst/>
                  <a:cxnLst>
                    <a:cxn ang="0">
                      <a:pos x="connsiteX0" y="connsiteY0"/>
                    </a:cxn>
                    <a:cxn ang="0">
                      <a:pos x="connsiteX1" y="connsiteY1"/>
                    </a:cxn>
                    <a:cxn ang="0">
                      <a:pos x="connsiteX2" y="connsiteY2"/>
                    </a:cxn>
                    <a:cxn ang="0">
                      <a:pos x="connsiteX3" y="connsiteY3"/>
                    </a:cxn>
                  </a:cxnLst>
                  <a:rect l="l" t="t" r="r" b="b"/>
                  <a:pathLst>
                    <a:path w="22544" h="46958">
                      <a:moveTo>
                        <a:pt x="22545" y="0"/>
                      </a:moveTo>
                      <a:cubicBezTo>
                        <a:pt x="21174" y="8346"/>
                        <a:pt x="18310" y="13950"/>
                        <a:pt x="15943" y="17563"/>
                      </a:cubicBezTo>
                      <a:cubicBezTo>
                        <a:pt x="12082" y="23417"/>
                        <a:pt x="8843" y="25285"/>
                        <a:pt x="5356" y="31389"/>
                      </a:cubicBezTo>
                      <a:cubicBezTo>
                        <a:pt x="1868" y="37367"/>
                        <a:pt x="498" y="43097"/>
                        <a:pt x="0" y="46958"/>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6" name="Freeform 5754">
                  <a:extLst>
                    <a:ext uri="{FF2B5EF4-FFF2-40B4-BE49-F238E27FC236}">
                      <a16:creationId xmlns:a16="http://schemas.microsoft.com/office/drawing/2014/main" id="{116D0885-2BDE-A94D-DCE2-FC2E6B54C16F}"/>
                    </a:ext>
                  </a:extLst>
                </p:cNvPr>
                <p:cNvSpPr/>
                <p:nvPr/>
              </p:nvSpPr>
              <p:spPr>
                <a:xfrm>
                  <a:off x="11277407" y="6213020"/>
                  <a:ext cx="26122" cy="26436"/>
                </a:xfrm>
                <a:custGeom>
                  <a:avLst/>
                  <a:gdLst>
                    <a:gd name="connsiteX0" fmla="*/ 1415 w 26122"/>
                    <a:gd name="connsiteY0" fmla="*/ 7464 h 26436"/>
                    <a:gd name="connsiteX1" fmla="*/ 18977 w 26122"/>
                    <a:gd name="connsiteY1" fmla="*/ 1361 h 26436"/>
                    <a:gd name="connsiteX2" fmla="*/ 24707 w 26122"/>
                    <a:gd name="connsiteY2" fmla="*/ 19048 h 26436"/>
                    <a:gd name="connsiteX3" fmla="*/ 7144 w 26122"/>
                    <a:gd name="connsiteY3" fmla="*/ 25151 h 26436"/>
                    <a:gd name="connsiteX4" fmla="*/ 1415 w 26122"/>
                    <a:gd name="connsiteY4" fmla="*/ 7464 h 2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2" h="26436">
                      <a:moveTo>
                        <a:pt x="1415" y="7464"/>
                      </a:moveTo>
                      <a:cubicBezTo>
                        <a:pt x="4654" y="863"/>
                        <a:pt x="12501" y="-1877"/>
                        <a:pt x="18977" y="1361"/>
                      </a:cubicBezTo>
                      <a:cubicBezTo>
                        <a:pt x="25455" y="4600"/>
                        <a:pt x="27946" y="12447"/>
                        <a:pt x="24707" y="19048"/>
                      </a:cubicBezTo>
                      <a:cubicBezTo>
                        <a:pt x="21344" y="25525"/>
                        <a:pt x="13497" y="28265"/>
                        <a:pt x="7144" y="25151"/>
                      </a:cubicBezTo>
                      <a:cubicBezTo>
                        <a:pt x="668" y="21913"/>
                        <a:pt x="-1824" y="13941"/>
                        <a:pt x="1415" y="7464"/>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nvGrpSpPr>
              <p:cNvPr id="3874" name="Graphic 2987">
                <a:extLst>
                  <a:ext uri="{FF2B5EF4-FFF2-40B4-BE49-F238E27FC236}">
                    <a16:creationId xmlns:a16="http://schemas.microsoft.com/office/drawing/2014/main" id="{74E0540D-2E4E-14CD-EEB2-181FBED9338A}"/>
                  </a:ext>
                </a:extLst>
              </p:cNvPr>
              <p:cNvGrpSpPr/>
              <p:nvPr/>
            </p:nvGrpSpPr>
            <p:grpSpPr>
              <a:xfrm>
                <a:off x="11303312" y="6116877"/>
                <a:ext cx="82447" cy="135363"/>
                <a:chOff x="11303312" y="6116877"/>
                <a:chExt cx="82447" cy="135363"/>
              </a:xfrm>
              <a:grpFill/>
            </p:grpSpPr>
            <p:sp>
              <p:nvSpPr>
                <p:cNvPr id="3875" name="Freeform 5756">
                  <a:extLst>
                    <a:ext uri="{FF2B5EF4-FFF2-40B4-BE49-F238E27FC236}">
                      <a16:creationId xmlns:a16="http://schemas.microsoft.com/office/drawing/2014/main" id="{D706E980-7A98-FCE0-C7EA-73A93B832D5D}"/>
                    </a:ext>
                  </a:extLst>
                </p:cNvPr>
                <p:cNvSpPr/>
                <p:nvPr/>
              </p:nvSpPr>
              <p:spPr>
                <a:xfrm>
                  <a:off x="11341225" y="6134789"/>
                  <a:ext cx="24412" cy="46086"/>
                </a:xfrm>
                <a:custGeom>
                  <a:avLst/>
                  <a:gdLst>
                    <a:gd name="connsiteX0" fmla="*/ 24413 w 24412"/>
                    <a:gd name="connsiteY0" fmla="*/ 0 h 46086"/>
                    <a:gd name="connsiteX1" fmla="*/ 14075 w 24412"/>
                    <a:gd name="connsiteY1" fmla="*/ 15819 h 46086"/>
                    <a:gd name="connsiteX2" fmla="*/ 9342 w 24412"/>
                    <a:gd name="connsiteY2" fmla="*/ 32509 h 46086"/>
                    <a:gd name="connsiteX3" fmla="*/ 0 w 24412"/>
                    <a:gd name="connsiteY3" fmla="*/ 46086 h 46086"/>
                  </a:gdLst>
                  <a:ahLst/>
                  <a:cxnLst>
                    <a:cxn ang="0">
                      <a:pos x="connsiteX0" y="connsiteY0"/>
                    </a:cxn>
                    <a:cxn ang="0">
                      <a:pos x="connsiteX1" y="connsiteY1"/>
                    </a:cxn>
                    <a:cxn ang="0">
                      <a:pos x="connsiteX2" y="connsiteY2"/>
                    </a:cxn>
                    <a:cxn ang="0">
                      <a:pos x="connsiteX3" y="connsiteY3"/>
                    </a:cxn>
                  </a:cxnLst>
                  <a:rect l="l" t="t" r="r" b="b"/>
                  <a:pathLst>
                    <a:path w="24412" h="46086">
                      <a:moveTo>
                        <a:pt x="24413" y="0"/>
                      </a:moveTo>
                      <a:cubicBezTo>
                        <a:pt x="18559" y="5979"/>
                        <a:pt x="15694" y="11708"/>
                        <a:pt x="14075" y="15819"/>
                      </a:cubicBezTo>
                      <a:cubicBezTo>
                        <a:pt x="11584" y="22420"/>
                        <a:pt x="12206" y="26033"/>
                        <a:pt x="9342" y="32509"/>
                      </a:cubicBezTo>
                      <a:cubicBezTo>
                        <a:pt x="6601" y="38862"/>
                        <a:pt x="2740" y="43346"/>
                        <a:pt x="0" y="46086"/>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6" name="Freeform 5757">
                  <a:extLst>
                    <a:ext uri="{FF2B5EF4-FFF2-40B4-BE49-F238E27FC236}">
                      <a16:creationId xmlns:a16="http://schemas.microsoft.com/office/drawing/2014/main" id="{60284FBA-F2D5-44DB-E084-CCD7516D7CD7}"/>
                    </a:ext>
                  </a:extLst>
                </p:cNvPr>
                <p:cNvSpPr/>
                <p:nvPr/>
              </p:nvSpPr>
              <p:spPr>
                <a:xfrm>
                  <a:off x="11351190" y="6133418"/>
                  <a:ext cx="23042" cy="46833"/>
                </a:xfrm>
                <a:custGeom>
                  <a:avLst/>
                  <a:gdLst>
                    <a:gd name="connsiteX0" fmla="*/ 0 w 23042"/>
                    <a:gd name="connsiteY0" fmla="*/ 46834 h 46833"/>
                    <a:gd name="connsiteX1" fmla="*/ 6726 w 23042"/>
                    <a:gd name="connsiteY1" fmla="*/ 29271 h 46833"/>
                    <a:gd name="connsiteX2" fmla="*/ 17562 w 23042"/>
                    <a:gd name="connsiteY2" fmla="*/ 15570 h 46833"/>
                    <a:gd name="connsiteX3" fmla="*/ 23043 w 23042"/>
                    <a:gd name="connsiteY3" fmla="*/ 0 h 46833"/>
                  </a:gdLst>
                  <a:ahLst/>
                  <a:cxnLst>
                    <a:cxn ang="0">
                      <a:pos x="connsiteX0" y="connsiteY0"/>
                    </a:cxn>
                    <a:cxn ang="0">
                      <a:pos x="connsiteX1" y="connsiteY1"/>
                    </a:cxn>
                    <a:cxn ang="0">
                      <a:pos x="connsiteX2" y="connsiteY2"/>
                    </a:cxn>
                    <a:cxn ang="0">
                      <a:pos x="connsiteX3" y="connsiteY3"/>
                    </a:cxn>
                  </a:cxnLst>
                  <a:rect l="l" t="t" r="r" b="b"/>
                  <a:pathLst>
                    <a:path w="23042" h="46833">
                      <a:moveTo>
                        <a:pt x="0" y="46834"/>
                      </a:moveTo>
                      <a:cubicBezTo>
                        <a:pt x="1495" y="38613"/>
                        <a:pt x="4359" y="32883"/>
                        <a:pt x="6726" y="29271"/>
                      </a:cubicBezTo>
                      <a:cubicBezTo>
                        <a:pt x="10587" y="23417"/>
                        <a:pt x="13950" y="21673"/>
                        <a:pt x="17562" y="15570"/>
                      </a:cubicBezTo>
                      <a:cubicBezTo>
                        <a:pt x="21175" y="9715"/>
                        <a:pt x="22545" y="3986"/>
                        <a:pt x="23043"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7" name="Freeform 5758">
                  <a:extLst>
                    <a:ext uri="{FF2B5EF4-FFF2-40B4-BE49-F238E27FC236}">
                      <a16:creationId xmlns:a16="http://schemas.microsoft.com/office/drawing/2014/main" id="{A4FDB1A2-3AD8-A7E1-DED4-ADB69EF4BE59}"/>
                    </a:ext>
                  </a:extLst>
                </p:cNvPr>
                <p:cNvSpPr/>
                <p:nvPr/>
              </p:nvSpPr>
              <p:spPr>
                <a:xfrm>
                  <a:off x="11358672" y="6116877"/>
                  <a:ext cx="27087" cy="26481"/>
                </a:xfrm>
                <a:custGeom>
                  <a:avLst/>
                  <a:gdLst>
                    <a:gd name="connsiteX0" fmla="*/ 25649 w 27087"/>
                    <a:gd name="connsiteY0" fmla="*/ 19281 h 26481"/>
                    <a:gd name="connsiteX1" fmla="*/ 7464 w 27087"/>
                    <a:gd name="connsiteY1" fmla="*/ 25011 h 26481"/>
                    <a:gd name="connsiteX2" fmla="*/ 1361 w 27087"/>
                    <a:gd name="connsiteY2" fmla="*/ 7199 h 26481"/>
                    <a:gd name="connsiteX3" fmla="*/ 19546 w 27087"/>
                    <a:gd name="connsiteY3" fmla="*/ 1470 h 26481"/>
                    <a:gd name="connsiteX4" fmla="*/ 25649 w 27087"/>
                    <a:gd name="connsiteY4" fmla="*/ 19281 h 26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87" h="26481">
                      <a:moveTo>
                        <a:pt x="25649" y="19281"/>
                      </a:moveTo>
                      <a:cubicBezTo>
                        <a:pt x="22287" y="25759"/>
                        <a:pt x="14190" y="28374"/>
                        <a:pt x="7464" y="25011"/>
                      </a:cubicBezTo>
                      <a:cubicBezTo>
                        <a:pt x="862" y="21648"/>
                        <a:pt x="-1877" y="13677"/>
                        <a:pt x="1361" y="7199"/>
                      </a:cubicBezTo>
                      <a:cubicBezTo>
                        <a:pt x="4599" y="722"/>
                        <a:pt x="12820" y="-1893"/>
                        <a:pt x="19546" y="1470"/>
                      </a:cubicBezTo>
                      <a:cubicBezTo>
                        <a:pt x="26273" y="4833"/>
                        <a:pt x="29013" y="12805"/>
                        <a:pt x="25649" y="19281"/>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8" name="Freeform 5759">
                  <a:extLst>
                    <a:ext uri="{FF2B5EF4-FFF2-40B4-BE49-F238E27FC236}">
                      <a16:creationId xmlns:a16="http://schemas.microsoft.com/office/drawing/2014/main" id="{90A0D62C-9458-A985-C861-A0B68E551467}"/>
                    </a:ext>
                  </a:extLst>
                </p:cNvPr>
                <p:cNvSpPr/>
                <p:nvPr/>
              </p:nvSpPr>
              <p:spPr>
                <a:xfrm>
                  <a:off x="11322790" y="6188348"/>
                  <a:ext cx="24413" cy="46086"/>
                </a:xfrm>
                <a:custGeom>
                  <a:avLst/>
                  <a:gdLst>
                    <a:gd name="connsiteX0" fmla="*/ 0 w 24413"/>
                    <a:gd name="connsiteY0" fmla="*/ 46086 h 46086"/>
                    <a:gd name="connsiteX1" fmla="*/ 10339 w 24413"/>
                    <a:gd name="connsiteY1" fmla="*/ 30267 h 46086"/>
                    <a:gd name="connsiteX2" fmla="*/ 15072 w 24413"/>
                    <a:gd name="connsiteY2" fmla="*/ 13577 h 46086"/>
                    <a:gd name="connsiteX3" fmla="*/ 24414 w 24413"/>
                    <a:gd name="connsiteY3" fmla="*/ 0 h 46086"/>
                  </a:gdLst>
                  <a:ahLst/>
                  <a:cxnLst>
                    <a:cxn ang="0">
                      <a:pos x="connsiteX0" y="connsiteY0"/>
                    </a:cxn>
                    <a:cxn ang="0">
                      <a:pos x="connsiteX1" y="connsiteY1"/>
                    </a:cxn>
                    <a:cxn ang="0">
                      <a:pos x="connsiteX2" y="connsiteY2"/>
                    </a:cxn>
                    <a:cxn ang="0">
                      <a:pos x="connsiteX3" y="connsiteY3"/>
                    </a:cxn>
                  </a:cxnLst>
                  <a:rect l="l" t="t" r="r" b="b"/>
                  <a:pathLst>
                    <a:path w="24413" h="46086">
                      <a:moveTo>
                        <a:pt x="0" y="46086"/>
                      </a:moveTo>
                      <a:cubicBezTo>
                        <a:pt x="5855" y="39983"/>
                        <a:pt x="8719" y="34378"/>
                        <a:pt x="10339" y="30267"/>
                      </a:cubicBezTo>
                      <a:cubicBezTo>
                        <a:pt x="12830" y="23791"/>
                        <a:pt x="12332" y="20054"/>
                        <a:pt x="15072" y="13577"/>
                      </a:cubicBezTo>
                      <a:cubicBezTo>
                        <a:pt x="17812" y="7225"/>
                        <a:pt x="21674" y="2740"/>
                        <a:pt x="24414" y="0"/>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79" name="Freeform 5760">
                  <a:extLst>
                    <a:ext uri="{FF2B5EF4-FFF2-40B4-BE49-F238E27FC236}">
                      <a16:creationId xmlns:a16="http://schemas.microsoft.com/office/drawing/2014/main" id="{54005480-2974-F87E-C753-0B9CDE12FF87}"/>
                    </a:ext>
                  </a:extLst>
                </p:cNvPr>
                <p:cNvSpPr/>
                <p:nvPr/>
              </p:nvSpPr>
              <p:spPr>
                <a:xfrm>
                  <a:off x="11314320" y="6189096"/>
                  <a:ext cx="23043" cy="46833"/>
                </a:xfrm>
                <a:custGeom>
                  <a:avLst/>
                  <a:gdLst>
                    <a:gd name="connsiteX0" fmla="*/ 23044 w 23043"/>
                    <a:gd name="connsiteY0" fmla="*/ 0 h 46833"/>
                    <a:gd name="connsiteX1" fmla="*/ 16317 w 23043"/>
                    <a:gd name="connsiteY1" fmla="*/ 17563 h 46833"/>
                    <a:gd name="connsiteX2" fmla="*/ 5481 w 23043"/>
                    <a:gd name="connsiteY2" fmla="*/ 31264 h 46833"/>
                    <a:gd name="connsiteX3" fmla="*/ 0 w 23043"/>
                    <a:gd name="connsiteY3" fmla="*/ 46834 h 46833"/>
                  </a:gdLst>
                  <a:ahLst/>
                  <a:cxnLst>
                    <a:cxn ang="0">
                      <a:pos x="connsiteX0" y="connsiteY0"/>
                    </a:cxn>
                    <a:cxn ang="0">
                      <a:pos x="connsiteX1" y="connsiteY1"/>
                    </a:cxn>
                    <a:cxn ang="0">
                      <a:pos x="connsiteX2" y="connsiteY2"/>
                    </a:cxn>
                    <a:cxn ang="0">
                      <a:pos x="connsiteX3" y="connsiteY3"/>
                    </a:cxn>
                  </a:cxnLst>
                  <a:rect l="l" t="t" r="r" b="b"/>
                  <a:pathLst>
                    <a:path w="23043" h="46833">
                      <a:moveTo>
                        <a:pt x="23044" y="0"/>
                      </a:moveTo>
                      <a:cubicBezTo>
                        <a:pt x="21549" y="8221"/>
                        <a:pt x="18684" y="13950"/>
                        <a:pt x="16317" y="17563"/>
                      </a:cubicBezTo>
                      <a:cubicBezTo>
                        <a:pt x="12456" y="23417"/>
                        <a:pt x="9217" y="25161"/>
                        <a:pt x="5481" y="31264"/>
                      </a:cubicBezTo>
                      <a:cubicBezTo>
                        <a:pt x="1869" y="37243"/>
                        <a:pt x="499" y="42848"/>
                        <a:pt x="0" y="46834"/>
                      </a:cubicBezTo>
                    </a:path>
                  </a:pathLst>
                </a:custGeom>
                <a:grpFill/>
                <a:ln w="3113" cap="rnd">
                  <a:solidFill>
                    <a:srgbClr val="64594D"/>
                  </a:solidFill>
                  <a:prstDash val="solid"/>
                  <a:round/>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3880" name="Freeform 5761">
                  <a:extLst>
                    <a:ext uri="{FF2B5EF4-FFF2-40B4-BE49-F238E27FC236}">
                      <a16:creationId xmlns:a16="http://schemas.microsoft.com/office/drawing/2014/main" id="{45B47BE3-0DF8-326B-1400-9DD25E333921}"/>
                    </a:ext>
                  </a:extLst>
                </p:cNvPr>
                <p:cNvSpPr/>
                <p:nvPr/>
              </p:nvSpPr>
              <p:spPr>
                <a:xfrm>
                  <a:off x="11303312" y="6225971"/>
                  <a:ext cx="26206" cy="26269"/>
                </a:xfrm>
                <a:custGeom>
                  <a:avLst/>
                  <a:gdLst>
                    <a:gd name="connsiteX0" fmla="*/ 1418 w 26206"/>
                    <a:gd name="connsiteY0" fmla="*/ 7343 h 26269"/>
                    <a:gd name="connsiteX1" fmla="*/ 19105 w 26206"/>
                    <a:gd name="connsiteY1" fmla="*/ 1364 h 26269"/>
                    <a:gd name="connsiteX2" fmla="*/ 24711 w 26206"/>
                    <a:gd name="connsiteY2" fmla="*/ 18927 h 26269"/>
                    <a:gd name="connsiteX3" fmla="*/ 7023 w 26206"/>
                    <a:gd name="connsiteY3" fmla="*/ 24906 h 26269"/>
                    <a:gd name="connsiteX4" fmla="*/ 1418 w 26206"/>
                    <a:gd name="connsiteY4" fmla="*/ 7343 h 2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06" h="26269">
                      <a:moveTo>
                        <a:pt x="1418" y="7343"/>
                      </a:moveTo>
                      <a:cubicBezTo>
                        <a:pt x="4781" y="866"/>
                        <a:pt x="12628" y="-1875"/>
                        <a:pt x="19105" y="1364"/>
                      </a:cubicBezTo>
                      <a:cubicBezTo>
                        <a:pt x="25583" y="4603"/>
                        <a:pt x="28073" y="12450"/>
                        <a:pt x="24711" y="18927"/>
                      </a:cubicBezTo>
                      <a:cubicBezTo>
                        <a:pt x="21347" y="25404"/>
                        <a:pt x="13375" y="28144"/>
                        <a:pt x="7023" y="24906"/>
                      </a:cubicBezTo>
                      <a:cubicBezTo>
                        <a:pt x="671" y="21792"/>
                        <a:pt x="-1820" y="13944"/>
                        <a:pt x="1418" y="7343"/>
                      </a:cubicBezTo>
                      <a:close/>
                    </a:path>
                  </a:pathLst>
                </a:custGeom>
                <a:grpFill/>
                <a:ln w="3113" cap="flat">
                  <a:solidFill>
                    <a:srgbClr val="64594D"/>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grpSp>
        <p:sp>
          <p:nvSpPr>
            <p:cNvPr id="7139" name="TextBox 5596">
              <a:extLst>
                <a:ext uri="{FF2B5EF4-FFF2-40B4-BE49-F238E27FC236}">
                  <a16:creationId xmlns:a16="http://schemas.microsoft.com/office/drawing/2014/main" id="{9E0C03A4-D444-B8DD-09A2-EABDAC26CBCB}"/>
                </a:ext>
              </a:extLst>
            </p:cNvPr>
            <p:cNvSpPr txBox="1"/>
            <p:nvPr/>
          </p:nvSpPr>
          <p:spPr>
            <a:xfrm>
              <a:off x="6022703" y="4873117"/>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a:t>
              </a:r>
            </a:p>
          </p:txBody>
        </p:sp>
        <p:sp>
          <p:nvSpPr>
            <p:cNvPr id="7140" name="Freeform 8944">
              <a:extLst>
                <a:ext uri="{FF2B5EF4-FFF2-40B4-BE49-F238E27FC236}">
                  <a16:creationId xmlns:a16="http://schemas.microsoft.com/office/drawing/2014/main" id="{A04FC3E0-3F45-2221-7928-936B90ADDF8B}"/>
                </a:ext>
              </a:extLst>
            </p:cNvPr>
            <p:cNvSpPr/>
            <p:nvPr/>
          </p:nvSpPr>
          <p:spPr>
            <a:xfrm>
              <a:off x="7493290" y="4994214"/>
              <a:ext cx="428727" cy="291589"/>
            </a:xfrm>
            <a:custGeom>
              <a:avLst/>
              <a:gdLst>
                <a:gd name="connsiteX0" fmla="*/ 428727 w 428727"/>
                <a:gd name="connsiteY0" fmla="*/ 86443 h 291589"/>
                <a:gd name="connsiteX1" fmla="*/ 428727 w 428727"/>
                <a:gd name="connsiteY1" fmla="*/ 205147 h 291589"/>
                <a:gd name="connsiteX2" fmla="*/ 342284 w 428727"/>
                <a:gd name="connsiteY2" fmla="*/ 291590 h 291589"/>
                <a:gd name="connsiteX3" fmla="*/ 86443 w 428727"/>
                <a:gd name="connsiteY3" fmla="*/ 291590 h 291589"/>
                <a:gd name="connsiteX4" fmla="*/ 0 w 428727"/>
                <a:gd name="connsiteY4" fmla="*/ 205147 h 291589"/>
                <a:gd name="connsiteX5" fmla="*/ 0 w 428727"/>
                <a:gd name="connsiteY5" fmla="*/ 86443 h 291589"/>
                <a:gd name="connsiteX6" fmla="*/ 86443 w 428727"/>
                <a:gd name="connsiteY6" fmla="*/ 0 h 291589"/>
                <a:gd name="connsiteX7" fmla="*/ 342284 w 428727"/>
                <a:gd name="connsiteY7" fmla="*/ 0 h 291589"/>
                <a:gd name="connsiteX8" fmla="*/ 428727 w 428727"/>
                <a:gd name="connsiteY8" fmla="*/ 86443 h 29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27" h="291589">
                  <a:moveTo>
                    <a:pt x="428727" y="86443"/>
                  </a:moveTo>
                  <a:lnTo>
                    <a:pt x="428727" y="205147"/>
                  </a:lnTo>
                  <a:cubicBezTo>
                    <a:pt x="428727" y="252852"/>
                    <a:pt x="389990" y="291590"/>
                    <a:pt x="342284" y="291590"/>
                  </a:cubicBezTo>
                  <a:lnTo>
                    <a:pt x="86443" y="291590"/>
                  </a:lnTo>
                  <a:cubicBezTo>
                    <a:pt x="38737" y="291590"/>
                    <a:pt x="0" y="252852"/>
                    <a:pt x="0" y="205147"/>
                  </a:cubicBezTo>
                  <a:lnTo>
                    <a:pt x="0" y="86443"/>
                  </a:lnTo>
                  <a:cubicBezTo>
                    <a:pt x="0" y="38738"/>
                    <a:pt x="38737" y="0"/>
                    <a:pt x="86443" y="0"/>
                  </a:cubicBezTo>
                  <a:lnTo>
                    <a:pt x="342284" y="0"/>
                  </a:lnTo>
                  <a:cubicBezTo>
                    <a:pt x="390115" y="0"/>
                    <a:pt x="428727" y="38738"/>
                    <a:pt x="428727" y="86443"/>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41" name="TextBox 5598">
              <a:extLst>
                <a:ext uri="{FF2B5EF4-FFF2-40B4-BE49-F238E27FC236}">
                  <a16:creationId xmlns:a16="http://schemas.microsoft.com/office/drawing/2014/main" id="{BB74A297-512B-E703-1E9D-E0D542AC0DD1}"/>
                </a:ext>
              </a:extLst>
            </p:cNvPr>
            <p:cNvSpPr txBox="1"/>
            <p:nvPr/>
          </p:nvSpPr>
          <p:spPr>
            <a:xfrm>
              <a:off x="7498552" y="4999286"/>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6</a:t>
              </a:r>
            </a:p>
          </p:txBody>
        </p:sp>
        <p:sp>
          <p:nvSpPr>
            <p:cNvPr id="7142" name="TextBox 5599">
              <a:extLst>
                <a:ext uri="{FF2B5EF4-FFF2-40B4-BE49-F238E27FC236}">
                  <a16:creationId xmlns:a16="http://schemas.microsoft.com/office/drawing/2014/main" id="{94B03545-8957-E77F-890E-32FB95536011}"/>
                </a:ext>
              </a:extLst>
            </p:cNvPr>
            <p:cNvSpPr txBox="1"/>
            <p:nvPr/>
          </p:nvSpPr>
          <p:spPr>
            <a:xfrm>
              <a:off x="5160259" y="5067747"/>
              <a:ext cx="393056"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accent4"/>
                  </a:solidFill>
                  <a:ea typeface="ヒラギノ角ゴ Pro W3" panose="020B0300000000000000" pitchFamily="34" charset="-128"/>
                  <a:cs typeface="Arial"/>
                  <a:sym typeface="Arial"/>
                </a:rPr>
                <a:t>C5a</a:t>
              </a:r>
            </a:p>
          </p:txBody>
        </p:sp>
        <p:sp>
          <p:nvSpPr>
            <p:cNvPr id="7143" name="TextBox 5600">
              <a:extLst>
                <a:ext uri="{FF2B5EF4-FFF2-40B4-BE49-F238E27FC236}">
                  <a16:creationId xmlns:a16="http://schemas.microsoft.com/office/drawing/2014/main" id="{96088445-8A26-0007-CBEB-478259C3A5F5}"/>
                </a:ext>
              </a:extLst>
            </p:cNvPr>
            <p:cNvSpPr txBox="1"/>
            <p:nvPr/>
          </p:nvSpPr>
          <p:spPr>
            <a:xfrm>
              <a:off x="6606216" y="4985935"/>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chemeClr val="bg1"/>
                  </a:solidFill>
                  <a:ea typeface="ヒラギノ角ゴ Pro W3" panose="020B0300000000000000" pitchFamily="34" charset="-128"/>
                  <a:cs typeface="Arial"/>
                  <a:sym typeface="Arial"/>
                </a:rPr>
                <a:t>C5b</a:t>
              </a:r>
            </a:p>
          </p:txBody>
        </p:sp>
        <p:sp>
          <p:nvSpPr>
            <p:cNvPr id="7145" name="TextBox 5603">
              <a:extLst>
                <a:ext uri="{FF2B5EF4-FFF2-40B4-BE49-F238E27FC236}">
                  <a16:creationId xmlns:a16="http://schemas.microsoft.com/office/drawing/2014/main" id="{8AEEF56B-9EED-5083-12E5-4A0F89C08DE4}"/>
                </a:ext>
              </a:extLst>
            </p:cNvPr>
            <p:cNvSpPr txBox="1"/>
            <p:nvPr/>
          </p:nvSpPr>
          <p:spPr>
            <a:xfrm>
              <a:off x="7903527" y="5043601"/>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5b</a:t>
              </a:r>
            </a:p>
          </p:txBody>
        </p:sp>
        <p:sp>
          <p:nvSpPr>
            <p:cNvPr id="7146" name="TextBox 5604">
              <a:extLst>
                <a:ext uri="{FF2B5EF4-FFF2-40B4-BE49-F238E27FC236}">
                  <a16:creationId xmlns:a16="http://schemas.microsoft.com/office/drawing/2014/main" id="{23BA8C48-6F93-46F9-E257-3BC45FD4DDF6}"/>
                </a:ext>
              </a:extLst>
            </p:cNvPr>
            <p:cNvSpPr txBox="1"/>
            <p:nvPr/>
          </p:nvSpPr>
          <p:spPr>
            <a:xfrm>
              <a:off x="8371524" y="5157317"/>
              <a:ext cx="375424"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000000"/>
                  </a:solidFill>
                  <a:ea typeface="ヒラギノ角ゴ Pro W3" panose="020B0300000000000000" pitchFamily="34" charset="-128"/>
                  <a:cs typeface="Arial"/>
                  <a:sym typeface="Arial"/>
                </a:rPr>
                <a:t>C9</a:t>
              </a:r>
              <a:r>
                <a:rPr lang="en-US" sz="1067" b="1" baseline="-25000" dirty="0">
                  <a:solidFill>
                    <a:srgbClr val="000000"/>
                  </a:solidFill>
                  <a:ea typeface="ヒラギノ角ゴ Pro W3" panose="020B0300000000000000" pitchFamily="34" charset="-128"/>
                  <a:cs typeface="Arial"/>
                  <a:sym typeface="Arial"/>
                </a:rPr>
                <a:t>n</a:t>
              </a:r>
            </a:p>
          </p:txBody>
        </p:sp>
        <p:sp>
          <p:nvSpPr>
            <p:cNvPr id="7149" name="TextBox 5607">
              <a:extLst>
                <a:ext uri="{FF2B5EF4-FFF2-40B4-BE49-F238E27FC236}">
                  <a16:creationId xmlns:a16="http://schemas.microsoft.com/office/drawing/2014/main" id="{7013A298-ED54-F010-AD7F-131BFAD53086}"/>
                </a:ext>
              </a:extLst>
            </p:cNvPr>
            <p:cNvSpPr txBox="1"/>
            <p:nvPr/>
          </p:nvSpPr>
          <p:spPr>
            <a:xfrm>
              <a:off x="4670523" y="4450867"/>
              <a:ext cx="1393587" cy="297454"/>
            </a:xfrm>
            <a:prstGeom prst="rect">
              <a:avLst/>
            </a:prstGeom>
            <a:noFill/>
          </p:spPr>
          <p:txBody>
            <a:bodyPr wrap="none" rtlCol="0">
              <a:spAutoFit/>
            </a:bodyPr>
            <a:lstStyle/>
            <a:p>
              <a:pPr defTabSz="914377" fontAlgn="base">
                <a:spcBef>
                  <a:spcPct val="0"/>
                </a:spcBef>
                <a:spcAft>
                  <a:spcPct val="0"/>
                </a:spcAft>
                <a:defRPr/>
              </a:pPr>
              <a:r>
                <a:rPr lang="en-US" sz="1333" b="1" dirty="0" err="1">
                  <a:solidFill>
                    <a:schemeClr val="tx2"/>
                  </a:solidFill>
                  <a:ea typeface="ヒラギノ角ゴ Pro W3" panose="020B0300000000000000" pitchFamily="34" charset="-128"/>
                  <a:cs typeface="Arial"/>
                  <a:sym typeface="Arial"/>
                </a:rPr>
                <a:t>Conversão</a:t>
              </a:r>
              <a:r>
                <a:rPr lang="en-US" sz="1333" b="1" dirty="0">
                  <a:solidFill>
                    <a:schemeClr val="tx2"/>
                  </a:solidFill>
                  <a:ea typeface="ヒラギノ角ゴ Pro W3" panose="020B0300000000000000" pitchFamily="34" charset="-128"/>
                  <a:cs typeface="Arial"/>
                  <a:sym typeface="Arial"/>
                </a:rPr>
                <a:t> de C5 </a:t>
              </a:r>
            </a:p>
          </p:txBody>
        </p:sp>
        <p:sp>
          <p:nvSpPr>
            <p:cNvPr id="7159" name="TextBox 5619">
              <a:extLst>
                <a:ext uri="{FF2B5EF4-FFF2-40B4-BE49-F238E27FC236}">
                  <a16:creationId xmlns:a16="http://schemas.microsoft.com/office/drawing/2014/main" id="{614ABBCC-5C29-FAD5-8D67-AC2BDEDD9FB5}"/>
                </a:ext>
              </a:extLst>
            </p:cNvPr>
            <p:cNvSpPr txBox="1"/>
            <p:nvPr/>
          </p:nvSpPr>
          <p:spPr>
            <a:xfrm>
              <a:off x="7414454" y="4483968"/>
              <a:ext cx="1648671" cy="420756"/>
            </a:xfrm>
            <a:prstGeom prst="rect">
              <a:avLst/>
            </a:prstGeom>
            <a:noFill/>
          </p:spPr>
          <p:txBody>
            <a:bodyPr wrap="square" rtlCol="0">
              <a:spAutoFit/>
            </a:bodyPr>
            <a:lstStyle/>
            <a:p>
              <a:pPr algn="ctr" defTabSz="914377" fontAlgn="base">
                <a:spcBef>
                  <a:spcPct val="0"/>
                </a:spcBef>
                <a:spcAft>
                  <a:spcPct val="0"/>
                </a:spcAft>
                <a:defRPr/>
              </a:pPr>
              <a:r>
                <a:rPr lang="en-US" sz="1067" b="1" dirty="0" err="1">
                  <a:solidFill>
                    <a:schemeClr val="tx2"/>
                  </a:solidFill>
                  <a:ea typeface="ヒラギノ角ゴ Pro W3" panose="020B0300000000000000" pitchFamily="34" charset="-128"/>
                  <a:cs typeface="Arial"/>
                  <a:sym typeface="Arial"/>
                </a:rPr>
                <a:t>Complexo</a:t>
              </a:r>
              <a:r>
                <a:rPr lang="en-US" sz="1067" b="1" dirty="0">
                  <a:solidFill>
                    <a:schemeClr val="tx2"/>
                  </a:solidFill>
                  <a:ea typeface="ヒラギノ角ゴ Pro W3" panose="020B0300000000000000" pitchFamily="34" charset="-128"/>
                  <a:cs typeface="Arial"/>
                  <a:sym typeface="Arial"/>
                </a:rPr>
                <a:t> de </a:t>
              </a:r>
              <a:r>
                <a:rPr lang="en-US" sz="1067" b="1" dirty="0" err="1">
                  <a:solidFill>
                    <a:schemeClr val="tx2"/>
                  </a:solidFill>
                  <a:ea typeface="ヒラギノ角ゴ Pro W3" panose="020B0300000000000000" pitchFamily="34" charset="-128"/>
                  <a:cs typeface="Arial"/>
                  <a:sym typeface="Arial"/>
                </a:rPr>
                <a:t>ataque</a:t>
              </a:r>
              <a:r>
                <a:rPr lang="en-US" sz="1067" b="1" dirty="0">
                  <a:solidFill>
                    <a:schemeClr val="tx2"/>
                  </a:solidFill>
                  <a:ea typeface="ヒラギノ角ゴ Pro W3" panose="020B0300000000000000" pitchFamily="34" charset="-128"/>
                  <a:cs typeface="Arial"/>
                  <a:sym typeface="Arial"/>
                </a:rPr>
                <a:t> à membrana (MAC)</a:t>
              </a:r>
            </a:p>
          </p:txBody>
        </p:sp>
        <p:sp>
          <p:nvSpPr>
            <p:cNvPr id="7165" name="TextBox 5626">
              <a:extLst>
                <a:ext uri="{FF2B5EF4-FFF2-40B4-BE49-F238E27FC236}">
                  <a16:creationId xmlns:a16="http://schemas.microsoft.com/office/drawing/2014/main" id="{32083606-8616-9976-649B-E4E680567E39}"/>
                </a:ext>
              </a:extLst>
            </p:cNvPr>
            <p:cNvSpPr txBox="1"/>
            <p:nvPr/>
          </p:nvSpPr>
          <p:spPr>
            <a:xfrm>
              <a:off x="3698209" y="4887300"/>
              <a:ext cx="2921427" cy="584775"/>
            </a:xfrm>
            <a:prstGeom prst="rect">
              <a:avLst/>
            </a:prstGeom>
            <a:noFill/>
          </p:spPr>
          <p:txBody>
            <a:bodyPr wrap="square" rtlCol="0">
              <a:spAutoFit/>
            </a:bodyPr>
            <a:lstStyle/>
            <a:p>
              <a:pPr defTabSz="914377" fontAlgn="base">
                <a:spcBef>
                  <a:spcPct val="0"/>
                </a:spcBef>
                <a:spcAft>
                  <a:spcPct val="0"/>
                </a:spcAft>
                <a:defRPr/>
              </a:pPr>
              <a:r>
                <a:rPr lang="en-US" sz="1600" b="1" dirty="0" err="1">
                  <a:solidFill>
                    <a:schemeClr val="tx2"/>
                  </a:solidFill>
                  <a:latin typeface="+mj-lt"/>
                  <a:ea typeface="ヒラギノ角ゴ Pro W3" panose="020B0300000000000000" pitchFamily="34" charset="-128"/>
                  <a:cs typeface="Arial"/>
                  <a:sym typeface="Arial"/>
                </a:rPr>
                <a:t>Complemento</a:t>
              </a:r>
              <a:r>
                <a:rPr lang="en-US" sz="1600" b="1" dirty="0">
                  <a:solidFill>
                    <a:schemeClr val="tx2"/>
                  </a:solidFill>
                  <a:latin typeface="+mj-lt"/>
                  <a:ea typeface="ヒラギノ角ゴ Pro W3" panose="020B0300000000000000" pitchFamily="34" charset="-128"/>
                  <a:cs typeface="Arial"/>
                  <a:sym typeface="Arial"/>
                </a:rPr>
                <a:t> </a:t>
              </a:r>
            </a:p>
            <a:p>
              <a:pPr defTabSz="914377" fontAlgn="base">
                <a:spcBef>
                  <a:spcPct val="0"/>
                </a:spcBef>
                <a:spcAft>
                  <a:spcPct val="0"/>
                </a:spcAft>
                <a:defRPr/>
              </a:pPr>
              <a:r>
                <a:rPr lang="en-US" sz="1600" b="1" dirty="0">
                  <a:solidFill>
                    <a:schemeClr val="tx2"/>
                  </a:solidFill>
                  <a:latin typeface="+mj-lt"/>
                  <a:ea typeface="ヒラギノ角ゴ Pro W3" panose="020B0300000000000000" pitchFamily="34" charset="-128"/>
                  <a:cs typeface="Arial"/>
                  <a:sym typeface="Arial"/>
                </a:rPr>
                <a:t>terminal</a:t>
              </a:r>
            </a:p>
          </p:txBody>
        </p:sp>
        <p:sp>
          <p:nvSpPr>
            <p:cNvPr id="7183" name="Freeform 2993">
              <a:extLst>
                <a:ext uri="{FF2B5EF4-FFF2-40B4-BE49-F238E27FC236}">
                  <a16:creationId xmlns:a16="http://schemas.microsoft.com/office/drawing/2014/main" id="{CD5C6D12-33DE-473E-430F-0B89D21E32A2}"/>
                </a:ext>
              </a:extLst>
            </p:cNvPr>
            <p:cNvSpPr/>
            <p:nvPr/>
          </p:nvSpPr>
          <p:spPr>
            <a:xfrm>
              <a:off x="4767819" y="5626301"/>
              <a:ext cx="6571413" cy="558867"/>
            </a:xfrm>
            <a:custGeom>
              <a:avLst/>
              <a:gdLst>
                <a:gd name="connsiteX0" fmla="*/ 6571414 w 6571413"/>
                <a:gd name="connsiteY0" fmla="*/ 558868 h 558867"/>
                <a:gd name="connsiteX1" fmla="*/ 2284513 w 6571413"/>
                <a:gd name="connsiteY1" fmla="*/ 72221 h 558867"/>
                <a:gd name="connsiteX2" fmla="*/ 0 w 6571413"/>
                <a:gd name="connsiteY2" fmla="*/ 558868 h 558867"/>
                <a:gd name="connsiteX3" fmla="*/ 6571414 w 6571413"/>
                <a:gd name="connsiteY3" fmla="*/ 558868 h 558867"/>
              </a:gdLst>
              <a:ahLst/>
              <a:cxnLst>
                <a:cxn ang="0">
                  <a:pos x="connsiteX0" y="connsiteY0"/>
                </a:cxn>
                <a:cxn ang="0">
                  <a:pos x="connsiteX1" y="connsiteY1"/>
                </a:cxn>
                <a:cxn ang="0">
                  <a:pos x="connsiteX2" y="connsiteY2"/>
                </a:cxn>
                <a:cxn ang="0">
                  <a:pos x="connsiteX3" y="connsiteY3"/>
                </a:cxn>
              </a:cxnLst>
              <a:rect l="l" t="t" r="r" b="b"/>
              <a:pathLst>
                <a:path w="6571413" h="558867">
                  <a:moveTo>
                    <a:pt x="6571414" y="558868"/>
                  </a:moveTo>
                  <a:cubicBezTo>
                    <a:pt x="5644456" y="86420"/>
                    <a:pt x="4052982" y="-121715"/>
                    <a:pt x="2284513" y="72221"/>
                  </a:cubicBezTo>
                  <a:cubicBezTo>
                    <a:pt x="1449353" y="163895"/>
                    <a:pt x="672238" y="334539"/>
                    <a:pt x="0" y="558868"/>
                  </a:cubicBezTo>
                  <a:lnTo>
                    <a:pt x="6571414" y="558868"/>
                  </a:lnTo>
                  <a:close/>
                </a:path>
              </a:pathLst>
            </a:custGeom>
            <a:gradFill>
              <a:gsLst>
                <a:gs pos="99000">
                  <a:srgbClr val="B52455">
                    <a:lumMod val="60000"/>
                    <a:lumOff val="40000"/>
                  </a:srgbClr>
                </a:gs>
                <a:gs pos="0">
                  <a:srgbClr val="FFFFFF"/>
                </a:gs>
              </a:gsLst>
              <a:lin ang="16200000" scaled="0"/>
            </a:gra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nvGrpSpPr>
            <p:cNvPr id="7184" name="Graphic 2987">
              <a:extLst>
                <a:ext uri="{FF2B5EF4-FFF2-40B4-BE49-F238E27FC236}">
                  <a16:creationId xmlns:a16="http://schemas.microsoft.com/office/drawing/2014/main" id="{DC307774-240D-8C87-2487-D5F163D5E73F}"/>
                </a:ext>
              </a:extLst>
            </p:cNvPr>
            <p:cNvGrpSpPr/>
            <p:nvPr/>
          </p:nvGrpSpPr>
          <p:grpSpPr>
            <a:xfrm>
              <a:off x="8216729" y="5428032"/>
              <a:ext cx="654659" cy="689069"/>
              <a:chOff x="7861128" y="5428032"/>
              <a:chExt cx="654659" cy="689069"/>
            </a:xfrm>
            <a:solidFill>
              <a:srgbClr val="FFF4B5"/>
            </a:solidFill>
          </p:grpSpPr>
          <p:sp>
            <p:nvSpPr>
              <p:cNvPr id="7185" name="Freeform 8866">
                <a:extLst>
                  <a:ext uri="{FF2B5EF4-FFF2-40B4-BE49-F238E27FC236}">
                    <a16:creationId xmlns:a16="http://schemas.microsoft.com/office/drawing/2014/main" id="{60FF6E94-A0C7-3BC2-834E-6705D3C29AEE}"/>
                  </a:ext>
                </a:extLst>
              </p:cNvPr>
              <p:cNvSpPr/>
              <p:nvPr/>
            </p:nvSpPr>
            <p:spPr>
              <a:xfrm>
                <a:off x="8046923" y="5428173"/>
                <a:ext cx="277888" cy="606222"/>
              </a:xfrm>
              <a:custGeom>
                <a:avLst/>
                <a:gdLst>
                  <a:gd name="connsiteX0" fmla="*/ 272782 w 277888"/>
                  <a:gd name="connsiteY0" fmla="*/ 606222 h 606222"/>
                  <a:gd name="connsiteX1" fmla="*/ 0 w 277888"/>
                  <a:gd name="connsiteY1" fmla="*/ 603980 h 606222"/>
                  <a:gd name="connsiteX2" fmla="*/ 5107 w 277888"/>
                  <a:gd name="connsiteY2" fmla="*/ 0 h 606222"/>
                  <a:gd name="connsiteX3" fmla="*/ 277888 w 277888"/>
                  <a:gd name="connsiteY3" fmla="*/ 2242 h 606222"/>
                </a:gdLst>
                <a:ahLst/>
                <a:cxnLst>
                  <a:cxn ang="0">
                    <a:pos x="connsiteX0" y="connsiteY0"/>
                  </a:cxn>
                  <a:cxn ang="0">
                    <a:pos x="connsiteX1" y="connsiteY1"/>
                  </a:cxn>
                  <a:cxn ang="0">
                    <a:pos x="connsiteX2" y="connsiteY2"/>
                  </a:cxn>
                  <a:cxn ang="0">
                    <a:pos x="connsiteX3" y="connsiteY3"/>
                  </a:cxn>
                </a:cxnLst>
                <a:rect l="l" t="t" r="r" b="b"/>
                <a:pathLst>
                  <a:path w="277888" h="606222">
                    <a:moveTo>
                      <a:pt x="272782" y="606222"/>
                    </a:moveTo>
                    <a:lnTo>
                      <a:pt x="0" y="603980"/>
                    </a:lnTo>
                    <a:lnTo>
                      <a:pt x="5107" y="0"/>
                    </a:lnTo>
                    <a:lnTo>
                      <a:pt x="277888" y="2242"/>
                    </a:ln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nvGrpSpPr>
              <p:cNvPr id="7186" name="Graphic 2987">
                <a:extLst>
                  <a:ext uri="{FF2B5EF4-FFF2-40B4-BE49-F238E27FC236}">
                    <a16:creationId xmlns:a16="http://schemas.microsoft.com/office/drawing/2014/main" id="{3FAD056D-5F0E-D0F3-405A-FCC23E1521F2}"/>
                  </a:ext>
                </a:extLst>
              </p:cNvPr>
              <p:cNvGrpSpPr/>
              <p:nvPr/>
            </p:nvGrpSpPr>
            <p:grpSpPr>
              <a:xfrm>
                <a:off x="7861128" y="5428032"/>
                <a:ext cx="253183" cy="684711"/>
                <a:chOff x="7861128" y="5428032"/>
                <a:chExt cx="253183" cy="684711"/>
              </a:xfrm>
              <a:solidFill>
                <a:srgbClr val="FFF4B5"/>
              </a:solidFill>
            </p:grpSpPr>
            <p:sp>
              <p:nvSpPr>
                <p:cNvPr id="7191" name="Freeform 8868">
                  <a:extLst>
                    <a:ext uri="{FF2B5EF4-FFF2-40B4-BE49-F238E27FC236}">
                      <a16:creationId xmlns:a16="http://schemas.microsoft.com/office/drawing/2014/main" id="{CB769C21-0274-094C-A464-503D5EAEB735}"/>
                    </a:ext>
                  </a:extLst>
                </p:cNvPr>
                <p:cNvSpPr/>
                <p:nvPr/>
              </p:nvSpPr>
              <p:spPr>
                <a:xfrm>
                  <a:off x="7948772" y="5428032"/>
                  <a:ext cx="165539" cy="618321"/>
                </a:xfrm>
                <a:custGeom>
                  <a:avLst/>
                  <a:gdLst>
                    <a:gd name="connsiteX0" fmla="*/ 102387 w 165539"/>
                    <a:gd name="connsiteY0" fmla="*/ 17 h 618321"/>
                    <a:gd name="connsiteX1" fmla="*/ 165538 w 165539"/>
                    <a:gd name="connsiteY1" fmla="*/ 56441 h 618321"/>
                    <a:gd name="connsiteX2" fmla="*/ 160804 w 165539"/>
                    <a:gd name="connsiteY2" fmla="*/ 606613 h 618321"/>
                    <a:gd name="connsiteX3" fmla="*/ 115465 w 165539"/>
                    <a:gd name="connsiteY3" fmla="*/ 608107 h 618321"/>
                    <a:gd name="connsiteX4" fmla="*/ 74859 w 165539"/>
                    <a:gd name="connsiteY4" fmla="*/ 618321 h 618321"/>
                    <a:gd name="connsiteX5" fmla="*/ 79468 w 165539"/>
                    <a:gd name="connsiteY5" fmla="*/ 79734 h 618321"/>
                    <a:gd name="connsiteX6" fmla="*/ 0 w 165539"/>
                    <a:gd name="connsiteY6" fmla="*/ 16458 h 618321"/>
                    <a:gd name="connsiteX7" fmla="*/ 102387 w 165539"/>
                    <a:gd name="connsiteY7" fmla="*/ 17 h 6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39" h="618321">
                      <a:moveTo>
                        <a:pt x="102387" y="17"/>
                      </a:moveTo>
                      <a:cubicBezTo>
                        <a:pt x="144737" y="390"/>
                        <a:pt x="165786" y="24679"/>
                        <a:pt x="165538" y="56441"/>
                      </a:cubicBezTo>
                      <a:cubicBezTo>
                        <a:pt x="165288" y="88204"/>
                        <a:pt x="160804" y="606613"/>
                        <a:pt x="160804" y="606613"/>
                      </a:cubicBezTo>
                      <a:cubicBezTo>
                        <a:pt x="160804" y="606613"/>
                        <a:pt x="142494" y="604495"/>
                        <a:pt x="115465" y="608107"/>
                      </a:cubicBezTo>
                      <a:cubicBezTo>
                        <a:pt x="88436" y="611720"/>
                        <a:pt x="74859" y="618321"/>
                        <a:pt x="74859" y="618321"/>
                      </a:cubicBezTo>
                      <a:lnTo>
                        <a:pt x="79468" y="79734"/>
                      </a:lnTo>
                      <a:lnTo>
                        <a:pt x="0" y="16458"/>
                      </a:lnTo>
                      <a:cubicBezTo>
                        <a:pt x="0" y="16458"/>
                        <a:pt x="35873" y="-606"/>
                        <a:pt x="102387" y="17"/>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2" name="Freeform 8869">
                  <a:extLst>
                    <a:ext uri="{FF2B5EF4-FFF2-40B4-BE49-F238E27FC236}">
                      <a16:creationId xmlns:a16="http://schemas.microsoft.com/office/drawing/2014/main" id="{05ED7E10-1870-B3BE-AC6E-1F3075D0D1E2}"/>
                    </a:ext>
                  </a:extLst>
                </p:cNvPr>
                <p:cNvSpPr/>
                <p:nvPr/>
              </p:nvSpPr>
              <p:spPr>
                <a:xfrm>
                  <a:off x="7884750" y="5441747"/>
                  <a:ext cx="144613" cy="658414"/>
                </a:xfrm>
                <a:custGeom>
                  <a:avLst/>
                  <a:gdLst>
                    <a:gd name="connsiteX0" fmla="*/ 138881 w 144613"/>
                    <a:gd name="connsiteY0" fmla="*/ 604606 h 658414"/>
                    <a:gd name="connsiteX1" fmla="*/ 102137 w 144613"/>
                    <a:gd name="connsiteY1" fmla="*/ 623538 h 658414"/>
                    <a:gd name="connsiteX2" fmla="*/ 74236 w 144613"/>
                    <a:gd name="connsiteY2" fmla="*/ 658415 h 658414"/>
                    <a:gd name="connsiteX3" fmla="*/ 79592 w 144613"/>
                    <a:gd name="connsiteY3" fmla="*/ 91428 h 658414"/>
                    <a:gd name="connsiteX4" fmla="*/ 0 w 144613"/>
                    <a:gd name="connsiteY4" fmla="*/ 38367 h 658414"/>
                    <a:gd name="connsiteX5" fmla="*/ 92920 w 144613"/>
                    <a:gd name="connsiteY5" fmla="*/ 3 h 658414"/>
                    <a:gd name="connsiteX6" fmla="*/ 144611 w 144613"/>
                    <a:gd name="connsiteY6" fmla="*/ 44844 h 658414"/>
                    <a:gd name="connsiteX7" fmla="*/ 138881 w 144613"/>
                    <a:gd name="connsiteY7" fmla="*/ 604606 h 65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13" h="658414">
                      <a:moveTo>
                        <a:pt x="138881" y="604606"/>
                      </a:moveTo>
                      <a:cubicBezTo>
                        <a:pt x="138881" y="604606"/>
                        <a:pt x="123436" y="608342"/>
                        <a:pt x="102137" y="623538"/>
                      </a:cubicBezTo>
                      <a:cubicBezTo>
                        <a:pt x="80838" y="638734"/>
                        <a:pt x="74236" y="658415"/>
                        <a:pt x="74236" y="658415"/>
                      </a:cubicBezTo>
                      <a:lnTo>
                        <a:pt x="79592" y="91428"/>
                      </a:lnTo>
                      <a:lnTo>
                        <a:pt x="0" y="38367"/>
                      </a:lnTo>
                      <a:cubicBezTo>
                        <a:pt x="0" y="38367"/>
                        <a:pt x="42848" y="-371"/>
                        <a:pt x="92920" y="3"/>
                      </a:cubicBezTo>
                      <a:cubicBezTo>
                        <a:pt x="125678" y="252"/>
                        <a:pt x="144861" y="16818"/>
                        <a:pt x="144611" y="44844"/>
                      </a:cubicBezTo>
                      <a:cubicBezTo>
                        <a:pt x="144611" y="44844"/>
                        <a:pt x="138881" y="604606"/>
                        <a:pt x="138881" y="604606"/>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3" name="Freeform 8870">
                  <a:extLst>
                    <a:ext uri="{FF2B5EF4-FFF2-40B4-BE49-F238E27FC236}">
                      <a16:creationId xmlns:a16="http://schemas.microsoft.com/office/drawing/2014/main" id="{5C6B07F2-FA29-C67F-F3C6-B748465A32A4}"/>
                    </a:ext>
                  </a:extLst>
                </p:cNvPr>
                <p:cNvSpPr/>
                <p:nvPr/>
              </p:nvSpPr>
              <p:spPr>
                <a:xfrm>
                  <a:off x="7861128" y="5465538"/>
                  <a:ext cx="104003" cy="647204"/>
                </a:xfrm>
                <a:custGeom>
                  <a:avLst/>
                  <a:gdLst>
                    <a:gd name="connsiteX0" fmla="*/ 103961 w 104003"/>
                    <a:gd name="connsiteY0" fmla="*/ 49700 h 647204"/>
                    <a:gd name="connsiteX1" fmla="*/ 89140 w 104003"/>
                    <a:gd name="connsiteY1" fmla="*/ 16817 h 647204"/>
                    <a:gd name="connsiteX2" fmla="*/ 53391 w 104003"/>
                    <a:gd name="connsiteY2" fmla="*/ 2 h 647204"/>
                    <a:gd name="connsiteX3" fmla="*/ 23622 w 104003"/>
                    <a:gd name="connsiteY3" fmla="*/ 14575 h 647204"/>
                    <a:gd name="connsiteX4" fmla="*/ 5312 w 104003"/>
                    <a:gd name="connsiteY4" fmla="*/ 47334 h 647204"/>
                    <a:gd name="connsiteX5" fmla="*/ 3568 w 104003"/>
                    <a:gd name="connsiteY5" fmla="*/ 52316 h 647204"/>
                    <a:gd name="connsiteX6" fmla="*/ 6433 w 104003"/>
                    <a:gd name="connsiteY6" fmla="*/ 91676 h 647204"/>
                    <a:gd name="connsiteX7" fmla="*/ 49904 w 104003"/>
                    <a:gd name="connsiteY7" fmla="*/ 93295 h 647204"/>
                    <a:gd name="connsiteX8" fmla="*/ 84032 w 104003"/>
                    <a:gd name="connsiteY8" fmla="*/ 113972 h 647204"/>
                    <a:gd name="connsiteX9" fmla="*/ 78302 w 104003"/>
                    <a:gd name="connsiteY9" fmla="*/ 635869 h 647204"/>
                    <a:gd name="connsiteX10" fmla="*/ 88143 w 104003"/>
                    <a:gd name="connsiteY10" fmla="*/ 647203 h 647204"/>
                    <a:gd name="connsiteX11" fmla="*/ 97983 w 104003"/>
                    <a:gd name="connsiteY11" fmla="*/ 634499 h 647204"/>
                    <a:gd name="connsiteX12" fmla="*/ 103961 w 104003"/>
                    <a:gd name="connsiteY12" fmla="*/ 49700 h 64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003" h="647204">
                      <a:moveTo>
                        <a:pt x="103961" y="49700"/>
                      </a:moveTo>
                      <a:cubicBezTo>
                        <a:pt x="102716" y="37494"/>
                        <a:pt x="97983" y="25661"/>
                        <a:pt x="89140" y="16817"/>
                      </a:cubicBezTo>
                      <a:cubicBezTo>
                        <a:pt x="84406" y="12084"/>
                        <a:pt x="68463" y="126"/>
                        <a:pt x="53391" y="2"/>
                      </a:cubicBezTo>
                      <a:cubicBezTo>
                        <a:pt x="38320" y="-123"/>
                        <a:pt x="31469" y="6354"/>
                        <a:pt x="23622" y="14575"/>
                      </a:cubicBezTo>
                      <a:cubicBezTo>
                        <a:pt x="14903" y="23792"/>
                        <a:pt x="8550" y="35127"/>
                        <a:pt x="5312" y="47334"/>
                      </a:cubicBezTo>
                      <a:cubicBezTo>
                        <a:pt x="4689" y="48953"/>
                        <a:pt x="4066" y="50697"/>
                        <a:pt x="3568" y="52316"/>
                      </a:cubicBezTo>
                      <a:cubicBezTo>
                        <a:pt x="-542" y="65270"/>
                        <a:pt x="-2784" y="80217"/>
                        <a:pt x="6433" y="91676"/>
                      </a:cubicBezTo>
                      <a:cubicBezTo>
                        <a:pt x="18017" y="105876"/>
                        <a:pt x="35579" y="95039"/>
                        <a:pt x="49904" y="93295"/>
                      </a:cubicBezTo>
                      <a:cubicBezTo>
                        <a:pt x="57501" y="92424"/>
                        <a:pt x="84157" y="90181"/>
                        <a:pt x="84032" y="113972"/>
                      </a:cubicBezTo>
                      <a:cubicBezTo>
                        <a:pt x="83908" y="122816"/>
                        <a:pt x="77804" y="634748"/>
                        <a:pt x="78302" y="635869"/>
                      </a:cubicBezTo>
                      <a:cubicBezTo>
                        <a:pt x="77804" y="641349"/>
                        <a:pt x="81043" y="647203"/>
                        <a:pt x="88143" y="647203"/>
                      </a:cubicBezTo>
                      <a:cubicBezTo>
                        <a:pt x="95865" y="647328"/>
                        <a:pt x="99104" y="640353"/>
                        <a:pt x="97983" y="634499"/>
                      </a:cubicBezTo>
                      <a:cubicBezTo>
                        <a:pt x="98107" y="634000"/>
                        <a:pt x="104585" y="55181"/>
                        <a:pt x="103961" y="49700"/>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nvGrpSpPr>
              <p:cNvPr id="7187" name="Graphic 2987">
                <a:extLst>
                  <a:ext uri="{FF2B5EF4-FFF2-40B4-BE49-F238E27FC236}">
                    <a16:creationId xmlns:a16="http://schemas.microsoft.com/office/drawing/2014/main" id="{28C88741-BC70-A67E-2E06-C202C8DFE115}"/>
                  </a:ext>
                </a:extLst>
              </p:cNvPr>
              <p:cNvGrpSpPr/>
              <p:nvPr/>
            </p:nvGrpSpPr>
            <p:grpSpPr>
              <a:xfrm>
                <a:off x="8258796" y="5430411"/>
                <a:ext cx="256991" cy="686690"/>
                <a:chOff x="8258796" y="5430411"/>
                <a:chExt cx="256991" cy="686690"/>
              </a:xfrm>
              <a:solidFill>
                <a:srgbClr val="FFF4B5"/>
              </a:solidFill>
            </p:grpSpPr>
            <p:sp>
              <p:nvSpPr>
                <p:cNvPr id="7188" name="Freeform 8872">
                  <a:extLst>
                    <a:ext uri="{FF2B5EF4-FFF2-40B4-BE49-F238E27FC236}">
                      <a16:creationId xmlns:a16="http://schemas.microsoft.com/office/drawing/2014/main" id="{CA6CDFA2-54A5-DF25-8E3F-3CCA12A1CBC5}"/>
                    </a:ext>
                  </a:extLst>
                </p:cNvPr>
                <p:cNvSpPr/>
                <p:nvPr/>
              </p:nvSpPr>
              <p:spPr>
                <a:xfrm>
                  <a:off x="8258796" y="5430411"/>
                  <a:ext cx="170893" cy="618807"/>
                </a:xfrm>
                <a:custGeom>
                  <a:avLst/>
                  <a:gdLst>
                    <a:gd name="connsiteX0" fmla="*/ 68881 w 170893"/>
                    <a:gd name="connsiteY0" fmla="*/ 4 h 618807"/>
                    <a:gd name="connsiteX1" fmla="*/ 4733 w 170893"/>
                    <a:gd name="connsiteY1" fmla="*/ 55308 h 618807"/>
                    <a:gd name="connsiteX2" fmla="*/ 0 w 170893"/>
                    <a:gd name="connsiteY2" fmla="*/ 605479 h 618807"/>
                    <a:gd name="connsiteX3" fmla="*/ 45339 w 170893"/>
                    <a:gd name="connsiteY3" fmla="*/ 607846 h 618807"/>
                    <a:gd name="connsiteX4" fmla="*/ 85696 w 170893"/>
                    <a:gd name="connsiteY4" fmla="*/ 618807 h 618807"/>
                    <a:gd name="connsiteX5" fmla="*/ 90304 w 170893"/>
                    <a:gd name="connsiteY5" fmla="*/ 80219 h 618807"/>
                    <a:gd name="connsiteX6" fmla="*/ 170894 w 170893"/>
                    <a:gd name="connsiteY6" fmla="*/ 18190 h 618807"/>
                    <a:gd name="connsiteX7" fmla="*/ 68881 w 170893"/>
                    <a:gd name="connsiteY7" fmla="*/ 4 h 6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93" h="618807">
                      <a:moveTo>
                        <a:pt x="68881" y="4"/>
                      </a:moveTo>
                      <a:cubicBezTo>
                        <a:pt x="26531" y="-369"/>
                        <a:pt x="5107" y="23546"/>
                        <a:pt x="4733" y="55308"/>
                      </a:cubicBezTo>
                      <a:cubicBezTo>
                        <a:pt x="4484" y="87070"/>
                        <a:pt x="0" y="605479"/>
                        <a:pt x="0" y="605479"/>
                      </a:cubicBezTo>
                      <a:cubicBezTo>
                        <a:pt x="0" y="605479"/>
                        <a:pt x="18310" y="603735"/>
                        <a:pt x="45339" y="607846"/>
                      </a:cubicBezTo>
                      <a:cubicBezTo>
                        <a:pt x="72243" y="611956"/>
                        <a:pt x="85696" y="618807"/>
                        <a:pt x="85696" y="618807"/>
                      </a:cubicBezTo>
                      <a:lnTo>
                        <a:pt x="90304" y="80219"/>
                      </a:lnTo>
                      <a:lnTo>
                        <a:pt x="170894" y="18190"/>
                      </a:lnTo>
                      <a:cubicBezTo>
                        <a:pt x="170894" y="18190"/>
                        <a:pt x="135394" y="503"/>
                        <a:pt x="68881" y="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89" name="Freeform 8873">
                  <a:extLst>
                    <a:ext uri="{FF2B5EF4-FFF2-40B4-BE49-F238E27FC236}">
                      <a16:creationId xmlns:a16="http://schemas.microsoft.com/office/drawing/2014/main" id="{E9FC8CB3-A68C-5D87-5775-A00B3FDC2D0F}"/>
                    </a:ext>
                  </a:extLst>
                </p:cNvPr>
                <p:cNvSpPr/>
                <p:nvPr/>
              </p:nvSpPr>
              <p:spPr>
                <a:xfrm>
                  <a:off x="8344617" y="5445359"/>
                  <a:ext cx="148472" cy="658663"/>
                </a:xfrm>
                <a:custGeom>
                  <a:avLst/>
                  <a:gdLst>
                    <a:gd name="connsiteX0" fmla="*/ 0 w 148472"/>
                    <a:gd name="connsiteY0" fmla="*/ 603734 h 658663"/>
                    <a:gd name="connsiteX1" fmla="*/ 36495 w 148472"/>
                    <a:gd name="connsiteY1" fmla="*/ 623290 h 658663"/>
                    <a:gd name="connsiteX2" fmla="*/ 63773 w 148472"/>
                    <a:gd name="connsiteY2" fmla="*/ 658664 h 658663"/>
                    <a:gd name="connsiteX3" fmla="*/ 68009 w 148472"/>
                    <a:gd name="connsiteY3" fmla="*/ 91677 h 658663"/>
                    <a:gd name="connsiteX4" fmla="*/ 148473 w 148472"/>
                    <a:gd name="connsiteY4" fmla="*/ 39986 h 658663"/>
                    <a:gd name="connsiteX5" fmla="*/ 56176 w 148472"/>
                    <a:gd name="connsiteY5" fmla="*/ 3 h 658663"/>
                    <a:gd name="connsiteX6" fmla="*/ 3737 w 148472"/>
                    <a:gd name="connsiteY6" fmla="*/ 43847 h 658663"/>
                    <a:gd name="connsiteX7" fmla="*/ 0 w 148472"/>
                    <a:gd name="connsiteY7" fmla="*/ 603734 h 6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72" h="658663">
                      <a:moveTo>
                        <a:pt x="0" y="603734"/>
                      </a:moveTo>
                      <a:cubicBezTo>
                        <a:pt x="0" y="603734"/>
                        <a:pt x="15445" y="607720"/>
                        <a:pt x="36495" y="623290"/>
                      </a:cubicBezTo>
                      <a:cubicBezTo>
                        <a:pt x="57546" y="638859"/>
                        <a:pt x="63773" y="658664"/>
                        <a:pt x="63773" y="658664"/>
                      </a:cubicBezTo>
                      <a:lnTo>
                        <a:pt x="68009" y="91677"/>
                      </a:lnTo>
                      <a:lnTo>
                        <a:pt x="148473" y="39986"/>
                      </a:lnTo>
                      <a:cubicBezTo>
                        <a:pt x="148473" y="39986"/>
                        <a:pt x="106372" y="501"/>
                        <a:pt x="56176" y="3"/>
                      </a:cubicBezTo>
                      <a:cubicBezTo>
                        <a:pt x="23417" y="-246"/>
                        <a:pt x="3986" y="15946"/>
                        <a:pt x="3737" y="43847"/>
                      </a:cubicBezTo>
                      <a:cubicBezTo>
                        <a:pt x="3861" y="43972"/>
                        <a:pt x="0" y="603734"/>
                        <a:pt x="0" y="603734"/>
                      </a:cubicBezTo>
                      <a:close/>
                    </a:path>
                  </a:pathLst>
                </a:custGeom>
                <a:solidFill>
                  <a:srgbClr val="FFF4B5"/>
                </a:solidFill>
                <a:ln w="12452" cap="rnd">
                  <a:solidFill>
                    <a:srgbClr val="CC6600"/>
                  </a:solidFill>
                  <a:prstDash val="solid"/>
                  <a:round/>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sp>
              <p:nvSpPr>
                <p:cNvPr id="7190" name="Freeform 8874">
                  <a:extLst>
                    <a:ext uri="{FF2B5EF4-FFF2-40B4-BE49-F238E27FC236}">
                      <a16:creationId xmlns:a16="http://schemas.microsoft.com/office/drawing/2014/main" id="{8143E384-FC2D-0A90-60C9-6D90824E017F}"/>
                    </a:ext>
                  </a:extLst>
                </p:cNvPr>
                <p:cNvSpPr/>
                <p:nvPr/>
              </p:nvSpPr>
              <p:spPr>
                <a:xfrm>
                  <a:off x="8407999" y="5470148"/>
                  <a:ext cx="107788" cy="646953"/>
                </a:xfrm>
                <a:custGeom>
                  <a:avLst/>
                  <a:gdLst>
                    <a:gd name="connsiteX0" fmla="*/ 4252 w 107788"/>
                    <a:gd name="connsiteY0" fmla="*/ 48828 h 646953"/>
                    <a:gd name="connsiteX1" fmla="*/ 19572 w 107788"/>
                    <a:gd name="connsiteY1" fmla="*/ 16194 h 646953"/>
                    <a:gd name="connsiteX2" fmla="*/ 55570 w 107788"/>
                    <a:gd name="connsiteY2" fmla="*/ 1 h 646953"/>
                    <a:gd name="connsiteX3" fmla="*/ 85090 w 107788"/>
                    <a:gd name="connsiteY3" fmla="*/ 15197 h 646953"/>
                    <a:gd name="connsiteX4" fmla="*/ 102901 w 107788"/>
                    <a:gd name="connsiteY4" fmla="*/ 48329 h 646953"/>
                    <a:gd name="connsiteX5" fmla="*/ 104521 w 107788"/>
                    <a:gd name="connsiteY5" fmla="*/ 53436 h 646953"/>
                    <a:gd name="connsiteX6" fmla="*/ 101034 w 107788"/>
                    <a:gd name="connsiteY6" fmla="*/ 92672 h 646953"/>
                    <a:gd name="connsiteX7" fmla="*/ 57438 w 107788"/>
                    <a:gd name="connsiteY7" fmla="*/ 93669 h 646953"/>
                    <a:gd name="connsiteX8" fmla="*/ 23060 w 107788"/>
                    <a:gd name="connsiteY8" fmla="*/ 113847 h 646953"/>
                    <a:gd name="connsiteX9" fmla="*/ 19946 w 107788"/>
                    <a:gd name="connsiteY9" fmla="*/ 635744 h 646953"/>
                    <a:gd name="connsiteX10" fmla="*/ 9857 w 107788"/>
                    <a:gd name="connsiteY10" fmla="*/ 646954 h 646953"/>
                    <a:gd name="connsiteX11" fmla="*/ 266 w 107788"/>
                    <a:gd name="connsiteY11" fmla="*/ 634124 h 646953"/>
                    <a:gd name="connsiteX12" fmla="*/ 4252 w 107788"/>
                    <a:gd name="connsiteY12" fmla="*/ 48828 h 64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787" h="646953">
                      <a:moveTo>
                        <a:pt x="4252" y="48828"/>
                      </a:moveTo>
                      <a:cubicBezTo>
                        <a:pt x="5747" y="36621"/>
                        <a:pt x="10729" y="24913"/>
                        <a:pt x="19572" y="16194"/>
                      </a:cubicBezTo>
                      <a:cubicBezTo>
                        <a:pt x="24430" y="11460"/>
                        <a:pt x="40499" y="-123"/>
                        <a:pt x="55570" y="1"/>
                      </a:cubicBezTo>
                      <a:cubicBezTo>
                        <a:pt x="70641" y="126"/>
                        <a:pt x="77367" y="6727"/>
                        <a:pt x="85090" y="15197"/>
                      </a:cubicBezTo>
                      <a:cubicBezTo>
                        <a:pt x="93684" y="24539"/>
                        <a:pt x="99788" y="35998"/>
                        <a:pt x="102901" y="48329"/>
                      </a:cubicBezTo>
                      <a:cubicBezTo>
                        <a:pt x="103400" y="50073"/>
                        <a:pt x="104023" y="51692"/>
                        <a:pt x="104521" y="53436"/>
                      </a:cubicBezTo>
                      <a:cubicBezTo>
                        <a:pt x="108382" y="66515"/>
                        <a:pt x="110500" y="81462"/>
                        <a:pt x="101034" y="92672"/>
                      </a:cubicBezTo>
                      <a:cubicBezTo>
                        <a:pt x="89325" y="106747"/>
                        <a:pt x="71887" y="95537"/>
                        <a:pt x="57438" y="93669"/>
                      </a:cubicBezTo>
                      <a:cubicBezTo>
                        <a:pt x="49964" y="92672"/>
                        <a:pt x="23185" y="90056"/>
                        <a:pt x="23060" y="113847"/>
                      </a:cubicBezTo>
                      <a:cubicBezTo>
                        <a:pt x="22936" y="122690"/>
                        <a:pt x="20444" y="634623"/>
                        <a:pt x="19946" y="635744"/>
                      </a:cubicBezTo>
                      <a:cubicBezTo>
                        <a:pt x="20320" y="641224"/>
                        <a:pt x="16957" y="646954"/>
                        <a:pt x="9857" y="646954"/>
                      </a:cubicBezTo>
                      <a:cubicBezTo>
                        <a:pt x="2135" y="646829"/>
                        <a:pt x="-979" y="639854"/>
                        <a:pt x="266" y="634124"/>
                      </a:cubicBezTo>
                      <a:cubicBezTo>
                        <a:pt x="141" y="633128"/>
                        <a:pt x="3629" y="54433"/>
                        <a:pt x="4252" y="48828"/>
                      </a:cubicBezTo>
                      <a:close/>
                    </a:path>
                  </a:pathLst>
                </a:custGeom>
                <a:solidFill>
                  <a:srgbClr val="FFF4B5"/>
                </a:solidFill>
                <a:ln w="12452" cap="flat">
                  <a:solidFill>
                    <a:srgbClr val="CC6600"/>
                  </a:solidFill>
                  <a:prstDash val="solid"/>
                  <a:miter/>
                </a:ln>
              </p:spPr>
              <p:txBody>
                <a:bodyPr rtlCol="0" anchor="ctr"/>
                <a:lstStyle/>
                <a:p>
                  <a:pPr defTabSz="914377" fontAlgn="base">
                    <a:spcBef>
                      <a:spcPct val="0"/>
                    </a:spcBef>
                    <a:spcAft>
                      <a:spcPct val="0"/>
                    </a:spcAft>
                    <a:defRPr/>
                  </a:pPr>
                  <a:endParaRPr lang="en-US" sz="1867" b="1">
                    <a:solidFill>
                      <a:srgbClr val="37302C"/>
                    </a:solidFill>
                    <a:ea typeface="ヒラギノ角ゴ Pro W3" panose="020B0300000000000000" pitchFamily="34" charset="-128"/>
                    <a:cs typeface="Arial"/>
                  </a:endParaRPr>
                </a:p>
              </p:txBody>
            </p:sp>
          </p:grpSp>
        </p:grpSp>
        <p:sp>
          <p:nvSpPr>
            <p:cNvPr id="7194" name="Freeform 8946">
              <a:extLst>
                <a:ext uri="{FF2B5EF4-FFF2-40B4-BE49-F238E27FC236}">
                  <a16:creationId xmlns:a16="http://schemas.microsoft.com/office/drawing/2014/main" id="{23087F76-3ADF-48FE-AFCB-2BE60E1E6D19}"/>
                </a:ext>
              </a:extLst>
            </p:cNvPr>
            <p:cNvSpPr/>
            <p:nvPr/>
          </p:nvSpPr>
          <p:spPr>
            <a:xfrm>
              <a:off x="7669698"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852" y="428727"/>
                    <a:pt x="205146" y="428727"/>
                  </a:cubicBezTo>
                  <a:close/>
                </a:path>
              </a:pathLst>
            </a:cu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12452" cap="flat">
              <a:solidFill>
                <a:schemeClr val="accent6">
                  <a:lumMod val="7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5" name="Freeform 8948">
              <a:extLst>
                <a:ext uri="{FF2B5EF4-FFF2-40B4-BE49-F238E27FC236}">
                  <a16:creationId xmlns:a16="http://schemas.microsoft.com/office/drawing/2014/main" id="{6B915EFC-77C0-1005-4664-14070FC86CD5}"/>
                </a:ext>
              </a:extLst>
            </p:cNvPr>
            <p:cNvSpPr/>
            <p:nvPr/>
          </p:nvSpPr>
          <p:spPr>
            <a:xfrm>
              <a:off x="7981856" y="5303742"/>
              <a:ext cx="291589" cy="428727"/>
            </a:xfrm>
            <a:custGeom>
              <a:avLst/>
              <a:gdLst>
                <a:gd name="connsiteX0" fmla="*/ 205146 w 291589"/>
                <a:gd name="connsiteY0" fmla="*/ 428727 h 428727"/>
                <a:gd name="connsiteX1" fmla="*/ 86443 w 291589"/>
                <a:gd name="connsiteY1" fmla="*/ 428727 h 428727"/>
                <a:gd name="connsiteX2" fmla="*/ 0 w 291589"/>
                <a:gd name="connsiteY2" fmla="*/ 342284 h 428727"/>
                <a:gd name="connsiteX3" fmla="*/ 0 w 291589"/>
                <a:gd name="connsiteY3" fmla="*/ 86443 h 428727"/>
                <a:gd name="connsiteX4" fmla="*/ 86443 w 291589"/>
                <a:gd name="connsiteY4" fmla="*/ 0 h 428727"/>
                <a:gd name="connsiteX5" fmla="*/ 205146 w 291589"/>
                <a:gd name="connsiteY5" fmla="*/ 0 h 428727"/>
                <a:gd name="connsiteX6" fmla="*/ 291589 w 291589"/>
                <a:gd name="connsiteY6" fmla="*/ 86443 h 428727"/>
                <a:gd name="connsiteX7" fmla="*/ 291589 w 291589"/>
                <a:gd name="connsiteY7" fmla="*/ 342284 h 428727"/>
                <a:gd name="connsiteX8" fmla="*/ 205146 w 291589"/>
                <a:gd name="connsiteY8" fmla="*/ 428727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5146" y="428727"/>
                  </a:moveTo>
                  <a:lnTo>
                    <a:pt x="86443" y="428727"/>
                  </a:lnTo>
                  <a:cubicBezTo>
                    <a:pt x="38737" y="428727"/>
                    <a:pt x="0" y="389990"/>
                    <a:pt x="0" y="342284"/>
                  </a:cubicBezTo>
                  <a:lnTo>
                    <a:pt x="0" y="86443"/>
                  </a:lnTo>
                  <a:cubicBezTo>
                    <a:pt x="0" y="38737"/>
                    <a:pt x="38737" y="0"/>
                    <a:pt x="86443" y="0"/>
                  </a:cubicBezTo>
                  <a:lnTo>
                    <a:pt x="205146" y="0"/>
                  </a:lnTo>
                  <a:cubicBezTo>
                    <a:pt x="252852" y="0"/>
                    <a:pt x="291589" y="38737"/>
                    <a:pt x="291589" y="86443"/>
                  </a:cubicBezTo>
                  <a:lnTo>
                    <a:pt x="291589" y="342284"/>
                  </a:lnTo>
                  <a:cubicBezTo>
                    <a:pt x="291589" y="389990"/>
                    <a:pt x="252977" y="428727"/>
                    <a:pt x="205146" y="42872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2452" cap="flat">
              <a:solidFill>
                <a:schemeClr val="bg1">
                  <a:lumMod val="65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96" name="TextBox 5662">
              <a:extLst>
                <a:ext uri="{FF2B5EF4-FFF2-40B4-BE49-F238E27FC236}">
                  <a16:creationId xmlns:a16="http://schemas.microsoft.com/office/drawing/2014/main" id="{D6286727-AB20-88AD-8AFD-4A3D282EFFEC}"/>
                </a:ext>
              </a:extLst>
            </p:cNvPr>
            <p:cNvSpPr txBox="1"/>
            <p:nvPr/>
          </p:nvSpPr>
          <p:spPr>
            <a:xfrm>
              <a:off x="7966420"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8</a:t>
              </a:r>
            </a:p>
          </p:txBody>
        </p:sp>
        <p:sp>
          <p:nvSpPr>
            <p:cNvPr id="7197" name="TextBox 5663">
              <a:extLst>
                <a:ext uri="{FF2B5EF4-FFF2-40B4-BE49-F238E27FC236}">
                  <a16:creationId xmlns:a16="http://schemas.microsoft.com/office/drawing/2014/main" id="{4EA81FB5-47DE-6020-6850-44BE28A2F617}"/>
                </a:ext>
              </a:extLst>
            </p:cNvPr>
            <p:cNvSpPr txBox="1"/>
            <p:nvPr/>
          </p:nvSpPr>
          <p:spPr>
            <a:xfrm>
              <a:off x="7660393" y="5378011"/>
              <a:ext cx="325730"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bg1"/>
                  </a:solidFill>
                  <a:ea typeface="ヒラギノ角ゴ Pro W3" panose="020B0300000000000000" pitchFamily="34" charset="-128"/>
                  <a:cs typeface="Arial"/>
                  <a:sym typeface="Arial"/>
                </a:rPr>
                <a:t>C7</a:t>
              </a:r>
            </a:p>
          </p:txBody>
        </p:sp>
        <p:sp>
          <p:nvSpPr>
            <p:cNvPr id="7214" name="TextBox 5">
              <a:extLst>
                <a:ext uri="{FF2B5EF4-FFF2-40B4-BE49-F238E27FC236}">
                  <a16:creationId xmlns:a16="http://schemas.microsoft.com/office/drawing/2014/main" id="{1729DBE7-8C98-3150-A739-4780CD03272A}"/>
                </a:ext>
              </a:extLst>
            </p:cNvPr>
            <p:cNvSpPr txBox="1"/>
            <p:nvPr/>
          </p:nvSpPr>
          <p:spPr>
            <a:xfrm>
              <a:off x="9948315" y="5506283"/>
              <a:ext cx="2012519" cy="338554"/>
            </a:xfrm>
            <a:prstGeom prst="rect">
              <a:avLst/>
            </a:prstGeom>
            <a:noFill/>
          </p:spPr>
          <p:txBody>
            <a:bodyPr wrap="square" rtlCol="0">
              <a:spAutoFit/>
            </a:bodyPr>
            <a:lstStyle/>
            <a:p>
              <a:pPr algn="r" fontAlgn="base">
                <a:spcBef>
                  <a:spcPct val="0"/>
                </a:spcBef>
                <a:spcAft>
                  <a:spcPct val="0"/>
                </a:spcAft>
                <a:defRPr/>
              </a:pPr>
              <a:r>
                <a:rPr lang="en-US" sz="800" dirty="0" err="1">
                  <a:ea typeface="ヒラギノ角ゴ Pro W3" panose="020B0300000000000000" pitchFamily="34" charset="-128"/>
                  <a:cs typeface="Arial"/>
                </a:rPr>
                <a:t>Adaptado</a:t>
              </a:r>
              <a:r>
                <a:rPr lang="en-US" sz="800" dirty="0">
                  <a:ea typeface="ヒラギノ角ゴ Pro W3" panose="020B0300000000000000" pitchFamily="34" charset="-128"/>
                  <a:cs typeface="Arial"/>
                </a:rPr>
                <a:t> de </a:t>
              </a:r>
              <a:r>
                <a:rPr lang="en-US" sz="800" dirty="0" err="1">
                  <a:ea typeface="ヒラギノ角ゴ Pro W3" panose="020B0300000000000000" pitchFamily="34" charset="-128"/>
                  <a:cs typeface="Arial"/>
                </a:rPr>
                <a:t>Walport</a:t>
              </a:r>
              <a:r>
                <a:rPr lang="en-US" sz="800" dirty="0">
                  <a:ea typeface="ヒラギノ角ゴ Pro W3" panose="020B0300000000000000" pitchFamily="34" charset="-128"/>
                  <a:cs typeface="Arial"/>
                </a:rPr>
                <a:t> MJ. </a:t>
              </a:r>
              <a:r>
                <a:rPr lang="en-US" sz="800" i="1" dirty="0">
                  <a:ea typeface="ヒラギノ角ゴ Pro W3" panose="020B0300000000000000" pitchFamily="34" charset="-128"/>
                  <a:cs typeface="Arial"/>
                </a:rPr>
                <a:t>N Engl J Med. </a:t>
              </a:r>
              <a:r>
                <a:rPr lang="en-US" sz="800" dirty="0">
                  <a:ea typeface="ヒラギノ角ゴ Pro W3" panose="020B0300000000000000" pitchFamily="34" charset="-128"/>
                  <a:cs typeface="Arial"/>
                </a:rPr>
                <a:t>2001;344(14):1058-1066. </a:t>
              </a:r>
            </a:p>
          </p:txBody>
        </p:sp>
      </p:grpSp>
      <p:grpSp>
        <p:nvGrpSpPr>
          <p:cNvPr id="7218" name="Agrupar 7217">
            <a:extLst>
              <a:ext uri="{FF2B5EF4-FFF2-40B4-BE49-F238E27FC236}">
                <a16:creationId xmlns:a16="http://schemas.microsoft.com/office/drawing/2014/main" id="{98C4402F-DDBD-D8B4-B88C-564531E65350}"/>
              </a:ext>
            </a:extLst>
          </p:cNvPr>
          <p:cNvGrpSpPr/>
          <p:nvPr/>
        </p:nvGrpSpPr>
        <p:grpSpPr>
          <a:xfrm>
            <a:off x="166909" y="2510649"/>
            <a:ext cx="11793926" cy="1943252"/>
            <a:chOff x="166909" y="2510649"/>
            <a:chExt cx="11793926" cy="1943252"/>
          </a:xfrm>
        </p:grpSpPr>
        <p:grpSp>
          <p:nvGrpSpPr>
            <p:cNvPr id="3640" name="Group 63">
              <a:extLst>
                <a:ext uri="{FF2B5EF4-FFF2-40B4-BE49-F238E27FC236}">
                  <a16:creationId xmlns:a16="http://schemas.microsoft.com/office/drawing/2014/main" id="{0B1C1ACC-84F5-0797-933E-9B3B595007C3}"/>
                </a:ext>
              </a:extLst>
            </p:cNvPr>
            <p:cNvGrpSpPr>
              <a:grpSpLocks noChangeAspect="1"/>
            </p:cNvGrpSpPr>
            <p:nvPr/>
          </p:nvGrpSpPr>
          <p:grpSpPr>
            <a:xfrm flipV="1">
              <a:off x="5361519" y="2857499"/>
              <a:ext cx="1559983" cy="1557867"/>
              <a:chOff x="2527" y="1356"/>
              <a:chExt cx="737" cy="736"/>
            </a:xfrm>
            <a:solidFill>
              <a:schemeClr val="accent1"/>
            </a:solidFill>
          </p:grpSpPr>
          <p:sp>
            <p:nvSpPr>
              <p:cNvPr id="3641" name="Freeform 64">
                <a:extLst>
                  <a:ext uri="{FF2B5EF4-FFF2-40B4-BE49-F238E27FC236}">
                    <a16:creationId xmlns:a16="http://schemas.microsoft.com/office/drawing/2014/main" id="{A912EE83-6DDD-AE1E-1822-E7ED93F25B24}"/>
                  </a:ext>
                </a:extLst>
              </p:cNvPr>
              <p:cNvSpPr/>
              <p:nvPr/>
            </p:nvSpPr>
            <p:spPr bwMode="auto">
              <a:xfrm>
                <a:off x="2527" y="1503"/>
                <a:ext cx="139" cy="491"/>
              </a:xfrm>
              <a:custGeom>
                <a:avLst/>
                <a:gdLst>
                  <a:gd name="T0" fmla="*/ 139 w 139"/>
                  <a:gd name="T1" fmla="*/ 491 h 491"/>
                  <a:gd name="T2" fmla="*/ 139 w 139"/>
                  <a:gd name="T3" fmla="*/ 491 h 491"/>
                  <a:gd name="T4" fmla="*/ 116 w 139"/>
                  <a:gd name="T5" fmla="*/ 470 h 491"/>
                  <a:gd name="T6" fmla="*/ 98 w 139"/>
                  <a:gd name="T7" fmla="*/ 447 h 491"/>
                  <a:gd name="T8" fmla="*/ 80 w 139"/>
                  <a:gd name="T9" fmla="*/ 422 h 491"/>
                  <a:gd name="T10" fmla="*/ 66 w 139"/>
                  <a:gd name="T11" fmla="*/ 395 h 491"/>
                  <a:gd name="T12" fmla="*/ 54 w 139"/>
                  <a:gd name="T13" fmla="*/ 368 h 491"/>
                  <a:gd name="T14" fmla="*/ 43 w 139"/>
                  <a:gd name="T15" fmla="*/ 340 h 491"/>
                  <a:gd name="T16" fmla="*/ 36 w 139"/>
                  <a:gd name="T17" fmla="*/ 311 h 491"/>
                  <a:gd name="T18" fmla="*/ 31 w 139"/>
                  <a:gd name="T19" fmla="*/ 281 h 491"/>
                  <a:gd name="T20" fmla="*/ 28 w 139"/>
                  <a:gd name="T21" fmla="*/ 252 h 491"/>
                  <a:gd name="T22" fmla="*/ 28 w 139"/>
                  <a:gd name="T23" fmla="*/ 222 h 491"/>
                  <a:gd name="T24" fmla="*/ 29 w 139"/>
                  <a:gd name="T25" fmla="*/ 193 h 491"/>
                  <a:gd name="T26" fmla="*/ 35 w 139"/>
                  <a:gd name="T27" fmla="*/ 163 h 491"/>
                  <a:gd name="T28" fmla="*/ 41 w 139"/>
                  <a:gd name="T29" fmla="*/ 135 h 491"/>
                  <a:gd name="T30" fmla="*/ 52 w 139"/>
                  <a:gd name="T31" fmla="*/ 109 h 491"/>
                  <a:gd name="T32" fmla="*/ 64 w 139"/>
                  <a:gd name="T33" fmla="*/ 82 h 491"/>
                  <a:gd name="T34" fmla="*/ 79 w 139"/>
                  <a:gd name="T35" fmla="*/ 58 h 491"/>
                  <a:gd name="T36" fmla="*/ 90 w 139"/>
                  <a:gd name="T37" fmla="*/ 63 h 491"/>
                  <a:gd name="T38" fmla="*/ 90 w 139"/>
                  <a:gd name="T39" fmla="*/ 63 h 491"/>
                  <a:gd name="T40" fmla="*/ 88 w 139"/>
                  <a:gd name="T41" fmla="*/ 48 h 491"/>
                  <a:gd name="T42" fmla="*/ 88 w 139"/>
                  <a:gd name="T43" fmla="*/ 32 h 491"/>
                  <a:gd name="T44" fmla="*/ 91 w 139"/>
                  <a:gd name="T45" fmla="*/ 0 h 491"/>
                  <a:gd name="T46" fmla="*/ 91 w 139"/>
                  <a:gd name="T47" fmla="*/ 0 h 491"/>
                  <a:gd name="T48" fmla="*/ 60 w 139"/>
                  <a:gd name="T49" fmla="*/ 14 h 491"/>
                  <a:gd name="T50" fmla="*/ 45 w 139"/>
                  <a:gd name="T51" fmla="*/ 20 h 491"/>
                  <a:gd name="T52" fmla="*/ 31 w 139"/>
                  <a:gd name="T53" fmla="*/ 30 h 491"/>
                  <a:gd name="T54" fmla="*/ 41 w 139"/>
                  <a:gd name="T55" fmla="*/ 36 h 491"/>
                  <a:gd name="T56" fmla="*/ 41 w 139"/>
                  <a:gd name="T57" fmla="*/ 36 h 491"/>
                  <a:gd name="T58" fmla="*/ 33 w 139"/>
                  <a:gd name="T59" fmla="*/ 51 h 491"/>
                  <a:gd name="T60" fmla="*/ 27 w 139"/>
                  <a:gd name="T61" fmla="*/ 66 h 491"/>
                  <a:gd name="T62" fmla="*/ 16 w 139"/>
                  <a:gd name="T63" fmla="*/ 95 h 491"/>
                  <a:gd name="T64" fmla="*/ 8 w 139"/>
                  <a:gd name="T65" fmla="*/ 127 h 491"/>
                  <a:gd name="T66" fmla="*/ 3 w 139"/>
                  <a:gd name="T67" fmla="*/ 158 h 491"/>
                  <a:gd name="T68" fmla="*/ 0 w 139"/>
                  <a:gd name="T69" fmla="*/ 190 h 491"/>
                  <a:gd name="T70" fmla="*/ 0 w 139"/>
                  <a:gd name="T71" fmla="*/ 222 h 491"/>
                  <a:gd name="T72" fmla="*/ 4 w 139"/>
                  <a:gd name="T73" fmla="*/ 254 h 491"/>
                  <a:gd name="T74" fmla="*/ 9 w 139"/>
                  <a:gd name="T75" fmla="*/ 285 h 491"/>
                  <a:gd name="T76" fmla="*/ 17 w 139"/>
                  <a:gd name="T77" fmla="*/ 316 h 491"/>
                  <a:gd name="T78" fmla="*/ 28 w 139"/>
                  <a:gd name="T79" fmla="*/ 345 h 491"/>
                  <a:gd name="T80" fmla="*/ 40 w 139"/>
                  <a:gd name="T81" fmla="*/ 374 h 491"/>
                  <a:gd name="T82" fmla="*/ 56 w 139"/>
                  <a:gd name="T83" fmla="*/ 400 h 491"/>
                  <a:gd name="T84" fmla="*/ 74 w 139"/>
                  <a:gd name="T85" fmla="*/ 426 h 491"/>
                  <a:gd name="T86" fmla="*/ 94 w 139"/>
                  <a:gd name="T87" fmla="*/ 450 h 491"/>
                  <a:gd name="T88" fmla="*/ 115 w 139"/>
                  <a:gd name="T89" fmla="*/ 473 h 491"/>
                  <a:gd name="T90" fmla="*/ 139 w 139"/>
                  <a:gd name="T91" fmla="*/ 491 h 491"/>
                  <a:gd name="T92" fmla="*/ 139 w 139"/>
                  <a:gd name="T93"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491">
                    <a:moveTo>
                      <a:pt x="139" y="491"/>
                    </a:moveTo>
                    <a:lnTo>
                      <a:pt x="139" y="491"/>
                    </a:lnTo>
                    <a:lnTo>
                      <a:pt x="116" y="470"/>
                    </a:lnTo>
                    <a:lnTo>
                      <a:pt x="98" y="447"/>
                    </a:lnTo>
                    <a:lnTo>
                      <a:pt x="80" y="422"/>
                    </a:lnTo>
                    <a:lnTo>
                      <a:pt x="66" y="395"/>
                    </a:lnTo>
                    <a:lnTo>
                      <a:pt x="54" y="368"/>
                    </a:lnTo>
                    <a:lnTo>
                      <a:pt x="43" y="340"/>
                    </a:lnTo>
                    <a:lnTo>
                      <a:pt x="36" y="311"/>
                    </a:lnTo>
                    <a:lnTo>
                      <a:pt x="31" y="281"/>
                    </a:lnTo>
                    <a:lnTo>
                      <a:pt x="28" y="252"/>
                    </a:lnTo>
                    <a:lnTo>
                      <a:pt x="28" y="222"/>
                    </a:lnTo>
                    <a:lnTo>
                      <a:pt x="29" y="193"/>
                    </a:lnTo>
                    <a:lnTo>
                      <a:pt x="35" y="163"/>
                    </a:lnTo>
                    <a:lnTo>
                      <a:pt x="41" y="135"/>
                    </a:lnTo>
                    <a:lnTo>
                      <a:pt x="52" y="109"/>
                    </a:lnTo>
                    <a:lnTo>
                      <a:pt x="64" y="82"/>
                    </a:lnTo>
                    <a:lnTo>
                      <a:pt x="79" y="58"/>
                    </a:lnTo>
                    <a:lnTo>
                      <a:pt x="90" y="63"/>
                    </a:lnTo>
                    <a:lnTo>
                      <a:pt x="90" y="63"/>
                    </a:lnTo>
                    <a:lnTo>
                      <a:pt x="88" y="48"/>
                    </a:lnTo>
                    <a:lnTo>
                      <a:pt x="88" y="32"/>
                    </a:lnTo>
                    <a:lnTo>
                      <a:pt x="91" y="0"/>
                    </a:lnTo>
                    <a:lnTo>
                      <a:pt x="91" y="0"/>
                    </a:lnTo>
                    <a:lnTo>
                      <a:pt x="60" y="14"/>
                    </a:lnTo>
                    <a:lnTo>
                      <a:pt x="45" y="20"/>
                    </a:lnTo>
                    <a:lnTo>
                      <a:pt x="31" y="30"/>
                    </a:lnTo>
                    <a:lnTo>
                      <a:pt x="41" y="36"/>
                    </a:lnTo>
                    <a:lnTo>
                      <a:pt x="41" y="36"/>
                    </a:lnTo>
                    <a:lnTo>
                      <a:pt x="33" y="51"/>
                    </a:lnTo>
                    <a:lnTo>
                      <a:pt x="27" y="66"/>
                    </a:lnTo>
                    <a:lnTo>
                      <a:pt x="16" y="95"/>
                    </a:lnTo>
                    <a:lnTo>
                      <a:pt x="8" y="127"/>
                    </a:lnTo>
                    <a:lnTo>
                      <a:pt x="3" y="158"/>
                    </a:lnTo>
                    <a:lnTo>
                      <a:pt x="0" y="190"/>
                    </a:lnTo>
                    <a:lnTo>
                      <a:pt x="0" y="222"/>
                    </a:lnTo>
                    <a:lnTo>
                      <a:pt x="4" y="254"/>
                    </a:lnTo>
                    <a:lnTo>
                      <a:pt x="9" y="285"/>
                    </a:lnTo>
                    <a:lnTo>
                      <a:pt x="17" y="316"/>
                    </a:lnTo>
                    <a:lnTo>
                      <a:pt x="28" y="345"/>
                    </a:lnTo>
                    <a:lnTo>
                      <a:pt x="40" y="374"/>
                    </a:lnTo>
                    <a:lnTo>
                      <a:pt x="56" y="400"/>
                    </a:lnTo>
                    <a:lnTo>
                      <a:pt x="74" y="426"/>
                    </a:lnTo>
                    <a:lnTo>
                      <a:pt x="94" y="450"/>
                    </a:lnTo>
                    <a:lnTo>
                      <a:pt x="115" y="473"/>
                    </a:lnTo>
                    <a:lnTo>
                      <a:pt x="139" y="491"/>
                    </a:lnTo>
                    <a:lnTo>
                      <a:pt x="139" y="4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2" name="Freeform 65">
                <a:extLst>
                  <a:ext uri="{FF2B5EF4-FFF2-40B4-BE49-F238E27FC236}">
                    <a16:creationId xmlns:a16="http://schemas.microsoft.com/office/drawing/2014/main" id="{7DFE0995-659D-2430-7C63-4155723EA29C}"/>
                  </a:ext>
                </a:extLst>
              </p:cNvPr>
              <p:cNvSpPr/>
              <p:nvPr/>
            </p:nvSpPr>
            <p:spPr bwMode="auto">
              <a:xfrm>
                <a:off x="2675" y="1954"/>
                <a:ext cx="490" cy="138"/>
              </a:xfrm>
              <a:custGeom>
                <a:avLst/>
                <a:gdLst>
                  <a:gd name="T0" fmla="*/ 490 w 490"/>
                  <a:gd name="T1" fmla="*/ 0 h 138"/>
                  <a:gd name="T2" fmla="*/ 490 w 490"/>
                  <a:gd name="T3" fmla="*/ 0 h 138"/>
                  <a:gd name="T4" fmla="*/ 469 w 490"/>
                  <a:gd name="T5" fmla="*/ 22 h 138"/>
                  <a:gd name="T6" fmla="*/ 446 w 490"/>
                  <a:gd name="T7" fmla="*/ 42 h 138"/>
                  <a:gd name="T8" fmla="*/ 420 w 490"/>
                  <a:gd name="T9" fmla="*/ 59 h 138"/>
                  <a:gd name="T10" fmla="*/ 394 w 490"/>
                  <a:gd name="T11" fmla="*/ 74 h 138"/>
                  <a:gd name="T12" fmla="*/ 367 w 490"/>
                  <a:gd name="T13" fmla="*/ 86 h 138"/>
                  <a:gd name="T14" fmla="*/ 339 w 490"/>
                  <a:gd name="T15" fmla="*/ 95 h 138"/>
                  <a:gd name="T16" fmla="*/ 309 w 490"/>
                  <a:gd name="T17" fmla="*/ 103 h 138"/>
                  <a:gd name="T18" fmla="*/ 280 w 490"/>
                  <a:gd name="T19" fmla="*/ 109 h 138"/>
                  <a:gd name="T20" fmla="*/ 251 w 490"/>
                  <a:gd name="T21" fmla="*/ 111 h 138"/>
                  <a:gd name="T22" fmla="*/ 221 w 490"/>
                  <a:gd name="T23" fmla="*/ 111 h 138"/>
                  <a:gd name="T24" fmla="*/ 192 w 490"/>
                  <a:gd name="T25" fmla="*/ 109 h 138"/>
                  <a:gd name="T26" fmla="*/ 164 w 490"/>
                  <a:gd name="T27" fmla="*/ 105 h 138"/>
                  <a:gd name="T28" fmla="*/ 136 w 490"/>
                  <a:gd name="T29" fmla="*/ 97 h 138"/>
                  <a:gd name="T30" fmla="*/ 107 w 490"/>
                  <a:gd name="T31" fmla="*/ 87 h 138"/>
                  <a:gd name="T32" fmla="*/ 81 w 490"/>
                  <a:gd name="T33" fmla="*/ 75 h 138"/>
                  <a:gd name="T34" fmla="*/ 57 w 490"/>
                  <a:gd name="T35" fmla="*/ 60 h 138"/>
                  <a:gd name="T36" fmla="*/ 63 w 490"/>
                  <a:gd name="T37" fmla="*/ 48 h 138"/>
                  <a:gd name="T38" fmla="*/ 63 w 490"/>
                  <a:gd name="T39" fmla="*/ 48 h 138"/>
                  <a:gd name="T40" fmla="*/ 47 w 490"/>
                  <a:gd name="T41" fmla="*/ 50 h 138"/>
                  <a:gd name="T42" fmla="*/ 33 w 490"/>
                  <a:gd name="T43" fmla="*/ 50 h 138"/>
                  <a:gd name="T44" fmla="*/ 0 w 490"/>
                  <a:gd name="T45" fmla="*/ 48 h 138"/>
                  <a:gd name="T46" fmla="*/ 0 w 490"/>
                  <a:gd name="T47" fmla="*/ 48 h 138"/>
                  <a:gd name="T48" fmla="*/ 13 w 490"/>
                  <a:gd name="T49" fmla="*/ 79 h 138"/>
                  <a:gd name="T50" fmla="*/ 21 w 490"/>
                  <a:gd name="T51" fmla="*/ 94 h 138"/>
                  <a:gd name="T52" fmla="*/ 29 w 490"/>
                  <a:gd name="T53" fmla="*/ 109 h 138"/>
                  <a:gd name="T54" fmla="*/ 35 w 490"/>
                  <a:gd name="T55" fmla="*/ 98 h 138"/>
                  <a:gd name="T56" fmla="*/ 35 w 490"/>
                  <a:gd name="T57" fmla="*/ 98 h 138"/>
                  <a:gd name="T58" fmla="*/ 65 w 490"/>
                  <a:gd name="T59" fmla="*/ 111 h 138"/>
                  <a:gd name="T60" fmla="*/ 95 w 490"/>
                  <a:gd name="T61" fmla="*/ 123 h 138"/>
                  <a:gd name="T62" fmla="*/ 126 w 490"/>
                  <a:gd name="T63" fmla="*/ 131 h 138"/>
                  <a:gd name="T64" fmla="*/ 158 w 490"/>
                  <a:gd name="T65" fmla="*/ 135 h 138"/>
                  <a:gd name="T66" fmla="*/ 189 w 490"/>
                  <a:gd name="T67" fmla="*/ 138 h 138"/>
                  <a:gd name="T68" fmla="*/ 221 w 490"/>
                  <a:gd name="T69" fmla="*/ 138 h 138"/>
                  <a:gd name="T70" fmla="*/ 253 w 490"/>
                  <a:gd name="T71" fmla="*/ 135 h 138"/>
                  <a:gd name="T72" fmla="*/ 284 w 490"/>
                  <a:gd name="T73" fmla="*/ 130 h 138"/>
                  <a:gd name="T74" fmla="*/ 315 w 490"/>
                  <a:gd name="T75" fmla="*/ 122 h 138"/>
                  <a:gd name="T76" fmla="*/ 344 w 490"/>
                  <a:gd name="T77" fmla="*/ 111 h 138"/>
                  <a:gd name="T78" fmla="*/ 372 w 490"/>
                  <a:gd name="T79" fmla="*/ 98 h 138"/>
                  <a:gd name="T80" fmla="*/ 399 w 490"/>
                  <a:gd name="T81" fmla="*/ 83 h 138"/>
                  <a:gd name="T82" fmla="*/ 424 w 490"/>
                  <a:gd name="T83" fmla="*/ 66 h 138"/>
                  <a:gd name="T84" fmla="*/ 449 w 490"/>
                  <a:gd name="T85" fmla="*/ 46 h 138"/>
                  <a:gd name="T86" fmla="*/ 471 w 490"/>
                  <a:gd name="T87" fmla="*/ 24 h 138"/>
                  <a:gd name="T88" fmla="*/ 490 w 490"/>
                  <a:gd name="T89" fmla="*/ 0 h 138"/>
                  <a:gd name="T90" fmla="*/ 490 w 490"/>
                  <a:gd name="T9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490" y="0"/>
                    </a:moveTo>
                    <a:lnTo>
                      <a:pt x="490" y="0"/>
                    </a:lnTo>
                    <a:lnTo>
                      <a:pt x="469" y="22"/>
                    </a:lnTo>
                    <a:lnTo>
                      <a:pt x="446" y="42"/>
                    </a:lnTo>
                    <a:lnTo>
                      <a:pt x="420" y="59"/>
                    </a:lnTo>
                    <a:lnTo>
                      <a:pt x="394" y="74"/>
                    </a:lnTo>
                    <a:lnTo>
                      <a:pt x="367" y="86"/>
                    </a:lnTo>
                    <a:lnTo>
                      <a:pt x="339" y="95"/>
                    </a:lnTo>
                    <a:lnTo>
                      <a:pt x="309" y="103"/>
                    </a:lnTo>
                    <a:lnTo>
                      <a:pt x="280" y="109"/>
                    </a:lnTo>
                    <a:lnTo>
                      <a:pt x="251" y="111"/>
                    </a:lnTo>
                    <a:lnTo>
                      <a:pt x="221" y="111"/>
                    </a:lnTo>
                    <a:lnTo>
                      <a:pt x="192" y="109"/>
                    </a:lnTo>
                    <a:lnTo>
                      <a:pt x="164" y="105"/>
                    </a:lnTo>
                    <a:lnTo>
                      <a:pt x="136" y="97"/>
                    </a:lnTo>
                    <a:lnTo>
                      <a:pt x="107" y="87"/>
                    </a:lnTo>
                    <a:lnTo>
                      <a:pt x="81" y="75"/>
                    </a:lnTo>
                    <a:lnTo>
                      <a:pt x="57" y="60"/>
                    </a:lnTo>
                    <a:lnTo>
                      <a:pt x="63" y="48"/>
                    </a:lnTo>
                    <a:lnTo>
                      <a:pt x="63" y="48"/>
                    </a:lnTo>
                    <a:lnTo>
                      <a:pt x="47" y="50"/>
                    </a:lnTo>
                    <a:lnTo>
                      <a:pt x="33" y="50"/>
                    </a:lnTo>
                    <a:lnTo>
                      <a:pt x="0" y="48"/>
                    </a:lnTo>
                    <a:lnTo>
                      <a:pt x="0" y="48"/>
                    </a:lnTo>
                    <a:lnTo>
                      <a:pt x="13" y="79"/>
                    </a:lnTo>
                    <a:lnTo>
                      <a:pt x="21" y="94"/>
                    </a:lnTo>
                    <a:lnTo>
                      <a:pt x="29" y="109"/>
                    </a:lnTo>
                    <a:lnTo>
                      <a:pt x="35" y="98"/>
                    </a:lnTo>
                    <a:lnTo>
                      <a:pt x="35" y="98"/>
                    </a:lnTo>
                    <a:lnTo>
                      <a:pt x="65" y="111"/>
                    </a:lnTo>
                    <a:lnTo>
                      <a:pt x="95" y="123"/>
                    </a:lnTo>
                    <a:lnTo>
                      <a:pt x="126" y="131"/>
                    </a:lnTo>
                    <a:lnTo>
                      <a:pt x="158" y="135"/>
                    </a:lnTo>
                    <a:lnTo>
                      <a:pt x="189" y="138"/>
                    </a:lnTo>
                    <a:lnTo>
                      <a:pt x="221" y="138"/>
                    </a:lnTo>
                    <a:lnTo>
                      <a:pt x="253" y="135"/>
                    </a:lnTo>
                    <a:lnTo>
                      <a:pt x="284" y="130"/>
                    </a:lnTo>
                    <a:lnTo>
                      <a:pt x="315" y="122"/>
                    </a:lnTo>
                    <a:lnTo>
                      <a:pt x="344" y="111"/>
                    </a:lnTo>
                    <a:lnTo>
                      <a:pt x="372" y="98"/>
                    </a:lnTo>
                    <a:lnTo>
                      <a:pt x="399" y="83"/>
                    </a:lnTo>
                    <a:lnTo>
                      <a:pt x="424" y="66"/>
                    </a:lnTo>
                    <a:lnTo>
                      <a:pt x="449" y="46"/>
                    </a:lnTo>
                    <a:lnTo>
                      <a:pt x="471" y="24"/>
                    </a:lnTo>
                    <a:lnTo>
                      <a:pt x="490" y="0"/>
                    </a:lnTo>
                    <a:lnTo>
                      <a:pt x="4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3" name="Freeform 66">
                <a:extLst>
                  <a:ext uri="{FF2B5EF4-FFF2-40B4-BE49-F238E27FC236}">
                    <a16:creationId xmlns:a16="http://schemas.microsoft.com/office/drawing/2014/main" id="{022D8BEE-E85B-0A95-7BCD-8F0C5F0DEA58}"/>
                  </a:ext>
                </a:extLst>
              </p:cNvPr>
              <p:cNvSpPr/>
              <p:nvPr/>
            </p:nvSpPr>
            <p:spPr bwMode="auto">
              <a:xfrm>
                <a:off x="3125" y="1454"/>
                <a:ext cx="139" cy="491"/>
              </a:xfrm>
              <a:custGeom>
                <a:avLst/>
                <a:gdLst>
                  <a:gd name="T0" fmla="*/ 0 w 139"/>
                  <a:gd name="T1" fmla="*/ 0 h 491"/>
                  <a:gd name="T2" fmla="*/ 0 w 139"/>
                  <a:gd name="T3" fmla="*/ 0 h 491"/>
                  <a:gd name="T4" fmla="*/ 23 w 139"/>
                  <a:gd name="T5" fmla="*/ 22 h 491"/>
                  <a:gd name="T6" fmla="*/ 41 w 139"/>
                  <a:gd name="T7" fmla="*/ 45 h 491"/>
                  <a:gd name="T8" fmla="*/ 59 w 139"/>
                  <a:gd name="T9" fmla="*/ 71 h 491"/>
                  <a:gd name="T10" fmla="*/ 73 w 139"/>
                  <a:gd name="T11" fmla="*/ 97 h 491"/>
                  <a:gd name="T12" fmla="*/ 85 w 139"/>
                  <a:gd name="T13" fmla="*/ 124 h 491"/>
                  <a:gd name="T14" fmla="*/ 96 w 139"/>
                  <a:gd name="T15" fmla="*/ 152 h 491"/>
                  <a:gd name="T16" fmla="*/ 103 w 139"/>
                  <a:gd name="T17" fmla="*/ 182 h 491"/>
                  <a:gd name="T18" fmla="*/ 108 w 139"/>
                  <a:gd name="T19" fmla="*/ 211 h 491"/>
                  <a:gd name="T20" fmla="*/ 111 w 139"/>
                  <a:gd name="T21" fmla="*/ 241 h 491"/>
                  <a:gd name="T22" fmla="*/ 111 w 139"/>
                  <a:gd name="T23" fmla="*/ 270 h 491"/>
                  <a:gd name="T24" fmla="*/ 108 w 139"/>
                  <a:gd name="T25" fmla="*/ 299 h 491"/>
                  <a:gd name="T26" fmla="*/ 104 w 139"/>
                  <a:gd name="T27" fmla="*/ 328 h 491"/>
                  <a:gd name="T28" fmla="*/ 96 w 139"/>
                  <a:gd name="T29" fmla="*/ 356 h 491"/>
                  <a:gd name="T30" fmla="*/ 87 w 139"/>
                  <a:gd name="T31" fmla="*/ 384 h 491"/>
                  <a:gd name="T32" fmla="*/ 75 w 139"/>
                  <a:gd name="T33" fmla="*/ 409 h 491"/>
                  <a:gd name="T34" fmla="*/ 60 w 139"/>
                  <a:gd name="T35" fmla="*/ 435 h 491"/>
                  <a:gd name="T36" fmla="*/ 49 w 139"/>
                  <a:gd name="T37" fmla="*/ 428 h 491"/>
                  <a:gd name="T38" fmla="*/ 49 w 139"/>
                  <a:gd name="T39" fmla="*/ 428 h 491"/>
                  <a:gd name="T40" fmla="*/ 49 w 139"/>
                  <a:gd name="T41" fmla="*/ 444 h 491"/>
                  <a:gd name="T42" fmla="*/ 49 w 139"/>
                  <a:gd name="T43" fmla="*/ 459 h 491"/>
                  <a:gd name="T44" fmla="*/ 48 w 139"/>
                  <a:gd name="T45" fmla="*/ 491 h 491"/>
                  <a:gd name="T46" fmla="*/ 48 w 139"/>
                  <a:gd name="T47" fmla="*/ 491 h 491"/>
                  <a:gd name="T48" fmla="*/ 79 w 139"/>
                  <a:gd name="T49" fmla="*/ 479 h 491"/>
                  <a:gd name="T50" fmla="*/ 94 w 139"/>
                  <a:gd name="T51" fmla="*/ 471 h 491"/>
                  <a:gd name="T52" fmla="*/ 108 w 139"/>
                  <a:gd name="T53" fmla="*/ 461 h 491"/>
                  <a:gd name="T54" fmla="*/ 98 w 139"/>
                  <a:gd name="T55" fmla="*/ 456 h 491"/>
                  <a:gd name="T56" fmla="*/ 98 w 139"/>
                  <a:gd name="T57" fmla="*/ 456 h 491"/>
                  <a:gd name="T58" fmla="*/ 111 w 139"/>
                  <a:gd name="T59" fmla="*/ 427 h 491"/>
                  <a:gd name="T60" fmla="*/ 123 w 139"/>
                  <a:gd name="T61" fmla="*/ 396 h 491"/>
                  <a:gd name="T62" fmla="*/ 131 w 139"/>
                  <a:gd name="T63" fmla="*/ 365 h 491"/>
                  <a:gd name="T64" fmla="*/ 136 w 139"/>
                  <a:gd name="T65" fmla="*/ 333 h 491"/>
                  <a:gd name="T66" fmla="*/ 139 w 139"/>
                  <a:gd name="T67" fmla="*/ 301 h 491"/>
                  <a:gd name="T68" fmla="*/ 138 w 139"/>
                  <a:gd name="T69" fmla="*/ 270 h 491"/>
                  <a:gd name="T70" fmla="*/ 135 w 139"/>
                  <a:gd name="T71" fmla="*/ 238 h 491"/>
                  <a:gd name="T72" fmla="*/ 130 w 139"/>
                  <a:gd name="T73" fmla="*/ 207 h 491"/>
                  <a:gd name="T74" fmla="*/ 122 w 139"/>
                  <a:gd name="T75" fmla="*/ 176 h 491"/>
                  <a:gd name="T76" fmla="*/ 111 w 139"/>
                  <a:gd name="T77" fmla="*/ 147 h 491"/>
                  <a:gd name="T78" fmla="*/ 98 w 139"/>
                  <a:gd name="T79" fmla="*/ 119 h 491"/>
                  <a:gd name="T80" fmla="*/ 83 w 139"/>
                  <a:gd name="T81" fmla="*/ 91 h 491"/>
                  <a:gd name="T82" fmla="*/ 65 w 139"/>
                  <a:gd name="T83" fmla="*/ 65 h 491"/>
                  <a:gd name="T84" fmla="*/ 45 w 139"/>
                  <a:gd name="T85" fmla="*/ 41 h 491"/>
                  <a:gd name="T86" fmla="*/ 24 w 139"/>
                  <a:gd name="T87" fmla="*/ 20 h 491"/>
                  <a:gd name="T88" fmla="*/ 0 w 139"/>
                  <a:gd name="T89" fmla="*/ 0 h 491"/>
                  <a:gd name="T90" fmla="*/ 0 w 139"/>
                  <a:gd name="T9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491">
                    <a:moveTo>
                      <a:pt x="0" y="0"/>
                    </a:moveTo>
                    <a:lnTo>
                      <a:pt x="0" y="0"/>
                    </a:lnTo>
                    <a:lnTo>
                      <a:pt x="23" y="22"/>
                    </a:lnTo>
                    <a:lnTo>
                      <a:pt x="41" y="45"/>
                    </a:lnTo>
                    <a:lnTo>
                      <a:pt x="59" y="71"/>
                    </a:lnTo>
                    <a:lnTo>
                      <a:pt x="73" y="97"/>
                    </a:lnTo>
                    <a:lnTo>
                      <a:pt x="85" y="124"/>
                    </a:lnTo>
                    <a:lnTo>
                      <a:pt x="96" y="152"/>
                    </a:lnTo>
                    <a:lnTo>
                      <a:pt x="103" y="182"/>
                    </a:lnTo>
                    <a:lnTo>
                      <a:pt x="108" y="211"/>
                    </a:lnTo>
                    <a:lnTo>
                      <a:pt x="111" y="241"/>
                    </a:lnTo>
                    <a:lnTo>
                      <a:pt x="111" y="270"/>
                    </a:lnTo>
                    <a:lnTo>
                      <a:pt x="108" y="299"/>
                    </a:lnTo>
                    <a:lnTo>
                      <a:pt x="104" y="328"/>
                    </a:lnTo>
                    <a:lnTo>
                      <a:pt x="96" y="356"/>
                    </a:lnTo>
                    <a:lnTo>
                      <a:pt x="87" y="384"/>
                    </a:lnTo>
                    <a:lnTo>
                      <a:pt x="75" y="409"/>
                    </a:lnTo>
                    <a:lnTo>
                      <a:pt x="60" y="435"/>
                    </a:lnTo>
                    <a:lnTo>
                      <a:pt x="49" y="428"/>
                    </a:lnTo>
                    <a:lnTo>
                      <a:pt x="49" y="428"/>
                    </a:lnTo>
                    <a:lnTo>
                      <a:pt x="49" y="444"/>
                    </a:lnTo>
                    <a:lnTo>
                      <a:pt x="49" y="459"/>
                    </a:lnTo>
                    <a:lnTo>
                      <a:pt x="48" y="491"/>
                    </a:lnTo>
                    <a:lnTo>
                      <a:pt x="48" y="491"/>
                    </a:lnTo>
                    <a:lnTo>
                      <a:pt x="79" y="479"/>
                    </a:lnTo>
                    <a:lnTo>
                      <a:pt x="94" y="471"/>
                    </a:lnTo>
                    <a:lnTo>
                      <a:pt x="108" y="461"/>
                    </a:lnTo>
                    <a:lnTo>
                      <a:pt x="98" y="456"/>
                    </a:lnTo>
                    <a:lnTo>
                      <a:pt x="98" y="456"/>
                    </a:lnTo>
                    <a:lnTo>
                      <a:pt x="111" y="427"/>
                    </a:lnTo>
                    <a:lnTo>
                      <a:pt x="123" y="396"/>
                    </a:lnTo>
                    <a:lnTo>
                      <a:pt x="131" y="365"/>
                    </a:lnTo>
                    <a:lnTo>
                      <a:pt x="136" y="333"/>
                    </a:lnTo>
                    <a:lnTo>
                      <a:pt x="139" y="301"/>
                    </a:lnTo>
                    <a:lnTo>
                      <a:pt x="138" y="270"/>
                    </a:lnTo>
                    <a:lnTo>
                      <a:pt x="135" y="238"/>
                    </a:lnTo>
                    <a:lnTo>
                      <a:pt x="130" y="207"/>
                    </a:lnTo>
                    <a:lnTo>
                      <a:pt x="122" y="176"/>
                    </a:lnTo>
                    <a:lnTo>
                      <a:pt x="111" y="147"/>
                    </a:lnTo>
                    <a:lnTo>
                      <a:pt x="98" y="119"/>
                    </a:lnTo>
                    <a:lnTo>
                      <a:pt x="83" y="91"/>
                    </a:lnTo>
                    <a:lnTo>
                      <a:pt x="65" y="65"/>
                    </a:lnTo>
                    <a:lnTo>
                      <a:pt x="45" y="41"/>
                    </a:lnTo>
                    <a:lnTo>
                      <a:pt x="24" y="2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sp>
            <p:nvSpPr>
              <p:cNvPr id="3644" name="Freeform 67">
                <a:extLst>
                  <a:ext uri="{FF2B5EF4-FFF2-40B4-BE49-F238E27FC236}">
                    <a16:creationId xmlns:a16="http://schemas.microsoft.com/office/drawing/2014/main" id="{1CE6A897-A122-4614-F53E-1BC628330574}"/>
                  </a:ext>
                </a:extLst>
              </p:cNvPr>
              <p:cNvSpPr/>
              <p:nvPr/>
            </p:nvSpPr>
            <p:spPr bwMode="auto">
              <a:xfrm>
                <a:off x="2626" y="1356"/>
                <a:ext cx="490" cy="138"/>
              </a:xfrm>
              <a:custGeom>
                <a:avLst/>
                <a:gdLst>
                  <a:gd name="T0" fmla="*/ 0 w 490"/>
                  <a:gd name="T1" fmla="*/ 138 h 138"/>
                  <a:gd name="T2" fmla="*/ 0 w 490"/>
                  <a:gd name="T3" fmla="*/ 138 h 138"/>
                  <a:gd name="T4" fmla="*/ 21 w 490"/>
                  <a:gd name="T5" fmla="*/ 116 h 138"/>
                  <a:gd name="T6" fmla="*/ 44 w 490"/>
                  <a:gd name="T7" fmla="*/ 96 h 138"/>
                  <a:gd name="T8" fmla="*/ 70 w 490"/>
                  <a:gd name="T9" fmla="*/ 79 h 138"/>
                  <a:gd name="T10" fmla="*/ 96 w 490"/>
                  <a:gd name="T11" fmla="*/ 64 h 138"/>
                  <a:gd name="T12" fmla="*/ 123 w 490"/>
                  <a:gd name="T13" fmla="*/ 52 h 138"/>
                  <a:gd name="T14" fmla="*/ 151 w 490"/>
                  <a:gd name="T15" fmla="*/ 43 h 138"/>
                  <a:gd name="T16" fmla="*/ 181 w 490"/>
                  <a:gd name="T17" fmla="*/ 35 h 138"/>
                  <a:gd name="T18" fmla="*/ 210 w 490"/>
                  <a:gd name="T19" fmla="*/ 31 h 138"/>
                  <a:gd name="T20" fmla="*/ 239 w 490"/>
                  <a:gd name="T21" fmla="*/ 28 h 138"/>
                  <a:gd name="T22" fmla="*/ 269 w 490"/>
                  <a:gd name="T23" fmla="*/ 27 h 138"/>
                  <a:gd name="T24" fmla="*/ 298 w 490"/>
                  <a:gd name="T25" fmla="*/ 29 h 138"/>
                  <a:gd name="T26" fmla="*/ 326 w 490"/>
                  <a:gd name="T27" fmla="*/ 35 h 138"/>
                  <a:gd name="T28" fmla="*/ 354 w 490"/>
                  <a:gd name="T29" fmla="*/ 41 h 138"/>
                  <a:gd name="T30" fmla="*/ 383 w 490"/>
                  <a:gd name="T31" fmla="*/ 51 h 138"/>
                  <a:gd name="T32" fmla="*/ 409 w 490"/>
                  <a:gd name="T33" fmla="*/ 64 h 138"/>
                  <a:gd name="T34" fmla="*/ 433 w 490"/>
                  <a:gd name="T35" fmla="*/ 79 h 138"/>
                  <a:gd name="T36" fmla="*/ 427 w 490"/>
                  <a:gd name="T37" fmla="*/ 90 h 138"/>
                  <a:gd name="T38" fmla="*/ 427 w 490"/>
                  <a:gd name="T39" fmla="*/ 90 h 138"/>
                  <a:gd name="T40" fmla="*/ 443 w 490"/>
                  <a:gd name="T41" fmla="*/ 88 h 138"/>
                  <a:gd name="T42" fmla="*/ 457 w 490"/>
                  <a:gd name="T43" fmla="*/ 88 h 138"/>
                  <a:gd name="T44" fmla="*/ 490 w 490"/>
                  <a:gd name="T45" fmla="*/ 91 h 138"/>
                  <a:gd name="T46" fmla="*/ 490 w 490"/>
                  <a:gd name="T47" fmla="*/ 91 h 138"/>
                  <a:gd name="T48" fmla="*/ 477 w 490"/>
                  <a:gd name="T49" fmla="*/ 60 h 138"/>
                  <a:gd name="T50" fmla="*/ 469 w 490"/>
                  <a:gd name="T51" fmla="*/ 45 h 138"/>
                  <a:gd name="T52" fmla="*/ 461 w 490"/>
                  <a:gd name="T53" fmla="*/ 29 h 138"/>
                  <a:gd name="T54" fmla="*/ 455 w 490"/>
                  <a:gd name="T55" fmla="*/ 41 h 138"/>
                  <a:gd name="T56" fmla="*/ 455 w 490"/>
                  <a:gd name="T57" fmla="*/ 41 h 138"/>
                  <a:gd name="T58" fmla="*/ 425 w 490"/>
                  <a:gd name="T59" fmla="*/ 27 h 138"/>
                  <a:gd name="T60" fmla="*/ 395 w 490"/>
                  <a:gd name="T61" fmla="*/ 16 h 138"/>
                  <a:gd name="T62" fmla="*/ 364 w 490"/>
                  <a:gd name="T63" fmla="*/ 8 h 138"/>
                  <a:gd name="T64" fmla="*/ 332 w 490"/>
                  <a:gd name="T65" fmla="*/ 3 h 138"/>
                  <a:gd name="T66" fmla="*/ 301 w 490"/>
                  <a:gd name="T67" fmla="*/ 0 h 138"/>
                  <a:gd name="T68" fmla="*/ 269 w 490"/>
                  <a:gd name="T69" fmla="*/ 0 h 138"/>
                  <a:gd name="T70" fmla="*/ 237 w 490"/>
                  <a:gd name="T71" fmla="*/ 4 h 138"/>
                  <a:gd name="T72" fmla="*/ 206 w 490"/>
                  <a:gd name="T73" fmla="*/ 9 h 138"/>
                  <a:gd name="T74" fmla="*/ 175 w 490"/>
                  <a:gd name="T75" fmla="*/ 17 h 138"/>
                  <a:gd name="T76" fmla="*/ 146 w 490"/>
                  <a:gd name="T77" fmla="*/ 28 h 138"/>
                  <a:gd name="T78" fmla="*/ 118 w 490"/>
                  <a:gd name="T79" fmla="*/ 40 h 138"/>
                  <a:gd name="T80" fmla="*/ 91 w 490"/>
                  <a:gd name="T81" fmla="*/ 56 h 138"/>
                  <a:gd name="T82" fmla="*/ 66 w 490"/>
                  <a:gd name="T83" fmla="*/ 74 h 138"/>
                  <a:gd name="T84" fmla="*/ 41 w 490"/>
                  <a:gd name="T85" fmla="*/ 92 h 138"/>
                  <a:gd name="T86" fmla="*/ 19 w 490"/>
                  <a:gd name="T87" fmla="*/ 114 h 138"/>
                  <a:gd name="T88" fmla="*/ 0 w 490"/>
                  <a:gd name="T89" fmla="*/ 138 h 138"/>
                  <a:gd name="T90" fmla="*/ 0 w 490"/>
                  <a:gd name="T9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138">
                    <a:moveTo>
                      <a:pt x="0" y="138"/>
                    </a:moveTo>
                    <a:lnTo>
                      <a:pt x="0" y="138"/>
                    </a:lnTo>
                    <a:lnTo>
                      <a:pt x="21" y="116"/>
                    </a:lnTo>
                    <a:lnTo>
                      <a:pt x="44" y="96"/>
                    </a:lnTo>
                    <a:lnTo>
                      <a:pt x="70" y="79"/>
                    </a:lnTo>
                    <a:lnTo>
                      <a:pt x="96" y="64"/>
                    </a:lnTo>
                    <a:lnTo>
                      <a:pt x="123" y="52"/>
                    </a:lnTo>
                    <a:lnTo>
                      <a:pt x="151" y="43"/>
                    </a:lnTo>
                    <a:lnTo>
                      <a:pt x="181" y="35"/>
                    </a:lnTo>
                    <a:lnTo>
                      <a:pt x="210" y="31"/>
                    </a:lnTo>
                    <a:lnTo>
                      <a:pt x="239" y="28"/>
                    </a:lnTo>
                    <a:lnTo>
                      <a:pt x="269" y="27"/>
                    </a:lnTo>
                    <a:lnTo>
                      <a:pt x="298" y="29"/>
                    </a:lnTo>
                    <a:lnTo>
                      <a:pt x="326" y="35"/>
                    </a:lnTo>
                    <a:lnTo>
                      <a:pt x="354" y="41"/>
                    </a:lnTo>
                    <a:lnTo>
                      <a:pt x="383" y="51"/>
                    </a:lnTo>
                    <a:lnTo>
                      <a:pt x="409" y="64"/>
                    </a:lnTo>
                    <a:lnTo>
                      <a:pt x="433" y="79"/>
                    </a:lnTo>
                    <a:lnTo>
                      <a:pt x="427" y="90"/>
                    </a:lnTo>
                    <a:lnTo>
                      <a:pt x="427" y="90"/>
                    </a:lnTo>
                    <a:lnTo>
                      <a:pt x="443" y="88"/>
                    </a:lnTo>
                    <a:lnTo>
                      <a:pt x="457" y="88"/>
                    </a:lnTo>
                    <a:lnTo>
                      <a:pt x="490" y="91"/>
                    </a:lnTo>
                    <a:lnTo>
                      <a:pt x="490" y="91"/>
                    </a:lnTo>
                    <a:lnTo>
                      <a:pt x="477" y="60"/>
                    </a:lnTo>
                    <a:lnTo>
                      <a:pt x="469" y="45"/>
                    </a:lnTo>
                    <a:lnTo>
                      <a:pt x="461" y="29"/>
                    </a:lnTo>
                    <a:lnTo>
                      <a:pt x="455" y="41"/>
                    </a:lnTo>
                    <a:lnTo>
                      <a:pt x="455" y="41"/>
                    </a:lnTo>
                    <a:lnTo>
                      <a:pt x="425" y="27"/>
                    </a:lnTo>
                    <a:lnTo>
                      <a:pt x="395" y="16"/>
                    </a:lnTo>
                    <a:lnTo>
                      <a:pt x="364" y="8"/>
                    </a:lnTo>
                    <a:lnTo>
                      <a:pt x="332" y="3"/>
                    </a:lnTo>
                    <a:lnTo>
                      <a:pt x="301" y="0"/>
                    </a:lnTo>
                    <a:lnTo>
                      <a:pt x="269" y="0"/>
                    </a:lnTo>
                    <a:lnTo>
                      <a:pt x="237" y="4"/>
                    </a:lnTo>
                    <a:lnTo>
                      <a:pt x="206" y="9"/>
                    </a:lnTo>
                    <a:lnTo>
                      <a:pt x="175" y="17"/>
                    </a:lnTo>
                    <a:lnTo>
                      <a:pt x="146" y="28"/>
                    </a:lnTo>
                    <a:lnTo>
                      <a:pt x="118" y="40"/>
                    </a:lnTo>
                    <a:lnTo>
                      <a:pt x="91" y="56"/>
                    </a:lnTo>
                    <a:lnTo>
                      <a:pt x="66" y="74"/>
                    </a:lnTo>
                    <a:lnTo>
                      <a:pt x="41" y="92"/>
                    </a:lnTo>
                    <a:lnTo>
                      <a:pt x="19" y="114"/>
                    </a:lnTo>
                    <a:lnTo>
                      <a:pt x="0" y="138"/>
                    </a:ln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1E60"/>
                  </a:solidFill>
                  <a:effectLst/>
                  <a:uLnTx/>
                  <a:uFillTx/>
                  <a:ea typeface="ヒラギノ角ゴ Pro W3" panose="020B0300000000000000" pitchFamily="34" charset="-128"/>
                  <a:cs typeface="Arial"/>
                </a:endParaRPr>
              </a:p>
            </p:txBody>
          </p:sp>
        </p:grpSp>
        <p:grpSp>
          <p:nvGrpSpPr>
            <p:cNvPr id="7134" name="Graphic 2987">
              <a:extLst>
                <a:ext uri="{FF2B5EF4-FFF2-40B4-BE49-F238E27FC236}">
                  <a16:creationId xmlns:a16="http://schemas.microsoft.com/office/drawing/2014/main" id="{E7899141-F7FE-2A30-8FDF-2BF40E1F6BA6}"/>
                </a:ext>
              </a:extLst>
            </p:cNvPr>
            <p:cNvGrpSpPr/>
            <p:nvPr/>
          </p:nvGrpSpPr>
          <p:grpSpPr>
            <a:xfrm>
              <a:off x="5147620" y="3585279"/>
              <a:ext cx="230560" cy="306163"/>
              <a:chOff x="5579561" y="3590947"/>
              <a:chExt cx="230560" cy="306162"/>
            </a:xfrm>
            <a:solidFill>
              <a:schemeClr val="accent1"/>
            </a:solidFill>
          </p:grpSpPr>
          <p:sp>
            <p:nvSpPr>
              <p:cNvPr id="7135" name="Freeform 8806">
                <a:extLst>
                  <a:ext uri="{FF2B5EF4-FFF2-40B4-BE49-F238E27FC236}">
                    <a16:creationId xmlns:a16="http://schemas.microsoft.com/office/drawing/2014/main" id="{C935B185-3200-8315-ECC1-472494838072}"/>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36" name="Freeform 8807">
                <a:extLst>
                  <a:ext uri="{FF2B5EF4-FFF2-40B4-BE49-F238E27FC236}">
                    <a16:creationId xmlns:a16="http://schemas.microsoft.com/office/drawing/2014/main" id="{CA4B5022-A620-2BF8-6C87-99B7D83360DB}"/>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sp>
          <p:nvSpPr>
            <p:cNvPr id="7147" name="TextBox 5605">
              <a:extLst>
                <a:ext uri="{FF2B5EF4-FFF2-40B4-BE49-F238E27FC236}">
                  <a16:creationId xmlns:a16="http://schemas.microsoft.com/office/drawing/2014/main" id="{0BBA47AC-D6C7-1827-FCAC-B967F35B1FC6}"/>
                </a:ext>
              </a:extLst>
            </p:cNvPr>
            <p:cNvSpPr txBox="1"/>
            <p:nvPr/>
          </p:nvSpPr>
          <p:spPr>
            <a:xfrm>
              <a:off x="5578150" y="3348918"/>
              <a:ext cx="1147622" cy="523220"/>
            </a:xfrm>
            <a:prstGeom prst="rect">
              <a:avLst/>
            </a:prstGeom>
            <a:noFill/>
          </p:spPr>
          <p:txBody>
            <a:bodyPr wrap="none" rtlCol="0">
              <a:spAutoFit/>
            </a:bodyPr>
            <a:lstStyle/>
            <a:p>
              <a:pP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Amplificação</a:t>
              </a:r>
              <a:endParaRPr lang="en-US" sz="1400" b="1" dirty="0">
                <a:solidFill>
                  <a:schemeClr val="accent1"/>
                </a:solidFill>
                <a:ea typeface="ヒラギノ角ゴ Pro W3" panose="020B0300000000000000" pitchFamily="34" charset="-128"/>
                <a:cs typeface="Arial"/>
                <a:sym typeface="Arial"/>
              </a:endParaRPr>
            </a:p>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iclo</a:t>
              </a:r>
              <a:endParaRPr lang="en-US" sz="1400" b="1" dirty="0">
                <a:solidFill>
                  <a:schemeClr val="accent1"/>
                </a:solidFill>
                <a:ea typeface="ヒラギノ角ゴ Pro W3" panose="020B0300000000000000" pitchFamily="34" charset="-128"/>
                <a:cs typeface="Arial"/>
                <a:sym typeface="Arial"/>
              </a:endParaRPr>
            </a:p>
          </p:txBody>
        </p:sp>
        <p:sp>
          <p:nvSpPr>
            <p:cNvPr id="7150" name="Freeform 8975">
              <a:extLst>
                <a:ext uri="{FF2B5EF4-FFF2-40B4-BE49-F238E27FC236}">
                  <a16:creationId xmlns:a16="http://schemas.microsoft.com/office/drawing/2014/main" id="{0A9540B6-6E49-B59F-678D-8F5E9F2FF790}"/>
                </a:ext>
              </a:extLst>
            </p:cNvPr>
            <p:cNvSpPr/>
            <p:nvPr/>
          </p:nvSpPr>
          <p:spPr>
            <a:xfrm>
              <a:off x="4897597" y="3738770"/>
              <a:ext cx="178681" cy="291839"/>
            </a:xfrm>
            <a:custGeom>
              <a:avLst/>
              <a:gdLst>
                <a:gd name="connsiteX0" fmla="*/ 139231 w 178681"/>
                <a:gd name="connsiteY0" fmla="*/ 60037 h 291838"/>
                <a:gd name="connsiteX1" fmla="*/ 51418 w 178681"/>
                <a:gd name="connsiteY1" fmla="*/ 0 h 291838"/>
                <a:gd name="connsiteX2" fmla="*/ 33232 w 178681"/>
                <a:gd name="connsiteY2" fmla="*/ 22420 h 291838"/>
                <a:gd name="connsiteX3" fmla="*/ 83180 w 178681"/>
                <a:gd name="connsiteY3" fmla="*/ 287354 h 291838"/>
                <a:gd name="connsiteX4" fmla="*/ 90529 w 178681"/>
                <a:gd name="connsiteY4" fmla="*/ 291839 h 291838"/>
                <a:gd name="connsiteX5" fmla="*/ 163021 w 178681"/>
                <a:gd name="connsiteY5" fmla="*/ 185715 h 291838"/>
                <a:gd name="connsiteX6" fmla="*/ 139231 w 178681"/>
                <a:gd name="connsiteY6" fmla="*/ 60037 h 2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81" h="291838">
                  <a:moveTo>
                    <a:pt x="139231" y="60037"/>
                  </a:moveTo>
                  <a:lnTo>
                    <a:pt x="51418" y="0"/>
                  </a:lnTo>
                  <a:cubicBezTo>
                    <a:pt x="44941" y="6975"/>
                    <a:pt x="38713" y="14324"/>
                    <a:pt x="33232" y="22420"/>
                  </a:cubicBezTo>
                  <a:cubicBezTo>
                    <a:pt x="-26182" y="109362"/>
                    <a:pt x="-3762" y="227941"/>
                    <a:pt x="83180" y="287354"/>
                  </a:cubicBezTo>
                  <a:cubicBezTo>
                    <a:pt x="85546" y="288974"/>
                    <a:pt x="88038" y="290344"/>
                    <a:pt x="90529" y="291839"/>
                  </a:cubicBezTo>
                  <a:lnTo>
                    <a:pt x="163021" y="185715"/>
                  </a:lnTo>
                  <a:cubicBezTo>
                    <a:pt x="191047" y="144362"/>
                    <a:pt x="180459" y="88187"/>
                    <a:pt x="139231" y="60037"/>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154" name="Freeform 8974">
              <a:extLst>
                <a:ext uri="{FF2B5EF4-FFF2-40B4-BE49-F238E27FC236}">
                  <a16:creationId xmlns:a16="http://schemas.microsoft.com/office/drawing/2014/main" id="{D83A5ED8-3730-53F3-C908-32FB4E288086}"/>
                </a:ext>
              </a:extLst>
            </p:cNvPr>
            <p:cNvSpPr/>
            <p:nvPr/>
          </p:nvSpPr>
          <p:spPr>
            <a:xfrm>
              <a:off x="6033504" y="4036955"/>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55" name="TextBox 5614">
              <a:extLst>
                <a:ext uri="{FF2B5EF4-FFF2-40B4-BE49-F238E27FC236}">
                  <a16:creationId xmlns:a16="http://schemas.microsoft.com/office/drawing/2014/main" id="{DB14BAC0-B6B0-1BE6-266A-67F74A516E1B}"/>
                </a:ext>
              </a:extLst>
            </p:cNvPr>
            <p:cNvSpPr txBox="1"/>
            <p:nvPr/>
          </p:nvSpPr>
          <p:spPr>
            <a:xfrm>
              <a:off x="6021721" y="4093367"/>
              <a:ext cx="399468"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b</a:t>
              </a:r>
            </a:p>
          </p:txBody>
        </p:sp>
        <p:sp>
          <p:nvSpPr>
            <p:cNvPr id="7156" name="TextBox 5616">
              <a:extLst>
                <a:ext uri="{FF2B5EF4-FFF2-40B4-BE49-F238E27FC236}">
                  <a16:creationId xmlns:a16="http://schemas.microsoft.com/office/drawing/2014/main" id="{105F77D3-4361-8529-09F4-CDA975DA54BE}"/>
                </a:ext>
              </a:extLst>
            </p:cNvPr>
            <p:cNvSpPr txBox="1"/>
            <p:nvPr/>
          </p:nvSpPr>
          <p:spPr>
            <a:xfrm>
              <a:off x="4551649" y="3764628"/>
              <a:ext cx="393056"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chemeClr val="accent1"/>
                  </a:solidFill>
                  <a:ea typeface="ヒラギノ角ゴ Pro W3" panose="020B0300000000000000" pitchFamily="34" charset="-128"/>
                  <a:cs typeface="Arial"/>
                  <a:sym typeface="Arial"/>
                </a:rPr>
                <a:t>C3a</a:t>
              </a:r>
            </a:p>
          </p:txBody>
        </p:sp>
        <p:sp>
          <p:nvSpPr>
            <p:cNvPr id="7164" name="TextBox 5625">
              <a:extLst>
                <a:ext uri="{FF2B5EF4-FFF2-40B4-BE49-F238E27FC236}">
                  <a16:creationId xmlns:a16="http://schemas.microsoft.com/office/drawing/2014/main" id="{140F391C-A2A2-E14C-47FD-D66DF5A6D784}"/>
                </a:ext>
              </a:extLst>
            </p:cNvPr>
            <p:cNvSpPr txBox="1"/>
            <p:nvPr/>
          </p:nvSpPr>
          <p:spPr>
            <a:xfrm>
              <a:off x="3698209" y="3075934"/>
              <a:ext cx="2762792" cy="584775"/>
            </a:xfrm>
            <a:prstGeom prst="rect">
              <a:avLst/>
            </a:prstGeom>
            <a:noFill/>
          </p:spPr>
          <p:txBody>
            <a:bodyPr wrap="squar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accent1"/>
                  </a:solidFill>
                  <a:effectLst/>
                  <a:uLnTx/>
                  <a:uFillTx/>
                  <a:latin typeface="+mj-lt"/>
                  <a:ea typeface="ヒラギノ角ゴ Pro W3" panose="020B0300000000000000" pitchFamily="34" charset="-128"/>
                  <a:cs typeface="Arial"/>
                  <a:sym typeface="Arial"/>
                </a:rPr>
                <a:t>Complemento</a:t>
              </a:r>
              <a:endPar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endParaRPr>
            </a:p>
            <a:p>
              <a:pPr marL="0" marR="0" lvl="0" indent="0" defTabSz="914377"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accent1"/>
                  </a:solidFill>
                  <a:effectLst/>
                  <a:uLnTx/>
                  <a:uFillTx/>
                  <a:latin typeface="+mj-lt"/>
                  <a:ea typeface="ヒラギノ角ゴ Pro W3" panose="020B0300000000000000" pitchFamily="34" charset="-128"/>
                  <a:cs typeface="Arial"/>
                  <a:sym typeface="Arial"/>
                </a:rPr>
                <a:t>Proximal </a:t>
              </a:r>
            </a:p>
          </p:txBody>
        </p:sp>
        <p:sp>
          <p:nvSpPr>
            <p:cNvPr id="7169" name="Freeform 8973">
              <a:extLst>
                <a:ext uri="{FF2B5EF4-FFF2-40B4-BE49-F238E27FC236}">
                  <a16:creationId xmlns:a16="http://schemas.microsoft.com/office/drawing/2014/main" id="{74B9A309-E7B8-16AC-866A-9DC628AC74D1}"/>
                </a:ext>
              </a:extLst>
            </p:cNvPr>
            <p:cNvSpPr/>
            <p:nvPr/>
          </p:nvSpPr>
          <p:spPr>
            <a:xfrm>
              <a:off x="5988179" y="2788682"/>
              <a:ext cx="291589" cy="428727"/>
            </a:xfrm>
            <a:custGeom>
              <a:avLst/>
              <a:gdLst>
                <a:gd name="connsiteX0" fmla="*/ 206392 w 291589"/>
                <a:gd name="connsiteY0" fmla="*/ 428728 h 428727"/>
                <a:gd name="connsiteX1" fmla="*/ 85197 w 291589"/>
                <a:gd name="connsiteY1" fmla="*/ 428728 h 428727"/>
                <a:gd name="connsiteX2" fmla="*/ 0 w 291589"/>
                <a:gd name="connsiteY2" fmla="*/ 343530 h 428727"/>
                <a:gd name="connsiteX3" fmla="*/ 0 w 291589"/>
                <a:gd name="connsiteY3" fmla="*/ 85197 h 428727"/>
                <a:gd name="connsiteX4" fmla="*/ 85197 w 291589"/>
                <a:gd name="connsiteY4" fmla="*/ 0 h 428727"/>
                <a:gd name="connsiteX5" fmla="*/ 206392 w 291589"/>
                <a:gd name="connsiteY5" fmla="*/ 0 h 428727"/>
                <a:gd name="connsiteX6" fmla="*/ 291590 w 291589"/>
                <a:gd name="connsiteY6" fmla="*/ 85197 h 428727"/>
                <a:gd name="connsiteX7" fmla="*/ 291590 w 291589"/>
                <a:gd name="connsiteY7" fmla="*/ 343530 h 428727"/>
                <a:gd name="connsiteX8" fmla="*/ 206392 w 291589"/>
                <a:gd name="connsiteY8" fmla="*/ 428728 h 4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89" h="428727">
                  <a:moveTo>
                    <a:pt x="206392" y="428728"/>
                  </a:moveTo>
                  <a:lnTo>
                    <a:pt x="85197" y="428728"/>
                  </a:lnTo>
                  <a:cubicBezTo>
                    <a:pt x="38115" y="428728"/>
                    <a:pt x="0" y="390613"/>
                    <a:pt x="0" y="343530"/>
                  </a:cubicBezTo>
                  <a:lnTo>
                    <a:pt x="0" y="85197"/>
                  </a:lnTo>
                  <a:cubicBezTo>
                    <a:pt x="0" y="38115"/>
                    <a:pt x="38115" y="0"/>
                    <a:pt x="85197" y="0"/>
                  </a:cubicBezTo>
                  <a:lnTo>
                    <a:pt x="206392" y="0"/>
                  </a:lnTo>
                  <a:cubicBezTo>
                    <a:pt x="253475" y="0"/>
                    <a:pt x="291590" y="38115"/>
                    <a:pt x="291590" y="85197"/>
                  </a:cubicBezTo>
                  <a:lnTo>
                    <a:pt x="291590" y="343530"/>
                  </a:lnTo>
                  <a:cubicBezTo>
                    <a:pt x="291590" y="390613"/>
                    <a:pt x="253475" y="428728"/>
                    <a:pt x="206392" y="428728"/>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67" b="1" i="0" u="none" strike="noStrike" kern="0" cap="none" spc="0" normalizeH="0" baseline="0" noProof="0">
                <a:ln>
                  <a:noFill/>
                </a:ln>
                <a:solidFill>
                  <a:srgbClr val="FFFFFF"/>
                </a:solidFill>
                <a:effectLst/>
                <a:uLnTx/>
                <a:uFillTx/>
                <a:ea typeface="ヒラギノ角ゴ Pro W3" panose="020B0300000000000000" pitchFamily="34" charset="-128"/>
                <a:cs typeface="Arial"/>
              </a:endParaRPr>
            </a:p>
          </p:txBody>
        </p:sp>
        <p:sp>
          <p:nvSpPr>
            <p:cNvPr id="7170" name="TextBox 5632">
              <a:extLst>
                <a:ext uri="{FF2B5EF4-FFF2-40B4-BE49-F238E27FC236}">
                  <a16:creationId xmlns:a16="http://schemas.microsoft.com/office/drawing/2014/main" id="{6466CDE8-E9ED-780A-86AE-A8BE608E9A0E}"/>
                </a:ext>
              </a:extLst>
            </p:cNvPr>
            <p:cNvSpPr txBox="1"/>
            <p:nvPr/>
          </p:nvSpPr>
          <p:spPr>
            <a:xfrm>
              <a:off x="5975280" y="2872421"/>
              <a:ext cx="325729" cy="256546"/>
            </a:xfrm>
            <a:prstGeom prst="rect">
              <a:avLst/>
            </a:prstGeom>
            <a:noFill/>
          </p:spPr>
          <p:txBody>
            <a:bodyPr wrap="none" rtlCol="0">
              <a:spAutoFit/>
            </a:bodyPr>
            <a:lstStyle/>
            <a:p>
              <a:pPr marL="0" marR="0" lvl="0" indent="0" defTabSz="914377"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dirty="0">
                  <a:ln>
                    <a:noFill/>
                  </a:ln>
                  <a:solidFill>
                    <a:srgbClr val="FFFFFF"/>
                  </a:solidFill>
                  <a:effectLst/>
                  <a:uLnTx/>
                  <a:uFillTx/>
                  <a:ea typeface="ヒラギノ角ゴ Pro W3" panose="020B0300000000000000" pitchFamily="34" charset="-128"/>
                  <a:cs typeface="Arial"/>
                  <a:sym typeface="Arial"/>
                </a:rPr>
                <a:t>C3</a:t>
              </a:r>
            </a:p>
          </p:txBody>
        </p:sp>
        <p:sp>
          <p:nvSpPr>
            <p:cNvPr id="7171" name="TextBox 5633">
              <a:extLst>
                <a:ext uri="{FF2B5EF4-FFF2-40B4-BE49-F238E27FC236}">
                  <a16:creationId xmlns:a16="http://schemas.microsoft.com/office/drawing/2014/main" id="{AF384C4C-0105-3F03-CC5B-5DA0ED274C7D}"/>
                </a:ext>
              </a:extLst>
            </p:cNvPr>
            <p:cNvSpPr txBox="1"/>
            <p:nvPr/>
          </p:nvSpPr>
          <p:spPr>
            <a:xfrm>
              <a:off x="71158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a:solidFill>
                    <a:srgbClr val="FFFFFF"/>
                  </a:solidFill>
                  <a:ea typeface="ヒラギノ角ゴ Pro W3" panose="020B0300000000000000" pitchFamily="34" charset="-128"/>
                  <a:cs typeface="Arial"/>
                  <a:sym typeface="Arial"/>
                </a:rPr>
                <a:t>C3b</a:t>
              </a:r>
            </a:p>
          </p:txBody>
        </p:sp>
        <p:sp>
          <p:nvSpPr>
            <p:cNvPr id="7202" name="TextBox 5669">
              <a:extLst>
                <a:ext uri="{FF2B5EF4-FFF2-40B4-BE49-F238E27FC236}">
                  <a16:creationId xmlns:a16="http://schemas.microsoft.com/office/drawing/2014/main" id="{95353DE7-9B04-8999-202A-0177CA2218CF}"/>
                </a:ext>
              </a:extLst>
            </p:cNvPr>
            <p:cNvSpPr txBox="1"/>
            <p:nvPr/>
          </p:nvSpPr>
          <p:spPr>
            <a:xfrm>
              <a:off x="5302172" y="2510649"/>
              <a:ext cx="1649736" cy="307777"/>
            </a:xfrm>
            <a:prstGeom prst="rect">
              <a:avLst/>
            </a:prstGeom>
            <a:noFill/>
          </p:spPr>
          <p:txBody>
            <a:bodyPr wrap="square" rtlCol="0">
              <a:spAutoFit/>
            </a:bodyPr>
            <a:lstStyle/>
            <a:p>
              <a:pPr algn="ctr" defTabSz="914377" fontAlgn="base">
                <a:spcBef>
                  <a:spcPct val="0"/>
                </a:spcBef>
                <a:spcAft>
                  <a:spcPct val="0"/>
                </a:spcAft>
                <a:defRPr/>
              </a:pPr>
              <a:r>
                <a:rPr lang="en-US" sz="1400" b="1" dirty="0" err="1">
                  <a:solidFill>
                    <a:schemeClr val="accent1"/>
                  </a:solidFill>
                  <a:ea typeface="ヒラギノ角ゴ Pro W3" panose="020B0300000000000000" pitchFamily="34" charset="-128"/>
                  <a:cs typeface="Arial"/>
                  <a:sym typeface="Arial"/>
                </a:rPr>
                <a:t>Conversão</a:t>
              </a:r>
              <a:r>
                <a:rPr lang="en-US" sz="1400" b="1" dirty="0">
                  <a:solidFill>
                    <a:schemeClr val="accent1"/>
                  </a:solidFill>
                  <a:ea typeface="ヒラギノ角ゴ Pro W3" panose="020B0300000000000000" pitchFamily="34" charset="-128"/>
                  <a:cs typeface="Arial"/>
                  <a:sym typeface="Arial"/>
                </a:rPr>
                <a:t> de C3</a:t>
              </a:r>
            </a:p>
          </p:txBody>
        </p:sp>
        <p:sp>
          <p:nvSpPr>
            <p:cNvPr id="7209" name="Freeform 3672">
              <a:extLst>
                <a:ext uri="{FF2B5EF4-FFF2-40B4-BE49-F238E27FC236}">
                  <a16:creationId xmlns:a16="http://schemas.microsoft.com/office/drawing/2014/main" id="{460E699A-A47A-DDAC-E8AB-AF28240C106B}"/>
                </a:ext>
              </a:extLst>
            </p:cNvPr>
            <p:cNvSpPr/>
            <p:nvPr/>
          </p:nvSpPr>
          <p:spPr>
            <a:xfrm>
              <a:off x="7178478" y="3654033"/>
              <a:ext cx="461313" cy="373027"/>
            </a:xfrm>
            <a:custGeom>
              <a:avLst/>
              <a:gdLst>
                <a:gd name="connsiteX0" fmla="*/ 398187 w 461313"/>
                <a:gd name="connsiteY0" fmla="*/ 22670 h 373026"/>
                <a:gd name="connsiteX1" fmla="*/ 415999 w 461313"/>
                <a:gd name="connsiteY1" fmla="*/ 0 h 373026"/>
                <a:gd name="connsiteX2" fmla="*/ 432316 w 461313"/>
                <a:gd name="connsiteY2" fmla="*/ 15072 h 373026"/>
                <a:gd name="connsiteX3" fmla="*/ 437298 w 461313"/>
                <a:gd name="connsiteY3" fmla="*/ 142743 h 373026"/>
                <a:gd name="connsiteX4" fmla="*/ 251084 w 461313"/>
                <a:gd name="connsiteY4" fmla="*/ 344028 h 373026"/>
                <a:gd name="connsiteX5" fmla="*/ 123412 w 461313"/>
                <a:gd name="connsiteY5" fmla="*/ 349011 h 373026"/>
                <a:gd name="connsiteX6" fmla="*/ 28998 w 461313"/>
                <a:gd name="connsiteY6" fmla="*/ 261696 h 373026"/>
                <a:gd name="connsiteX7" fmla="*/ 24016 w 461313"/>
                <a:gd name="connsiteY7" fmla="*/ 134024 h 373026"/>
                <a:gd name="connsiteX8" fmla="*/ 122914 w 461313"/>
                <a:gd name="connsiteY8" fmla="*/ 27029 h 373026"/>
                <a:gd name="connsiteX9" fmla="*/ 128893 w 461313"/>
                <a:gd name="connsiteY9" fmla="*/ 33132 h 373026"/>
                <a:gd name="connsiteX10" fmla="*/ 398187 w 461313"/>
                <a:gd name="connsiteY10" fmla="*/ 22670 h 37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1313" h="373026">
                  <a:moveTo>
                    <a:pt x="398187" y="22670"/>
                  </a:moveTo>
                  <a:cubicBezTo>
                    <a:pt x="404789" y="15445"/>
                    <a:pt x="410643" y="7847"/>
                    <a:pt x="415999" y="0"/>
                  </a:cubicBezTo>
                  <a:lnTo>
                    <a:pt x="432316" y="15072"/>
                  </a:lnTo>
                  <a:cubicBezTo>
                    <a:pt x="468936" y="48951"/>
                    <a:pt x="471178" y="106123"/>
                    <a:pt x="437298" y="142743"/>
                  </a:cubicBezTo>
                  <a:lnTo>
                    <a:pt x="251084" y="344028"/>
                  </a:lnTo>
                  <a:cubicBezTo>
                    <a:pt x="217205" y="380648"/>
                    <a:pt x="160032" y="382890"/>
                    <a:pt x="123412" y="349011"/>
                  </a:cubicBezTo>
                  <a:lnTo>
                    <a:pt x="28998" y="261696"/>
                  </a:lnTo>
                  <a:cubicBezTo>
                    <a:pt x="-7622" y="227816"/>
                    <a:pt x="-9864" y="170644"/>
                    <a:pt x="24016" y="134024"/>
                  </a:cubicBezTo>
                  <a:lnTo>
                    <a:pt x="122914" y="27029"/>
                  </a:lnTo>
                  <a:cubicBezTo>
                    <a:pt x="124907" y="29022"/>
                    <a:pt x="126776" y="31139"/>
                    <a:pt x="128893" y="33132"/>
                  </a:cubicBezTo>
                  <a:cubicBezTo>
                    <a:pt x="206119" y="104629"/>
                    <a:pt x="326815" y="99895"/>
                    <a:pt x="398187" y="2267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2700000" scaled="1"/>
              <a:tileRect/>
            </a:gradFill>
            <a:ln w="12452" cap="flat">
              <a:solidFill>
                <a:schemeClr val="accent1">
                  <a:lumMod val="40000"/>
                  <a:lumOff val="60000"/>
                </a:schemeClr>
              </a:solid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0" name="TextBox 5679">
              <a:extLst>
                <a:ext uri="{FF2B5EF4-FFF2-40B4-BE49-F238E27FC236}">
                  <a16:creationId xmlns:a16="http://schemas.microsoft.com/office/drawing/2014/main" id="{37152788-7C01-C169-DEB6-BAAE4239CAD9}"/>
                </a:ext>
              </a:extLst>
            </p:cNvPr>
            <p:cNvSpPr txBox="1"/>
            <p:nvPr/>
          </p:nvSpPr>
          <p:spPr>
            <a:xfrm>
              <a:off x="7166695" y="3710446"/>
              <a:ext cx="399468" cy="256545"/>
            </a:xfrm>
            <a:prstGeom prst="rect">
              <a:avLst/>
            </a:prstGeom>
            <a:noFill/>
          </p:spPr>
          <p:txBody>
            <a:bodyPr wrap="none" rtlCol="0">
              <a:spAutoFit/>
            </a:bodyPr>
            <a:lstStyle/>
            <a:p>
              <a:pPr defTabSz="914377" fontAlgn="base">
                <a:spcBef>
                  <a:spcPct val="0"/>
                </a:spcBef>
                <a:spcAft>
                  <a:spcPct val="0"/>
                </a:spcAft>
                <a:defRPr/>
              </a:pPr>
              <a:r>
                <a:rPr lang="en-US" sz="1067" b="1" dirty="0">
                  <a:solidFill>
                    <a:srgbClr val="FFFFFF"/>
                  </a:solidFill>
                  <a:ea typeface="ヒラギノ角ゴ Pro W3" panose="020B0300000000000000" pitchFamily="34" charset="-128"/>
                  <a:cs typeface="Arial"/>
                  <a:sym typeface="Arial"/>
                </a:rPr>
                <a:t>C3b</a:t>
              </a:r>
            </a:p>
          </p:txBody>
        </p:sp>
        <p:grpSp>
          <p:nvGrpSpPr>
            <p:cNvPr id="7211" name="Graphic 2987">
              <a:extLst>
                <a:ext uri="{FF2B5EF4-FFF2-40B4-BE49-F238E27FC236}">
                  <a16:creationId xmlns:a16="http://schemas.microsoft.com/office/drawing/2014/main" id="{5840535C-F5AE-99E2-06E6-451BE55346FC}"/>
                </a:ext>
              </a:extLst>
            </p:cNvPr>
            <p:cNvGrpSpPr/>
            <p:nvPr/>
          </p:nvGrpSpPr>
          <p:grpSpPr>
            <a:xfrm rot="2286810" flipH="1" flipV="1">
              <a:off x="6916689" y="3600573"/>
              <a:ext cx="230560" cy="306163"/>
              <a:chOff x="5579561" y="3590947"/>
              <a:chExt cx="230560" cy="306162"/>
            </a:xfrm>
            <a:solidFill>
              <a:schemeClr val="accent1"/>
            </a:solidFill>
          </p:grpSpPr>
          <p:sp>
            <p:nvSpPr>
              <p:cNvPr id="7212" name="Freeform 3675">
                <a:extLst>
                  <a:ext uri="{FF2B5EF4-FFF2-40B4-BE49-F238E27FC236}">
                    <a16:creationId xmlns:a16="http://schemas.microsoft.com/office/drawing/2014/main" id="{AF0C0EE8-94E4-B73D-D3E1-7EC2F1CF3791}"/>
                  </a:ext>
                </a:extLst>
              </p:cNvPr>
              <p:cNvSpPr/>
              <p:nvPr/>
            </p:nvSpPr>
            <p:spPr>
              <a:xfrm>
                <a:off x="5655043" y="3590947"/>
                <a:ext cx="155078" cy="281375"/>
              </a:xfrm>
              <a:custGeom>
                <a:avLst/>
                <a:gdLst>
                  <a:gd name="connsiteX0" fmla="*/ 0 w 155078"/>
                  <a:gd name="connsiteY0" fmla="*/ 225076 h 281375"/>
                  <a:gd name="connsiteX1" fmla="*/ 58542 w 155078"/>
                  <a:gd name="connsiteY1" fmla="*/ 189452 h 281375"/>
                  <a:gd name="connsiteX2" fmla="*/ 106123 w 155078"/>
                  <a:gd name="connsiteY2" fmla="*/ 138134 h 281375"/>
                  <a:gd name="connsiteX3" fmla="*/ 138010 w 155078"/>
                  <a:gd name="connsiteY3" fmla="*/ 73364 h 281375"/>
                  <a:gd name="connsiteX4" fmla="*/ 146978 w 155078"/>
                  <a:gd name="connsiteY4" fmla="*/ 0 h 281375"/>
                  <a:gd name="connsiteX5" fmla="*/ 154078 w 155078"/>
                  <a:gd name="connsiteY5" fmla="*/ 76603 h 281375"/>
                  <a:gd name="connsiteX6" fmla="*/ 135020 w 155078"/>
                  <a:gd name="connsiteY6" fmla="*/ 153580 h 281375"/>
                  <a:gd name="connsiteX7" fmla="*/ 93667 w 155078"/>
                  <a:gd name="connsiteY7" fmla="*/ 223830 h 281375"/>
                  <a:gd name="connsiteX8" fmla="*/ 33630 w 155078"/>
                  <a:gd name="connsiteY8" fmla="*/ 281376 h 281375"/>
                  <a:gd name="connsiteX9" fmla="*/ 0 w 155078"/>
                  <a:gd name="connsiteY9" fmla="*/ 225076 h 2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78" h="281375">
                    <a:moveTo>
                      <a:pt x="0" y="225076"/>
                    </a:moveTo>
                    <a:cubicBezTo>
                      <a:pt x="20427" y="215360"/>
                      <a:pt x="40481" y="204026"/>
                      <a:pt x="58542" y="189452"/>
                    </a:cubicBezTo>
                    <a:cubicBezTo>
                      <a:pt x="76354" y="174754"/>
                      <a:pt x="92546" y="157690"/>
                      <a:pt x="106123" y="138134"/>
                    </a:cubicBezTo>
                    <a:cubicBezTo>
                      <a:pt x="119700" y="118579"/>
                      <a:pt x="130536" y="96781"/>
                      <a:pt x="138010" y="73364"/>
                    </a:cubicBezTo>
                    <a:cubicBezTo>
                      <a:pt x="145110" y="50072"/>
                      <a:pt x="150092" y="25161"/>
                      <a:pt x="146978" y="0"/>
                    </a:cubicBezTo>
                    <a:cubicBezTo>
                      <a:pt x="155448" y="24040"/>
                      <a:pt x="156195" y="50695"/>
                      <a:pt x="154078" y="76603"/>
                    </a:cubicBezTo>
                    <a:cubicBezTo>
                      <a:pt x="151711" y="102636"/>
                      <a:pt x="145234" y="128668"/>
                      <a:pt x="135020" y="153580"/>
                    </a:cubicBezTo>
                    <a:cubicBezTo>
                      <a:pt x="124807" y="178491"/>
                      <a:pt x="110732" y="202157"/>
                      <a:pt x="93667" y="223830"/>
                    </a:cubicBezTo>
                    <a:cubicBezTo>
                      <a:pt x="76354" y="245379"/>
                      <a:pt x="55802" y="264187"/>
                      <a:pt x="33630" y="281376"/>
                    </a:cubicBezTo>
                    <a:lnTo>
                      <a:pt x="0" y="225076"/>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7213" name="Freeform 3676">
                <a:extLst>
                  <a:ext uri="{FF2B5EF4-FFF2-40B4-BE49-F238E27FC236}">
                    <a16:creationId xmlns:a16="http://schemas.microsoft.com/office/drawing/2014/main" id="{552B4669-50D8-4443-606E-9F3A3A8CFCD3}"/>
                  </a:ext>
                </a:extLst>
              </p:cNvPr>
              <p:cNvSpPr/>
              <p:nvPr/>
            </p:nvSpPr>
            <p:spPr>
              <a:xfrm>
                <a:off x="5579561" y="3770061"/>
                <a:ext cx="138383" cy="127048"/>
              </a:xfrm>
              <a:custGeom>
                <a:avLst/>
                <a:gdLst>
                  <a:gd name="connsiteX0" fmla="*/ 138383 w 138383"/>
                  <a:gd name="connsiteY0" fmla="*/ 127049 h 127048"/>
                  <a:gd name="connsiteX1" fmla="*/ 0 w 138383"/>
                  <a:gd name="connsiteY1" fmla="*/ 112849 h 127048"/>
                  <a:gd name="connsiteX2" fmla="*/ 81460 w 138383"/>
                  <a:gd name="connsiteY2" fmla="*/ 0 h 127048"/>
                </a:gdLst>
                <a:ahLst/>
                <a:cxnLst>
                  <a:cxn ang="0">
                    <a:pos x="connsiteX0" y="connsiteY0"/>
                  </a:cxn>
                  <a:cxn ang="0">
                    <a:pos x="connsiteX1" y="connsiteY1"/>
                  </a:cxn>
                  <a:cxn ang="0">
                    <a:pos x="connsiteX2" y="connsiteY2"/>
                  </a:cxn>
                </a:cxnLst>
                <a:rect l="l" t="t" r="r" b="b"/>
                <a:pathLst>
                  <a:path w="138383" h="127048">
                    <a:moveTo>
                      <a:pt x="138383" y="127049"/>
                    </a:moveTo>
                    <a:lnTo>
                      <a:pt x="0" y="112849"/>
                    </a:lnTo>
                    <a:lnTo>
                      <a:pt x="81460" y="0"/>
                    </a:lnTo>
                    <a:close/>
                  </a:path>
                </a:pathLst>
              </a:custGeom>
              <a:grp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grpSp>
        <p:cxnSp>
          <p:nvCxnSpPr>
            <p:cNvPr id="7204" name="Straight Connector 5672">
              <a:extLst>
                <a:ext uri="{FF2B5EF4-FFF2-40B4-BE49-F238E27FC236}">
                  <a16:creationId xmlns:a16="http://schemas.microsoft.com/office/drawing/2014/main" id="{ACFF6347-1E42-122B-CAA6-7F6E66498F7B}"/>
                </a:ext>
              </a:extLst>
            </p:cNvPr>
            <p:cNvCxnSpPr>
              <a:cxnSpLocks/>
            </p:cNvCxnSpPr>
            <p:nvPr/>
          </p:nvCxnSpPr>
          <p:spPr>
            <a:xfrm>
              <a:off x="166909" y="4453901"/>
              <a:ext cx="11793926" cy="0"/>
            </a:xfrm>
            <a:prstGeom prst="line">
              <a:avLst/>
            </a:prstGeom>
            <a:noFill/>
            <a:ln w="19050" cap="flat" cmpd="sng" algn="ctr">
              <a:solidFill>
                <a:schemeClr val="bg1">
                  <a:lumMod val="65000"/>
                </a:schemeClr>
              </a:solidFill>
              <a:prstDash val="sysDash"/>
              <a:miter lim="800000"/>
            </a:ln>
            <a:effectLst/>
          </p:spPr>
        </p:cxnSp>
      </p:grpSp>
      <p:sp>
        <p:nvSpPr>
          <p:cNvPr id="14" name="Espaço Reservado para Texto 75">
            <a:extLst>
              <a:ext uri="{FF2B5EF4-FFF2-40B4-BE49-F238E27FC236}">
                <a16:creationId xmlns:a16="http://schemas.microsoft.com/office/drawing/2014/main" id="{C2AD0CF1-5E5C-20ED-4884-FC641B2C6DEA}"/>
              </a:ext>
            </a:extLst>
          </p:cNvPr>
          <p:cNvSpPr txBox="1">
            <a:spLocks/>
          </p:cNvSpPr>
          <p:nvPr/>
        </p:nvSpPr>
        <p:spPr>
          <a:xfrm>
            <a:off x="187015" y="5573672"/>
            <a:ext cx="4192956" cy="565786"/>
          </a:xfrm>
          <a:prstGeom prst="rect">
            <a:avLst/>
          </a:prstGeom>
        </p:spPr>
        <p:txBody>
          <a:bodyPr anchor="b" anchorCtr="0">
            <a:noAutofit/>
          </a:bodyPr>
          <a:lstStyle>
            <a:lvl1pPr marL="0" indent="0" algn="l" defTabSz="914400" rtl="0" eaLnBrk="1" latinLnBrk="0" hangingPunct="1">
              <a:lnSpc>
                <a:spcPct val="90000"/>
              </a:lnSpc>
              <a:spcBef>
                <a:spcPts val="0"/>
              </a:spcBef>
              <a:spcAft>
                <a:spcPts val="300"/>
              </a:spcAft>
              <a:buFont typeface="Arial" panose="020B0604020202020204" pitchFamily="34" charset="0"/>
              <a:buNone/>
              <a:defRPr sz="8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700" dirty="0"/>
              <a:t>CD, grupo de diferenciação; CFB, gene do fator B do complemento; CFH, gene do fator H do complemento; </a:t>
            </a:r>
            <a:br>
              <a:rPr lang="pt-BR" sz="700" dirty="0"/>
            </a:br>
            <a:r>
              <a:rPr lang="pt-BR" sz="700" dirty="0"/>
              <a:t>CFHR, gene da proteína relacionada ao fator H do complemento; CFI, gene do fator I do complemento; DAF, fator de acelerar a decadência; </a:t>
            </a:r>
            <a:br>
              <a:rPr lang="pt-BR" sz="700" dirty="0"/>
            </a:br>
            <a:r>
              <a:rPr lang="pt-BR" sz="700" dirty="0"/>
              <a:t>MCP, gene da proteína cofator de membrana; HTBD, gene da </a:t>
            </a:r>
            <a:r>
              <a:rPr lang="pt-BR" sz="700" dirty="0" err="1"/>
              <a:t>trombomomodulana</a:t>
            </a:r>
            <a:r>
              <a:rPr lang="pt-BR" sz="700" dirty="0"/>
              <a:t>.</a:t>
            </a:r>
          </a:p>
        </p:txBody>
      </p:sp>
      <p:sp>
        <p:nvSpPr>
          <p:cNvPr id="15" name="Rounded Rectangle 122">
            <a:extLst>
              <a:ext uri="{FF2B5EF4-FFF2-40B4-BE49-F238E27FC236}">
                <a16:creationId xmlns:a16="http://schemas.microsoft.com/office/drawing/2014/main" id="{A06A6B6A-5305-48F6-AB97-0B28AB7A2365}"/>
              </a:ext>
            </a:extLst>
          </p:cNvPr>
          <p:cNvSpPr/>
          <p:nvPr/>
        </p:nvSpPr>
        <p:spPr bwMode="auto">
          <a:xfrm>
            <a:off x="8192850" y="2946991"/>
            <a:ext cx="3260133" cy="626319"/>
          </a:xfrm>
          <a:prstGeom prst="roundRect">
            <a:avLst>
              <a:gd name="adj" fmla="val 0"/>
            </a:avLst>
          </a:prstGeom>
          <a:solidFill>
            <a:schemeClr val="bg1">
              <a:lumMod val="5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bg1"/>
                </a:solidFill>
                <a:effectLst/>
                <a:uLnTx/>
                <a:uFillTx/>
                <a:cs typeface="Trade Gothic LT Std" charset="0"/>
              </a:rPr>
              <a:t>Hemoglobinúria</a:t>
            </a:r>
            <a:r>
              <a:rPr kumimoji="0" lang="en-US" sz="1100" b="1" i="0" u="none" strike="noStrike" kern="0" cap="none" spc="0" normalizeH="0" baseline="0" noProof="0" dirty="0">
                <a:ln>
                  <a:noFill/>
                </a:ln>
                <a:solidFill>
                  <a:schemeClr val="bg1"/>
                </a:solidFill>
                <a:effectLst/>
                <a:uLnTx/>
                <a:uFillTx/>
                <a:cs typeface="Trade Gothic LT Std" charset="0"/>
              </a:rPr>
              <a:t> </a:t>
            </a:r>
            <a:r>
              <a:rPr kumimoji="0" lang="en-US" sz="1100" b="1" i="0" u="none" strike="noStrike" kern="0" cap="none" spc="0" normalizeH="0" baseline="0" noProof="0" dirty="0" err="1">
                <a:ln>
                  <a:noFill/>
                </a:ln>
                <a:solidFill>
                  <a:schemeClr val="bg1"/>
                </a:solidFill>
                <a:effectLst/>
                <a:uLnTx/>
                <a:uFillTx/>
                <a:cs typeface="Trade Gothic LT Std" charset="0"/>
              </a:rPr>
              <a:t>paroxística</a:t>
            </a:r>
            <a:r>
              <a:rPr kumimoji="0" lang="en-US" sz="1100" b="1" i="0" u="none" strike="noStrike" kern="0" cap="none" spc="0" normalizeH="0" baseline="0" noProof="0" dirty="0">
                <a:ln>
                  <a:noFill/>
                </a:ln>
                <a:solidFill>
                  <a:schemeClr val="bg1"/>
                </a:solidFill>
                <a:effectLst/>
                <a:uLnTx/>
                <a:uFillTx/>
                <a:cs typeface="Trade Gothic LT Std" charset="0"/>
              </a:rPr>
              <a:t> </a:t>
            </a:r>
            <a:r>
              <a:rPr kumimoji="0" lang="en-US" sz="1100" b="1" i="0" u="none" strike="noStrike" kern="0" cap="none" spc="0" normalizeH="0" baseline="0" noProof="0" dirty="0" err="1">
                <a:ln>
                  <a:noFill/>
                </a:ln>
                <a:solidFill>
                  <a:schemeClr val="bg1"/>
                </a:solidFill>
                <a:effectLst/>
                <a:uLnTx/>
                <a:uFillTx/>
                <a:cs typeface="Trade Gothic LT Std" charset="0"/>
              </a:rPr>
              <a:t>noturna</a:t>
            </a:r>
            <a:r>
              <a:rPr kumimoji="0" lang="en-US" sz="1100" b="1" i="0" u="none" strike="noStrike" kern="0" cap="none" spc="0" normalizeH="0" baseline="0" noProof="0" dirty="0">
                <a:ln>
                  <a:noFill/>
                </a:ln>
                <a:solidFill>
                  <a:schemeClr val="bg1"/>
                </a:solidFill>
                <a:effectLst/>
                <a:uLnTx/>
                <a:uFillTx/>
                <a:cs typeface="Trade Gothic LT Std" charset="0"/>
              </a:rPr>
              <a:t> (HPN)</a:t>
            </a:r>
            <a:r>
              <a:rPr kumimoji="0" lang="en-US" sz="1100" b="1" i="0" u="none" strike="noStrike" kern="0" cap="none" spc="0" normalizeH="0" baseline="30000" noProof="0" dirty="0">
                <a:ln>
                  <a:noFill/>
                </a:ln>
                <a:solidFill>
                  <a:schemeClr val="bg1"/>
                </a:solidFill>
                <a:effectLst/>
                <a:uLnTx/>
                <a:uFillTx/>
                <a:cs typeface="Trade Gothic LT Std" charset="0"/>
              </a:rPr>
              <a:t>6</a:t>
            </a:r>
            <a:endParaRPr kumimoji="0" lang="en-US" sz="1100" b="1" i="0" u="none" strike="noStrike" kern="0" cap="none" spc="0" normalizeH="0" baseline="0" noProof="0" dirty="0">
              <a:ln>
                <a:noFill/>
              </a:ln>
              <a:solidFill>
                <a:schemeClr val="bg1"/>
              </a:solidFill>
              <a:effectLst/>
              <a:uLnTx/>
              <a:uFillTx/>
              <a:cs typeface="Trade Gothic LT Std" charset="0"/>
            </a:endParaRPr>
          </a:p>
          <a:p>
            <a:pPr marL="156629" marR="0" lvl="0" indent="-156629" algn="l" defTabSz="45717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chemeClr val="bg1"/>
                </a:solidFill>
                <a:effectLst/>
                <a:uLnTx/>
                <a:uFillTx/>
                <a:cs typeface="Trade Gothic LT Std" charset="0"/>
              </a:rPr>
              <a:t>Ausência</a:t>
            </a:r>
            <a:r>
              <a:rPr kumimoji="0" lang="en-US" sz="1100" b="0" i="0" u="none" strike="noStrike" kern="0" cap="none" spc="0" normalizeH="0" baseline="0" noProof="0" dirty="0">
                <a:ln>
                  <a:noFill/>
                </a:ln>
                <a:solidFill>
                  <a:schemeClr val="bg1"/>
                </a:solidFill>
                <a:effectLst/>
                <a:uLnTx/>
                <a:uFillTx/>
                <a:cs typeface="Trade Gothic LT Std" charset="0"/>
              </a:rPr>
              <a:t> de DAF (CD55)</a:t>
            </a:r>
          </a:p>
          <a:p>
            <a:pPr marL="156629" marR="0" lvl="0" indent="-156629" algn="l" defTabSz="45717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chemeClr val="bg1"/>
                </a:solidFill>
                <a:effectLst/>
                <a:uLnTx/>
                <a:uFillTx/>
                <a:cs typeface="Trade Gothic LT Std" charset="0"/>
              </a:rPr>
              <a:t>Ausência</a:t>
            </a:r>
            <a:r>
              <a:rPr kumimoji="0" lang="en-US" sz="1100" b="0" i="0" u="none" strike="noStrike" kern="0" cap="none" spc="0" normalizeH="0" baseline="0" noProof="0" dirty="0">
                <a:ln>
                  <a:noFill/>
                </a:ln>
                <a:solidFill>
                  <a:schemeClr val="bg1"/>
                </a:solidFill>
                <a:effectLst/>
                <a:uLnTx/>
                <a:uFillTx/>
                <a:cs typeface="Trade Gothic LT Std" charset="0"/>
              </a:rPr>
              <a:t> de CD59</a:t>
            </a:r>
          </a:p>
        </p:txBody>
      </p:sp>
      <p:sp>
        <p:nvSpPr>
          <p:cNvPr id="16" name="Rectangle: Rounded Corners 3595">
            <a:extLst>
              <a:ext uri="{FF2B5EF4-FFF2-40B4-BE49-F238E27FC236}">
                <a16:creationId xmlns:a16="http://schemas.microsoft.com/office/drawing/2014/main" id="{81703022-17FC-2398-E127-C4C81C063C38}"/>
              </a:ext>
            </a:extLst>
          </p:cNvPr>
          <p:cNvSpPr/>
          <p:nvPr/>
        </p:nvSpPr>
        <p:spPr>
          <a:xfrm>
            <a:off x="267722" y="2867857"/>
            <a:ext cx="3203896" cy="986388"/>
          </a:xfrm>
          <a:prstGeom prst="roundRect">
            <a:avLst>
              <a:gd name="adj" fmla="val 0"/>
            </a:avLst>
          </a:prstGeom>
          <a:solidFill>
            <a:schemeClr val="bg1">
              <a:lumMod val="50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Lúpus</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eritematoso</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sistêmico</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30000" noProof="0" dirty="0">
                <a:ln>
                  <a:noFill/>
                </a:ln>
                <a:solidFill>
                  <a:schemeClr val="bg1"/>
                </a:solidFill>
                <a:effectLst/>
                <a:uLnTx/>
                <a:uFillTx/>
                <a:cs typeface="Arial" panose="020B0604020202020204" pitchFamily="34" charset="0"/>
              </a:rPr>
              <a:t>4,5</a:t>
            </a:r>
            <a:endParaRPr kumimoji="0" lang="en-US" sz="1100" b="1" i="0" u="none" strike="noStrike" kern="1200" cap="none" spc="0" normalizeH="0" baseline="0" noProof="0" dirty="0">
              <a:ln>
                <a:noFill/>
              </a:ln>
              <a:solidFill>
                <a:schemeClr val="bg1"/>
              </a:solidFill>
              <a:effectLst/>
              <a:uLnTx/>
              <a:uFillTx/>
              <a:cs typeface="Arial" panose="020B0604020202020204" pitchFamily="34" charset="0"/>
            </a:endParaRP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chemeClr val="bg1"/>
                </a:solidFill>
                <a:effectLst/>
                <a:uLnTx/>
                <a:uFillTx/>
                <a:cs typeface="Arial"/>
              </a:rPr>
              <a:t>Deficiências</a:t>
            </a:r>
            <a:r>
              <a:rPr kumimoji="0" lang="en-US" sz="1100" b="0" i="0" u="none" strike="noStrike" kern="1200" cap="none" spc="0" normalizeH="0" baseline="0" noProof="0" dirty="0">
                <a:ln>
                  <a:noFill/>
                </a:ln>
                <a:solidFill>
                  <a:schemeClr val="bg1"/>
                </a:solidFill>
                <a:effectLst/>
                <a:uLnTx/>
                <a:uFillTx/>
                <a:cs typeface="Arial"/>
              </a:rPr>
              <a:t> </a:t>
            </a:r>
            <a:r>
              <a:rPr kumimoji="0" lang="en-US" sz="1100" b="0" i="0" u="none" strike="noStrike" kern="1200" cap="none" spc="0" normalizeH="0" baseline="0" noProof="0" dirty="0" err="1">
                <a:ln>
                  <a:noFill/>
                </a:ln>
                <a:solidFill>
                  <a:schemeClr val="bg1"/>
                </a:solidFill>
                <a:effectLst/>
                <a:uLnTx/>
                <a:uFillTx/>
                <a:cs typeface="Arial"/>
              </a:rPr>
              <a:t>nos</a:t>
            </a:r>
            <a:r>
              <a:rPr kumimoji="0" lang="en-US" sz="1100" b="0" i="0" u="none" strike="noStrike" kern="1200" cap="none" spc="0" normalizeH="0" baseline="0" noProof="0" dirty="0">
                <a:ln>
                  <a:noFill/>
                </a:ln>
                <a:solidFill>
                  <a:schemeClr val="bg1"/>
                </a:solidFill>
                <a:effectLst/>
                <a:uLnTx/>
                <a:uFillTx/>
                <a:cs typeface="Arial"/>
              </a:rPr>
              <a:t> </a:t>
            </a:r>
            <a:r>
              <a:rPr kumimoji="0" lang="en-US" sz="1100" b="0" i="0" u="none" strike="noStrike" kern="1200" cap="none" spc="0" normalizeH="0" baseline="0" noProof="0" dirty="0" err="1">
                <a:ln>
                  <a:noFill/>
                </a:ln>
                <a:solidFill>
                  <a:schemeClr val="bg1"/>
                </a:solidFill>
                <a:effectLst/>
                <a:uLnTx/>
                <a:uFillTx/>
                <a:cs typeface="Arial"/>
              </a:rPr>
              <a:t>componentes</a:t>
            </a:r>
            <a:r>
              <a:rPr kumimoji="0" lang="en-US" sz="1100" b="0" i="0" u="none" strike="noStrike" kern="1200" cap="none" spc="0" normalizeH="0" baseline="0" noProof="0" dirty="0">
                <a:ln>
                  <a:noFill/>
                </a:ln>
                <a:solidFill>
                  <a:schemeClr val="bg1"/>
                </a:solidFill>
                <a:effectLst/>
                <a:uLnTx/>
                <a:uFillTx/>
                <a:cs typeface="Arial"/>
              </a:rPr>
              <a:t> </a:t>
            </a:r>
            <a:r>
              <a:rPr kumimoji="0" lang="en-US" sz="1100" b="0" i="0" u="none" strike="noStrike" kern="1200" cap="none" spc="0" normalizeH="0" baseline="0" noProof="0" dirty="0" err="1">
                <a:ln>
                  <a:noFill/>
                </a:ln>
                <a:solidFill>
                  <a:schemeClr val="bg1"/>
                </a:solidFill>
                <a:effectLst/>
                <a:uLnTx/>
                <a:uFillTx/>
                <a:cs typeface="Arial"/>
              </a:rPr>
              <a:t>iniciais</a:t>
            </a:r>
            <a:r>
              <a:rPr kumimoji="0" lang="en-US" sz="1100" b="0" i="0" u="none" strike="noStrike" kern="1200" cap="none" spc="0" normalizeH="0" baseline="0" noProof="0" dirty="0">
                <a:ln>
                  <a:noFill/>
                </a:ln>
                <a:solidFill>
                  <a:schemeClr val="bg1"/>
                </a:solidFill>
                <a:effectLst/>
                <a:uLnTx/>
                <a:uFillTx/>
                <a:cs typeface="Arial"/>
              </a:rPr>
              <a:t> da via </a:t>
            </a:r>
            <a:r>
              <a:rPr kumimoji="0" lang="en-US" sz="1100" b="0" i="0" u="none" strike="noStrike" kern="1200" cap="none" spc="0" normalizeH="0" baseline="0" noProof="0" dirty="0" err="1">
                <a:ln>
                  <a:noFill/>
                </a:ln>
                <a:solidFill>
                  <a:schemeClr val="bg1"/>
                </a:solidFill>
                <a:effectLst/>
                <a:uLnTx/>
                <a:uFillTx/>
                <a:cs typeface="Arial"/>
              </a:rPr>
              <a:t>clássica</a:t>
            </a:r>
            <a:r>
              <a:rPr kumimoji="0" lang="en-US" sz="1100" b="0" i="0" u="none" strike="noStrike" kern="1200" cap="none" spc="0" normalizeH="0" baseline="0" noProof="0" dirty="0">
                <a:ln>
                  <a:noFill/>
                </a:ln>
                <a:solidFill>
                  <a:schemeClr val="bg1"/>
                </a:solidFill>
                <a:effectLst/>
                <a:uLnTx/>
                <a:uFillTx/>
                <a:cs typeface="Arial"/>
              </a:rPr>
              <a:t> (C1q, C1r, C1s, C2, C4)</a:t>
            </a: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chemeClr val="bg1"/>
                </a:solidFill>
                <a:effectLst/>
                <a:uLnTx/>
                <a:uFillTx/>
                <a:cs typeface="Arial" panose="020B0604020202020204" pitchFamily="34" charset="0"/>
              </a:rPr>
              <a:t>Autoanticorpos</a:t>
            </a:r>
            <a:r>
              <a:rPr kumimoji="0" lang="en-US" sz="1100" b="0" i="0" u="none" strike="noStrike" kern="1200" cap="none" spc="0" normalizeH="0" baseline="0" noProof="0" dirty="0">
                <a:ln>
                  <a:noFill/>
                </a:ln>
                <a:solidFill>
                  <a:schemeClr val="bg1"/>
                </a:solidFill>
                <a:effectLst/>
                <a:uLnTx/>
                <a:uFillTx/>
                <a:cs typeface="Arial" panose="020B0604020202020204" pitchFamily="34" charset="0"/>
              </a:rPr>
              <a:t> contra </a:t>
            </a:r>
            <a:r>
              <a:rPr kumimoji="0" lang="en-US" sz="1100" b="0" i="0" u="none" strike="noStrike" kern="1200" cap="none" spc="0" normalizeH="0" baseline="0" noProof="0" dirty="0" err="1">
                <a:ln>
                  <a:noFill/>
                </a:ln>
                <a:solidFill>
                  <a:schemeClr val="bg1"/>
                </a:solidFill>
                <a:effectLst/>
                <a:uLnTx/>
                <a:uFillTx/>
                <a:cs typeface="Arial" panose="020B0604020202020204" pitchFamily="34" charset="0"/>
              </a:rPr>
              <a:t>os</a:t>
            </a:r>
            <a:r>
              <a:rPr kumimoji="0" lang="en-US" sz="1100" b="0"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0" i="0" u="none" strike="noStrike" kern="1200" cap="none" spc="0" normalizeH="0" baseline="0" noProof="0" dirty="0" err="1">
                <a:ln>
                  <a:noFill/>
                </a:ln>
                <a:solidFill>
                  <a:schemeClr val="bg1"/>
                </a:solidFill>
                <a:effectLst/>
                <a:uLnTx/>
                <a:uFillTx/>
                <a:cs typeface="Arial" panose="020B0604020202020204" pitchFamily="34" charset="0"/>
              </a:rPr>
              <a:t>componentes</a:t>
            </a:r>
            <a:r>
              <a:rPr kumimoji="0" lang="en-US" sz="1100" b="0" i="0" u="none" strike="noStrike" kern="1200" cap="none" spc="0" normalizeH="0" baseline="0" noProof="0" dirty="0">
                <a:ln>
                  <a:noFill/>
                </a:ln>
                <a:solidFill>
                  <a:schemeClr val="bg1"/>
                </a:solidFill>
                <a:effectLst/>
                <a:uLnTx/>
                <a:uFillTx/>
                <a:cs typeface="Arial" panose="020B0604020202020204" pitchFamily="34" charset="0"/>
              </a:rPr>
              <a:t> do </a:t>
            </a:r>
            <a:r>
              <a:rPr kumimoji="0" lang="en-US" sz="1100" b="0" i="0" u="none" strike="noStrike" kern="1200" cap="none" spc="0" normalizeH="0" baseline="0" noProof="0" dirty="0" err="1">
                <a:ln>
                  <a:noFill/>
                </a:ln>
                <a:solidFill>
                  <a:schemeClr val="bg1"/>
                </a:solidFill>
                <a:effectLst/>
                <a:uLnTx/>
                <a:uFillTx/>
                <a:cs typeface="Arial" panose="020B0604020202020204" pitchFamily="34" charset="0"/>
              </a:rPr>
              <a:t>complemento</a:t>
            </a:r>
            <a:r>
              <a:rPr kumimoji="0" lang="en-US" sz="1100" b="0" i="0" u="none" strike="noStrike" kern="1200" cap="none" spc="0" normalizeH="0" baseline="0" noProof="0" dirty="0">
                <a:ln>
                  <a:noFill/>
                </a:ln>
                <a:solidFill>
                  <a:schemeClr val="bg1"/>
                </a:solidFill>
                <a:effectLst/>
                <a:uLnTx/>
                <a:uFillTx/>
                <a:cs typeface="Arial" panose="020B0604020202020204" pitchFamily="34" charset="0"/>
              </a:rPr>
              <a:t> C3 e C3b</a:t>
            </a:r>
            <a:endParaRPr kumimoji="0" lang="en-US" sz="1100" b="1" i="0" u="none" strike="noStrike" kern="1200" cap="none" spc="0" normalizeH="0" baseline="0" noProof="0" dirty="0">
              <a:ln>
                <a:noFill/>
              </a:ln>
              <a:solidFill>
                <a:schemeClr val="bg1"/>
              </a:solidFill>
              <a:effectLst/>
              <a:uLnTx/>
              <a:uFillTx/>
              <a:cs typeface="Arial" panose="020B0604020202020204" pitchFamily="34" charset="0"/>
            </a:endParaRPr>
          </a:p>
        </p:txBody>
      </p:sp>
      <p:sp>
        <p:nvSpPr>
          <p:cNvPr id="17" name="Rectangle: Rounded Corners 5">
            <a:extLst>
              <a:ext uri="{FF2B5EF4-FFF2-40B4-BE49-F238E27FC236}">
                <a16:creationId xmlns:a16="http://schemas.microsoft.com/office/drawing/2014/main" id="{B7D888B7-CD37-B9BC-5DE8-1B9F62A5AC60}"/>
              </a:ext>
            </a:extLst>
          </p:cNvPr>
          <p:cNvSpPr/>
          <p:nvPr/>
        </p:nvSpPr>
        <p:spPr>
          <a:xfrm>
            <a:off x="267722" y="3952594"/>
            <a:ext cx="3203896" cy="1352940"/>
          </a:xfrm>
          <a:prstGeom prst="roundRect">
            <a:avLst>
              <a:gd name="adj" fmla="val 0"/>
            </a:avLst>
          </a:prstGeom>
          <a:solidFill>
            <a:schemeClr val="bg1">
              <a:lumMod val="50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Síndrome</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hemolítica</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urêmica</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atípica</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100" b="1" i="0" u="none" strike="noStrike" kern="1200" cap="none" spc="0" normalizeH="0" baseline="0" noProof="0" dirty="0" err="1">
                <a:ln>
                  <a:noFill/>
                </a:ln>
                <a:solidFill>
                  <a:schemeClr val="bg1"/>
                </a:solidFill>
                <a:effectLst/>
                <a:uLnTx/>
                <a:uFillTx/>
                <a:cs typeface="Arial" panose="020B0604020202020204" pitchFamily="34" charset="0"/>
              </a:rPr>
              <a:t>aHUS</a:t>
            </a: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a:t>
            </a:r>
            <a:r>
              <a:rPr kumimoji="0" lang="en-US" sz="1100" b="1" i="0" u="none" strike="noStrike" kern="1200" cap="none" spc="0" normalizeH="0" baseline="30000" noProof="0" dirty="0">
                <a:ln>
                  <a:noFill/>
                </a:ln>
                <a:solidFill>
                  <a:schemeClr val="bg1"/>
                </a:solidFill>
                <a:effectLst/>
                <a:uLnTx/>
                <a:uFillTx/>
                <a:cs typeface="Arial" panose="020B0604020202020204" pitchFamily="34" charset="0"/>
              </a:rPr>
              <a:t>7,8</a:t>
            </a:r>
            <a:endParaRPr kumimoji="0" lang="en-US" sz="1100" b="1" i="0" u="none" strike="noStrike" kern="1200" cap="none" spc="0" normalizeH="0" baseline="0" noProof="0" dirty="0">
              <a:ln>
                <a:noFill/>
              </a:ln>
              <a:solidFill>
                <a:schemeClr val="bg1"/>
              </a:solidFill>
              <a:effectLst/>
              <a:uLnTx/>
              <a:uFillTx/>
              <a:cs typeface="Arial" panose="020B0604020202020204" pitchFamily="34" charset="0"/>
            </a:endParaRP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chemeClr val="bg1"/>
                </a:solidFill>
                <a:effectLst/>
                <a:uLnTx/>
                <a:uFillTx/>
                <a:cs typeface="Arial"/>
              </a:rPr>
              <a:t>Mutação</a:t>
            </a:r>
            <a:r>
              <a:rPr kumimoji="0" lang="en-US" sz="1100" b="0" i="0" u="none" strike="noStrike" kern="1200" cap="none" spc="0" normalizeH="0" baseline="0" noProof="0" dirty="0">
                <a:ln>
                  <a:noFill/>
                </a:ln>
                <a:solidFill>
                  <a:schemeClr val="bg1"/>
                </a:solidFill>
                <a:effectLst/>
                <a:uLnTx/>
                <a:uFillTx/>
                <a:cs typeface="Arial"/>
              </a:rPr>
              <a:t> com </a:t>
            </a:r>
            <a:r>
              <a:rPr kumimoji="0" lang="en-US" sz="1100" b="0" i="0" u="none" strike="noStrike" kern="1200" cap="none" spc="0" normalizeH="0" baseline="0" noProof="0" dirty="0" err="1">
                <a:ln>
                  <a:noFill/>
                </a:ln>
                <a:solidFill>
                  <a:schemeClr val="bg1"/>
                </a:solidFill>
                <a:effectLst/>
                <a:uLnTx/>
                <a:uFillTx/>
                <a:cs typeface="Arial"/>
              </a:rPr>
              <a:t>perda</a:t>
            </a:r>
            <a:r>
              <a:rPr kumimoji="0" lang="en-US" sz="1100" b="0" i="0" u="none" strike="noStrike" kern="1200" cap="none" spc="0" normalizeH="0" baseline="0" noProof="0" dirty="0">
                <a:ln>
                  <a:noFill/>
                </a:ln>
                <a:solidFill>
                  <a:schemeClr val="bg1"/>
                </a:solidFill>
                <a:effectLst/>
                <a:uLnTx/>
                <a:uFillTx/>
                <a:cs typeface="Arial"/>
              </a:rPr>
              <a:t> de </a:t>
            </a:r>
            <a:r>
              <a:rPr kumimoji="0" lang="en-US" sz="1100" b="0" i="0" u="none" strike="noStrike" kern="1200" cap="none" spc="0" normalizeH="0" baseline="0" noProof="0" dirty="0" err="1">
                <a:ln>
                  <a:noFill/>
                </a:ln>
                <a:solidFill>
                  <a:schemeClr val="bg1"/>
                </a:solidFill>
                <a:effectLst/>
                <a:uLnTx/>
                <a:uFillTx/>
                <a:cs typeface="Arial"/>
              </a:rPr>
              <a:t>função</a:t>
            </a:r>
            <a:r>
              <a:rPr kumimoji="0" lang="en-US" sz="1100" b="0" i="0" u="none" strike="noStrike" kern="1200" cap="none" spc="0" normalizeH="0" baseline="0" noProof="0" dirty="0">
                <a:ln>
                  <a:noFill/>
                </a:ln>
                <a:solidFill>
                  <a:schemeClr val="bg1"/>
                </a:solidFill>
                <a:effectLst/>
                <a:uLnTx/>
                <a:uFillTx/>
                <a:cs typeface="Arial"/>
              </a:rPr>
              <a:t> e </a:t>
            </a:r>
            <a:r>
              <a:rPr kumimoji="0" lang="en-US" sz="1100" b="0" i="0" u="none" strike="noStrike" kern="1200" cap="none" spc="0" normalizeH="0" baseline="0" noProof="0" dirty="0" err="1">
                <a:ln>
                  <a:noFill/>
                </a:ln>
                <a:solidFill>
                  <a:schemeClr val="bg1"/>
                </a:solidFill>
                <a:effectLst/>
                <a:uLnTx/>
                <a:uFillTx/>
                <a:cs typeface="Arial"/>
              </a:rPr>
              <a:t>haplótipos</a:t>
            </a:r>
            <a:r>
              <a:rPr kumimoji="0" lang="en-US" sz="1100" b="0" i="0" u="none" strike="noStrike" kern="1200" cap="none" spc="0" normalizeH="0" baseline="0" noProof="0" dirty="0">
                <a:ln>
                  <a:noFill/>
                </a:ln>
                <a:solidFill>
                  <a:schemeClr val="bg1"/>
                </a:solidFill>
                <a:effectLst/>
                <a:uLnTx/>
                <a:uFillTx/>
                <a:cs typeface="Arial"/>
              </a:rPr>
              <a:t>/</a:t>
            </a:r>
            <a:r>
              <a:rPr kumimoji="0" lang="en-US" sz="1100" b="0" i="0" u="none" strike="noStrike" kern="1200" cap="none" spc="0" normalizeH="0" baseline="0" noProof="0" dirty="0" err="1">
                <a:ln>
                  <a:noFill/>
                </a:ln>
                <a:solidFill>
                  <a:schemeClr val="bg1"/>
                </a:solidFill>
                <a:effectLst/>
                <a:uLnTx/>
                <a:uFillTx/>
                <a:cs typeface="Arial"/>
              </a:rPr>
              <a:t>polimorfismos</a:t>
            </a:r>
            <a:r>
              <a:rPr kumimoji="0" lang="en-US" sz="1100" b="0" i="0" u="none" strike="noStrike" kern="1200" cap="none" spc="0" normalizeH="0" baseline="0" noProof="0" dirty="0">
                <a:ln>
                  <a:noFill/>
                </a:ln>
                <a:solidFill>
                  <a:schemeClr val="bg1"/>
                </a:solidFill>
                <a:effectLst/>
                <a:uLnTx/>
                <a:uFillTx/>
                <a:cs typeface="Arial"/>
              </a:rPr>
              <a:t> de </a:t>
            </a:r>
            <a:r>
              <a:rPr kumimoji="0" lang="en-US" sz="1100" b="0" i="0" u="none" strike="noStrike" kern="1200" cap="none" spc="0" normalizeH="0" baseline="0" noProof="0" dirty="0" err="1">
                <a:ln>
                  <a:noFill/>
                </a:ln>
                <a:solidFill>
                  <a:schemeClr val="bg1"/>
                </a:solidFill>
                <a:effectLst/>
                <a:uLnTx/>
                <a:uFillTx/>
                <a:cs typeface="Arial"/>
              </a:rPr>
              <a:t>risco</a:t>
            </a:r>
            <a:r>
              <a:rPr kumimoji="0" lang="en-US" sz="1100" b="0" i="0" u="none" strike="noStrike" kern="1200" cap="none" spc="0" normalizeH="0" baseline="0" noProof="0" dirty="0">
                <a:ln>
                  <a:noFill/>
                </a:ln>
                <a:solidFill>
                  <a:schemeClr val="bg1"/>
                </a:solidFill>
                <a:effectLst/>
                <a:uLnTx/>
                <a:uFillTx/>
                <a:cs typeface="Arial"/>
              </a:rPr>
              <a:t> (</a:t>
            </a:r>
            <a:r>
              <a:rPr kumimoji="0" lang="en-US" sz="1100" b="0" i="1" u="none" strike="noStrike" kern="1200" cap="none" spc="0" normalizeH="0" baseline="0" noProof="0" dirty="0">
                <a:ln>
                  <a:noFill/>
                </a:ln>
                <a:solidFill>
                  <a:schemeClr val="bg1"/>
                </a:solidFill>
                <a:effectLst/>
                <a:uLnTx/>
                <a:uFillTx/>
                <a:cs typeface="Arial"/>
              </a:rPr>
              <a:t>CFH </a:t>
            </a:r>
            <a:r>
              <a:rPr kumimoji="0" lang="en-US" sz="1100" b="0" i="0" u="none" strike="noStrike" kern="1200" cap="none" spc="0" normalizeH="0" baseline="0" noProof="0" dirty="0">
                <a:ln>
                  <a:noFill/>
                </a:ln>
                <a:solidFill>
                  <a:schemeClr val="bg1"/>
                </a:solidFill>
                <a:effectLst/>
                <a:uLnTx/>
                <a:uFillTx/>
                <a:cs typeface="Arial"/>
              </a:rPr>
              <a:t>e </a:t>
            </a:r>
            <a:r>
              <a:rPr kumimoji="0" lang="en-US" sz="1100" b="0" i="1" u="none" strike="noStrike" kern="1200" cap="none" spc="0" normalizeH="0" baseline="0" noProof="0" dirty="0">
                <a:ln>
                  <a:noFill/>
                </a:ln>
                <a:solidFill>
                  <a:schemeClr val="bg1"/>
                </a:solidFill>
                <a:effectLst/>
                <a:uLnTx/>
                <a:uFillTx/>
                <a:cs typeface="Arial"/>
              </a:rPr>
              <a:t>MCP)</a:t>
            </a:r>
            <a:r>
              <a:rPr kumimoji="0" lang="en-US" sz="1100" b="0" i="0" u="none" strike="noStrike" kern="1200" cap="none" spc="0" normalizeH="0" baseline="0" noProof="0" dirty="0">
                <a:ln>
                  <a:noFill/>
                </a:ln>
                <a:solidFill>
                  <a:schemeClr val="bg1"/>
                </a:solidFill>
                <a:effectLst/>
                <a:uLnTx/>
                <a:uFillTx/>
                <a:cs typeface="Arial"/>
              </a:rPr>
              <a:t> </a:t>
            </a:r>
            <a:endParaRPr kumimoji="0" lang="en-US" sz="1100" b="0" i="0" u="none" strike="noStrike" kern="1200" cap="none" spc="0" normalizeH="0" baseline="0" noProof="0" dirty="0">
              <a:ln>
                <a:noFill/>
              </a:ln>
              <a:solidFill>
                <a:schemeClr val="bg1"/>
              </a:solidFill>
              <a:effectLst/>
              <a:uLnTx/>
              <a:uFillTx/>
              <a:cs typeface="Arial" panose="020B0604020202020204" pitchFamily="34" charset="0"/>
            </a:endParaRP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chemeClr val="bg1"/>
                </a:solidFill>
                <a:effectLst/>
                <a:uLnTx/>
                <a:uFillTx/>
                <a:cs typeface="Arial"/>
              </a:rPr>
              <a:t>Mutação</a:t>
            </a:r>
            <a:r>
              <a:rPr kumimoji="0" lang="en-US" sz="1100" b="0" i="0" u="none" strike="noStrike" kern="1200" cap="none" spc="0" normalizeH="0" baseline="0" noProof="0" dirty="0">
                <a:ln>
                  <a:noFill/>
                </a:ln>
                <a:solidFill>
                  <a:schemeClr val="bg1"/>
                </a:solidFill>
                <a:effectLst/>
                <a:uLnTx/>
                <a:uFillTx/>
                <a:cs typeface="Arial"/>
              </a:rPr>
              <a:t> com </a:t>
            </a:r>
            <a:r>
              <a:rPr kumimoji="0" lang="en-US" sz="1100" b="0" i="0" u="none" strike="noStrike" kern="1200" cap="none" spc="0" normalizeH="0" baseline="0" noProof="0" dirty="0" err="1">
                <a:ln>
                  <a:noFill/>
                </a:ln>
                <a:solidFill>
                  <a:schemeClr val="bg1"/>
                </a:solidFill>
                <a:effectLst/>
                <a:uLnTx/>
                <a:uFillTx/>
                <a:cs typeface="Arial"/>
              </a:rPr>
              <a:t>perda</a:t>
            </a:r>
            <a:r>
              <a:rPr kumimoji="0" lang="en-US" sz="1100" b="0" i="0" u="none" strike="noStrike" kern="1200" cap="none" spc="0" normalizeH="0" baseline="0" noProof="0" dirty="0">
                <a:ln>
                  <a:noFill/>
                </a:ln>
                <a:solidFill>
                  <a:schemeClr val="bg1"/>
                </a:solidFill>
                <a:effectLst/>
                <a:uLnTx/>
                <a:uFillTx/>
                <a:cs typeface="Arial"/>
              </a:rPr>
              <a:t> de </a:t>
            </a:r>
            <a:r>
              <a:rPr kumimoji="0" lang="en-US" sz="1100" b="0" i="0" u="none" strike="noStrike" kern="1200" cap="none" spc="0" normalizeH="0" baseline="0" noProof="0" dirty="0" err="1">
                <a:ln>
                  <a:noFill/>
                </a:ln>
                <a:solidFill>
                  <a:schemeClr val="bg1"/>
                </a:solidFill>
                <a:effectLst/>
                <a:uLnTx/>
                <a:uFillTx/>
                <a:cs typeface="Arial"/>
              </a:rPr>
              <a:t>função</a:t>
            </a:r>
            <a:r>
              <a:rPr kumimoji="0" lang="en-US" sz="1100" b="0" i="0" u="none" strike="noStrike" kern="1200" cap="none" spc="0" normalizeH="0" baseline="0" noProof="0" dirty="0">
                <a:ln>
                  <a:noFill/>
                </a:ln>
                <a:solidFill>
                  <a:schemeClr val="bg1"/>
                </a:solidFill>
                <a:effectLst/>
                <a:uLnTx/>
                <a:uFillTx/>
                <a:cs typeface="Arial"/>
              </a:rPr>
              <a:t> (</a:t>
            </a:r>
            <a:r>
              <a:rPr kumimoji="0" lang="en-US" sz="1100" b="0" i="1" u="none" strike="noStrike" kern="1200" cap="none" spc="0" normalizeH="0" baseline="0" noProof="0" dirty="0">
                <a:ln>
                  <a:noFill/>
                </a:ln>
                <a:solidFill>
                  <a:schemeClr val="bg1"/>
                </a:solidFill>
                <a:effectLst/>
                <a:uLnTx/>
                <a:uFillTx/>
                <a:cs typeface="Arial"/>
              </a:rPr>
              <a:t>CFI</a:t>
            </a:r>
            <a:r>
              <a:rPr kumimoji="0" lang="en-US" sz="1100" b="0" i="0" u="none" strike="noStrike" kern="1200" cap="none" spc="0" normalizeH="0" baseline="0" noProof="0" dirty="0">
                <a:ln>
                  <a:noFill/>
                </a:ln>
                <a:solidFill>
                  <a:schemeClr val="bg1"/>
                </a:solidFill>
                <a:effectLst/>
                <a:uLnTx/>
                <a:uFillTx/>
                <a:cs typeface="Arial"/>
              </a:rPr>
              <a:t> e </a:t>
            </a:r>
            <a:r>
              <a:rPr kumimoji="0" lang="en-US" sz="1100" b="0" i="1" u="none" strike="noStrike" kern="1200" cap="none" spc="0" normalizeH="0" baseline="0" noProof="0" dirty="0">
                <a:ln>
                  <a:noFill/>
                </a:ln>
                <a:solidFill>
                  <a:schemeClr val="bg1"/>
                </a:solidFill>
                <a:effectLst/>
                <a:uLnTx/>
                <a:uFillTx/>
                <a:cs typeface="Arial"/>
              </a:rPr>
              <a:t>HTBD)</a:t>
            </a: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ea typeface="Arial"/>
                <a:cs typeface="Arial"/>
                <a:sym typeface="Wingdings"/>
              </a:rPr>
              <a:t>gene </a:t>
            </a:r>
            <a:r>
              <a:rPr kumimoji="0" lang="en-US" sz="1100" b="0" i="0" u="none" strike="noStrike" kern="1200" cap="none" spc="0" normalizeH="0" baseline="0" noProof="0" dirty="0" err="1">
                <a:ln>
                  <a:noFill/>
                </a:ln>
                <a:solidFill>
                  <a:schemeClr val="bg1"/>
                </a:solidFill>
                <a:effectLst/>
                <a:uLnTx/>
                <a:uFillTx/>
                <a:ea typeface="Arial"/>
                <a:cs typeface="Arial"/>
                <a:sym typeface="Wingdings"/>
              </a:rPr>
              <a:t>Híbrido</a:t>
            </a:r>
            <a:r>
              <a:rPr kumimoji="0" lang="en-US" sz="1100" b="0" i="0" u="none" strike="noStrike" kern="1200" cap="none" spc="0" normalizeH="0" baseline="0" noProof="0" dirty="0">
                <a:ln>
                  <a:noFill/>
                </a:ln>
                <a:solidFill>
                  <a:schemeClr val="bg1"/>
                </a:solidFill>
                <a:effectLst/>
                <a:uLnTx/>
                <a:uFillTx/>
                <a:ea typeface="Arial"/>
                <a:cs typeface="Arial"/>
                <a:sym typeface="Wingdings"/>
              </a:rPr>
              <a:t> </a:t>
            </a:r>
            <a:r>
              <a:rPr kumimoji="0" lang="en-US" sz="1100" b="0" i="1" u="none" strike="noStrike" kern="1200" cap="none" spc="0" normalizeH="0" baseline="0" noProof="0" dirty="0">
                <a:ln>
                  <a:noFill/>
                </a:ln>
                <a:solidFill>
                  <a:schemeClr val="bg1"/>
                </a:solidFill>
                <a:effectLst/>
                <a:uLnTx/>
                <a:uFillTx/>
                <a:ea typeface="Arial"/>
                <a:cs typeface="Arial"/>
                <a:sym typeface="Wingdings"/>
              </a:rPr>
              <a:t>CFH/ CFHR</a:t>
            </a: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chemeClr val="bg1"/>
                </a:solidFill>
                <a:effectLst/>
                <a:uLnTx/>
                <a:uFillTx/>
                <a:cs typeface="Arial"/>
              </a:rPr>
              <a:t>Autoanticorpos</a:t>
            </a:r>
            <a:r>
              <a:rPr kumimoji="0" lang="en-US" sz="1100" b="0" i="0" u="none" strike="noStrike" kern="1200" cap="none" spc="0" normalizeH="0" baseline="0" noProof="0" dirty="0">
                <a:ln>
                  <a:noFill/>
                </a:ln>
                <a:solidFill>
                  <a:schemeClr val="bg1"/>
                </a:solidFill>
                <a:effectLst/>
                <a:uLnTx/>
                <a:uFillTx/>
                <a:cs typeface="Arial"/>
              </a:rPr>
              <a:t> para CFH </a:t>
            </a:r>
          </a:p>
          <a:p>
            <a:pPr marL="156629" marR="0" lvl="0" indent="-156629"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chemeClr val="bg1"/>
                </a:solidFill>
                <a:effectLst/>
                <a:uLnTx/>
                <a:uFillTx/>
                <a:cs typeface="Trade Gothic LT Std" charset="0"/>
              </a:rPr>
              <a:t>Mutações</a:t>
            </a:r>
            <a:r>
              <a:rPr kumimoji="0" lang="en-US" sz="1100" b="0" i="0" u="none" strike="noStrike" kern="0" cap="none" spc="0" normalizeH="0" baseline="0" noProof="0" dirty="0">
                <a:ln>
                  <a:noFill/>
                </a:ln>
                <a:solidFill>
                  <a:schemeClr val="bg1"/>
                </a:solidFill>
                <a:effectLst/>
                <a:uLnTx/>
                <a:uFillTx/>
                <a:cs typeface="Trade Gothic LT Std" charset="0"/>
              </a:rPr>
              <a:t> de </a:t>
            </a:r>
            <a:r>
              <a:rPr kumimoji="0" lang="en-US" sz="1100" b="0" i="0" u="none" strike="noStrike" kern="0" cap="none" spc="0" normalizeH="0" baseline="0" noProof="0" dirty="0" err="1">
                <a:ln>
                  <a:noFill/>
                </a:ln>
                <a:solidFill>
                  <a:schemeClr val="bg1"/>
                </a:solidFill>
                <a:effectLst/>
                <a:uLnTx/>
                <a:uFillTx/>
                <a:cs typeface="Trade Gothic LT Std" charset="0"/>
              </a:rPr>
              <a:t>ganho</a:t>
            </a:r>
            <a:r>
              <a:rPr kumimoji="0" lang="en-US" sz="1100" b="0" i="0" u="none" strike="noStrike" kern="0" cap="none" spc="0" normalizeH="0" baseline="0" noProof="0" dirty="0">
                <a:ln>
                  <a:noFill/>
                </a:ln>
                <a:solidFill>
                  <a:schemeClr val="bg1"/>
                </a:solidFill>
                <a:effectLst/>
                <a:uLnTx/>
                <a:uFillTx/>
                <a:cs typeface="Trade Gothic LT Std" charset="0"/>
              </a:rPr>
              <a:t> de </a:t>
            </a:r>
            <a:r>
              <a:rPr kumimoji="0" lang="en-US" sz="1100" b="0" i="0" u="none" strike="noStrike" kern="0" cap="none" spc="0" normalizeH="0" baseline="0" noProof="0" dirty="0" err="1">
                <a:ln>
                  <a:noFill/>
                </a:ln>
                <a:solidFill>
                  <a:schemeClr val="bg1"/>
                </a:solidFill>
                <a:effectLst/>
                <a:uLnTx/>
                <a:uFillTx/>
                <a:cs typeface="Trade Gothic LT Std" charset="0"/>
              </a:rPr>
              <a:t>função</a:t>
            </a:r>
            <a:r>
              <a:rPr kumimoji="0" lang="en-US" sz="1100" b="0" i="0" u="none" strike="noStrike" kern="0" cap="none" spc="0" normalizeH="0" baseline="0" noProof="0" dirty="0">
                <a:ln>
                  <a:noFill/>
                </a:ln>
                <a:solidFill>
                  <a:schemeClr val="bg1"/>
                </a:solidFill>
                <a:effectLst/>
                <a:uLnTx/>
                <a:uFillTx/>
                <a:cs typeface="Trade Gothic LT Std" charset="0"/>
              </a:rPr>
              <a:t> (</a:t>
            </a:r>
            <a:r>
              <a:rPr kumimoji="0" lang="en-US" sz="1100" b="0" i="1" u="none" strike="noStrike" kern="0" cap="none" spc="0" normalizeH="0" baseline="0" noProof="0" dirty="0">
                <a:ln>
                  <a:noFill/>
                </a:ln>
                <a:solidFill>
                  <a:schemeClr val="bg1"/>
                </a:solidFill>
                <a:effectLst/>
                <a:uLnTx/>
                <a:uFillTx/>
                <a:cs typeface="Trade Gothic LT Std" charset="0"/>
              </a:rPr>
              <a:t>C3, CFB)</a:t>
            </a:r>
            <a:endParaRPr kumimoji="0" lang="en-US" sz="1100" b="0" i="0" u="none" strike="noStrike" kern="1200" cap="none" spc="0" normalizeH="0" baseline="0" noProof="0" dirty="0">
              <a:ln>
                <a:noFill/>
              </a:ln>
              <a:solidFill>
                <a:schemeClr val="bg1"/>
              </a:solidFill>
              <a:effectLst/>
              <a:uLnTx/>
              <a:uFillTx/>
              <a:cs typeface="Arial"/>
            </a:endParaRPr>
          </a:p>
        </p:txBody>
      </p:sp>
      <p:sp>
        <p:nvSpPr>
          <p:cNvPr id="18" name="Rounded Rectangle 122">
            <a:extLst>
              <a:ext uri="{FF2B5EF4-FFF2-40B4-BE49-F238E27FC236}">
                <a16:creationId xmlns:a16="http://schemas.microsoft.com/office/drawing/2014/main" id="{689A0242-868C-A461-8FFF-0B6BAE6ABBB3}"/>
              </a:ext>
            </a:extLst>
          </p:cNvPr>
          <p:cNvSpPr/>
          <p:nvPr/>
        </p:nvSpPr>
        <p:spPr bwMode="auto">
          <a:xfrm>
            <a:off x="8476567" y="3785749"/>
            <a:ext cx="2609249" cy="486070"/>
          </a:xfrm>
          <a:prstGeom prst="roundRect">
            <a:avLst>
              <a:gd name="adj" fmla="val 0"/>
            </a:avLst>
          </a:prstGeom>
          <a:solidFill>
            <a:schemeClr val="bg1">
              <a:lumMod val="5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bg1"/>
                </a:solidFill>
                <a:effectLst/>
                <a:uLnTx/>
                <a:uFillTx/>
                <a:cs typeface="Trade Gothic LT Std" charset="0"/>
              </a:rPr>
              <a:t>Miastenia</a:t>
            </a:r>
            <a:r>
              <a:rPr kumimoji="0" lang="en-US" sz="1100" b="1" i="0" u="none" strike="noStrike" kern="0" cap="none" spc="0" normalizeH="0" baseline="0" noProof="0" dirty="0">
                <a:ln>
                  <a:noFill/>
                </a:ln>
                <a:solidFill>
                  <a:schemeClr val="bg1"/>
                </a:solidFill>
                <a:effectLst/>
                <a:uLnTx/>
                <a:uFillTx/>
                <a:cs typeface="Trade Gothic LT Std" charset="0"/>
              </a:rPr>
              <a:t> Gravis </a:t>
            </a:r>
            <a:r>
              <a:rPr kumimoji="0" lang="en-US" sz="1100" b="1" i="0" u="none" strike="noStrike" kern="0" cap="none" spc="0" normalizeH="0" baseline="0" noProof="0" dirty="0" err="1">
                <a:ln>
                  <a:noFill/>
                </a:ln>
                <a:solidFill>
                  <a:schemeClr val="bg1"/>
                </a:solidFill>
                <a:effectLst/>
                <a:uLnTx/>
                <a:uFillTx/>
                <a:cs typeface="Trade Gothic LT Std" charset="0"/>
              </a:rPr>
              <a:t>generalizada</a:t>
            </a:r>
            <a:r>
              <a:rPr kumimoji="0" lang="en-US" sz="1100" b="1" i="0" u="none" strike="noStrike" kern="0" cap="none" spc="0" normalizeH="0" baseline="0" noProof="0" dirty="0">
                <a:ln>
                  <a:noFill/>
                </a:ln>
                <a:solidFill>
                  <a:schemeClr val="bg1"/>
                </a:solidFill>
                <a:effectLst/>
                <a:uLnTx/>
                <a:uFillTx/>
                <a:cs typeface="Trade Gothic LT Std" charset="0"/>
              </a:rPr>
              <a:t> (</a:t>
            </a:r>
            <a:r>
              <a:rPr kumimoji="0" lang="en-US" sz="1100" b="1" i="0" u="none" strike="noStrike" kern="0" cap="none" spc="0" normalizeH="0" baseline="0" noProof="0" dirty="0" err="1">
                <a:ln>
                  <a:noFill/>
                </a:ln>
                <a:solidFill>
                  <a:schemeClr val="bg1"/>
                </a:solidFill>
                <a:effectLst/>
                <a:uLnTx/>
                <a:uFillTx/>
                <a:cs typeface="Trade Gothic LT Std" charset="0"/>
              </a:rPr>
              <a:t>gMG</a:t>
            </a:r>
            <a:r>
              <a:rPr kumimoji="0" lang="en-US" sz="1100" b="1" i="0" u="none" strike="noStrike" kern="0" cap="none" spc="0" normalizeH="0" baseline="0" noProof="0" dirty="0">
                <a:ln>
                  <a:noFill/>
                </a:ln>
                <a:solidFill>
                  <a:schemeClr val="bg1"/>
                </a:solidFill>
                <a:effectLst/>
                <a:uLnTx/>
                <a:uFillTx/>
                <a:cs typeface="Trade Gothic LT Std" charset="0"/>
              </a:rPr>
              <a:t>)</a:t>
            </a:r>
          </a:p>
          <a:p>
            <a:pPr marL="156629" marR="0" lvl="0" indent="-156629" algn="l" defTabSz="45717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chemeClr val="bg1"/>
                </a:solidFill>
                <a:effectLst/>
                <a:uLnTx/>
                <a:uFillTx/>
                <a:cs typeface="Trade Gothic LT Std" charset="0"/>
              </a:rPr>
              <a:t>Autoanticorpo</a:t>
            </a:r>
            <a:r>
              <a:rPr kumimoji="0" lang="en-US" sz="1100" b="0" i="0" u="none" strike="noStrike" kern="0" cap="none" spc="0" normalizeH="0" baseline="0" noProof="0" dirty="0">
                <a:ln>
                  <a:noFill/>
                </a:ln>
                <a:solidFill>
                  <a:schemeClr val="bg1"/>
                </a:solidFill>
                <a:effectLst/>
                <a:uLnTx/>
                <a:uFillTx/>
                <a:cs typeface="Trade Gothic LT Std" charset="0"/>
              </a:rPr>
              <a:t> contra </a:t>
            </a:r>
            <a:r>
              <a:rPr kumimoji="0" lang="en-US" sz="1100" b="0" i="0" u="none" strike="noStrike" kern="0" cap="none" spc="0" normalizeH="0" baseline="0" noProof="0" dirty="0" err="1">
                <a:ln>
                  <a:noFill/>
                </a:ln>
                <a:solidFill>
                  <a:schemeClr val="bg1"/>
                </a:solidFill>
                <a:effectLst/>
                <a:uLnTx/>
                <a:uFillTx/>
                <a:cs typeface="Trade Gothic LT Std" charset="0"/>
              </a:rPr>
              <a:t>AchR</a:t>
            </a:r>
            <a:endParaRPr kumimoji="0" lang="en-US" sz="1100" b="0" i="0" u="none" strike="noStrike" kern="0" cap="none" spc="0" normalizeH="0" baseline="0" noProof="0" dirty="0">
              <a:ln>
                <a:noFill/>
              </a:ln>
              <a:solidFill>
                <a:schemeClr val="bg1"/>
              </a:solidFill>
              <a:effectLst/>
              <a:uLnTx/>
              <a:uFillTx/>
              <a:cs typeface="Trade Gothic LT Std" charset="0"/>
            </a:endParaRPr>
          </a:p>
        </p:txBody>
      </p:sp>
      <p:sp>
        <p:nvSpPr>
          <p:cNvPr id="19" name="Rounded Rectangle 122">
            <a:extLst>
              <a:ext uri="{FF2B5EF4-FFF2-40B4-BE49-F238E27FC236}">
                <a16:creationId xmlns:a16="http://schemas.microsoft.com/office/drawing/2014/main" id="{EDB0BFBE-75CD-6D0A-F402-AAB478854A26}"/>
              </a:ext>
            </a:extLst>
          </p:cNvPr>
          <p:cNvSpPr/>
          <p:nvPr/>
        </p:nvSpPr>
        <p:spPr bwMode="auto">
          <a:xfrm>
            <a:off x="9063125" y="4608128"/>
            <a:ext cx="2609249" cy="498992"/>
          </a:xfrm>
          <a:prstGeom prst="roundRect">
            <a:avLst>
              <a:gd name="adj" fmla="val 0"/>
            </a:avLst>
          </a:prstGeom>
          <a:solidFill>
            <a:schemeClr val="bg1">
              <a:lumMod val="5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bg1"/>
                </a:solidFill>
                <a:effectLst/>
                <a:uLnTx/>
                <a:uFillTx/>
                <a:cs typeface="Trade Gothic LT Std" charset="0"/>
              </a:rPr>
              <a:t>Neuromielite</a:t>
            </a:r>
            <a:r>
              <a:rPr kumimoji="0" lang="en-US" sz="1100" b="1" i="0" u="none" strike="noStrike" kern="0" cap="none" spc="0" normalizeH="0" baseline="0" noProof="0" dirty="0">
                <a:ln>
                  <a:noFill/>
                </a:ln>
                <a:solidFill>
                  <a:schemeClr val="bg1"/>
                </a:solidFill>
                <a:effectLst/>
                <a:uLnTx/>
                <a:uFillTx/>
                <a:cs typeface="Trade Gothic LT Std" charset="0"/>
              </a:rPr>
              <a:t> </a:t>
            </a:r>
            <a:r>
              <a:rPr kumimoji="0" lang="en-US" sz="1100" b="1" i="0" u="none" strike="noStrike" kern="0" cap="none" spc="0" normalizeH="0" baseline="0" noProof="0" dirty="0" err="1">
                <a:ln>
                  <a:noFill/>
                </a:ln>
                <a:solidFill>
                  <a:schemeClr val="bg1"/>
                </a:solidFill>
                <a:effectLst/>
                <a:uLnTx/>
                <a:uFillTx/>
                <a:cs typeface="Trade Gothic LT Std" charset="0"/>
              </a:rPr>
              <a:t>ótica</a:t>
            </a:r>
            <a:r>
              <a:rPr kumimoji="0" lang="en-US" sz="1100" b="1" i="0" u="none" strike="noStrike" kern="0" cap="none" spc="0" normalizeH="0" baseline="0" noProof="0" dirty="0">
                <a:ln>
                  <a:noFill/>
                </a:ln>
                <a:solidFill>
                  <a:schemeClr val="bg1"/>
                </a:solidFill>
                <a:effectLst/>
                <a:uLnTx/>
                <a:uFillTx/>
                <a:cs typeface="Trade Gothic LT Std" charset="0"/>
              </a:rPr>
              <a:t> (NMOSD)</a:t>
            </a:r>
          </a:p>
          <a:p>
            <a:pPr marL="156629" marR="0" lvl="0" indent="-156629" algn="l" defTabSz="45717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chemeClr val="bg1"/>
                </a:solidFill>
                <a:effectLst/>
                <a:uLnTx/>
                <a:uFillTx/>
                <a:cs typeface="Trade Gothic LT Std" charset="0"/>
              </a:rPr>
              <a:t>Autoanticorpo</a:t>
            </a:r>
            <a:r>
              <a:rPr kumimoji="0" lang="en-US" sz="1100" b="0" i="0" u="none" strike="noStrike" kern="0" cap="none" spc="0" normalizeH="0" baseline="0" noProof="0" dirty="0">
                <a:ln>
                  <a:noFill/>
                </a:ln>
                <a:solidFill>
                  <a:schemeClr val="bg1"/>
                </a:solidFill>
                <a:effectLst/>
                <a:uLnTx/>
                <a:uFillTx/>
                <a:cs typeface="Trade Gothic LT Std" charset="0"/>
              </a:rPr>
              <a:t> contra AQP4</a:t>
            </a:r>
          </a:p>
        </p:txBody>
      </p:sp>
    </p:spTree>
    <p:extLst>
      <p:ext uri="{BB962C8B-B14F-4D97-AF65-F5344CB8AC3E}">
        <p14:creationId xmlns:p14="http://schemas.microsoft.com/office/powerpoint/2010/main" val="36155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grpId="0" nodeType="afterEffect">
                                  <p:stCondLst>
                                    <p:cond delay="50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500"/>
                            </p:stCondLst>
                            <p:childTnLst>
                              <p:par>
                                <p:cTn id="13" presetID="10" presetClass="entr" presetSubtype="0" fill="hold" grpId="0" nodeType="after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4000"/>
                            </p:stCondLst>
                            <p:childTnLst>
                              <p:par>
                                <p:cTn id="17" presetID="10" presetClass="entr" presetSubtype="0" fill="hold" grpId="0" nodeType="afterEffect">
                                  <p:stCondLst>
                                    <p:cond delay="5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5500"/>
                            </p:stCondLst>
                            <p:childTnLst>
                              <p:par>
                                <p:cTn id="21" presetID="10" presetClass="entr" presetSubtype="0" fill="hold" grpId="0" nodeType="afterEffect">
                                  <p:stCondLst>
                                    <p:cond delay="5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ângulo: Cantos Arredondados 11">
            <a:extLst>
              <a:ext uri="{FF2B5EF4-FFF2-40B4-BE49-F238E27FC236}">
                <a16:creationId xmlns:a16="http://schemas.microsoft.com/office/drawing/2014/main" id="{09C98ABB-E88F-4182-CA2D-24251F387994}"/>
              </a:ext>
            </a:extLst>
          </p:cNvPr>
          <p:cNvSpPr/>
          <p:nvPr/>
        </p:nvSpPr>
        <p:spPr>
          <a:xfrm>
            <a:off x="4484914" y="1158150"/>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2" name="Retângulo: Cantos Arredondados 21">
            <a:extLst>
              <a:ext uri="{FF2B5EF4-FFF2-40B4-BE49-F238E27FC236}">
                <a16:creationId xmlns:a16="http://schemas.microsoft.com/office/drawing/2014/main" id="{BF9CA5E6-5678-498E-E161-157928650F05}"/>
              </a:ext>
            </a:extLst>
          </p:cNvPr>
          <p:cNvSpPr/>
          <p:nvPr/>
        </p:nvSpPr>
        <p:spPr>
          <a:xfrm>
            <a:off x="4484914" y="1997376"/>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3" name="Retângulo: Cantos Arredondados 22">
            <a:extLst>
              <a:ext uri="{FF2B5EF4-FFF2-40B4-BE49-F238E27FC236}">
                <a16:creationId xmlns:a16="http://schemas.microsoft.com/office/drawing/2014/main" id="{33A9A002-F456-27CE-4942-8B7A7FF0F528}"/>
              </a:ext>
            </a:extLst>
          </p:cNvPr>
          <p:cNvSpPr/>
          <p:nvPr/>
        </p:nvSpPr>
        <p:spPr>
          <a:xfrm>
            <a:off x="4484914" y="2854317"/>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4" name="Retângulo: Cantos Arredondados 23">
            <a:extLst>
              <a:ext uri="{FF2B5EF4-FFF2-40B4-BE49-F238E27FC236}">
                <a16:creationId xmlns:a16="http://schemas.microsoft.com/office/drawing/2014/main" id="{4EF9D8BF-0B13-BB4B-A270-6490EDAD29D0}"/>
              </a:ext>
            </a:extLst>
          </p:cNvPr>
          <p:cNvSpPr/>
          <p:nvPr/>
        </p:nvSpPr>
        <p:spPr>
          <a:xfrm>
            <a:off x="4484914" y="3693543"/>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5" name="Retângulo: Cantos Arredondados 24">
            <a:extLst>
              <a:ext uri="{FF2B5EF4-FFF2-40B4-BE49-F238E27FC236}">
                <a16:creationId xmlns:a16="http://schemas.microsoft.com/office/drawing/2014/main" id="{572D37E2-E6B7-1912-F517-B028604B71C3}"/>
              </a:ext>
            </a:extLst>
          </p:cNvPr>
          <p:cNvSpPr/>
          <p:nvPr/>
        </p:nvSpPr>
        <p:spPr>
          <a:xfrm>
            <a:off x="4484914" y="4565865"/>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6" name="Retângulo: Cantos Arredondados 25">
            <a:extLst>
              <a:ext uri="{FF2B5EF4-FFF2-40B4-BE49-F238E27FC236}">
                <a16:creationId xmlns:a16="http://schemas.microsoft.com/office/drawing/2014/main" id="{00C89F65-DD78-A16C-D317-0C9505485C97}"/>
              </a:ext>
            </a:extLst>
          </p:cNvPr>
          <p:cNvSpPr/>
          <p:nvPr/>
        </p:nvSpPr>
        <p:spPr>
          <a:xfrm>
            <a:off x="4484914" y="5405091"/>
            <a:ext cx="7075714" cy="71907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9000172" cy="565786"/>
          </a:xfrm>
        </p:spPr>
        <p:txBody>
          <a:bodyPr/>
          <a:lstStyle/>
          <a:p>
            <a:r>
              <a:rPr lang="pt-BR" dirty="0"/>
              <a:t>Córdova Martínez A, Alvarez-Mon M. O sistema imunológico (I): conceitos gerais, adaptação ao exercício físico e implicações clínicas. </a:t>
            </a:r>
            <a:r>
              <a:rPr lang="pt-BR" dirty="0" err="1"/>
              <a:t>Rev</a:t>
            </a:r>
            <a:r>
              <a:rPr lang="pt-BR" dirty="0"/>
              <a:t> </a:t>
            </a:r>
            <a:r>
              <a:rPr lang="pt-BR" dirty="0" err="1"/>
              <a:t>Bras</a:t>
            </a:r>
            <a:r>
              <a:rPr lang="pt-BR" dirty="0"/>
              <a:t> Med Esporte. 1999May;5(3):120–5.</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0351411"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O que compõe?</a:t>
            </a:r>
            <a:endParaRPr lang="pt-BR" sz="4400" b="1" baseline="30000" dirty="0">
              <a:gradFill>
                <a:gsLst>
                  <a:gs pos="0">
                    <a:schemeClr val="accent1"/>
                  </a:gs>
                  <a:gs pos="100000">
                    <a:schemeClr val="bg2"/>
                  </a:gs>
                </a:gsLst>
                <a:lin ang="2700000" scaled="0"/>
              </a:gradFill>
              <a:latin typeface="Calisto MT"/>
            </a:endParaRPr>
          </a:p>
        </p:txBody>
      </p:sp>
      <p:pic>
        <p:nvPicPr>
          <p:cNvPr id="7" name="Imagem 6" descr="Imagem digital fictícia de personagem de desenho animado&#10;&#10;Descrição gerada automaticamente com confiança baixa">
            <a:extLst>
              <a:ext uri="{FF2B5EF4-FFF2-40B4-BE49-F238E27FC236}">
                <a16:creationId xmlns:a16="http://schemas.microsoft.com/office/drawing/2014/main" id="{20D062C5-A285-8F20-0F75-A2FCDD81C39B}"/>
              </a:ext>
            </a:extLst>
          </p:cNvPr>
          <p:cNvPicPr>
            <a:picLocks noChangeAspect="1"/>
          </p:cNvPicPr>
          <p:nvPr/>
        </p:nvPicPr>
        <p:blipFill>
          <a:blip r:embed="rId3">
            <a:extLst>
              <a:ext uri="{28A0092B-C50C-407E-A947-70E740481C1C}">
                <a14:useLocalDpi xmlns:a14="http://schemas.microsoft.com/office/drawing/2010/main"/>
              </a:ext>
            </a:extLst>
          </a:blip>
          <a:srcRect r="50000"/>
          <a:stretch/>
        </p:blipFill>
        <p:spPr>
          <a:xfrm flipH="1">
            <a:off x="407989" y="1150610"/>
            <a:ext cx="3730170" cy="4973560"/>
          </a:xfrm>
          <a:prstGeom prst="rect">
            <a:avLst/>
          </a:prstGeom>
        </p:spPr>
      </p:pic>
      <p:sp>
        <p:nvSpPr>
          <p:cNvPr id="11" name="Retângulo: Cantos Arredondados 10">
            <a:extLst>
              <a:ext uri="{FF2B5EF4-FFF2-40B4-BE49-F238E27FC236}">
                <a16:creationId xmlns:a16="http://schemas.microsoft.com/office/drawing/2014/main" id="{7B1C6711-8213-42BD-85FE-B60CC5FE11C9}"/>
              </a:ext>
            </a:extLst>
          </p:cNvPr>
          <p:cNvSpPr/>
          <p:nvPr/>
        </p:nvSpPr>
        <p:spPr>
          <a:xfrm>
            <a:off x="3099717" y="1233778"/>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MOLÉCULAS</a:t>
            </a:r>
          </a:p>
        </p:txBody>
      </p:sp>
      <p:sp>
        <p:nvSpPr>
          <p:cNvPr id="13" name="Retângulo: Cantos Arredondados 12">
            <a:extLst>
              <a:ext uri="{FF2B5EF4-FFF2-40B4-BE49-F238E27FC236}">
                <a16:creationId xmlns:a16="http://schemas.microsoft.com/office/drawing/2014/main" id="{92EB70DC-3402-3AD4-0E71-89C0915F0FD8}"/>
              </a:ext>
            </a:extLst>
          </p:cNvPr>
          <p:cNvSpPr/>
          <p:nvPr/>
        </p:nvSpPr>
        <p:spPr>
          <a:xfrm>
            <a:off x="3099717" y="2084598"/>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CÉLULAS</a:t>
            </a:r>
          </a:p>
        </p:txBody>
      </p:sp>
      <p:sp>
        <p:nvSpPr>
          <p:cNvPr id="17" name="Retângulo: Cantos Arredondados 16">
            <a:extLst>
              <a:ext uri="{FF2B5EF4-FFF2-40B4-BE49-F238E27FC236}">
                <a16:creationId xmlns:a16="http://schemas.microsoft.com/office/drawing/2014/main" id="{295FE956-9218-1492-FB5D-FB96CE68FC4E}"/>
              </a:ext>
            </a:extLst>
          </p:cNvPr>
          <p:cNvSpPr/>
          <p:nvPr/>
        </p:nvSpPr>
        <p:spPr>
          <a:xfrm>
            <a:off x="3099717" y="2935418"/>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FLUIDOS</a:t>
            </a:r>
          </a:p>
        </p:txBody>
      </p:sp>
      <p:sp>
        <p:nvSpPr>
          <p:cNvPr id="18" name="Retângulo: Cantos Arredondados 17">
            <a:extLst>
              <a:ext uri="{FF2B5EF4-FFF2-40B4-BE49-F238E27FC236}">
                <a16:creationId xmlns:a16="http://schemas.microsoft.com/office/drawing/2014/main" id="{81485EBF-B97E-47C2-60DA-1032A67138F6}"/>
              </a:ext>
            </a:extLst>
          </p:cNvPr>
          <p:cNvSpPr/>
          <p:nvPr/>
        </p:nvSpPr>
        <p:spPr>
          <a:xfrm>
            <a:off x="3099717" y="3786238"/>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VASOS</a:t>
            </a:r>
          </a:p>
        </p:txBody>
      </p:sp>
      <p:sp>
        <p:nvSpPr>
          <p:cNvPr id="19" name="Retângulo: Cantos Arredondados 18">
            <a:extLst>
              <a:ext uri="{FF2B5EF4-FFF2-40B4-BE49-F238E27FC236}">
                <a16:creationId xmlns:a16="http://schemas.microsoft.com/office/drawing/2014/main" id="{B7FABF17-6DEE-7792-ADAB-F883C9E7840B}"/>
              </a:ext>
            </a:extLst>
          </p:cNvPr>
          <p:cNvSpPr/>
          <p:nvPr/>
        </p:nvSpPr>
        <p:spPr>
          <a:xfrm>
            <a:off x="3099717" y="4637058"/>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TECIDOS</a:t>
            </a:r>
          </a:p>
        </p:txBody>
      </p:sp>
      <p:sp>
        <p:nvSpPr>
          <p:cNvPr id="21" name="Retângulo: Cantos Arredondados 20">
            <a:extLst>
              <a:ext uri="{FF2B5EF4-FFF2-40B4-BE49-F238E27FC236}">
                <a16:creationId xmlns:a16="http://schemas.microsoft.com/office/drawing/2014/main" id="{675EBDFF-100E-E71A-901A-921472199441}"/>
              </a:ext>
            </a:extLst>
          </p:cNvPr>
          <p:cNvSpPr/>
          <p:nvPr/>
        </p:nvSpPr>
        <p:spPr>
          <a:xfrm>
            <a:off x="3099717" y="5487880"/>
            <a:ext cx="2343141" cy="565786"/>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2000" b="1" dirty="0">
                <a:latin typeface="+mj-lt"/>
              </a:rPr>
              <a:t>ÓRGÃOS</a:t>
            </a:r>
          </a:p>
        </p:txBody>
      </p:sp>
      <p:sp>
        <p:nvSpPr>
          <p:cNvPr id="28" name="CaixaDeTexto 27">
            <a:extLst>
              <a:ext uri="{FF2B5EF4-FFF2-40B4-BE49-F238E27FC236}">
                <a16:creationId xmlns:a16="http://schemas.microsoft.com/office/drawing/2014/main" id="{BA7D25A0-8BE5-D097-2FBB-AF968FEE3BD5}"/>
              </a:ext>
            </a:extLst>
          </p:cNvPr>
          <p:cNvSpPr txBox="1"/>
          <p:nvPr/>
        </p:nvSpPr>
        <p:spPr>
          <a:xfrm>
            <a:off x="5442858" y="1158150"/>
            <a:ext cx="6117770" cy="738664"/>
          </a:xfrm>
          <a:prstGeom prst="rect">
            <a:avLst/>
          </a:prstGeom>
          <a:noFill/>
        </p:spPr>
        <p:txBody>
          <a:bodyPr wrap="square">
            <a:spAutoFit/>
          </a:bodyPr>
          <a:lstStyle/>
          <a:p>
            <a:pPr lvl="0" rtl="0"/>
            <a:r>
              <a:rPr lang="pt-BR" sz="1400" dirty="0"/>
              <a:t>Imunoglobulinas, </a:t>
            </a:r>
            <a:r>
              <a:rPr lang="pt-BR" sz="1400" dirty="0" err="1"/>
              <a:t>TCRs</a:t>
            </a:r>
            <a:r>
              <a:rPr lang="pt-BR" sz="1400" dirty="0"/>
              <a:t>, MHC / HLA, complemento, PCR, citocinas, </a:t>
            </a:r>
            <a:r>
              <a:rPr lang="pt-BR" sz="1400" dirty="0" err="1"/>
              <a:t>quimiocinas</a:t>
            </a:r>
            <a:r>
              <a:rPr lang="pt-BR" sz="1400" dirty="0"/>
              <a:t>, </a:t>
            </a:r>
            <a:r>
              <a:rPr lang="pt-BR" sz="1400" dirty="0" err="1"/>
              <a:t>integrinas</a:t>
            </a:r>
            <a:r>
              <a:rPr lang="pt-BR" sz="1400" dirty="0"/>
              <a:t>, </a:t>
            </a:r>
            <a:r>
              <a:rPr lang="pt-BR" sz="1400" dirty="0" err="1"/>
              <a:t>selectinas</a:t>
            </a:r>
            <a:r>
              <a:rPr lang="pt-BR" sz="1400" dirty="0"/>
              <a:t>, receptores de FC, de </a:t>
            </a:r>
            <a:r>
              <a:rPr lang="pt-BR" sz="1400" dirty="0" err="1"/>
              <a:t>DAMPs</a:t>
            </a:r>
            <a:r>
              <a:rPr lang="pt-BR" sz="1400" dirty="0"/>
              <a:t> e de </a:t>
            </a:r>
            <a:r>
              <a:rPr lang="pt-BR" sz="1400" dirty="0" err="1"/>
              <a:t>PAMPs</a:t>
            </a:r>
            <a:r>
              <a:rPr lang="pt-BR" sz="1400" dirty="0"/>
              <a:t>, mediadores lipídicos (PG, LT)...</a:t>
            </a:r>
            <a:endParaRPr lang="en-US" sz="1400" dirty="0"/>
          </a:p>
        </p:txBody>
      </p:sp>
      <p:sp>
        <p:nvSpPr>
          <p:cNvPr id="29" name="CaixaDeTexto 28">
            <a:extLst>
              <a:ext uri="{FF2B5EF4-FFF2-40B4-BE49-F238E27FC236}">
                <a16:creationId xmlns:a16="http://schemas.microsoft.com/office/drawing/2014/main" id="{16D18EED-6FFA-3378-34EF-B2061D3C2DB0}"/>
              </a:ext>
            </a:extLst>
          </p:cNvPr>
          <p:cNvSpPr txBox="1"/>
          <p:nvPr/>
        </p:nvSpPr>
        <p:spPr>
          <a:xfrm>
            <a:off x="5442858" y="2102175"/>
            <a:ext cx="6117770" cy="523220"/>
          </a:xfrm>
          <a:prstGeom prst="rect">
            <a:avLst/>
          </a:prstGeom>
          <a:noFill/>
        </p:spPr>
        <p:txBody>
          <a:bodyPr wrap="square">
            <a:spAutoFit/>
          </a:bodyPr>
          <a:lstStyle/>
          <a:p>
            <a:pPr lvl="0" rtl="0"/>
            <a:r>
              <a:rPr lang="pt-BR" sz="1400" dirty="0"/>
              <a:t>Monócitos, macrófagos, linfócitos B e T, células NK, neutrófilos, basófilos, eosinófilos, mastócitos, células dendríticas</a:t>
            </a:r>
          </a:p>
        </p:txBody>
      </p:sp>
      <p:sp>
        <p:nvSpPr>
          <p:cNvPr id="30" name="CaixaDeTexto 29">
            <a:extLst>
              <a:ext uri="{FF2B5EF4-FFF2-40B4-BE49-F238E27FC236}">
                <a16:creationId xmlns:a16="http://schemas.microsoft.com/office/drawing/2014/main" id="{39A2B328-CFB1-E25D-AB8F-362FF1AFAADE}"/>
              </a:ext>
            </a:extLst>
          </p:cNvPr>
          <p:cNvSpPr txBox="1"/>
          <p:nvPr/>
        </p:nvSpPr>
        <p:spPr>
          <a:xfrm>
            <a:off x="5442858" y="3049987"/>
            <a:ext cx="6117770" cy="307777"/>
          </a:xfrm>
          <a:prstGeom prst="rect">
            <a:avLst/>
          </a:prstGeom>
          <a:noFill/>
        </p:spPr>
        <p:txBody>
          <a:bodyPr wrap="square">
            <a:spAutoFit/>
          </a:bodyPr>
          <a:lstStyle/>
          <a:p>
            <a:pPr lvl="0" rtl="0"/>
            <a:r>
              <a:rPr lang="pt-BR" sz="1400" dirty="0"/>
              <a:t>Linfa, sangue</a:t>
            </a:r>
          </a:p>
        </p:txBody>
      </p:sp>
      <p:sp>
        <p:nvSpPr>
          <p:cNvPr id="31" name="CaixaDeTexto 30">
            <a:extLst>
              <a:ext uri="{FF2B5EF4-FFF2-40B4-BE49-F238E27FC236}">
                <a16:creationId xmlns:a16="http://schemas.microsoft.com/office/drawing/2014/main" id="{B7E9AA5E-642F-8DE3-7CB7-7D488EE76458}"/>
              </a:ext>
            </a:extLst>
          </p:cNvPr>
          <p:cNvSpPr txBox="1"/>
          <p:nvPr/>
        </p:nvSpPr>
        <p:spPr>
          <a:xfrm>
            <a:off x="5442858" y="3899193"/>
            <a:ext cx="6117770" cy="307777"/>
          </a:xfrm>
          <a:prstGeom prst="rect">
            <a:avLst/>
          </a:prstGeom>
          <a:noFill/>
        </p:spPr>
        <p:txBody>
          <a:bodyPr wrap="square">
            <a:spAutoFit/>
          </a:bodyPr>
          <a:lstStyle/>
          <a:p>
            <a:pPr lvl="0" rtl="0"/>
            <a:r>
              <a:rPr lang="pt-BR" sz="1400" dirty="0"/>
              <a:t>Vasos sanguíneos, vasos linfáticos</a:t>
            </a:r>
          </a:p>
        </p:txBody>
      </p:sp>
      <p:sp>
        <p:nvSpPr>
          <p:cNvPr id="34" name="CaixaDeTexto 33">
            <a:extLst>
              <a:ext uri="{FF2B5EF4-FFF2-40B4-BE49-F238E27FC236}">
                <a16:creationId xmlns:a16="http://schemas.microsoft.com/office/drawing/2014/main" id="{53A7CC68-46F9-C488-CE3D-A577AD20882E}"/>
              </a:ext>
            </a:extLst>
          </p:cNvPr>
          <p:cNvSpPr txBox="1"/>
          <p:nvPr/>
        </p:nvSpPr>
        <p:spPr>
          <a:xfrm>
            <a:off x="5442858" y="4766062"/>
            <a:ext cx="6117770" cy="307777"/>
          </a:xfrm>
          <a:prstGeom prst="rect">
            <a:avLst/>
          </a:prstGeom>
          <a:noFill/>
        </p:spPr>
        <p:txBody>
          <a:bodyPr wrap="square">
            <a:spAutoFit/>
          </a:bodyPr>
          <a:lstStyle/>
          <a:p>
            <a:pPr lvl="0" rtl="0"/>
            <a:r>
              <a:rPr lang="pt-BR" sz="1400" dirty="0"/>
              <a:t>Derme, glia, ossos, peritônio, placas de </a:t>
            </a:r>
            <a:r>
              <a:rPr lang="pt-BR" sz="1400" dirty="0" err="1"/>
              <a:t>peyer</a:t>
            </a:r>
            <a:r>
              <a:rPr lang="pt-BR" sz="1400" dirty="0"/>
              <a:t>, </a:t>
            </a:r>
            <a:r>
              <a:rPr lang="pt-BR" sz="1400" dirty="0" err="1"/>
              <a:t>ênteses</a:t>
            </a:r>
            <a:r>
              <a:rPr lang="pt-BR" sz="1400" dirty="0"/>
              <a:t>, mesentério, pleura, MALT</a:t>
            </a:r>
          </a:p>
        </p:txBody>
      </p:sp>
      <p:sp>
        <p:nvSpPr>
          <p:cNvPr id="35" name="CaixaDeTexto 34">
            <a:extLst>
              <a:ext uri="{FF2B5EF4-FFF2-40B4-BE49-F238E27FC236}">
                <a16:creationId xmlns:a16="http://schemas.microsoft.com/office/drawing/2014/main" id="{7B597FA4-E820-D71B-1673-A443E7EDAB3C}"/>
              </a:ext>
            </a:extLst>
          </p:cNvPr>
          <p:cNvSpPr txBox="1"/>
          <p:nvPr/>
        </p:nvSpPr>
        <p:spPr>
          <a:xfrm>
            <a:off x="5442858" y="5610741"/>
            <a:ext cx="6117770" cy="307777"/>
          </a:xfrm>
          <a:prstGeom prst="rect">
            <a:avLst/>
          </a:prstGeom>
          <a:noFill/>
        </p:spPr>
        <p:txBody>
          <a:bodyPr wrap="square">
            <a:spAutoFit/>
          </a:bodyPr>
          <a:lstStyle/>
          <a:p>
            <a:pPr lvl="0" rtl="0"/>
            <a:r>
              <a:rPr lang="pt-BR" sz="1400" dirty="0"/>
              <a:t>Timo, medula óssea, linfonodos, baço, tonsilas, apêndice</a:t>
            </a:r>
          </a:p>
        </p:txBody>
      </p:sp>
    </p:spTree>
    <p:extLst>
      <p:ext uri="{BB962C8B-B14F-4D97-AF65-F5344CB8AC3E}">
        <p14:creationId xmlns:p14="http://schemas.microsoft.com/office/powerpoint/2010/main" val="183405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 calcmode="lin" valueType="num">
                                      <p:cBhvr>
                                        <p:cTn id="10" dur="500" fill="hold"/>
                                        <p:tgtEl>
                                          <p:spTgt spid="11"/>
                                        </p:tgtEl>
                                        <p:attrNameLst>
                                          <p:attrName>ppt_w</p:attrName>
                                        </p:attrNameLst>
                                      </p:cBhvr>
                                      <p:tavLst>
                                        <p:tav tm="0">
                                          <p:val>
                                            <p:fltVal val="0"/>
                                          </p:val>
                                        </p:tav>
                                        <p:tav tm="100000">
                                          <p:val>
                                            <p:strVal val="#ppt_w"/>
                                          </p:val>
                                        </p:tav>
                                      </p:tavLst>
                                    </p:anim>
                                    <p:anim calcmode="lin" valueType="num">
                                      <p:cBhvr>
                                        <p:cTn id="11" dur="500" fill="hold"/>
                                        <p:tgtEl>
                                          <p:spTgt spid="11"/>
                                        </p:tgtEl>
                                        <p:attrNameLst>
                                          <p:attrName>ppt_h</p:attrName>
                                        </p:attrNameLst>
                                      </p:cBhvr>
                                      <p:tavLst>
                                        <p:tav tm="0">
                                          <p:val>
                                            <p:fltVal val="0"/>
                                          </p:val>
                                        </p:tav>
                                        <p:tav tm="100000">
                                          <p:val>
                                            <p:strVal val="#ppt_h"/>
                                          </p:val>
                                        </p:tav>
                                      </p:tavLst>
                                    </p:anim>
                                    <p:animEffect transition="in" filter="fade">
                                      <p:cBhvr>
                                        <p:cTn id="12" dur="500"/>
                                        <p:tgtEl>
                                          <p:spTgt spid="11"/>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p:cTn id="15" dur="500" fill="hold"/>
                                        <p:tgtEl>
                                          <p:spTgt spid="13"/>
                                        </p:tgtEl>
                                        <p:attrNameLst>
                                          <p:attrName>ppt_w</p:attrName>
                                        </p:attrNameLst>
                                      </p:cBhvr>
                                      <p:tavLst>
                                        <p:tav tm="0">
                                          <p:val>
                                            <p:fltVal val="0"/>
                                          </p:val>
                                        </p:tav>
                                        <p:tav tm="100000">
                                          <p:val>
                                            <p:strVal val="#ppt_w"/>
                                          </p:val>
                                        </p:tav>
                                      </p:tavLst>
                                    </p:anim>
                                    <p:anim calcmode="lin" valueType="num">
                                      <p:cBhvr>
                                        <p:cTn id="16" dur="500" fill="hold"/>
                                        <p:tgtEl>
                                          <p:spTgt spid="13"/>
                                        </p:tgtEl>
                                        <p:attrNameLst>
                                          <p:attrName>ppt_h</p:attrName>
                                        </p:attrNameLst>
                                      </p:cBhvr>
                                      <p:tavLst>
                                        <p:tav tm="0">
                                          <p:val>
                                            <p:fltVal val="0"/>
                                          </p:val>
                                        </p:tav>
                                        <p:tav tm="100000">
                                          <p:val>
                                            <p:strVal val="#ppt_h"/>
                                          </p:val>
                                        </p:tav>
                                      </p:tavLst>
                                    </p:anim>
                                    <p:animEffect transition="in" filter="fade">
                                      <p:cBhvr>
                                        <p:cTn id="17" dur="500"/>
                                        <p:tgtEl>
                                          <p:spTgt spid="13"/>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p:cTn id="20" dur="500" fill="hold"/>
                                        <p:tgtEl>
                                          <p:spTgt spid="17"/>
                                        </p:tgtEl>
                                        <p:attrNameLst>
                                          <p:attrName>ppt_w</p:attrName>
                                        </p:attrNameLst>
                                      </p:cBhvr>
                                      <p:tavLst>
                                        <p:tav tm="0">
                                          <p:val>
                                            <p:fltVal val="0"/>
                                          </p:val>
                                        </p:tav>
                                        <p:tav tm="100000">
                                          <p:val>
                                            <p:strVal val="#ppt_w"/>
                                          </p:val>
                                        </p:tav>
                                      </p:tavLst>
                                    </p:anim>
                                    <p:anim calcmode="lin" valueType="num">
                                      <p:cBhvr>
                                        <p:cTn id="21" dur="500" fill="hold"/>
                                        <p:tgtEl>
                                          <p:spTgt spid="17"/>
                                        </p:tgtEl>
                                        <p:attrNameLst>
                                          <p:attrName>ppt_h</p:attrName>
                                        </p:attrNameLst>
                                      </p:cBhvr>
                                      <p:tavLst>
                                        <p:tav tm="0">
                                          <p:val>
                                            <p:fltVal val="0"/>
                                          </p:val>
                                        </p:tav>
                                        <p:tav tm="100000">
                                          <p:val>
                                            <p:strVal val="#ppt_h"/>
                                          </p:val>
                                        </p:tav>
                                      </p:tavLst>
                                    </p:anim>
                                    <p:animEffect transition="in" filter="fade">
                                      <p:cBhvr>
                                        <p:cTn id="22" dur="500"/>
                                        <p:tgtEl>
                                          <p:spTgt spid="17"/>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p:cTn id="25" dur="500" fill="hold"/>
                                        <p:tgtEl>
                                          <p:spTgt spid="18"/>
                                        </p:tgtEl>
                                        <p:attrNameLst>
                                          <p:attrName>ppt_w</p:attrName>
                                        </p:attrNameLst>
                                      </p:cBhvr>
                                      <p:tavLst>
                                        <p:tav tm="0">
                                          <p:val>
                                            <p:fltVal val="0"/>
                                          </p:val>
                                        </p:tav>
                                        <p:tav tm="100000">
                                          <p:val>
                                            <p:strVal val="#ppt_w"/>
                                          </p:val>
                                        </p:tav>
                                      </p:tavLst>
                                    </p:anim>
                                    <p:anim calcmode="lin" valueType="num">
                                      <p:cBhvr>
                                        <p:cTn id="26" dur="500" fill="hold"/>
                                        <p:tgtEl>
                                          <p:spTgt spid="18"/>
                                        </p:tgtEl>
                                        <p:attrNameLst>
                                          <p:attrName>ppt_h</p:attrName>
                                        </p:attrNameLst>
                                      </p:cBhvr>
                                      <p:tavLst>
                                        <p:tav tm="0">
                                          <p:val>
                                            <p:fltVal val="0"/>
                                          </p:val>
                                        </p:tav>
                                        <p:tav tm="100000">
                                          <p:val>
                                            <p:strVal val="#ppt_h"/>
                                          </p:val>
                                        </p:tav>
                                      </p:tavLst>
                                    </p:anim>
                                    <p:animEffect transition="in" filter="fade">
                                      <p:cBhvr>
                                        <p:cTn id="27" dur="500"/>
                                        <p:tgtEl>
                                          <p:spTgt spid="18"/>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 calcmode="lin" valueType="num">
                                      <p:cBhvr>
                                        <p:cTn id="30" dur="500" fill="hold"/>
                                        <p:tgtEl>
                                          <p:spTgt spid="19"/>
                                        </p:tgtEl>
                                        <p:attrNameLst>
                                          <p:attrName>ppt_w</p:attrName>
                                        </p:attrNameLst>
                                      </p:cBhvr>
                                      <p:tavLst>
                                        <p:tav tm="0">
                                          <p:val>
                                            <p:fltVal val="0"/>
                                          </p:val>
                                        </p:tav>
                                        <p:tav tm="100000">
                                          <p:val>
                                            <p:strVal val="#ppt_w"/>
                                          </p:val>
                                        </p:tav>
                                      </p:tavLst>
                                    </p:anim>
                                    <p:anim calcmode="lin" valueType="num">
                                      <p:cBhvr>
                                        <p:cTn id="31" dur="500" fill="hold"/>
                                        <p:tgtEl>
                                          <p:spTgt spid="19"/>
                                        </p:tgtEl>
                                        <p:attrNameLst>
                                          <p:attrName>ppt_h</p:attrName>
                                        </p:attrNameLst>
                                      </p:cBhvr>
                                      <p:tavLst>
                                        <p:tav tm="0">
                                          <p:val>
                                            <p:fltVal val="0"/>
                                          </p:val>
                                        </p:tav>
                                        <p:tav tm="100000">
                                          <p:val>
                                            <p:strVal val="#ppt_h"/>
                                          </p:val>
                                        </p:tav>
                                      </p:tavLst>
                                    </p:anim>
                                    <p:animEffect transition="in" filter="fade">
                                      <p:cBhvr>
                                        <p:cTn id="32" dur="500"/>
                                        <p:tgtEl>
                                          <p:spTgt spid="19"/>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p:cTn id="35" dur="500" fill="hold"/>
                                        <p:tgtEl>
                                          <p:spTgt spid="21"/>
                                        </p:tgtEl>
                                        <p:attrNameLst>
                                          <p:attrName>ppt_w</p:attrName>
                                        </p:attrNameLst>
                                      </p:cBhvr>
                                      <p:tavLst>
                                        <p:tav tm="0">
                                          <p:val>
                                            <p:fltVal val="0"/>
                                          </p:val>
                                        </p:tav>
                                        <p:tav tm="100000">
                                          <p:val>
                                            <p:strVal val="#ppt_w"/>
                                          </p:val>
                                        </p:tav>
                                      </p:tavLst>
                                    </p:anim>
                                    <p:anim calcmode="lin" valueType="num">
                                      <p:cBhvr>
                                        <p:cTn id="36" dur="500" fill="hold"/>
                                        <p:tgtEl>
                                          <p:spTgt spid="21"/>
                                        </p:tgtEl>
                                        <p:attrNameLst>
                                          <p:attrName>ppt_h</p:attrName>
                                        </p:attrNameLst>
                                      </p:cBhvr>
                                      <p:tavLst>
                                        <p:tav tm="0">
                                          <p:val>
                                            <p:fltVal val="0"/>
                                          </p:val>
                                        </p:tav>
                                        <p:tav tm="100000">
                                          <p:val>
                                            <p:strVal val="#ppt_h"/>
                                          </p:val>
                                        </p:tav>
                                      </p:tavLst>
                                    </p:anim>
                                    <p:animEffect transition="in" filter="fade">
                                      <p:cBhvr>
                                        <p:cTn id="37" dur="500"/>
                                        <p:tgtEl>
                                          <p:spTgt spid="21"/>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50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par>
                                <p:cTn id="59" presetID="10" presetClass="entr" presetSubtype="0" fill="hold" grpId="0" nodeType="withEffect">
                                  <p:stCondLst>
                                    <p:cond delay="5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500"/>
                                        <p:tgtEl>
                                          <p:spTgt spid="29"/>
                                        </p:tgtEl>
                                      </p:cBhvr>
                                    </p:animEffect>
                                  </p:childTnLst>
                                </p:cTn>
                              </p:par>
                              <p:par>
                                <p:cTn id="62" presetID="10" presetClass="entr" presetSubtype="0" fill="hold" grpId="0" nodeType="withEffect">
                                  <p:stCondLst>
                                    <p:cond delay="50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500"/>
                                        <p:tgtEl>
                                          <p:spTgt spid="34"/>
                                        </p:tgtEl>
                                      </p:cBhvr>
                                    </p:animEffect>
                                  </p:childTnLst>
                                </p:cTn>
                              </p:par>
                              <p:par>
                                <p:cTn id="71" presetID="10" presetClass="entr" presetSubtype="0" fill="hold" grpId="0" nodeType="withEffect">
                                  <p:stCondLst>
                                    <p:cond delay="500"/>
                                  </p:stCondLst>
                                  <p:childTnLst>
                                    <p:set>
                                      <p:cBhvr>
                                        <p:cTn id="72" dur="1" fill="hold">
                                          <p:stCondLst>
                                            <p:cond delay="0"/>
                                          </p:stCondLst>
                                        </p:cTn>
                                        <p:tgtEl>
                                          <p:spTgt spid="35"/>
                                        </p:tgtEl>
                                        <p:attrNameLst>
                                          <p:attrName>style.visibility</p:attrName>
                                        </p:attrNameLst>
                                      </p:cBhvr>
                                      <p:to>
                                        <p:strVal val="visible"/>
                                      </p:to>
                                    </p:set>
                                    <p:animEffect transition="in" filter="fade">
                                      <p:cBhvr>
                                        <p:cTn id="73"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23" grpId="0" animBg="1"/>
      <p:bldP spid="24" grpId="0" animBg="1"/>
      <p:bldP spid="25" grpId="0" animBg="1"/>
      <p:bldP spid="26" grpId="0" animBg="1"/>
      <p:bldP spid="11" grpId="0" animBg="1"/>
      <p:bldP spid="13" grpId="0" animBg="1"/>
      <p:bldP spid="17" grpId="0" animBg="1"/>
      <p:bldP spid="18" grpId="0" animBg="1"/>
      <p:bldP spid="19" grpId="0" animBg="1"/>
      <p:bldP spid="21" grpId="0" animBg="1"/>
      <p:bldP spid="28" grpId="0"/>
      <p:bldP spid="29" grpId="0"/>
      <p:bldP spid="30" grpId="0"/>
      <p:bldP spid="31" grpId="0"/>
      <p:bldP spid="34" grpId="0"/>
      <p:bldP spid="3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tângulo: Cantos Arredondados 106">
            <a:extLst>
              <a:ext uri="{FF2B5EF4-FFF2-40B4-BE49-F238E27FC236}">
                <a16:creationId xmlns:a16="http://schemas.microsoft.com/office/drawing/2014/main" id="{59601B86-1F6A-CB85-E5F2-9F3ECC1E7275}"/>
              </a:ext>
            </a:extLst>
          </p:cNvPr>
          <p:cNvSpPr/>
          <p:nvPr/>
        </p:nvSpPr>
        <p:spPr>
          <a:xfrm flipH="1">
            <a:off x="290104" y="1496005"/>
            <a:ext cx="11605628" cy="3922029"/>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407988" y="6200775"/>
            <a:ext cx="10199052" cy="565786"/>
          </a:xfrm>
        </p:spPr>
        <p:txBody>
          <a:bodyPr/>
          <a:lstStyle/>
          <a:p>
            <a:pPr>
              <a:lnSpc>
                <a:spcPct val="100000"/>
              </a:lnSpc>
              <a:spcAft>
                <a:spcPts val="0"/>
              </a:spcAft>
            </a:pPr>
            <a:r>
              <a:rPr lang="pt-BR" sz="700" dirty="0" err="1"/>
              <a:t>aNa</a:t>
            </a:r>
            <a:r>
              <a:rPr lang="pt-BR" sz="700" dirty="0"/>
              <a:t> HPN, atividade alta da doença é definida como LDH ≥ 1,5 vezes o LSN na presença de ≥ 1 dos seguintes: fadiga, hemoglobinúria, dor abdominal, dispneia, anemia (</a:t>
            </a:r>
            <a:r>
              <a:rPr lang="pt-BR" sz="700" dirty="0" err="1"/>
              <a:t>Hb</a:t>
            </a:r>
            <a:r>
              <a:rPr lang="pt-BR" sz="700" dirty="0"/>
              <a:t> &lt; 100 g/</a:t>
            </a:r>
            <a:r>
              <a:rPr lang="pt-BR" sz="700" dirty="0" err="1"/>
              <a:t>dL</a:t>
            </a:r>
            <a:r>
              <a:rPr lang="pt-BR" sz="700" dirty="0"/>
              <a:t>), MAVI (incluindo tromboembolismo), disfagia ou disfunção erétil.6  </a:t>
            </a:r>
            <a:r>
              <a:rPr lang="pt-BR" sz="700" dirty="0" err="1"/>
              <a:t>Hb</a:t>
            </a:r>
            <a:r>
              <a:rPr lang="pt-BR" sz="700" dirty="0"/>
              <a:t>, hemoglobina; LDH, lactato desidrogenase; MAVI, evento vascular adverso maior; NÃO, oxido nítrico; HPN, hemoglobinúria paroxística noite; LSN, limite superior do normal</a:t>
            </a:r>
          </a:p>
          <a:p>
            <a:pPr>
              <a:lnSpc>
                <a:spcPct val="100000"/>
              </a:lnSpc>
              <a:spcAft>
                <a:spcPts val="0"/>
              </a:spcAft>
            </a:pPr>
            <a:endParaRPr lang="pt-BR" sz="700" dirty="0"/>
          </a:p>
          <a:p>
            <a:pPr>
              <a:lnSpc>
                <a:spcPct val="100000"/>
              </a:lnSpc>
              <a:spcAft>
                <a:spcPts val="0"/>
              </a:spcAft>
            </a:pPr>
            <a:r>
              <a:rPr lang="pt-BR" sz="700" dirty="0"/>
              <a:t>1. Kelly R, Richards S, </a:t>
            </a:r>
            <a:r>
              <a:rPr lang="pt-BR" sz="700" dirty="0" err="1"/>
              <a:t>Hillmen</a:t>
            </a:r>
            <a:r>
              <a:rPr lang="pt-BR" sz="700" dirty="0"/>
              <a:t> P et al. The </a:t>
            </a:r>
            <a:r>
              <a:rPr lang="pt-BR" sz="700" dirty="0" err="1"/>
              <a:t>pathophysiology</a:t>
            </a:r>
            <a:r>
              <a:rPr lang="pt-BR" sz="700" dirty="0"/>
              <a:t> </a:t>
            </a:r>
            <a:r>
              <a:rPr lang="pt-BR" sz="700" dirty="0" err="1"/>
              <a:t>of</a:t>
            </a:r>
            <a:r>
              <a:rPr lang="pt-BR" sz="700" dirty="0"/>
              <a:t> </a:t>
            </a:r>
            <a:r>
              <a:rPr lang="pt-BR" sz="700" dirty="0" err="1"/>
              <a:t>paroxysmal</a:t>
            </a:r>
            <a:r>
              <a:rPr lang="pt-BR" sz="700" dirty="0"/>
              <a:t> </a:t>
            </a:r>
            <a:r>
              <a:rPr lang="pt-BR" sz="700" dirty="0" err="1"/>
              <a:t>nocturnal</a:t>
            </a:r>
            <a:r>
              <a:rPr lang="pt-BR" sz="700" dirty="0"/>
              <a:t> </a:t>
            </a:r>
            <a:r>
              <a:rPr lang="pt-BR" sz="700" dirty="0" err="1"/>
              <a:t>hemoglobinuria</a:t>
            </a:r>
            <a:r>
              <a:rPr lang="pt-BR" sz="700" dirty="0"/>
              <a:t> </a:t>
            </a:r>
            <a:r>
              <a:rPr lang="pt-BR" sz="700" dirty="0" err="1"/>
              <a:t>and</a:t>
            </a:r>
            <a:r>
              <a:rPr lang="pt-BR" sz="700" dirty="0"/>
              <a:t> </a:t>
            </a:r>
            <a:r>
              <a:rPr lang="pt-BR" sz="700" dirty="0" err="1"/>
              <a:t>treatment</a:t>
            </a:r>
            <a:r>
              <a:rPr lang="pt-BR" sz="700" dirty="0"/>
              <a:t> </a:t>
            </a:r>
            <a:r>
              <a:rPr lang="pt-BR" sz="700" dirty="0" err="1"/>
              <a:t>with</a:t>
            </a:r>
            <a:r>
              <a:rPr lang="pt-BR" sz="700" dirty="0"/>
              <a:t> </a:t>
            </a:r>
            <a:r>
              <a:rPr lang="pt-BR" sz="700" dirty="0" err="1"/>
              <a:t>eculizumab</a:t>
            </a:r>
            <a:r>
              <a:rPr lang="pt-BR" sz="700" dirty="0"/>
              <a:t>. </a:t>
            </a:r>
            <a:r>
              <a:rPr lang="pt-BR" sz="700" dirty="0" err="1"/>
              <a:t>Ther</a:t>
            </a:r>
            <a:r>
              <a:rPr lang="pt-BR" sz="700" dirty="0"/>
              <a:t> Clin Risk </a:t>
            </a:r>
            <a:r>
              <a:rPr lang="pt-BR" sz="700" dirty="0" err="1"/>
              <a:t>Manag</a:t>
            </a:r>
            <a:r>
              <a:rPr lang="pt-BR" sz="700" dirty="0"/>
              <a:t>. 2009;5:911-21.</a:t>
            </a:r>
          </a:p>
          <a:p>
            <a:pPr>
              <a:lnSpc>
                <a:spcPct val="100000"/>
              </a:lnSpc>
              <a:spcAft>
                <a:spcPts val="0"/>
              </a:spcAft>
            </a:pPr>
            <a:r>
              <a:rPr lang="pt-BR" sz="700" dirty="0"/>
              <a:t>2. Hill A, Kelly RJ, </a:t>
            </a:r>
            <a:r>
              <a:rPr lang="pt-BR" sz="700" dirty="0" err="1"/>
              <a:t>Hillmen</a:t>
            </a:r>
            <a:r>
              <a:rPr lang="pt-BR" sz="700" dirty="0"/>
              <a:t> P. </a:t>
            </a:r>
            <a:r>
              <a:rPr lang="pt-BR" sz="700" dirty="0" err="1"/>
              <a:t>Thrombosis</a:t>
            </a:r>
            <a:r>
              <a:rPr lang="pt-BR" sz="700" dirty="0"/>
              <a:t> in </a:t>
            </a:r>
            <a:r>
              <a:rPr lang="pt-BR" sz="700" dirty="0" err="1"/>
              <a:t>paroxysmal</a:t>
            </a:r>
            <a:r>
              <a:rPr lang="pt-BR" sz="700" dirty="0"/>
              <a:t> </a:t>
            </a:r>
            <a:r>
              <a:rPr lang="pt-BR" sz="700" dirty="0" err="1"/>
              <a:t>nocturnal</a:t>
            </a:r>
            <a:r>
              <a:rPr lang="pt-BR" sz="700" dirty="0"/>
              <a:t> </a:t>
            </a:r>
            <a:r>
              <a:rPr lang="pt-BR" sz="700" dirty="0" err="1"/>
              <a:t>hemoglobinuria</a:t>
            </a:r>
            <a:r>
              <a:rPr lang="pt-BR" sz="700" dirty="0"/>
              <a:t>. </a:t>
            </a:r>
            <a:r>
              <a:rPr lang="pt-BR" sz="700" dirty="0" err="1"/>
              <a:t>Blood</a:t>
            </a:r>
            <a:r>
              <a:rPr lang="pt-BR" sz="700" dirty="0"/>
              <a:t>. 2013 </a:t>
            </a:r>
            <a:r>
              <a:rPr lang="pt-BR" sz="700" dirty="0" err="1"/>
              <a:t>Jun</a:t>
            </a:r>
            <a:r>
              <a:rPr lang="pt-BR" sz="700" dirty="0"/>
              <a:t> 20;121(25):4985-96; quiz 5105.</a:t>
            </a:r>
          </a:p>
          <a:p>
            <a:pPr>
              <a:lnSpc>
                <a:spcPct val="100000"/>
              </a:lnSpc>
              <a:spcAft>
                <a:spcPts val="0"/>
              </a:spcAft>
            </a:pPr>
            <a:r>
              <a:rPr lang="pt-BR" sz="700" dirty="0"/>
              <a:t>3. </a:t>
            </a:r>
            <a:r>
              <a:rPr lang="pt-BR" sz="700" dirty="0" err="1"/>
              <a:t>Rother</a:t>
            </a:r>
            <a:r>
              <a:rPr lang="pt-BR" sz="700" dirty="0"/>
              <a:t> RP, Bell L, </a:t>
            </a:r>
            <a:r>
              <a:rPr lang="pt-BR" sz="700" dirty="0" err="1"/>
              <a:t>Hillmen</a:t>
            </a:r>
            <a:r>
              <a:rPr lang="pt-BR" sz="700" dirty="0"/>
              <a:t> P et al. The </a:t>
            </a:r>
            <a:r>
              <a:rPr lang="pt-BR" sz="700" dirty="0" err="1"/>
              <a:t>clinical</a:t>
            </a:r>
            <a:r>
              <a:rPr lang="pt-BR" sz="700" dirty="0"/>
              <a:t> </a:t>
            </a:r>
            <a:r>
              <a:rPr lang="pt-BR" sz="700" dirty="0" err="1"/>
              <a:t>sequelae</a:t>
            </a:r>
            <a:r>
              <a:rPr lang="pt-BR" sz="700" dirty="0"/>
              <a:t> </a:t>
            </a:r>
            <a:r>
              <a:rPr lang="pt-BR" sz="700" dirty="0" err="1"/>
              <a:t>of</a:t>
            </a:r>
            <a:r>
              <a:rPr lang="pt-BR" sz="700" dirty="0"/>
              <a:t> intravascular </a:t>
            </a:r>
            <a:r>
              <a:rPr lang="pt-BR" sz="700" dirty="0" err="1"/>
              <a:t>hemolysis</a:t>
            </a:r>
            <a:r>
              <a:rPr lang="pt-BR" sz="700" dirty="0"/>
              <a:t> </a:t>
            </a:r>
            <a:r>
              <a:rPr lang="pt-BR" sz="700" dirty="0" err="1"/>
              <a:t>and</a:t>
            </a:r>
            <a:r>
              <a:rPr lang="pt-BR" sz="700" dirty="0"/>
              <a:t> </a:t>
            </a:r>
            <a:r>
              <a:rPr lang="pt-BR" sz="700" dirty="0" err="1"/>
              <a:t>extracellular</a:t>
            </a:r>
            <a:r>
              <a:rPr lang="pt-BR" sz="700" dirty="0"/>
              <a:t> plasma </a:t>
            </a:r>
            <a:r>
              <a:rPr lang="pt-BR" sz="700" dirty="0" err="1"/>
              <a:t>hemoglobin</a:t>
            </a:r>
            <a:r>
              <a:rPr lang="pt-BR" sz="700" dirty="0"/>
              <a:t>: a novel </a:t>
            </a:r>
            <a:r>
              <a:rPr lang="pt-BR" sz="700" dirty="0" err="1"/>
              <a:t>mechanism</a:t>
            </a:r>
            <a:r>
              <a:rPr lang="pt-BR" sz="700" dirty="0"/>
              <a:t> </a:t>
            </a:r>
            <a:r>
              <a:rPr lang="pt-BR" sz="700" dirty="0" err="1"/>
              <a:t>of</a:t>
            </a:r>
            <a:r>
              <a:rPr lang="pt-BR" sz="700" dirty="0"/>
              <a:t> </a:t>
            </a:r>
            <a:r>
              <a:rPr lang="pt-BR" sz="700" dirty="0" err="1"/>
              <a:t>human</a:t>
            </a:r>
            <a:r>
              <a:rPr lang="pt-BR" sz="700" dirty="0"/>
              <a:t> </a:t>
            </a:r>
            <a:r>
              <a:rPr lang="pt-BR" sz="700" dirty="0" err="1"/>
              <a:t>disease</a:t>
            </a:r>
            <a:r>
              <a:rPr lang="pt-BR" sz="700" dirty="0"/>
              <a:t>. JAMA. 2005 </a:t>
            </a:r>
            <a:r>
              <a:rPr lang="pt-BR" sz="700" dirty="0" err="1"/>
              <a:t>Apr</a:t>
            </a:r>
            <a:r>
              <a:rPr lang="pt-BR" sz="700" dirty="0"/>
              <a:t> 6;293(13):1653-62.</a:t>
            </a:r>
          </a:p>
          <a:p>
            <a:pPr>
              <a:lnSpc>
                <a:spcPct val="100000"/>
              </a:lnSpc>
              <a:spcAft>
                <a:spcPts val="0"/>
              </a:spcAft>
            </a:pPr>
            <a:r>
              <a:rPr lang="pt-BR" sz="700" dirty="0"/>
              <a:t>4. Bessler M, </a:t>
            </a:r>
            <a:r>
              <a:rPr lang="pt-BR" sz="700" dirty="0" err="1"/>
              <a:t>Hiken</a:t>
            </a:r>
            <a:r>
              <a:rPr lang="pt-BR" sz="700" dirty="0"/>
              <a:t> J. The </a:t>
            </a:r>
            <a:r>
              <a:rPr lang="pt-BR" sz="700" dirty="0" err="1"/>
              <a:t>pathophysiology</a:t>
            </a:r>
            <a:r>
              <a:rPr lang="pt-BR" sz="700" dirty="0"/>
              <a:t> </a:t>
            </a:r>
            <a:r>
              <a:rPr lang="pt-BR" sz="700" dirty="0" err="1"/>
              <a:t>of</a:t>
            </a:r>
            <a:r>
              <a:rPr lang="pt-BR" sz="700" dirty="0"/>
              <a:t> </a:t>
            </a:r>
            <a:r>
              <a:rPr lang="pt-BR" sz="700" dirty="0" err="1"/>
              <a:t>disease</a:t>
            </a:r>
            <a:r>
              <a:rPr lang="pt-BR" sz="700" dirty="0"/>
              <a:t> in </a:t>
            </a:r>
            <a:r>
              <a:rPr lang="pt-BR" sz="700" dirty="0" err="1"/>
              <a:t>patients</a:t>
            </a:r>
            <a:r>
              <a:rPr lang="pt-BR" sz="700" dirty="0"/>
              <a:t> </a:t>
            </a:r>
            <a:r>
              <a:rPr lang="pt-BR" sz="700" dirty="0" err="1"/>
              <a:t>with</a:t>
            </a:r>
            <a:r>
              <a:rPr lang="pt-BR" sz="700" dirty="0"/>
              <a:t> </a:t>
            </a:r>
            <a:r>
              <a:rPr lang="pt-BR" sz="700" dirty="0" err="1"/>
              <a:t>paroxysmal</a:t>
            </a:r>
            <a:r>
              <a:rPr lang="pt-BR" sz="700" dirty="0"/>
              <a:t> </a:t>
            </a:r>
            <a:r>
              <a:rPr lang="pt-BR" sz="700" dirty="0" err="1"/>
              <a:t>nocturnal</a:t>
            </a:r>
            <a:r>
              <a:rPr lang="pt-BR" sz="700" dirty="0"/>
              <a:t> </a:t>
            </a:r>
            <a:r>
              <a:rPr lang="pt-BR" sz="700" dirty="0" err="1"/>
              <a:t>hemoglobinuria</a:t>
            </a:r>
            <a:r>
              <a:rPr lang="pt-BR" sz="700" dirty="0"/>
              <a:t>. </a:t>
            </a:r>
            <a:r>
              <a:rPr lang="pt-BR" sz="700" dirty="0" err="1"/>
              <a:t>Hematology</a:t>
            </a:r>
            <a:r>
              <a:rPr lang="pt-BR" sz="700" dirty="0"/>
              <a:t> Am </a:t>
            </a:r>
            <a:r>
              <a:rPr lang="pt-BR" sz="700" dirty="0" err="1"/>
              <a:t>Soc</a:t>
            </a:r>
            <a:r>
              <a:rPr lang="pt-BR" sz="700" dirty="0"/>
              <a:t> </a:t>
            </a:r>
            <a:r>
              <a:rPr lang="pt-BR" sz="700" dirty="0" err="1"/>
              <a:t>Hematol</a:t>
            </a:r>
            <a:r>
              <a:rPr lang="pt-BR" sz="700" dirty="0"/>
              <a:t> </a:t>
            </a:r>
            <a:r>
              <a:rPr lang="pt-BR" sz="700" dirty="0" err="1"/>
              <a:t>Educ</a:t>
            </a:r>
            <a:r>
              <a:rPr lang="pt-BR" sz="700" dirty="0"/>
              <a:t> </a:t>
            </a:r>
            <a:r>
              <a:rPr lang="pt-BR" sz="700" dirty="0" err="1"/>
              <a:t>Program</a:t>
            </a:r>
            <a:r>
              <a:rPr lang="pt-BR" sz="700" dirty="0"/>
              <a:t>. 2008:104-10.</a:t>
            </a:r>
          </a:p>
        </p:txBody>
      </p:sp>
      <p:sp>
        <p:nvSpPr>
          <p:cNvPr id="20" name="CaixaDeTexto 19">
            <a:extLst>
              <a:ext uri="{FF2B5EF4-FFF2-40B4-BE49-F238E27FC236}">
                <a16:creationId xmlns:a16="http://schemas.microsoft.com/office/drawing/2014/main" id="{8621F33B-7595-317B-5B66-116775800410}"/>
              </a:ext>
            </a:extLst>
          </p:cNvPr>
          <p:cNvSpPr txBox="1"/>
          <p:nvPr/>
        </p:nvSpPr>
        <p:spPr>
          <a:xfrm>
            <a:off x="296268" y="385036"/>
            <a:ext cx="11446825" cy="978729"/>
          </a:xfrm>
          <a:prstGeom prst="rect">
            <a:avLst/>
          </a:prstGeom>
          <a:noFill/>
        </p:spPr>
        <p:txBody>
          <a:bodyPr wrap="square" rtlCol="0">
            <a:spAutoFit/>
          </a:bodyPr>
          <a:lstStyle/>
          <a:p>
            <a:pPr lvl="0">
              <a:lnSpc>
                <a:spcPct val="80000"/>
              </a:lnSpc>
              <a:defRPr/>
            </a:pPr>
            <a:r>
              <a:rPr lang="pt-BR" sz="3600" b="1" dirty="0">
                <a:gradFill>
                  <a:gsLst>
                    <a:gs pos="0">
                      <a:schemeClr val="accent1"/>
                    </a:gs>
                    <a:gs pos="100000">
                      <a:schemeClr val="bg2"/>
                    </a:gs>
                  </a:gsLst>
                  <a:lin ang="2700000" scaled="0"/>
                </a:gradFill>
                <a:latin typeface="Calisto MT"/>
              </a:rPr>
              <a:t>Ativação do complemento terminal leva comorbidade progressiva e mortalidade precoce na HPN</a:t>
            </a:r>
            <a:r>
              <a:rPr lang="pt-BR" sz="3600" b="1" baseline="30000" dirty="0">
                <a:gradFill>
                  <a:gsLst>
                    <a:gs pos="0">
                      <a:schemeClr val="accent1"/>
                    </a:gs>
                    <a:gs pos="100000">
                      <a:schemeClr val="bg2"/>
                    </a:gs>
                  </a:gsLst>
                  <a:lin ang="2700000" scaled="0"/>
                </a:gradFill>
                <a:latin typeface="Calisto MT"/>
              </a:rPr>
              <a:t>1-5</a:t>
            </a:r>
          </a:p>
        </p:txBody>
      </p:sp>
      <p:grpSp>
        <p:nvGrpSpPr>
          <p:cNvPr id="109" name="Agrupar 108">
            <a:extLst>
              <a:ext uri="{FF2B5EF4-FFF2-40B4-BE49-F238E27FC236}">
                <a16:creationId xmlns:a16="http://schemas.microsoft.com/office/drawing/2014/main" id="{CB113F7F-14EC-CC54-BE3A-7FDD5C805DF6}"/>
              </a:ext>
            </a:extLst>
          </p:cNvPr>
          <p:cNvGrpSpPr/>
          <p:nvPr/>
        </p:nvGrpSpPr>
        <p:grpSpPr>
          <a:xfrm>
            <a:off x="463001" y="1774948"/>
            <a:ext cx="3411936" cy="3473479"/>
            <a:chOff x="463001" y="1774948"/>
            <a:chExt cx="3411936" cy="3473479"/>
          </a:xfrm>
        </p:grpSpPr>
        <p:sp>
          <p:nvSpPr>
            <p:cNvPr id="66" name="Retângulo 65">
              <a:extLst>
                <a:ext uri="{FF2B5EF4-FFF2-40B4-BE49-F238E27FC236}">
                  <a16:creationId xmlns:a16="http://schemas.microsoft.com/office/drawing/2014/main" id="{CE990313-B0B1-D556-064E-8F82A7084C33}"/>
                </a:ext>
              </a:extLst>
            </p:cNvPr>
            <p:cNvSpPr/>
            <p:nvPr/>
          </p:nvSpPr>
          <p:spPr>
            <a:xfrm>
              <a:off x="992061" y="4567520"/>
              <a:ext cx="2042375" cy="6809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67" name="Retângulo 66">
              <a:extLst>
                <a:ext uri="{FF2B5EF4-FFF2-40B4-BE49-F238E27FC236}">
                  <a16:creationId xmlns:a16="http://schemas.microsoft.com/office/drawing/2014/main" id="{247C64A3-5333-98BD-6F28-DD5414BE1582}"/>
                </a:ext>
              </a:extLst>
            </p:cNvPr>
            <p:cNvSpPr/>
            <p:nvPr/>
          </p:nvSpPr>
          <p:spPr>
            <a:xfrm>
              <a:off x="992061" y="3560062"/>
              <a:ext cx="2042375" cy="6809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68" name="Retângulo 67">
              <a:extLst>
                <a:ext uri="{FF2B5EF4-FFF2-40B4-BE49-F238E27FC236}">
                  <a16:creationId xmlns:a16="http://schemas.microsoft.com/office/drawing/2014/main" id="{ADD76C39-D905-6FD7-5D9E-009C01E8D824}"/>
                </a:ext>
              </a:extLst>
            </p:cNvPr>
            <p:cNvSpPr/>
            <p:nvPr/>
          </p:nvSpPr>
          <p:spPr>
            <a:xfrm>
              <a:off x="628565" y="2446872"/>
              <a:ext cx="1508593" cy="6809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pic>
          <p:nvPicPr>
            <p:cNvPr id="23" name="Graphic 10" descr="Refresh with solid fill">
              <a:extLst>
                <a:ext uri="{FF2B5EF4-FFF2-40B4-BE49-F238E27FC236}">
                  <a16:creationId xmlns:a16="http://schemas.microsoft.com/office/drawing/2014/main" id="{D139C795-DEAB-1433-2B2B-5FD120A4DE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4968" y="2661812"/>
              <a:ext cx="779468" cy="774316"/>
            </a:xfrm>
            <a:prstGeom prst="rect">
              <a:avLst/>
            </a:prstGeom>
          </p:spPr>
        </p:pic>
        <p:sp>
          <p:nvSpPr>
            <p:cNvPr id="30" name="Pentagon 206">
              <a:extLst>
                <a:ext uri="{FF2B5EF4-FFF2-40B4-BE49-F238E27FC236}">
                  <a16:creationId xmlns:a16="http://schemas.microsoft.com/office/drawing/2014/main" id="{B7C50AD6-8AFE-6E6F-3674-F22DC09520ED}"/>
                </a:ext>
              </a:extLst>
            </p:cNvPr>
            <p:cNvSpPr/>
            <p:nvPr/>
          </p:nvSpPr>
          <p:spPr>
            <a:xfrm>
              <a:off x="463001" y="1774948"/>
              <a:ext cx="3180727" cy="755698"/>
            </a:xfrm>
            <a:prstGeom prst="homePlate">
              <a:avLst/>
            </a:prstGeom>
            <a:noFill/>
            <a:ln w="6350" cap="flat" cmpd="sng" algn="ctr">
              <a:noFill/>
              <a:prstDash val="solid"/>
              <a:miter lim="800000"/>
            </a:ln>
            <a:effectLst/>
          </p:spPr>
          <p:txBody>
            <a:bodyPr rtlCol="0" anchor="t"/>
            <a:lstStyle/>
            <a:p>
              <a:pPr algn="ctr" defTabSz="457189">
                <a:defRPr/>
              </a:pPr>
              <a:r>
                <a:rPr lang="en-US" b="1" kern="0" dirty="0" err="1">
                  <a:solidFill>
                    <a:schemeClr val="bg2"/>
                  </a:solidFill>
                  <a:latin typeface="+mj-lt"/>
                  <a:ea typeface="ヒラギノ角ゴ Pro W3" panose="020B0300000000000000" pitchFamily="34" charset="-128"/>
                  <a:cs typeface="Arial"/>
                </a:rPr>
                <a:t>Ativação</a:t>
              </a:r>
              <a:r>
                <a:rPr lang="en-US" b="1" kern="0" dirty="0">
                  <a:solidFill>
                    <a:schemeClr val="bg2"/>
                  </a:solidFill>
                  <a:latin typeface="+mj-lt"/>
                  <a:ea typeface="ヒラギノ角ゴ Pro W3" panose="020B0300000000000000" pitchFamily="34" charset="-128"/>
                  <a:cs typeface="Arial"/>
                </a:rPr>
                <a:t> do </a:t>
              </a:r>
              <a:r>
                <a:rPr lang="en-US" b="1" kern="0" dirty="0" err="1">
                  <a:solidFill>
                    <a:schemeClr val="bg2"/>
                  </a:solidFill>
                  <a:latin typeface="+mj-lt"/>
                  <a:ea typeface="ヒラギノ角ゴ Pro W3" panose="020B0300000000000000" pitchFamily="34" charset="-128"/>
                  <a:cs typeface="Arial"/>
                </a:rPr>
                <a:t>complemento</a:t>
              </a:r>
              <a:r>
                <a:rPr lang="en-US" b="1" kern="0" dirty="0">
                  <a:solidFill>
                    <a:schemeClr val="bg2"/>
                  </a:solidFill>
                  <a:latin typeface="+mj-lt"/>
                  <a:ea typeface="ヒラギノ角ゴ Pro W3" panose="020B0300000000000000" pitchFamily="34" charset="-128"/>
                  <a:cs typeface="Arial"/>
                </a:rPr>
                <a:t> terminal</a:t>
              </a:r>
              <a:r>
                <a:rPr lang="en-US" b="1" kern="0" baseline="30000" dirty="0">
                  <a:solidFill>
                    <a:schemeClr val="bg2"/>
                  </a:solidFill>
                  <a:latin typeface="+mj-lt"/>
                  <a:ea typeface="ヒラギノ角ゴ Pro W3" panose="020B0300000000000000" pitchFamily="34" charset="-128"/>
                  <a:cs typeface="Arial"/>
                </a:rPr>
                <a:t>1,2</a:t>
              </a:r>
              <a:endParaRPr lang="en-US" b="1" kern="0" dirty="0">
                <a:solidFill>
                  <a:schemeClr val="bg2"/>
                </a:solidFill>
                <a:latin typeface="+mj-lt"/>
                <a:ea typeface="ヒラギノ角ゴ Pro W3" panose="020B0300000000000000" pitchFamily="34" charset="-128"/>
                <a:cs typeface="Arial"/>
              </a:endParaRPr>
            </a:p>
          </p:txBody>
        </p:sp>
        <p:sp>
          <p:nvSpPr>
            <p:cNvPr id="56" name="TextBox 210">
              <a:extLst>
                <a:ext uri="{FF2B5EF4-FFF2-40B4-BE49-F238E27FC236}">
                  <a16:creationId xmlns:a16="http://schemas.microsoft.com/office/drawing/2014/main" id="{2F7AF4FF-7CC1-E28E-90AA-ABD4E6D07AF5}"/>
                </a:ext>
              </a:extLst>
            </p:cNvPr>
            <p:cNvSpPr txBox="1"/>
            <p:nvPr/>
          </p:nvSpPr>
          <p:spPr>
            <a:xfrm>
              <a:off x="992061" y="3576785"/>
              <a:ext cx="1983534" cy="646331"/>
            </a:xfrm>
            <a:prstGeom prst="rect">
              <a:avLst/>
            </a:prstGeom>
            <a:noFill/>
            <a:effectLst/>
          </p:spPr>
          <p:txBody>
            <a:bodyPr wrap="square" rtlCol="0" anchor="ctr">
              <a:spAutoFit/>
            </a:bodyPr>
            <a:lstStyle/>
            <a:p>
              <a:pPr algn="ctr" defTabSz="914377">
                <a:defRPr/>
              </a:pPr>
              <a:r>
                <a:rPr lang="en-US" sz="1200" b="1" kern="0" dirty="0">
                  <a:solidFill>
                    <a:srgbClr val="F3F4F3"/>
                  </a:solidFill>
                  <a:ea typeface="ヒラギノ角ゴ Pro W3" panose="020B0300000000000000" pitchFamily="34" charset="-128"/>
                  <a:cs typeface="Arial"/>
                </a:rPr>
                <a:t>C5b-9</a:t>
              </a:r>
              <a:br>
                <a:rPr lang="en-US" sz="1200" b="1" kern="0" dirty="0">
                  <a:solidFill>
                    <a:srgbClr val="F3F4F3"/>
                  </a:solidFill>
                  <a:ea typeface="ヒラギノ角ゴ Pro W3" panose="020B0300000000000000" pitchFamily="34" charset="-128"/>
                  <a:cs typeface="Arial"/>
                </a:rPr>
              </a:br>
              <a:r>
                <a:rPr lang="en-US" sz="1200" b="1" kern="0" dirty="0" err="1">
                  <a:solidFill>
                    <a:srgbClr val="F3F4F3"/>
                  </a:solidFill>
                  <a:ea typeface="ヒラギノ角ゴ Pro W3" panose="020B0300000000000000" pitchFamily="34" charset="-128"/>
                  <a:cs typeface="Arial"/>
                </a:rPr>
                <a:t>Complexo</a:t>
              </a:r>
              <a:r>
                <a:rPr lang="en-US" sz="1200" b="1" kern="0" dirty="0">
                  <a:solidFill>
                    <a:srgbClr val="F3F4F3"/>
                  </a:solidFill>
                  <a:ea typeface="ヒラギノ角ゴ Pro W3" panose="020B0300000000000000" pitchFamily="34" charset="-128"/>
                  <a:cs typeface="Arial"/>
                </a:rPr>
                <a:t> de </a:t>
              </a:r>
              <a:r>
                <a:rPr lang="en-US" sz="1200" b="1" kern="0" dirty="0" err="1">
                  <a:solidFill>
                    <a:srgbClr val="F3F4F3"/>
                  </a:solidFill>
                  <a:ea typeface="ヒラギノ角ゴ Pro W3" panose="020B0300000000000000" pitchFamily="34" charset="-128"/>
                  <a:cs typeface="Arial"/>
                </a:rPr>
                <a:t>ataque</a:t>
              </a:r>
              <a:r>
                <a:rPr lang="en-US" sz="1200" b="1" kern="0" dirty="0">
                  <a:solidFill>
                    <a:srgbClr val="F3F4F3"/>
                  </a:solidFill>
                  <a:ea typeface="ヒラギノ角ゴ Pro W3" panose="020B0300000000000000" pitchFamily="34" charset="-128"/>
                  <a:cs typeface="Arial"/>
                </a:rPr>
                <a:t> à membrana</a:t>
              </a:r>
            </a:p>
          </p:txBody>
        </p:sp>
        <p:sp>
          <p:nvSpPr>
            <p:cNvPr id="61" name="TextBox 222">
              <a:extLst>
                <a:ext uri="{FF2B5EF4-FFF2-40B4-BE49-F238E27FC236}">
                  <a16:creationId xmlns:a16="http://schemas.microsoft.com/office/drawing/2014/main" id="{F3990C5D-8650-5207-C8FE-DF13854EF20F}"/>
                </a:ext>
              </a:extLst>
            </p:cNvPr>
            <p:cNvSpPr txBox="1"/>
            <p:nvPr/>
          </p:nvSpPr>
          <p:spPr>
            <a:xfrm>
              <a:off x="631803" y="2530110"/>
              <a:ext cx="1505355" cy="461665"/>
            </a:xfrm>
            <a:prstGeom prst="rect">
              <a:avLst/>
            </a:prstGeom>
            <a:noFill/>
          </p:spPr>
          <p:txBody>
            <a:bodyPr wrap="square" rtlCol="0" anchor="ctr">
              <a:spAutoFit/>
            </a:bodyPr>
            <a:lstStyle/>
            <a:p>
              <a:pPr algn="ctr" defTabSz="457189">
                <a:defRPr/>
              </a:pPr>
              <a:r>
                <a:rPr lang="en-GB" sz="1200" b="1" kern="0" dirty="0" err="1">
                  <a:solidFill>
                    <a:srgbClr val="F3F4F3"/>
                  </a:solidFill>
                  <a:ea typeface="ヒラギノ角ゴ Pro W3" panose="020B0300000000000000" pitchFamily="34" charset="-128"/>
                  <a:cs typeface="Arial"/>
                </a:rPr>
                <a:t>Ativação</a:t>
              </a:r>
              <a:r>
                <a:rPr lang="en-GB" sz="1200" b="1" kern="0" dirty="0">
                  <a:solidFill>
                    <a:srgbClr val="F3F4F3"/>
                  </a:solidFill>
                  <a:ea typeface="ヒラギノ角ゴ Pro W3" panose="020B0300000000000000" pitchFamily="34" charset="-128"/>
                  <a:cs typeface="Arial"/>
                </a:rPr>
                <a:t> do </a:t>
              </a:r>
              <a:r>
                <a:rPr lang="en-GB" sz="1200" b="1" kern="0" dirty="0" err="1">
                  <a:solidFill>
                    <a:srgbClr val="F3F4F3"/>
                  </a:solidFill>
                  <a:ea typeface="ヒラギノ角ゴ Pro W3" panose="020B0300000000000000" pitchFamily="34" charset="-128"/>
                  <a:cs typeface="Arial"/>
                </a:rPr>
                <a:t>complemento</a:t>
              </a:r>
              <a:endParaRPr lang="en-GB" sz="1200" b="1" kern="0" dirty="0">
                <a:solidFill>
                  <a:srgbClr val="F3F4F3"/>
                </a:solidFill>
                <a:ea typeface="ヒラギノ角ゴ Pro W3" panose="020B0300000000000000" pitchFamily="34" charset="-128"/>
                <a:cs typeface="Arial"/>
              </a:endParaRPr>
            </a:p>
          </p:txBody>
        </p:sp>
        <p:sp>
          <p:nvSpPr>
            <p:cNvPr id="62" name="TextBox 209">
              <a:extLst>
                <a:ext uri="{FF2B5EF4-FFF2-40B4-BE49-F238E27FC236}">
                  <a16:creationId xmlns:a16="http://schemas.microsoft.com/office/drawing/2014/main" id="{5725CD95-20B0-6C12-2C2D-DE30E8C6A8B9}"/>
                </a:ext>
              </a:extLst>
            </p:cNvPr>
            <p:cNvSpPr txBox="1"/>
            <p:nvPr/>
          </p:nvSpPr>
          <p:spPr>
            <a:xfrm>
              <a:off x="992062" y="4595324"/>
              <a:ext cx="1983534" cy="646331"/>
            </a:xfrm>
            <a:prstGeom prst="rect">
              <a:avLst/>
            </a:prstGeom>
            <a:noFill/>
            <a:effectLst/>
          </p:spPr>
          <p:txBody>
            <a:bodyPr wrap="square" rtlCol="0" anchor="ctr">
              <a:spAutoFit/>
            </a:bodyPr>
            <a:lstStyle/>
            <a:p>
              <a:pPr algn="ctr" defTabSz="914377">
                <a:defRPr/>
              </a:pPr>
              <a:r>
                <a:rPr lang="en-US" sz="1200" b="1" kern="0">
                  <a:solidFill>
                    <a:srgbClr val="F3F4F3"/>
                  </a:solidFill>
                  <a:ea typeface="ヒラギノ角ゴ Pro W3" panose="020B0300000000000000" pitchFamily="34" charset="-128"/>
                  <a:cs typeface="Arial"/>
                </a:rPr>
                <a:t>C5a</a:t>
              </a:r>
              <a:br>
                <a:rPr lang="en-US" sz="1200" b="1" kern="0">
                  <a:solidFill>
                    <a:srgbClr val="F3F4F3"/>
                  </a:solidFill>
                  <a:ea typeface="ヒラギノ角ゴ Pro W3" panose="020B0300000000000000" pitchFamily="34" charset="-128"/>
                  <a:cs typeface="Arial"/>
                </a:rPr>
              </a:br>
              <a:r>
                <a:rPr lang="en-US" sz="1200" b="1" kern="0">
                  <a:solidFill>
                    <a:srgbClr val="F3F4F3"/>
                  </a:solidFill>
                  <a:ea typeface="ヒラギノ角ゴ Pro W3" panose="020B0300000000000000" pitchFamily="34" charset="-128"/>
                  <a:cs typeface="Arial"/>
                </a:rPr>
                <a:t>Potente proinflamatório</a:t>
              </a:r>
              <a:br>
                <a:rPr lang="en-US" sz="1200" b="1" kern="0">
                  <a:solidFill>
                    <a:srgbClr val="F3F4F3"/>
                  </a:solidFill>
                  <a:ea typeface="ヒラギノ角ゴ Pro W3" panose="020B0300000000000000" pitchFamily="34" charset="-128"/>
                  <a:cs typeface="Arial"/>
                </a:rPr>
              </a:br>
              <a:r>
                <a:rPr lang="en-US" sz="1200" b="1" kern="0">
                  <a:solidFill>
                    <a:srgbClr val="F3F4F3"/>
                  </a:solidFill>
                  <a:ea typeface="ヒラギノ角ゴ Pro W3" panose="020B0300000000000000" pitchFamily="34" charset="-128"/>
                  <a:cs typeface="Arial"/>
                </a:rPr>
                <a:t> anafilatoxina</a:t>
              </a:r>
            </a:p>
          </p:txBody>
        </p:sp>
        <p:sp>
          <p:nvSpPr>
            <p:cNvPr id="80" name="Forma Livre: Forma 79">
              <a:extLst>
                <a:ext uri="{FF2B5EF4-FFF2-40B4-BE49-F238E27FC236}">
                  <a16:creationId xmlns:a16="http://schemas.microsoft.com/office/drawing/2014/main" id="{DD05D410-2BE7-B222-AD3A-C4ECB3B44C6F}"/>
                </a:ext>
              </a:extLst>
            </p:cNvPr>
            <p:cNvSpPr/>
            <p:nvPr/>
          </p:nvSpPr>
          <p:spPr>
            <a:xfrm>
              <a:off x="691578" y="3119219"/>
              <a:ext cx="275421" cy="1773716"/>
            </a:xfrm>
            <a:custGeom>
              <a:avLst/>
              <a:gdLst>
                <a:gd name="connsiteX0" fmla="*/ 0 w 275421"/>
                <a:gd name="connsiteY0" fmla="*/ 0 h 1773716"/>
                <a:gd name="connsiteX1" fmla="*/ 0 w 275421"/>
                <a:gd name="connsiteY1" fmla="*/ 1773716 h 1773716"/>
                <a:gd name="connsiteX2" fmla="*/ 275421 w 275421"/>
                <a:gd name="connsiteY2" fmla="*/ 1773716 h 1773716"/>
              </a:gdLst>
              <a:ahLst/>
              <a:cxnLst>
                <a:cxn ang="0">
                  <a:pos x="connsiteX0" y="connsiteY0"/>
                </a:cxn>
                <a:cxn ang="0">
                  <a:pos x="connsiteX1" y="connsiteY1"/>
                </a:cxn>
                <a:cxn ang="0">
                  <a:pos x="connsiteX2" y="connsiteY2"/>
                </a:cxn>
              </a:cxnLst>
              <a:rect l="l" t="t" r="r" b="b"/>
              <a:pathLst>
                <a:path w="275421" h="1773716">
                  <a:moveTo>
                    <a:pt x="0" y="0"/>
                  </a:moveTo>
                  <a:lnTo>
                    <a:pt x="0" y="1773716"/>
                  </a:lnTo>
                  <a:lnTo>
                    <a:pt x="275421" y="1773716"/>
                  </a:lnTo>
                </a:path>
              </a:pathLst>
            </a:custGeom>
            <a:noFill/>
            <a:ln>
              <a:solidFill>
                <a:schemeClr val="bg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82" name="Conector de Seta Reta 81">
              <a:extLst>
                <a:ext uri="{FF2B5EF4-FFF2-40B4-BE49-F238E27FC236}">
                  <a16:creationId xmlns:a16="http://schemas.microsoft.com/office/drawing/2014/main" id="{54F63F89-FE5C-A4E3-4B20-7D1877A98198}"/>
                </a:ext>
              </a:extLst>
            </p:cNvPr>
            <p:cNvCxnSpPr>
              <a:cxnSpLocks/>
            </p:cNvCxnSpPr>
            <p:nvPr/>
          </p:nvCxnSpPr>
          <p:spPr>
            <a:xfrm>
              <a:off x="691578" y="3884256"/>
              <a:ext cx="275421" cy="0"/>
            </a:xfrm>
            <a:prstGeom prst="straightConnector1">
              <a:avLst/>
            </a:prstGeom>
            <a:ln w="1270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4" name="Forma Livre: Forma 83">
              <a:extLst>
                <a:ext uri="{FF2B5EF4-FFF2-40B4-BE49-F238E27FC236}">
                  <a16:creationId xmlns:a16="http://schemas.microsoft.com/office/drawing/2014/main" id="{70166245-36FB-C408-3A15-45F8E882585D}"/>
                </a:ext>
              </a:extLst>
            </p:cNvPr>
            <p:cNvSpPr/>
            <p:nvPr/>
          </p:nvSpPr>
          <p:spPr>
            <a:xfrm>
              <a:off x="3038170" y="2601427"/>
              <a:ext cx="804232" cy="1182204"/>
            </a:xfrm>
            <a:custGeom>
              <a:avLst/>
              <a:gdLst>
                <a:gd name="connsiteX0" fmla="*/ 0 w 804232"/>
                <a:gd name="connsiteY0" fmla="*/ 1299990 h 1299990"/>
                <a:gd name="connsiteX1" fmla="*/ 407625 w 804232"/>
                <a:gd name="connsiteY1" fmla="*/ 1299990 h 1299990"/>
                <a:gd name="connsiteX2" fmla="*/ 407625 w 804232"/>
                <a:gd name="connsiteY2" fmla="*/ 0 h 1299990"/>
                <a:gd name="connsiteX3" fmla="*/ 804232 w 804232"/>
                <a:gd name="connsiteY3" fmla="*/ 0 h 1299990"/>
              </a:gdLst>
              <a:ahLst/>
              <a:cxnLst>
                <a:cxn ang="0">
                  <a:pos x="connsiteX0" y="connsiteY0"/>
                </a:cxn>
                <a:cxn ang="0">
                  <a:pos x="connsiteX1" y="connsiteY1"/>
                </a:cxn>
                <a:cxn ang="0">
                  <a:pos x="connsiteX2" y="connsiteY2"/>
                </a:cxn>
                <a:cxn ang="0">
                  <a:pos x="connsiteX3" y="connsiteY3"/>
                </a:cxn>
              </a:cxnLst>
              <a:rect l="l" t="t" r="r" b="b"/>
              <a:pathLst>
                <a:path w="804232" h="1299990">
                  <a:moveTo>
                    <a:pt x="0" y="1299990"/>
                  </a:moveTo>
                  <a:lnTo>
                    <a:pt x="407625" y="1299990"/>
                  </a:lnTo>
                  <a:lnTo>
                    <a:pt x="407625" y="0"/>
                  </a:lnTo>
                  <a:lnTo>
                    <a:pt x="804232" y="0"/>
                  </a:lnTo>
                </a:path>
              </a:pathLst>
            </a:custGeom>
            <a:noFill/>
            <a:ln>
              <a:solidFill>
                <a:schemeClr val="bg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6" name="Forma Livre: Forma 85">
              <a:extLst>
                <a:ext uri="{FF2B5EF4-FFF2-40B4-BE49-F238E27FC236}">
                  <a16:creationId xmlns:a16="http://schemas.microsoft.com/office/drawing/2014/main" id="{3B672AAD-C061-62E6-22FC-5D39AB4C66B4}"/>
                </a:ext>
              </a:extLst>
            </p:cNvPr>
            <p:cNvSpPr/>
            <p:nvPr/>
          </p:nvSpPr>
          <p:spPr>
            <a:xfrm>
              <a:off x="3027154" y="3978535"/>
              <a:ext cx="440674" cy="969484"/>
            </a:xfrm>
            <a:custGeom>
              <a:avLst/>
              <a:gdLst>
                <a:gd name="connsiteX0" fmla="*/ 0 w 440674"/>
                <a:gd name="connsiteY0" fmla="*/ 0 h 969484"/>
                <a:gd name="connsiteX1" fmla="*/ 440674 w 440674"/>
                <a:gd name="connsiteY1" fmla="*/ 0 h 969484"/>
                <a:gd name="connsiteX2" fmla="*/ 440674 w 440674"/>
                <a:gd name="connsiteY2" fmla="*/ 969484 h 969484"/>
                <a:gd name="connsiteX3" fmla="*/ 0 w 440674"/>
                <a:gd name="connsiteY3" fmla="*/ 969484 h 969484"/>
              </a:gdLst>
              <a:ahLst/>
              <a:cxnLst>
                <a:cxn ang="0">
                  <a:pos x="connsiteX0" y="connsiteY0"/>
                </a:cxn>
                <a:cxn ang="0">
                  <a:pos x="connsiteX1" y="connsiteY1"/>
                </a:cxn>
                <a:cxn ang="0">
                  <a:pos x="connsiteX2" y="connsiteY2"/>
                </a:cxn>
                <a:cxn ang="0">
                  <a:pos x="connsiteX3" y="connsiteY3"/>
                </a:cxn>
              </a:cxnLst>
              <a:rect l="l" t="t" r="r" b="b"/>
              <a:pathLst>
                <a:path w="440674" h="969484">
                  <a:moveTo>
                    <a:pt x="0" y="0"/>
                  </a:moveTo>
                  <a:lnTo>
                    <a:pt x="440674" y="0"/>
                  </a:lnTo>
                  <a:lnTo>
                    <a:pt x="440674" y="969484"/>
                  </a:lnTo>
                  <a:lnTo>
                    <a:pt x="0" y="969484"/>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87" name="Conector de Seta Reta 86">
              <a:extLst>
                <a:ext uri="{FF2B5EF4-FFF2-40B4-BE49-F238E27FC236}">
                  <a16:creationId xmlns:a16="http://schemas.microsoft.com/office/drawing/2014/main" id="{646EA258-BFAA-A8CE-1F5D-D56D54E0C711}"/>
                </a:ext>
              </a:extLst>
            </p:cNvPr>
            <p:cNvCxnSpPr>
              <a:cxnSpLocks/>
            </p:cNvCxnSpPr>
            <p:nvPr/>
          </p:nvCxnSpPr>
          <p:spPr>
            <a:xfrm>
              <a:off x="3467828" y="4459555"/>
              <a:ext cx="407109" cy="0"/>
            </a:xfrm>
            <a:prstGeom prst="straightConnector1">
              <a:avLst/>
            </a:prstGeom>
            <a:ln w="1270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10" name="Agrupar 109">
            <a:extLst>
              <a:ext uri="{FF2B5EF4-FFF2-40B4-BE49-F238E27FC236}">
                <a16:creationId xmlns:a16="http://schemas.microsoft.com/office/drawing/2014/main" id="{9706A272-90F6-FC68-3F73-76FD4AD59AD9}"/>
              </a:ext>
            </a:extLst>
          </p:cNvPr>
          <p:cNvGrpSpPr/>
          <p:nvPr/>
        </p:nvGrpSpPr>
        <p:grpSpPr>
          <a:xfrm>
            <a:off x="3639327" y="1786372"/>
            <a:ext cx="4577458" cy="3464412"/>
            <a:chOff x="3639327" y="1786372"/>
            <a:chExt cx="4577458" cy="3464412"/>
          </a:xfrm>
        </p:grpSpPr>
        <p:cxnSp>
          <p:nvCxnSpPr>
            <p:cNvPr id="96" name="Conector de Seta Reta 95">
              <a:extLst>
                <a:ext uri="{FF2B5EF4-FFF2-40B4-BE49-F238E27FC236}">
                  <a16:creationId xmlns:a16="http://schemas.microsoft.com/office/drawing/2014/main" id="{7760846F-44A8-9C78-9B3B-C391BA32901B}"/>
                </a:ext>
              </a:extLst>
            </p:cNvPr>
            <p:cNvCxnSpPr>
              <a:cxnSpLocks/>
            </p:cNvCxnSpPr>
            <p:nvPr/>
          </p:nvCxnSpPr>
          <p:spPr>
            <a:xfrm>
              <a:off x="4877988" y="4100943"/>
              <a:ext cx="407109" cy="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Conector de Seta Reta 96">
              <a:extLst>
                <a:ext uri="{FF2B5EF4-FFF2-40B4-BE49-F238E27FC236}">
                  <a16:creationId xmlns:a16="http://schemas.microsoft.com/office/drawing/2014/main" id="{D6F46536-0F20-E08A-EC92-DAB65C210B4A}"/>
                </a:ext>
              </a:extLst>
            </p:cNvPr>
            <p:cNvCxnSpPr>
              <a:cxnSpLocks/>
            </p:cNvCxnSpPr>
            <p:nvPr/>
          </p:nvCxnSpPr>
          <p:spPr>
            <a:xfrm>
              <a:off x="4877988" y="4916191"/>
              <a:ext cx="407109" cy="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3" name="Conector reto 92">
              <a:extLst>
                <a:ext uri="{FF2B5EF4-FFF2-40B4-BE49-F238E27FC236}">
                  <a16:creationId xmlns:a16="http://schemas.microsoft.com/office/drawing/2014/main" id="{831850FF-DDDF-1FC4-BC29-C3CA0D35B43A}"/>
                </a:ext>
              </a:extLst>
            </p:cNvPr>
            <p:cNvCxnSpPr/>
            <p:nvPr/>
          </p:nvCxnSpPr>
          <p:spPr>
            <a:xfrm>
              <a:off x="5160470" y="2974843"/>
              <a:ext cx="7677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Conector reto 94">
              <a:extLst>
                <a:ext uri="{FF2B5EF4-FFF2-40B4-BE49-F238E27FC236}">
                  <a16:creationId xmlns:a16="http://schemas.microsoft.com/office/drawing/2014/main" id="{4B7936C7-B8C4-F999-A7BD-FB3CA0CA7A39}"/>
                </a:ext>
              </a:extLst>
            </p:cNvPr>
            <p:cNvCxnSpPr/>
            <p:nvPr/>
          </p:nvCxnSpPr>
          <p:spPr>
            <a:xfrm>
              <a:off x="5479445" y="2611287"/>
              <a:ext cx="0" cy="3635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9" name="Retângulo 68">
              <a:extLst>
                <a:ext uri="{FF2B5EF4-FFF2-40B4-BE49-F238E27FC236}">
                  <a16:creationId xmlns:a16="http://schemas.microsoft.com/office/drawing/2014/main" id="{3E943DF0-816D-7828-943E-32A7E9D1FD65}"/>
                </a:ext>
              </a:extLst>
            </p:cNvPr>
            <p:cNvSpPr/>
            <p:nvPr/>
          </p:nvSpPr>
          <p:spPr>
            <a:xfrm>
              <a:off x="3874937" y="2446872"/>
              <a:ext cx="3237342" cy="282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20000"/>
            </a:bodyPr>
            <a:lstStyle/>
            <a:p>
              <a:pPr algn="ctr">
                <a:spcAft>
                  <a:spcPts val="600"/>
                </a:spcAft>
              </a:pPr>
              <a:endParaRPr lang="pt-BR" dirty="0" err="1"/>
            </a:p>
          </p:txBody>
        </p:sp>
        <p:sp>
          <p:nvSpPr>
            <p:cNvPr id="70" name="Retângulo 69">
              <a:extLst>
                <a:ext uri="{FF2B5EF4-FFF2-40B4-BE49-F238E27FC236}">
                  <a16:creationId xmlns:a16="http://schemas.microsoft.com/office/drawing/2014/main" id="{00AC042D-6474-5F13-BF73-9B8CD31196C6}"/>
                </a:ext>
              </a:extLst>
            </p:cNvPr>
            <p:cNvSpPr/>
            <p:nvPr/>
          </p:nvSpPr>
          <p:spPr>
            <a:xfrm>
              <a:off x="3874937" y="2832403"/>
              <a:ext cx="1505355" cy="282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20000"/>
            </a:bodyPr>
            <a:lstStyle/>
            <a:p>
              <a:pPr algn="ctr">
                <a:spcAft>
                  <a:spcPts val="600"/>
                </a:spcAft>
              </a:pPr>
              <a:endParaRPr lang="pt-BR" dirty="0" err="1"/>
            </a:p>
          </p:txBody>
        </p:sp>
        <p:sp>
          <p:nvSpPr>
            <p:cNvPr id="71" name="Retângulo 70">
              <a:extLst>
                <a:ext uri="{FF2B5EF4-FFF2-40B4-BE49-F238E27FC236}">
                  <a16:creationId xmlns:a16="http://schemas.microsoft.com/office/drawing/2014/main" id="{292B466B-9F3E-F13F-35D9-E90DC4F03D80}"/>
                </a:ext>
              </a:extLst>
            </p:cNvPr>
            <p:cNvSpPr/>
            <p:nvPr/>
          </p:nvSpPr>
          <p:spPr>
            <a:xfrm>
              <a:off x="5607818" y="2832403"/>
              <a:ext cx="1505355" cy="282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20000"/>
            </a:bodyPr>
            <a:lstStyle/>
            <a:p>
              <a:pPr algn="ctr">
                <a:spcAft>
                  <a:spcPts val="600"/>
                </a:spcAft>
              </a:pPr>
              <a:endParaRPr lang="pt-BR" dirty="0" err="1"/>
            </a:p>
          </p:txBody>
        </p:sp>
        <p:sp>
          <p:nvSpPr>
            <p:cNvPr id="72" name="Retângulo 71">
              <a:extLst>
                <a:ext uri="{FF2B5EF4-FFF2-40B4-BE49-F238E27FC236}">
                  <a16:creationId xmlns:a16="http://schemas.microsoft.com/office/drawing/2014/main" id="{0BB82D82-4B55-E783-AB80-D123D4D89032}"/>
                </a:ext>
              </a:extLst>
            </p:cNvPr>
            <p:cNvSpPr/>
            <p:nvPr/>
          </p:nvSpPr>
          <p:spPr>
            <a:xfrm>
              <a:off x="3874937" y="3252609"/>
              <a:ext cx="3237342" cy="485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73" name="Retângulo 72">
              <a:extLst>
                <a:ext uri="{FF2B5EF4-FFF2-40B4-BE49-F238E27FC236}">
                  <a16:creationId xmlns:a16="http://schemas.microsoft.com/office/drawing/2014/main" id="{1146FC06-DD91-F429-D6B6-10067A96348C}"/>
                </a:ext>
              </a:extLst>
            </p:cNvPr>
            <p:cNvSpPr/>
            <p:nvPr/>
          </p:nvSpPr>
          <p:spPr>
            <a:xfrm>
              <a:off x="5299590" y="3901742"/>
              <a:ext cx="1813583" cy="392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74" name="Retângulo 73">
              <a:extLst>
                <a:ext uri="{FF2B5EF4-FFF2-40B4-BE49-F238E27FC236}">
                  <a16:creationId xmlns:a16="http://schemas.microsoft.com/office/drawing/2014/main" id="{ADB5D2E2-2E84-C01C-68EE-FBC856BD8AAB}"/>
                </a:ext>
              </a:extLst>
            </p:cNvPr>
            <p:cNvSpPr/>
            <p:nvPr/>
          </p:nvSpPr>
          <p:spPr>
            <a:xfrm>
              <a:off x="5299590" y="4525657"/>
              <a:ext cx="1813583" cy="712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75" name="Retângulo 74">
              <a:extLst>
                <a:ext uri="{FF2B5EF4-FFF2-40B4-BE49-F238E27FC236}">
                  <a16:creationId xmlns:a16="http://schemas.microsoft.com/office/drawing/2014/main" id="{D9BE3D41-1A17-8D83-0EF5-C278160E9D65}"/>
                </a:ext>
              </a:extLst>
            </p:cNvPr>
            <p:cNvSpPr/>
            <p:nvPr/>
          </p:nvSpPr>
          <p:spPr>
            <a:xfrm>
              <a:off x="3897764" y="3901743"/>
              <a:ext cx="1051310" cy="1336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46" name="TextBox 220">
              <a:extLst>
                <a:ext uri="{FF2B5EF4-FFF2-40B4-BE49-F238E27FC236}">
                  <a16:creationId xmlns:a16="http://schemas.microsoft.com/office/drawing/2014/main" id="{06E82EEF-1B4D-D95A-5AE4-7C8B42CD5238}"/>
                </a:ext>
              </a:extLst>
            </p:cNvPr>
            <p:cNvSpPr txBox="1"/>
            <p:nvPr/>
          </p:nvSpPr>
          <p:spPr>
            <a:xfrm>
              <a:off x="3875833" y="2453302"/>
              <a:ext cx="3237342" cy="276999"/>
            </a:xfrm>
            <a:prstGeom prst="rect">
              <a:avLst/>
            </a:prstGeom>
            <a:noFill/>
            <a:ln>
              <a:noFill/>
            </a:ln>
          </p:spPr>
          <p:txBody>
            <a:bodyPr wrap="square" rtlCol="0" anchor="ctr">
              <a:spAutoFit/>
            </a:bodyPr>
            <a:lstStyle/>
            <a:p>
              <a:pPr algn="ctr" defTabSz="457189">
                <a:defRPr/>
              </a:pPr>
              <a:r>
                <a:rPr lang="en-GB" sz="1200" b="1" kern="0">
                  <a:solidFill>
                    <a:srgbClr val="F3F4F3"/>
                  </a:solidFill>
                  <a:ea typeface="ヒラギノ角ゴ Pro W3" panose="020B0300000000000000" pitchFamily="34" charset="-128"/>
                  <a:cs typeface="Arial"/>
                </a:rPr>
                <a:t>Hemólise intravascular</a:t>
              </a:r>
            </a:p>
          </p:txBody>
        </p:sp>
        <p:sp>
          <p:nvSpPr>
            <p:cNvPr id="47" name="TextBox 225">
              <a:extLst>
                <a:ext uri="{FF2B5EF4-FFF2-40B4-BE49-F238E27FC236}">
                  <a16:creationId xmlns:a16="http://schemas.microsoft.com/office/drawing/2014/main" id="{85EA53EC-6C20-46ED-4A72-8DEA7793E22F}"/>
                </a:ext>
              </a:extLst>
            </p:cNvPr>
            <p:cNvSpPr txBox="1"/>
            <p:nvPr/>
          </p:nvSpPr>
          <p:spPr>
            <a:xfrm>
              <a:off x="3875833" y="3261258"/>
              <a:ext cx="3237342" cy="461665"/>
            </a:xfrm>
            <a:prstGeom prst="rect">
              <a:avLst/>
            </a:prstGeom>
            <a:noFill/>
          </p:spPr>
          <p:txBody>
            <a:bodyPr wrap="square" rtlCol="0" anchor="ctr" anchorCtr="1">
              <a:spAutoFit/>
            </a:bodyPr>
            <a:lstStyle/>
            <a:p>
              <a:pPr algn="ctr" defTabSz="457189">
                <a:defRPr/>
              </a:pPr>
              <a:r>
                <a:rPr lang="en-GB" sz="1200" b="1" kern="0">
                  <a:solidFill>
                    <a:srgbClr val="F3F4F3"/>
                  </a:solidFill>
                  <a:ea typeface="ヒラギノ角ゴ Pro W3" panose="020B0300000000000000" pitchFamily="34" charset="-128"/>
                  <a:cs typeface="Arial"/>
                </a:rPr>
                <a:t>SEM eliminação/ </a:t>
              </a:r>
              <a:br>
                <a:rPr lang="en-GB" sz="1200" b="1" kern="0">
                  <a:solidFill>
                    <a:srgbClr val="F3F4F3"/>
                  </a:solidFill>
                  <a:ea typeface="ヒラギノ角ゴ Pro W3" panose="020B0300000000000000" pitchFamily="34" charset="-128"/>
                  <a:cs typeface="Arial"/>
                </a:rPr>
              </a:br>
              <a:r>
                <a:rPr lang="en-GB" sz="1200" b="1" kern="0">
                  <a:solidFill>
                    <a:srgbClr val="F3F4F3"/>
                  </a:solidFill>
                  <a:ea typeface="ヒラギノ角ゴ Pro W3" panose="020B0300000000000000" pitchFamily="34" charset="-128"/>
                  <a:cs typeface="Arial"/>
                </a:rPr>
                <a:t>Síntese de NO reduzida</a:t>
              </a:r>
            </a:p>
          </p:txBody>
        </p:sp>
        <p:sp>
          <p:nvSpPr>
            <p:cNvPr id="49" name="TextBox 228">
              <a:extLst>
                <a:ext uri="{FF2B5EF4-FFF2-40B4-BE49-F238E27FC236}">
                  <a16:creationId xmlns:a16="http://schemas.microsoft.com/office/drawing/2014/main" id="{133AE563-9852-C1FC-E616-B197CBC7E382}"/>
                </a:ext>
              </a:extLst>
            </p:cNvPr>
            <p:cNvSpPr txBox="1"/>
            <p:nvPr/>
          </p:nvSpPr>
          <p:spPr>
            <a:xfrm>
              <a:off x="3875833" y="2837887"/>
              <a:ext cx="1505355" cy="307777"/>
            </a:xfrm>
            <a:prstGeom prst="rect">
              <a:avLst/>
            </a:prstGeom>
            <a:noFill/>
          </p:spPr>
          <p:txBody>
            <a:bodyPr wrap="square" lIns="0" tIns="60960" rIns="0" bIns="60960" rtlCol="0" anchor="ctr" anchorCtr="1">
              <a:spAutoFit/>
            </a:bodyPr>
            <a:lstStyle/>
            <a:p>
              <a:pPr algn="ctr" defTabSz="457189">
                <a:defRPr/>
              </a:pPr>
              <a:r>
                <a:rPr lang="en-GB" sz="1200" kern="0" dirty="0">
                  <a:solidFill>
                    <a:srgbClr val="F3F4F3"/>
                  </a:solidFill>
                  <a:ea typeface="ヒラギノ角ゴ Pro W3" panose="020B0300000000000000" pitchFamily="34" charset="-128"/>
                  <a:cs typeface="Arial"/>
                </a:rPr>
                <a:t>Hb livre </a:t>
              </a:r>
            </a:p>
          </p:txBody>
        </p:sp>
        <p:sp>
          <p:nvSpPr>
            <p:cNvPr id="50" name="TextBox 408">
              <a:extLst>
                <a:ext uri="{FF2B5EF4-FFF2-40B4-BE49-F238E27FC236}">
                  <a16:creationId xmlns:a16="http://schemas.microsoft.com/office/drawing/2014/main" id="{ADFDDA06-2AD4-9510-8B76-70F07FCA69A0}"/>
                </a:ext>
              </a:extLst>
            </p:cNvPr>
            <p:cNvSpPr txBox="1"/>
            <p:nvPr/>
          </p:nvSpPr>
          <p:spPr>
            <a:xfrm>
              <a:off x="5299591" y="4643792"/>
              <a:ext cx="1813584" cy="501676"/>
            </a:xfrm>
            <a:prstGeom prst="rect">
              <a:avLst/>
            </a:prstGeom>
            <a:noFill/>
            <a:ln>
              <a:noFill/>
            </a:ln>
          </p:spPr>
          <p:txBody>
            <a:bodyPr wrap="square" rtlCol="0" anchor="ctr">
              <a:spAutoFit/>
            </a:bodyPr>
            <a:lstStyle/>
            <a:p>
              <a:pPr algn="ctr" defTabSz="457189">
                <a:lnSpc>
                  <a:spcPct val="90000"/>
                </a:lnSpc>
                <a:spcBef>
                  <a:spcPts val="600"/>
                </a:spcBef>
                <a:defRPr/>
              </a:pPr>
              <a:r>
                <a:rPr lang="en-GB" sz="1200" b="1" kern="0" dirty="0" err="1">
                  <a:solidFill>
                    <a:srgbClr val="F3F4F3"/>
                  </a:solidFill>
                  <a:ea typeface="ヒラギノ角ゴ Pro W3" panose="020B0300000000000000" pitchFamily="34" charset="-128"/>
                  <a:cs typeface="Arial"/>
                </a:rPr>
                <a:t>clivagem</a:t>
              </a:r>
              <a:r>
                <a:rPr lang="en-GB" sz="1200" b="1" kern="0" dirty="0">
                  <a:solidFill>
                    <a:srgbClr val="F3F4F3"/>
                  </a:solidFill>
                  <a:ea typeface="ヒラギノ角ゴ Pro W3" panose="020B0300000000000000" pitchFamily="34" charset="-128"/>
                  <a:cs typeface="Arial"/>
                </a:rPr>
                <a:t> de </a:t>
              </a:r>
              <a:r>
                <a:rPr lang="en-GB" sz="1200" b="1" kern="0" dirty="0" err="1">
                  <a:solidFill>
                    <a:srgbClr val="F3F4F3"/>
                  </a:solidFill>
                  <a:ea typeface="ヒラギノ角ゴ Pro W3" panose="020B0300000000000000" pitchFamily="34" charset="-128"/>
                  <a:cs typeface="Arial"/>
                </a:rPr>
                <a:t>fibrinogênio</a:t>
              </a:r>
              <a:endParaRPr lang="en-GB" sz="1200" b="1" kern="0" dirty="0">
                <a:solidFill>
                  <a:srgbClr val="F3F4F3"/>
                </a:solidFill>
                <a:ea typeface="ヒラギノ角ゴ Pro W3" panose="020B0300000000000000" pitchFamily="34" charset="-128"/>
                <a:cs typeface="Arial"/>
              </a:endParaRPr>
            </a:p>
            <a:p>
              <a:pPr algn="ctr" defTabSz="457189">
                <a:lnSpc>
                  <a:spcPct val="90000"/>
                </a:lnSpc>
                <a:spcBef>
                  <a:spcPts val="600"/>
                </a:spcBef>
                <a:defRPr/>
              </a:pPr>
              <a:r>
                <a:rPr lang="en-GB" sz="1200" b="1" kern="0" dirty="0" err="1">
                  <a:solidFill>
                    <a:srgbClr val="F3F4F3"/>
                  </a:solidFill>
                  <a:ea typeface="ヒラギノ角ゴ Pro W3" panose="020B0300000000000000" pitchFamily="34" charset="-128"/>
                  <a:cs typeface="Arial"/>
                </a:rPr>
                <a:t>Agregação</a:t>
              </a:r>
              <a:r>
                <a:rPr lang="en-GB" sz="1200" b="1" kern="0" dirty="0">
                  <a:solidFill>
                    <a:srgbClr val="F3F4F3"/>
                  </a:solidFill>
                  <a:ea typeface="ヒラギノ角ゴ Pro W3" panose="020B0300000000000000" pitchFamily="34" charset="-128"/>
                  <a:cs typeface="Arial"/>
                </a:rPr>
                <a:t> de </a:t>
              </a:r>
              <a:r>
                <a:rPr lang="en-GB" sz="1200" b="1" kern="0" dirty="0" err="1">
                  <a:solidFill>
                    <a:srgbClr val="F3F4F3"/>
                  </a:solidFill>
                  <a:ea typeface="ヒラギノ角ゴ Pro W3" panose="020B0300000000000000" pitchFamily="34" charset="-128"/>
                  <a:cs typeface="Arial"/>
                </a:rPr>
                <a:t>plaquetas</a:t>
              </a:r>
              <a:endParaRPr lang="en-GB" sz="1200" b="1" kern="0" dirty="0">
                <a:solidFill>
                  <a:srgbClr val="F3F4F3"/>
                </a:solidFill>
                <a:ea typeface="ヒラギノ角ゴ Pro W3" panose="020B0300000000000000" pitchFamily="34" charset="-128"/>
                <a:cs typeface="Arial"/>
              </a:endParaRPr>
            </a:p>
          </p:txBody>
        </p:sp>
        <p:sp>
          <p:nvSpPr>
            <p:cNvPr id="51" name="Rectangle 409">
              <a:extLst>
                <a:ext uri="{FF2B5EF4-FFF2-40B4-BE49-F238E27FC236}">
                  <a16:creationId xmlns:a16="http://schemas.microsoft.com/office/drawing/2014/main" id="{EBB99292-EF1F-8424-663C-DF5401FBA56F}"/>
                </a:ext>
              </a:extLst>
            </p:cNvPr>
            <p:cNvSpPr/>
            <p:nvPr/>
          </p:nvSpPr>
          <p:spPr>
            <a:xfrm>
              <a:off x="4949075" y="3969863"/>
              <a:ext cx="1089961" cy="1036532"/>
            </a:xfrm>
            <a:prstGeom prst="rect">
              <a:avLst/>
            </a:prstGeom>
            <a:noFill/>
            <a:ln w="12700" cap="flat" cmpd="sng" algn="ctr">
              <a:noFill/>
              <a:prstDash val="solid"/>
              <a:miter lim="800000"/>
            </a:ln>
            <a:effectLst/>
          </p:spPr>
          <p:txBody>
            <a:bodyPr rtlCol="0" anchor="ctr"/>
            <a:lstStyle/>
            <a:p>
              <a:pPr algn="ctr" defTabSz="914377">
                <a:lnSpc>
                  <a:spcPct val="90000"/>
                </a:lnSpc>
                <a:defRPr/>
              </a:pPr>
              <a:endParaRPr lang="en-US" sz="1200" kern="0">
                <a:solidFill>
                  <a:prstClr val="white"/>
                </a:solidFill>
                <a:ea typeface="ヒラギノ角ゴ Pro W3" panose="020B0300000000000000" pitchFamily="34" charset="-128"/>
                <a:cs typeface="Arial"/>
              </a:endParaRPr>
            </a:p>
          </p:txBody>
        </p:sp>
        <p:sp>
          <p:nvSpPr>
            <p:cNvPr id="52" name="Rectangle 410">
              <a:extLst>
                <a:ext uri="{FF2B5EF4-FFF2-40B4-BE49-F238E27FC236}">
                  <a16:creationId xmlns:a16="http://schemas.microsoft.com/office/drawing/2014/main" id="{28418D52-B95F-2E32-2B50-B95E7B4BA65B}"/>
                </a:ext>
              </a:extLst>
            </p:cNvPr>
            <p:cNvSpPr/>
            <p:nvPr/>
          </p:nvSpPr>
          <p:spPr>
            <a:xfrm>
              <a:off x="3639327" y="3963246"/>
              <a:ext cx="929618" cy="1036532"/>
            </a:xfrm>
            <a:prstGeom prst="rect">
              <a:avLst/>
            </a:prstGeom>
            <a:noFill/>
            <a:ln w="12700" cap="flat" cmpd="sng" algn="ctr">
              <a:noFill/>
              <a:prstDash val="solid"/>
              <a:miter lim="800000"/>
            </a:ln>
            <a:effectLst/>
          </p:spPr>
          <p:txBody>
            <a:bodyPr rtlCol="0" anchor="ctr"/>
            <a:lstStyle/>
            <a:p>
              <a:pPr algn="ctr" defTabSz="914377">
                <a:lnSpc>
                  <a:spcPct val="90000"/>
                </a:lnSpc>
                <a:defRPr/>
              </a:pPr>
              <a:endParaRPr lang="en-US" sz="1200" kern="0">
                <a:solidFill>
                  <a:prstClr val="white"/>
                </a:solidFill>
                <a:ea typeface="ヒラギノ角ゴ Pro W3" panose="020B0300000000000000" pitchFamily="34" charset="-128"/>
                <a:cs typeface="Arial"/>
              </a:endParaRPr>
            </a:p>
          </p:txBody>
        </p:sp>
        <p:sp>
          <p:nvSpPr>
            <p:cNvPr id="53" name="Rectangle 420">
              <a:extLst>
                <a:ext uri="{FF2B5EF4-FFF2-40B4-BE49-F238E27FC236}">
                  <a16:creationId xmlns:a16="http://schemas.microsoft.com/office/drawing/2014/main" id="{2491EBA3-B246-5868-CB54-5405762B9965}"/>
                </a:ext>
              </a:extLst>
            </p:cNvPr>
            <p:cNvSpPr/>
            <p:nvPr/>
          </p:nvSpPr>
          <p:spPr>
            <a:xfrm>
              <a:off x="3874937" y="3884256"/>
              <a:ext cx="1088827" cy="1366528"/>
            </a:xfrm>
            <a:prstGeom prst="rect">
              <a:avLst/>
            </a:prstGeom>
            <a:noFill/>
          </p:spPr>
          <p:txBody>
            <a:bodyPr wrap="square" tIns="182880" bIns="182880" anchor="ctr">
              <a:spAutoFit/>
            </a:bodyPr>
            <a:lstStyle/>
            <a:p>
              <a:pPr algn="ctr">
                <a:lnSpc>
                  <a:spcPct val="90000"/>
                </a:lnSpc>
                <a:defRPr/>
              </a:pPr>
              <a:r>
                <a:rPr lang="en-US" sz="1200" b="1" kern="0" dirty="0" err="1">
                  <a:solidFill>
                    <a:srgbClr val="F3F4F3"/>
                  </a:solidFill>
                  <a:ea typeface="ヒラギノ角ゴ Pro W3" panose="020B0300000000000000" pitchFamily="34" charset="-128"/>
                  <a:cs typeface="Arial"/>
                </a:rPr>
                <a:t>Leucócito</a:t>
              </a:r>
              <a:br>
                <a:rPr lang="en-US" sz="1200" b="1" kern="0" dirty="0">
                  <a:solidFill>
                    <a:srgbClr val="F3F4F3"/>
                  </a:solidFill>
                  <a:ea typeface="ヒラギノ角ゴ Pro W3" panose="020B0300000000000000" pitchFamily="34" charset="-128"/>
                  <a:cs typeface="Arial"/>
                </a:rPr>
              </a:br>
              <a:r>
                <a:rPr lang="en-US" sz="1200" b="1" kern="0" dirty="0" err="1">
                  <a:solidFill>
                    <a:srgbClr val="F3F4F3"/>
                  </a:solidFill>
                  <a:ea typeface="ヒラギノ角ゴ Pro W3" panose="020B0300000000000000" pitchFamily="34" charset="-128"/>
                  <a:cs typeface="Arial"/>
                </a:rPr>
                <a:t>ativação</a:t>
              </a:r>
              <a:br>
                <a:rPr lang="en-US" sz="1200" b="1" kern="0" dirty="0">
                  <a:solidFill>
                    <a:srgbClr val="F3F4F3"/>
                  </a:solidFill>
                  <a:ea typeface="ヒラギノ角ゴ Pro W3" panose="020B0300000000000000" pitchFamily="34" charset="-128"/>
                  <a:cs typeface="Arial"/>
                </a:rPr>
              </a:br>
              <a:br>
                <a:rPr lang="en-US" sz="1200" b="1" kern="0" dirty="0">
                  <a:solidFill>
                    <a:srgbClr val="F3F4F3"/>
                  </a:solidFill>
                  <a:ea typeface="ヒラギノ角ゴ Pro W3" panose="020B0300000000000000" pitchFamily="34" charset="-128"/>
                  <a:cs typeface="Arial"/>
                </a:rPr>
              </a:br>
              <a:br>
                <a:rPr lang="en-US" sz="1200" b="1" kern="0" dirty="0">
                  <a:solidFill>
                    <a:srgbClr val="F3F4F3"/>
                  </a:solidFill>
                  <a:ea typeface="ヒラギノ角ゴ Pro W3" panose="020B0300000000000000" pitchFamily="34" charset="-128"/>
                  <a:cs typeface="Arial"/>
                </a:rPr>
              </a:br>
              <a:r>
                <a:rPr lang="en-US" sz="1200" b="1" kern="0" dirty="0" err="1">
                  <a:solidFill>
                    <a:srgbClr val="F3F4F3"/>
                  </a:solidFill>
                  <a:ea typeface="ヒラギノ角ゴ Pro W3" panose="020B0300000000000000" pitchFamily="34" charset="-128"/>
                  <a:cs typeface="Arial"/>
                </a:rPr>
                <a:t>Ativação</a:t>
              </a:r>
              <a:r>
                <a:rPr lang="en-US" sz="1200" b="1" kern="0" dirty="0">
                  <a:solidFill>
                    <a:srgbClr val="F3F4F3"/>
                  </a:solidFill>
                  <a:ea typeface="ヒラギノ角ゴ Pro W3" panose="020B0300000000000000" pitchFamily="34" charset="-128"/>
                  <a:cs typeface="Arial"/>
                </a:rPr>
                <a:t> de </a:t>
              </a:r>
              <a:r>
                <a:rPr lang="en-US" sz="1200" b="1" kern="0" dirty="0" err="1">
                  <a:solidFill>
                    <a:srgbClr val="F3F4F3"/>
                  </a:solidFill>
                  <a:ea typeface="ヒラギノ角ゴ Pro W3" panose="020B0300000000000000" pitchFamily="34" charset="-128"/>
                  <a:cs typeface="Arial"/>
                </a:rPr>
                <a:t>plaquetas</a:t>
              </a:r>
              <a:endParaRPr lang="en-US" sz="1200" b="1" kern="0" dirty="0">
                <a:solidFill>
                  <a:srgbClr val="F3F4F3"/>
                </a:solidFill>
                <a:ea typeface="ヒラギノ角ゴ Pro W3" panose="020B0300000000000000" pitchFamily="34" charset="-128"/>
                <a:cs typeface="Arial"/>
              </a:endParaRPr>
            </a:p>
          </p:txBody>
        </p:sp>
        <p:sp>
          <p:nvSpPr>
            <p:cNvPr id="54" name="TextBox 421">
              <a:extLst>
                <a:ext uri="{FF2B5EF4-FFF2-40B4-BE49-F238E27FC236}">
                  <a16:creationId xmlns:a16="http://schemas.microsoft.com/office/drawing/2014/main" id="{16649F76-FCB5-8CC2-48BE-54EE822CE9F9}"/>
                </a:ext>
              </a:extLst>
            </p:cNvPr>
            <p:cNvSpPr txBox="1"/>
            <p:nvPr/>
          </p:nvSpPr>
          <p:spPr>
            <a:xfrm>
              <a:off x="5299591" y="3971352"/>
              <a:ext cx="1813584" cy="258532"/>
            </a:xfrm>
            <a:prstGeom prst="rect">
              <a:avLst/>
            </a:prstGeom>
            <a:noFill/>
          </p:spPr>
          <p:txBody>
            <a:bodyPr wrap="square" rtlCol="0" anchor="ctr" anchorCtr="1">
              <a:spAutoFit/>
            </a:bodyPr>
            <a:lstStyle/>
            <a:p>
              <a:pPr algn="ctr" defTabSz="457189">
                <a:lnSpc>
                  <a:spcPct val="90000"/>
                </a:lnSpc>
                <a:defRPr/>
              </a:pPr>
              <a:r>
                <a:rPr lang="en-GB" sz="1200" b="1" kern="0" dirty="0" err="1">
                  <a:solidFill>
                    <a:srgbClr val="F3F4F3"/>
                  </a:solidFill>
                  <a:ea typeface="ヒラギノ角ゴ Pro W3" panose="020B0300000000000000" pitchFamily="34" charset="-128"/>
                  <a:cs typeface="Arial"/>
                </a:rPr>
                <a:t>Liberação</a:t>
              </a:r>
              <a:r>
                <a:rPr lang="en-GB" sz="1200" b="1" kern="0" dirty="0">
                  <a:solidFill>
                    <a:srgbClr val="F3F4F3"/>
                  </a:solidFill>
                  <a:ea typeface="ヒラギノ角ゴ Pro W3" panose="020B0300000000000000" pitchFamily="34" charset="-128"/>
                  <a:cs typeface="Arial"/>
                </a:rPr>
                <a:t> de </a:t>
              </a:r>
              <a:r>
                <a:rPr lang="en-GB" sz="1200" b="1" kern="0" dirty="0" err="1">
                  <a:solidFill>
                    <a:srgbClr val="F3F4F3"/>
                  </a:solidFill>
                  <a:ea typeface="ヒラギノ角ゴ Pro W3" panose="020B0300000000000000" pitchFamily="34" charset="-128"/>
                  <a:cs typeface="Arial"/>
                </a:rPr>
                <a:t>citocinas</a:t>
              </a:r>
              <a:endParaRPr lang="en-GB" sz="1200" b="1" kern="0" dirty="0">
                <a:solidFill>
                  <a:srgbClr val="F3F4F3"/>
                </a:solidFill>
                <a:ea typeface="ヒラギノ角ゴ Pro W3" panose="020B0300000000000000" pitchFamily="34" charset="-128"/>
                <a:cs typeface="Arial"/>
              </a:endParaRPr>
            </a:p>
          </p:txBody>
        </p:sp>
        <p:sp>
          <p:nvSpPr>
            <p:cNvPr id="63" name="Chevron 207">
              <a:extLst>
                <a:ext uri="{FF2B5EF4-FFF2-40B4-BE49-F238E27FC236}">
                  <a16:creationId xmlns:a16="http://schemas.microsoft.com/office/drawing/2014/main" id="{602506C1-C64D-5495-63AB-62EEC4C1C73A}"/>
                </a:ext>
              </a:extLst>
            </p:cNvPr>
            <p:cNvSpPr/>
            <p:nvPr/>
          </p:nvSpPr>
          <p:spPr>
            <a:xfrm>
              <a:off x="3989147" y="1786372"/>
              <a:ext cx="3237342" cy="377059"/>
            </a:xfrm>
            <a:prstGeom prst="chevron">
              <a:avLst/>
            </a:prstGeom>
            <a:noFill/>
            <a:ln w="6350" cap="flat" cmpd="sng" algn="ctr">
              <a:noFill/>
              <a:prstDash val="solid"/>
              <a:miter lim="800000"/>
            </a:ln>
            <a:effectLst/>
          </p:spPr>
          <p:txBody>
            <a:bodyPr rtlCol="0" anchor="t"/>
            <a:lstStyle/>
            <a:p>
              <a:pPr algn="ctr" defTabSz="457189">
                <a:defRPr/>
              </a:pPr>
              <a:r>
                <a:rPr lang="en-US" b="1" kern="0" dirty="0" err="1">
                  <a:solidFill>
                    <a:schemeClr val="tx2"/>
                  </a:solidFill>
                  <a:latin typeface="+mj-lt"/>
                  <a:ea typeface="ヒラギノ角ゴ Pro W3" panose="020B0300000000000000" pitchFamily="34" charset="-128"/>
                  <a:cs typeface="Arial"/>
                </a:rPr>
                <a:t>Efeitos</a:t>
              </a:r>
              <a:r>
                <a:rPr lang="en-US" b="1" kern="0" dirty="0">
                  <a:solidFill>
                    <a:schemeClr val="tx2"/>
                  </a:solidFill>
                  <a:latin typeface="+mj-lt"/>
                  <a:ea typeface="ヒラギノ角ゴ Pro W3" panose="020B0300000000000000" pitchFamily="34" charset="-128"/>
                  <a:cs typeface="Arial"/>
                </a:rPr>
                <a:t> da </a:t>
              </a:r>
              <a:r>
                <a:rPr lang="en-US" b="1" kern="0" dirty="0" err="1">
                  <a:solidFill>
                    <a:schemeClr val="tx2"/>
                  </a:solidFill>
                  <a:latin typeface="+mj-lt"/>
                  <a:ea typeface="ヒラギノ角ゴ Pro W3" panose="020B0300000000000000" pitchFamily="34" charset="-128"/>
                  <a:cs typeface="Arial"/>
                </a:rPr>
                <a:t>desregulação</a:t>
              </a:r>
              <a:r>
                <a:rPr lang="en-US" b="1" kern="0" dirty="0">
                  <a:solidFill>
                    <a:schemeClr val="tx2"/>
                  </a:solidFill>
                  <a:latin typeface="+mj-lt"/>
                  <a:ea typeface="ヒラギノ角ゴ Pro W3" panose="020B0300000000000000" pitchFamily="34" charset="-128"/>
                  <a:cs typeface="Arial"/>
                </a:rPr>
                <a:t> do complemento</a:t>
              </a:r>
              <a:r>
                <a:rPr lang="en-US" b="1" kern="0" baseline="30000" dirty="0">
                  <a:solidFill>
                    <a:schemeClr val="tx2"/>
                  </a:solidFill>
                  <a:latin typeface="+mj-lt"/>
                  <a:ea typeface="ヒラギノ角ゴ Pro W3" panose="020B0300000000000000" pitchFamily="34" charset="-128"/>
                  <a:cs typeface="Arial"/>
                </a:rPr>
                <a:t>3</a:t>
              </a:r>
              <a:endParaRPr lang="en-US" b="1" kern="0" dirty="0">
                <a:solidFill>
                  <a:schemeClr val="tx2"/>
                </a:solidFill>
                <a:latin typeface="+mj-lt"/>
                <a:ea typeface="ヒラギノ角ゴ Pro W3" panose="020B0300000000000000" pitchFamily="34" charset="-128"/>
                <a:cs typeface="Arial"/>
              </a:endParaRPr>
            </a:p>
          </p:txBody>
        </p:sp>
        <p:sp>
          <p:nvSpPr>
            <p:cNvPr id="29" name="TextBox 46">
              <a:extLst>
                <a:ext uri="{FF2B5EF4-FFF2-40B4-BE49-F238E27FC236}">
                  <a16:creationId xmlns:a16="http://schemas.microsoft.com/office/drawing/2014/main" id="{B0E24B12-F922-B494-E162-C06360533D84}"/>
                </a:ext>
              </a:extLst>
            </p:cNvPr>
            <p:cNvSpPr txBox="1"/>
            <p:nvPr/>
          </p:nvSpPr>
          <p:spPr>
            <a:xfrm>
              <a:off x="5607819" y="2841212"/>
              <a:ext cx="1505355" cy="307777"/>
            </a:xfrm>
            <a:prstGeom prst="rect">
              <a:avLst/>
            </a:prstGeom>
            <a:noFill/>
          </p:spPr>
          <p:txBody>
            <a:bodyPr wrap="square" lIns="0" tIns="60960" rIns="0" bIns="60960" rtlCol="0" anchor="ctr" anchorCtr="1">
              <a:spAutoFit/>
            </a:bodyPr>
            <a:lstStyle/>
            <a:p>
              <a:pPr algn="ctr" defTabSz="457189">
                <a:defRPr/>
              </a:pPr>
              <a:r>
                <a:rPr lang="en-GB" sz="1200" b="1" kern="0">
                  <a:solidFill>
                    <a:srgbClr val="F3F4F3"/>
                  </a:solidFill>
                  <a:ea typeface="ヒラギノ角ゴ Pro W3" panose="020B0300000000000000" pitchFamily="34" charset="-128"/>
                  <a:cs typeface="Arial"/>
                </a:rPr>
                <a:t>≥</a:t>
              </a:r>
              <a:r>
                <a:rPr lang="en-GB" sz="1200" kern="0">
                  <a:solidFill>
                    <a:srgbClr val="F3F4F3"/>
                  </a:solidFill>
                  <a:ea typeface="ヒラギノ角ゴ Pro W3" panose="020B0300000000000000" pitchFamily="34" charset="-128"/>
                  <a:cs typeface="Arial"/>
                </a:rPr>
                <a:t> LDH</a:t>
              </a:r>
            </a:p>
          </p:txBody>
        </p:sp>
        <p:cxnSp>
          <p:nvCxnSpPr>
            <p:cNvPr id="90" name="Conector reto 89">
              <a:extLst>
                <a:ext uri="{FF2B5EF4-FFF2-40B4-BE49-F238E27FC236}">
                  <a16:creationId xmlns:a16="http://schemas.microsoft.com/office/drawing/2014/main" id="{0A31D5D9-4EF2-7CAA-36BE-2909DECC924A}"/>
                </a:ext>
              </a:extLst>
            </p:cNvPr>
            <p:cNvCxnSpPr>
              <a:cxnSpLocks/>
            </p:cNvCxnSpPr>
            <p:nvPr/>
          </p:nvCxnSpPr>
          <p:spPr>
            <a:xfrm flipV="1">
              <a:off x="3952849" y="4567520"/>
              <a:ext cx="925139" cy="2227"/>
            </a:xfrm>
            <a:prstGeom prst="line">
              <a:avLst/>
            </a:prstGeom>
            <a:ln w="127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1" name="Forma Livre: Forma 90">
              <a:extLst>
                <a:ext uri="{FF2B5EF4-FFF2-40B4-BE49-F238E27FC236}">
                  <a16:creationId xmlns:a16="http://schemas.microsoft.com/office/drawing/2014/main" id="{BFE5FD48-9C86-05AA-D3DF-3B911236AFBA}"/>
                </a:ext>
              </a:extLst>
            </p:cNvPr>
            <p:cNvSpPr/>
            <p:nvPr/>
          </p:nvSpPr>
          <p:spPr>
            <a:xfrm>
              <a:off x="3655115" y="2964983"/>
              <a:ext cx="198304" cy="495759"/>
            </a:xfrm>
            <a:custGeom>
              <a:avLst/>
              <a:gdLst>
                <a:gd name="connsiteX0" fmla="*/ 198304 w 198304"/>
                <a:gd name="connsiteY0" fmla="*/ 0 h 495759"/>
                <a:gd name="connsiteX1" fmla="*/ 0 w 198304"/>
                <a:gd name="connsiteY1" fmla="*/ 0 h 495759"/>
                <a:gd name="connsiteX2" fmla="*/ 0 w 198304"/>
                <a:gd name="connsiteY2" fmla="*/ 495759 h 495759"/>
                <a:gd name="connsiteX3" fmla="*/ 198304 w 198304"/>
                <a:gd name="connsiteY3" fmla="*/ 495759 h 495759"/>
              </a:gdLst>
              <a:ahLst/>
              <a:cxnLst>
                <a:cxn ang="0">
                  <a:pos x="connsiteX0" y="connsiteY0"/>
                </a:cxn>
                <a:cxn ang="0">
                  <a:pos x="connsiteX1" y="connsiteY1"/>
                </a:cxn>
                <a:cxn ang="0">
                  <a:pos x="connsiteX2" y="connsiteY2"/>
                </a:cxn>
                <a:cxn ang="0">
                  <a:pos x="connsiteX3" y="connsiteY3"/>
                </a:cxn>
              </a:cxnLst>
              <a:rect l="l" t="t" r="r" b="b"/>
              <a:pathLst>
                <a:path w="198304" h="495759">
                  <a:moveTo>
                    <a:pt x="198304" y="0"/>
                  </a:moveTo>
                  <a:lnTo>
                    <a:pt x="0" y="0"/>
                  </a:lnTo>
                  <a:lnTo>
                    <a:pt x="0" y="495759"/>
                  </a:lnTo>
                  <a:lnTo>
                    <a:pt x="198304" y="495759"/>
                  </a:lnTo>
                </a:path>
              </a:pathLst>
            </a:custGeom>
            <a:noFill/>
            <a:ln>
              <a:solidFill>
                <a:schemeClr val="tx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8" name="Forma Livre: Forma 97">
              <a:extLst>
                <a:ext uri="{FF2B5EF4-FFF2-40B4-BE49-F238E27FC236}">
                  <a16:creationId xmlns:a16="http://schemas.microsoft.com/office/drawing/2014/main" id="{0EEAA5E3-C51C-A866-A501-FEBC684F0D05}"/>
                </a:ext>
              </a:extLst>
            </p:cNvPr>
            <p:cNvSpPr/>
            <p:nvPr/>
          </p:nvSpPr>
          <p:spPr>
            <a:xfrm>
              <a:off x="7112279" y="4190140"/>
              <a:ext cx="282332" cy="802721"/>
            </a:xfrm>
            <a:custGeom>
              <a:avLst/>
              <a:gdLst>
                <a:gd name="connsiteX0" fmla="*/ 0 w 440674"/>
                <a:gd name="connsiteY0" fmla="*/ 0 h 969484"/>
                <a:gd name="connsiteX1" fmla="*/ 440674 w 440674"/>
                <a:gd name="connsiteY1" fmla="*/ 0 h 969484"/>
                <a:gd name="connsiteX2" fmla="*/ 440674 w 440674"/>
                <a:gd name="connsiteY2" fmla="*/ 969484 h 969484"/>
                <a:gd name="connsiteX3" fmla="*/ 0 w 440674"/>
                <a:gd name="connsiteY3" fmla="*/ 969484 h 969484"/>
              </a:gdLst>
              <a:ahLst/>
              <a:cxnLst>
                <a:cxn ang="0">
                  <a:pos x="connsiteX0" y="connsiteY0"/>
                </a:cxn>
                <a:cxn ang="0">
                  <a:pos x="connsiteX1" y="connsiteY1"/>
                </a:cxn>
                <a:cxn ang="0">
                  <a:pos x="connsiteX2" y="connsiteY2"/>
                </a:cxn>
                <a:cxn ang="0">
                  <a:pos x="connsiteX3" y="connsiteY3"/>
                </a:cxn>
              </a:cxnLst>
              <a:rect l="l" t="t" r="r" b="b"/>
              <a:pathLst>
                <a:path w="440674" h="969484">
                  <a:moveTo>
                    <a:pt x="0" y="0"/>
                  </a:moveTo>
                  <a:lnTo>
                    <a:pt x="440674" y="0"/>
                  </a:lnTo>
                  <a:lnTo>
                    <a:pt x="440674" y="969484"/>
                  </a:lnTo>
                  <a:lnTo>
                    <a:pt x="0" y="969484"/>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99" name="Conector de Seta Reta 98">
              <a:extLst>
                <a:ext uri="{FF2B5EF4-FFF2-40B4-BE49-F238E27FC236}">
                  <a16:creationId xmlns:a16="http://schemas.microsoft.com/office/drawing/2014/main" id="{BBDAD69F-1A14-EA6A-F29B-3A12EFCAD668}"/>
                </a:ext>
              </a:extLst>
            </p:cNvPr>
            <p:cNvCxnSpPr>
              <a:cxnSpLocks/>
            </p:cNvCxnSpPr>
            <p:nvPr/>
          </p:nvCxnSpPr>
          <p:spPr>
            <a:xfrm>
              <a:off x="7394611" y="4762836"/>
              <a:ext cx="822174" cy="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1" name="Conector de Seta Reta 100">
              <a:extLst>
                <a:ext uri="{FF2B5EF4-FFF2-40B4-BE49-F238E27FC236}">
                  <a16:creationId xmlns:a16="http://schemas.microsoft.com/office/drawing/2014/main" id="{C14B40E8-4DD4-5EE0-A478-F022C62E52CD}"/>
                </a:ext>
              </a:extLst>
            </p:cNvPr>
            <p:cNvCxnSpPr>
              <a:cxnSpLocks/>
            </p:cNvCxnSpPr>
            <p:nvPr/>
          </p:nvCxnSpPr>
          <p:spPr>
            <a:xfrm>
              <a:off x="7112279" y="3576785"/>
              <a:ext cx="1104506" cy="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3" name="Forma Livre: Forma 102">
              <a:extLst>
                <a:ext uri="{FF2B5EF4-FFF2-40B4-BE49-F238E27FC236}">
                  <a16:creationId xmlns:a16="http://schemas.microsoft.com/office/drawing/2014/main" id="{B2A7F467-C114-0A80-7254-7FEB175C59CA}"/>
                </a:ext>
              </a:extLst>
            </p:cNvPr>
            <p:cNvSpPr/>
            <p:nvPr/>
          </p:nvSpPr>
          <p:spPr>
            <a:xfrm flipH="1">
              <a:off x="7736348" y="2939843"/>
              <a:ext cx="440674" cy="1554552"/>
            </a:xfrm>
            <a:custGeom>
              <a:avLst/>
              <a:gdLst>
                <a:gd name="connsiteX0" fmla="*/ 0 w 440674"/>
                <a:gd name="connsiteY0" fmla="*/ 0 h 969484"/>
                <a:gd name="connsiteX1" fmla="*/ 440674 w 440674"/>
                <a:gd name="connsiteY1" fmla="*/ 0 h 969484"/>
                <a:gd name="connsiteX2" fmla="*/ 440674 w 440674"/>
                <a:gd name="connsiteY2" fmla="*/ 969484 h 969484"/>
                <a:gd name="connsiteX3" fmla="*/ 0 w 440674"/>
                <a:gd name="connsiteY3" fmla="*/ 969484 h 969484"/>
              </a:gdLst>
              <a:ahLst/>
              <a:cxnLst>
                <a:cxn ang="0">
                  <a:pos x="connsiteX0" y="connsiteY0"/>
                </a:cxn>
                <a:cxn ang="0">
                  <a:pos x="connsiteX1" y="connsiteY1"/>
                </a:cxn>
                <a:cxn ang="0">
                  <a:pos x="connsiteX2" y="connsiteY2"/>
                </a:cxn>
                <a:cxn ang="0">
                  <a:pos x="connsiteX3" y="connsiteY3"/>
                </a:cxn>
              </a:cxnLst>
              <a:rect l="l" t="t" r="r" b="b"/>
              <a:pathLst>
                <a:path w="440674" h="969484">
                  <a:moveTo>
                    <a:pt x="0" y="0"/>
                  </a:moveTo>
                  <a:lnTo>
                    <a:pt x="440674" y="0"/>
                  </a:lnTo>
                  <a:lnTo>
                    <a:pt x="440674" y="969484"/>
                  </a:lnTo>
                  <a:lnTo>
                    <a:pt x="0" y="969484"/>
                  </a:lnTo>
                </a:path>
              </a:pathLst>
            </a:custGeom>
            <a:noFill/>
            <a:ln>
              <a:solidFill>
                <a:schemeClr val="tx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105" name="Conector de Seta Reta 104">
              <a:extLst>
                <a:ext uri="{FF2B5EF4-FFF2-40B4-BE49-F238E27FC236}">
                  <a16:creationId xmlns:a16="http://schemas.microsoft.com/office/drawing/2014/main" id="{56D1E644-0CC4-486B-7389-50DE63EE6B92}"/>
                </a:ext>
              </a:extLst>
            </p:cNvPr>
            <p:cNvCxnSpPr>
              <a:cxnSpLocks/>
            </p:cNvCxnSpPr>
            <p:nvPr/>
          </p:nvCxnSpPr>
          <p:spPr>
            <a:xfrm>
              <a:off x="7112279" y="2601427"/>
              <a:ext cx="1104506" cy="0"/>
            </a:xfrm>
            <a:prstGeom prst="straightConnector1">
              <a:avLst/>
            </a:prstGeom>
            <a:ln w="127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11" name="Agrupar 110">
            <a:extLst>
              <a:ext uri="{FF2B5EF4-FFF2-40B4-BE49-F238E27FC236}">
                <a16:creationId xmlns:a16="http://schemas.microsoft.com/office/drawing/2014/main" id="{F80E79F3-C92E-7CDA-3A05-2C174656C1D1}"/>
              </a:ext>
            </a:extLst>
          </p:cNvPr>
          <p:cNvGrpSpPr/>
          <p:nvPr/>
        </p:nvGrpSpPr>
        <p:grpSpPr>
          <a:xfrm>
            <a:off x="7718405" y="1518286"/>
            <a:ext cx="4177327" cy="3721101"/>
            <a:chOff x="7718405" y="1518286"/>
            <a:chExt cx="4177327" cy="3721101"/>
          </a:xfrm>
        </p:grpSpPr>
        <p:sp>
          <p:nvSpPr>
            <p:cNvPr id="77" name="Retângulo 76">
              <a:extLst>
                <a:ext uri="{FF2B5EF4-FFF2-40B4-BE49-F238E27FC236}">
                  <a16:creationId xmlns:a16="http://schemas.microsoft.com/office/drawing/2014/main" id="{75FEEAF7-E683-57AD-4B0B-0562396A2956}"/>
                </a:ext>
              </a:extLst>
            </p:cNvPr>
            <p:cNvSpPr/>
            <p:nvPr/>
          </p:nvSpPr>
          <p:spPr>
            <a:xfrm>
              <a:off x="8236913" y="4391882"/>
              <a:ext cx="2997271" cy="8475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78" name="Retângulo 77">
              <a:extLst>
                <a:ext uri="{FF2B5EF4-FFF2-40B4-BE49-F238E27FC236}">
                  <a16:creationId xmlns:a16="http://schemas.microsoft.com/office/drawing/2014/main" id="{558AD8B9-558E-7193-6DFC-48DF5F06954B}"/>
                </a:ext>
              </a:extLst>
            </p:cNvPr>
            <p:cNvSpPr/>
            <p:nvPr/>
          </p:nvSpPr>
          <p:spPr>
            <a:xfrm>
              <a:off x="8236913" y="2453302"/>
              <a:ext cx="2997271" cy="8475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79" name="Retângulo 78">
              <a:extLst>
                <a:ext uri="{FF2B5EF4-FFF2-40B4-BE49-F238E27FC236}">
                  <a16:creationId xmlns:a16="http://schemas.microsoft.com/office/drawing/2014/main" id="{61753C0C-6AFD-82F5-3C8D-9EDCD2DC9DC8}"/>
                </a:ext>
              </a:extLst>
            </p:cNvPr>
            <p:cNvSpPr/>
            <p:nvPr/>
          </p:nvSpPr>
          <p:spPr>
            <a:xfrm>
              <a:off x="8236913" y="3412498"/>
              <a:ext cx="2997271" cy="8475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31" name="Chevron 207">
              <a:extLst>
                <a:ext uri="{FF2B5EF4-FFF2-40B4-BE49-F238E27FC236}">
                  <a16:creationId xmlns:a16="http://schemas.microsoft.com/office/drawing/2014/main" id="{57BC7F17-3401-72E3-C6DF-726CD6672E93}"/>
                </a:ext>
              </a:extLst>
            </p:cNvPr>
            <p:cNvSpPr/>
            <p:nvPr/>
          </p:nvSpPr>
          <p:spPr>
            <a:xfrm>
              <a:off x="7718405" y="1518286"/>
              <a:ext cx="4177327" cy="377059"/>
            </a:xfrm>
            <a:prstGeom prst="chevron">
              <a:avLst/>
            </a:prstGeom>
            <a:noFill/>
            <a:ln w="6350" cap="flat" cmpd="sng" algn="ctr">
              <a:noFill/>
              <a:prstDash val="solid"/>
              <a:miter lim="800000"/>
            </a:ln>
            <a:effectLst/>
          </p:spPr>
          <p:txBody>
            <a:bodyPr rtlCol="0" anchor="t"/>
            <a:lstStyle/>
            <a:p>
              <a:pPr algn="ctr" defTabSz="457189">
                <a:defRPr/>
              </a:pPr>
              <a:r>
                <a:rPr lang="en-US" b="1" kern="0" dirty="0" err="1">
                  <a:solidFill>
                    <a:schemeClr val="accent1"/>
                  </a:solidFill>
                  <a:latin typeface="+mj-lt"/>
                  <a:ea typeface="ヒラギノ角ゴ Pro W3" panose="020B0300000000000000" pitchFamily="34" charset="-128"/>
                  <a:cs typeface="Arial"/>
                </a:rPr>
                <a:t>Causas</a:t>
              </a:r>
              <a:r>
                <a:rPr lang="en-US" b="1" kern="0" dirty="0">
                  <a:solidFill>
                    <a:schemeClr val="accent1"/>
                  </a:solidFill>
                  <a:latin typeface="+mj-lt"/>
                  <a:ea typeface="ヒラギノ角ゴ Pro W3" panose="020B0300000000000000" pitchFamily="34" charset="-128"/>
                  <a:cs typeface="Arial"/>
                </a:rPr>
                <a:t> da </a:t>
              </a:r>
              <a:r>
                <a:rPr lang="en-US" b="1" kern="0" dirty="0" err="1">
                  <a:solidFill>
                    <a:schemeClr val="accent1"/>
                  </a:solidFill>
                  <a:latin typeface="+mj-lt"/>
                  <a:ea typeface="ヒラギノ角ゴ Pro W3" panose="020B0300000000000000" pitchFamily="34" charset="-128"/>
                  <a:cs typeface="Arial"/>
                </a:rPr>
                <a:t>progressão</a:t>
              </a:r>
              <a:r>
                <a:rPr lang="en-US" b="1" kern="0" dirty="0">
                  <a:solidFill>
                    <a:schemeClr val="accent1"/>
                  </a:solidFill>
                  <a:latin typeface="+mj-lt"/>
                  <a:ea typeface="ヒラギノ角ゴ Pro W3" panose="020B0300000000000000" pitchFamily="34" charset="-128"/>
                  <a:cs typeface="Arial"/>
                </a:rPr>
                <a:t> </a:t>
              </a:r>
              <a:br>
                <a:rPr lang="en-US" b="1" kern="0" dirty="0">
                  <a:solidFill>
                    <a:schemeClr val="accent1"/>
                  </a:solidFill>
                  <a:latin typeface="+mj-lt"/>
                  <a:ea typeface="ヒラギノ角ゴ Pro W3" panose="020B0300000000000000" pitchFamily="34" charset="-128"/>
                  <a:cs typeface="Arial"/>
                </a:rPr>
              </a:br>
              <a:r>
                <a:rPr lang="en-US" b="1" kern="0" dirty="0" err="1">
                  <a:solidFill>
                    <a:schemeClr val="accent1"/>
                  </a:solidFill>
                  <a:latin typeface="+mj-lt"/>
                  <a:ea typeface="ヒラギノ角ゴ Pro W3" panose="020B0300000000000000" pitchFamily="34" charset="-128"/>
                  <a:cs typeface="Arial"/>
                </a:rPr>
                <a:t>morbidade</a:t>
              </a:r>
              <a:r>
                <a:rPr lang="en-US" b="1" kern="0" dirty="0">
                  <a:solidFill>
                    <a:schemeClr val="accent1"/>
                  </a:solidFill>
                  <a:latin typeface="+mj-lt"/>
                  <a:ea typeface="ヒラギノ角ゴ Pro W3" panose="020B0300000000000000" pitchFamily="34" charset="-128"/>
                  <a:cs typeface="Arial"/>
                </a:rPr>
                <a:t> e </a:t>
              </a:r>
              <a:r>
                <a:rPr lang="en-US" b="1" kern="0" dirty="0" err="1">
                  <a:solidFill>
                    <a:schemeClr val="accent1"/>
                  </a:solidFill>
                  <a:latin typeface="+mj-lt"/>
                  <a:ea typeface="ヒラギノ角ゴ Pro W3" panose="020B0300000000000000" pitchFamily="34" charset="-128"/>
                  <a:cs typeface="Arial"/>
                </a:rPr>
                <a:t>mortalidade</a:t>
              </a:r>
              <a:r>
                <a:rPr lang="en-US" b="1" kern="0" dirty="0">
                  <a:solidFill>
                    <a:schemeClr val="accent1"/>
                  </a:solidFill>
                  <a:latin typeface="+mj-lt"/>
                  <a:ea typeface="ヒラギノ角ゴ Pro W3" panose="020B0300000000000000" pitchFamily="34" charset="-128"/>
                  <a:cs typeface="Arial"/>
                </a:rPr>
                <a:t> prematura</a:t>
              </a:r>
              <a:r>
                <a:rPr lang="en-US" b="1" kern="0" baseline="30000" dirty="0">
                  <a:solidFill>
                    <a:schemeClr val="accent1"/>
                  </a:solidFill>
                  <a:latin typeface="+mj-lt"/>
                  <a:ea typeface="ヒラギノ角ゴ Pro W3" panose="020B0300000000000000" pitchFamily="34" charset="-128"/>
                  <a:cs typeface="Arial"/>
                </a:rPr>
                <a:t>3-4</a:t>
              </a:r>
              <a:endParaRPr lang="en-US" b="1" kern="0" dirty="0">
                <a:solidFill>
                  <a:schemeClr val="accent1"/>
                </a:solidFill>
                <a:latin typeface="+mj-lt"/>
                <a:ea typeface="ヒラギノ角ゴ Pro W3" panose="020B0300000000000000" pitchFamily="34" charset="-128"/>
                <a:cs typeface="Arial"/>
              </a:endParaRPr>
            </a:p>
          </p:txBody>
        </p:sp>
        <p:sp>
          <p:nvSpPr>
            <p:cNvPr id="32" name="Rectangle 386">
              <a:extLst>
                <a:ext uri="{FF2B5EF4-FFF2-40B4-BE49-F238E27FC236}">
                  <a16:creationId xmlns:a16="http://schemas.microsoft.com/office/drawing/2014/main" id="{373FBB43-25B8-9AD2-4031-ABC6F309ABE0}"/>
                </a:ext>
              </a:extLst>
            </p:cNvPr>
            <p:cNvSpPr/>
            <p:nvPr/>
          </p:nvSpPr>
          <p:spPr>
            <a:xfrm>
              <a:off x="8017591" y="2504381"/>
              <a:ext cx="3524711" cy="714796"/>
            </a:xfrm>
            <a:prstGeom prst="rect">
              <a:avLst/>
            </a:prstGeom>
            <a:noFill/>
            <a:ln w="12700" cap="flat" cmpd="sng" algn="ctr">
              <a:noFill/>
              <a:prstDash val="solid"/>
              <a:miter lim="800000"/>
            </a:ln>
            <a:effectLst/>
          </p:spPr>
          <p:txBody>
            <a:bodyPr rtlCol="0" anchor="ctr" anchorCtr="0"/>
            <a:lstStyle/>
            <a:p>
              <a:pPr algn="ctr" defTabSz="914377">
                <a:defRPr/>
              </a:pPr>
              <a:r>
                <a:rPr lang="en-US" sz="1200" b="1" kern="0" dirty="0" err="1">
                  <a:solidFill>
                    <a:srgbClr val="F3F4F3"/>
                  </a:solidFill>
                  <a:ea typeface="ヒラギノ角ゴ Pro W3" panose="020B0300000000000000" pitchFamily="34" charset="-128"/>
                  <a:cs typeface="Arial"/>
                </a:rPr>
                <a:t>Danos</a:t>
              </a:r>
              <a:r>
                <a:rPr lang="en-US" sz="1200" b="1" kern="0" dirty="0">
                  <a:solidFill>
                    <a:srgbClr val="F3F4F3"/>
                  </a:solidFill>
                  <a:ea typeface="ヒラギノ角ゴ Pro W3" panose="020B0300000000000000" pitchFamily="34" charset="-128"/>
                  <a:cs typeface="Arial"/>
                </a:rPr>
                <a:t> </a:t>
              </a:r>
              <a:r>
                <a:rPr lang="en-US" sz="1200" b="1" kern="0" dirty="0" err="1">
                  <a:solidFill>
                    <a:srgbClr val="F3F4F3"/>
                  </a:solidFill>
                  <a:ea typeface="ヒラギノ角ゴ Pro W3" panose="020B0300000000000000" pitchFamily="34" charset="-128"/>
                  <a:cs typeface="Arial"/>
                </a:rPr>
                <a:t>em</a:t>
              </a:r>
              <a:r>
                <a:rPr lang="en-US" sz="1200" b="1" kern="0" dirty="0">
                  <a:solidFill>
                    <a:srgbClr val="F3F4F3"/>
                  </a:solidFill>
                  <a:ea typeface="ヒラギノ角ゴ Pro W3" panose="020B0300000000000000" pitchFamily="34" charset="-128"/>
                  <a:cs typeface="Arial"/>
                </a:rPr>
                <a:t> </a:t>
              </a:r>
              <a:r>
                <a:rPr lang="en-US" sz="1200" b="1" kern="0" dirty="0" err="1">
                  <a:solidFill>
                    <a:srgbClr val="F3F4F3"/>
                  </a:solidFill>
                  <a:ea typeface="ヒラギノ角ゴ Pro W3" panose="020B0300000000000000" pitchFamily="34" charset="-128"/>
                  <a:cs typeface="Arial"/>
                </a:rPr>
                <a:t>órgãos-alvo</a:t>
              </a:r>
              <a:br>
                <a:rPr lang="en-US" sz="1200" b="1" kern="0" dirty="0">
                  <a:solidFill>
                    <a:srgbClr val="F3F4F3"/>
                  </a:solidFill>
                  <a:ea typeface="ヒラギノ角ゴ Pro W3" panose="020B0300000000000000" pitchFamily="34" charset="-128"/>
                  <a:cs typeface="Arial"/>
                </a:rPr>
              </a:br>
              <a:r>
                <a:rPr lang="en-US" sz="1200" kern="0" dirty="0" err="1">
                  <a:solidFill>
                    <a:srgbClr val="F3F4F3"/>
                  </a:solidFill>
                  <a:ea typeface="ヒラギノ角ゴ Pro W3" panose="020B0300000000000000" pitchFamily="34" charset="-128"/>
                  <a:cs typeface="Arial"/>
                </a:rPr>
                <a:t>por</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exemplo</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doença</a:t>
              </a:r>
              <a:r>
                <a:rPr lang="en-US" sz="1200" kern="0" dirty="0">
                  <a:solidFill>
                    <a:srgbClr val="F3F4F3"/>
                  </a:solidFill>
                  <a:ea typeface="ヒラギノ角ゴ Pro W3" panose="020B0300000000000000" pitchFamily="34" charset="-128"/>
                  <a:cs typeface="Arial"/>
                </a:rPr>
                <a:t> renal </a:t>
              </a:r>
              <a:r>
                <a:rPr lang="en-US" sz="1200" kern="0" dirty="0" err="1">
                  <a:solidFill>
                    <a:srgbClr val="F3F4F3"/>
                  </a:solidFill>
                  <a:ea typeface="ヒラギノ角ゴ Pro W3" panose="020B0300000000000000" pitchFamily="34" charset="-128"/>
                  <a:cs typeface="Arial"/>
                </a:rPr>
                <a:t>crônica</a:t>
              </a:r>
              <a:r>
                <a:rPr lang="en-US" sz="1200" kern="0" dirty="0">
                  <a:solidFill>
                    <a:srgbClr val="F3F4F3"/>
                  </a:solidFill>
                  <a:ea typeface="ヒラギノ角ゴ Pro W3" panose="020B0300000000000000" pitchFamily="34" charset="-128"/>
                  <a:cs typeface="Arial"/>
                </a:rPr>
                <a:t>,</a:t>
              </a:r>
            </a:p>
            <a:p>
              <a:pPr algn="ctr" defTabSz="914377">
                <a:defRPr/>
              </a:pPr>
              <a:r>
                <a:rPr lang="en-US" sz="1200" kern="0" dirty="0" err="1">
                  <a:solidFill>
                    <a:srgbClr val="F3F4F3"/>
                  </a:solidFill>
                  <a:ea typeface="ヒラギノ角ゴ Pro W3" panose="020B0300000000000000" pitchFamily="34" charset="-128"/>
                  <a:cs typeface="Arial"/>
                </a:rPr>
                <a:t>hipertensão</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pulmonar</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dano</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ao</a:t>
              </a:r>
              <a:r>
                <a:rPr lang="en-US" sz="1200" kern="0" dirty="0">
                  <a:solidFill>
                    <a:srgbClr val="F3F4F3"/>
                  </a:solidFill>
                  <a:ea typeface="ヒラギノ角ゴ Pro W3" panose="020B0300000000000000" pitchFamily="34" charset="-128"/>
                  <a:cs typeface="Arial"/>
                </a:rPr>
                <a:t> </a:t>
              </a:r>
              <a:r>
                <a:rPr lang="en-US" sz="1200" kern="0" dirty="0" err="1">
                  <a:solidFill>
                    <a:srgbClr val="F3F4F3"/>
                  </a:solidFill>
                  <a:ea typeface="ヒラギノ角ゴ Pro W3" panose="020B0300000000000000" pitchFamily="34" charset="-128"/>
                  <a:cs typeface="Arial"/>
                </a:rPr>
                <a:t>fígado</a:t>
              </a:r>
              <a:endParaRPr lang="en-US" sz="1200" kern="0" dirty="0">
                <a:solidFill>
                  <a:srgbClr val="F3F4F3"/>
                </a:solidFill>
                <a:ea typeface="ヒラギノ角ゴ Pro W3" panose="020B0300000000000000" pitchFamily="34" charset="-128"/>
                <a:cs typeface="Arial"/>
              </a:endParaRPr>
            </a:p>
          </p:txBody>
        </p:sp>
        <p:sp>
          <p:nvSpPr>
            <p:cNvPr id="35" name="Rectangle 179">
              <a:extLst>
                <a:ext uri="{FF2B5EF4-FFF2-40B4-BE49-F238E27FC236}">
                  <a16:creationId xmlns:a16="http://schemas.microsoft.com/office/drawing/2014/main" id="{E15D80E9-8232-7A4E-A4D2-8F85C83ED9E9}"/>
                </a:ext>
              </a:extLst>
            </p:cNvPr>
            <p:cNvSpPr/>
            <p:nvPr/>
          </p:nvSpPr>
          <p:spPr>
            <a:xfrm>
              <a:off x="8518351" y="4433252"/>
              <a:ext cx="2523189" cy="714796"/>
            </a:xfrm>
            <a:custGeom>
              <a:avLst/>
              <a:gdLst>
                <a:gd name="connsiteX0" fmla="*/ 0 w 2717003"/>
                <a:gd name="connsiteY0" fmla="*/ 0 h 1097280"/>
                <a:gd name="connsiteX1" fmla="*/ 2717003 w 2717003"/>
                <a:gd name="connsiteY1" fmla="*/ 0 h 1097280"/>
                <a:gd name="connsiteX2" fmla="*/ 2713024 w 2717003"/>
                <a:gd name="connsiteY2" fmla="*/ 536227 h 1097280"/>
                <a:gd name="connsiteX3" fmla="*/ 2717003 w 2717003"/>
                <a:gd name="connsiteY3" fmla="*/ 1097280 h 1097280"/>
                <a:gd name="connsiteX4" fmla="*/ 0 w 2717003"/>
                <a:gd name="connsiteY4" fmla="*/ 1097280 h 1097280"/>
                <a:gd name="connsiteX5" fmla="*/ 1574 w 2717003"/>
                <a:gd name="connsiteY5" fmla="*/ 206027 h 1097280"/>
                <a:gd name="connsiteX6" fmla="*/ 0 w 2717003"/>
                <a:gd name="connsiteY6" fmla="*/ 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7003" h="1097280">
                  <a:moveTo>
                    <a:pt x="0" y="0"/>
                  </a:moveTo>
                  <a:lnTo>
                    <a:pt x="2717003" y="0"/>
                  </a:lnTo>
                  <a:cubicBezTo>
                    <a:pt x="2715677" y="178742"/>
                    <a:pt x="2714350" y="357485"/>
                    <a:pt x="2713024" y="536227"/>
                  </a:cubicBezTo>
                  <a:cubicBezTo>
                    <a:pt x="2714350" y="723245"/>
                    <a:pt x="2715677" y="910262"/>
                    <a:pt x="2717003" y="1097280"/>
                  </a:cubicBezTo>
                  <a:lnTo>
                    <a:pt x="0" y="1097280"/>
                  </a:lnTo>
                  <a:cubicBezTo>
                    <a:pt x="525" y="800196"/>
                    <a:pt x="1049" y="503111"/>
                    <a:pt x="1574" y="206027"/>
                  </a:cubicBezTo>
                  <a:cubicBezTo>
                    <a:pt x="1049" y="137351"/>
                    <a:pt x="525" y="68676"/>
                    <a:pt x="0" y="0"/>
                  </a:cubicBezTo>
                  <a:close/>
                </a:path>
              </a:pathLst>
            </a:custGeom>
            <a:noFill/>
            <a:ln w="12700" cap="flat" cmpd="sng" algn="ctr">
              <a:noFill/>
              <a:prstDash val="solid"/>
              <a:miter lim="800000"/>
            </a:ln>
            <a:effectLst/>
          </p:spPr>
          <p:txBody>
            <a:bodyPr rtlCol="0" anchor="ctr" anchorCtr="0"/>
            <a:lstStyle/>
            <a:p>
              <a:pPr algn="ctr" defTabSz="457189">
                <a:defRPr/>
              </a:pPr>
              <a:r>
                <a:rPr lang="en-GB" sz="1200" b="1" kern="0" dirty="0" err="1">
                  <a:solidFill>
                    <a:srgbClr val="F3F4F3"/>
                  </a:solidFill>
                  <a:ea typeface="ヒラギノ角ゴ Pro W3" panose="020B0300000000000000" pitchFamily="34" charset="-128"/>
                  <a:cs typeface="Arial"/>
                </a:rPr>
                <a:t>Trombose</a:t>
              </a:r>
              <a:endParaRPr lang="en-GB" sz="1200" b="1" kern="0" dirty="0">
                <a:solidFill>
                  <a:srgbClr val="F3F4F3"/>
                </a:solidFill>
                <a:ea typeface="ヒラギノ角ゴ Pro W3" panose="020B0300000000000000" pitchFamily="34" charset="-128"/>
                <a:cs typeface="Arial"/>
              </a:endParaRPr>
            </a:p>
            <a:p>
              <a:pPr algn="ctr" defTabSz="457189">
                <a:defRPr/>
              </a:pPr>
              <a:r>
                <a:rPr lang="en-GB" sz="1200" kern="0" dirty="0" err="1">
                  <a:solidFill>
                    <a:srgbClr val="F3F4F3"/>
                  </a:solidFill>
                  <a:ea typeface="ヒラギノ角ゴ Pro W3" panose="020B0300000000000000" pitchFamily="34" charset="-128"/>
                  <a:cs typeface="Arial"/>
                </a:rPr>
                <a:t>por</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exemplo</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tromboembolismo</a:t>
              </a:r>
              <a:r>
                <a:rPr lang="en-GB" sz="1200" kern="0" dirty="0">
                  <a:solidFill>
                    <a:srgbClr val="F3F4F3"/>
                  </a:solidFill>
                  <a:ea typeface="ヒラギノ角ゴ Pro W3" panose="020B0300000000000000" pitchFamily="34" charset="-128"/>
                  <a:cs typeface="Arial"/>
                </a:rPr>
                <a:t> intra-abdominal, </a:t>
              </a:r>
              <a:r>
                <a:rPr lang="en-GB" sz="1200" kern="0" dirty="0" err="1">
                  <a:solidFill>
                    <a:srgbClr val="F3F4F3"/>
                  </a:solidFill>
                  <a:ea typeface="ヒラギノ角ゴ Pro W3" panose="020B0300000000000000" pitchFamily="34" charset="-128"/>
                  <a:cs typeface="Arial"/>
                </a:rPr>
                <a:t>hepático</a:t>
              </a:r>
              <a:r>
                <a:rPr lang="en-GB" sz="1200" kern="0" dirty="0">
                  <a:solidFill>
                    <a:srgbClr val="F3F4F3"/>
                  </a:solidFill>
                  <a:ea typeface="ヒラギノ角ゴ Pro W3" panose="020B0300000000000000" pitchFamily="34" charset="-128"/>
                  <a:cs typeface="Arial"/>
                </a:rPr>
                <a:t>, cerebral, </a:t>
              </a:r>
              <a:r>
                <a:rPr lang="en-GB" sz="1200" kern="0" dirty="0" err="1">
                  <a:solidFill>
                    <a:srgbClr val="F3F4F3"/>
                  </a:solidFill>
                  <a:ea typeface="ヒラギノ角ゴ Pro W3" panose="020B0300000000000000" pitchFamily="34" charset="-128"/>
                  <a:cs typeface="Arial"/>
                </a:rPr>
                <a:t>pulmonar</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ou</a:t>
              </a:r>
              <a:r>
                <a:rPr lang="en-GB" sz="1200" kern="0" dirty="0">
                  <a:solidFill>
                    <a:srgbClr val="F3F4F3"/>
                  </a:solidFill>
                  <a:ea typeface="ヒラギノ角ゴ Pro W3" panose="020B0300000000000000" pitchFamily="34" charset="-128"/>
                  <a:cs typeface="Arial"/>
                </a:rPr>
                <a:t> renal</a:t>
              </a:r>
            </a:p>
          </p:txBody>
        </p:sp>
        <p:sp>
          <p:nvSpPr>
            <p:cNvPr id="36" name="Rectangle 390">
              <a:extLst>
                <a:ext uri="{FF2B5EF4-FFF2-40B4-BE49-F238E27FC236}">
                  <a16:creationId xmlns:a16="http://schemas.microsoft.com/office/drawing/2014/main" id="{19A2006E-E465-F9D6-FDFE-02215FFC5C56}"/>
                </a:ext>
              </a:extLst>
            </p:cNvPr>
            <p:cNvSpPr/>
            <p:nvPr/>
          </p:nvSpPr>
          <p:spPr>
            <a:xfrm>
              <a:off x="8216785" y="3260777"/>
              <a:ext cx="2543319" cy="818132"/>
            </a:xfrm>
            <a:prstGeom prst="rect">
              <a:avLst/>
            </a:prstGeom>
            <a:noFill/>
            <a:ln w="12700" cap="flat" cmpd="sng" algn="ctr">
              <a:noFill/>
              <a:prstDash val="solid"/>
              <a:miter lim="800000"/>
            </a:ln>
            <a:effectLst/>
          </p:spPr>
          <p:txBody>
            <a:bodyPr rtlCol="0" anchor="ctr"/>
            <a:lstStyle/>
            <a:p>
              <a:pPr algn="ctr" defTabSz="914377">
                <a:defRPr/>
              </a:pPr>
              <a:endParaRPr lang="en-US" sz="1200" kern="0">
                <a:solidFill>
                  <a:srgbClr val="001E60"/>
                </a:solidFill>
                <a:ea typeface="ヒラギノ角ゴ Pro W3" panose="020B0300000000000000" pitchFamily="34" charset="-128"/>
                <a:cs typeface="Arial"/>
              </a:endParaRPr>
            </a:p>
          </p:txBody>
        </p:sp>
        <p:sp>
          <p:nvSpPr>
            <p:cNvPr id="37" name="TextBox 391">
              <a:extLst>
                <a:ext uri="{FF2B5EF4-FFF2-40B4-BE49-F238E27FC236}">
                  <a16:creationId xmlns:a16="http://schemas.microsoft.com/office/drawing/2014/main" id="{0598EE90-F9E6-96E0-53AC-2B21BF51E22E}"/>
                </a:ext>
              </a:extLst>
            </p:cNvPr>
            <p:cNvSpPr txBox="1"/>
            <p:nvPr/>
          </p:nvSpPr>
          <p:spPr>
            <a:xfrm>
              <a:off x="8316440" y="3485751"/>
              <a:ext cx="2838215" cy="646331"/>
            </a:xfrm>
            <a:prstGeom prst="rect">
              <a:avLst/>
            </a:prstGeom>
            <a:noFill/>
          </p:spPr>
          <p:txBody>
            <a:bodyPr wrap="square" rtlCol="0" anchor="ctr" anchorCtr="0">
              <a:spAutoFit/>
            </a:bodyPr>
            <a:lstStyle/>
            <a:p>
              <a:pPr algn="ctr" defTabSz="457189">
                <a:defRPr/>
              </a:pPr>
              <a:r>
                <a:rPr lang="en-GB" sz="1200" b="1" kern="0" dirty="0" err="1">
                  <a:solidFill>
                    <a:srgbClr val="F3F4F3"/>
                  </a:solidFill>
                  <a:ea typeface="ヒラギノ角ゴ Pro W3" panose="020B0300000000000000" pitchFamily="34" charset="-128"/>
                  <a:cs typeface="Arial"/>
                </a:rPr>
                <a:t>Distonias</a:t>
              </a:r>
              <a:r>
                <a:rPr lang="en-GB" sz="1200" b="1" kern="0" dirty="0">
                  <a:solidFill>
                    <a:srgbClr val="F3F4F3"/>
                  </a:solidFill>
                  <a:ea typeface="ヒラギノ角ゴ Pro W3" panose="020B0300000000000000" pitchFamily="34" charset="-128"/>
                  <a:cs typeface="Arial"/>
                </a:rPr>
                <a:t> de </a:t>
              </a:r>
              <a:r>
                <a:rPr lang="en-GB" sz="1200" b="1" kern="0" dirty="0" err="1">
                  <a:solidFill>
                    <a:srgbClr val="F3F4F3"/>
                  </a:solidFill>
                  <a:ea typeface="ヒラギノ角ゴ Pro W3" panose="020B0300000000000000" pitchFamily="34" charset="-128"/>
                  <a:cs typeface="Arial"/>
                </a:rPr>
                <a:t>músculo</a:t>
              </a:r>
              <a:r>
                <a:rPr lang="en-GB" sz="1200" b="1" kern="0" dirty="0">
                  <a:solidFill>
                    <a:srgbClr val="F3F4F3"/>
                  </a:solidFill>
                  <a:ea typeface="ヒラギノ角ゴ Pro W3" panose="020B0300000000000000" pitchFamily="34" charset="-128"/>
                  <a:cs typeface="Arial"/>
                </a:rPr>
                <a:t> suave</a:t>
              </a:r>
              <a:br>
                <a:rPr lang="en-GB" sz="1200" b="1" kern="0" dirty="0">
                  <a:solidFill>
                    <a:srgbClr val="F3F4F3"/>
                  </a:solidFill>
                  <a:ea typeface="ヒラギノ角ゴ Pro W3" panose="020B0300000000000000" pitchFamily="34" charset="-128"/>
                  <a:cs typeface="Arial"/>
                </a:rPr>
              </a:br>
              <a:r>
                <a:rPr lang="en-GB" sz="1200" kern="0" dirty="0" err="1">
                  <a:solidFill>
                    <a:srgbClr val="F3F4F3"/>
                  </a:solidFill>
                  <a:ea typeface="ヒラギノ角ゴ Pro W3" panose="020B0300000000000000" pitchFamily="34" charset="-128"/>
                  <a:cs typeface="Arial"/>
                </a:rPr>
                <a:t>por</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exemplo</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dispneia</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disfagia</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disfunção</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erétil</a:t>
              </a:r>
              <a:r>
                <a:rPr lang="en-GB" sz="1200" kern="0" dirty="0">
                  <a:solidFill>
                    <a:srgbClr val="F3F4F3"/>
                  </a:solidFill>
                  <a:ea typeface="ヒラギノ角ゴ Pro W3" panose="020B0300000000000000" pitchFamily="34" charset="-128"/>
                  <a:cs typeface="Arial"/>
                </a:rPr>
                <a:t>, </a:t>
              </a:r>
              <a:r>
                <a:rPr lang="en-GB" sz="1200" kern="0" dirty="0" err="1">
                  <a:solidFill>
                    <a:srgbClr val="F3F4F3"/>
                  </a:solidFill>
                  <a:ea typeface="ヒラギノ角ゴ Pro W3" panose="020B0300000000000000" pitchFamily="34" charset="-128"/>
                  <a:cs typeface="Arial"/>
                </a:rPr>
                <a:t>dor</a:t>
              </a:r>
              <a:r>
                <a:rPr lang="en-GB" sz="1200" kern="0" dirty="0">
                  <a:solidFill>
                    <a:srgbClr val="F3F4F3"/>
                  </a:solidFill>
                  <a:ea typeface="ヒラギノ角ゴ Pro W3" panose="020B0300000000000000" pitchFamily="34" charset="-128"/>
                  <a:cs typeface="Arial"/>
                </a:rPr>
                <a:t> abdominal, </a:t>
              </a:r>
              <a:r>
                <a:rPr lang="en-US" sz="1200" kern="0" dirty="0" err="1">
                  <a:solidFill>
                    <a:srgbClr val="F3F4F3"/>
                  </a:solidFill>
                  <a:ea typeface="ヒラギノ角ゴ Pro W3" panose="020B0300000000000000" pitchFamily="34" charset="-128"/>
                  <a:cs typeface="Arial"/>
                </a:rPr>
                <a:t>dor</a:t>
              </a:r>
              <a:r>
                <a:rPr lang="en-US" sz="1200" kern="0" dirty="0">
                  <a:solidFill>
                    <a:srgbClr val="F3F4F3"/>
                  </a:solidFill>
                  <a:ea typeface="ヒラギノ角ゴ Pro W3" panose="020B0300000000000000" pitchFamily="34" charset="-128"/>
                  <a:cs typeface="Arial"/>
                </a:rPr>
                <a:t> no </a:t>
              </a:r>
              <a:r>
                <a:rPr lang="en-US" sz="1200" kern="0" dirty="0" err="1">
                  <a:solidFill>
                    <a:srgbClr val="F3F4F3"/>
                  </a:solidFill>
                  <a:ea typeface="ヒラギノ角ゴ Pro W3" panose="020B0300000000000000" pitchFamily="34" charset="-128"/>
                  <a:cs typeface="Arial"/>
                </a:rPr>
                <a:t>peito</a:t>
              </a:r>
              <a:endParaRPr lang="en-GB" sz="1200" kern="0" dirty="0">
                <a:solidFill>
                  <a:srgbClr val="F3F4F3"/>
                </a:solidFill>
                <a:ea typeface="ヒラギノ角ゴ Pro W3" panose="020B0300000000000000" pitchFamily="34" charset="-128"/>
                <a:cs typeface="Arial"/>
              </a:endParaRPr>
            </a:p>
          </p:txBody>
        </p:sp>
        <p:sp>
          <p:nvSpPr>
            <p:cNvPr id="106" name="Forma Livre: Forma 105">
              <a:extLst>
                <a:ext uri="{FF2B5EF4-FFF2-40B4-BE49-F238E27FC236}">
                  <a16:creationId xmlns:a16="http://schemas.microsoft.com/office/drawing/2014/main" id="{A1A31CD0-3983-116C-C08B-D363B860A7F1}"/>
                </a:ext>
              </a:extLst>
            </p:cNvPr>
            <p:cNvSpPr/>
            <p:nvPr/>
          </p:nvSpPr>
          <p:spPr>
            <a:xfrm>
              <a:off x="11234720" y="2876848"/>
              <a:ext cx="209320" cy="1983037"/>
            </a:xfrm>
            <a:custGeom>
              <a:avLst/>
              <a:gdLst>
                <a:gd name="connsiteX0" fmla="*/ 0 w 209320"/>
                <a:gd name="connsiteY0" fmla="*/ 1983037 h 1983037"/>
                <a:gd name="connsiteX1" fmla="*/ 209320 w 209320"/>
                <a:gd name="connsiteY1" fmla="*/ 1983037 h 1983037"/>
                <a:gd name="connsiteX2" fmla="*/ 209320 w 209320"/>
                <a:gd name="connsiteY2" fmla="*/ 0 h 1983037"/>
                <a:gd name="connsiteX3" fmla="*/ 33050 w 209320"/>
                <a:gd name="connsiteY3" fmla="*/ 0 h 1983037"/>
              </a:gdLst>
              <a:ahLst/>
              <a:cxnLst>
                <a:cxn ang="0">
                  <a:pos x="connsiteX0" y="connsiteY0"/>
                </a:cxn>
                <a:cxn ang="0">
                  <a:pos x="connsiteX1" y="connsiteY1"/>
                </a:cxn>
                <a:cxn ang="0">
                  <a:pos x="connsiteX2" y="connsiteY2"/>
                </a:cxn>
                <a:cxn ang="0">
                  <a:pos x="connsiteX3" y="connsiteY3"/>
                </a:cxn>
              </a:cxnLst>
              <a:rect l="l" t="t" r="r" b="b"/>
              <a:pathLst>
                <a:path w="209320" h="1983037">
                  <a:moveTo>
                    <a:pt x="0" y="1983037"/>
                  </a:moveTo>
                  <a:lnTo>
                    <a:pt x="209320" y="1983037"/>
                  </a:lnTo>
                  <a:lnTo>
                    <a:pt x="209320" y="0"/>
                  </a:lnTo>
                  <a:lnTo>
                    <a:pt x="33050" y="0"/>
                  </a:lnTo>
                </a:path>
              </a:pathLst>
            </a:custGeom>
            <a:noFill/>
            <a:ln>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108" name="Retângulo: Cantos Arredondados 107">
            <a:extLst>
              <a:ext uri="{FF2B5EF4-FFF2-40B4-BE49-F238E27FC236}">
                <a16:creationId xmlns:a16="http://schemas.microsoft.com/office/drawing/2014/main" id="{F87BEE40-8989-0352-C47B-2C827C12E64F}"/>
              </a:ext>
            </a:extLst>
          </p:cNvPr>
          <p:cNvSpPr/>
          <p:nvPr/>
        </p:nvSpPr>
        <p:spPr>
          <a:xfrm>
            <a:off x="0" y="5382154"/>
            <a:ext cx="12192000" cy="547485"/>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24" name="TextBox 44">
            <a:extLst>
              <a:ext uri="{FF2B5EF4-FFF2-40B4-BE49-F238E27FC236}">
                <a16:creationId xmlns:a16="http://schemas.microsoft.com/office/drawing/2014/main" id="{4B397BEA-51C8-E41B-7C00-F27B861574F2}"/>
              </a:ext>
            </a:extLst>
          </p:cNvPr>
          <p:cNvSpPr txBox="1"/>
          <p:nvPr/>
        </p:nvSpPr>
        <p:spPr>
          <a:xfrm>
            <a:off x="213547" y="5404656"/>
            <a:ext cx="11758741" cy="492443"/>
          </a:xfrm>
          <a:prstGeom prst="rect">
            <a:avLst/>
          </a:prstGeom>
          <a:noFill/>
        </p:spPr>
        <p:txBody>
          <a:bodyPr wrap="square" rtlCol="0">
            <a:spAutoFit/>
          </a:bodyPr>
          <a:lstStyle/>
          <a:p>
            <a:pPr algn="ctr">
              <a:defRPr/>
            </a:pPr>
            <a:r>
              <a:rPr lang="en-US" sz="1300" b="1" dirty="0">
                <a:solidFill>
                  <a:schemeClr val="bg1"/>
                </a:solidFill>
                <a:ea typeface="ヒラギノ角ゴ Pro W3" panose="020B0300000000000000" pitchFamily="34" charset="-128"/>
                <a:cs typeface="Arial"/>
              </a:rPr>
              <a:t>A </a:t>
            </a:r>
            <a:r>
              <a:rPr lang="en-US" sz="1300" b="1" dirty="0" err="1">
                <a:solidFill>
                  <a:schemeClr val="bg1"/>
                </a:solidFill>
                <a:ea typeface="ヒラギノ角ゴ Pro W3" panose="020B0300000000000000" pitchFamily="34" charset="-128"/>
                <a:cs typeface="Arial"/>
              </a:rPr>
              <a:t>ativação</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descontrolada</a:t>
            </a:r>
            <a:r>
              <a:rPr lang="en-US" sz="1300" b="1" dirty="0">
                <a:solidFill>
                  <a:schemeClr val="bg1"/>
                </a:solidFill>
                <a:ea typeface="ヒラギノ角ゴ Pro W3" panose="020B0300000000000000" pitchFamily="34" charset="-128"/>
                <a:cs typeface="Arial"/>
              </a:rPr>
              <a:t> do </a:t>
            </a:r>
            <a:r>
              <a:rPr lang="en-US" sz="1300" b="1" dirty="0" err="1">
                <a:solidFill>
                  <a:schemeClr val="bg1"/>
                </a:solidFill>
                <a:ea typeface="ヒラギノ角ゴ Pro W3" panose="020B0300000000000000" pitchFamily="34" charset="-128"/>
                <a:cs typeface="Arial"/>
              </a:rPr>
              <a:t>complemento</a:t>
            </a:r>
            <a:r>
              <a:rPr lang="en-US" sz="1300" b="1" dirty="0">
                <a:solidFill>
                  <a:schemeClr val="bg1"/>
                </a:solidFill>
                <a:ea typeface="ヒラギノ角ゴ Pro W3" panose="020B0300000000000000" pitchFamily="34" charset="-128"/>
                <a:cs typeface="Arial"/>
              </a:rPr>
              <a:t> terminal e </a:t>
            </a:r>
            <a:r>
              <a:rPr lang="en-US" sz="1300" b="1" dirty="0" err="1">
                <a:solidFill>
                  <a:schemeClr val="bg1"/>
                </a:solidFill>
                <a:ea typeface="ヒラギノ角ゴ Pro W3" panose="020B0300000000000000" pitchFamily="34" charset="-128"/>
                <a:cs typeface="Arial"/>
              </a:rPr>
              <a:t>subsequente</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hemólise</a:t>
            </a:r>
            <a:r>
              <a:rPr lang="en-US" sz="1300" b="1" dirty="0">
                <a:solidFill>
                  <a:schemeClr val="bg1"/>
                </a:solidFill>
                <a:ea typeface="ヒラギノ角ゴ Pro W3" panose="020B0300000000000000" pitchFamily="34" charset="-128"/>
                <a:cs typeface="Arial"/>
              </a:rPr>
              <a:t> intravascular é </a:t>
            </a:r>
            <a:r>
              <a:rPr lang="en-US" sz="1300" b="1" dirty="0" err="1">
                <a:solidFill>
                  <a:schemeClr val="bg1"/>
                </a:solidFill>
                <a:ea typeface="ヒラギノ角ゴ Pro W3" panose="020B0300000000000000" pitchFamily="34" charset="-128"/>
                <a:cs typeface="Arial"/>
              </a:rPr>
              <a:t>medida</a:t>
            </a:r>
            <a:r>
              <a:rPr lang="en-US" sz="1300" b="1" dirty="0">
                <a:solidFill>
                  <a:schemeClr val="bg1"/>
                </a:solidFill>
                <a:ea typeface="ヒラギノ角ゴ Pro W3" panose="020B0300000000000000" pitchFamily="34" charset="-128"/>
                <a:cs typeface="Arial"/>
              </a:rPr>
              <a:t> pela LDH. </a:t>
            </a:r>
            <a:r>
              <a:rPr lang="en-US" sz="1300" b="1" dirty="0" err="1">
                <a:solidFill>
                  <a:schemeClr val="bg1"/>
                </a:solidFill>
                <a:ea typeface="ヒラギノ角ゴ Pro W3" panose="020B0300000000000000" pitchFamily="34" charset="-128"/>
                <a:cs typeface="Arial"/>
              </a:rPr>
              <a:t>Níveis</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elevados</a:t>
            </a:r>
            <a:r>
              <a:rPr lang="en-US" sz="1300" b="1" dirty="0">
                <a:solidFill>
                  <a:schemeClr val="bg1"/>
                </a:solidFill>
                <a:ea typeface="ヒラギノ角ゴ Pro W3" panose="020B0300000000000000" pitchFamily="34" charset="-128"/>
                <a:cs typeface="Arial"/>
              </a:rPr>
              <a:t> de LDH </a:t>
            </a:r>
            <a:r>
              <a:rPr lang="en-US" sz="1300" b="1" dirty="0" err="1">
                <a:solidFill>
                  <a:schemeClr val="bg1"/>
                </a:solidFill>
                <a:ea typeface="ヒラギノ角ゴ Pro W3" panose="020B0300000000000000" pitchFamily="34" charset="-128"/>
                <a:cs typeface="Arial"/>
              </a:rPr>
              <a:t>indicam</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alta</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atividade</a:t>
            </a:r>
            <a:r>
              <a:rPr lang="en-US" sz="1300" b="1" dirty="0">
                <a:solidFill>
                  <a:schemeClr val="bg1"/>
                </a:solidFill>
                <a:ea typeface="ヒラギノ角ゴ Pro W3" panose="020B0300000000000000" pitchFamily="34" charset="-128"/>
                <a:cs typeface="Arial"/>
              </a:rPr>
              <a:t> da </a:t>
            </a:r>
            <a:r>
              <a:rPr lang="en-US" sz="1300" b="1" dirty="0" err="1">
                <a:solidFill>
                  <a:schemeClr val="bg1"/>
                </a:solidFill>
                <a:ea typeface="ヒラギノ角ゴ Pro W3" panose="020B0300000000000000" pitchFamily="34" charset="-128"/>
                <a:cs typeface="Arial"/>
              </a:rPr>
              <a:t>doença</a:t>
            </a:r>
            <a:r>
              <a:rPr lang="en-US" sz="1300" b="1" baseline="30000" dirty="0" err="1">
                <a:solidFill>
                  <a:schemeClr val="bg1"/>
                </a:solidFill>
                <a:ea typeface="ヒラギノ角ゴ Pro W3" panose="020B0300000000000000" pitchFamily="34" charset="-128"/>
                <a:cs typeface="Arial"/>
              </a:rPr>
              <a:t>a</a:t>
            </a:r>
            <a:r>
              <a:rPr lang="en-US" sz="1300" b="1" dirty="0">
                <a:solidFill>
                  <a:schemeClr val="bg1"/>
                </a:solidFill>
                <a:ea typeface="ヒラギノ角ゴ Pro W3" panose="020B0300000000000000" pitchFamily="34" charset="-128"/>
                <a:cs typeface="Arial"/>
              </a:rPr>
              <a:t> e </a:t>
            </a:r>
            <a:r>
              <a:rPr lang="en-US" sz="1300" b="1" dirty="0" err="1">
                <a:solidFill>
                  <a:schemeClr val="bg1"/>
                </a:solidFill>
                <a:ea typeface="ヒラギノ角ゴ Pro W3" panose="020B0300000000000000" pitchFamily="34" charset="-128"/>
                <a:cs typeface="Arial"/>
              </a:rPr>
              <a:t>estão</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correlacionados</a:t>
            </a:r>
            <a:r>
              <a:rPr lang="en-US" sz="1300" b="1" dirty="0">
                <a:solidFill>
                  <a:schemeClr val="bg1"/>
                </a:solidFill>
                <a:ea typeface="ヒラギノ角ゴ Pro W3" panose="020B0300000000000000" pitchFamily="34" charset="-128"/>
                <a:cs typeface="Arial"/>
              </a:rPr>
              <a:t> com as </a:t>
            </a:r>
            <a:r>
              <a:rPr lang="en-US" sz="1300" b="1" dirty="0" err="1">
                <a:solidFill>
                  <a:schemeClr val="bg1"/>
                </a:solidFill>
                <a:ea typeface="ヒラギノ角ゴ Pro W3" panose="020B0300000000000000" pitchFamily="34" charset="-128"/>
                <a:cs typeface="Arial"/>
              </a:rPr>
              <a:t>consequências</a:t>
            </a:r>
            <a:r>
              <a:rPr lang="en-US" sz="1300" b="1" dirty="0">
                <a:solidFill>
                  <a:schemeClr val="bg1"/>
                </a:solidFill>
                <a:ea typeface="ヒラギノ角ゴ Pro W3" panose="020B0300000000000000" pitchFamily="34" charset="-128"/>
                <a:cs typeface="Arial"/>
              </a:rPr>
              <a:t> da HPN, </a:t>
            </a:r>
            <a:r>
              <a:rPr lang="en-US" sz="1300" b="1" dirty="0" err="1">
                <a:solidFill>
                  <a:schemeClr val="bg1"/>
                </a:solidFill>
                <a:ea typeface="ヒラギノ角ゴ Pro W3" panose="020B0300000000000000" pitchFamily="34" charset="-128"/>
                <a:cs typeface="Arial"/>
              </a:rPr>
              <a:t>incluindo</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trombose</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comprometimento</a:t>
            </a:r>
            <a:r>
              <a:rPr lang="en-US" sz="1300" b="1" dirty="0">
                <a:solidFill>
                  <a:schemeClr val="bg1"/>
                </a:solidFill>
                <a:ea typeface="ヒラギノ角ゴ Pro W3" panose="020B0300000000000000" pitchFamily="34" charset="-128"/>
                <a:cs typeface="Arial"/>
              </a:rPr>
              <a:t> renal, </a:t>
            </a:r>
            <a:r>
              <a:rPr lang="en-US" sz="1300" b="1" dirty="0" err="1">
                <a:solidFill>
                  <a:schemeClr val="bg1"/>
                </a:solidFill>
                <a:ea typeface="ヒラギノ角ゴ Pro W3" panose="020B0300000000000000" pitchFamily="34" charset="-128"/>
                <a:cs typeface="Arial"/>
              </a:rPr>
              <a:t>hipertensão</a:t>
            </a:r>
            <a:r>
              <a:rPr lang="en-US" sz="1300" b="1" dirty="0">
                <a:solidFill>
                  <a:schemeClr val="bg1"/>
                </a:solidFill>
                <a:ea typeface="ヒラギノ角ゴ Pro W3" panose="020B0300000000000000" pitchFamily="34" charset="-128"/>
                <a:cs typeface="Arial"/>
              </a:rPr>
              <a:t> </a:t>
            </a:r>
            <a:r>
              <a:rPr lang="en-US" sz="1300" b="1" dirty="0" err="1">
                <a:solidFill>
                  <a:schemeClr val="bg1"/>
                </a:solidFill>
                <a:ea typeface="ヒラギノ角ゴ Pro W3" panose="020B0300000000000000" pitchFamily="34" charset="-128"/>
                <a:cs typeface="Arial"/>
              </a:rPr>
              <a:t>pulmonar</a:t>
            </a:r>
            <a:r>
              <a:rPr lang="en-US" sz="1300" b="1" dirty="0">
                <a:solidFill>
                  <a:schemeClr val="bg1"/>
                </a:solidFill>
                <a:ea typeface="ヒラギノ角ゴ Pro W3" panose="020B0300000000000000" pitchFamily="34" charset="-128"/>
                <a:cs typeface="Arial"/>
              </a:rPr>
              <a:t> e, </a:t>
            </a:r>
            <a:r>
              <a:rPr lang="en-US" sz="1300" b="1" dirty="0" err="1">
                <a:solidFill>
                  <a:schemeClr val="bg1"/>
                </a:solidFill>
                <a:ea typeface="ヒラギノ角ゴ Pro W3" panose="020B0300000000000000" pitchFamily="34" charset="-128"/>
                <a:cs typeface="Arial"/>
              </a:rPr>
              <a:t>potencialmente</a:t>
            </a:r>
            <a:r>
              <a:rPr lang="en-US" sz="1300" b="1" dirty="0">
                <a:solidFill>
                  <a:schemeClr val="bg1"/>
                </a:solidFill>
                <a:ea typeface="ヒラギノ角ゴ Pro W3" panose="020B0300000000000000" pitchFamily="34" charset="-128"/>
                <a:cs typeface="Arial"/>
              </a:rPr>
              <a:t>, morte</a:t>
            </a:r>
            <a:r>
              <a:rPr lang="en-US" sz="1300" b="1" baseline="30000" dirty="0">
                <a:solidFill>
                  <a:schemeClr val="bg1"/>
                </a:solidFill>
                <a:ea typeface="ヒラギノ角ゴ Pro W3" panose="020B0300000000000000" pitchFamily="34" charset="-128"/>
                <a:cs typeface="Arial"/>
              </a:rPr>
              <a:t>3,4</a:t>
            </a:r>
            <a:endParaRPr lang="en-US" sz="1300" b="1" dirty="0">
              <a:solidFill>
                <a:schemeClr val="bg1"/>
              </a:solidFill>
              <a:ea typeface="ヒラギノ角ゴ Pro W3" panose="020B0300000000000000" pitchFamily="34" charset="-128"/>
              <a:cs typeface="Arial"/>
            </a:endParaRPr>
          </a:p>
        </p:txBody>
      </p:sp>
    </p:spTree>
    <p:extLst>
      <p:ext uri="{BB962C8B-B14F-4D97-AF65-F5344CB8AC3E}">
        <p14:creationId xmlns:p14="http://schemas.microsoft.com/office/powerpoint/2010/main" val="309647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childTnLst>
                          </p:cTn>
                        </p:par>
                        <p:par>
                          <p:cTn id="16" fill="hold">
                            <p:stCondLst>
                              <p:cond delay="2500"/>
                            </p:stCondLst>
                            <p:childTnLst>
                              <p:par>
                                <p:cTn id="17" presetID="2" presetClass="entr" presetSubtype="8" fill="hold" grpId="0" nodeType="afterEffect">
                                  <p:stCondLst>
                                    <p:cond delay="500"/>
                                  </p:stCondLst>
                                  <p:childTnLst>
                                    <p:set>
                                      <p:cBhvr>
                                        <p:cTn id="18" dur="1" fill="hold">
                                          <p:stCondLst>
                                            <p:cond delay="0"/>
                                          </p:stCondLst>
                                        </p:cTn>
                                        <p:tgtEl>
                                          <p:spTgt spid="108"/>
                                        </p:tgtEl>
                                        <p:attrNameLst>
                                          <p:attrName>style.visibility</p:attrName>
                                        </p:attrNameLst>
                                      </p:cBhvr>
                                      <p:to>
                                        <p:strVal val="visible"/>
                                      </p:to>
                                    </p:set>
                                    <p:anim calcmode="lin" valueType="num">
                                      <p:cBhvr additive="base">
                                        <p:cTn id="19" dur="500" fill="hold"/>
                                        <p:tgtEl>
                                          <p:spTgt spid="108"/>
                                        </p:tgtEl>
                                        <p:attrNameLst>
                                          <p:attrName>ppt_x</p:attrName>
                                        </p:attrNameLst>
                                      </p:cBhvr>
                                      <p:tavLst>
                                        <p:tav tm="0">
                                          <p:val>
                                            <p:strVal val="0-#ppt_w/2"/>
                                          </p:val>
                                        </p:tav>
                                        <p:tav tm="100000">
                                          <p:val>
                                            <p:strVal val="#ppt_x"/>
                                          </p:val>
                                        </p:tav>
                                      </p:tavLst>
                                    </p:anim>
                                    <p:anim calcmode="lin" valueType="num">
                                      <p:cBhvr additive="base">
                                        <p:cTn id="20" dur="500" fill="hold"/>
                                        <p:tgtEl>
                                          <p:spTgt spid="108"/>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75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2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tângulo: Cantos Arredondados 106">
            <a:extLst>
              <a:ext uri="{FF2B5EF4-FFF2-40B4-BE49-F238E27FC236}">
                <a16:creationId xmlns:a16="http://schemas.microsoft.com/office/drawing/2014/main" id="{59601B86-1F6A-CB85-E5F2-9F3ECC1E7275}"/>
              </a:ext>
            </a:extLst>
          </p:cNvPr>
          <p:cNvSpPr/>
          <p:nvPr/>
        </p:nvSpPr>
        <p:spPr>
          <a:xfrm flipH="1">
            <a:off x="356683" y="1888022"/>
            <a:ext cx="9518347" cy="4026804"/>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ea typeface="+mn-ea"/>
              <a:cs typeface="Leelawadee UI Semilight" panose="020B0402040204020203" pitchFamily="34" charset="-34"/>
            </a:endParaRPr>
          </a:p>
        </p:txBody>
      </p:sp>
      <p:sp>
        <p:nvSpPr>
          <p:cNvPr id="76" name="Espaço Reservado para Texto 75">
            <a:extLst>
              <a:ext uri="{FF2B5EF4-FFF2-40B4-BE49-F238E27FC236}">
                <a16:creationId xmlns:a16="http://schemas.microsoft.com/office/drawing/2014/main" id="{FF07478B-4765-EE95-948D-DE2F09983015}"/>
              </a:ext>
            </a:extLst>
          </p:cNvPr>
          <p:cNvSpPr>
            <a:spLocks noGrp="1"/>
          </p:cNvSpPr>
          <p:nvPr>
            <p:ph type="body" sz="quarter" idx="111"/>
          </p:nvPr>
        </p:nvSpPr>
        <p:spPr>
          <a:xfrm>
            <a:off x="0" y="5788680"/>
            <a:ext cx="11518900" cy="1136318"/>
          </a:xfrm>
        </p:spPr>
        <p:txBody>
          <a:bodyPr/>
          <a:lstStyle/>
          <a:p>
            <a:pPr>
              <a:lnSpc>
                <a:spcPct val="100000"/>
              </a:lnSpc>
              <a:spcAft>
                <a:spcPts val="0"/>
              </a:spcAft>
            </a:pPr>
            <a:r>
              <a:rPr lang="pt-BR" sz="700" dirty="0"/>
              <a:t>C3, C3a, C3b, C5, C5a, C5b, C6—9: componentes do complemento 5, 5a, 5b, 6—9; PF, </a:t>
            </a:r>
            <a:r>
              <a:rPr lang="pt-BR" sz="700" dirty="0" err="1"/>
              <a:t>correctina</a:t>
            </a:r>
            <a:r>
              <a:rPr lang="pt-BR" sz="700" dirty="0"/>
              <a:t>; CAM, complexo de ataque à membrana; </a:t>
            </a:r>
            <a:r>
              <a:rPr lang="pt-BR" sz="700" dirty="0" err="1"/>
              <a:t>MoA</a:t>
            </a:r>
            <a:r>
              <a:rPr lang="pt-BR" sz="700" dirty="0"/>
              <a:t>, mecanismo de ação</a:t>
            </a:r>
          </a:p>
          <a:p>
            <a:pPr>
              <a:lnSpc>
                <a:spcPct val="100000"/>
              </a:lnSpc>
              <a:spcAft>
                <a:spcPts val="0"/>
              </a:spcAft>
            </a:pPr>
            <a:r>
              <a:rPr lang="pt-BR" sz="600" dirty="0"/>
              <a:t>1. </a:t>
            </a:r>
            <a:r>
              <a:rPr lang="pt-BR" sz="600" dirty="0" err="1"/>
              <a:t>Ricklin</a:t>
            </a:r>
            <a:r>
              <a:rPr lang="pt-BR" sz="600" dirty="0"/>
              <a:t> D, Reis ES, Lambris JD. </a:t>
            </a:r>
            <a:r>
              <a:rPr lang="pt-BR" sz="600" dirty="0" err="1"/>
              <a:t>Complement</a:t>
            </a:r>
            <a:r>
              <a:rPr lang="pt-BR" sz="600" dirty="0"/>
              <a:t> in </a:t>
            </a:r>
            <a:r>
              <a:rPr lang="pt-BR" sz="600" dirty="0" err="1"/>
              <a:t>disease</a:t>
            </a:r>
            <a:r>
              <a:rPr lang="pt-BR" sz="600" dirty="0"/>
              <a:t>: a </a:t>
            </a:r>
            <a:r>
              <a:rPr lang="pt-BR" sz="600" dirty="0" err="1"/>
              <a:t>defence</a:t>
            </a:r>
            <a:r>
              <a:rPr lang="pt-BR" sz="600" dirty="0"/>
              <a:t> system </a:t>
            </a:r>
            <a:r>
              <a:rPr lang="pt-BR" sz="600" dirty="0" err="1"/>
              <a:t>turning</a:t>
            </a:r>
            <a:r>
              <a:rPr lang="pt-BR" sz="600" dirty="0"/>
              <a:t> </a:t>
            </a:r>
            <a:r>
              <a:rPr lang="pt-BR" sz="600" dirty="0" err="1"/>
              <a:t>offensive</a:t>
            </a:r>
            <a:r>
              <a:rPr lang="pt-BR" sz="600" dirty="0"/>
              <a:t>. Nat </a:t>
            </a:r>
            <a:r>
              <a:rPr lang="pt-BR" sz="600" dirty="0" err="1"/>
              <a:t>Rev</a:t>
            </a:r>
            <a:r>
              <a:rPr lang="pt-BR" sz="600" dirty="0"/>
              <a:t> </a:t>
            </a:r>
            <a:r>
              <a:rPr lang="pt-BR" sz="600" dirty="0" err="1"/>
              <a:t>Nephrol</a:t>
            </a:r>
            <a:r>
              <a:rPr lang="pt-BR" sz="600" dirty="0"/>
              <a:t>. 2016 Jul;12(7):383-401. 2. Dutra BG, da Rocha AJ, Nunes RH et al. </a:t>
            </a:r>
            <a:r>
              <a:rPr lang="pt-BR" sz="600" dirty="0" err="1"/>
              <a:t>Neuromyelitis</a:t>
            </a:r>
            <a:r>
              <a:rPr lang="pt-BR" sz="600" dirty="0"/>
              <a:t> </a:t>
            </a:r>
            <a:r>
              <a:rPr lang="pt-BR" sz="600" dirty="0" err="1"/>
              <a:t>Optica</a:t>
            </a:r>
            <a:r>
              <a:rPr lang="pt-BR" sz="600" dirty="0"/>
              <a:t> Spectrum </a:t>
            </a:r>
            <a:r>
              <a:rPr lang="pt-BR" sz="600" dirty="0" err="1"/>
              <a:t>Disorders</a:t>
            </a:r>
            <a:r>
              <a:rPr lang="pt-BR" sz="600" dirty="0"/>
              <a:t>: Spectrum </a:t>
            </a:r>
            <a:r>
              <a:rPr lang="pt-BR" sz="600" dirty="0" err="1"/>
              <a:t>of</a:t>
            </a:r>
            <a:r>
              <a:rPr lang="pt-BR" sz="600" dirty="0"/>
              <a:t> MR Imaging </a:t>
            </a:r>
            <a:r>
              <a:rPr lang="pt-BR" sz="600" dirty="0" err="1"/>
              <a:t>Findings</a:t>
            </a:r>
            <a:r>
              <a:rPr lang="pt-BR" sz="600" dirty="0"/>
              <a:t> </a:t>
            </a:r>
            <a:r>
              <a:rPr lang="pt-BR" sz="600" dirty="0" err="1"/>
              <a:t>and</a:t>
            </a:r>
            <a:r>
              <a:rPr lang="pt-BR" sz="600" dirty="0"/>
              <a:t> </a:t>
            </a:r>
            <a:r>
              <a:rPr lang="pt-BR" sz="600" dirty="0" err="1"/>
              <a:t>Their</a:t>
            </a:r>
            <a:r>
              <a:rPr lang="pt-BR" sz="600" dirty="0"/>
              <a:t> </a:t>
            </a:r>
            <a:r>
              <a:rPr lang="pt-BR" sz="600" dirty="0" err="1"/>
              <a:t>Differential</a:t>
            </a:r>
            <a:r>
              <a:rPr lang="pt-BR" sz="600" dirty="0"/>
              <a:t> </a:t>
            </a:r>
            <a:r>
              <a:rPr lang="pt-BR" sz="600" dirty="0" err="1"/>
              <a:t>Diagnosis</a:t>
            </a:r>
            <a:r>
              <a:rPr lang="pt-BR" sz="600" dirty="0"/>
              <a:t>. </a:t>
            </a:r>
            <a:r>
              <a:rPr lang="pt-BR" sz="600" dirty="0" err="1"/>
              <a:t>Radiographics</a:t>
            </a:r>
            <a:r>
              <a:rPr lang="pt-BR" sz="600" dirty="0"/>
              <a:t>. 2018 Jan-Feb;38(1):169-193. 3. </a:t>
            </a:r>
            <a:r>
              <a:rPr lang="pt-BR" sz="600" dirty="0" err="1"/>
              <a:t>Walport</a:t>
            </a:r>
            <a:r>
              <a:rPr lang="pt-BR" sz="600" dirty="0"/>
              <a:t> MJ. </a:t>
            </a:r>
            <a:r>
              <a:rPr lang="pt-BR" sz="600" dirty="0" err="1"/>
              <a:t>Complement</a:t>
            </a:r>
            <a:r>
              <a:rPr lang="pt-BR" sz="600" dirty="0"/>
              <a:t>. </a:t>
            </a:r>
            <a:r>
              <a:rPr lang="pt-BR" sz="600" dirty="0" err="1"/>
              <a:t>First</a:t>
            </a:r>
            <a:r>
              <a:rPr lang="pt-BR" sz="600" dirty="0"/>
              <a:t> </a:t>
            </a:r>
            <a:r>
              <a:rPr lang="pt-BR" sz="600" dirty="0" err="1"/>
              <a:t>of</a:t>
            </a:r>
            <a:r>
              <a:rPr lang="pt-BR" sz="600" dirty="0"/>
              <a:t> </a:t>
            </a:r>
            <a:r>
              <a:rPr lang="pt-BR" sz="600" dirty="0" err="1"/>
              <a:t>two</a:t>
            </a:r>
            <a:r>
              <a:rPr lang="pt-BR" sz="600" dirty="0"/>
              <a:t> </a:t>
            </a:r>
            <a:r>
              <a:rPr lang="pt-BR" sz="600" dirty="0" err="1"/>
              <a:t>parts</a:t>
            </a:r>
            <a:r>
              <a:rPr lang="pt-BR" sz="600" dirty="0"/>
              <a:t>. N </a:t>
            </a:r>
            <a:r>
              <a:rPr lang="pt-BR" sz="600" dirty="0" err="1"/>
              <a:t>Engl</a:t>
            </a:r>
            <a:r>
              <a:rPr lang="pt-BR" sz="600" dirty="0"/>
              <a:t> J Med. 2001 </a:t>
            </a:r>
            <a:r>
              <a:rPr lang="pt-BR" sz="600" dirty="0" err="1"/>
              <a:t>Apr</a:t>
            </a:r>
            <a:r>
              <a:rPr lang="pt-BR" sz="600" dirty="0"/>
              <a:t> 5;344(14):1058-66. </a:t>
            </a:r>
            <a:r>
              <a:rPr lang="pt-BR" sz="600" dirty="0" err="1"/>
              <a:t>doi</a:t>
            </a:r>
            <a:r>
              <a:rPr lang="pt-BR" sz="600" dirty="0"/>
              <a:t>: 10.1056/NEJM200104053441406. PMID: 11287977. 4. Jodele S. </a:t>
            </a:r>
            <a:r>
              <a:rPr lang="pt-BR" sz="600" dirty="0" err="1"/>
              <a:t>Complement</a:t>
            </a:r>
            <a:r>
              <a:rPr lang="pt-BR" sz="600" dirty="0"/>
              <a:t> in </a:t>
            </a:r>
            <a:r>
              <a:rPr lang="pt-BR" sz="600" dirty="0" err="1"/>
              <a:t>Pathophysiology</a:t>
            </a:r>
            <a:r>
              <a:rPr lang="pt-BR" sz="600" dirty="0"/>
              <a:t> </a:t>
            </a:r>
            <a:r>
              <a:rPr lang="pt-BR" sz="600" dirty="0" err="1"/>
              <a:t>and</a:t>
            </a:r>
            <a:r>
              <a:rPr lang="pt-BR" sz="600" dirty="0"/>
              <a:t> </a:t>
            </a:r>
            <a:r>
              <a:rPr lang="pt-BR" sz="600" dirty="0" err="1"/>
              <a:t>Treatment</a:t>
            </a:r>
            <a:r>
              <a:rPr lang="pt-BR" sz="600" dirty="0"/>
              <a:t> </a:t>
            </a:r>
            <a:r>
              <a:rPr lang="pt-BR" sz="600" dirty="0" err="1"/>
              <a:t>of</a:t>
            </a:r>
            <a:r>
              <a:rPr lang="pt-BR" sz="600" dirty="0"/>
              <a:t> </a:t>
            </a:r>
            <a:r>
              <a:rPr lang="pt-BR" sz="600" dirty="0" err="1"/>
              <a:t>Transplant</a:t>
            </a:r>
            <a:r>
              <a:rPr lang="pt-BR" sz="600" dirty="0"/>
              <a:t>-Associated </a:t>
            </a:r>
            <a:r>
              <a:rPr lang="pt-BR" sz="600" dirty="0" err="1"/>
              <a:t>Thrombotic</a:t>
            </a:r>
            <a:r>
              <a:rPr lang="pt-BR" sz="600" dirty="0"/>
              <a:t> </a:t>
            </a:r>
            <a:r>
              <a:rPr lang="pt-BR" sz="600" dirty="0" err="1"/>
              <a:t>Microangiopathies</a:t>
            </a:r>
            <a:r>
              <a:rPr lang="pt-BR" sz="600" dirty="0"/>
              <a:t>. </a:t>
            </a:r>
            <a:r>
              <a:rPr lang="pt-BR" sz="600" dirty="0" err="1"/>
              <a:t>Semin</a:t>
            </a:r>
            <a:r>
              <a:rPr lang="pt-BR" sz="600" dirty="0"/>
              <a:t> </a:t>
            </a:r>
            <a:r>
              <a:rPr lang="pt-BR" sz="600" dirty="0" err="1"/>
              <a:t>Hematol</a:t>
            </a:r>
            <a:r>
              <a:rPr lang="pt-BR" sz="600" dirty="0"/>
              <a:t>. 2018 Jul;55(3):159-166. 5. Yuan X, </a:t>
            </a:r>
            <a:r>
              <a:rPr lang="pt-BR" sz="600" dirty="0" err="1"/>
              <a:t>Gavriilaki</a:t>
            </a:r>
            <a:r>
              <a:rPr lang="pt-BR" sz="600" dirty="0"/>
              <a:t> E, </a:t>
            </a:r>
            <a:r>
              <a:rPr lang="pt-BR" sz="600" dirty="0" err="1"/>
              <a:t>Thanassi</a:t>
            </a:r>
            <a:r>
              <a:rPr lang="pt-BR" sz="600" dirty="0"/>
              <a:t> JA et al. </a:t>
            </a:r>
            <a:r>
              <a:rPr lang="pt-BR" sz="600" dirty="0" err="1"/>
              <a:t>Small-molecule</a:t>
            </a:r>
            <a:r>
              <a:rPr lang="pt-BR" sz="600" dirty="0"/>
              <a:t> </a:t>
            </a:r>
            <a:r>
              <a:rPr lang="pt-BR" sz="600" dirty="0" err="1"/>
              <a:t>factor</a:t>
            </a:r>
            <a:r>
              <a:rPr lang="pt-BR" sz="600" dirty="0"/>
              <a:t> D </a:t>
            </a:r>
            <a:r>
              <a:rPr lang="pt-BR" sz="600" dirty="0" err="1"/>
              <a:t>inhibitors</a:t>
            </a:r>
            <a:r>
              <a:rPr lang="pt-BR" sz="600" dirty="0"/>
              <a:t> </a:t>
            </a:r>
            <a:r>
              <a:rPr lang="pt-BR" sz="600" dirty="0" err="1"/>
              <a:t>selectively</a:t>
            </a:r>
            <a:r>
              <a:rPr lang="pt-BR" sz="600" dirty="0"/>
              <a:t> </a:t>
            </a:r>
            <a:r>
              <a:rPr lang="pt-BR" sz="600" dirty="0" err="1"/>
              <a:t>block</a:t>
            </a:r>
            <a:r>
              <a:rPr lang="pt-BR" sz="600" dirty="0"/>
              <a:t> </a:t>
            </a:r>
            <a:r>
              <a:rPr lang="pt-BR" sz="600" dirty="0" err="1"/>
              <a:t>the</a:t>
            </a:r>
            <a:r>
              <a:rPr lang="pt-BR" sz="600" dirty="0"/>
              <a:t> </a:t>
            </a:r>
            <a:r>
              <a:rPr lang="pt-BR" sz="600" dirty="0" err="1"/>
              <a:t>alternative</a:t>
            </a:r>
            <a:r>
              <a:rPr lang="pt-BR" sz="600" dirty="0"/>
              <a:t> </a:t>
            </a:r>
            <a:r>
              <a:rPr lang="pt-BR" sz="600" dirty="0" err="1"/>
              <a:t>pathway</a:t>
            </a:r>
            <a:r>
              <a:rPr lang="pt-BR" sz="600" dirty="0"/>
              <a:t> </a:t>
            </a:r>
            <a:r>
              <a:rPr lang="pt-BR" sz="600" dirty="0" err="1"/>
              <a:t>of</a:t>
            </a:r>
            <a:r>
              <a:rPr lang="pt-BR" sz="600" dirty="0"/>
              <a:t> </a:t>
            </a:r>
            <a:r>
              <a:rPr lang="pt-BR" sz="600" dirty="0" err="1"/>
              <a:t>complement</a:t>
            </a:r>
            <a:r>
              <a:rPr lang="pt-BR" sz="600" dirty="0"/>
              <a:t> in </a:t>
            </a:r>
            <a:r>
              <a:rPr lang="pt-BR" sz="600" dirty="0" err="1"/>
              <a:t>paroxysmal</a:t>
            </a:r>
            <a:r>
              <a:rPr lang="pt-BR" sz="600" dirty="0"/>
              <a:t> </a:t>
            </a:r>
            <a:r>
              <a:rPr lang="pt-BR" sz="600" dirty="0" err="1"/>
              <a:t>nocturnal</a:t>
            </a:r>
            <a:r>
              <a:rPr lang="pt-BR" sz="600" dirty="0"/>
              <a:t> </a:t>
            </a:r>
            <a:r>
              <a:rPr lang="pt-BR" sz="600" dirty="0" err="1"/>
              <a:t>hemoglobinuria</a:t>
            </a:r>
            <a:r>
              <a:rPr lang="pt-BR" sz="600" dirty="0"/>
              <a:t> </a:t>
            </a:r>
            <a:r>
              <a:rPr lang="pt-BR" sz="600" dirty="0" err="1"/>
              <a:t>and</a:t>
            </a:r>
            <a:r>
              <a:rPr lang="pt-BR" sz="600" dirty="0"/>
              <a:t> </a:t>
            </a:r>
            <a:r>
              <a:rPr lang="pt-BR" sz="600" dirty="0" err="1"/>
              <a:t>atypical</a:t>
            </a:r>
            <a:r>
              <a:rPr lang="pt-BR" sz="600" dirty="0"/>
              <a:t> </a:t>
            </a:r>
            <a:r>
              <a:rPr lang="pt-BR" sz="600" dirty="0" err="1"/>
              <a:t>hemolytic</a:t>
            </a:r>
            <a:r>
              <a:rPr lang="pt-BR" sz="600" dirty="0"/>
              <a:t> </a:t>
            </a:r>
            <a:r>
              <a:rPr lang="pt-BR" sz="600" dirty="0" err="1"/>
              <a:t>uremic</a:t>
            </a:r>
            <a:r>
              <a:rPr lang="pt-BR" sz="600" dirty="0"/>
              <a:t> </a:t>
            </a:r>
            <a:r>
              <a:rPr lang="pt-BR" sz="600" dirty="0" err="1"/>
              <a:t>syndrome</a:t>
            </a:r>
            <a:r>
              <a:rPr lang="pt-BR" sz="600" dirty="0"/>
              <a:t>. </a:t>
            </a:r>
            <a:r>
              <a:rPr lang="pt-BR" sz="600" dirty="0" err="1"/>
              <a:t>Haematologica</a:t>
            </a:r>
            <a:r>
              <a:rPr lang="pt-BR" sz="600" dirty="0"/>
              <a:t>. 2017 Mar;102(3):466-475. 6. </a:t>
            </a:r>
            <a:r>
              <a:rPr lang="pt-BR" sz="600" dirty="0" err="1"/>
              <a:t>Barratt</a:t>
            </a:r>
            <a:r>
              <a:rPr lang="pt-BR" sz="600" dirty="0"/>
              <a:t> J, </a:t>
            </a:r>
            <a:r>
              <a:rPr lang="pt-BR" sz="600" dirty="0" err="1"/>
              <a:t>Weitz</a:t>
            </a:r>
            <a:r>
              <a:rPr lang="pt-BR" sz="600" dirty="0"/>
              <a:t> I. </a:t>
            </a:r>
            <a:r>
              <a:rPr lang="pt-BR" sz="600" dirty="0" err="1"/>
              <a:t>Complement</a:t>
            </a:r>
            <a:r>
              <a:rPr lang="pt-BR" sz="600" dirty="0"/>
              <a:t> Factor D as a </a:t>
            </a:r>
            <a:r>
              <a:rPr lang="pt-BR" sz="600" dirty="0" err="1"/>
              <a:t>Strategic</a:t>
            </a:r>
            <a:r>
              <a:rPr lang="pt-BR" sz="600" dirty="0"/>
              <a:t> Target for </a:t>
            </a:r>
            <a:r>
              <a:rPr lang="pt-BR" sz="600" dirty="0" err="1"/>
              <a:t>Regulating</a:t>
            </a:r>
            <a:r>
              <a:rPr lang="pt-BR" sz="600" dirty="0"/>
              <a:t> </a:t>
            </a:r>
            <a:r>
              <a:rPr lang="pt-BR" sz="600" dirty="0" err="1"/>
              <a:t>the</a:t>
            </a:r>
            <a:r>
              <a:rPr lang="pt-BR" sz="600" dirty="0"/>
              <a:t> </a:t>
            </a:r>
            <a:r>
              <a:rPr lang="pt-BR" sz="600" dirty="0" err="1"/>
              <a:t>Alternative</a:t>
            </a:r>
            <a:r>
              <a:rPr lang="pt-BR" sz="600" dirty="0"/>
              <a:t> </a:t>
            </a:r>
            <a:r>
              <a:rPr lang="pt-BR" sz="600" dirty="0" err="1"/>
              <a:t>Complement</a:t>
            </a:r>
            <a:r>
              <a:rPr lang="pt-BR" sz="600" dirty="0"/>
              <a:t> </a:t>
            </a:r>
            <a:r>
              <a:rPr lang="pt-BR" sz="600" dirty="0" err="1"/>
              <a:t>Pathway</a:t>
            </a:r>
            <a:r>
              <a:rPr lang="pt-BR" sz="600" dirty="0"/>
              <a:t>. Front </a:t>
            </a:r>
            <a:r>
              <a:rPr lang="pt-BR" sz="600" dirty="0" err="1"/>
              <a:t>Immunol</a:t>
            </a:r>
            <a:r>
              <a:rPr lang="pt-BR" sz="600" dirty="0"/>
              <a:t>. 2021 </a:t>
            </a:r>
            <a:r>
              <a:rPr lang="pt-BR" sz="600" dirty="0" err="1"/>
              <a:t>Sep</a:t>
            </a:r>
            <a:r>
              <a:rPr lang="pt-BR" sz="600" dirty="0"/>
              <a:t> 9;12:712572. 7. Agência Nacional de Vigilância Sanitária (ANVISA). Relatório de atividades COPEC 2022. Brasília: ANVISA; 2023. Disponível em: www.gov.br/</a:t>
            </a:r>
            <a:r>
              <a:rPr lang="pt-BR" sz="600" dirty="0" err="1"/>
              <a:t>anvisa</a:t>
            </a:r>
            <a:r>
              <a:rPr lang="pt-BR" sz="600" dirty="0"/>
              <a:t>/</a:t>
            </a:r>
            <a:r>
              <a:rPr lang="pt-BR" sz="600" dirty="0" err="1"/>
              <a:t>pt-br</a:t>
            </a:r>
            <a:r>
              <a:rPr lang="pt-BR" sz="600" dirty="0"/>
              <a:t>/</a:t>
            </a:r>
            <a:r>
              <a:rPr lang="pt-BR" sz="600" dirty="0" err="1"/>
              <a:t>centraisdeconteudo</a:t>
            </a:r>
            <a:r>
              <a:rPr lang="pt-BR" sz="600" dirty="0"/>
              <a:t>/</a:t>
            </a:r>
            <a:r>
              <a:rPr lang="pt-BR" sz="600" dirty="0" err="1"/>
              <a:t>publicacoes</a:t>
            </a:r>
            <a:r>
              <a:rPr lang="pt-BR" sz="600" dirty="0"/>
              <a:t>/medicamentos/pesquisa-clinica/COPEC_RelatoriodeAtividades2022_19.04.23.pdf. Acesso em 26 fev. 2025. 8. Bula do profissional da saúde. </a:t>
            </a:r>
            <a:r>
              <a:rPr lang="pt-BR" sz="600" dirty="0" err="1"/>
              <a:t>Soliris</a:t>
            </a:r>
            <a:r>
              <a:rPr lang="pt-BR" sz="600" dirty="0"/>
              <a:t>® (eculizumabe). Disponível em: https://www.azmed.com.br/home/Bulas-profissionais.html. Acesso em 21 mar. 2025. 9. Bula do profissional da saúde. Ultomiris® (ravulizumabe). Disponível em: https://www.azmed.com.br/home/Bulas-profissionais.html. Acesso em 21 mar. 2025. 10. Parker SE, </a:t>
            </a:r>
            <a:r>
              <a:rPr lang="pt-BR" sz="600" dirty="0" err="1"/>
              <a:t>Hanton</a:t>
            </a:r>
            <a:r>
              <a:rPr lang="pt-BR" sz="600" dirty="0"/>
              <a:t> AM, </a:t>
            </a:r>
            <a:r>
              <a:rPr lang="pt-BR" sz="600" dirty="0" err="1"/>
              <a:t>Stefanou</a:t>
            </a:r>
            <a:r>
              <a:rPr lang="pt-BR" sz="600" dirty="0"/>
              <a:t> SN et al. </a:t>
            </a:r>
            <a:r>
              <a:rPr lang="pt-BR" sz="600" dirty="0" err="1"/>
              <a:t>Revisiting</a:t>
            </a:r>
            <a:r>
              <a:rPr lang="pt-BR" sz="600" dirty="0"/>
              <a:t> </a:t>
            </a:r>
            <a:r>
              <a:rPr lang="pt-BR" sz="600" dirty="0" err="1"/>
              <a:t>the</a:t>
            </a:r>
            <a:r>
              <a:rPr lang="pt-BR" sz="600" dirty="0"/>
              <a:t> role </a:t>
            </a:r>
            <a:r>
              <a:rPr lang="pt-BR" sz="600" dirty="0" err="1"/>
              <a:t>of</a:t>
            </a:r>
            <a:r>
              <a:rPr lang="pt-BR" sz="600" dirty="0"/>
              <a:t> </a:t>
            </a:r>
            <a:r>
              <a:rPr lang="pt-BR" sz="600" dirty="0" err="1"/>
              <a:t>the</a:t>
            </a:r>
            <a:r>
              <a:rPr lang="pt-BR" sz="600" dirty="0"/>
              <a:t> </a:t>
            </a:r>
            <a:r>
              <a:rPr lang="pt-BR" sz="600" dirty="0" err="1"/>
              <a:t>innate</a:t>
            </a:r>
            <a:r>
              <a:rPr lang="pt-BR" sz="600" dirty="0"/>
              <a:t> </a:t>
            </a:r>
            <a:r>
              <a:rPr lang="pt-BR" sz="600" dirty="0" err="1"/>
              <a:t>immune</a:t>
            </a:r>
            <a:r>
              <a:rPr lang="pt-BR" sz="600" dirty="0"/>
              <a:t> </a:t>
            </a:r>
            <a:r>
              <a:rPr lang="pt-BR" sz="600" dirty="0" err="1"/>
              <a:t>complement</a:t>
            </a:r>
            <a:r>
              <a:rPr lang="pt-BR" sz="600" dirty="0"/>
              <a:t> system in ALS. </a:t>
            </a:r>
            <a:r>
              <a:rPr lang="pt-BR" sz="600" dirty="0" err="1"/>
              <a:t>Neurobiol</a:t>
            </a:r>
            <a:r>
              <a:rPr lang="pt-BR" sz="600" dirty="0"/>
              <a:t> </a:t>
            </a:r>
            <a:r>
              <a:rPr lang="pt-BR" sz="600" dirty="0" err="1"/>
              <a:t>Dis</a:t>
            </a:r>
            <a:r>
              <a:rPr lang="pt-BR" sz="600" dirty="0"/>
              <a:t>. 2019 Jul;127:223-232.</a:t>
            </a:r>
          </a:p>
          <a:p>
            <a:pPr>
              <a:lnSpc>
                <a:spcPct val="100000"/>
              </a:lnSpc>
              <a:spcAft>
                <a:spcPts val="0"/>
              </a:spcAft>
            </a:pPr>
            <a:endParaRPr lang="pt-BR" sz="700" dirty="0"/>
          </a:p>
        </p:txBody>
      </p:sp>
      <p:sp>
        <p:nvSpPr>
          <p:cNvPr id="20" name="CaixaDeTexto 19">
            <a:extLst>
              <a:ext uri="{FF2B5EF4-FFF2-40B4-BE49-F238E27FC236}">
                <a16:creationId xmlns:a16="http://schemas.microsoft.com/office/drawing/2014/main" id="{8621F33B-7595-317B-5B66-116775800410}"/>
              </a:ext>
            </a:extLst>
          </p:cNvPr>
          <p:cNvSpPr txBox="1"/>
          <p:nvPr/>
        </p:nvSpPr>
        <p:spPr>
          <a:xfrm>
            <a:off x="296269" y="385036"/>
            <a:ext cx="10547440" cy="880241"/>
          </a:xfrm>
          <a:prstGeom prst="rect">
            <a:avLst/>
          </a:prstGeom>
          <a:noFill/>
        </p:spPr>
        <p:txBody>
          <a:bodyPr wrap="square" rtlCol="0">
            <a:spAutoFit/>
          </a:bodyPr>
          <a:lstStyle/>
          <a:p>
            <a:pPr lvl="0">
              <a:lnSpc>
                <a:spcPct val="80000"/>
              </a:lnSpc>
              <a:defRPr/>
            </a:pPr>
            <a:r>
              <a:rPr lang="pt-BR" sz="3200" b="1" dirty="0">
                <a:gradFill>
                  <a:gsLst>
                    <a:gs pos="0">
                      <a:schemeClr val="accent1"/>
                    </a:gs>
                    <a:gs pos="100000">
                      <a:schemeClr val="bg2"/>
                    </a:gs>
                  </a:gsLst>
                  <a:lin ang="2700000" scaled="0"/>
                </a:gradFill>
                <a:latin typeface="Calisto MT"/>
              </a:rPr>
              <a:t>Caminhos potenciais para o controle do sistema complemento desregulado: HPN</a:t>
            </a:r>
          </a:p>
        </p:txBody>
      </p:sp>
      <p:sp>
        <p:nvSpPr>
          <p:cNvPr id="108" name="Retângulo: Cantos Arredondados 107">
            <a:extLst>
              <a:ext uri="{FF2B5EF4-FFF2-40B4-BE49-F238E27FC236}">
                <a16:creationId xmlns:a16="http://schemas.microsoft.com/office/drawing/2014/main" id="{F87BEE40-8989-0352-C47B-2C827C12E64F}"/>
              </a:ext>
            </a:extLst>
          </p:cNvPr>
          <p:cNvSpPr/>
          <p:nvPr/>
        </p:nvSpPr>
        <p:spPr>
          <a:xfrm>
            <a:off x="6451600" y="1097907"/>
            <a:ext cx="5291493" cy="4662186"/>
          </a:xfrm>
          <a:prstGeom prst="roundRect">
            <a:avLst>
              <a:gd name="adj" fmla="val 0"/>
            </a:avLst>
          </a:prstGeom>
          <a:gradFill>
            <a:gsLst>
              <a:gs pos="0">
                <a:schemeClr val="accent1"/>
              </a:gs>
              <a:gs pos="100000">
                <a:schemeClr val="bg2"/>
              </a:gs>
            </a:gsLst>
            <a:lin ang="2700000" scaled="0"/>
          </a:gradFill>
          <a:ln>
            <a:noFill/>
          </a:ln>
          <a:effectLst>
            <a:outerShdw blurRad="3937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t-BR" sz="1800" b="0" i="0" u="none" strike="noStrike" kern="1200" cap="none" spc="0" normalizeH="0" baseline="0" noProof="0" dirty="0">
              <a:ln>
                <a:noFill/>
              </a:ln>
              <a:solidFill>
                <a:srgbClr val="FFFFFF"/>
              </a:solidFill>
              <a:effectLst/>
              <a:uLnTx/>
              <a:uFillTx/>
              <a:ea typeface="+mn-ea"/>
              <a:cs typeface="+mn-cs"/>
            </a:endParaRPr>
          </a:p>
        </p:txBody>
      </p:sp>
      <p:sp>
        <p:nvSpPr>
          <p:cNvPr id="2" name="CaixaDeTexto 1">
            <a:extLst>
              <a:ext uri="{FF2B5EF4-FFF2-40B4-BE49-F238E27FC236}">
                <a16:creationId xmlns:a16="http://schemas.microsoft.com/office/drawing/2014/main" id="{286F3E7E-A6E6-EE83-CA4A-C29B5F6468D7}"/>
              </a:ext>
            </a:extLst>
          </p:cNvPr>
          <p:cNvSpPr txBox="1"/>
          <p:nvPr/>
        </p:nvSpPr>
        <p:spPr>
          <a:xfrm>
            <a:off x="296269" y="1148822"/>
            <a:ext cx="3299173" cy="523220"/>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defRPr/>
            </a:pPr>
            <a:r>
              <a:rPr lang="en-US" sz="2800" dirty="0" err="1">
                <a:solidFill>
                  <a:srgbClr val="003865"/>
                </a:solidFill>
              </a:rPr>
              <a:t>Patofisiologia</a:t>
            </a:r>
            <a:r>
              <a:rPr lang="en-US" sz="2800" dirty="0">
                <a:solidFill>
                  <a:srgbClr val="003865"/>
                </a:solidFill>
              </a:rPr>
              <a:t> da HPN</a:t>
            </a:r>
          </a:p>
        </p:txBody>
      </p:sp>
      <p:sp>
        <p:nvSpPr>
          <p:cNvPr id="7" name="TextBox 9">
            <a:extLst>
              <a:ext uri="{FF2B5EF4-FFF2-40B4-BE49-F238E27FC236}">
                <a16:creationId xmlns:a16="http://schemas.microsoft.com/office/drawing/2014/main" id="{D16F0FFC-0A2F-2130-C4A0-D3673A4E03B0}"/>
              </a:ext>
            </a:extLst>
          </p:cNvPr>
          <p:cNvSpPr txBox="1"/>
          <p:nvPr/>
        </p:nvSpPr>
        <p:spPr>
          <a:xfrm>
            <a:off x="6638404" y="5019100"/>
            <a:ext cx="4917883" cy="577081"/>
          </a:xfrm>
          <a:prstGeom prst="rect">
            <a:avLst/>
          </a:prstGeom>
          <a:solidFill>
            <a:srgbClr val="FFE5E5"/>
          </a:solid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Medicament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experimental (ALXN2040, ALXN2050) que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nã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foi</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aprovad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para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us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por</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qualquer</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autoridade</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reguladora</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Os</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MOA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apresentados</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sã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mecanismos</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propostos</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segurança</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e a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eficácia</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estã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atualmente</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sendo</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estudadas</a:t>
            </a:r>
            <a:r>
              <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CA" sz="1050" b="1" i="0" u="none" strike="noStrike" kern="1200" cap="none" spc="0" normalizeH="0" baseline="30000" noProof="0" dirty="0">
                <a:ln>
                  <a:noFill/>
                </a:ln>
                <a:solidFill>
                  <a:schemeClr val="bg2"/>
                </a:solidFill>
                <a:effectLst/>
                <a:uLnTx/>
                <a:uFillTx/>
                <a:ea typeface="ヒラギノ角ゴ Pro W3" panose="020B0300000000000000" pitchFamily="34" charset="-128"/>
                <a:cs typeface="+mn-cs"/>
              </a:rPr>
              <a:t>1-4</a:t>
            </a:r>
            <a:endParaRPr kumimoji="0" lang="en-CA" sz="1050" b="1" i="0" u="none" strike="noStrike" kern="1200" cap="none" spc="0" normalizeH="0" baseline="0" noProof="0" dirty="0">
              <a:ln>
                <a:noFill/>
              </a:ln>
              <a:solidFill>
                <a:schemeClr val="bg2"/>
              </a:solidFill>
              <a:effectLst/>
              <a:uLnTx/>
              <a:uFillTx/>
              <a:ea typeface="ヒラギノ角ゴ Pro W3" panose="020B0300000000000000" pitchFamily="34" charset="-128"/>
              <a:cs typeface="+mn-cs"/>
            </a:endParaRPr>
          </a:p>
        </p:txBody>
      </p:sp>
      <p:grpSp>
        <p:nvGrpSpPr>
          <p:cNvPr id="152" name="Agrupar 151">
            <a:extLst>
              <a:ext uri="{FF2B5EF4-FFF2-40B4-BE49-F238E27FC236}">
                <a16:creationId xmlns:a16="http://schemas.microsoft.com/office/drawing/2014/main" id="{2108EC70-FE5E-64FE-7B74-BAE7C06CCEEA}"/>
              </a:ext>
            </a:extLst>
          </p:cNvPr>
          <p:cNvGrpSpPr/>
          <p:nvPr/>
        </p:nvGrpSpPr>
        <p:grpSpPr>
          <a:xfrm>
            <a:off x="6511143" y="1287054"/>
            <a:ext cx="5007757" cy="1894939"/>
            <a:chOff x="6511143" y="1727736"/>
            <a:chExt cx="5007757" cy="1894939"/>
          </a:xfrm>
        </p:grpSpPr>
        <p:sp>
          <p:nvSpPr>
            <p:cNvPr id="5" name="TextBox 7">
              <a:extLst>
                <a:ext uri="{FF2B5EF4-FFF2-40B4-BE49-F238E27FC236}">
                  <a16:creationId xmlns:a16="http://schemas.microsoft.com/office/drawing/2014/main" id="{A06AD0CF-CBE7-01E6-F4A1-1858AF27727E}"/>
                </a:ext>
              </a:extLst>
            </p:cNvPr>
            <p:cNvSpPr txBox="1"/>
            <p:nvPr/>
          </p:nvSpPr>
          <p:spPr>
            <a:xfrm>
              <a:off x="6577729" y="1727736"/>
              <a:ext cx="4625075" cy="4154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274320" rtlCol="0" anchor="ctr"/>
            <a:lstStyle>
              <a:defPPr>
                <a:defRPr lang="en-US"/>
              </a:defPPr>
              <a:lvl1pPr marL="0" marR="0" lvl="0" indent="0" defTabSz="914400" eaLnBrk="1" fontAlgn="auto" latinLnBrk="0" hangingPunct="1">
                <a:lnSpc>
                  <a:spcPct val="100000"/>
                </a:lnSpc>
                <a:spcBef>
                  <a:spcPct val="0"/>
                </a:spcBef>
                <a:spcAft>
                  <a:spcPct val="0"/>
                </a:spcAft>
                <a:buClrTx/>
                <a:buSzTx/>
                <a:buFontTx/>
                <a:buNone/>
                <a:defRPr kumimoji="0" sz="1200" b="1" i="0" u="none" strike="noStrike" kern="0" cap="none" spc="31" normalizeH="0" baseline="0">
                  <a:ln>
                    <a:noFill/>
                  </a:ln>
                  <a:solidFill>
                    <a:prstClr val="white"/>
                  </a:solidFill>
                  <a:effectLst/>
                  <a:uLnTx/>
                  <a:uFillTx/>
                  <a:latin typeface="Century Gothic" panose="020B0502020202020204" pitchFamily="34" charset="0"/>
                  <a:ea typeface="+mn-ea"/>
                  <a:cs typeface="Calibri" panose="020F05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rtl="0" eaLnBrk="1" fontAlgn="auto" latinLnBrk="0" hangingPunct="1">
                <a:lnSpc>
                  <a:spcPct val="100000"/>
                </a:lnSpc>
                <a:spcBef>
                  <a:spcPts val="600"/>
                </a:spcBef>
                <a:spcAft>
                  <a:spcPct val="0"/>
                </a:spcAft>
                <a:buClrTx/>
                <a:buSzTx/>
                <a:buFontTx/>
                <a:buNone/>
                <a:defRPr/>
              </a:pPr>
              <a:r>
                <a:rPr kumimoji="0" lang="en-US" sz="1800" b="1" i="0" u="none" strike="noStrike" kern="0" cap="none" spc="31" normalizeH="0" baseline="0" noProof="0" dirty="0" err="1">
                  <a:ln>
                    <a:noFill/>
                  </a:ln>
                  <a:solidFill>
                    <a:schemeClr val="bg1"/>
                  </a:solidFill>
                  <a:effectLst/>
                  <a:uLnTx/>
                  <a:uFillTx/>
                  <a:latin typeface="+mj-lt"/>
                  <a:ea typeface="+mn-ea"/>
                  <a:cs typeface="Calibri" panose="020F0502020204030204" pitchFamily="34" charset="0"/>
                </a:rPr>
                <a:t>Impacto</a:t>
              </a:r>
              <a:r>
                <a:rPr kumimoji="0" lang="en-US" sz="1800" b="1" i="0" u="none" strike="noStrike" kern="0" cap="none" spc="31" normalizeH="0" baseline="0" noProof="0" dirty="0">
                  <a:ln>
                    <a:noFill/>
                  </a:ln>
                  <a:solidFill>
                    <a:schemeClr val="bg1"/>
                  </a:solidFill>
                  <a:effectLst/>
                  <a:uLnTx/>
                  <a:uFillTx/>
                  <a:latin typeface="+mj-lt"/>
                  <a:ea typeface="+mn-ea"/>
                  <a:cs typeface="Calibri" panose="020F0502020204030204" pitchFamily="34" charset="0"/>
                </a:rPr>
                <a:t> da </a:t>
              </a:r>
              <a:r>
                <a:rPr kumimoji="0" lang="en-US" sz="1800" b="1" i="0" u="none" strike="noStrike" kern="0" cap="none" spc="31" normalizeH="0" baseline="0" noProof="0" dirty="0" err="1">
                  <a:ln>
                    <a:noFill/>
                  </a:ln>
                  <a:solidFill>
                    <a:schemeClr val="bg1"/>
                  </a:solidFill>
                  <a:effectLst/>
                  <a:uLnTx/>
                  <a:uFillTx/>
                  <a:latin typeface="+mj-lt"/>
                  <a:ea typeface="+mn-ea"/>
                  <a:cs typeface="Calibri" panose="020F0502020204030204" pitchFamily="34" charset="0"/>
                </a:rPr>
                <a:t>atividade</a:t>
              </a:r>
              <a:r>
                <a:rPr kumimoji="0" lang="en-US" sz="1800" b="1" i="0" u="none" strike="noStrike" kern="0" cap="none" spc="31" normalizeH="0" baseline="0" noProof="0" dirty="0">
                  <a:ln>
                    <a:noFill/>
                  </a:ln>
                  <a:solidFill>
                    <a:schemeClr val="bg1"/>
                  </a:solidFill>
                  <a:effectLst/>
                  <a:uLnTx/>
                  <a:uFillTx/>
                  <a:latin typeface="+mj-lt"/>
                  <a:ea typeface="+mn-ea"/>
                  <a:cs typeface="Calibri" panose="020F0502020204030204" pitchFamily="34" charset="0"/>
                </a:rPr>
                <a:t> </a:t>
              </a:r>
              <a:r>
                <a:rPr kumimoji="0" lang="en-US" sz="1800" b="1" i="0" u="none" strike="noStrike" kern="0" cap="none" spc="31" normalizeH="0" baseline="0" noProof="0" dirty="0" err="1">
                  <a:ln>
                    <a:noFill/>
                  </a:ln>
                  <a:solidFill>
                    <a:schemeClr val="bg1"/>
                  </a:solidFill>
                  <a:effectLst/>
                  <a:uLnTx/>
                  <a:uFillTx/>
                  <a:latin typeface="+mj-lt"/>
                  <a:ea typeface="+mn-ea"/>
                  <a:cs typeface="Calibri" panose="020F0502020204030204" pitchFamily="34" charset="0"/>
                </a:rPr>
                <a:t>desregulada</a:t>
              </a:r>
              <a:r>
                <a:rPr kumimoji="0" lang="en-US" sz="1800" b="1" i="0" u="none" strike="noStrike" kern="0" cap="none" spc="31" normalizeH="0" baseline="0" noProof="0" dirty="0">
                  <a:ln>
                    <a:noFill/>
                  </a:ln>
                  <a:solidFill>
                    <a:schemeClr val="bg1"/>
                  </a:solidFill>
                  <a:effectLst/>
                  <a:uLnTx/>
                  <a:uFillTx/>
                  <a:latin typeface="+mj-lt"/>
                  <a:ea typeface="+mn-ea"/>
                  <a:cs typeface="Calibri" panose="020F0502020204030204" pitchFamily="34" charset="0"/>
                </a:rPr>
                <a:t> do </a:t>
              </a:r>
              <a:r>
                <a:rPr kumimoji="0" lang="en-US" sz="1800" b="1" i="0" u="none" strike="noStrike" kern="0" cap="none" spc="31" normalizeH="0" baseline="0" noProof="0" dirty="0" err="1">
                  <a:ln>
                    <a:noFill/>
                  </a:ln>
                  <a:solidFill>
                    <a:schemeClr val="bg1"/>
                  </a:solidFill>
                  <a:effectLst/>
                  <a:uLnTx/>
                  <a:uFillTx/>
                  <a:latin typeface="+mj-lt"/>
                  <a:ea typeface="+mn-ea"/>
                  <a:cs typeface="Calibri" panose="020F0502020204030204" pitchFamily="34" charset="0"/>
                </a:rPr>
                <a:t>complemento</a:t>
              </a:r>
              <a:endParaRPr kumimoji="0" lang="en-US" sz="1600" b="0" i="0" u="none" strike="noStrike" kern="0" cap="none" spc="31" normalizeH="0" baseline="30000" noProof="0" dirty="0">
                <a:ln>
                  <a:noFill/>
                </a:ln>
                <a:solidFill>
                  <a:schemeClr val="bg1"/>
                </a:solidFill>
                <a:effectLst/>
                <a:uLnTx/>
                <a:uFillTx/>
                <a:latin typeface="+mj-lt"/>
                <a:ea typeface="+mn-ea"/>
                <a:cs typeface="Calibri" panose="020F0502020204030204" pitchFamily="34" charset="0"/>
              </a:endParaRPr>
            </a:p>
          </p:txBody>
        </p:sp>
        <p:sp>
          <p:nvSpPr>
            <p:cNvPr id="8" name="TextBox 7">
              <a:extLst>
                <a:ext uri="{FF2B5EF4-FFF2-40B4-BE49-F238E27FC236}">
                  <a16:creationId xmlns:a16="http://schemas.microsoft.com/office/drawing/2014/main" id="{D216EDE4-7AD1-1395-C25F-41A3DC90372C}"/>
                </a:ext>
              </a:extLst>
            </p:cNvPr>
            <p:cNvSpPr txBox="1"/>
            <p:nvPr/>
          </p:nvSpPr>
          <p:spPr>
            <a:xfrm>
              <a:off x="6511143" y="2608088"/>
              <a:ext cx="2745475" cy="64100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274320" rtlCol="0" anchor="ctr"/>
            <a:lstStyle>
              <a:defPPr>
                <a:defRPr lang="en-US"/>
              </a:defPPr>
              <a:lvl1pPr marL="0" marR="0" lvl="0" indent="0" defTabSz="914400" eaLnBrk="1" fontAlgn="auto" latinLnBrk="0" hangingPunct="1">
                <a:lnSpc>
                  <a:spcPct val="100000"/>
                </a:lnSpc>
                <a:spcBef>
                  <a:spcPct val="0"/>
                </a:spcBef>
                <a:spcAft>
                  <a:spcPct val="0"/>
                </a:spcAft>
                <a:buClrTx/>
                <a:buSzTx/>
                <a:buFontTx/>
                <a:buNone/>
                <a:defRPr kumimoji="0" sz="1200" b="1" i="0" u="none" strike="noStrike" kern="0" cap="none" spc="31" normalizeH="0" baseline="0">
                  <a:ln>
                    <a:noFill/>
                  </a:ln>
                  <a:solidFill>
                    <a:prstClr val="white"/>
                  </a:solidFill>
                  <a:effectLst/>
                  <a:uLnTx/>
                  <a:uFillTx/>
                  <a:latin typeface="Century Gothic" panose="020B0502020202020204" pitchFamily="34" charset="0"/>
                  <a:ea typeface="+mn-ea"/>
                  <a:cs typeface="Calibri" panose="020F05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r" defTabSz="914400" rtl="0" eaLnBrk="1" fontAlgn="auto" latinLnBrk="0" hangingPunct="1">
                <a:lnSpc>
                  <a:spcPct val="100000"/>
                </a:lnSpc>
                <a:spcBef>
                  <a:spcPts val="600"/>
                </a:spcBef>
                <a:spcAft>
                  <a:spcPct val="0"/>
                </a:spcAft>
                <a:buClrTx/>
                <a:buSzTx/>
                <a:buFontTx/>
                <a:buNone/>
                <a:defRPr/>
              </a:pPr>
              <a:r>
                <a:rPr kumimoji="0" lang="en-US" sz="140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Danos</a:t>
              </a:r>
              <a:r>
                <a:rPr kumimoji="0" lang="en-US" sz="140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celulares</a:t>
              </a:r>
              <a:r>
                <a:rPr kumimoji="0" lang="en-US" sz="140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e </a:t>
              </a:r>
              <a:r>
                <a:rPr kumimoji="0" lang="en-US" sz="140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teciduais</a:t>
              </a:r>
              <a:r>
                <a:rPr kumimoji="0" lang="en-US" sz="140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através</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de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cascatas</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interrelacionadas</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que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podem</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ampliar</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uma</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à outra:</a:t>
              </a:r>
              <a:r>
                <a:rPr kumimoji="0" lang="en-US" sz="1600" b="0" i="0" u="none" strike="noStrike" kern="0" cap="none" spc="31" normalizeH="0" baseline="30000" noProof="0" dirty="0">
                  <a:ln>
                    <a:noFill/>
                  </a:ln>
                  <a:solidFill>
                    <a:schemeClr val="bg1"/>
                  </a:solidFill>
                  <a:effectLst/>
                  <a:uLnTx/>
                  <a:uFillTx/>
                  <a:latin typeface="+mn-lt"/>
                  <a:ea typeface="+mn-ea"/>
                  <a:cs typeface="Calibri" panose="020F0502020204030204" pitchFamily="34" charset="0"/>
                </a:rPr>
                <a:t>1</a:t>
              </a:r>
              <a:endParaRPr kumimoji="0" lang="en-US" sz="1400" b="0" i="0" u="none" strike="noStrike" kern="0" cap="none" spc="31" normalizeH="0" baseline="30000" noProof="0" dirty="0">
                <a:ln>
                  <a:noFill/>
                </a:ln>
                <a:solidFill>
                  <a:schemeClr val="bg1"/>
                </a:solidFill>
                <a:effectLst/>
                <a:uLnTx/>
                <a:uFillTx/>
                <a:latin typeface="+mn-lt"/>
                <a:ea typeface="+mn-ea"/>
                <a:cs typeface="Calibri" panose="020F0502020204030204" pitchFamily="34" charset="0"/>
              </a:endParaRPr>
            </a:p>
          </p:txBody>
        </p:sp>
        <p:sp>
          <p:nvSpPr>
            <p:cNvPr id="9" name="TextBox 7">
              <a:extLst>
                <a:ext uri="{FF2B5EF4-FFF2-40B4-BE49-F238E27FC236}">
                  <a16:creationId xmlns:a16="http://schemas.microsoft.com/office/drawing/2014/main" id="{E5B762AC-74AC-EE07-998A-3FCF849E93FE}"/>
                </a:ext>
              </a:extLst>
            </p:cNvPr>
            <p:cNvSpPr txBox="1"/>
            <p:nvPr/>
          </p:nvSpPr>
          <p:spPr>
            <a:xfrm>
              <a:off x="9330995" y="2429183"/>
              <a:ext cx="2113527" cy="101482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274320" rtlCol="0" anchor="ctr"/>
            <a:lstStyle>
              <a:defPPr>
                <a:defRPr lang="en-US"/>
              </a:defPPr>
              <a:lvl1pPr marL="0" marR="0" lvl="0" indent="0" defTabSz="914400" eaLnBrk="1" fontAlgn="auto" latinLnBrk="0" hangingPunct="1">
                <a:lnSpc>
                  <a:spcPct val="100000"/>
                </a:lnSpc>
                <a:spcBef>
                  <a:spcPct val="0"/>
                </a:spcBef>
                <a:spcAft>
                  <a:spcPct val="0"/>
                </a:spcAft>
                <a:buClrTx/>
                <a:buSzTx/>
                <a:buFontTx/>
                <a:buNone/>
                <a:defRPr kumimoji="0" sz="1200" b="1" i="0" u="none" strike="noStrike" kern="0" cap="none" spc="31" normalizeH="0" baseline="0">
                  <a:ln>
                    <a:noFill/>
                  </a:ln>
                  <a:solidFill>
                    <a:prstClr val="white"/>
                  </a:solidFill>
                  <a:effectLst/>
                  <a:uLnTx/>
                  <a:uFillTx/>
                  <a:latin typeface="Century Gothic" panose="020B0502020202020204" pitchFamily="34" charset="0"/>
                  <a:ea typeface="+mn-ea"/>
                  <a:cs typeface="Calibri" panose="020F05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457200" marR="0" lvl="0" indent="-284163" algn="l" defTabSz="914400" rtl="0" eaLnBrk="1" fontAlgn="auto" latinLnBrk="0" hangingPunct="1">
                <a:lnSpc>
                  <a:spcPct val="100000"/>
                </a:lnSpc>
                <a:spcBef>
                  <a:spcPts val="600"/>
                </a:spcBef>
                <a:spcAft>
                  <a:spcPct val="0"/>
                </a:spcAft>
                <a:buClrTx/>
                <a:buSzTx/>
                <a:buFont typeface="Arial" panose="020B0604020202020204" pitchFamily="34" charset="0"/>
                <a:buChar char="•"/>
                <a:defRPr/>
              </a:pP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hipercoagulação</a:t>
              </a:r>
              <a:endPar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endParaRPr>
            </a:p>
            <a:p>
              <a:pPr marL="457200" marR="0" lvl="0" indent="-284163" algn="l" defTabSz="914400" rtl="0" eaLnBrk="1" fontAlgn="auto" latinLnBrk="0" hangingPunct="1">
                <a:lnSpc>
                  <a:spcPct val="100000"/>
                </a:lnSpc>
                <a:spcBef>
                  <a:spcPts val="600"/>
                </a:spcBef>
                <a:spcAft>
                  <a:spcPct val="0"/>
                </a:spcAft>
                <a:buClrTx/>
                <a:buSzTx/>
                <a:buFont typeface="Arial" panose="020B0604020202020204" pitchFamily="34" charset="0"/>
                <a:buChar char="•"/>
                <a:defRPr/>
              </a:pP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inflamação</a:t>
              </a:r>
              <a:endPar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endParaRPr>
            </a:p>
            <a:p>
              <a:pPr marL="457200" marR="0" lvl="0" indent="-284163" algn="l" defTabSz="914400" rtl="0" eaLnBrk="1" fontAlgn="auto" latinLnBrk="0" hangingPunct="1">
                <a:lnSpc>
                  <a:spcPct val="100000"/>
                </a:lnSpc>
                <a:spcBef>
                  <a:spcPts val="600"/>
                </a:spcBef>
                <a:spcAft>
                  <a:spcPct val="0"/>
                </a:spcAft>
                <a:buClrTx/>
                <a:buSzTx/>
                <a:buFont typeface="Arial" panose="020B0604020202020204" pitchFamily="34" charset="0"/>
                <a:buChar char="•"/>
                <a:defRPr/>
              </a:pP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ataque</a:t>
              </a:r>
              <a:r>
                <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rPr>
                <a:t> </a:t>
              </a:r>
              <a:r>
                <a:rPr kumimoji="0" lang="en-US" sz="1400" b="0" i="0" u="none" strike="noStrike" kern="0" cap="none" spc="31" normalizeH="0" baseline="0" noProof="0" dirty="0" err="1">
                  <a:ln>
                    <a:noFill/>
                  </a:ln>
                  <a:solidFill>
                    <a:schemeClr val="bg1"/>
                  </a:solidFill>
                  <a:effectLst/>
                  <a:uLnTx/>
                  <a:uFillTx/>
                  <a:latin typeface="+mn-lt"/>
                  <a:ea typeface="+mn-ea"/>
                  <a:cs typeface="Calibri" panose="020F0502020204030204" pitchFamily="34" charset="0"/>
                </a:rPr>
                <a:t>direto</a:t>
              </a:r>
              <a:endParaRPr kumimoji="0" lang="en-US" sz="1400" b="0" i="0" u="none" strike="noStrike" kern="0" cap="none" spc="31" normalizeH="0" baseline="0" noProof="0" dirty="0">
                <a:ln>
                  <a:noFill/>
                </a:ln>
                <a:solidFill>
                  <a:schemeClr val="bg1"/>
                </a:solidFill>
                <a:effectLst/>
                <a:uLnTx/>
                <a:uFillTx/>
                <a:latin typeface="+mn-lt"/>
                <a:ea typeface="+mn-ea"/>
                <a:cs typeface="Calibri" panose="020F0502020204030204" pitchFamily="34" charset="0"/>
              </a:endParaRPr>
            </a:p>
          </p:txBody>
        </p:sp>
        <p:sp>
          <p:nvSpPr>
            <p:cNvPr id="10" name="Forma Livre: Forma 9">
              <a:extLst>
                <a:ext uri="{FF2B5EF4-FFF2-40B4-BE49-F238E27FC236}">
                  <a16:creationId xmlns:a16="http://schemas.microsoft.com/office/drawing/2014/main" id="{9A1E6FF7-83DA-2EA5-76D4-4FB7E626888B}"/>
                </a:ext>
              </a:extLst>
            </p:cNvPr>
            <p:cNvSpPr/>
            <p:nvPr/>
          </p:nvSpPr>
          <p:spPr>
            <a:xfrm>
              <a:off x="7962900" y="2301875"/>
              <a:ext cx="3556000" cy="1320800"/>
            </a:xfrm>
            <a:custGeom>
              <a:avLst/>
              <a:gdLst>
                <a:gd name="connsiteX0" fmla="*/ 596900 w 3556000"/>
                <a:gd name="connsiteY0" fmla="*/ 139700 h 1320800"/>
                <a:gd name="connsiteX1" fmla="*/ 596900 w 3556000"/>
                <a:gd name="connsiteY1" fmla="*/ 0 h 1320800"/>
                <a:gd name="connsiteX2" fmla="*/ 3556000 w 3556000"/>
                <a:gd name="connsiteY2" fmla="*/ 0 h 1320800"/>
                <a:gd name="connsiteX3" fmla="*/ 3556000 w 3556000"/>
                <a:gd name="connsiteY3" fmla="*/ 1320800 h 1320800"/>
                <a:gd name="connsiteX4" fmla="*/ 0 w 3556000"/>
                <a:gd name="connsiteY4" fmla="*/ 1320800 h 1320800"/>
                <a:gd name="connsiteX5" fmla="*/ 0 w 3556000"/>
                <a:gd name="connsiteY5" fmla="*/ 1092200 h 1320800"/>
                <a:gd name="connsiteX0" fmla="*/ 596900 w 3556000"/>
                <a:gd name="connsiteY0" fmla="*/ 196850 h 1320800"/>
                <a:gd name="connsiteX1" fmla="*/ 596900 w 3556000"/>
                <a:gd name="connsiteY1" fmla="*/ 0 h 1320800"/>
                <a:gd name="connsiteX2" fmla="*/ 3556000 w 3556000"/>
                <a:gd name="connsiteY2" fmla="*/ 0 h 1320800"/>
                <a:gd name="connsiteX3" fmla="*/ 3556000 w 3556000"/>
                <a:gd name="connsiteY3" fmla="*/ 1320800 h 1320800"/>
                <a:gd name="connsiteX4" fmla="*/ 0 w 3556000"/>
                <a:gd name="connsiteY4" fmla="*/ 1320800 h 1320800"/>
                <a:gd name="connsiteX5" fmla="*/ 0 w 3556000"/>
                <a:gd name="connsiteY5" fmla="*/ 1092200 h 13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6000" h="1320800">
                  <a:moveTo>
                    <a:pt x="596900" y="196850"/>
                  </a:moveTo>
                  <a:lnTo>
                    <a:pt x="596900" y="0"/>
                  </a:lnTo>
                  <a:lnTo>
                    <a:pt x="3556000" y="0"/>
                  </a:lnTo>
                  <a:lnTo>
                    <a:pt x="3556000" y="1320800"/>
                  </a:lnTo>
                  <a:lnTo>
                    <a:pt x="0" y="1320800"/>
                  </a:lnTo>
                  <a:lnTo>
                    <a:pt x="0" y="109220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11" name="TextBox 7">
            <a:extLst>
              <a:ext uri="{FF2B5EF4-FFF2-40B4-BE49-F238E27FC236}">
                <a16:creationId xmlns:a16="http://schemas.microsoft.com/office/drawing/2014/main" id="{AB5C3284-8A1C-9FAA-553B-BE7160E24194}"/>
              </a:ext>
            </a:extLst>
          </p:cNvPr>
          <p:cNvSpPr txBox="1"/>
          <p:nvPr/>
        </p:nvSpPr>
        <p:spPr>
          <a:xfrm>
            <a:off x="6585704" y="3545644"/>
            <a:ext cx="5157389" cy="111379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274320" rtlCol="0" anchor="ctr"/>
          <a:lstStyle>
            <a:defPPr>
              <a:defRPr lang="en-US"/>
            </a:defPPr>
            <a:lvl1pPr marL="0" marR="0" lvl="0" indent="0" defTabSz="914400" eaLnBrk="1" fontAlgn="auto" latinLnBrk="0" hangingPunct="1">
              <a:lnSpc>
                <a:spcPct val="100000"/>
              </a:lnSpc>
              <a:spcBef>
                <a:spcPct val="0"/>
              </a:spcBef>
              <a:spcAft>
                <a:spcPct val="0"/>
              </a:spcAft>
              <a:buClrTx/>
              <a:buSzTx/>
              <a:buFontTx/>
              <a:buNone/>
              <a:defRPr kumimoji="0" sz="1200" b="1" i="0" u="none" strike="noStrike" kern="0" cap="none" spc="31" normalizeH="0" baseline="0">
                <a:ln>
                  <a:noFill/>
                </a:ln>
                <a:solidFill>
                  <a:prstClr val="white"/>
                </a:solidFill>
                <a:effectLst/>
                <a:uLnTx/>
                <a:uFillTx/>
                <a:latin typeface="Century Gothic" panose="020B0502020202020204" pitchFamily="34" charset="0"/>
                <a:ea typeface="+mn-ea"/>
                <a:cs typeface="Calibri" panose="020F05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rtl="0" eaLnBrk="1" fontAlgn="auto" latinLnBrk="0" hangingPunct="1">
              <a:lnSpc>
                <a:spcPct val="100000"/>
              </a:lnSpc>
              <a:spcBef>
                <a:spcPts val="1200"/>
              </a:spcBef>
              <a:spcAft>
                <a:spcPct val="0"/>
              </a:spcAft>
              <a:buClrTx/>
              <a:buSzTx/>
              <a:buFontTx/>
              <a:buNone/>
              <a:defRPr/>
            </a:pPr>
            <a:r>
              <a:rPr kumimoji="0" lang="en-US" sz="1400" b="0" i="0" u="none" strike="noStrike" kern="0" cap="none" spc="31" normalizeH="0" baseline="0" noProof="0" dirty="0" err="1">
                <a:ln>
                  <a:noFill/>
                </a:ln>
                <a:solidFill>
                  <a:schemeClr val="bg1"/>
                </a:solidFill>
                <a:effectLst/>
                <a:uLnTx/>
                <a:uFillTx/>
                <a:latin typeface="+mn-lt"/>
                <a:ea typeface="+mn-ea"/>
                <a:cs typeface="Calibri"/>
              </a:rPr>
              <a:t>Ativação</a:t>
            </a:r>
            <a:r>
              <a:rPr kumimoji="0" lang="en-US" sz="1400" b="0" i="0" u="none" strike="noStrike" kern="0" cap="none" spc="31" normalizeH="0" baseline="0" noProof="0" dirty="0">
                <a:ln>
                  <a:noFill/>
                </a:ln>
                <a:solidFill>
                  <a:schemeClr val="bg1"/>
                </a:solidFill>
                <a:effectLst/>
                <a:uLnTx/>
                <a:uFillTx/>
                <a:latin typeface="+mn-lt"/>
                <a:ea typeface="+mn-ea"/>
                <a:cs typeface="Calibri"/>
              </a:rPr>
              <a:t> de </a:t>
            </a:r>
            <a:r>
              <a:rPr kumimoji="0" lang="en-US" sz="1400" b="0" i="0" u="none" strike="noStrike" kern="0" cap="none" spc="31" normalizeH="0" baseline="0" noProof="0" dirty="0" err="1">
                <a:ln>
                  <a:noFill/>
                </a:ln>
                <a:solidFill>
                  <a:schemeClr val="bg1"/>
                </a:solidFill>
                <a:effectLst/>
                <a:uLnTx/>
                <a:uFillTx/>
                <a:latin typeface="+mn-lt"/>
                <a:ea typeface="+mn-ea"/>
                <a:cs typeface="Calibri"/>
              </a:rPr>
              <a:t>neutrófilos</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eosinófilos</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leucócitos</a:t>
            </a:r>
            <a:r>
              <a:rPr kumimoji="0" lang="en-US" sz="1400" b="0" i="0" u="none" strike="noStrike" kern="0" cap="none" spc="31" normalizeH="0" baseline="0" noProof="0" dirty="0">
                <a:ln>
                  <a:noFill/>
                </a:ln>
                <a:solidFill>
                  <a:schemeClr val="bg1"/>
                </a:solidFill>
                <a:effectLst/>
                <a:uLnTx/>
                <a:uFillTx/>
                <a:latin typeface="+mn-lt"/>
                <a:ea typeface="+mn-ea"/>
                <a:cs typeface="Calibri"/>
              </a:rPr>
              <a:t> e </a:t>
            </a:r>
            <a:r>
              <a:rPr kumimoji="0" lang="en-US" sz="1400" b="0" i="0" u="none" strike="noStrike" kern="0" cap="none" spc="31" normalizeH="0" baseline="0" noProof="0" dirty="0" err="1">
                <a:ln>
                  <a:noFill/>
                </a:ln>
                <a:solidFill>
                  <a:schemeClr val="bg1"/>
                </a:solidFill>
                <a:effectLst/>
                <a:uLnTx/>
                <a:uFillTx/>
                <a:latin typeface="+mn-lt"/>
                <a:ea typeface="+mn-ea"/>
                <a:cs typeface="Calibri"/>
              </a:rPr>
              <a:t>plaquetas</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resultando</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em</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i="0" u="none" strike="noStrike" kern="0" cap="none" spc="31" normalizeH="0" baseline="0" noProof="0" dirty="0" err="1">
                <a:ln>
                  <a:noFill/>
                </a:ln>
                <a:solidFill>
                  <a:schemeClr val="bg1"/>
                </a:solidFill>
                <a:effectLst/>
                <a:uLnTx/>
                <a:uFillTx/>
                <a:latin typeface="+mn-lt"/>
                <a:ea typeface="+mn-ea"/>
                <a:cs typeface="Calibri"/>
              </a:rPr>
              <a:t>recrutamento</a:t>
            </a:r>
            <a:r>
              <a:rPr kumimoji="0" lang="en-US" sz="1400" i="0" u="none" strike="noStrike" kern="0" cap="none" spc="31" normalizeH="0" baseline="0" noProof="0" dirty="0">
                <a:ln>
                  <a:noFill/>
                </a:ln>
                <a:solidFill>
                  <a:schemeClr val="bg1"/>
                </a:solidFill>
                <a:effectLst/>
                <a:uLnTx/>
                <a:uFillTx/>
                <a:latin typeface="+mn-lt"/>
                <a:ea typeface="+mn-ea"/>
                <a:cs typeface="Calibri"/>
              </a:rPr>
              <a:t> e/</a:t>
            </a:r>
            <a:r>
              <a:rPr kumimoji="0" lang="en-US" sz="1400" i="0" u="none" strike="noStrike" kern="0" cap="none" spc="31" normalizeH="0" baseline="0" noProof="0" dirty="0" err="1">
                <a:ln>
                  <a:noFill/>
                </a:ln>
                <a:solidFill>
                  <a:schemeClr val="bg1"/>
                </a:solidFill>
                <a:effectLst/>
                <a:uLnTx/>
                <a:uFillTx/>
                <a:latin typeface="+mn-lt"/>
                <a:ea typeface="+mn-ea"/>
                <a:cs typeface="Calibri"/>
              </a:rPr>
              <a:t>ou</a:t>
            </a:r>
            <a:r>
              <a:rPr kumimoji="0" lang="en-US" sz="1400" i="0" u="none" strike="noStrike" kern="0" cap="none" spc="31" normalizeH="0" baseline="0" noProof="0" dirty="0">
                <a:ln>
                  <a:noFill/>
                </a:ln>
                <a:solidFill>
                  <a:schemeClr val="bg1"/>
                </a:solidFill>
                <a:effectLst/>
                <a:uLnTx/>
                <a:uFillTx/>
                <a:latin typeface="+mn-lt"/>
                <a:ea typeface="+mn-ea"/>
                <a:cs typeface="Calibri"/>
              </a:rPr>
              <a:t> </a:t>
            </a:r>
            <a:r>
              <a:rPr kumimoji="0" lang="en-US" sz="1400" i="0" u="none" strike="noStrike" kern="0" cap="none" spc="31" normalizeH="0" baseline="0" noProof="0" dirty="0" err="1">
                <a:ln>
                  <a:noFill/>
                </a:ln>
                <a:solidFill>
                  <a:schemeClr val="bg1"/>
                </a:solidFill>
                <a:effectLst/>
                <a:uLnTx/>
                <a:uFillTx/>
                <a:latin typeface="+mn-lt"/>
                <a:ea typeface="+mn-ea"/>
                <a:cs typeface="Calibri"/>
              </a:rPr>
              <a:t>infiltração</a:t>
            </a:r>
            <a:r>
              <a:rPr kumimoji="0" lang="en-US" sz="1400" i="0" u="none" strike="noStrike" kern="0" cap="none" spc="31" normalizeH="0" baseline="0" noProof="0" dirty="0">
                <a:ln>
                  <a:noFill/>
                </a:ln>
                <a:solidFill>
                  <a:schemeClr val="bg1"/>
                </a:solidFill>
                <a:effectLst/>
                <a:uLnTx/>
                <a:uFillTx/>
                <a:latin typeface="+mn-lt"/>
                <a:ea typeface="+mn-ea"/>
                <a:cs typeface="Calibri"/>
              </a:rPr>
              <a:t> de tecidos</a:t>
            </a:r>
            <a:r>
              <a:rPr kumimoji="0" lang="en-US" sz="1400" i="0" u="none" strike="noStrike" kern="0" cap="none" spc="31" normalizeH="0" baseline="30000" noProof="0" dirty="0">
                <a:ln>
                  <a:noFill/>
                </a:ln>
                <a:solidFill>
                  <a:schemeClr val="bg1"/>
                </a:solidFill>
                <a:effectLst/>
                <a:uLnTx/>
                <a:uFillTx/>
                <a:latin typeface="+mn-lt"/>
                <a:ea typeface="+mn-ea"/>
                <a:cs typeface="Calibri"/>
              </a:rPr>
              <a:t>1,2</a:t>
            </a:r>
            <a:endParaRPr kumimoji="0" lang="en-US" sz="1400" i="0" u="none" strike="noStrike" kern="0" cap="none" spc="31" normalizeH="0" baseline="30000" noProof="0" dirty="0">
              <a:ln>
                <a:noFill/>
              </a:ln>
              <a:solidFill>
                <a:schemeClr val="bg1"/>
              </a:solidFill>
              <a:effectLst/>
              <a:uLnTx/>
              <a:uFillTx/>
              <a:latin typeface="+mn-lt"/>
              <a:ea typeface="+mn-ea"/>
              <a:cs typeface="Calibri" panose="020F0502020204030204" pitchFamily="34" charset="0"/>
            </a:endParaRPr>
          </a:p>
          <a:p>
            <a:pPr marL="0" marR="0" lvl="0" indent="0" algn="l" defTabSz="914400" rtl="0" eaLnBrk="1" fontAlgn="auto" latinLnBrk="0" hangingPunct="1">
              <a:lnSpc>
                <a:spcPct val="100000"/>
              </a:lnSpc>
              <a:spcBef>
                <a:spcPts val="1200"/>
              </a:spcBef>
              <a:spcAft>
                <a:spcPct val="0"/>
              </a:spcAft>
              <a:buClrTx/>
              <a:buSzTx/>
              <a:buFontTx/>
              <a:buNone/>
              <a:defRPr/>
            </a:pPr>
            <a:r>
              <a:rPr kumimoji="0" lang="en-US" sz="1400" b="0" i="0" u="none" strike="noStrike" kern="0" cap="none" spc="31" normalizeH="0" baseline="0" noProof="0" dirty="0">
                <a:ln>
                  <a:noFill/>
                </a:ln>
                <a:solidFill>
                  <a:schemeClr val="bg1"/>
                </a:solidFill>
                <a:effectLst/>
                <a:uLnTx/>
                <a:uFillTx/>
                <a:latin typeface="+mn-lt"/>
                <a:ea typeface="+mn-ea"/>
                <a:cs typeface="Calibri"/>
              </a:rPr>
              <a:t>Estado </a:t>
            </a:r>
            <a:r>
              <a:rPr kumimoji="0" lang="en-US" sz="1400" b="0" i="0" u="none" strike="noStrike" kern="0" cap="none" spc="31" normalizeH="0" baseline="0" noProof="0" dirty="0" err="1">
                <a:ln>
                  <a:noFill/>
                </a:ln>
                <a:solidFill>
                  <a:schemeClr val="bg1"/>
                </a:solidFill>
                <a:effectLst/>
                <a:uLnTx/>
                <a:uFillTx/>
                <a:latin typeface="+mn-lt"/>
                <a:ea typeface="+mn-ea"/>
                <a:cs typeface="Calibri"/>
              </a:rPr>
              <a:t>pré-trombótico</a:t>
            </a:r>
            <a:r>
              <a:rPr kumimoji="0" lang="en-US" sz="1400" b="0" i="0" u="none" strike="noStrike" kern="0" cap="none" spc="31" normalizeH="0" baseline="0" noProof="0" dirty="0">
                <a:ln>
                  <a:noFill/>
                </a:ln>
                <a:solidFill>
                  <a:schemeClr val="bg1"/>
                </a:solidFill>
                <a:effectLst/>
                <a:uLnTx/>
                <a:uFillTx/>
                <a:latin typeface="+mn-lt"/>
                <a:ea typeface="+mn-ea"/>
                <a:cs typeface="Calibri"/>
              </a:rPr>
              <a:t> que </a:t>
            </a:r>
            <a:r>
              <a:rPr kumimoji="0" lang="en-US" sz="1400" i="0" u="none" strike="noStrike" kern="0" cap="none" spc="31" normalizeH="0" baseline="0" noProof="0" dirty="0" err="1">
                <a:ln>
                  <a:noFill/>
                </a:ln>
                <a:solidFill>
                  <a:schemeClr val="bg1"/>
                </a:solidFill>
                <a:effectLst/>
                <a:uLnTx/>
                <a:uFillTx/>
                <a:latin typeface="+mn-lt"/>
                <a:ea typeface="+mn-ea"/>
                <a:cs typeface="Calibri"/>
              </a:rPr>
              <a:t>pode</a:t>
            </a:r>
            <a:r>
              <a:rPr kumimoji="0" lang="en-US" sz="1400" i="0" u="none" strike="noStrike" kern="0" cap="none" spc="31" normalizeH="0" baseline="0" noProof="0" dirty="0">
                <a:ln>
                  <a:noFill/>
                </a:ln>
                <a:solidFill>
                  <a:schemeClr val="bg1"/>
                </a:solidFill>
                <a:effectLst/>
                <a:uLnTx/>
                <a:uFillTx/>
                <a:latin typeface="+mn-lt"/>
                <a:ea typeface="+mn-ea"/>
                <a:cs typeface="Calibri"/>
              </a:rPr>
              <a:t> </a:t>
            </a:r>
            <a:r>
              <a:rPr kumimoji="0" lang="en-US" sz="1400" i="0" u="none" strike="noStrike" kern="0" cap="none" spc="31" normalizeH="0" baseline="0" noProof="0" dirty="0" err="1">
                <a:ln>
                  <a:noFill/>
                </a:ln>
                <a:solidFill>
                  <a:schemeClr val="bg1"/>
                </a:solidFill>
                <a:effectLst/>
                <a:uLnTx/>
                <a:uFillTx/>
                <a:latin typeface="+mn-lt"/>
                <a:ea typeface="+mn-ea"/>
                <a:cs typeface="Calibri"/>
              </a:rPr>
              <a:t>induzir</a:t>
            </a:r>
            <a:r>
              <a:rPr kumimoji="0" lang="en-US" sz="1400" i="0" u="none" strike="noStrike" kern="0" cap="none" spc="31" normalizeH="0" baseline="0" noProof="0" dirty="0">
                <a:ln>
                  <a:noFill/>
                </a:ln>
                <a:solidFill>
                  <a:schemeClr val="bg1"/>
                </a:solidFill>
                <a:effectLst/>
                <a:uLnTx/>
                <a:uFillTx/>
                <a:latin typeface="+mn-lt"/>
                <a:ea typeface="+mn-ea"/>
                <a:cs typeface="Calibri"/>
              </a:rPr>
              <a:t> </a:t>
            </a:r>
            <a:r>
              <a:rPr kumimoji="0" lang="en-US" sz="1400" i="0" u="none" strike="noStrike" kern="0" cap="none" spc="31" normalizeH="0" baseline="0" noProof="0" dirty="0" err="1">
                <a:ln>
                  <a:noFill/>
                </a:ln>
                <a:solidFill>
                  <a:schemeClr val="bg1"/>
                </a:solidFill>
                <a:effectLst/>
                <a:uLnTx/>
                <a:uFillTx/>
                <a:latin typeface="+mn-lt"/>
                <a:ea typeface="+mn-ea"/>
                <a:cs typeface="Calibri"/>
              </a:rPr>
              <a:t>trombose</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incluindo</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microantiopatia</a:t>
            </a:r>
            <a:r>
              <a:rPr kumimoji="0" lang="en-US" sz="1400" b="0" i="0" u="none" strike="noStrike" kern="0" cap="none" spc="31" normalizeH="0" baseline="0" noProof="0" dirty="0">
                <a:ln>
                  <a:noFill/>
                </a:ln>
                <a:solidFill>
                  <a:schemeClr val="bg1"/>
                </a:solidFill>
                <a:effectLst/>
                <a:uLnTx/>
                <a:uFillTx/>
                <a:latin typeface="+mn-lt"/>
                <a:ea typeface="+mn-ea"/>
                <a:cs typeface="Calibri"/>
              </a:rPr>
              <a:t> </a:t>
            </a:r>
            <a:r>
              <a:rPr kumimoji="0" lang="en-US" sz="1400" b="0" i="0" u="none" strike="noStrike" kern="0" cap="none" spc="31" normalizeH="0" baseline="0" noProof="0" dirty="0" err="1">
                <a:ln>
                  <a:noFill/>
                </a:ln>
                <a:solidFill>
                  <a:schemeClr val="bg1"/>
                </a:solidFill>
                <a:effectLst/>
                <a:uLnTx/>
                <a:uFillTx/>
                <a:latin typeface="+mn-lt"/>
                <a:ea typeface="+mn-ea"/>
                <a:cs typeface="Calibri"/>
              </a:rPr>
              <a:t>trombótica</a:t>
            </a:r>
            <a:r>
              <a:rPr kumimoji="0" lang="en-US" sz="1400" b="0" i="0" u="none" strike="noStrike" kern="0" cap="none" spc="31" normalizeH="0" baseline="0" noProof="0" dirty="0">
                <a:ln>
                  <a:noFill/>
                </a:ln>
                <a:solidFill>
                  <a:schemeClr val="bg1"/>
                </a:solidFill>
                <a:effectLst/>
                <a:uLnTx/>
                <a:uFillTx/>
                <a:latin typeface="+mn-lt"/>
                <a:ea typeface="+mn-ea"/>
                <a:cs typeface="Calibri"/>
              </a:rPr>
              <a:t>, e </a:t>
            </a:r>
            <a:r>
              <a:rPr kumimoji="0" lang="en-US" sz="1400" b="0" i="0" u="none" strike="noStrike" kern="0" cap="none" spc="31" normalizeH="0" baseline="0" noProof="0" dirty="0" err="1">
                <a:ln>
                  <a:noFill/>
                </a:ln>
                <a:solidFill>
                  <a:schemeClr val="bg1"/>
                </a:solidFill>
                <a:effectLst/>
                <a:uLnTx/>
                <a:uFillTx/>
                <a:latin typeface="+mn-lt"/>
                <a:ea typeface="+mn-ea"/>
                <a:cs typeface="Calibri"/>
              </a:rPr>
              <a:t>dano</a:t>
            </a:r>
            <a:r>
              <a:rPr kumimoji="0" lang="en-US" sz="1400" b="0" i="0" u="none" strike="noStrike" kern="0" cap="none" spc="31" normalizeH="0" baseline="0" noProof="0" dirty="0">
                <a:ln>
                  <a:noFill/>
                </a:ln>
                <a:solidFill>
                  <a:schemeClr val="bg1"/>
                </a:solidFill>
                <a:effectLst/>
                <a:uLnTx/>
                <a:uFillTx/>
                <a:latin typeface="+mn-lt"/>
                <a:ea typeface="+mn-ea"/>
                <a:cs typeface="Calibri"/>
              </a:rPr>
              <a:t> tecidual</a:t>
            </a:r>
            <a:r>
              <a:rPr kumimoji="0" lang="en-US" sz="1400" b="0" i="0" u="none" strike="noStrike" kern="0" cap="none" spc="31" normalizeH="0" baseline="30000" noProof="0" dirty="0">
                <a:ln>
                  <a:noFill/>
                </a:ln>
                <a:solidFill>
                  <a:schemeClr val="bg1"/>
                </a:solidFill>
                <a:effectLst/>
                <a:uLnTx/>
                <a:uFillTx/>
                <a:latin typeface="+mn-lt"/>
                <a:ea typeface="+mn-ea"/>
                <a:cs typeface="Calibri"/>
              </a:rPr>
              <a:t>1,3,4</a:t>
            </a:r>
            <a:endParaRPr kumimoji="0" lang="en-US" sz="1400" b="0" i="0" u="none" strike="noStrike" kern="0" cap="none" spc="31" normalizeH="0" baseline="30000" noProof="0" dirty="0">
              <a:ln>
                <a:noFill/>
              </a:ln>
              <a:solidFill>
                <a:schemeClr val="bg1"/>
              </a:solidFill>
              <a:effectLst/>
              <a:uLnTx/>
              <a:uFillTx/>
              <a:latin typeface="+mn-lt"/>
              <a:ea typeface="+mn-ea"/>
              <a:cs typeface="Calibri" panose="020F0502020204030204" pitchFamily="34" charset="0"/>
            </a:endParaRPr>
          </a:p>
        </p:txBody>
      </p:sp>
      <p:cxnSp>
        <p:nvCxnSpPr>
          <p:cNvPr id="13" name="Conector reto 12">
            <a:extLst>
              <a:ext uri="{FF2B5EF4-FFF2-40B4-BE49-F238E27FC236}">
                <a16:creationId xmlns:a16="http://schemas.microsoft.com/office/drawing/2014/main" id="{6323304C-645D-918B-9B44-696B9F9F19AB}"/>
              </a:ext>
            </a:extLst>
          </p:cNvPr>
          <p:cNvCxnSpPr>
            <a:cxnSpLocks/>
          </p:cNvCxnSpPr>
          <p:nvPr/>
        </p:nvCxnSpPr>
        <p:spPr>
          <a:xfrm>
            <a:off x="6756400" y="4131069"/>
            <a:ext cx="4688122"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55" name="Agrupar 154">
            <a:extLst>
              <a:ext uri="{FF2B5EF4-FFF2-40B4-BE49-F238E27FC236}">
                <a16:creationId xmlns:a16="http://schemas.microsoft.com/office/drawing/2014/main" id="{D5F8066E-D7DD-7497-DC02-48C4D7208CD7}"/>
              </a:ext>
            </a:extLst>
          </p:cNvPr>
          <p:cNvGrpSpPr/>
          <p:nvPr/>
        </p:nvGrpSpPr>
        <p:grpSpPr>
          <a:xfrm>
            <a:off x="307561" y="1928549"/>
            <a:ext cx="5874917" cy="4157836"/>
            <a:chOff x="307561" y="1928549"/>
            <a:chExt cx="5874917" cy="4157836"/>
          </a:xfrm>
        </p:grpSpPr>
        <p:grpSp>
          <p:nvGrpSpPr>
            <p:cNvPr id="151" name="Agrupar 150">
              <a:extLst>
                <a:ext uri="{FF2B5EF4-FFF2-40B4-BE49-F238E27FC236}">
                  <a16:creationId xmlns:a16="http://schemas.microsoft.com/office/drawing/2014/main" id="{ACA99D9D-5D38-FF87-EE33-950546FC0DC2}"/>
                </a:ext>
              </a:extLst>
            </p:cNvPr>
            <p:cNvGrpSpPr/>
            <p:nvPr/>
          </p:nvGrpSpPr>
          <p:grpSpPr>
            <a:xfrm>
              <a:off x="307561" y="1928549"/>
              <a:ext cx="5735099" cy="4157836"/>
              <a:chOff x="307561" y="1928549"/>
              <a:chExt cx="5735099" cy="4157836"/>
            </a:xfrm>
          </p:grpSpPr>
          <p:sp>
            <p:nvSpPr>
              <p:cNvPr id="4" name="TextBox 13">
                <a:extLst>
                  <a:ext uri="{FF2B5EF4-FFF2-40B4-BE49-F238E27FC236}">
                    <a16:creationId xmlns:a16="http://schemas.microsoft.com/office/drawing/2014/main" id="{E1FA29E3-E39C-3588-EA40-81DA1309BB67}"/>
                  </a:ext>
                </a:extLst>
              </p:cNvPr>
              <p:cNvSpPr txBox="1"/>
              <p:nvPr/>
            </p:nvSpPr>
            <p:spPr>
              <a:xfrm>
                <a:off x="307561" y="5886330"/>
                <a:ext cx="3287881" cy="20005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CA" sz="700" b="0" i="0" u="none" strike="noStrike" kern="1200" cap="none" spc="0" normalizeH="0" baseline="0" noProof="0" dirty="0" err="1">
                    <a:ln>
                      <a:noFill/>
                    </a:ln>
                    <a:effectLst/>
                    <a:uLnTx/>
                    <a:uFillTx/>
                    <a:ea typeface="ヒラギノ角ゴ Pro W3" panose="020B0300000000000000" pitchFamily="34" charset="-128"/>
                    <a:cs typeface="+mn-cs"/>
                  </a:rPr>
                  <a:t>Adaptado</a:t>
                </a:r>
                <a:r>
                  <a:rPr kumimoji="0" lang="en-CA" sz="700" b="0" i="0" u="none" strike="noStrike" kern="1200" cap="none" spc="0" normalizeH="0" baseline="0" noProof="0" dirty="0">
                    <a:ln>
                      <a:noFill/>
                    </a:ln>
                    <a:effectLst/>
                    <a:uLnTx/>
                    <a:uFillTx/>
                    <a:ea typeface="ヒラギノ角ゴ Pro W3" panose="020B0300000000000000" pitchFamily="34" charset="-128"/>
                    <a:cs typeface="+mn-cs"/>
                  </a:rPr>
                  <a:t> de Park SE, et al. </a:t>
                </a:r>
                <a:r>
                  <a:rPr kumimoji="0" lang="en-CA" sz="700" b="0" i="0" u="none" strike="noStrike" kern="1200" cap="none" spc="0" normalizeH="0" baseline="0" noProof="0" dirty="0" err="1">
                    <a:ln>
                      <a:noFill/>
                    </a:ln>
                    <a:effectLst/>
                    <a:uLnTx/>
                    <a:uFillTx/>
                    <a:ea typeface="ヒラギノ角ゴ Pro W3" panose="020B0300000000000000" pitchFamily="34" charset="-128"/>
                    <a:cs typeface="+mn-cs"/>
                  </a:rPr>
                  <a:t>Neurobiol</a:t>
                </a:r>
                <a:r>
                  <a:rPr kumimoji="0" lang="en-CA" sz="700" b="0" i="0" u="none" strike="noStrike" kern="1200" cap="none" spc="0" normalizeH="0" baseline="0" noProof="0" dirty="0">
                    <a:ln>
                      <a:noFill/>
                    </a:ln>
                    <a:effectLst/>
                    <a:uLnTx/>
                    <a:uFillTx/>
                    <a:ea typeface="ヒラギノ角ゴ Pro W3" panose="020B0300000000000000" pitchFamily="34" charset="-128"/>
                    <a:cs typeface="+mn-cs"/>
                  </a:rPr>
                  <a:t> Dis. 2019</a:t>
                </a:r>
              </a:p>
            </p:txBody>
          </p:sp>
          <p:sp>
            <p:nvSpPr>
              <p:cNvPr id="15" name="Freeform 5764">
                <a:extLst>
                  <a:ext uri="{FF2B5EF4-FFF2-40B4-BE49-F238E27FC236}">
                    <a16:creationId xmlns:a16="http://schemas.microsoft.com/office/drawing/2014/main" id="{B9761AAE-82A3-C2B7-1690-D86F3940FD42}"/>
                  </a:ext>
                </a:extLst>
              </p:cNvPr>
              <p:cNvSpPr/>
              <p:nvPr/>
            </p:nvSpPr>
            <p:spPr>
              <a:xfrm>
                <a:off x="2316969" y="2186055"/>
                <a:ext cx="1308552" cy="278302"/>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bg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21" name="Freeform 5764">
                <a:extLst>
                  <a:ext uri="{FF2B5EF4-FFF2-40B4-BE49-F238E27FC236}">
                    <a16:creationId xmlns:a16="http://schemas.microsoft.com/office/drawing/2014/main" id="{2BEA8E9D-8FB6-CE76-440B-1DECA4AA1778}"/>
                  </a:ext>
                </a:extLst>
              </p:cNvPr>
              <p:cNvSpPr/>
              <p:nvPr/>
            </p:nvSpPr>
            <p:spPr>
              <a:xfrm>
                <a:off x="965098" y="2191742"/>
                <a:ext cx="1292327" cy="278301"/>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accent1"/>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22" name="Freeform 5764">
                <a:extLst>
                  <a:ext uri="{FF2B5EF4-FFF2-40B4-BE49-F238E27FC236}">
                    <a16:creationId xmlns:a16="http://schemas.microsoft.com/office/drawing/2014/main" id="{AE659E57-5B23-F605-2B43-0AE02697C28B}"/>
                  </a:ext>
                </a:extLst>
              </p:cNvPr>
              <p:cNvSpPr/>
              <p:nvPr/>
            </p:nvSpPr>
            <p:spPr>
              <a:xfrm>
                <a:off x="3674644" y="2186055"/>
                <a:ext cx="1308552" cy="278302"/>
              </a:xfrm>
              <a:custGeom>
                <a:avLst/>
                <a:gdLst>
                  <a:gd name="connsiteX0" fmla="*/ 0 w 1783167"/>
                  <a:gd name="connsiteY0" fmla="*/ 0 h 323227"/>
                  <a:gd name="connsiteX1" fmla="*/ 1783168 w 1783167"/>
                  <a:gd name="connsiteY1" fmla="*/ 0 h 323227"/>
                  <a:gd name="connsiteX2" fmla="*/ 1783168 w 1783167"/>
                  <a:gd name="connsiteY2" fmla="*/ 323227 h 323227"/>
                  <a:gd name="connsiteX3" fmla="*/ 0 w 1783167"/>
                  <a:gd name="connsiteY3" fmla="*/ 323227 h 323227"/>
                </a:gdLst>
                <a:ahLst/>
                <a:cxnLst>
                  <a:cxn ang="0">
                    <a:pos x="connsiteX0" y="connsiteY0"/>
                  </a:cxn>
                  <a:cxn ang="0">
                    <a:pos x="connsiteX1" y="connsiteY1"/>
                  </a:cxn>
                  <a:cxn ang="0">
                    <a:pos x="connsiteX2" y="connsiteY2"/>
                  </a:cxn>
                  <a:cxn ang="0">
                    <a:pos x="connsiteX3" y="connsiteY3"/>
                  </a:cxn>
                </a:cxnLst>
                <a:rect l="l" t="t" r="r" b="b"/>
                <a:pathLst>
                  <a:path w="1783167" h="323227">
                    <a:moveTo>
                      <a:pt x="0" y="0"/>
                    </a:moveTo>
                    <a:lnTo>
                      <a:pt x="1783168" y="0"/>
                    </a:lnTo>
                    <a:lnTo>
                      <a:pt x="1783168" y="323227"/>
                    </a:lnTo>
                    <a:lnTo>
                      <a:pt x="0" y="323227"/>
                    </a:lnTo>
                    <a:close/>
                  </a:path>
                </a:pathLst>
              </a:custGeom>
              <a:solidFill>
                <a:schemeClr val="tx2"/>
              </a:solidFill>
              <a:ln w="12452" cap="flat">
                <a:noFill/>
                <a:prstDash val="solid"/>
                <a:miter/>
              </a:ln>
            </p:spPr>
            <p:txBody>
              <a:bodyPr rtlCol="0" anchor="ct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7302C"/>
                  </a:solidFill>
                  <a:effectLst/>
                  <a:uLnTx/>
                  <a:uFillTx/>
                  <a:ea typeface="ヒラギノ角ゴ Pro W3" panose="020B0300000000000000" pitchFamily="34" charset="-128"/>
                  <a:cs typeface="Arial"/>
                </a:endParaRPr>
              </a:p>
            </p:txBody>
          </p:sp>
          <p:sp>
            <p:nvSpPr>
              <p:cNvPr id="16" name="TextBox 5618">
                <a:extLst>
                  <a:ext uri="{FF2B5EF4-FFF2-40B4-BE49-F238E27FC236}">
                    <a16:creationId xmlns:a16="http://schemas.microsoft.com/office/drawing/2014/main" id="{492B321F-592E-FCE7-AFDC-3B964F21A25E}"/>
                  </a:ext>
                </a:extLst>
              </p:cNvPr>
              <p:cNvSpPr txBox="1"/>
              <p:nvPr/>
            </p:nvSpPr>
            <p:spPr>
              <a:xfrm>
                <a:off x="1329981" y="2206596"/>
                <a:ext cx="615874" cy="258532"/>
              </a:xfrm>
              <a:prstGeom prst="rect">
                <a:avLst/>
              </a:prstGeom>
              <a:noFill/>
            </p:spPr>
            <p:txBody>
              <a:bodyPr wrap="none" rtlCol="0">
                <a:spAutoFit/>
              </a:bodyPr>
              <a:lstStyle/>
              <a:p>
                <a:pPr defTabSz="914377" fontAlgn="base">
                  <a:lnSpc>
                    <a:spcPct val="90000"/>
                  </a:lnSpc>
                  <a:spcBef>
                    <a:spcPct val="0"/>
                  </a:spcBef>
                  <a:spcAft>
                    <a:spcPct val="0"/>
                  </a:spcAft>
                  <a:defRPr/>
                </a:pPr>
                <a:r>
                  <a:rPr lang="en-US" sz="1200" b="1" dirty="0">
                    <a:solidFill>
                      <a:srgbClr val="FFFFFF"/>
                    </a:solidFill>
                    <a:latin typeface="+mj-lt"/>
                    <a:ea typeface="ヒラギノ角ゴ Pro W3" panose="020B0300000000000000" pitchFamily="34" charset="-128"/>
                    <a:cs typeface="Arial"/>
                    <a:sym typeface="Arial"/>
                  </a:rPr>
                  <a:t>Lectin</a:t>
                </a:r>
              </a:p>
            </p:txBody>
          </p:sp>
          <p:sp>
            <p:nvSpPr>
              <p:cNvPr id="25" name="TextBox 5618">
                <a:extLst>
                  <a:ext uri="{FF2B5EF4-FFF2-40B4-BE49-F238E27FC236}">
                    <a16:creationId xmlns:a16="http://schemas.microsoft.com/office/drawing/2014/main" id="{A494AE25-102C-C4FD-390B-A322EC533231}"/>
                  </a:ext>
                </a:extLst>
              </p:cNvPr>
              <p:cNvSpPr txBox="1"/>
              <p:nvPr/>
            </p:nvSpPr>
            <p:spPr>
              <a:xfrm>
                <a:off x="2595296" y="2206596"/>
                <a:ext cx="790601" cy="258532"/>
              </a:xfrm>
              <a:prstGeom prst="rect">
                <a:avLst/>
              </a:prstGeom>
              <a:noFill/>
            </p:spPr>
            <p:txBody>
              <a:bodyPr wrap="none" rtlCol="0">
                <a:spAutoFit/>
              </a:bodyPr>
              <a:lstStyle/>
              <a:p>
                <a:pPr algn="ctr" defTabSz="914377" fontAlgn="base">
                  <a:lnSpc>
                    <a:spcPct val="90000"/>
                  </a:lnSpc>
                  <a:spcBef>
                    <a:spcPct val="0"/>
                  </a:spcBef>
                  <a:spcAft>
                    <a:spcPct val="0"/>
                  </a:spcAft>
                  <a:defRPr/>
                </a:pPr>
                <a:r>
                  <a:rPr lang="en-US" sz="1200" b="1" dirty="0">
                    <a:solidFill>
                      <a:srgbClr val="FFFFFF"/>
                    </a:solidFill>
                    <a:latin typeface="+mj-lt"/>
                    <a:ea typeface="ヒラギノ角ゴ Pro W3" panose="020B0300000000000000" pitchFamily="34" charset="-128"/>
                    <a:cs typeface="Arial"/>
                    <a:sym typeface="Arial"/>
                  </a:rPr>
                  <a:t>Classical</a:t>
                </a:r>
              </a:p>
            </p:txBody>
          </p:sp>
          <p:sp>
            <p:nvSpPr>
              <p:cNvPr id="26" name="TextBox 5618">
                <a:extLst>
                  <a:ext uri="{FF2B5EF4-FFF2-40B4-BE49-F238E27FC236}">
                    <a16:creationId xmlns:a16="http://schemas.microsoft.com/office/drawing/2014/main" id="{FD7D0AB7-02CD-65FE-303B-3897B6F5603D}"/>
                  </a:ext>
                </a:extLst>
              </p:cNvPr>
              <p:cNvSpPr txBox="1"/>
              <p:nvPr/>
            </p:nvSpPr>
            <p:spPr>
              <a:xfrm>
                <a:off x="3867715" y="2206596"/>
                <a:ext cx="948529" cy="258532"/>
              </a:xfrm>
              <a:prstGeom prst="rect">
                <a:avLst/>
              </a:prstGeom>
              <a:noFill/>
            </p:spPr>
            <p:txBody>
              <a:bodyPr wrap="none" rtlCol="0">
                <a:spAutoFit/>
              </a:bodyPr>
              <a:lstStyle/>
              <a:p>
                <a:pPr algn="ctr" defTabSz="914377" fontAlgn="base">
                  <a:lnSpc>
                    <a:spcPct val="90000"/>
                  </a:lnSpc>
                  <a:spcBef>
                    <a:spcPct val="0"/>
                  </a:spcBef>
                  <a:spcAft>
                    <a:spcPct val="0"/>
                  </a:spcAft>
                  <a:defRPr/>
                </a:pPr>
                <a:r>
                  <a:rPr lang="en-US" sz="1200" b="1" dirty="0">
                    <a:solidFill>
                      <a:srgbClr val="FFFFFF"/>
                    </a:solidFill>
                    <a:latin typeface="+mj-lt"/>
                    <a:ea typeface="ヒラギノ角ゴ Pro W3" panose="020B0300000000000000" pitchFamily="34" charset="-128"/>
                    <a:cs typeface="Arial"/>
                    <a:sym typeface="Arial"/>
                  </a:rPr>
                  <a:t>Alternative</a:t>
                </a:r>
              </a:p>
            </p:txBody>
          </p:sp>
          <p:sp>
            <p:nvSpPr>
              <p:cNvPr id="27" name="TextBox 5618">
                <a:extLst>
                  <a:ext uri="{FF2B5EF4-FFF2-40B4-BE49-F238E27FC236}">
                    <a16:creationId xmlns:a16="http://schemas.microsoft.com/office/drawing/2014/main" id="{5199AFA2-A062-4DC0-85E5-5C5892EF9038}"/>
                  </a:ext>
                </a:extLst>
              </p:cNvPr>
              <p:cNvSpPr txBox="1"/>
              <p:nvPr/>
            </p:nvSpPr>
            <p:spPr>
              <a:xfrm>
                <a:off x="1637918" y="1928549"/>
                <a:ext cx="2877519" cy="286232"/>
              </a:xfrm>
              <a:prstGeom prst="rect">
                <a:avLst/>
              </a:prstGeom>
              <a:noFill/>
            </p:spPr>
            <p:txBody>
              <a:bodyPr wrap="none" rtlCol="0">
                <a:spAutoFit/>
              </a:bodyPr>
              <a:lstStyle/>
              <a:p>
                <a:pPr algn="ctr" defTabSz="914377" fontAlgn="base">
                  <a:lnSpc>
                    <a:spcPct val="90000"/>
                  </a:lnSpc>
                  <a:spcBef>
                    <a:spcPct val="0"/>
                  </a:spcBef>
                  <a:spcAft>
                    <a:spcPct val="0"/>
                  </a:spcAft>
                  <a:defRPr/>
                </a:pPr>
                <a:r>
                  <a:rPr lang="en-US" sz="1400" b="1" dirty="0">
                    <a:latin typeface="+mj-lt"/>
                    <a:ea typeface="ヒラギノ角ゴ Pro W3" panose="020B0300000000000000" pitchFamily="34" charset="-128"/>
                    <a:cs typeface="Arial"/>
                    <a:sym typeface="Arial"/>
                  </a:rPr>
                  <a:t>Complement Activation Pathways</a:t>
                </a:r>
              </a:p>
            </p:txBody>
          </p:sp>
          <p:sp>
            <p:nvSpPr>
              <p:cNvPr id="28" name="Círculo Parcial 27">
                <a:extLst>
                  <a:ext uri="{FF2B5EF4-FFF2-40B4-BE49-F238E27FC236}">
                    <a16:creationId xmlns:a16="http://schemas.microsoft.com/office/drawing/2014/main" id="{BBAC7DB4-EE40-6954-E79B-870045D52A78}"/>
                  </a:ext>
                </a:extLst>
              </p:cNvPr>
              <p:cNvSpPr/>
              <p:nvPr/>
            </p:nvSpPr>
            <p:spPr>
              <a:xfrm rot="8100000">
                <a:off x="2697257" y="2892939"/>
                <a:ext cx="527050" cy="52705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solidFill>
                    <a:schemeClr val="tx1"/>
                  </a:solidFill>
                </a:endParaRPr>
              </a:p>
            </p:txBody>
          </p:sp>
          <p:sp>
            <p:nvSpPr>
              <p:cNvPr id="33" name="CaixaDeTexto 32">
                <a:extLst>
                  <a:ext uri="{FF2B5EF4-FFF2-40B4-BE49-F238E27FC236}">
                    <a16:creationId xmlns:a16="http://schemas.microsoft.com/office/drawing/2014/main" id="{DD9726BF-DA58-FFC5-A238-B15CEDB41EE0}"/>
                  </a:ext>
                </a:extLst>
              </p:cNvPr>
              <p:cNvSpPr txBox="1"/>
              <p:nvPr/>
            </p:nvSpPr>
            <p:spPr>
              <a:xfrm>
                <a:off x="2774673" y="2891165"/>
                <a:ext cx="372218" cy="307777"/>
              </a:xfrm>
              <a:prstGeom prst="rect">
                <a:avLst/>
              </a:prstGeom>
              <a:noFill/>
            </p:spPr>
            <p:txBody>
              <a:bodyPr wrap="none" rtlCol="0">
                <a:spAutoFit/>
              </a:bodyPr>
              <a:lstStyle/>
              <a:p>
                <a:pPr algn="l">
                  <a:spcAft>
                    <a:spcPts val="600"/>
                  </a:spcAft>
                </a:pPr>
                <a:r>
                  <a:rPr lang="pt-BR" sz="1400" b="1" dirty="0">
                    <a:solidFill>
                      <a:schemeClr val="bg1"/>
                    </a:solidFill>
                  </a:rPr>
                  <a:t>C3</a:t>
                </a:r>
              </a:p>
            </p:txBody>
          </p:sp>
          <p:sp>
            <p:nvSpPr>
              <p:cNvPr id="34" name="CaixaDeTexto 33">
                <a:extLst>
                  <a:ext uri="{FF2B5EF4-FFF2-40B4-BE49-F238E27FC236}">
                    <a16:creationId xmlns:a16="http://schemas.microsoft.com/office/drawing/2014/main" id="{C08CA32E-40E0-840D-D9A4-C968AA60EF3C}"/>
                  </a:ext>
                </a:extLst>
              </p:cNvPr>
              <p:cNvSpPr txBox="1"/>
              <p:nvPr/>
            </p:nvSpPr>
            <p:spPr>
              <a:xfrm>
                <a:off x="2641667" y="3275221"/>
                <a:ext cx="659156" cy="246221"/>
              </a:xfrm>
              <a:prstGeom prst="rect">
                <a:avLst/>
              </a:prstGeom>
              <a:noFill/>
            </p:spPr>
            <p:txBody>
              <a:bodyPr wrap="none" rtlCol="0">
                <a:spAutoFit/>
              </a:bodyPr>
              <a:lstStyle/>
              <a:p>
                <a:pPr algn="ctr">
                  <a:spcAft>
                    <a:spcPts val="600"/>
                  </a:spcAft>
                </a:pPr>
                <a:r>
                  <a:rPr lang="pt-BR" sz="1000" b="1" dirty="0" err="1"/>
                  <a:t>Cleavage</a:t>
                </a:r>
                <a:endParaRPr lang="pt-BR" sz="1000" b="1" dirty="0"/>
              </a:p>
            </p:txBody>
          </p:sp>
          <p:sp>
            <p:nvSpPr>
              <p:cNvPr id="38" name="CaixaDeTexto 37">
                <a:extLst>
                  <a:ext uri="{FF2B5EF4-FFF2-40B4-BE49-F238E27FC236}">
                    <a16:creationId xmlns:a16="http://schemas.microsoft.com/office/drawing/2014/main" id="{B87A01B9-881E-5513-1045-BC12D6271A10}"/>
                  </a:ext>
                </a:extLst>
              </p:cNvPr>
              <p:cNvSpPr txBox="1"/>
              <p:nvPr/>
            </p:nvSpPr>
            <p:spPr>
              <a:xfrm>
                <a:off x="2316969" y="3759537"/>
                <a:ext cx="380233" cy="246221"/>
              </a:xfrm>
              <a:prstGeom prst="rect">
                <a:avLst/>
              </a:prstGeom>
              <a:noFill/>
            </p:spPr>
            <p:txBody>
              <a:bodyPr wrap="none" rtlCol="0">
                <a:spAutoFit/>
              </a:bodyPr>
              <a:lstStyle/>
              <a:p>
                <a:pPr algn="ctr">
                  <a:spcAft>
                    <a:spcPts val="600"/>
                  </a:spcAft>
                </a:pPr>
                <a:r>
                  <a:rPr lang="pt-BR" sz="1000" b="1" dirty="0"/>
                  <a:t>C3a</a:t>
                </a:r>
              </a:p>
            </p:txBody>
          </p:sp>
          <p:sp>
            <p:nvSpPr>
              <p:cNvPr id="39" name="CaixaDeTexto 38">
                <a:extLst>
                  <a:ext uri="{FF2B5EF4-FFF2-40B4-BE49-F238E27FC236}">
                    <a16:creationId xmlns:a16="http://schemas.microsoft.com/office/drawing/2014/main" id="{9F641194-9C3A-16D5-6FDA-9E92D77BD4A3}"/>
                  </a:ext>
                </a:extLst>
              </p:cNvPr>
              <p:cNvSpPr txBox="1"/>
              <p:nvPr/>
            </p:nvSpPr>
            <p:spPr>
              <a:xfrm>
                <a:off x="3236472" y="3759537"/>
                <a:ext cx="386645" cy="246221"/>
              </a:xfrm>
              <a:prstGeom prst="rect">
                <a:avLst/>
              </a:prstGeom>
              <a:noFill/>
            </p:spPr>
            <p:txBody>
              <a:bodyPr wrap="none" rtlCol="0">
                <a:spAutoFit/>
              </a:bodyPr>
              <a:lstStyle/>
              <a:p>
                <a:pPr algn="ctr">
                  <a:spcAft>
                    <a:spcPts val="600"/>
                  </a:spcAft>
                </a:pPr>
                <a:r>
                  <a:rPr lang="pt-BR" sz="1000" b="1" dirty="0"/>
                  <a:t>C3b</a:t>
                </a:r>
              </a:p>
            </p:txBody>
          </p:sp>
          <p:sp>
            <p:nvSpPr>
              <p:cNvPr id="40" name="Semicírculo 39">
                <a:extLst>
                  <a:ext uri="{FF2B5EF4-FFF2-40B4-BE49-F238E27FC236}">
                    <a16:creationId xmlns:a16="http://schemas.microsoft.com/office/drawing/2014/main" id="{55A0DDD5-22FC-C1D5-600A-57382EC5ABC6}"/>
                  </a:ext>
                </a:extLst>
              </p:cNvPr>
              <p:cNvSpPr/>
              <p:nvPr/>
            </p:nvSpPr>
            <p:spPr>
              <a:xfrm rot="18000434">
                <a:off x="2616060" y="3486138"/>
                <a:ext cx="479726" cy="479726"/>
              </a:xfrm>
              <a:prstGeom prst="blockArc">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solidFill>
                    <a:schemeClr val="tx1"/>
                  </a:solidFill>
                </a:endParaRPr>
              </a:p>
            </p:txBody>
          </p:sp>
          <p:sp>
            <p:nvSpPr>
              <p:cNvPr id="41" name="Semicírculo 40">
                <a:extLst>
                  <a:ext uri="{FF2B5EF4-FFF2-40B4-BE49-F238E27FC236}">
                    <a16:creationId xmlns:a16="http://schemas.microsoft.com/office/drawing/2014/main" id="{057C3196-894D-D336-D560-CB3746CA8283}"/>
                  </a:ext>
                </a:extLst>
              </p:cNvPr>
              <p:cNvSpPr/>
              <p:nvPr/>
            </p:nvSpPr>
            <p:spPr>
              <a:xfrm rot="3599566" flipH="1">
                <a:off x="2873108" y="3486138"/>
                <a:ext cx="479726" cy="479726"/>
              </a:xfrm>
              <a:prstGeom prst="blockArc">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solidFill>
                    <a:schemeClr val="tx1"/>
                  </a:solidFill>
                </a:endParaRPr>
              </a:p>
            </p:txBody>
          </p:sp>
          <p:sp>
            <p:nvSpPr>
              <p:cNvPr id="43" name="Elipse 42">
                <a:extLst>
                  <a:ext uri="{FF2B5EF4-FFF2-40B4-BE49-F238E27FC236}">
                    <a16:creationId xmlns:a16="http://schemas.microsoft.com/office/drawing/2014/main" id="{E6D6A33C-7625-E6E0-8F05-EC1DD1457EC3}"/>
                  </a:ext>
                </a:extLst>
              </p:cNvPr>
              <p:cNvSpPr/>
              <p:nvPr/>
            </p:nvSpPr>
            <p:spPr>
              <a:xfrm>
                <a:off x="4064609" y="3061214"/>
                <a:ext cx="190500" cy="190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44" name="Elipse 43">
                <a:extLst>
                  <a:ext uri="{FF2B5EF4-FFF2-40B4-BE49-F238E27FC236}">
                    <a16:creationId xmlns:a16="http://schemas.microsoft.com/office/drawing/2014/main" id="{9CD333BC-4100-D421-91AC-4AEFBBCDBC5E}"/>
                  </a:ext>
                </a:extLst>
              </p:cNvPr>
              <p:cNvSpPr/>
              <p:nvPr/>
            </p:nvSpPr>
            <p:spPr>
              <a:xfrm>
                <a:off x="4689970" y="2587591"/>
                <a:ext cx="190500" cy="1905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48" name="Elipse 47">
                <a:extLst>
                  <a:ext uri="{FF2B5EF4-FFF2-40B4-BE49-F238E27FC236}">
                    <a16:creationId xmlns:a16="http://schemas.microsoft.com/office/drawing/2014/main" id="{E28DD89D-75B5-9C39-41B7-9271C1859781}"/>
                  </a:ext>
                </a:extLst>
              </p:cNvPr>
              <p:cNvSpPr/>
              <p:nvPr/>
            </p:nvSpPr>
            <p:spPr>
              <a:xfrm>
                <a:off x="2295714" y="3293184"/>
                <a:ext cx="190500" cy="1905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55" name="CaixaDeTexto 54">
                <a:extLst>
                  <a:ext uri="{FF2B5EF4-FFF2-40B4-BE49-F238E27FC236}">
                    <a16:creationId xmlns:a16="http://schemas.microsoft.com/office/drawing/2014/main" id="{AF89DE1C-0B12-4B72-D08F-2E6E175412BA}"/>
                  </a:ext>
                </a:extLst>
              </p:cNvPr>
              <p:cNvSpPr txBox="1"/>
              <p:nvPr/>
            </p:nvSpPr>
            <p:spPr>
              <a:xfrm>
                <a:off x="2237255" y="3270253"/>
                <a:ext cx="320922" cy="261610"/>
              </a:xfrm>
              <a:prstGeom prst="rect">
                <a:avLst/>
              </a:prstGeom>
              <a:noFill/>
            </p:spPr>
            <p:txBody>
              <a:bodyPr wrap="none" rtlCol="0">
                <a:spAutoFit/>
              </a:bodyPr>
              <a:lstStyle/>
              <a:p>
                <a:pPr algn="l">
                  <a:spcAft>
                    <a:spcPts val="600"/>
                  </a:spcAft>
                </a:pPr>
                <a:r>
                  <a:rPr lang="pt-BR" sz="1050" b="1" dirty="0">
                    <a:solidFill>
                      <a:schemeClr val="bg1"/>
                    </a:solidFill>
                  </a:rPr>
                  <a:t>FP</a:t>
                </a:r>
              </a:p>
            </p:txBody>
          </p:sp>
          <p:sp>
            <p:nvSpPr>
              <p:cNvPr id="57" name="Elipse 56">
                <a:extLst>
                  <a:ext uri="{FF2B5EF4-FFF2-40B4-BE49-F238E27FC236}">
                    <a16:creationId xmlns:a16="http://schemas.microsoft.com/office/drawing/2014/main" id="{EB2F41A7-B9DA-EC31-A15A-557F7F3D1533}"/>
                  </a:ext>
                </a:extLst>
              </p:cNvPr>
              <p:cNvSpPr/>
              <p:nvPr/>
            </p:nvSpPr>
            <p:spPr>
              <a:xfrm>
                <a:off x="2295714" y="4481359"/>
                <a:ext cx="190500" cy="1905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58" name="CaixaDeTexto 57">
                <a:extLst>
                  <a:ext uri="{FF2B5EF4-FFF2-40B4-BE49-F238E27FC236}">
                    <a16:creationId xmlns:a16="http://schemas.microsoft.com/office/drawing/2014/main" id="{BD9D1CAF-11B9-7108-82E0-3FAE95DEB3D0}"/>
                  </a:ext>
                </a:extLst>
              </p:cNvPr>
              <p:cNvSpPr txBox="1"/>
              <p:nvPr/>
            </p:nvSpPr>
            <p:spPr>
              <a:xfrm>
                <a:off x="2237255" y="4458428"/>
                <a:ext cx="320922" cy="261610"/>
              </a:xfrm>
              <a:prstGeom prst="rect">
                <a:avLst/>
              </a:prstGeom>
              <a:noFill/>
            </p:spPr>
            <p:txBody>
              <a:bodyPr wrap="none" rtlCol="0">
                <a:spAutoFit/>
              </a:bodyPr>
              <a:lstStyle/>
              <a:p>
                <a:pPr algn="l">
                  <a:spcAft>
                    <a:spcPts val="600"/>
                  </a:spcAft>
                </a:pPr>
                <a:r>
                  <a:rPr lang="pt-BR" sz="1050" b="1" dirty="0">
                    <a:solidFill>
                      <a:schemeClr val="bg1"/>
                    </a:solidFill>
                  </a:rPr>
                  <a:t>FP</a:t>
                </a:r>
              </a:p>
            </p:txBody>
          </p:sp>
          <p:sp>
            <p:nvSpPr>
              <p:cNvPr id="59" name="Círculo Parcial 58">
                <a:extLst>
                  <a:ext uri="{FF2B5EF4-FFF2-40B4-BE49-F238E27FC236}">
                    <a16:creationId xmlns:a16="http://schemas.microsoft.com/office/drawing/2014/main" id="{B6C67B6D-50E1-3906-8828-8FF720953162}"/>
                  </a:ext>
                </a:extLst>
              </p:cNvPr>
              <p:cNvSpPr/>
              <p:nvPr/>
            </p:nvSpPr>
            <p:spPr>
              <a:xfrm rot="8100000">
                <a:off x="2697258" y="4265748"/>
                <a:ext cx="527050" cy="527050"/>
              </a:xfrm>
              <a:prstGeom prst="pi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solidFill>
                    <a:schemeClr val="tx1"/>
                  </a:solidFill>
                </a:endParaRPr>
              </a:p>
            </p:txBody>
          </p:sp>
          <p:sp>
            <p:nvSpPr>
              <p:cNvPr id="60" name="CaixaDeTexto 59">
                <a:extLst>
                  <a:ext uri="{FF2B5EF4-FFF2-40B4-BE49-F238E27FC236}">
                    <a16:creationId xmlns:a16="http://schemas.microsoft.com/office/drawing/2014/main" id="{5C9DF522-9BEE-3D5E-2AA3-E7E669E308D0}"/>
                  </a:ext>
                </a:extLst>
              </p:cNvPr>
              <p:cNvSpPr txBox="1"/>
              <p:nvPr/>
            </p:nvSpPr>
            <p:spPr>
              <a:xfrm>
                <a:off x="2774674" y="4263974"/>
                <a:ext cx="370614" cy="307777"/>
              </a:xfrm>
              <a:prstGeom prst="rect">
                <a:avLst/>
              </a:prstGeom>
              <a:noFill/>
            </p:spPr>
            <p:txBody>
              <a:bodyPr wrap="none" rtlCol="0">
                <a:spAutoFit/>
              </a:bodyPr>
              <a:lstStyle/>
              <a:p>
                <a:pPr algn="l">
                  <a:spcAft>
                    <a:spcPts val="600"/>
                  </a:spcAft>
                </a:pPr>
                <a:r>
                  <a:rPr lang="pt-BR" sz="1400" b="1" dirty="0">
                    <a:solidFill>
                      <a:schemeClr val="bg1"/>
                    </a:solidFill>
                  </a:rPr>
                  <a:t>C5</a:t>
                </a:r>
              </a:p>
            </p:txBody>
          </p:sp>
          <p:sp>
            <p:nvSpPr>
              <p:cNvPr id="64" name="CaixaDeTexto 63">
                <a:extLst>
                  <a:ext uri="{FF2B5EF4-FFF2-40B4-BE49-F238E27FC236}">
                    <a16:creationId xmlns:a16="http://schemas.microsoft.com/office/drawing/2014/main" id="{92E0EA57-1851-20AC-36FB-8309E446E128}"/>
                  </a:ext>
                </a:extLst>
              </p:cNvPr>
              <p:cNvSpPr txBox="1"/>
              <p:nvPr/>
            </p:nvSpPr>
            <p:spPr>
              <a:xfrm>
                <a:off x="2232502" y="4902407"/>
                <a:ext cx="380233" cy="246221"/>
              </a:xfrm>
              <a:prstGeom prst="rect">
                <a:avLst/>
              </a:prstGeom>
              <a:noFill/>
            </p:spPr>
            <p:txBody>
              <a:bodyPr wrap="none" rtlCol="0">
                <a:spAutoFit/>
              </a:bodyPr>
              <a:lstStyle/>
              <a:p>
                <a:pPr algn="ctr">
                  <a:spcAft>
                    <a:spcPts val="600"/>
                  </a:spcAft>
                </a:pPr>
                <a:r>
                  <a:rPr lang="pt-BR" sz="1000" b="1" dirty="0"/>
                  <a:t>C5a</a:t>
                </a:r>
              </a:p>
            </p:txBody>
          </p:sp>
          <p:sp>
            <p:nvSpPr>
              <p:cNvPr id="65" name="CaixaDeTexto 64">
                <a:extLst>
                  <a:ext uri="{FF2B5EF4-FFF2-40B4-BE49-F238E27FC236}">
                    <a16:creationId xmlns:a16="http://schemas.microsoft.com/office/drawing/2014/main" id="{B3D29B2B-D2FC-2D52-E682-0C6D8AA92C1C}"/>
                  </a:ext>
                </a:extLst>
              </p:cNvPr>
              <p:cNvSpPr txBox="1"/>
              <p:nvPr/>
            </p:nvSpPr>
            <p:spPr>
              <a:xfrm>
                <a:off x="3333463" y="4901954"/>
                <a:ext cx="386645" cy="246221"/>
              </a:xfrm>
              <a:prstGeom prst="rect">
                <a:avLst/>
              </a:prstGeom>
              <a:noFill/>
            </p:spPr>
            <p:txBody>
              <a:bodyPr wrap="none" rtlCol="0">
                <a:spAutoFit/>
              </a:bodyPr>
              <a:lstStyle/>
              <a:p>
                <a:pPr algn="ctr">
                  <a:spcAft>
                    <a:spcPts val="600"/>
                  </a:spcAft>
                </a:pPr>
                <a:r>
                  <a:rPr lang="pt-BR" sz="1000" b="1" dirty="0"/>
                  <a:t>C5b</a:t>
                </a:r>
              </a:p>
            </p:txBody>
          </p:sp>
          <p:sp>
            <p:nvSpPr>
              <p:cNvPr id="81" name="Semicírculo 80">
                <a:extLst>
                  <a:ext uri="{FF2B5EF4-FFF2-40B4-BE49-F238E27FC236}">
                    <a16:creationId xmlns:a16="http://schemas.microsoft.com/office/drawing/2014/main" id="{C66DA0E8-81BF-0C21-2370-86583463C52F}"/>
                  </a:ext>
                </a:extLst>
              </p:cNvPr>
              <p:cNvSpPr/>
              <p:nvPr/>
            </p:nvSpPr>
            <p:spPr>
              <a:xfrm rot="18000434">
                <a:off x="2616060" y="4845426"/>
                <a:ext cx="479726" cy="479726"/>
              </a:xfrm>
              <a:prstGeom prst="blockArc">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solidFill>
                    <a:schemeClr val="tx1"/>
                  </a:solidFill>
                </a:endParaRPr>
              </a:p>
            </p:txBody>
          </p:sp>
          <p:sp>
            <p:nvSpPr>
              <p:cNvPr id="83" name="Semicírculo 82">
                <a:extLst>
                  <a:ext uri="{FF2B5EF4-FFF2-40B4-BE49-F238E27FC236}">
                    <a16:creationId xmlns:a16="http://schemas.microsoft.com/office/drawing/2014/main" id="{7FEE20FD-B9DB-98A7-3FCB-1BC5DB93CD85}"/>
                  </a:ext>
                </a:extLst>
              </p:cNvPr>
              <p:cNvSpPr/>
              <p:nvPr/>
            </p:nvSpPr>
            <p:spPr>
              <a:xfrm rot="3599566" flipH="1">
                <a:off x="2873108" y="4845426"/>
                <a:ext cx="479726" cy="479726"/>
              </a:xfrm>
              <a:prstGeom prst="blockArc">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solidFill>
                    <a:schemeClr val="tx1"/>
                  </a:solidFill>
                </a:endParaRPr>
              </a:p>
            </p:txBody>
          </p:sp>
          <p:sp>
            <p:nvSpPr>
              <p:cNvPr id="85" name="CaixaDeTexto 84">
                <a:extLst>
                  <a:ext uri="{FF2B5EF4-FFF2-40B4-BE49-F238E27FC236}">
                    <a16:creationId xmlns:a16="http://schemas.microsoft.com/office/drawing/2014/main" id="{4042F898-4D6C-CADF-39D7-0B8C4E010C9C}"/>
                  </a:ext>
                </a:extLst>
              </p:cNvPr>
              <p:cNvSpPr txBox="1"/>
              <p:nvPr/>
            </p:nvSpPr>
            <p:spPr>
              <a:xfrm>
                <a:off x="3656890" y="4901954"/>
                <a:ext cx="421910" cy="246221"/>
              </a:xfrm>
              <a:prstGeom prst="rect">
                <a:avLst/>
              </a:prstGeom>
              <a:noFill/>
            </p:spPr>
            <p:txBody>
              <a:bodyPr wrap="none" rtlCol="0">
                <a:spAutoFit/>
              </a:bodyPr>
              <a:lstStyle/>
              <a:p>
                <a:pPr algn="ctr">
                  <a:spcAft>
                    <a:spcPts val="600"/>
                  </a:spcAft>
                </a:pPr>
                <a:r>
                  <a:rPr lang="pt-BR" sz="1000" b="1" dirty="0"/>
                  <a:t>C6-9</a:t>
                </a:r>
              </a:p>
            </p:txBody>
          </p:sp>
          <p:sp>
            <p:nvSpPr>
              <p:cNvPr id="88" name="CaixaDeTexto 87">
                <a:extLst>
                  <a:ext uri="{FF2B5EF4-FFF2-40B4-BE49-F238E27FC236}">
                    <a16:creationId xmlns:a16="http://schemas.microsoft.com/office/drawing/2014/main" id="{76BC4BE5-4B79-911B-AD61-DBA0F1294D00}"/>
                  </a:ext>
                </a:extLst>
              </p:cNvPr>
              <p:cNvSpPr txBox="1"/>
              <p:nvPr/>
            </p:nvSpPr>
            <p:spPr>
              <a:xfrm>
                <a:off x="3316520" y="5092841"/>
                <a:ext cx="391453" cy="215444"/>
              </a:xfrm>
              <a:prstGeom prst="rect">
                <a:avLst/>
              </a:prstGeom>
              <a:noFill/>
            </p:spPr>
            <p:txBody>
              <a:bodyPr wrap="none" rtlCol="0">
                <a:spAutoFit/>
              </a:bodyPr>
              <a:lstStyle/>
              <a:p>
                <a:pPr algn="ctr">
                  <a:spcAft>
                    <a:spcPts val="600"/>
                  </a:spcAft>
                </a:pPr>
                <a:r>
                  <a:rPr lang="pt-BR" sz="800" b="1" dirty="0"/>
                  <a:t>MAC</a:t>
                </a:r>
              </a:p>
            </p:txBody>
          </p:sp>
          <p:sp>
            <p:nvSpPr>
              <p:cNvPr id="89" name="Forma Livre: Forma 88">
                <a:extLst>
                  <a:ext uri="{FF2B5EF4-FFF2-40B4-BE49-F238E27FC236}">
                    <a16:creationId xmlns:a16="http://schemas.microsoft.com/office/drawing/2014/main" id="{C23AE464-A229-FD46-EB97-25E2CFF44DD5}"/>
                  </a:ext>
                </a:extLst>
              </p:cNvPr>
              <p:cNvSpPr/>
              <p:nvPr/>
            </p:nvSpPr>
            <p:spPr>
              <a:xfrm>
                <a:off x="1600200" y="2472287"/>
                <a:ext cx="965200" cy="512213"/>
              </a:xfrm>
              <a:custGeom>
                <a:avLst/>
                <a:gdLst>
                  <a:gd name="connsiteX0" fmla="*/ 0 w 965200"/>
                  <a:gd name="connsiteY0" fmla="*/ 0 h 431800"/>
                  <a:gd name="connsiteX1" fmla="*/ 0 w 965200"/>
                  <a:gd name="connsiteY1" fmla="*/ 431800 h 431800"/>
                  <a:gd name="connsiteX2" fmla="*/ 965200 w 965200"/>
                  <a:gd name="connsiteY2" fmla="*/ 431800 h 431800"/>
                </a:gdLst>
                <a:ahLst/>
                <a:cxnLst>
                  <a:cxn ang="0">
                    <a:pos x="connsiteX0" y="connsiteY0"/>
                  </a:cxn>
                  <a:cxn ang="0">
                    <a:pos x="connsiteX1" y="connsiteY1"/>
                  </a:cxn>
                  <a:cxn ang="0">
                    <a:pos x="connsiteX2" y="connsiteY2"/>
                  </a:cxn>
                </a:cxnLst>
                <a:rect l="l" t="t" r="r" b="b"/>
                <a:pathLst>
                  <a:path w="965200" h="431800">
                    <a:moveTo>
                      <a:pt x="0" y="0"/>
                    </a:moveTo>
                    <a:lnTo>
                      <a:pt x="0" y="431800"/>
                    </a:lnTo>
                    <a:lnTo>
                      <a:pt x="965200" y="431800"/>
                    </a:lnTo>
                  </a:path>
                </a:pathLst>
              </a:custGeom>
              <a:noFill/>
              <a:ln w="19050">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2" name="Forma Livre: Forma 91">
                <a:extLst>
                  <a:ext uri="{FF2B5EF4-FFF2-40B4-BE49-F238E27FC236}">
                    <a16:creationId xmlns:a16="http://schemas.microsoft.com/office/drawing/2014/main" id="{E28AC0BB-1A56-DA74-AD9D-345BB4D28066}"/>
                  </a:ext>
                </a:extLst>
              </p:cNvPr>
              <p:cNvSpPr/>
              <p:nvPr/>
            </p:nvSpPr>
            <p:spPr>
              <a:xfrm flipH="1">
                <a:off x="3376779" y="2450600"/>
                <a:ext cx="965200" cy="533900"/>
              </a:xfrm>
              <a:custGeom>
                <a:avLst/>
                <a:gdLst>
                  <a:gd name="connsiteX0" fmla="*/ 0 w 965200"/>
                  <a:gd name="connsiteY0" fmla="*/ 0 h 431800"/>
                  <a:gd name="connsiteX1" fmla="*/ 0 w 965200"/>
                  <a:gd name="connsiteY1" fmla="*/ 431800 h 431800"/>
                  <a:gd name="connsiteX2" fmla="*/ 965200 w 965200"/>
                  <a:gd name="connsiteY2" fmla="*/ 431800 h 431800"/>
                </a:gdLst>
                <a:ahLst/>
                <a:cxnLst>
                  <a:cxn ang="0">
                    <a:pos x="connsiteX0" y="connsiteY0"/>
                  </a:cxn>
                  <a:cxn ang="0">
                    <a:pos x="connsiteX1" y="connsiteY1"/>
                  </a:cxn>
                  <a:cxn ang="0">
                    <a:pos x="connsiteX2" y="connsiteY2"/>
                  </a:cxn>
                </a:cxnLst>
                <a:rect l="l" t="t" r="r" b="b"/>
                <a:pathLst>
                  <a:path w="965200" h="431800">
                    <a:moveTo>
                      <a:pt x="0" y="0"/>
                    </a:moveTo>
                    <a:lnTo>
                      <a:pt x="0" y="431800"/>
                    </a:lnTo>
                    <a:lnTo>
                      <a:pt x="965200" y="431800"/>
                    </a:lnTo>
                  </a:path>
                </a:pathLst>
              </a:custGeom>
              <a:noFill/>
              <a:ln w="19050">
                <a:solidFill>
                  <a:schemeClr val="tx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100" name="Conector de Seta Reta 99">
                <a:extLst>
                  <a:ext uri="{FF2B5EF4-FFF2-40B4-BE49-F238E27FC236}">
                    <a16:creationId xmlns:a16="http://schemas.microsoft.com/office/drawing/2014/main" id="{767F1455-7758-622E-0E5E-6D28E6AE4C2D}"/>
                  </a:ext>
                </a:extLst>
              </p:cNvPr>
              <p:cNvCxnSpPr>
                <a:cxnSpLocks/>
              </p:cNvCxnSpPr>
              <p:nvPr/>
            </p:nvCxnSpPr>
            <p:spPr>
              <a:xfrm>
                <a:off x="2959981" y="2457047"/>
                <a:ext cx="0" cy="367361"/>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2" name="Arco 101">
                <a:extLst>
                  <a:ext uri="{FF2B5EF4-FFF2-40B4-BE49-F238E27FC236}">
                    <a16:creationId xmlns:a16="http://schemas.microsoft.com/office/drawing/2014/main" id="{F8A43FD1-262A-3A22-FC80-F5942C1F1CEA}"/>
                  </a:ext>
                </a:extLst>
              </p:cNvPr>
              <p:cNvSpPr/>
              <p:nvPr/>
            </p:nvSpPr>
            <p:spPr>
              <a:xfrm>
                <a:off x="2958479" y="3126984"/>
                <a:ext cx="655342" cy="632977"/>
              </a:xfrm>
              <a:prstGeom prst="arc">
                <a:avLst>
                  <a:gd name="adj1" fmla="val 16200000"/>
                  <a:gd name="adj2" fmla="val 4539492"/>
                </a:avLst>
              </a:prstGeom>
              <a:ln w="19050">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42" name="Elipse 41">
                <a:extLst>
                  <a:ext uri="{FF2B5EF4-FFF2-40B4-BE49-F238E27FC236}">
                    <a16:creationId xmlns:a16="http://schemas.microsoft.com/office/drawing/2014/main" id="{2642B465-BABF-C435-DF31-8D02364AF053}"/>
                  </a:ext>
                </a:extLst>
              </p:cNvPr>
              <p:cNvSpPr/>
              <p:nvPr/>
            </p:nvSpPr>
            <p:spPr>
              <a:xfrm>
                <a:off x="3498563" y="3231839"/>
                <a:ext cx="190500" cy="190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45" name="Elipse 44">
                <a:extLst>
                  <a:ext uri="{FF2B5EF4-FFF2-40B4-BE49-F238E27FC236}">
                    <a16:creationId xmlns:a16="http://schemas.microsoft.com/office/drawing/2014/main" id="{A5CF4DB5-23D2-D045-2256-3FDE925A6DA3}"/>
                  </a:ext>
                </a:extLst>
              </p:cNvPr>
              <p:cNvSpPr/>
              <p:nvPr/>
            </p:nvSpPr>
            <p:spPr>
              <a:xfrm>
                <a:off x="3457488" y="3563286"/>
                <a:ext cx="190500" cy="1905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spcAft>
                    <a:spcPts val="600"/>
                  </a:spcAft>
                </a:pPr>
                <a:endParaRPr lang="pt-BR" dirty="0" err="1"/>
              </a:p>
            </p:txBody>
          </p:sp>
          <p:sp>
            <p:nvSpPr>
              <p:cNvPr id="104" name="CaixaDeTexto 103">
                <a:extLst>
                  <a:ext uri="{FF2B5EF4-FFF2-40B4-BE49-F238E27FC236}">
                    <a16:creationId xmlns:a16="http://schemas.microsoft.com/office/drawing/2014/main" id="{3EBCEA5E-A428-FFD5-EE46-2EE6ADBD5D22}"/>
                  </a:ext>
                </a:extLst>
              </p:cNvPr>
              <p:cNvSpPr txBox="1"/>
              <p:nvPr/>
            </p:nvSpPr>
            <p:spPr>
              <a:xfrm>
                <a:off x="3595373" y="3539091"/>
                <a:ext cx="627096" cy="246221"/>
              </a:xfrm>
              <a:prstGeom prst="rect">
                <a:avLst/>
              </a:prstGeom>
              <a:noFill/>
            </p:spPr>
            <p:txBody>
              <a:bodyPr wrap="none" rtlCol="0">
                <a:spAutoFit/>
              </a:bodyPr>
              <a:lstStyle/>
              <a:p>
                <a:pPr algn="ctr">
                  <a:spcAft>
                    <a:spcPts val="600"/>
                  </a:spcAft>
                </a:pPr>
                <a:r>
                  <a:rPr lang="pt-BR" sz="1000" b="1" dirty="0">
                    <a:solidFill>
                      <a:schemeClr val="bg2"/>
                    </a:solidFill>
                  </a:rPr>
                  <a:t>Factor D</a:t>
                </a:r>
              </a:p>
            </p:txBody>
          </p:sp>
          <p:sp>
            <p:nvSpPr>
              <p:cNvPr id="109" name="CaixaDeTexto 108">
                <a:extLst>
                  <a:ext uri="{FF2B5EF4-FFF2-40B4-BE49-F238E27FC236}">
                    <a16:creationId xmlns:a16="http://schemas.microsoft.com/office/drawing/2014/main" id="{F0287B25-10DA-145B-7582-FA865AA9A888}"/>
                  </a:ext>
                </a:extLst>
              </p:cNvPr>
              <p:cNvSpPr txBox="1"/>
              <p:nvPr/>
            </p:nvSpPr>
            <p:spPr>
              <a:xfrm>
                <a:off x="3859379" y="3185589"/>
                <a:ext cx="627096" cy="246221"/>
              </a:xfrm>
              <a:prstGeom prst="rect">
                <a:avLst/>
              </a:prstGeom>
              <a:noFill/>
            </p:spPr>
            <p:txBody>
              <a:bodyPr wrap="none" rtlCol="0">
                <a:spAutoFit/>
              </a:bodyPr>
              <a:lstStyle/>
              <a:p>
                <a:pPr algn="ctr">
                  <a:spcAft>
                    <a:spcPts val="600"/>
                  </a:spcAft>
                </a:pPr>
                <a:r>
                  <a:rPr lang="pt-BR" sz="1000" b="1" dirty="0">
                    <a:solidFill>
                      <a:schemeClr val="accent1"/>
                    </a:solidFill>
                  </a:rPr>
                  <a:t>Factor B</a:t>
                </a:r>
              </a:p>
            </p:txBody>
          </p:sp>
          <p:sp>
            <p:nvSpPr>
              <p:cNvPr id="110" name="CaixaDeTexto 109">
                <a:extLst>
                  <a:ext uri="{FF2B5EF4-FFF2-40B4-BE49-F238E27FC236}">
                    <a16:creationId xmlns:a16="http://schemas.microsoft.com/office/drawing/2014/main" id="{670E84C6-860C-C237-79EF-161ACD23540F}"/>
                  </a:ext>
                </a:extLst>
              </p:cNvPr>
              <p:cNvSpPr txBox="1"/>
              <p:nvPr/>
            </p:nvSpPr>
            <p:spPr>
              <a:xfrm>
                <a:off x="3707973" y="3318428"/>
                <a:ext cx="944489" cy="215444"/>
              </a:xfrm>
              <a:prstGeom prst="rect">
                <a:avLst/>
              </a:prstGeom>
              <a:noFill/>
            </p:spPr>
            <p:txBody>
              <a:bodyPr wrap="none" rtlCol="0">
                <a:spAutoFit/>
              </a:bodyPr>
              <a:lstStyle/>
              <a:p>
                <a:pPr algn="ctr">
                  <a:spcAft>
                    <a:spcPts val="600"/>
                  </a:spcAft>
                </a:pPr>
                <a:r>
                  <a:rPr lang="pt-BR" sz="800" dirty="0" err="1"/>
                  <a:t>amplification</a:t>
                </a:r>
                <a:r>
                  <a:rPr lang="pt-BR" sz="800" dirty="0"/>
                  <a:t> loop</a:t>
                </a:r>
              </a:p>
            </p:txBody>
          </p:sp>
          <p:sp>
            <p:nvSpPr>
              <p:cNvPr id="111" name="Forma Livre: Forma 110">
                <a:extLst>
                  <a:ext uri="{FF2B5EF4-FFF2-40B4-BE49-F238E27FC236}">
                    <a16:creationId xmlns:a16="http://schemas.microsoft.com/office/drawing/2014/main" id="{397E1885-6FA3-2C16-475A-C0CE4568D3D0}"/>
                  </a:ext>
                </a:extLst>
              </p:cNvPr>
              <p:cNvSpPr/>
              <p:nvPr/>
            </p:nvSpPr>
            <p:spPr>
              <a:xfrm>
                <a:off x="2012950" y="3390900"/>
                <a:ext cx="222250" cy="1200150"/>
              </a:xfrm>
              <a:custGeom>
                <a:avLst/>
                <a:gdLst>
                  <a:gd name="connsiteX0" fmla="*/ 222250 w 222250"/>
                  <a:gd name="connsiteY0" fmla="*/ 1200150 h 1200150"/>
                  <a:gd name="connsiteX1" fmla="*/ 0 w 222250"/>
                  <a:gd name="connsiteY1" fmla="*/ 1200150 h 1200150"/>
                  <a:gd name="connsiteX2" fmla="*/ 0 w 222250"/>
                  <a:gd name="connsiteY2" fmla="*/ 0 h 1200150"/>
                  <a:gd name="connsiteX3" fmla="*/ 215900 w 222250"/>
                  <a:gd name="connsiteY3" fmla="*/ 0 h 1200150"/>
                </a:gdLst>
                <a:ahLst/>
                <a:cxnLst>
                  <a:cxn ang="0">
                    <a:pos x="connsiteX0" y="connsiteY0"/>
                  </a:cxn>
                  <a:cxn ang="0">
                    <a:pos x="connsiteX1" y="connsiteY1"/>
                  </a:cxn>
                  <a:cxn ang="0">
                    <a:pos x="connsiteX2" y="connsiteY2"/>
                  </a:cxn>
                  <a:cxn ang="0">
                    <a:pos x="connsiteX3" y="connsiteY3"/>
                  </a:cxn>
                </a:cxnLst>
                <a:rect l="l" t="t" r="r" b="b"/>
                <a:pathLst>
                  <a:path w="222250" h="1200150">
                    <a:moveTo>
                      <a:pt x="222250" y="1200150"/>
                    </a:moveTo>
                    <a:lnTo>
                      <a:pt x="0" y="1200150"/>
                    </a:lnTo>
                    <a:lnTo>
                      <a:pt x="0" y="0"/>
                    </a:lnTo>
                    <a:lnTo>
                      <a:pt x="215900" y="0"/>
                    </a:lnTo>
                  </a:path>
                </a:pathLst>
              </a:custGeom>
              <a:noFill/>
              <a:ln w="19050">
                <a:solidFill>
                  <a:schemeClr val="bg1">
                    <a:lumMod val="50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2" name="CaixaDeTexto 111">
                <a:extLst>
                  <a:ext uri="{FF2B5EF4-FFF2-40B4-BE49-F238E27FC236}">
                    <a16:creationId xmlns:a16="http://schemas.microsoft.com/office/drawing/2014/main" id="{BB1C55A5-C68B-5BFA-7A6C-051911171D58}"/>
                  </a:ext>
                </a:extLst>
              </p:cNvPr>
              <p:cNvSpPr txBox="1"/>
              <p:nvPr/>
            </p:nvSpPr>
            <p:spPr>
              <a:xfrm>
                <a:off x="4471282" y="2397776"/>
                <a:ext cx="627096" cy="246221"/>
              </a:xfrm>
              <a:prstGeom prst="rect">
                <a:avLst/>
              </a:prstGeom>
              <a:noFill/>
            </p:spPr>
            <p:txBody>
              <a:bodyPr wrap="none" rtlCol="0">
                <a:spAutoFit/>
              </a:bodyPr>
              <a:lstStyle/>
              <a:p>
                <a:pPr algn="ctr">
                  <a:spcAft>
                    <a:spcPts val="600"/>
                  </a:spcAft>
                </a:pPr>
                <a:r>
                  <a:rPr lang="pt-BR" sz="1000" b="1" dirty="0">
                    <a:solidFill>
                      <a:schemeClr val="bg2"/>
                    </a:solidFill>
                  </a:rPr>
                  <a:t>Factor D</a:t>
                </a:r>
              </a:p>
            </p:txBody>
          </p:sp>
          <p:cxnSp>
            <p:nvCxnSpPr>
              <p:cNvPr id="115" name="Conector reto 114">
                <a:extLst>
                  <a:ext uri="{FF2B5EF4-FFF2-40B4-BE49-F238E27FC236}">
                    <a16:creationId xmlns:a16="http://schemas.microsoft.com/office/drawing/2014/main" id="{768C5DDB-DF5D-E6B1-A070-F4A8A372CC07}"/>
                  </a:ext>
                </a:extLst>
              </p:cNvPr>
              <p:cNvCxnSpPr/>
              <p:nvPr/>
            </p:nvCxnSpPr>
            <p:spPr>
              <a:xfrm>
                <a:off x="3498563" y="2800951"/>
                <a:ext cx="2544097"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16" name="Conector reto 115">
                <a:extLst>
                  <a:ext uri="{FF2B5EF4-FFF2-40B4-BE49-F238E27FC236}">
                    <a16:creationId xmlns:a16="http://schemas.microsoft.com/office/drawing/2014/main" id="{CD96DEC8-5B0A-BF5A-CA7E-6C1E86AF2442}"/>
                  </a:ext>
                </a:extLst>
              </p:cNvPr>
              <p:cNvCxnSpPr>
                <a:cxnSpLocks/>
              </p:cNvCxnSpPr>
              <p:nvPr/>
            </p:nvCxnSpPr>
            <p:spPr>
              <a:xfrm>
                <a:off x="965098" y="4822545"/>
                <a:ext cx="5077562"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18" name="CaixaDeTexto 117">
                <a:extLst>
                  <a:ext uri="{FF2B5EF4-FFF2-40B4-BE49-F238E27FC236}">
                    <a16:creationId xmlns:a16="http://schemas.microsoft.com/office/drawing/2014/main" id="{68A6AD73-B70A-76B2-BDA0-EDFB965C1686}"/>
                  </a:ext>
                </a:extLst>
              </p:cNvPr>
              <p:cNvSpPr txBox="1"/>
              <p:nvPr/>
            </p:nvSpPr>
            <p:spPr>
              <a:xfrm>
                <a:off x="2641667" y="4622480"/>
                <a:ext cx="659156" cy="246221"/>
              </a:xfrm>
              <a:prstGeom prst="rect">
                <a:avLst/>
              </a:prstGeom>
              <a:noFill/>
            </p:spPr>
            <p:txBody>
              <a:bodyPr wrap="none" rtlCol="0">
                <a:spAutoFit/>
              </a:bodyPr>
              <a:lstStyle/>
              <a:p>
                <a:pPr algn="ctr">
                  <a:spcAft>
                    <a:spcPts val="600"/>
                  </a:spcAft>
                </a:pPr>
                <a:r>
                  <a:rPr lang="pt-BR" sz="1000" b="1" dirty="0" err="1"/>
                  <a:t>Cleavage</a:t>
                </a:r>
                <a:endParaRPr lang="pt-BR" sz="1000" b="1" dirty="0"/>
              </a:p>
            </p:txBody>
          </p:sp>
          <p:sp>
            <p:nvSpPr>
              <p:cNvPr id="119" name="CaixaDeTexto 118">
                <a:extLst>
                  <a:ext uri="{FF2B5EF4-FFF2-40B4-BE49-F238E27FC236}">
                    <a16:creationId xmlns:a16="http://schemas.microsoft.com/office/drawing/2014/main" id="{7FCAD2A8-5CDA-4C9E-9220-04CC6F52A46E}"/>
                  </a:ext>
                </a:extLst>
              </p:cNvPr>
              <p:cNvSpPr txBox="1"/>
              <p:nvPr/>
            </p:nvSpPr>
            <p:spPr>
              <a:xfrm>
                <a:off x="2441139" y="5369214"/>
                <a:ext cx="1133457" cy="400110"/>
              </a:xfrm>
              <a:prstGeom prst="rect">
                <a:avLst/>
              </a:prstGeom>
              <a:noFill/>
            </p:spPr>
            <p:txBody>
              <a:bodyPr wrap="square" rtlCol="0">
                <a:spAutoFit/>
              </a:bodyPr>
              <a:lstStyle/>
              <a:p>
                <a:pPr algn="ctr">
                  <a:spcAft>
                    <a:spcPts val="600"/>
                  </a:spcAft>
                </a:pPr>
                <a:r>
                  <a:rPr lang="pt-BR" sz="1000" b="1" dirty="0">
                    <a:solidFill>
                      <a:schemeClr val="bg2"/>
                    </a:solidFill>
                  </a:rPr>
                  <a:t>CELL &amp; TISSUE DAMAGE</a:t>
                </a:r>
              </a:p>
            </p:txBody>
          </p:sp>
          <p:sp>
            <p:nvSpPr>
              <p:cNvPr id="120" name="Retângulo 119">
                <a:extLst>
                  <a:ext uri="{FF2B5EF4-FFF2-40B4-BE49-F238E27FC236}">
                    <a16:creationId xmlns:a16="http://schemas.microsoft.com/office/drawing/2014/main" id="{2BAD7F09-A07A-6BEB-942C-036959B2AC46}"/>
                  </a:ext>
                </a:extLst>
              </p:cNvPr>
              <p:cNvSpPr/>
              <p:nvPr/>
            </p:nvSpPr>
            <p:spPr>
              <a:xfrm>
                <a:off x="1188720" y="5146370"/>
                <a:ext cx="856366" cy="261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spcAft>
                    <a:spcPts val="600"/>
                  </a:spcAft>
                </a:pPr>
                <a:endParaRPr lang="pt-BR" dirty="0" err="1"/>
              </a:p>
            </p:txBody>
          </p:sp>
          <p:sp>
            <p:nvSpPr>
              <p:cNvPr id="121" name="Retângulo 120">
                <a:extLst>
                  <a:ext uri="{FF2B5EF4-FFF2-40B4-BE49-F238E27FC236}">
                    <a16:creationId xmlns:a16="http://schemas.microsoft.com/office/drawing/2014/main" id="{094CBF8A-AED0-4116-E4EA-4FB9E654F463}"/>
                  </a:ext>
                </a:extLst>
              </p:cNvPr>
              <p:cNvSpPr/>
              <p:nvPr/>
            </p:nvSpPr>
            <p:spPr>
              <a:xfrm>
                <a:off x="4014494" y="5139122"/>
                <a:ext cx="856366" cy="261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spcAft>
                    <a:spcPts val="600"/>
                  </a:spcAft>
                </a:pPr>
                <a:endParaRPr lang="pt-BR" dirty="0" err="1"/>
              </a:p>
            </p:txBody>
          </p:sp>
          <p:sp>
            <p:nvSpPr>
              <p:cNvPr id="122" name="CaixaDeTexto 121">
                <a:extLst>
                  <a:ext uri="{FF2B5EF4-FFF2-40B4-BE49-F238E27FC236}">
                    <a16:creationId xmlns:a16="http://schemas.microsoft.com/office/drawing/2014/main" id="{1951068E-7742-8AAF-29B6-F28EC07DAF27}"/>
                  </a:ext>
                </a:extLst>
              </p:cNvPr>
              <p:cNvSpPr txBox="1"/>
              <p:nvPr/>
            </p:nvSpPr>
            <p:spPr>
              <a:xfrm>
                <a:off x="1150732" y="5146370"/>
                <a:ext cx="973343" cy="253916"/>
              </a:xfrm>
              <a:prstGeom prst="rect">
                <a:avLst/>
              </a:prstGeom>
              <a:noFill/>
            </p:spPr>
            <p:txBody>
              <a:bodyPr wrap="none" rtlCol="0">
                <a:spAutoFit/>
              </a:bodyPr>
              <a:lstStyle/>
              <a:p>
                <a:pPr algn="ctr">
                  <a:spcAft>
                    <a:spcPts val="600"/>
                  </a:spcAft>
                </a:pPr>
                <a:r>
                  <a:rPr lang="pt-BR" sz="1050" b="1" dirty="0" err="1">
                    <a:solidFill>
                      <a:schemeClr val="bg1"/>
                    </a:solidFill>
                  </a:rPr>
                  <a:t>Inflammation</a:t>
                </a:r>
                <a:r>
                  <a:rPr lang="pt-BR" sz="1050" b="1" dirty="0">
                    <a:solidFill>
                      <a:schemeClr val="bg1"/>
                    </a:solidFill>
                  </a:rPr>
                  <a:t> </a:t>
                </a:r>
              </a:p>
            </p:txBody>
          </p:sp>
          <p:sp>
            <p:nvSpPr>
              <p:cNvPr id="123" name="CaixaDeTexto 122">
                <a:extLst>
                  <a:ext uri="{FF2B5EF4-FFF2-40B4-BE49-F238E27FC236}">
                    <a16:creationId xmlns:a16="http://schemas.microsoft.com/office/drawing/2014/main" id="{70E08766-A2A0-51C7-CB72-4A6D7AD52A44}"/>
                  </a:ext>
                </a:extLst>
              </p:cNvPr>
              <p:cNvSpPr txBox="1"/>
              <p:nvPr/>
            </p:nvSpPr>
            <p:spPr>
              <a:xfrm>
                <a:off x="4107526" y="5139122"/>
                <a:ext cx="702687" cy="253916"/>
              </a:xfrm>
              <a:prstGeom prst="rect">
                <a:avLst/>
              </a:prstGeom>
              <a:noFill/>
            </p:spPr>
            <p:txBody>
              <a:bodyPr wrap="square" rtlCol="0">
                <a:spAutoFit/>
              </a:bodyPr>
              <a:lstStyle/>
              <a:p>
                <a:pPr algn="ctr">
                  <a:spcAft>
                    <a:spcPts val="600"/>
                  </a:spcAft>
                </a:pPr>
                <a:r>
                  <a:rPr lang="pt-BR" sz="1050" b="1" dirty="0" err="1">
                    <a:solidFill>
                      <a:schemeClr val="bg1"/>
                    </a:solidFill>
                  </a:rPr>
                  <a:t>Cell</a:t>
                </a:r>
                <a:r>
                  <a:rPr lang="pt-BR" sz="1050" b="1" dirty="0">
                    <a:solidFill>
                      <a:schemeClr val="bg1"/>
                    </a:solidFill>
                  </a:rPr>
                  <a:t> </a:t>
                </a:r>
                <a:r>
                  <a:rPr lang="pt-BR" sz="1050" b="1" dirty="0" err="1">
                    <a:solidFill>
                      <a:schemeClr val="bg1"/>
                    </a:solidFill>
                  </a:rPr>
                  <a:t>Lysis</a:t>
                </a:r>
                <a:r>
                  <a:rPr lang="pt-BR" sz="1050" b="1" dirty="0">
                    <a:solidFill>
                      <a:schemeClr val="bg1"/>
                    </a:solidFill>
                  </a:rPr>
                  <a:t>  </a:t>
                </a:r>
              </a:p>
            </p:txBody>
          </p:sp>
          <p:sp>
            <p:nvSpPr>
              <p:cNvPr id="124" name="Forma Livre: Forma 123">
                <a:extLst>
                  <a:ext uri="{FF2B5EF4-FFF2-40B4-BE49-F238E27FC236}">
                    <a16:creationId xmlns:a16="http://schemas.microsoft.com/office/drawing/2014/main" id="{A223C952-CE5F-6464-F78C-5790D9FFF2EF}"/>
                  </a:ext>
                </a:extLst>
              </p:cNvPr>
              <p:cNvSpPr/>
              <p:nvPr/>
            </p:nvSpPr>
            <p:spPr>
              <a:xfrm>
                <a:off x="3454872" y="5384564"/>
                <a:ext cx="975360" cy="200896"/>
              </a:xfrm>
              <a:custGeom>
                <a:avLst/>
                <a:gdLst>
                  <a:gd name="connsiteX0" fmla="*/ 975360 w 975360"/>
                  <a:gd name="connsiteY0" fmla="*/ 0 h 137160"/>
                  <a:gd name="connsiteX1" fmla="*/ 975360 w 975360"/>
                  <a:gd name="connsiteY1" fmla="*/ 137160 h 137160"/>
                  <a:gd name="connsiteX2" fmla="*/ 0 w 975360"/>
                  <a:gd name="connsiteY2" fmla="*/ 137160 h 137160"/>
                </a:gdLst>
                <a:ahLst/>
                <a:cxnLst>
                  <a:cxn ang="0">
                    <a:pos x="connsiteX0" y="connsiteY0"/>
                  </a:cxn>
                  <a:cxn ang="0">
                    <a:pos x="connsiteX1" y="connsiteY1"/>
                  </a:cxn>
                  <a:cxn ang="0">
                    <a:pos x="connsiteX2" y="connsiteY2"/>
                  </a:cxn>
                </a:cxnLst>
                <a:rect l="l" t="t" r="r" b="b"/>
                <a:pathLst>
                  <a:path w="975360" h="137160">
                    <a:moveTo>
                      <a:pt x="975360" y="0"/>
                    </a:moveTo>
                    <a:lnTo>
                      <a:pt x="975360" y="137160"/>
                    </a:lnTo>
                    <a:lnTo>
                      <a:pt x="0" y="137160"/>
                    </a:lnTo>
                  </a:path>
                </a:pathLst>
              </a:custGeom>
              <a:noFill/>
              <a:ln w="19050">
                <a:solidFill>
                  <a:schemeClr val="bg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5" name="Forma Livre: Forma 124">
                <a:extLst>
                  <a:ext uri="{FF2B5EF4-FFF2-40B4-BE49-F238E27FC236}">
                    <a16:creationId xmlns:a16="http://schemas.microsoft.com/office/drawing/2014/main" id="{3384614A-C55A-028C-E1F4-D0FD0515CEAA}"/>
                  </a:ext>
                </a:extLst>
              </p:cNvPr>
              <p:cNvSpPr/>
              <p:nvPr/>
            </p:nvSpPr>
            <p:spPr>
              <a:xfrm flipH="1">
                <a:off x="1573371" y="5384564"/>
                <a:ext cx="975360" cy="200896"/>
              </a:xfrm>
              <a:custGeom>
                <a:avLst/>
                <a:gdLst>
                  <a:gd name="connsiteX0" fmla="*/ 975360 w 975360"/>
                  <a:gd name="connsiteY0" fmla="*/ 0 h 137160"/>
                  <a:gd name="connsiteX1" fmla="*/ 975360 w 975360"/>
                  <a:gd name="connsiteY1" fmla="*/ 137160 h 137160"/>
                  <a:gd name="connsiteX2" fmla="*/ 0 w 975360"/>
                  <a:gd name="connsiteY2" fmla="*/ 137160 h 137160"/>
                </a:gdLst>
                <a:ahLst/>
                <a:cxnLst>
                  <a:cxn ang="0">
                    <a:pos x="connsiteX0" y="connsiteY0"/>
                  </a:cxn>
                  <a:cxn ang="0">
                    <a:pos x="connsiteX1" y="connsiteY1"/>
                  </a:cxn>
                  <a:cxn ang="0">
                    <a:pos x="connsiteX2" y="connsiteY2"/>
                  </a:cxn>
                </a:cxnLst>
                <a:rect l="l" t="t" r="r" b="b"/>
                <a:pathLst>
                  <a:path w="975360" h="137160">
                    <a:moveTo>
                      <a:pt x="975360" y="0"/>
                    </a:moveTo>
                    <a:lnTo>
                      <a:pt x="975360" y="137160"/>
                    </a:lnTo>
                    <a:lnTo>
                      <a:pt x="0" y="137160"/>
                    </a:lnTo>
                  </a:path>
                </a:pathLst>
              </a:custGeom>
              <a:noFill/>
              <a:ln w="19050">
                <a:solidFill>
                  <a:schemeClr val="bg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6" name="Retângulo 125">
                <a:extLst>
                  <a:ext uri="{FF2B5EF4-FFF2-40B4-BE49-F238E27FC236}">
                    <a16:creationId xmlns:a16="http://schemas.microsoft.com/office/drawing/2014/main" id="{61DF217D-B3C9-6F95-E03C-0B026518D2D4}"/>
                  </a:ext>
                </a:extLst>
              </p:cNvPr>
              <p:cNvSpPr/>
              <p:nvPr/>
            </p:nvSpPr>
            <p:spPr>
              <a:xfrm>
                <a:off x="635713" y="2450600"/>
                <a:ext cx="191597" cy="155515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127" name="Retângulo 126">
                <a:extLst>
                  <a:ext uri="{FF2B5EF4-FFF2-40B4-BE49-F238E27FC236}">
                    <a16:creationId xmlns:a16="http://schemas.microsoft.com/office/drawing/2014/main" id="{6C99F61E-F72A-F364-1216-C6460BED5B67}"/>
                  </a:ext>
                </a:extLst>
              </p:cNvPr>
              <p:cNvSpPr/>
              <p:nvPr/>
            </p:nvSpPr>
            <p:spPr>
              <a:xfrm>
                <a:off x="635713" y="4057151"/>
                <a:ext cx="191597" cy="155515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pt-BR" dirty="0" err="1"/>
              </a:p>
            </p:txBody>
          </p:sp>
          <p:sp>
            <p:nvSpPr>
              <p:cNvPr id="128" name="CaixaDeTexto 127">
                <a:extLst>
                  <a:ext uri="{FF2B5EF4-FFF2-40B4-BE49-F238E27FC236}">
                    <a16:creationId xmlns:a16="http://schemas.microsoft.com/office/drawing/2014/main" id="{A068A4C0-5EE2-2DA8-E572-C0DEEDA815ED}"/>
                  </a:ext>
                </a:extLst>
              </p:cNvPr>
              <p:cNvSpPr txBox="1"/>
              <p:nvPr/>
            </p:nvSpPr>
            <p:spPr>
              <a:xfrm rot="16200000">
                <a:off x="346123" y="4656837"/>
                <a:ext cx="740459" cy="276999"/>
              </a:xfrm>
              <a:prstGeom prst="rect">
                <a:avLst/>
              </a:prstGeom>
              <a:noFill/>
            </p:spPr>
            <p:txBody>
              <a:bodyPr wrap="none" rtlCol="0">
                <a:spAutoFit/>
              </a:bodyPr>
              <a:lstStyle/>
              <a:p>
                <a:pPr algn="ctr">
                  <a:spcAft>
                    <a:spcPts val="600"/>
                  </a:spcAft>
                </a:pPr>
                <a:r>
                  <a:rPr lang="pt-BR" sz="1200" b="1" dirty="0"/>
                  <a:t>Terminal</a:t>
                </a:r>
              </a:p>
            </p:txBody>
          </p:sp>
          <p:sp>
            <p:nvSpPr>
              <p:cNvPr id="129" name="CaixaDeTexto 128">
                <a:extLst>
                  <a:ext uri="{FF2B5EF4-FFF2-40B4-BE49-F238E27FC236}">
                    <a16:creationId xmlns:a16="http://schemas.microsoft.com/office/drawing/2014/main" id="{0615E166-089C-8D33-F245-F7D56D69311A}"/>
                  </a:ext>
                </a:extLst>
              </p:cNvPr>
              <p:cNvSpPr txBox="1"/>
              <p:nvPr/>
            </p:nvSpPr>
            <p:spPr>
              <a:xfrm rot="16200000">
                <a:off x="342759" y="3104027"/>
                <a:ext cx="747192" cy="276999"/>
              </a:xfrm>
              <a:prstGeom prst="rect">
                <a:avLst/>
              </a:prstGeom>
              <a:noFill/>
            </p:spPr>
            <p:txBody>
              <a:bodyPr wrap="none" rtlCol="0">
                <a:spAutoFit/>
              </a:bodyPr>
              <a:lstStyle/>
              <a:p>
                <a:pPr algn="ctr">
                  <a:spcAft>
                    <a:spcPts val="600"/>
                  </a:spcAft>
                </a:pPr>
                <a:r>
                  <a:rPr lang="pt-BR" sz="1200" b="1" dirty="0"/>
                  <a:t>Proximal</a:t>
                </a:r>
              </a:p>
            </p:txBody>
          </p:sp>
          <p:sp>
            <p:nvSpPr>
              <p:cNvPr id="132" name="Retângulo 131">
                <a:extLst>
                  <a:ext uri="{FF2B5EF4-FFF2-40B4-BE49-F238E27FC236}">
                    <a16:creationId xmlns:a16="http://schemas.microsoft.com/office/drawing/2014/main" id="{BF5F290A-BC73-45C0-7A99-1ABAB611E6F6}"/>
                  </a:ext>
                </a:extLst>
              </p:cNvPr>
              <p:cNvSpPr/>
              <p:nvPr/>
            </p:nvSpPr>
            <p:spPr>
              <a:xfrm>
                <a:off x="5202006" y="2112534"/>
                <a:ext cx="832103" cy="3175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spcAft>
                    <a:spcPts val="600"/>
                  </a:spcAft>
                </a:pPr>
                <a:endParaRPr lang="pt-BR" dirty="0" err="1"/>
              </a:p>
            </p:txBody>
          </p:sp>
          <p:sp>
            <p:nvSpPr>
              <p:cNvPr id="133" name="Retângulo 132">
                <a:extLst>
                  <a:ext uri="{FF2B5EF4-FFF2-40B4-BE49-F238E27FC236}">
                    <a16:creationId xmlns:a16="http://schemas.microsoft.com/office/drawing/2014/main" id="{0FC132A3-5371-248E-4F25-5A197E9B9144}"/>
                  </a:ext>
                </a:extLst>
              </p:cNvPr>
              <p:cNvSpPr/>
              <p:nvPr/>
            </p:nvSpPr>
            <p:spPr>
              <a:xfrm>
                <a:off x="5202006" y="2454196"/>
                <a:ext cx="832103" cy="3175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spcAft>
                    <a:spcPts val="600"/>
                  </a:spcAft>
                </a:pPr>
                <a:endParaRPr lang="pt-BR" dirty="0" err="1"/>
              </a:p>
            </p:txBody>
          </p:sp>
          <p:sp>
            <p:nvSpPr>
              <p:cNvPr id="130" name="CaixaDeTexto 129">
                <a:extLst>
                  <a:ext uri="{FF2B5EF4-FFF2-40B4-BE49-F238E27FC236}">
                    <a16:creationId xmlns:a16="http://schemas.microsoft.com/office/drawing/2014/main" id="{4B746664-2526-AA79-D01A-9E63DAF6E37C}"/>
                  </a:ext>
                </a:extLst>
              </p:cNvPr>
              <p:cNvSpPr txBox="1"/>
              <p:nvPr/>
            </p:nvSpPr>
            <p:spPr>
              <a:xfrm>
                <a:off x="5217799" y="2078656"/>
                <a:ext cx="824264" cy="369332"/>
              </a:xfrm>
              <a:prstGeom prst="rect">
                <a:avLst/>
              </a:prstGeom>
              <a:noFill/>
            </p:spPr>
            <p:txBody>
              <a:bodyPr wrap="none" rtlCol="0">
                <a:spAutoFit/>
              </a:bodyPr>
              <a:lstStyle/>
              <a:p>
                <a:pPr algn="ctr"/>
                <a:r>
                  <a:rPr lang="pt-BR" sz="900" b="1" dirty="0">
                    <a:solidFill>
                      <a:schemeClr val="bg1"/>
                    </a:solidFill>
                  </a:rPr>
                  <a:t>danicopan</a:t>
                </a:r>
                <a:r>
                  <a:rPr lang="pt-BR" sz="900" b="1" baseline="30000" dirty="0">
                    <a:solidFill>
                      <a:schemeClr val="bg1"/>
                    </a:solidFill>
                  </a:rPr>
                  <a:t>5,6*</a:t>
                </a:r>
              </a:p>
              <a:p>
                <a:pPr algn="ctr"/>
                <a:r>
                  <a:rPr lang="pt-BR" sz="900" b="1" dirty="0">
                    <a:solidFill>
                      <a:schemeClr val="bg1"/>
                    </a:solidFill>
                  </a:rPr>
                  <a:t>(ALXN2040)</a:t>
                </a:r>
              </a:p>
            </p:txBody>
          </p:sp>
          <p:sp>
            <p:nvSpPr>
              <p:cNvPr id="134" name="CaixaDeTexto 133">
                <a:extLst>
                  <a:ext uri="{FF2B5EF4-FFF2-40B4-BE49-F238E27FC236}">
                    <a16:creationId xmlns:a16="http://schemas.microsoft.com/office/drawing/2014/main" id="{75471A28-FA10-F1A7-8E68-EF9C0B822573}"/>
                  </a:ext>
                </a:extLst>
              </p:cNvPr>
              <p:cNvSpPr txBox="1"/>
              <p:nvPr/>
            </p:nvSpPr>
            <p:spPr>
              <a:xfrm>
                <a:off x="5217799" y="2429443"/>
                <a:ext cx="824264" cy="369332"/>
              </a:xfrm>
              <a:prstGeom prst="rect">
                <a:avLst/>
              </a:prstGeom>
              <a:noFill/>
            </p:spPr>
            <p:txBody>
              <a:bodyPr wrap="none" rtlCol="0">
                <a:spAutoFit/>
              </a:bodyPr>
              <a:lstStyle/>
              <a:p>
                <a:pPr algn="ctr"/>
                <a:r>
                  <a:rPr lang="pt-BR" sz="900" b="1" dirty="0">
                    <a:solidFill>
                      <a:schemeClr val="bg1"/>
                    </a:solidFill>
                  </a:rPr>
                  <a:t>danicopan</a:t>
                </a:r>
                <a:r>
                  <a:rPr lang="pt-BR" sz="900" b="1" baseline="30000" dirty="0">
                    <a:solidFill>
                      <a:schemeClr val="bg1"/>
                    </a:solidFill>
                  </a:rPr>
                  <a:t>5,6*</a:t>
                </a:r>
              </a:p>
              <a:p>
                <a:pPr algn="ctr"/>
                <a:r>
                  <a:rPr lang="pt-BR" sz="900" b="1" dirty="0">
                    <a:solidFill>
                      <a:schemeClr val="bg1"/>
                    </a:solidFill>
                  </a:rPr>
                  <a:t>(ALXN2040)</a:t>
                </a:r>
              </a:p>
            </p:txBody>
          </p:sp>
          <p:sp>
            <p:nvSpPr>
              <p:cNvPr id="135" name="Retângulo 134">
                <a:extLst>
                  <a:ext uri="{FF2B5EF4-FFF2-40B4-BE49-F238E27FC236}">
                    <a16:creationId xmlns:a16="http://schemas.microsoft.com/office/drawing/2014/main" id="{EB6915D3-70AF-DF20-03A4-3AF4B1842BCE}"/>
                  </a:ext>
                </a:extLst>
              </p:cNvPr>
              <p:cNvSpPr/>
              <p:nvPr/>
            </p:nvSpPr>
            <p:spPr>
              <a:xfrm>
                <a:off x="4396071" y="3496737"/>
                <a:ext cx="832103" cy="3175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spcAft>
                    <a:spcPts val="600"/>
                  </a:spcAft>
                </a:pPr>
                <a:endParaRPr lang="pt-BR" dirty="0" err="1"/>
              </a:p>
            </p:txBody>
          </p:sp>
          <p:sp>
            <p:nvSpPr>
              <p:cNvPr id="136" name="Retângulo 135">
                <a:extLst>
                  <a:ext uri="{FF2B5EF4-FFF2-40B4-BE49-F238E27FC236}">
                    <a16:creationId xmlns:a16="http://schemas.microsoft.com/office/drawing/2014/main" id="{E138DE18-E31D-3607-E29E-A24F978B963F}"/>
                  </a:ext>
                </a:extLst>
              </p:cNvPr>
              <p:cNvSpPr/>
              <p:nvPr/>
            </p:nvSpPr>
            <p:spPr>
              <a:xfrm>
                <a:off x="4396071" y="3838399"/>
                <a:ext cx="832103" cy="3175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spcAft>
                    <a:spcPts val="600"/>
                  </a:spcAft>
                </a:pPr>
                <a:endParaRPr lang="pt-BR" dirty="0" err="1"/>
              </a:p>
            </p:txBody>
          </p:sp>
          <p:sp>
            <p:nvSpPr>
              <p:cNvPr id="137" name="CaixaDeTexto 136">
                <a:extLst>
                  <a:ext uri="{FF2B5EF4-FFF2-40B4-BE49-F238E27FC236}">
                    <a16:creationId xmlns:a16="http://schemas.microsoft.com/office/drawing/2014/main" id="{8F5A7FE3-1048-7955-A0F2-9CE70983D5E2}"/>
                  </a:ext>
                </a:extLst>
              </p:cNvPr>
              <p:cNvSpPr txBox="1"/>
              <p:nvPr/>
            </p:nvSpPr>
            <p:spPr>
              <a:xfrm>
                <a:off x="4411864" y="3462859"/>
                <a:ext cx="824264" cy="369332"/>
              </a:xfrm>
              <a:prstGeom prst="rect">
                <a:avLst/>
              </a:prstGeom>
              <a:noFill/>
            </p:spPr>
            <p:txBody>
              <a:bodyPr wrap="none" rtlCol="0">
                <a:spAutoFit/>
              </a:bodyPr>
              <a:lstStyle/>
              <a:p>
                <a:pPr algn="ctr"/>
                <a:r>
                  <a:rPr lang="pt-BR" sz="900" b="1" dirty="0">
                    <a:solidFill>
                      <a:schemeClr val="bg1"/>
                    </a:solidFill>
                  </a:rPr>
                  <a:t>danicopan</a:t>
                </a:r>
                <a:r>
                  <a:rPr lang="pt-BR" sz="900" b="1" baseline="30000" dirty="0">
                    <a:solidFill>
                      <a:schemeClr val="bg1"/>
                    </a:solidFill>
                  </a:rPr>
                  <a:t>5,6*</a:t>
                </a:r>
              </a:p>
              <a:p>
                <a:pPr algn="ctr"/>
                <a:r>
                  <a:rPr lang="pt-BR" sz="900" b="1" dirty="0">
                    <a:solidFill>
                      <a:schemeClr val="bg1"/>
                    </a:solidFill>
                  </a:rPr>
                  <a:t>(ALXN2040)</a:t>
                </a:r>
              </a:p>
            </p:txBody>
          </p:sp>
          <p:sp>
            <p:nvSpPr>
              <p:cNvPr id="138" name="CaixaDeTexto 137">
                <a:extLst>
                  <a:ext uri="{FF2B5EF4-FFF2-40B4-BE49-F238E27FC236}">
                    <a16:creationId xmlns:a16="http://schemas.microsoft.com/office/drawing/2014/main" id="{6AB33328-5FCD-2D96-0758-924C2813751B}"/>
                  </a:ext>
                </a:extLst>
              </p:cNvPr>
              <p:cNvSpPr txBox="1"/>
              <p:nvPr/>
            </p:nvSpPr>
            <p:spPr>
              <a:xfrm>
                <a:off x="4379002" y="3808032"/>
                <a:ext cx="889988" cy="369332"/>
              </a:xfrm>
              <a:prstGeom prst="rect">
                <a:avLst/>
              </a:prstGeom>
              <a:noFill/>
            </p:spPr>
            <p:txBody>
              <a:bodyPr wrap="square" rtlCol="0">
                <a:spAutoFit/>
              </a:bodyPr>
              <a:lstStyle/>
              <a:p>
                <a:pPr algn="ctr"/>
                <a:r>
                  <a:rPr lang="pt-BR" sz="900" b="1" dirty="0">
                    <a:solidFill>
                      <a:schemeClr val="bg1"/>
                    </a:solidFill>
                  </a:rPr>
                  <a:t>vemicropan</a:t>
                </a:r>
                <a:r>
                  <a:rPr lang="pt-BR" sz="900" b="1" baseline="30000" dirty="0">
                    <a:solidFill>
                      <a:schemeClr val="bg1"/>
                    </a:solidFill>
                  </a:rPr>
                  <a:t>5,7*</a:t>
                </a:r>
              </a:p>
              <a:p>
                <a:pPr algn="ctr"/>
                <a:r>
                  <a:rPr lang="pt-BR" sz="900" b="1" dirty="0">
                    <a:solidFill>
                      <a:schemeClr val="bg1"/>
                    </a:solidFill>
                  </a:rPr>
                  <a:t>(ALXN2050)</a:t>
                </a:r>
              </a:p>
            </p:txBody>
          </p:sp>
          <p:sp>
            <p:nvSpPr>
              <p:cNvPr id="139" name="Retângulo 138">
                <a:extLst>
                  <a:ext uri="{FF2B5EF4-FFF2-40B4-BE49-F238E27FC236}">
                    <a16:creationId xmlns:a16="http://schemas.microsoft.com/office/drawing/2014/main" id="{2B08DCF2-4EAC-56FC-5E62-DB404EF6570C}"/>
                  </a:ext>
                </a:extLst>
              </p:cNvPr>
              <p:cNvSpPr/>
              <p:nvPr/>
            </p:nvSpPr>
            <p:spPr>
              <a:xfrm>
                <a:off x="4391627" y="4248597"/>
                <a:ext cx="836548" cy="232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p>
            </p:txBody>
          </p:sp>
          <p:sp>
            <p:nvSpPr>
              <p:cNvPr id="140" name="Retângulo 139">
                <a:extLst>
                  <a:ext uri="{FF2B5EF4-FFF2-40B4-BE49-F238E27FC236}">
                    <a16:creationId xmlns:a16="http://schemas.microsoft.com/office/drawing/2014/main" id="{70B1CD6A-F2AB-ED78-DE8A-E9113F939162}"/>
                  </a:ext>
                </a:extLst>
              </p:cNvPr>
              <p:cNvSpPr/>
              <p:nvPr/>
            </p:nvSpPr>
            <p:spPr>
              <a:xfrm>
                <a:off x="4391627" y="4523266"/>
                <a:ext cx="836548" cy="2327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2500" lnSpcReduction="20000"/>
              </a:bodyPr>
              <a:lstStyle/>
              <a:p>
                <a:pPr algn="ctr">
                  <a:spcAft>
                    <a:spcPts val="600"/>
                  </a:spcAft>
                </a:pPr>
                <a:endParaRPr lang="pt-BR" dirty="0" err="1"/>
              </a:p>
            </p:txBody>
          </p:sp>
          <p:sp>
            <p:nvSpPr>
              <p:cNvPr id="141" name="CaixaDeTexto 140">
                <a:extLst>
                  <a:ext uri="{FF2B5EF4-FFF2-40B4-BE49-F238E27FC236}">
                    <a16:creationId xmlns:a16="http://schemas.microsoft.com/office/drawing/2014/main" id="{73C2B109-C7A7-501B-5EE5-7C9A4A132AB1}"/>
                  </a:ext>
                </a:extLst>
              </p:cNvPr>
              <p:cNvSpPr txBox="1"/>
              <p:nvPr/>
            </p:nvSpPr>
            <p:spPr>
              <a:xfrm>
                <a:off x="4398052" y="4255118"/>
                <a:ext cx="838704" cy="230832"/>
              </a:xfrm>
              <a:prstGeom prst="rect">
                <a:avLst/>
              </a:prstGeom>
              <a:noFill/>
            </p:spPr>
            <p:txBody>
              <a:bodyPr wrap="square" rtlCol="0">
                <a:spAutoFit/>
              </a:bodyPr>
              <a:lstStyle/>
              <a:p>
                <a:pPr algn="ctr"/>
                <a:r>
                  <a:rPr lang="pt-BR" sz="900" b="1" dirty="0">
                    <a:solidFill>
                      <a:schemeClr val="bg1"/>
                    </a:solidFill>
                  </a:rPr>
                  <a:t>eculizumab</a:t>
                </a:r>
                <a:r>
                  <a:rPr lang="pt-BR" sz="900" b="1" baseline="30000" dirty="0">
                    <a:solidFill>
                      <a:schemeClr val="bg1"/>
                    </a:solidFill>
                  </a:rPr>
                  <a:t>8</a:t>
                </a:r>
              </a:p>
            </p:txBody>
          </p:sp>
          <p:sp>
            <p:nvSpPr>
              <p:cNvPr id="142" name="CaixaDeTexto 141">
                <a:extLst>
                  <a:ext uri="{FF2B5EF4-FFF2-40B4-BE49-F238E27FC236}">
                    <a16:creationId xmlns:a16="http://schemas.microsoft.com/office/drawing/2014/main" id="{B53369E3-55DD-9D96-848F-7C5D803E1879}"/>
                  </a:ext>
                </a:extLst>
              </p:cNvPr>
              <p:cNvSpPr txBox="1"/>
              <p:nvPr/>
            </p:nvSpPr>
            <p:spPr>
              <a:xfrm>
                <a:off x="4398052" y="4522257"/>
                <a:ext cx="823004" cy="230832"/>
              </a:xfrm>
              <a:prstGeom prst="rect">
                <a:avLst/>
              </a:prstGeom>
              <a:noFill/>
            </p:spPr>
            <p:txBody>
              <a:bodyPr wrap="square" rtlCol="0">
                <a:spAutoFit/>
              </a:bodyPr>
              <a:lstStyle/>
              <a:p>
                <a:pPr algn="ctr"/>
                <a:r>
                  <a:rPr lang="pt-BR" sz="900" b="1" dirty="0">
                    <a:solidFill>
                      <a:schemeClr val="bg1"/>
                    </a:solidFill>
                  </a:rPr>
                  <a:t>ravulizumab</a:t>
                </a:r>
                <a:r>
                  <a:rPr lang="pt-BR" sz="900" b="1" baseline="30000" dirty="0">
                    <a:solidFill>
                      <a:schemeClr val="bg1"/>
                    </a:solidFill>
                  </a:rPr>
                  <a:t>9</a:t>
                </a:r>
              </a:p>
            </p:txBody>
          </p:sp>
          <p:sp>
            <p:nvSpPr>
              <p:cNvPr id="143" name="Arco 142">
                <a:extLst>
                  <a:ext uri="{FF2B5EF4-FFF2-40B4-BE49-F238E27FC236}">
                    <a16:creationId xmlns:a16="http://schemas.microsoft.com/office/drawing/2014/main" id="{41EC6BCC-0853-6AB0-BCD6-674C846E7223}"/>
                  </a:ext>
                </a:extLst>
              </p:cNvPr>
              <p:cNvSpPr/>
              <p:nvPr/>
            </p:nvSpPr>
            <p:spPr>
              <a:xfrm rot="646313" flipV="1">
                <a:off x="4027234" y="2405407"/>
                <a:ext cx="729982" cy="717128"/>
              </a:xfrm>
              <a:prstGeom prst="arc">
                <a:avLst>
                  <a:gd name="adj1" fmla="val 16200000"/>
                  <a:gd name="adj2" fmla="val 21278393"/>
                </a:avLst>
              </a:prstGeom>
              <a:ln w="19050">
                <a:solidFill>
                  <a:schemeClr val="bg1">
                    <a:lumMod val="50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cxnSp>
            <p:nvCxnSpPr>
              <p:cNvPr id="144" name="Conector de Seta Reta 143">
                <a:extLst>
                  <a:ext uri="{FF2B5EF4-FFF2-40B4-BE49-F238E27FC236}">
                    <a16:creationId xmlns:a16="http://schemas.microsoft.com/office/drawing/2014/main" id="{EF7A67C2-5EB6-D308-C492-CAD8B4DAE240}"/>
                  </a:ext>
                </a:extLst>
              </p:cNvPr>
              <p:cNvCxnSpPr>
                <a:cxnSpLocks/>
              </p:cNvCxnSpPr>
              <p:nvPr/>
            </p:nvCxnSpPr>
            <p:spPr>
              <a:xfrm>
                <a:off x="3877370" y="5096470"/>
                <a:ext cx="0" cy="202290"/>
              </a:xfrm>
              <a:prstGeom prst="straightConnector1">
                <a:avLst/>
              </a:prstGeom>
              <a:ln w="19050">
                <a:solidFill>
                  <a:schemeClr val="bg1">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5" name="Conector de Seta Reta 144">
                <a:extLst>
                  <a:ext uri="{FF2B5EF4-FFF2-40B4-BE49-F238E27FC236}">
                    <a16:creationId xmlns:a16="http://schemas.microsoft.com/office/drawing/2014/main" id="{C12E3ABE-9D8B-AC2C-FC51-3DB1B9DF0C48}"/>
                  </a:ext>
                </a:extLst>
              </p:cNvPr>
              <p:cNvCxnSpPr>
                <a:cxnSpLocks/>
              </p:cNvCxnSpPr>
              <p:nvPr/>
            </p:nvCxnSpPr>
            <p:spPr>
              <a:xfrm flipH="1">
                <a:off x="2090169" y="5278920"/>
                <a:ext cx="594221" cy="0"/>
              </a:xfrm>
              <a:prstGeom prst="straightConnector1">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7" name="Conector de Seta Reta 146">
                <a:extLst>
                  <a:ext uri="{FF2B5EF4-FFF2-40B4-BE49-F238E27FC236}">
                    <a16:creationId xmlns:a16="http://schemas.microsoft.com/office/drawing/2014/main" id="{EA98B886-3BD6-C720-6B45-90F6AED1C385}"/>
                  </a:ext>
                </a:extLst>
              </p:cNvPr>
              <p:cNvCxnSpPr>
                <a:cxnSpLocks/>
              </p:cNvCxnSpPr>
              <p:nvPr/>
            </p:nvCxnSpPr>
            <p:spPr>
              <a:xfrm>
                <a:off x="3292738" y="5278920"/>
                <a:ext cx="556057" cy="0"/>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53" name="TextBox 12">
              <a:extLst>
                <a:ext uri="{FF2B5EF4-FFF2-40B4-BE49-F238E27FC236}">
                  <a16:creationId xmlns:a16="http://schemas.microsoft.com/office/drawing/2014/main" id="{9020869C-0736-ADC9-C7ED-46FA75B6527D}"/>
                </a:ext>
              </a:extLst>
            </p:cNvPr>
            <p:cNvSpPr txBox="1"/>
            <p:nvPr/>
          </p:nvSpPr>
          <p:spPr>
            <a:xfrm>
              <a:off x="5182744" y="2786516"/>
              <a:ext cx="999734" cy="307777"/>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defRPr/>
              </a:pP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Área</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de </a:t>
              </a: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potencial</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inibição</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da via</a:t>
              </a:r>
              <a:endParaRPr kumimoji="0" lang="en-CA"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endParaRPr>
            </a:p>
          </p:txBody>
        </p:sp>
        <p:sp>
          <p:nvSpPr>
            <p:cNvPr id="154" name="TextBox 12">
              <a:extLst>
                <a:ext uri="{FF2B5EF4-FFF2-40B4-BE49-F238E27FC236}">
                  <a16:creationId xmlns:a16="http://schemas.microsoft.com/office/drawing/2014/main" id="{ADBB1ED6-CF61-E5ED-DD3F-64C9407E69ED}"/>
                </a:ext>
              </a:extLst>
            </p:cNvPr>
            <p:cNvSpPr txBox="1"/>
            <p:nvPr/>
          </p:nvSpPr>
          <p:spPr>
            <a:xfrm>
              <a:off x="5182744" y="4791697"/>
              <a:ext cx="999734" cy="307777"/>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defRPr/>
              </a:pP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Área</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de </a:t>
              </a: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potencial</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a:t>
              </a:r>
              <a:r>
                <a:rPr kumimoji="0" lang="en-US" sz="700" b="0" i="0" u="none" strike="noStrike" kern="1200" cap="none" spc="0" normalizeH="0" baseline="0" noProof="0" dirty="0" err="1">
                  <a:ln>
                    <a:noFill/>
                  </a:ln>
                  <a:solidFill>
                    <a:schemeClr val="bg2"/>
                  </a:solidFill>
                  <a:effectLst/>
                  <a:uLnTx/>
                  <a:uFillTx/>
                  <a:ea typeface="ヒラギノ角ゴ Pro W3" panose="020B0300000000000000" pitchFamily="34" charset="-128"/>
                  <a:cs typeface="+mn-cs"/>
                </a:rPr>
                <a:t>inibição</a:t>
              </a:r>
              <a:r>
                <a:rPr kumimoji="0" lang="en-US"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rPr>
                <a:t> da via</a:t>
              </a:r>
              <a:endParaRPr kumimoji="0" lang="en-CA" sz="700" b="0" i="0" u="none" strike="noStrike" kern="1200" cap="none" spc="0" normalizeH="0" baseline="0" noProof="0" dirty="0">
                <a:ln>
                  <a:noFill/>
                </a:ln>
                <a:solidFill>
                  <a:schemeClr val="bg2"/>
                </a:solidFill>
                <a:effectLst/>
                <a:uLnTx/>
                <a:uFillTx/>
                <a:ea typeface="ヒラギノ角ゴ Pro W3" panose="020B0300000000000000" pitchFamily="34" charset="-128"/>
                <a:cs typeface="+mn-cs"/>
              </a:endParaRPr>
            </a:p>
          </p:txBody>
        </p:sp>
      </p:grpSp>
    </p:spTree>
    <p:extLst>
      <p:ext uri="{BB962C8B-B14F-4D97-AF65-F5344CB8AC3E}">
        <p14:creationId xmlns:p14="http://schemas.microsoft.com/office/powerpoint/2010/main" val="349154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par>
                                <p:cTn id="8" presetID="10" presetClass="entr" presetSubtype="0" fill="hold"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2" presetClass="entr" presetSubtype="2" fill="hold" grpId="0" nodeType="afterEffect">
                                  <p:stCondLst>
                                    <p:cond delay="0"/>
                                  </p:stCondLst>
                                  <p:childTnLst>
                                    <p:set>
                                      <p:cBhvr>
                                        <p:cTn id="13" dur="1" fill="hold">
                                          <p:stCondLst>
                                            <p:cond delay="0"/>
                                          </p:stCondLst>
                                        </p:cTn>
                                        <p:tgtEl>
                                          <p:spTgt spid="108"/>
                                        </p:tgtEl>
                                        <p:attrNameLst>
                                          <p:attrName>style.visibility</p:attrName>
                                        </p:attrNameLst>
                                      </p:cBhvr>
                                      <p:to>
                                        <p:strVal val="visible"/>
                                      </p:to>
                                    </p:set>
                                    <p:anim calcmode="lin" valueType="num">
                                      <p:cBhvr additive="base">
                                        <p:cTn id="14" dur="500" fill="hold"/>
                                        <p:tgtEl>
                                          <p:spTgt spid="108"/>
                                        </p:tgtEl>
                                        <p:attrNameLst>
                                          <p:attrName>ppt_x</p:attrName>
                                        </p:attrNameLst>
                                      </p:cBhvr>
                                      <p:tavLst>
                                        <p:tav tm="0">
                                          <p:val>
                                            <p:strVal val="1+#ppt_w/2"/>
                                          </p:val>
                                        </p:tav>
                                        <p:tav tm="100000">
                                          <p:val>
                                            <p:strVal val="#ppt_x"/>
                                          </p:val>
                                        </p:tav>
                                      </p:tavLst>
                                    </p:anim>
                                    <p:anim calcmode="lin" valueType="num">
                                      <p:cBhvr additive="base">
                                        <p:cTn id="15" dur="500" fill="hold"/>
                                        <p:tgtEl>
                                          <p:spTgt spid="108"/>
                                        </p:tgtEl>
                                        <p:attrNameLst>
                                          <p:attrName>ppt_y</p:attrName>
                                        </p:attrNameLst>
                                      </p:cBhvr>
                                      <p:tavLst>
                                        <p:tav tm="0">
                                          <p:val>
                                            <p:strVal val="#ppt_y"/>
                                          </p:val>
                                        </p:tav>
                                        <p:tav tm="100000">
                                          <p:val>
                                            <p:strVal val="#ppt_y"/>
                                          </p:val>
                                        </p:tav>
                                      </p:tavLst>
                                    </p:anim>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2"/>
                                        </p:tgtEl>
                                        <p:attrNameLst>
                                          <p:attrName>style.visibility</p:attrName>
                                        </p:attrNameLst>
                                      </p:cBhvr>
                                      <p:to>
                                        <p:strVal val="visible"/>
                                      </p:to>
                                    </p:set>
                                    <p:animEffect transition="in" filter="fade">
                                      <p:cBhvr>
                                        <p:cTn id="19" dur="500"/>
                                        <p:tgtEl>
                                          <p:spTgt spid="15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22" presetClass="entr" presetSubtype="8"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8" grpId="0" animBg="1"/>
      <p:bldP spid="7" grpId="0" animBg="1"/>
      <p:bldP spid="1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3" descr="Diagram&#10;&#10;Description automatically generated">
            <a:extLst>
              <a:ext uri="{FF2B5EF4-FFF2-40B4-BE49-F238E27FC236}">
                <a16:creationId xmlns:a16="http://schemas.microsoft.com/office/drawing/2014/main" id="{04D17E20-A697-DC4B-5C71-7DF86F47ABAC}"/>
              </a:ext>
            </a:extLst>
          </p:cNvPr>
          <p:cNvPicPr>
            <a:picLocks noChangeAspect="1"/>
          </p:cNvPicPr>
          <p:nvPr/>
        </p:nvPicPr>
        <p:blipFill rotWithShape="1">
          <a:blip r:embed="rId2"/>
          <a:srcRect l="24928" t="20649" r="38769" b="8836"/>
          <a:stretch/>
        </p:blipFill>
        <p:spPr>
          <a:xfrm>
            <a:off x="5429738" y="1954422"/>
            <a:ext cx="3005116" cy="3312000"/>
          </a:xfrm>
          <a:prstGeom prst="roundRect">
            <a:avLst>
              <a:gd name="adj" fmla="val 19244"/>
            </a:avLst>
          </a:prstGeom>
        </p:spPr>
      </p:pic>
      <p:sp>
        <p:nvSpPr>
          <p:cNvPr id="19" name="Pentagon 7">
            <a:extLst>
              <a:ext uri="{FF2B5EF4-FFF2-40B4-BE49-F238E27FC236}">
                <a16:creationId xmlns:a16="http://schemas.microsoft.com/office/drawing/2014/main" id="{5790FE24-AFB5-DF08-16D6-D28E45B4F62E}"/>
              </a:ext>
            </a:extLst>
          </p:cNvPr>
          <p:cNvSpPr/>
          <p:nvPr/>
        </p:nvSpPr>
        <p:spPr>
          <a:xfrm>
            <a:off x="0" y="1951180"/>
            <a:ext cx="5949244" cy="3115900"/>
          </a:xfrm>
          <a:prstGeom prst="homePlate">
            <a:avLst>
              <a:gd name="adj" fmla="val 39331"/>
            </a:avLst>
          </a:prstGeom>
          <a:solidFill>
            <a:srgbClr val="F3F4F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sp>
        <p:nvSpPr>
          <p:cNvPr id="20" name="Text Placeholder 3">
            <a:extLst>
              <a:ext uri="{FF2B5EF4-FFF2-40B4-BE49-F238E27FC236}">
                <a16:creationId xmlns:a16="http://schemas.microsoft.com/office/drawing/2014/main" id="{988F5CCD-7B77-877E-E9C8-48E6A077F312}"/>
              </a:ext>
            </a:extLst>
          </p:cNvPr>
          <p:cNvSpPr txBox="1">
            <a:spLocks/>
          </p:cNvSpPr>
          <p:nvPr/>
        </p:nvSpPr>
        <p:spPr bwMode="auto">
          <a:xfrm>
            <a:off x="838198" y="2380805"/>
            <a:ext cx="4336413" cy="24171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lnSpc>
                <a:spcPts val="2600"/>
              </a:lnSpc>
              <a:spcBef>
                <a:spcPts val="1000"/>
              </a:spcBef>
              <a:spcAft>
                <a:spcPts val="600"/>
              </a:spcAft>
              <a:buFontTx/>
              <a:buNone/>
              <a:defRPr sz="2000" b="0" i="0" kern="1200">
                <a:solidFill>
                  <a:schemeClr val="tx2"/>
                </a:solidFill>
                <a:latin typeface="+mn-lt"/>
                <a:ea typeface="ヒラギノ角ゴ Pro W3" panose="020B0300000000000000" pitchFamily="34" charset="-128"/>
                <a:cs typeface="+mn-cs"/>
              </a:defRPr>
            </a:lvl1pPr>
            <a:lvl2pPr marL="8001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2pPr>
            <a:lvl3pPr marL="12573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3pPr>
            <a:lvl4pPr marL="16573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4pPr>
            <a:lvl5pPr marL="21145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1000"/>
              </a:spcBef>
              <a:spcAft>
                <a:spcPts val="600"/>
              </a:spcAft>
              <a:buClrTx/>
              <a:buSzTx/>
              <a:buFontTx/>
              <a:buNone/>
              <a:tabLst/>
              <a:defRPr/>
            </a:pPr>
            <a:r>
              <a:rPr kumimoji="0" lang="en-CA" sz="1800" b="0" i="0" u="none" strike="noStrike" kern="1200" cap="none" spc="0" normalizeH="0" baseline="0" noProof="0" dirty="0">
                <a:ln>
                  <a:noFill/>
                </a:ln>
                <a:solidFill>
                  <a:srgbClr val="002F6C"/>
                </a:solidFill>
                <a:effectLst/>
                <a:uLnTx/>
                <a:uFillTx/>
                <a:ea typeface="Times New Roman" panose="02020603050405020304" pitchFamily="18" charset="0"/>
                <a:cs typeface="+mn-cs"/>
              </a:rPr>
              <a:t>Intravascular hemolysis (IVH) is continuous in patients with untreated PNH</a:t>
            </a:r>
          </a:p>
          <a:p>
            <a:pPr marL="0" marR="0" lvl="0" indent="0" algn="l" defTabSz="914400" rtl="0" eaLnBrk="1" fontAlgn="base" latinLnBrk="0" hangingPunct="1">
              <a:lnSpc>
                <a:spcPct val="100000"/>
              </a:lnSpc>
              <a:spcBef>
                <a:spcPts val="1000"/>
              </a:spcBef>
              <a:spcAft>
                <a:spcPts val="600"/>
              </a:spcAft>
              <a:buClrTx/>
              <a:buSzTx/>
              <a:buFontTx/>
              <a:buNone/>
              <a:tabLst/>
              <a:defRPr/>
            </a:pPr>
            <a:r>
              <a:rPr kumimoji="0" lang="en-CA" sz="1800" b="0" i="0" u="none" strike="noStrike" kern="1200" cap="none" spc="0" normalizeH="0" baseline="0" noProof="0" dirty="0">
                <a:ln>
                  <a:noFill/>
                </a:ln>
                <a:solidFill>
                  <a:srgbClr val="002F6C"/>
                </a:solidFill>
                <a:effectLst/>
                <a:uLnTx/>
                <a:uFillTx/>
                <a:ea typeface="Times New Roman" panose="02020603050405020304" pitchFamily="18" charset="0"/>
                <a:cs typeface="+mn-cs"/>
              </a:rPr>
              <a:t>IVH results from low-grade complement activation by means of the spontaneous hydrolytic activation of C3 known as the “</a:t>
            </a:r>
            <a:r>
              <a:rPr kumimoji="0" lang="en-CA" sz="1800" b="0" i="0" u="none" strike="noStrike" kern="1200" cap="none" spc="0" normalizeH="0" baseline="0" noProof="0" dirty="0" err="1">
                <a:ln>
                  <a:noFill/>
                </a:ln>
                <a:solidFill>
                  <a:srgbClr val="002F6C"/>
                </a:solidFill>
                <a:effectLst/>
                <a:uLnTx/>
                <a:uFillTx/>
                <a:ea typeface="Times New Roman" panose="02020603050405020304" pitchFamily="18" charset="0"/>
                <a:cs typeface="+mn-cs"/>
              </a:rPr>
              <a:t>tickover</a:t>
            </a:r>
            <a:r>
              <a:rPr kumimoji="0" lang="en-CA" sz="1800" b="0" i="0" u="none" strike="noStrike" kern="1200" cap="none" spc="0" normalizeH="0" baseline="0" noProof="0" dirty="0">
                <a:ln>
                  <a:noFill/>
                </a:ln>
                <a:solidFill>
                  <a:srgbClr val="002F6C"/>
                </a:solidFill>
                <a:effectLst/>
                <a:uLnTx/>
                <a:uFillTx/>
                <a:ea typeface="Times New Roman" panose="02020603050405020304" pitchFamily="18" charset="0"/>
                <a:cs typeface="+mn-cs"/>
              </a:rPr>
              <a:t>” </a:t>
            </a:r>
            <a:r>
              <a:rPr kumimoji="0" lang="en-CA" sz="1800" b="0" i="0" u="none" strike="noStrike" kern="1200" cap="none" spc="0" normalizeH="0" baseline="0" noProof="0" dirty="0">
                <a:ln>
                  <a:noFill/>
                </a:ln>
                <a:solidFill>
                  <a:srgbClr val="002F6C"/>
                </a:solidFill>
                <a:effectLst/>
                <a:uLnTx/>
                <a:uFillTx/>
                <a:ea typeface="ヒラギノ角ゴ Pro W3" panose="020B0300000000000000" pitchFamily="34" charset="-128"/>
                <a:cs typeface="+mn-cs"/>
              </a:rPr>
              <a:t>mechanism </a:t>
            </a:r>
            <a:r>
              <a:rPr kumimoji="0" lang="en-US" sz="1800" b="0" i="0" u="none" strike="noStrike" kern="1200" cap="none" spc="0" normalizeH="0" baseline="0" noProof="0" dirty="0">
                <a:ln>
                  <a:noFill/>
                </a:ln>
                <a:solidFill>
                  <a:srgbClr val="002F6C"/>
                </a:solidFill>
                <a:effectLst/>
                <a:uLnTx/>
                <a:uFillTx/>
                <a:ea typeface="ヒラギノ角ゴ Pro W3" panose="020B0300000000000000" pitchFamily="34" charset="-128"/>
                <a:cs typeface="+mn-cs"/>
              </a:rPr>
              <a:t>causing terminal complement activation and MAC formation</a:t>
            </a:r>
          </a:p>
          <a:p>
            <a:pPr marL="0" marR="0" lvl="0" indent="0" algn="l" defTabSz="914400" rtl="0" eaLnBrk="1" fontAlgn="base" latinLnBrk="0" hangingPunct="1">
              <a:lnSpc>
                <a:spcPct val="100000"/>
              </a:lnSpc>
              <a:spcBef>
                <a:spcPts val="1000"/>
              </a:spcBef>
              <a:spcAft>
                <a:spcPts val="600"/>
              </a:spcAft>
              <a:buClrTx/>
              <a:buSzTx/>
              <a:buFontTx/>
              <a:buNone/>
              <a:tabLst/>
              <a:defRPr/>
            </a:pPr>
            <a:endParaRPr kumimoji="0" lang="en-CA" sz="1800" b="0" i="0" u="none" strike="noStrike" kern="1200" cap="none" spc="0" normalizeH="0" baseline="0" noProof="0" dirty="0">
              <a:ln>
                <a:noFill/>
              </a:ln>
              <a:solidFill>
                <a:srgbClr val="002F6C"/>
              </a:solidFill>
              <a:effectLst/>
              <a:uLnTx/>
              <a:uFillTx/>
              <a:ea typeface="Times New Roman" panose="02020603050405020304" pitchFamily="18" charset="0"/>
              <a:cs typeface="+mn-cs"/>
            </a:endParaRPr>
          </a:p>
        </p:txBody>
      </p:sp>
      <p:sp>
        <p:nvSpPr>
          <p:cNvPr id="21" name="Title 1">
            <a:extLst>
              <a:ext uri="{FF2B5EF4-FFF2-40B4-BE49-F238E27FC236}">
                <a16:creationId xmlns:a16="http://schemas.microsoft.com/office/drawing/2014/main" id="{22A7D0BF-D835-B610-60EA-807E969840D2}"/>
              </a:ext>
            </a:extLst>
          </p:cNvPr>
          <p:cNvSpPr txBox="1">
            <a:spLocks/>
          </p:cNvSpPr>
          <p:nvPr/>
        </p:nvSpPr>
        <p:spPr bwMode="auto">
          <a:xfrm>
            <a:off x="838200" y="486465"/>
            <a:ext cx="10515600" cy="68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rtl="0" eaLnBrk="1" fontAlgn="base" hangingPunct="1">
              <a:lnSpc>
                <a:spcPct val="90000"/>
              </a:lnSpc>
              <a:spcBef>
                <a:spcPct val="0"/>
              </a:spcBef>
              <a:spcAft>
                <a:spcPct val="0"/>
              </a:spcAft>
              <a:defRPr lang="en-US" sz="3200" b="1" i="0" kern="1200" cap="none" spc="0" baseline="0" noProof="0" dirty="0" smtClean="0">
                <a:solidFill>
                  <a:schemeClr val="tx1"/>
                </a:solidFill>
                <a:latin typeface="Tw Cen MT" panose="020B0602020104020603" pitchFamily="34" charset="77"/>
                <a:ea typeface="+mn-ea"/>
                <a:cs typeface="Arial" panose="020B0604020202020204" pitchFamily="34" charset="0"/>
              </a:defRPr>
            </a:lvl1pPr>
            <a:lvl2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2pPr>
            <a:lvl3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3pPr>
            <a:lvl4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4pPr>
            <a:lvl5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5pPr>
            <a:lvl6pPr marL="4572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6pPr>
            <a:lvl7pPr marL="9144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7pPr>
            <a:lvl8pPr marL="13716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8pPr>
            <a:lvl9pPr marL="18288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9pPr>
          </a:lstStyle>
          <a:p>
            <a:pPr marR="0" indent="0" fontAlgn="base">
              <a:lnSpc>
                <a:spcPct val="80000"/>
              </a:lnSpc>
              <a:spcBef>
                <a:spcPct val="0"/>
              </a:spcBef>
              <a:spcAft>
                <a:spcPct val="0"/>
              </a:spcAft>
              <a:buClrTx/>
              <a:buSzTx/>
              <a:buFontTx/>
              <a:buNone/>
              <a:tabLst/>
              <a:defRPr/>
            </a:pPr>
            <a:r>
              <a:rPr lang="en-US" dirty="0">
                <a:gradFill>
                  <a:gsLst>
                    <a:gs pos="0">
                      <a:schemeClr val="accent1"/>
                    </a:gs>
                    <a:gs pos="100000">
                      <a:schemeClr val="bg2"/>
                    </a:gs>
                  </a:gsLst>
                  <a:lin ang="2700000" scaled="0"/>
                </a:gradFill>
                <a:latin typeface="Calisto MT"/>
                <a:cs typeface="+mn-cs"/>
              </a:rPr>
              <a:t>What is happening in Untreated PNH?</a:t>
            </a:r>
          </a:p>
        </p:txBody>
      </p:sp>
      <p:sp>
        <p:nvSpPr>
          <p:cNvPr id="22" name="TextBox 19">
            <a:extLst>
              <a:ext uri="{FF2B5EF4-FFF2-40B4-BE49-F238E27FC236}">
                <a16:creationId xmlns:a16="http://schemas.microsoft.com/office/drawing/2014/main" id="{6FC7DB63-0118-72E6-BA8D-22197DA2E373}"/>
              </a:ext>
            </a:extLst>
          </p:cNvPr>
          <p:cNvSpPr txBox="1"/>
          <p:nvPr/>
        </p:nvSpPr>
        <p:spPr>
          <a:xfrm>
            <a:off x="838199" y="5658989"/>
            <a:ext cx="10327580" cy="400110"/>
          </a:xfrm>
          <a:prstGeom prst="rect">
            <a:avLst/>
          </a:prstGeom>
          <a:noFill/>
        </p:spPr>
        <p:txBody>
          <a:bodyPr wrap="square" rtlCol="0">
            <a:spAutoFit/>
          </a:bodyPr>
          <a:lstStyle/>
          <a:p>
            <a:pPr>
              <a:defRPr/>
            </a:pPr>
            <a:r>
              <a:rPr lang="en-US" sz="1000">
                <a:solidFill>
                  <a:srgbClr val="6E6159"/>
                </a:solidFill>
                <a:latin typeface="Tw Cen MT"/>
                <a:ea typeface="Times New Roman" panose="02020603050405020304" pitchFamily="18" charset="0"/>
              </a:rPr>
              <a:t>Figure adapted from </a:t>
            </a:r>
            <a:r>
              <a:rPr lang="en-US" sz="1000" err="1">
                <a:solidFill>
                  <a:srgbClr val="6E6159"/>
                </a:solidFill>
                <a:latin typeface="Tw Cen MT"/>
                <a:ea typeface="Times New Roman" panose="02020603050405020304" pitchFamily="18" charset="0"/>
              </a:rPr>
              <a:t>Notaro</a:t>
            </a:r>
            <a:r>
              <a:rPr lang="en-US" sz="1000">
                <a:solidFill>
                  <a:srgbClr val="6E6159"/>
                </a:solidFill>
                <a:latin typeface="Tw Cen MT"/>
                <a:ea typeface="Times New Roman" panose="02020603050405020304" pitchFamily="18" charset="0"/>
              </a:rPr>
              <a:t> R </a:t>
            </a:r>
            <a:r>
              <a:rPr lang="en-US" sz="1000" i="1">
                <a:solidFill>
                  <a:srgbClr val="6E6159"/>
                </a:solidFill>
                <a:latin typeface="Tw Cen MT"/>
                <a:ea typeface="Times New Roman" panose="02020603050405020304" pitchFamily="18" charset="0"/>
              </a:rPr>
              <a:t>et al. N </a:t>
            </a:r>
            <a:r>
              <a:rPr lang="en-US" sz="1000" i="1" err="1">
                <a:solidFill>
                  <a:srgbClr val="6E6159"/>
                </a:solidFill>
                <a:latin typeface="Tw Cen MT"/>
                <a:ea typeface="Times New Roman" panose="02020603050405020304" pitchFamily="18" charset="0"/>
              </a:rPr>
              <a:t>Engl</a:t>
            </a:r>
            <a:r>
              <a:rPr lang="en-US" sz="1000" i="1">
                <a:solidFill>
                  <a:srgbClr val="6E6159"/>
                </a:solidFill>
                <a:latin typeface="Tw Cen MT"/>
                <a:ea typeface="Times New Roman" panose="02020603050405020304" pitchFamily="18" charset="0"/>
              </a:rPr>
              <a:t> J Med </a:t>
            </a:r>
            <a:r>
              <a:rPr lang="en-US" sz="1000">
                <a:solidFill>
                  <a:srgbClr val="6E6159"/>
                </a:solidFill>
                <a:latin typeface="Tw Cen MT"/>
                <a:ea typeface="Times New Roman" panose="02020603050405020304" pitchFamily="18" charset="0"/>
              </a:rPr>
              <a:t>2022.</a:t>
            </a:r>
          </a:p>
          <a:p>
            <a:pPr>
              <a:defRPr/>
            </a:pPr>
            <a:r>
              <a:rPr lang="en-US" sz="1000">
                <a:solidFill>
                  <a:srgbClr val="6E6159"/>
                </a:solidFill>
                <a:latin typeface="Tw Cen MT"/>
                <a:ea typeface="Times New Roman" panose="02020603050405020304" pitchFamily="18" charset="0"/>
              </a:rPr>
              <a:t>IVH, intravascular hemolysis; MAC, membrane-attack complex; PNH, paroxysmal nocturnal hemoglobinuria</a:t>
            </a:r>
          </a:p>
        </p:txBody>
      </p:sp>
      <p:sp>
        <p:nvSpPr>
          <p:cNvPr id="23" name="TextBox 20">
            <a:extLst>
              <a:ext uri="{FF2B5EF4-FFF2-40B4-BE49-F238E27FC236}">
                <a16:creationId xmlns:a16="http://schemas.microsoft.com/office/drawing/2014/main" id="{906F5460-94DD-AFA6-0B03-8A8D3E897FDA}"/>
              </a:ext>
            </a:extLst>
          </p:cNvPr>
          <p:cNvSpPr txBox="1"/>
          <p:nvPr/>
        </p:nvSpPr>
        <p:spPr>
          <a:xfrm>
            <a:off x="838200" y="6074171"/>
            <a:ext cx="8327065" cy="246221"/>
          </a:xfrm>
          <a:prstGeom prst="rect">
            <a:avLst/>
          </a:prstGeom>
          <a:noFill/>
        </p:spPr>
        <p:txBody>
          <a:bodyPr wrap="square" rtlCol="0">
            <a:spAutoFit/>
          </a:bodyPr>
          <a:lstStyle/>
          <a:p>
            <a:pPr>
              <a:defRPr/>
            </a:pPr>
            <a:r>
              <a:rPr lang="it-IT" sz="1000" dirty="0">
                <a:solidFill>
                  <a:srgbClr val="6E6159"/>
                </a:solidFill>
                <a:latin typeface="Tw Cen MT"/>
                <a:ea typeface="Times New Roman" panose="02020603050405020304" pitchFamily="18" charset="0"/>
              </a:rPr>
              <a:t>1. Notaro R, Luzzatto L. Breakthrough Hemolysis in PNH with Proximal or Terminal Complement Inhibition. N Engl J Med. 2022 Jul 14;387(2):160-166.</a:t>
            </a:r>
            <a:endParaRPr lang="en-CA" sz="1000" dirty="0">
              <a:solidFill>
                <a:srgbClr val="6E6159"/>
              </a:solidFill>
              <a:latin typeface="Tw Cen MT"/>
              <a:ea typeface="Times New Roman" panose="02020603050405020304" pitchFamily="18" charset="0"/>
            </a:endParaRPr>
          </a:p>
        </p:txBody>
      </p:sp>
      <p:sp>
        <p:nvSpPr>
          <p:cNvPr id="24" name="Rectangle 2">
            <a:extLst>
              <a:ext uri="{FF2B5EF4-FFF2-40B4-BE49-F238E27FC236}">
                <a16:creationId xmlns:a16="http://schemas.microsoft.com/office/drawing/2014/main" id="{0B51EAF6-65CA-FEF6-0E1B-28BE1718BB98}"/>
              </a:ext>
            </a:extLst>
          </p:cNvPr>
          <p:cNvSpPr/>
          <p:nvPr/>
        </p:nvSpPr>
        <p:spPr>
          <a:xfrm>
            <a:off x="8689980" y="3029804"/>
            <a:ext cx="1013577" cy="150126"/>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grpSp>
        <p:nvGrpSpPr>
          <p:cNvPr id="25" name="Group 5">
            <a:extLst>
              <a:ext uri="{FF2B5EF4-FFF2-40B4-BE49-F238E27FC236}">
                <a16:creationId xmlns:a16="http://schemas.microsoft.com/office/drawing/2014/main" id="{EB25A304-7CFA-34DC-A12C-163F7EA911C2}"/>
              </a:ext>
            </a:extLst>
          </p:cNvPr>
          <p:cNvGrpSpPr/>
          <p:nvPr/>
        </p:nvGrpSpPr>
        <p:grpSpPr>
          <a:xfrm>
            <a:off x="8305128" y="3045535"/>
            <a:ext cx="2176207" cy="1332519"/>
            <a:chOff x="118923" y="2483087"/>
            <a:chExt cx="2492820" cy="1526385"/>
          </a:xfrm>
        </p:grpSpPr>
        <p:pic>
          <p:nvPicPr>
            <p:cNvPr id="26" name="Picture 6">
              <a:extLst>
                <a:ext uri="{FF2B5EF4-FFF2-40B4-BE49-F238E27FC236}">
                  <a16:creationId xmlns:a16="http://schemas.microsoft.com/office/drawing/2014/main" id="{F761960B-79A6-98CC-8D27-B08D88E6D1F8}"/>
                </a:ext>
              </a:extLst>
            </p:cNvPr>
            <p:cNvPicPr>
              <a:picLocks noChangeAspect="1"/>
            </p:cNvPicPr>
            <p:nvPr/>
          </p:nvPicPr>
          <p:blipFill rotWithShape="1">
            <a:blip r:embed="rId3"/>
            <a:srcRect l="1965" t="2134" r="1" b="5164"/>
            <a:stretch/>
          </p:blipFill>
          <p:spPr>
            <a:xfrm>
              <a:off x="362816" y="2758814"/>
              <a:ext cx="2005034" cy="1063735"/>
            </a:xfrm>
            <a:prstGeom prst="rect">
              <a:avLst/>
            </a:prstGeom>
          </p:spPr>
        </p:pic>
        <p:sp>
          <p:nvSpPr>
            <p:cNvPr id="27" name="TextBox 8">
              <a:extLst>
                <a:ext uri="{FF2B5EF4-FFF2-40B4-BE49-F238E27FC236}">
                  <a16:creationId xmlns:a16="http://schemas.microsoft.com/office/drawing/2014/main" id="{2C922D37-EA4F-878E-A4CA-85F8FBB36AB2}"/>
                </a:ext>
              </a:extLst>
            </p:cNvPr>
            <p:cNvSpPr txBox="1"/>
            <p:nvPr/>
          </p:nvSpPr>
          <p:spPr>
            <a:xfrm>
              <a:off x="358595" y="3747862"/>
              <a:ext cx="1257075" cy="261610"/>
            </a:xfrm>
            <a:prstGeom prst="rect">
              <a:avLst/>
            </a:prstGeom>
            <a:noFill/>
          </p:spPr>
          <p:txBody>
            <a:bodyPr wrap="none" rtlCol="0">
              <a:spAutoFit/>
            </a:bodyPr>
            <a:lstStyle/>
            <a:p>
              <a:pPr>
                <a:defRPr/>
              </a:pPr>
              <a:r>
                <a:rPr lang="en-GB" sz="1100">
                  <a:solidFill>
                    <a:srgbClr val="001E60"/>
                  </a:solidFill>
                  <a:latin typeface="Tw Cen MT"/>
                </a:rPr>
                <a:t>Normal red cells</a:t>
              </a:r>
              <a:r>
                <a:rPr lang="en-GB" sz="1100" baseline="30000">
                  <a:solidFill>
                    <a:srgbClr val="001E60"/>
                  </a:solidFill>
                  <a:latin typeface="Tw Cen MT"/>
                </a:rPr>
                <a:t>1</a:t>
              </a:r>
            </a:p>
          </p:txBody>
        </p:sp>
        <p:sp>
          <p:nvSpPr>
            <p:cNvPr id="28" name="TextBox 9">
              <a:extLst>
                <a:ext uri="{FF2B5EF4-FFF2-40B4-BE49-F238E27FC236}">
                  <a16:creationId xmlns:a16="http://schemas.microsoft.com/office/drawing/2014/main" id="{E43B3CD2-71AE-6F38-29E2-3B386CA70DFB}"/>
                </a:ext>
              </a:extLst>
            </p:cNvPr>
            <p:cNvSpPr txBox="1"/>
            <p:nvPr/>
          </p:nvSpPr>
          <p:spPr>
            <a:xfrm>
              <a:off x="118923" y="2483087"/>
              <a:ext cx="2492820" cy="276999"/>
            </a:xfrm>
            <a:prstGeom prst="rect">
              <a:avLst/>
            </a:prstGeom>
            <a:noFill/>
          </p:spPr>
          <p:txBody>
            <a:bodyPr wrap="square" rtlCol="0">
              <a:spAutoFit/>
            </a:bodyPr>
            <a:lstStyle/>
            <a:p>
              <a:pPr algn="ctr">
                <a:buClr>
                  <a:srgbClr val="002F6C"/>
                </a:buClr>
                <a:defRPr/>
              </a:pPr>
              <a:r>
                <a:rPr lang="en-GB" sz="1200" b="1">
                  <a:solidFill>
                    <a:srgbClr val="002F6C">
                      <a:lumMod val="75000"/>
                    </a:srgbClr>
                  </a:solidFill>
                  <a:latin typeface="Tw Cen MT"/>
                </a:rPr>
                <a:t>No hemolysis</a:t>
              </a:r>
              <a:r>
                <a:rPr lang="en-GB" sz="1200" b="1" baseline="30000">
                  <a:solidFill>
                    <a:srgbClr val="002F6C">
                      <a:lumMod val="75000"/>
                    </a:srgbClr>
                  </a:solidFill>
                  <a:latin typeface="Tw Cen MT"/>
                </a:rPr>
                <a:t>1</a:t>
              </a:r>
            </a:p>
          </p:txBody>
        </p:sp>
      </p:grpSp>
      <p:grpSp>
        <p:nvGrpSpPr>
          <p:cNvPr id="29" name="Group 10">
            <a:extLst>
              <a:ext uri="{FF2B5EF4-FFF2-40B4-BE49-F238E27FC236}">
                <a16:creationId xmlns:a16="http://schemas.microsoft.com/office/drawing/2014/main" id="{C14ADA45-5B8F-DB9E-6A93-CC3E3F2DBDEF}"/>
              </a:ext>
            </a:extLst>
          </p:cNvPr>
          <p:cNvGrpSpPr/>
          <p:nvPr/>
        </p:nvGrpSpPr>
        <p:grpSpPr>
          <a:xfrm>
            <a:off x="10065318" y="3056397"/>
            <a:ext cx="2176208" cy="1331744"/>
            <a:chOff x="2094481" y="2483087"/>
            <a:chExt cx="2492820" cy="1525497"/>
          </a:xfrm>
        </p:grpSpPr>
        <p:pic>
          <p:nvPicPr>
            <p:cNvPr id="30" name="Picture 11">
              <a:extLst>
                <a:ext uri="{FF2B5EF4-FFF2-40B4-BE49-F238E27FC236}">
                  <a16:creationId xmlns:a16="http://schemas.microsoft.com/office/drawing/2014/main" id="{114BE367-1796-A280-87DA-C655F7B6254A}"/>
                </a:ext>
              </a:extLst>
            </p:cNvPr>
            <p:cNvPicPr>
              <a:picLocks noChangeAspect="1"/>
            </p:cNvPicPr>
            <p:nvPr/>
          </p:nvPicPr>
          <p:blipFill>
            <a:blip r:embed="rId4"/>
            <a:stretch>
              <a:fillRect/>
            </a:stretch>
          </p:blipFill>
          <p:spPr>
            <a:xfrm>
              <a:off x="2319738" y="2747231"/>
              <a:ext cx="2042307" cy="1030483"/>
            </a:xfrm>
            <a:prstGeom prst="rect">
              <a:avLst/>
            </a:prstGeom>
          </p:spPr>
        </p:pic>
        <p:sp>
          <p:nvSpPr>
            <p:cNvPr id="31" name="TextBox 13">
              <a:extLst>
                <a:ext uri="{FF2B5EF4-FFF2-40B4-BE49-F238E27FC236}">
                  <a16:creationId xmlns:a16="http://schemas.microsoft.com/office/drawing/2014/main" id="{B08C3180-BBDE-2BEB-E5B3-337C36E7C529}"/>
                </a:ext>
              </a:extLst>
            </p:cNvPr>
            <p:cNvSpPr txBox="1"/>
            <p:nvPr/>
          </p:nvSpPr>
          <p:spPr>
            <a:xfrm>
              <a:off x="2453508" y="3746974"/>
              <a:ext cx="1516762" cy="261610"/>
            </a:xfrm>
            <a:prstGeom prst="rect">
              <a:avLst/>
            </a:prstGeom>
            <a:noFill/>
          </p:spPr>
          <p:txBody>
            <a:bodyPr wrap="none" rtlCol="0">
              <a:spAutoFit/>
            </a:bodyPr>
            <a:lstStyle/>
            <a:p>
              <a:pPr>
                <a:defRPr/>
              </a:pPr>
              <a:r>
                <a:rPr lang="en-GB" sz="1100">
                  <a:solidFill>
                    <a:srgbClr val="001E60"/>
                  </a:solidFill>
                  <a:latin typeface="Tw Cen MT"/>
                </a:rPr>
                <a:t>Lysed PNH red cells</a:t>
              </a:r>
              <a:r>
                <a:rPr lang="en-GB" sz="1100" baseline="30000">
                  <a:solidFill>
                    <a:srgbClr val="001E60"/>
                  </a:solidFill>
                  <a:latin typeface="Tw Cen MT"/>
                </a:rPr>
                <a:t>1</a:t>
              </a:r>
            </a:p>
          </p:txBody>
        </p:sp>
        <p:sp>
          <p:nvSpPr>
            <p:cNvPr id="32" name="TextBox 14">
              <a:extLst>
                <a:ext uri="{FF2B5EF4-FFF2-40B4-BE49-F238E27FC236}">
                  <a16:creationId xmlns:a16="http://schemas.microsoft.com/office/drawing/2014/main" id="{20FD94F0-CD4A-BFB8-326A-74F39D8578AA}"/>
                </a:ext>
              </a:extLst>
            </p:cNvPr>
            <p:cNvSpPr txBox="1"/>
            <p:nvPr/>
          </p:nvSpPr>
          <p:spPr>
            <a:xfrm>
              <a:off x="2094481" y="2483087"/>
              <a:ext cx="2492820" cy="307777"/>
            </a:xfrm>
            <a:prstGeom prst="rect">
              <a:avLst/>
            </a:prstGeom>
            <a:noFill/>
          </p:spPr>
          <p:txBody>
            <a:bodyPr wrap="square" rtlCol="0">
              <a:spAutoFit/>
            </a:bodyPr>
            <a:lstStyle/>
            <a:p>
              <a:pPr algn="ctr">
                <a:buClr>
                  <a:srgbClr val="002F6C"/>
                </a:buClr>
                <a:defRPr/>
              </a:pPr>
              <a:r>
                <a:rPr lang="en-GB" sz="1400" b="1">
                  <a:solidFill>
                    <a:srgbClr val="C00000"/>
                  </a:solidFill>
                  <a:latin typeface="Tw Cen MT"/>
                </a:rPr>
                <a:t>Chronic or acute IVH</a:t>
              </a:r>
              <a:r>
                <a:rPr lang="en-GB" sz="1400" b="1" baseline="30000">
                  <a:solidFill>
                    <a:srgbClr val="C00000"/>
                  </a:solidFill>
                  <a:latin typeface="Tw Cen MT"/>
                </a:rPr>
                <a:t>1</a:t>
              </a:r>
            </a:p>
          </p:txBody>
        </p:sp>
      </p:grpSp>
      <p:sp>
        <p:nvSpPr>
          <p:cNvPr id="33" name="TextBox 15">
            <a:extLst>
              <a:ext uri="{FF2B5EF4-FFF2-40B4-BE49-F238E27FC236}">
                <a16:creationId xmlns:a16="http://schemas.microsoft.com/office/drawing/2014/main" id="{B40FBE3A-D19D-D39B-4B1A-40E1478C4DDE}"/>
              </a:ext>
            </a:extLst>
          </p:cNvPr>
          <p:cNvSpPr txBox="1"/>
          <p:nvPr/>
        </p:nvSpPr>
        <p:spPr>
          <a:xfrm>
            <a:off x="9700113" y="4146906"/>
            <a:ext cx="764953" cy="430887"/>
          </a:xfrm>
          <a:prstGeom prst="rect">
            <a:avLst/>
          </a:prstGeom>
          <a:noFill/>
        </p:spPr>
        <p:txBody>
          <a:bodyPr wrap="none" rtlCol="0">
            <a:spAutoFit/>
          </a:bodyPr>
          <a:lstStyle/>
          <a:p>
            <a:pPr>
              <a:defRPr/>
            </a:pPr>
            <a:r>
              <a:rPr lang="en-GB" sz="1100">
                <a:solidFill>
                  <a:srgbClr val="001E60"/>
                </a:solidFill>
                <a:latin typeface="Tw Cen MT"/>
              </a:rPr>
              <a:t>PNH red </a:t>
            </a:r>
          </a:p>
          <a:p>
            <a:pPr>
              <a:defRPr/>
            </a:pPr>
            <a:r>
              <a:rPr lang="en-GB" sz="1100">
                <a:solidFill>
                  <a:srgbClr val="001E60"/>
                </a:solidFill>
                <a:latin typeface="Tw Cen MT"/>
              </a:rPr>
              <a:t>cells</a:t>
            </a:r>
            <a:r>
              <a:rPr lang="en-GB" sz="1100" baseline="30000">
                <a:solidFill>
                  <a:srgbClr val="001E60"/>
                </a:solidFill>
                <a:latin typeface="Tw Cen MT"/>
              </a:rPr>
              <a:t>1</a:t>
            </a:r>
          </a:p>
        </p:txBody>
      </p:sp>
      <p:sp>
        <p:nvSpPr>
          <p:cNvPr id="5" name="CaixaDeTexto 4">
            <a:extLst>
              <a:ext uri="{FF2B5EF4-FFF2-40B4-BE49-F238E27FC236}">
                <a16:creationId xmlns:a16="http://schemas.microsoft.com/office/drawing/2014/main" id="{DE52CDE4-C164-398F-7569-2C868EAA3030}"/>
              </a:ext>
            </a:extLst>
          </p:cNvPr>
          <p:cNvSpPr txBox="1"/>
          <p:nvPr/>
        </p:nvSpPr>
        <p:spPr>
          <a:xfrm>
            <a:off x="8514359" y="4577793"/>
            <a:ext cx="6119036" cy="215444"/>
          </a:xfrm>
          <a:prstGeom prst="rect">
            <a:avLst/>
          </a:prstGeom>
          <a:noFill/>
        </p:spPr>
        <p:txBody>
          <a:bodyPr wrap="square">
            <a:spAutoFit/>
          </a:bodyPr>
          <a:lstStyle/>
          <a:p>
            <a:r>
              <a:rPr lang="pt-BR" sz="800" dirty="0"/>
              <a:t>Adaptado de </a:t>
            </a:r>
            <a:r>
              <a:rPr lang="pt-BR" sz="800" dirty="0" err="1"/>
              <a:t>Notaro</a:t>
            </a:r>
            <a:r>
              <a:rPr lang="pt-BR" sz="800" dirty="0"/>
              <a:t> R et al. N </a:t>
            </a:r>
            <a:r>
              <a:rPr lang="pt-BR" sz="800" dirty="0" err="1"/>
              <a:t>Engl</a:t>
            </a:r>
            <a:r>
              <a:rPr lang="pt-BR" sz="800" dirty="0"/>
              <a:t> J Med 2022;387:160–166.</a:t>
            </a:r>
          </a:p>
        </p:txBody>
      </p:sp>
    </p:spTree>
    <p:extLst>
      <p:ext uri="{BB962C8B-B14F-4D97-AF65-F5344CB8AC3E}">
        <p14:creationId xmlns:p14="http://schemas.microsoft.com/office/powerpoint/2010/main" val="98243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7" descr="Diagram&#10;&#10;Description automatically generated">
            <a:extLst>
              <a:ext uri="{FF2B5EF4-FFF2-40B4-BE49-F238E27FC236}">
                <a16:creationId xmlns:a16="http://schemas.microsoft.com/office/drawing/2014/main" id="{7325276D-0557-BA42-3F9A-BFB58E73C25A}"/>
              </a:ext>
            </a:extLst>
          </p:cNvPr>
          <p:cNvPicPr>
            <a:picLocks noChangeAspect="1"/>
          </p:cNvPicPr>
          <p:nvPr/>
        </p:nvPicPr>
        <p:blipFill rotWithShape="1">
          <a:blip r:embed="rId2"/>
          <a:srcRect l="26014" t="15870" r="40793" b="10092"/>
          <a:stretch/>
        </p:blipFill>
        <p:spPr>
          <a:xfrm>
            <a:off x="5678311" y="1972304"/>
            <a:ext cx="2707793" cy="3281310"/>
          </a:xfrm>
          <a:prstGeom prst="rect">
            <a:avLst/>
          </a:prstGeom>
        </p:spPr>
      </p:pic>
      <p:sp>
        <p:nvSpPr>
          <p:cNvPr id="21" name="Round Diagonal Corner Rectangle 18">
            <a:extLst>
              <a:ext uri="{FF2B5EF4-FFF2-40B4-BE49-F238E27FC236}">
                <a16:creationId xmlns:a16="http://schemas.microsoft.com/office/drawing/2014/main" id="{A3F0FE11-84B7-3CB0-8D19-DB0FF59AE439}"/>
              </a:ext>
            </a:extLst>
          </p:cNvPr>
          <p:cNvSpPr/>
          <p:nvPr/>
        </p:nvSpPr>
        <p:spPr>
          <a:xfrm>
            <a:off x="10681602" y="1866074"/>
            <a:ext cx="945953" cy="278359"/>
          </a:xfrm>
          <a:prstGeom prst="round2Diag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sp>
        <p:nvSpPr>
          <p:cNvPr id="22" name="Pentagon 7">
            <a:extLst>
              <a:ext uri="{FF2B5EF4-FFF2-40B4-BE49-F238E27FC236}">
                <a16:creationId xmlns:a16="http://schemas.microsoft.com/office/drawing/2014/main" id="{64DCA259-7B53-7820-8A41-7497E59F8A39}"/>
              </a:ext>
            </a:extLst>
          </p:cNvPr>
          <p:cNvSpPr/>
          <p:nvPr/>
        </p:nvSpPr>
        <p:spPr>
          <a:xfrm>
            <a:off x="0" y="1941655"/>
            <a:ext cx="5949244" cy="3115900"/>
          </a:xfrm>
          <a:prstGeom prst="homePlate">
            <a:avLst>
              <a:gd name="adj" fmla="val 39331"/>
            </a:avLst>
          </a:prstGeom>
          <a:solidFill>
            <a:srgbClr val="F3F4F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sp>
        <p:nvSpPr>
          <p:cNvPr id="23" name="Title 1">
            <a:extLst>
              <a:ext uri="{FF2B5EF4-FFF2-40B4-BE49-F238E27FC236}">
                <a16:creationId xmlns:a16="http://schemas.microsoft.com/office/drawing/2014/main" id="{7AA89848-4944-EF03-7309-F8F39B167143}"/>
              </a:ext>
            </a:extLst>
          </p:cNvPr>
          <p:cNvSpPr txBox="1">
            <a:spLocks/>
          </p:cNvSpPr>
          <p:nvPr/>
        </p:nvSpPr>
        <p:spPr bwMode="auto">
          <a:xfrm>
            <a:off x="665876" y="461074"/>
            <a:ext cx="10515600" cy="68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rtl="0" eaLnBrk="1" fontAlgn="base" hangingPunct="1">
              <a:lnSpc>
                <a:spcPct val="90000"/>
              </a:lnSpc>
              <a:spcBef>
                <a:spcPct val="0"/>
              </a:spcBef>
              <a:spcAft>
                <a:spcPct val="0"/>
              </a:spcAft>
              <a:defRPr lang="en-US" sz="3200" b="1" i="0" kern="1200" cap="none" spc="0" baseline="0" noProof="0" dirty="0" smtClean="0">
                <a:solidFill>
                  <a:schemeClr val="tx1"/>
                </a:solidFill>
                <a:latin typeface="Tw Cen MT" panose="020B0602020104020603" pitchFamily="34" charset="77"/>
                <a:ea typeface="+mn-ea"/>
                <a:cs typeface="Arial" panose="020B0604020202020204" pitchFamily="34" charset="0"/>
              </a:defRPr>
            </a:lvl1pPr>
            <a:lvl2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2pPr>
            <a:lvl3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3pPr>
            <a:lvl4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4pPr>
            <a:lvl5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5pPr>
            <a:lvl6pPr marL="4572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6pPr>
            <a:lvl7pPr marL="9144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7pPr>
            <a:lvl8pPr marL="13716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8pPr>
            <a:lvl9pPr marL="18288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dirty="0">
                <a:gradFill>
                  <a:gsLst>
                    <a:gs pos="0">
                      <a:schemeClr val="accent1"/>
                    </a:gs>
                    <a:gs pos="100000">
                      <a:schemeClr val="bg2"/>
                    </a:gs>
                  </a:gsLst>
                  <a:lin ang="2700000" scaled="0"/>
                </a:gradFill>
                <a:latin typeface="Calisto MT"/>
                <a:cs typeface="+mn-cs"/>
              </a:rPr>
              <a:t>PNH with complete C5 inhibition</a:t>
            </a:r>
            <a:r>
              <a:rPr kumimoji="0" lang="en-US" sz="3200" b="1" i="0" u="none" strike="noStrike" kern="1200" cap="none" spc="0" normalizeH="0" baseline="30000" noProof="0" dirty="0">
                <a:ln>
                  <a:noFill/>
                </a:ln>
                <a:solidFill>
                  <a:srgbClr val="001E60"/>
                </a:solidFill>
                <a:effectLst/>
                <a:uLnTx/>
                <a:uFillTx/>
                <a:latin typeface="Tw Cen MT" panose="020B0602020104020603" pitchFamily="34" charset="77"/>
                <a:ea typeface="+mn-ea"/>
                <a:cs typeface="Arial" panose="020B0604020202020204" pitchFamily="34" charset="0"/>
              </a:rPr>
              <a:t>1</a:t>
            </a:r>
          </a:p>
        </p:txBody>
      </p:sp>
      <p:sp>
        <p:nvSpPr>
          <p:cNvPr id="24" name="TextBox 8">
            <a:extLst>
              <a:ext uri="{FF2B5EF4-FFF2-40B4-BE49-F238E27FC236}">
                <a16:creationId xmlns:a16="http://schemas.microsoft.com/office/drawing/2014/main" id="{B046A586-BC3B-4230-9A56-8D6F19A7B03C}"/>
              </a:ext>
            </a:extLst>
          </p:cNvPr>
          <p:cNvSpPr txBox="1"/>
          <p:nvPr/>
        </p:nvSpPr>
        <p:spPr>
          <a:xfrm>
            <a:off x="826998" y="5523981"/>
            <a:ext cx="10327580" cy="553998"/>
          </a:xfrm>
          <a:prstGeom prst="rect">
            <a:avLst/>
          </a:prstGeom>
          <a:noFill/>
        </p:spPr>
        <p:txBody>
          <a:bodyPr wrap="square" rtlCol="0">
            <a:spAutoFit/>
          </a:bodyPr>
          <a:lstStyle/>
          <a:p>
            <a:pPr>
              <a:defRPr/>
            </a:pPr>
            <a:endParaRPr lang="en-US" sz="1000">
              <a:solidFill>
                <a:srgbClr val="6E6159"/>
              </a:solidFill>
              <a:latin typeface="Tw Cen MT"/>
              <a:ea typeface="Times New Roman" panose="02020603050405020304" pitchFamily="18" charset="0"/>
            </a:endParaRPr>
          </a:p>
          <a:p>
            <a:pPr>
              <a:defRPr/>
            </a:pPr>
            <a:r>
              <a:rPr lang="en-US" sz="1000">
                <a:solidFill>
                  <a:srgbClr val="6E6159"/>
                </a:solidFill>
                <a:latin typeface="Tw Cen MT"/>
                <a:ea typeface="Times New Roman" panose="02020603050405020304" pitchFamily="18" charset="0"/>
              </a:rPr>
              <a:t>Figure adapted from </a:t>
            </a:r>
            <a:r>
              <a:rPr lang="en-US" sz="1000" err="1">
                <a:solidFill>
                  <a:srgbClr val="6E6159"/>
                </a:solidFill>
                <a:latin typeface="Tw Cen MT"/>
                <a:ea typeface="Times New Roman" panose="02020603050405020304" pitchFamily="18" charset="0"/>
              </a:rPr>
              <a:t>Notaro</a:t>
            </a:r>
            <a:r>
              <a:rPr lang="en-US" sz="1000">
                <a:solidFill>
                  <a:srgbClr val="6E6159"/>
                </a:solidFill>
                <a:latin typeface="Tw Cen MT"/>
                <a:ea typeface="Times New Roman" panose="02020603050405020304" pitchFamily="18" charset="0"/>
              </a:rPr>
              <a:t> R </a:t>
            </a:r>
            <a:r>
              <a:rPr lang="en-US" sz="1000" i="1">
                <a:solidFill>
                  <a:srgbClr val="6E6159"/>
                </a:solidFill>
                <a:latin typeface="Tw Cen MT"/>
                <a:ea typeface="Times New Roman" panose="02020603050405020304" pitchFamily="18" charset="0"/>
              </a:rPr>
              <a:t>et al. N </a:t>
            </a:r>
            <a:r>
              <a:rPr lang="en-US" sz="1000" i="1" err="1">
                <a:solidFill>
                  <a:srgbClr val="6E6159"/>
                </a:solidFill>
                <a:latin typeface="Tw Cen MT"/>
                <a:ea typeface="Times New Roman" panose="02020603050405020304" pitchFamily="18" charset="0"/>
              </a:rPr>
              <a:t>Engl</a:t>
            </a:r>
            <a:r>
              <a:rPr lang="en-US" sz="1000" i="1">
                <a:solidFill>
                  <a:srgbClr val="6E6159"/>
                </a:solidFill>
                <a:latin typeface="Tw Cen MT"/>
                <a:ea typeface="Times New Roman" panose="02020603050405020304" pitchFamily="18" charset="0"/>
              </a:rPr>
              <a:t> J Med </a:t>
            </a:r>
            <a:r>
              <a:rPr lang="en-US" sz="1000">
                <a:solidFill>
                  <a:srgbClr val="6E6159"/>
                </a:solidFill>
                <a:latin typeface="Tw Cen MT"/>
                <a:ea typeface="Times New Roman" panose="02020603050405020304" pitchFamily="18" charset="0"/>
              </a:rPr>
              <a:t>2022.</a:t>
            </a:r>
          </a:p>
          <a:p>
            <a:pPr>
              <a:defRPr/>
            </a:pPr>
            <a:r>
              <a:rPr lang="en-US" sz="1000">
                <a:solidFill>
                  <a:srgbClr val="6E6159"/>
                </a:solidFill>
                <a:latin typeface="Tw Cen MT"/>
                <a:ea typeface="Times New Roman" panose="02020603050405020304" pitchFamily="18" charset="0"/>
              </a:rPr>
              <a:t>EVH, extravascular hemolysis; IVH, intravascular hemolysis; MAC, membrane-attack complex; PNH, paroxysmal nocturnal hemoglobinuria</a:t>
            </a:r>
          </a:p>
        </p:txBody>
      </p:sp>
      <p:sp>
        <p:nvSpPr>
          <p:cNvPr id="25" name="TextBox 9">
            <a:extLst>
              <a:ext uri="{FF2B5EF4-FFF2-40B4-BE49-F238E27FC236}">
                <a16:creationId xmlns:a16="http://schemas.microsoft.com/office/drawing/2014/main" id="{DDA15B73-F39D-05C0-7A5D-072DD01B21B5}"/>
              </a:ext>
            </a:extLst>
          </p:cNvPr>
          <p:cNvSpPr txBox="1"/>
          <p:nvPr/>
        </p:nvSpPr>
        <p:spPr>
          <a:xfrm>
            <a:off x="838200" y="6059099"/>
            <a:ext cx="9694333" cy="246221"/>
          </a:xfrm>
          <a:prstGeom prst="rect">
            <a:avLst/>
          </a:prstGeom>
          <a:noFill/>
        </p:spPr>
        <p:txBody>
          <a:bodyPr wrap="square" rtlCol="0">
            <a:spAutoFit/>
          </a:bodyPr>
          <a:lstStyle/>
          <a:p>
            <a:pPr>
              <a:defRPr/>
            </a:pPr>
            <a:r>
              <a:rPr lang="it-IT" sz="1000" b="1" dirty="0">
                <a:solidFill>
                  <a:srgbClr val="6E6159"/>
                </a:solidFill>
                <a:latin typeface="Tw Cen MT"/>
                <a:ea typeface="Times New Roman" panose="02020603050405020304" pitchFamily="18" charset="0"/>
              </a:rPr>
              <a:t>1.</a:t>
            </a:r>
            <a:r>
              <a:rPr lang="it-IT" sz="1000" dirty="0">
                <a:solidFill>
                  <a:srgbClr val="6E6159"/>
                </a:solidFill>
                <a:latin typeface="Tw Cen MT"/>
                <a:ea typeface="Times New Roman" panose="02020603050405020304" pitchFamily="18" charset="0"/>
              </a:rPr>
              <a:t> Notaro R </a:t>
            </a:r>
            <a:r>
              <a:rPr lang="it-IT" sz="1000" i="1" dirty="0">
                <a:solidFill>
                  <a:srgbClr val="6E6159"/>
                </a:solidFill>
                <a:latin typeface="Tw Cen MT"/>
                <a:ea typeface="Times New Roman" panose="02020603050405020304" pitchFamily="18" charset="0"/>
              </a:rPr>
              <a:t>et al.</a:t>
            </a:r>
            <a:r>
              <a:rPr lang="it-IT" sz="1000" dirty="0">
                <a:solidFill>
                  <a:srgbClr val="6E6159"/>
                </a:solidFill>
                <a:latin typeface="Tw Cen MT"/>
                <a:ea typeface="Times New Roman" panose="02020603050405020304" pitchFamily="18" charset="0"/>
              </a:rPr>
              <a:t> </a:t>
            </a:r>
            <a:r>
              <a:rPr lang="it-IT" sz="1000" i="1" dirty="0">
                <a:solidFill>
                  <a:srgbClr val="6E6159"/>
                </a:solidFill>
                <a:latin typeface="Tw Cen MT"/>
                <a:ea typeface="Times New Roman" panose="02020603050405020304" pitchFamily="18" charset="0"/>
              </a:rPr>
              <a:t>N Engl J Med </a:t>
            </a:r>
            <a:r>
              <a:rPr lang="it-IT" sz="1000" dirty="0">
                <a:solidFill>
                  <a:srgbClr val="6E6159"/>
                </a:solidFill>
                <a:latin typeface="Tw Cen MT"/>
                <a:ea typeface="Times New Roman" panose="02020603050405020304" pitchFamily="18" charset="0"/>
              </a:rPr>
              <a:t>2022;387:160–166. </a:t>
            </a:r>
            <a:endParaRPr lang="en-CA" sz="1000" dirty="0">
              <a:solidFill>
                <a:srgbClr val="6E6159"/>
              </a:solidFill>
              <a:latin typeface="Tw Cen MT"/>
              <a:ea typeface="Times New Roman" panose="02020603050405020304" pitchFamily="18" charset="0"/>
            </a:endParaRPr>
          </a:p>
        </p:txBody>
      </p:sp>
      <p:sp>
        <p:nvSpPr>
          <p:cNvPr id="26" name="Text Placeholder 3">
            <a:extLst>
              <a:ext uri="{FF2B5EF4-FFF2-40B4-BE49-F238E27FC236}">
                <a16:creationId xmlns:a16="http://schemas.microsoft.com/office/drawing/2014/main" id="{4A3A8FD4-6C4D-8AAA-2795-E63DBA6E386E}"/>
              </a:ext>
            </a:extLst>
          </p:cNvPr>
          <p:cNvSpPr txBox="1">
            <a:spLocks/>
          </p:cNvSpPr>
          <p:nvPr/>
        </p:nvSpPr>
        <p:spPr bwMode="auto">
          <a:xfrm>
            <a:off x="278746" y="2144433"/>
            <a:ext cx="4441371" cy="24171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lnSpc>
                <a:spcPts val="2600"/>
              </a:lnSpc>
              <a:spcBef>
                <a:spcPts val="1000"/>
              </a:spcBef>
              <a:spcAft>
                <a:spcPts val="600"/>
              </a:spcAft>
              <a:buFontTx/>
              <a:buNone/>
              <a:defRPr sz="2000" b="0" i="0" kern="1200">
                <a:solidFill>
                  <a:schemeClr val="tx2"/>
                </a:solidFill>
                <a:latin typeface="+mn-lt"/>
                <a:ea typeface="ヒラギノ角ゴ Pro W3" panose="020B0300000000000000" pitchFamily="34" charset="-128"/>
                <a:cs typeface="+mn-cs"/>
              </a:defRPr>
            </a:lvl1pPr>
            <a:lvl2pPr marL="8001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2pPr>
            <a:lvl3pPr marL="12573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3pPr>
            <a:lvl4pPr marL="16573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4pPr>
            <a:lvl5pPr marL="21145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0" indent="0" algn="l" defTabSz="914400" rtl="0" eaLnBrk="1" fontAlgn="base" latinLnBrk="0" hangingPunct="1">
              <a:lnSpc>
                <a:spcPct val="100000"/>
              </a:lnSpc>
              <a:spcBef>
                <a:spcPts val="1000"/>
              </a:spcBef>
              <a:spcAft>
                <a:spcPts val="600"/>
              </a:spcAft>
              <a:buClrTx/>
              <a:buSzTx/>
              <a:buFontTx/>
              <a:buNone/>
              <a:tabLst/>
              <a:defRPr/>
            </a:pPr>
            <a:r>
              <a:rPr kumimoji="0" lang="en-CA" sz="1400" b="0" i="0" u="none" strike="noStrike" kern="1200" cap="none" spc="0" normalizeH="0" baseline="0" noProof="0" dirty="0">
                <a:ln>
                  <a:noFill/>
                </a:ln>
                <a:solidFill>
                  <a:srgbClr val="002F6C"/>
                </a:solidFill>
                <a:effectLst/>
                <a:uLnTx/>
                <a:uFillTx/>
                <a:latin typeface="Tw Cen MT"/>
                <a:ea typeface="Times New Roman" panose="02020603050405020304" pitchFamily="18" charset="0"/>
                <a:cs typeface="+mn-cs"/>
              </a:rPr>
              <a:t>With C5 inhibition</a:t>
            </a:r>
            <a:r>
              <a:rPr kumimoji="0" lang="en-CA" sz="1400" b="0" i="0" u="none" strike="noStrike" kern="1200" cap="none" spc="0" normalizeH="0" baseline="0" noProof="0" dirty="0">
                <a:ln>
                  <a:noFill/>
                </a:ln>
                <a:solidFill>
                  <a:srgbClr val="002F6C"/>
                </a:solidFill>
                <a:effectLst/>
                <a:uLnTx/>
                <a:uFillTx/>
                <a:latin typeface="Tw Cen MT"/>
                <a:ea typeface="ヒラギノ角ゴ Pro W3" panose="020B0300000000000000" pitchFamily="34" charset="-128"/>
                <a:cs typeface="+mn-cs"/>
              </a:rPr>
              <a:t>, </a:t>
            </a:r>
            <a:r>
              <a:rPr kumimoji="0" lang="en-IE" sz="1400" b="0" i="0" u="none" strike="noStrike" kern="1200" cap="none" spc="0" normalizeH="0" baseline="0" noProof="0" dirty="0">
                <a:ln>
                  <a:noFill/>
                </a:ln>
                <a:solidFill>
                  <a:srgbClr val="002F6C"/>
                </a:solidFill>
                <a:effectLst/>
                <a:uLnTx/>
                <a:uFillTx/>
                <a:latin typeface="Tw Cen MT"/>
                <a:ea typeface="ヒラギノ角ゴ Pro W3" panose="020B0300000000000000" pitchFamily="34" charset="-128"/>
                <a:cs typeface="+mn-cs"/>
              </a:rPr>
              <a:t>complete inhibition of the terminal pathway at the C5 level prevents MAC formation and </a:t>
            </a:r>
            <a:r>
              <a:rPr kumimoji="0" lang="en-IE" sz="1400" b="1" i="0" u="none" strike="noStrike" kern="1200" cap="none" spc="0" normalizeH="0" baseline="0" noProof="0" dirty="0">
                <a:ln>
                  <a:noFill/>
                </a:ln>
                <a:solidFill>
                  <a:srgbClr val="002F6C"/>
                </a:solidFill>
                <a:effectLst/>
                <a:uLnTx/>
                <a:uFillTx/>
                <a:latin typeface="Tw Cen MT"/>
                <a:ea typeface="ヒラギノ角ゴ Pro W3" panose="020B0300000000000000" pitchFamily="34" charset="-128"/>
                <a:cs typeface="+mn-cs"/>
              </a:rPr>
              <a:t>IVH</a:t>
            </a:r>
            <a:endParaRPr kumimoji="0" lang="en-CA" sz="1400" b="1" i="0" u="none" strike="noStrike" kern="1200" cap="none" spc="0" normalizeH="0" baseline="0" noProof="0" dirty="0">
              <a:ln>
                <a:noFill/>
              </a:ln>
              <a:solidFill>
                <a:srgbClr val="002F6C"/>
              </a:solidFill>
              <a:effectLst/>
              <a:uLnTx/>
              <a:uFillTx/>
              <a:latin typeface="Tw Cen MT"/>
              <a:ea typeface="Times New Roman" panose="02020603050405020304" pitchFamily="18" charset="0"/>
              <a:cs typeface="+mn-cs"/>
            </a:endParaRPr>
          </a:p>
          <a:p>
            <a:pPr marL="11113" marR="0" lvl="0" indent="0" algn="l" defTabSz="914400" rtl="0" eaLnBrk="1" fontAlgn="base" latinLnBrk="0" hangingPunct="1">
              <a:lnSpc>
                <a:spcPct val="100000"/>
              </a:lnSpc>
              <a:spcBef>
                <a:spcPts val="1000"/>
              </a:spcBef>
              <a:spcAft>
                <a:spcPts val="600"/>
              </a:spcAft>
              <a:buClrTx/>
              <a:buSzTx/>
              <a:buFontTx/>
              <a:buNone/>
              <a:tabLst/>
              <a:defRPr/>
            </a:pPr>
            <a:r>
              <a:rPr kumimoji="0" lang="en-CA" sz="1400" b="0" i="0" u="none" strike="noStrike" kern="1200" cap="none" spc="0" normalizeH="0" baseline="0" noProof="0" dirty="0">
                <a:ln>
                  <a:noFill/>
                </a:ln>
                <a:solidFill>
                  <a:srgbClr val="002F6C"/>
                </a:solidFill>
                <a:effectLst/>
                <a:uLnTx/>
                <a:uFillTx/>
                <a:latin typeface="Tw Cen MT"/>
                <a:ea typeface="Times New Roman" panose="02020603050405020304" pitchFamily="18" charset="0"/>
                <a:cs typeface="+mn-cs"/>
              </a:rPr>
              <a:t>C3 activation is not affected and C3 fragments bind to PNH red cells</a:t>
            </a:r>
          </a:p>
          <a:p>
            <a:pPr marL="10795" marR="0" lvl="0" indent="0" algn="l" defTabSz="914400" rtl="0" eaLnBrk="1" fontAlgn="base" latinLnBrk="0" hangingPunct="1">
              <a:lnSpc>
                <a:spcPct val="100000"/>
              </a:lnSpc>
              <a:spcBef>
                <a:spcPts val="1000"/>
              </a:spcBef>
              <a:spcAft>
                <a:spcPts val="600"/>
              </a:spcAft>
              <a:buClrTx/>
              <a:buSzTx/>
              <a:buFontTx/>
              <a:buNone/>
              <a:tabLst/>
              <a:defRPr/>
            </a:pPr>
            <a:r>
              <a:rPr kumimoji="0" lang="en-IE" sz="1400" b="0" i="0" u="none" strike="noStrike" kern="1200" cap="none" spc="0" normalizeH="0" baseline="0" noProof="0" dirty="0">
                <a:ln>
                  <a:noFill/>
                </a:ln>
                <a:solidFill>
                  <a:srgbClr val="002F6C"/>
                </a:solidFill>
                <a:effectLst/>
                <a:uLnTx/>
                <a:uFillTx/>
                <a:latin typeface="Tw Cen MT"/>
                <a:ea typeface="ヒラギノ角ゴ Pro W3"/>
                <a:cs typeface="+mn-cs"/>
              </a:rPr>
              <a:t>The uncontrolled formation of alternative-pathway C3 convertase persists, resulting in C3-opsonized PNH red cells that become </a:t>
            </a:r>
            <a:r>
              <a:rPr kumimoji="0" lang="en-IE" sz="1400" b="0" i="0" u="none" strike="noStrike" kern="1200" cap="none" spc="0" normalizeH="0" baseline="0" noProof="0" dirty="0">
                <a:ln>
                  <a:noFill/>
                </a:ln>
                <a:solidFill>
                  <a:srgbClr val="002F6C"/>
                </a:solidFill>
                <a:effectLst/>
                <a:uLnTx/>
                <a:uFillTx/>
                <a:latin typeface="Tw Cen MT"/>
                <a:ea typeface="ヒラギノ角ゴ Pro W3" panose="020B0300000000000000" pitchFamily="34" charset="-128"/>
                <a:cs typeface="+mn-cs"/>
              </a:rPr>
              <a:t>targets for phagocytosis, with consequent EVH in the spleen. </a:t>
            </a:r>
          </a:p>
          <a:p>
            <a:pPr marL="10795" marR="0" lvl="0" indent="0" algn="l" defTabSz="914400" rtl="0" eaLnBrk="1" fontAlgn="base" latinLnBrk="0" hangingPunct="1">
              <a:lnSpc>
                <a:spcPct val="100000"/>
              </a:lnSpc>
              <a:spcBef>
                <a:spcPts val="1000"/>
              </a:spcBef>
              <a:spcAft>
                <a:spcPts val="600"/>
              </a:spcAft>
              <a:buClrTx/>
              <a:buSzTx/>
              <a:buFontTx/>
              <a:buNone/>
              <a:tabLst/>
              <a:defRPr/>
            </a:pPr>
            <a:r>
              <a:rPr kumimoji="0" lang="en-US" sz="1400" b="0" i="0" u="none" strike="noStrike" kern="1200" cap="none" spc="0" normalizeH="0" baseline="0" noProof="0" dirty="0">
                <a:ln>
                  <a:noFill/>
                </a:ln>
                <a:solidFill>
                  <a:srgbClr val="002F6C"/>
                </a:solidFill>
                <a:effectLst/>
                <a:uLnTx/>
                <a:uFillTx/>
                <a:latin typeface="Tw Cen MT"/>
                <a:ea typeface="ヒラギノ角ゴ Pro W3" panose="020B0300000000000000" pitchFamily="34" charset="-128"/>
                <a:cs typeface="+mn-cs"/>
              </a:rPr>
              <a:t>10-20% of patients receiving C5 inhibitors exhibit clinically significant EVH</a:t>
            </a:r>
            <a:r>
              <a:rPr kumimoji="0" lang="en-US" sz="1400" b="0" i="0" u="none" strike="noStrike" kern="1200" cap="none" spc="0" normalizeH="0" baseline="30000" noProof="0" dirty="0">
                <a:ln>
                  <a:noFill/>
                </a:ln>
                <a:solidFill>
                  <a:srgbClr val="002F6C"/>
                </a:solidFill>
                <a:effectLst/>
                <a:uLnTx/>
                <a:uFillTx/>
                <a:latin typeface="Tw Cen MT"/>
                <a:ea typeface="ヒラギノ角ゴ Pro W3" panose="020B0300000000000000" pitchFamily="34" charset="-128"/>
                <a:cs typeface="+mn-cs"/>
              </a:rPr>
              <a:t>2</a:t>
            </a:r>
          </a:p>
          <a:p>
            <a:pPr marL="10795" marR="0" lvl="0" indent="0" algn="l" defTabSz="914400" rtl="0" eaLnBrk="1" fontAlgn="base" latinLnBrk="0" hangingPunct="1">
              <a:lnSpc>
                <a:spcPct val="100000"/>
              </a:lnSpc>
              <a:spcBef>
                <a:spcPts val="1000"/>
              </a:spcBef>
              <a:spcAft>
                <a:spcPts val="600"/>
              </a:spcAft>
              <a:buClrTx/>
              <a:buSzTx/>
              <a:buFontTx/>
              <a:buNone/>
              <a:tabLst/>
              <a:defRPr/>
            </a:pPr>
            <a:endParaRPr kumimoji="0" lang="en-IE" sz="1400" b="0" i="0" u="none" strike="noStrike" kern="1200" cap="none" spc="0" normalizeH="0" baseline="0" noProof="0" dirty="0">
              <a:ln>
                <a:noFill/>
              </a:ln>
              <a:solidFill>
                <a:srgbClr val="FF0000"/>
              </a:solidFill>
              <a:effectLst/>
              <a:uLnTx/>
              <a:uFillTx/>
              <a:latin typeface="Tw Cen MT"/>
              <a:ea typeface="ヒラギノ角ゴ Pro W3"/>
              <a:cs typeface="+mn-cs"/>
            </a:endParaRPr>
          </a:p>
          <a:p>
            <a:pPr marL="11113" marR="0" lvl="0" indent="0" algn="l" defTabSz="914400" rtl="0" eaLnBrk="1" fontAlgn="base" latinLnBrk="0" hangingPunct="1">
              <a:lnSpc>
                <a:spcPct val="100000"/>
              </a:lnSpc>
              <a:spcBef>
                <a:spcPts val="1000"/>
              </a:spcBef>
              <a:spcAft>
                <a:spcPts val="600"/>
              </a:spcAft>
              <a:buClrTx/>
              <a:buSzTx/>
              <a:buFontTx/>
              <a:buNone/>
              <a:tabLst/>
              <a:defRPr/>
            </a:pPr>
            <a:endParaRPr kumimoji="0" lang="en-CA" sz="1600" b="0" i="0" u="none" strike="noStrike" kern="1200" cap="none" spc="0" normalizeH="0" baseline="0" noProof="0" dirty="0">
              <a:ln>
                <a:noFill/>
              </a:ln>
              <a:solidFill>
                <a:srgbClr val="002F6C"/>
              </a:solidFill>
              <a:effectLst/>
              <a:uLnTx/>
              <a:uFillTx/>
              <a:latin typeface="Tw Cen MT"/>
              <a:ea typeface="Times New Roman" panose="02020603050405020304" pitchFamily="18" charset="0"/>
              <a:cs typeface="+mn-cs"/>
            </a:endParaRPr>
          </a:p>
        </p:txBody>
      </p:sp>
      <p:sp>
        <p:nvSpPr>
          <p:cNvPr id="27" name="Rectangle 2">
            <a:extLst>
              <a:ext uri="{FF2B5EF4-FFF2-40B4-BE49-F238E27FC236}">
                <a16:creationId xmlns:a16="http://schemas.microsoft.com/office/drawing/2014/main" id="{2B9CB0F2-7BE8-9165-4194-7525D0A4F648}"/>
              </a:ext>
            </a:extLst>
          </p:cNvPr>
          <p:cNvSpPr/>
          <p:nvPr/>
        </p:nvSpPr>
        <p:spPr>
          <a:xfrm>
            <a:off x="8368937" y="2025896"/>
            <a:ext cx="3196046" cy="451336"/>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grpSp>
        <p:nvGrpSpPr>
          <p:cNvPr id="28" name="Group 5">
            <a:extLst>
              <a:ext uri="{FF2B5EF4-FFF2-40B4-BE49-F238E27FC236}">
                <a16:creationId xmlns:a16="http://schemas.microsoft.com/office/drawing/2014/main" id="{662865C0-A14D-38F7-F2F4-8D728D97151F}"/>
              </a:ext>
            </a:extLst>
          </p:cNvPr>
          <p:cNvGrpSpPr/>
          <p:nvPr/>
        </p:nvGrpSpPr>
        <p:grpSpPr>
          <a:xfrm>
            <a:off x="8501178" y="2869897"/>
            <a:ext cx="2469273" cy="1831172"/>
            <a:chOff x="9618463" y="2760434"/>
            <a:chExt cx="2469273" cy="1831172"/>
          </a:xfrm>
        </p:grpSpPr>
        <p:sp>
          <p:nvSpPr>
            <p:cNvPr id="29" name="TextBox 6">
              <a:extLst>
                <a:ext uri="{FF2B5EF4-FFF2-40B4-BE49-F238E27FC236}">
                  <a16:creationId xmlns:a16="http://schemas.microsoft.com/office/drawing/2014/main" id="{4A9CBA9C-37E6-EDFA-7A35-B77A40FA53B1}"/>
                </a:ext>
              </a:extLst>
            </p:cNvPr>
            <p:cNvSpPr txBox="1"/>
            <p:nvPr/>
          </p:nvSpPr>
          <p:spPr>
            <a:xfrm>
              <a:off x="9735146" y="4047867"/>
              <a:ext cx="881972" cy="543739"/>
            </a:xfrm>
            <a:prstGeom prst="rect">
              <a:avLst/>
            </a:prstGeom>
            <a:noFill/>
          </p:spPr>
          <p:txBody>
            <a:bodyPr wrap="none" rtlCol="0">
              <a:spAutoFit/>
            </a:bodyPr>
            <a:lstStyle/>
            <a:p>
              <a:pPr algn="ctr">
                <a:defRPr/>
              </a:pPr>
              <a:r>
                <a:rPr lang="en-GB" sz="1100">
                  <a:solidFill>
                    <a:srgbClr val="001E60"/>
                  </a:solidFill>
                  <a:latin typeface="Tw Cen MT"/>
                </a:rPr>
                <a:t>Normal red</a:t>
              </a:r>
            </a:p>
            <a:p>
              <a:pPr algn="ctr">
                <a:defRPr/>
              </a:pPr>
              <a:r>
                <a:rPr lang="en-GB" sz="1100">
                  <a:solidFill>
                    <a:srgbClr val="001E60"/>
                  </a:solidFill>
                  <a:latin typeface="Tw Cen MT"/>
                </a:rPr>
                <a:t>cells</a:t>
              </a:r>
              <a:r>
                <a:rPr lang="en-GB" sz="1100" baseline="30000">
                  <a:solidFill>
                    <a:srgbClr val="001E60"/>
                  </a:solidFill>
                  <a:latin typeface="Tw Cen MT"/>
                </a:rPr>
                <a:t>1</a:t>
              </a:r>
            </a:p>
            <a:p>
              <a:pPr algn="ctr">
                <a:defRPr/>
              </a:pPr>
              <a:endParaRPr lang="en-GB" sz="1100" baseline="30000">
                <a:solidFill>
                  <a:srgbClr val="001E60"/>
                </a:solidFill>
                <a:latin typeface="Tw Cen MT"/>
              </a:endParaRPr>
            </a:p>
          </p:txBody>
        </p:sp>
        <p:sp>
          <p:nvSpPr>
            <p:cNvPr id="30" name="TextBox 10">
              <a:extLst>
                <a:ext uri="{FF2B5EF4-FFF2-40B4-BE49-F238E27FC236}">
                  <a16:creationId xmlns:a16="http://schemas.microsoft.com/office/drawing/2014/main" id="{42C73BFD-CBA9-E3AC-0C78-63231917246B}"/>
                </a:ext>
              </a:extLst>
            </p:cNvPr>
            <p:cNvSpPr txBox="1"/>
            <p:nvPr/>
          </p:nvSpPr>
          <p:spPr>
            <a:xfrm>
              <a:off x="9621547" y="2760434"/>
              <a:ext cx="2463106" cy="307779"/>
            </a:xfrm>
            <a:prstGeom prst="rect">
              <a:avLst/>
            </a:prstGeom>
            <a:noFill/>
          </p:spPr>
          <p:txBody>
            <a:bodyPr wrap="square" rtlCol="0">
              <a:spAutoFit/>
            </a:bodyPr>
            <a:lstStyle/>
            <a:p>
              <a:pPr algn="ctr">
                <a:buClr>
                  <a:srgbClr val="002F6C"/>
                </a:buClr>
                <a:defRPr/>
              </a:pPr>
              <a:r>
                <a:rPr lang="en-GB" sz="1400" b="1">
                  <a:solidFill>
                    <a:srgbClr val="002F6C">
                      <a:lumMod val="75000"/>
                    </a:srgbClr>
                  </a:solidFill>
                  <a:latin typeface="Tw Cen MT"/>
                </a:rPr>
                <a:t>No hemolysis</a:t>
              </a:r>
              <a:r>
                <a:rPr lang="en-GB" sz="1400" b="1" baseline="30000">
                  <a:solidFill>
                    <a:srgbClr val="002F6C">
                      <a:lumMod val="75000"/>
                    </a:srgbClr>
                  </a:solidFill>
                  <a:latin typeface="Tw Cen MT"/>
                </a:rPr>
                <a:t>1</a:t>
              </a:r>
            </a:p>
          </p:txBody>
        </p:sp>
        <p:pic>
          <p:nvPicPr>
            <p:cNvPr id="31" name="Picture 11">
              <a:extLst>
                <a:ext uri="{FF2B5EF4-FFF2-40B4-BE49-F238E27FC236}">
                  <a16:creationId xmlns:a16="http://schemas.microsoft.com/office/drawing/2014/main" id="{D0BE158A-8363-029A-1196-D7FBDBCE1AED}"/>
                </a:ext>
              </a:extLst>
            </p:cNvPr>
            <p:cNvPicPr>
              <a:picLocks noChangeAspect="1"/>
            </p:cNvPicPr>
            <p:nvPr/>
          </p:nvPicPr>
          <p:blipFill rotWithShape="1">
            <a:blip r:embed="rId3"/>
            <a:srcRect l="2759" t="3840" r="26065" b="3118"/>
            <a:stretch/>
          </p:blipFill>
          <p:spPr>
            <a:xfrm>
              <a:off x="9618463" y="3117640"/>
              <a:ext cx="2469273" cy="860524"/>
            </a:xfrm>
            <a:prstGeom prst="rect">
              <a:avLst/>
            </a:prstGeom>
          </p:spPr>
        </p:pic>
      </p:grpSp>
      <p:grpSp>
        <p:nvGrpSpPr>
          <p:cNvPr id="32" name="Group 13">
            <a:extLst>
              <a:ext uri="{FF2B5EF4-FFF2-40B4-BE49-F238E27FC236}">
                <a16:creationId xmlns:a16="http://schemas.microsoft.com/office/drawing/2014/main" id="{16902BA7-F798-272C-FBBF-625CC99A885E}"/>
              </a:ext>
            </a:extLst>
          </p:cNvPr>
          <p:cNvGrpSpPr/>
          <p:nvPr/>
        </p:nvGrpSpPr>
        <p:grpSpPr>
          <a:xfrm>
            <a:off x="10849228" y="2928209"/>
            <a:ext cx="1431510" cy="1766752"/>
            <a:chOff x="7731873" y="2832444"/>
            <a:chExt cx="1478812" cy="1825139"/>
          </a:xfrm>
        </p:grpSpPr>
        <p:sp>
          <p:nvSpPr>
            <p:cNvPr id="33" name="TextBox 14">
              <a:extLst>
                <a:ext uri="{FF2B5EF4-FFF2-40B4-BE49-F238E27FC236}">
                  <a16:creationId xmlns:a16="http://schemas.microsoft.com/office/drawing/2014/main" id="{2253B88E-346F-E905-4FCF-F95C80810C32}"/>
                </a:ext>
              </a:extLst>
            </p:cNvPr>
            <p:cNvSpPr txBox="1"/>
            <p:nvPr/>
          </p:nvSpPr>
          <p:spPr>
            <a:xfrm>
              <a:off x="7731873" y="4057419"/>
              <a:ext cx="1367997" cy="600164"/>
            </a:xfrm>
            <a:prstGeom prst="rect">
              <a:avLst/>
            </a:prstGeom>
            <a:noFill/>
          </p:spPr>
          <p:txBody>
            <a:bodyPr wrap="square" rtlCol="0">
              <a:spAutoFit/>
            </a:bodyPr>
            <a:lstStyle/>
            <a:p>
              <a:pPr algn="ctr">
                <a:defRPr/>
              </a:pPr>
              <a:r>
                <a:rPr lang="en-GB" sz="1100">
                  <a:solidFill>
                    <a:srgbClr val="001E60"/>
                  </a:solidFill>
                  <a:latin typeface="Tw Cen MT"/>
                </a:rPr>
                <a:t>Phagocytosed </a:t>
              </a:r>
            </a:p>
            <a:p>
              <a:pPr algn="ctr">
                <a:defRPr/>
              </a:pPr>
              <a:r>
                <a:rPr lang="en-GB" sz="1100">
                  <a:solidFill>
                    <a:srgbClr val="001E60"/>
                  </a:solidFill>
                  <a:latin typeface="Tw Cen MT"/>
                </a:rPr>
                <a:t>C3-bound </a:t>
              </a:r>
            </a:p>
            <a:p>
              <a:pPr algn="ctr">
                <a:defRPr/>
              </a:pPr>
              <a:r>
                <a:rPr lang="en-GB" sz="1100">
                  <a:solidFill>
                    <a:srgbClr val="001E60"/>
                  </a:solidFill>
                  <a:latin typeface="Tw Cen MT"/>
                </a:rPr>
                <a:t>PNH red cells</a:t>
              </a:r>
              <a:r>
                <a:rPr lang="en-GB" sz="1100" baseline="30000">
                  <a:solidFill>
                    <a:srgbClr val="001E60"/>
                  </a:solidFill>
                  <a:latin typeface="Tw Cen MT"/>
                </a:rPr>
                <a:t>1</a:t>
              </a:r>
              <a:endParaRPr lang="en-GB" sz="1100">
                <a:solidFill>
                  <a:srgbClr val="001E60"/>
                </a:solidFill>
                <a:latin typeface="Tw Cen MT"/>
              </a:endParaRPr>
            </a:p>
          </p:txBody>
        </p:sp>
        <p:sp>
          <p:nvSpPr>
            <p:cNvPr id="34" name="TextBox 19">
              <a:extLst>
                <a:ext uri="{FF2B5EF4-FFF2-40B4-BE49-F238E27FC236}">
                  <a16:creationId xmlns:a16="http://schemas.microsoft.com/office/drawing/2014/main" id="{D4224056-B68B-A4B0-0D2B-FF8949AE943E}"/>
                </a:ext>
              </a:extLst>
            </p:cNvPr>
            <p:cNvSpPr txBox="1"/>
            <p:nvPr/>
          </p:nvSpPr>
          <p:spPr>
            <a:xfrm>
              <a:off x="7830181" y="2832444"/>
              <a:ext cx="1380504" cy="307777"/>
            </a:xfrm>
            <a:prstGeom prst="rect">
              <a:avLst/>
            </a:prstGeom>
            <a:noFill/>
          </p:spPr>
          <p:txBody>
            <a:bodyPr wrap="none" rtlCol="0">
              <a:spAutoFit/>
            </a:bodyPr>
            <a:lstStyle/>
            <a:p>
              <a:pPr algn="ctr">
                <a:buClr>
                  <a:srgbClr val="002F6C"/>
                </a:buClr>
                <a:defRPr/>
              </a:pPr>
              <a:r>
                <a:rPr lang="en-GB" sz="1400" b="1">
                  <a:solidFill>
                    <a:srgbClr val="C00000"/>
                  </a:solidFill>
                  <a:latin typeface="Tw Cen MT"/>
                </a:rPr>
                <a:t>Chronic EVH</a:t>
              </a:r>
              <a:r>
                <a:rPr lang="en-GB" sz="1400" b="1" baseline="30000">
                  <a:solidFill>
                    <a:srgbClr val="C00000"/>
                  </a:solidFill>
                  <a:latin typeface="Tw Cen MT"/>
                </a:rPr>
                <a:t>1</a:t>
              </a:r>
            </a:p>
          </p:txBody>
        </p:sp>
        <p:pic>
          <p:nvPicPr>
            <p:cNvPr id="35" name="Picture 20">
              <a:extLst>
                <a:ext uri="{FF2B5EF4-FFF2-40B4-BE49-F238E27FC236}">
                  <a16:creationId xmlns:a16="http://schemas.microsoft.com/office/drawing/2014/main" id="{F89D7508-6387-247E-7893-2C906E593D44}"/>
                </a:ext>
              </a:extLst>
            </p:cNvPr>
            <p:cNvPicPr>
              <a:picLocks noChangeAspect="1"/>
            </p:cNvPicPr>
            <p:nvPr/>
          </p:nvPicPr>
          <p:blipFill rotWithShape="1">
            <a:blip r:embed="rId3"/>
            <a:srcRect l="74011" t="3398" b="7650"/>
            <a:stretch/>
          </p:blipFill>
          <p:spPr>
            <a:xfrm>
              <a:off x="7940698" y="3130983"/>
              <a:ext cx="936003" cy="854088"/>
            </a:xfrm>
            <a:prstGeom prst="rect">
              <a:avLst/>
            </a:prstGeom>
          </p:spPr>
        </p:pic>
      </p:grpSp>
      <p:sp>
        <p:nvSpPr>
          <p:cNvPr id="36" name="TextBox 21">
            <a:extLst>
              <a:ext uri="{FF2B5EF4-FFF2-40B4-BE49-F238E27FC236}">
                <a16:creationId xmlns:a16="http://schemas.microsoft.com/office/drawing/2014/main" id="{29476087-D821-D2A0-A349-0F147EC0CDE3}"/>
              </a:ext>
            </a:extLst>
          </p:cNvPr>
          <p:cNvSpPr txBox="1"/>
          <p:nvPr/>
        </p:nvSpPr>
        <p:spPr>
          <a:xfrm>
            <a:off x="9555138" y="4136424"/>
            <a:ext cx="763349" cy="430887"/>
          </a:xfrm>
          <a:prstGeom prst="rect">
            <a:avLst/>
          </a:prstGeom>
          <a:noFill/>
        </p:spPr>
        <p:txBody>
          <a:bodyPr wrap="square" rtlCol="0">
            <a:spAutoFit/>
          </a:bodyPr>
          <a:lstStyle>
            <a:defPPr>
              <a:defRPr lang="en-US"/>
            </a:defPPr>
            <a:lvl1pPr>
              <a:defRPr sz="1200"/>
            </a:lvl1pPr>
          </a:lstStyle>
          <a:p>
            <a:pPr algn="ctr">
              <a:defRPr/>
            </a:pPr>
            <a:r>
              <a:rPr lang="en-GB" sz="1100">
                <a:solidFill>
                  <a:srgbClr val="001E60"/>
                </a:solidFill>
                <a:latin typeface="Tw Cen MT"/>
              </a:rPr>
              <a:t>PNH </a:t>
            </a:r>
          </a:p>
          <a:p>
            <a:pPr algn="ctr">
              <a:defRPr/>
            </a:pPr>
            <a:r>
              <a:rPr lang="en-GB" sz="1100">
                <a:solidFill>
                  <a:srgbClr val="001E60"/>
                </a:solidFill>
                <a:latin typeface="Tw Cen MT"/>
              </a:rPr>
              <a:t>red cells</a:t>
            </a:r>
            <a:r>
              <a:rPr lang="en-GB" sz="1100" baseline="30000">
                <a:solidFill>
                  <a:srgbClr val="001E60"/>
                </a:solidFill>
                <a:latin typeface="Tw Cen MT"/>
              </a:rPr>
              <a:t>1</a:t>
            </a:r>
          </a:p>
        </p:txBody>
      </p:sp>
      <p:sp>
        <p:nvSpPr>
          <p:cNvPr id="37" name="TextBox 22">
            <a:extLst>
              <a:ext uri="{FF2B5EF4-FFF2-40B4-BE49-F238E27FC236}">
                <a16:creationId xmlns:a16="http://schemas.microsoft.com/office/drawing/2014/main" id="{CDE490E1-2651-E23E-CF98-52D601F1489D}"/>
              </a:ext>
            </a:extLst>
          </p:cNvPr>
          <p:cNvSpPr txBox="1"/>
          <p:nvPr/>
        </p:nvSpPr>
        <p:spPr>
          <a:xfrm>
            <a:off x="10250371" y="4119785"/>
            <a:ext cx="843501" cy="600164"/>
          </a:xfrm>
          <a:prstGeom prst="rect">
            <a:avLst/>
          </a:prstGeom>
          <a:noFill/>
        </p:spPr>
        <p:txBody>
          <a:bodyPr wrap="square" rtlCol="0">
            <a:spAutoFit/>
          </a:bodyPr>
          <a:lstStyle>
            <a:defPPr>
              <a:defRPr lang="en-US"/>
            </a:defPPr>
            <a:lvl1pPr>
              <a:defRPr sz="1200"/>
            </a:lvl1pPr>
          </a:lstStyle>
          <a:p>
            <a:pPr algn="ctr">
              <a:defRPr/>
            </a:pPr>
            <a:r>
              <a:rPr lang="en-GB" sz="1100">
                <a:solidFill>
                  <a:srgbClr val="001E60"/>
                </a:solidFill>
                <a:latin typeface="Tw Cen MT"/>
              </a:rPr>
              <a:t>C3-bound </a:t>
            </a:r>
          </a:p>
          <a:p>
            <a:pPr algn="ctr">
              <a:defRPr/>
            </a:pPr>
            <a:r>
              <a:rPr lang="en-GB" sz="1100">
                <a:solidFill>
                  <a:srgbClr val="001E60"/>
                </a:solidFill>
                <a:latin typeface="Tw Cen MT"/>
              </a:rPr>
              <a:t>PNH red </a:t>
            </a:r>
          </a:p>
          <a:p>
            <a:pPr algn="ctr">
              <a:defRPr/>
            </a:pPr>
            <a:r>
              <a:rPr lang="en-GB" sz="1100">
                <a:solidFill>
                  <a:srgbClr val="001E60"/>
                </a:solidFill>
                <a:latin typeface="Tw Cen MT"/>
              </a:rPr>
              <a:t>cells</a:t>
            </a:r>
            <a:r>
              <a:rPr lang="en-GB" sz="1100" baseline="30000">
                <a:solidFill>
                  <a:srgbClr val="001E60"/>
                </a:solidFill>
                <a:latin typeface="Tw Cen MT"/>
              </a:rPr>
              <a:t>1</a:t>
            </a:r>
            <a:endParaRPr lang="en-IE" sz="1100" baseline="30000">
              <a:solidFill>
                <a:srgbClr val="001E60"/>
              </a:solidFill>
              <a:latin typeface="Tw Cen MT"/>
            </a:endParaRPr>
          </a:p>
        </p:txBody>
      </p:sp>
    </p:spTree>
    <p:extLst>
      <p:ext uri="{BB962C8B-B14F-4D97-AF65-F5344CB8AC3E}">
        <p14:creationId xmlns:p14="http://schemas.microsoft.com/office/powerpoint/2010/main" val="2458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11">
            <a:extLst>
              <a:ext uri="{FF2B5EF4-FFF2-40B4-BE49-F238E27FC236}">
                <a16:creationId xmlns:a16="http://schemas.microsoft.com/office/drawing/2014/main" id="{D7B5B625-D677-3562-5BF8-3FCA3FCD9C60}"/>
              </a:ext>
            </a:extLst>
          </p:cNvPr>
          <p:cNvGrpSpPr/>
          <p:nvPr/>
        </p:nvGrpSpPr>
        <p:grpSpPr>
          <a:xfrm>
            <a:off x="4257236" y="1760196"/>
            <a:ext cx="6074593" cy="3421562"/>
            <a:chOff x="5644446" y="1477816"/>
            <a:chExt cx="6074593" cy="3421562"/>
          </a:xfrm>
        </p:grpSpPr>
        <p:pic>
          <p:nvPicPr>
            <p:cNvPr id="22" name="Picture 6" descr="Diagram&#10;&#10;Description automatically generated">
              <a:extLst>
                <a:ext uri="{FF2B5EF4-FFF2-40B4-BE49-F238E27FC236}">
                  <a16:creationId xmlns:a16="http://schemas.microsoft.com/office/drawing/2014/main" id="{AA7C1B00-C894-8B24-1EBC-7990E9DD211D}"/>
                </a:ext>
              </a:extLst>
            </p:cNvPr>
            <p:cNvPicPr>
              <a:picLocks noChangeAspect="1"/>
            </p:cNvPicPr>
            <p:nvPr/>
          </p:nvPicPr>
          <p:blipFill rotWithShape="1">
            <a:blip r:embed="rId2"/>
            <a:srcRect l="26415" t="18113" r="39984"/>
            <a:stretch/>
          </p:blipFill>
          <p:spPr>
            <a:xfrm>
              <a:off x="5644446" y="1595428"/>
              <a:ext cx="2758358" cy="3303950"/>
            </a:xfrm>
            <a:prstGeom prst="rect">
              <a:avLst/>
            </a:prstGeom>
          </p:spPr>
        </p:pic>
        <p:sp>
          <p:nvSpPr>
            <p:cNvPr id="23" name="Round Diagonal Corner Rectangle 2">
              <a:extLst>
                <a:ext uri="{FF2B5EF4-FFF2-40B4-BE49-F238E27FC236}">
                  <a16:creationId xmlns:a16="http://schemas.microsoft.com/office/drawing/2014/main" id="{F69F20B8-98B3-73DA-F2A6-55E7811EE043}"/>
                </a:ext>
              </a:extLst>
            </p:cNvPr>
            <p:cNvSpPr/>
            <p:nvPr/>
          </p:nvSpPr>
          <p:spPr>
            <a:xfrm>
              <a:off x="10782061" y="1477816"/>
              <a:ext cx="936978" cy="275718"/>
            </a:xfrm>
            <a:prstGeom prst="round2Diag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grpSp>
      <p:sp>
        <p:nvSpPr>
          <p:cNvPr id="24" name="Pentagon 7">
            <a:extLst>
              <a:ext uri="{FF2B5EF4-FFF2-40B4-BE49-F238E27FC236}">
                <a16:creationId xmlns:a16="http://schemas.microsoft.com/office/drawing/2014/main" id="{FBB438F2-35E2-270D-89C5-3DF054AA4B68}"/>
              </a:ext>
            </a:extLst>
          </p:cNvPr>
          <p:cNvSpPr/>
          <p:nvPr/>
        </p:nvSpPr>
        <p:spPr>
          <a:xfrm>
            <a:off x="78377" y="1422214"/>
            <a:ext cx="4995539" cy="3968126"/>
          </a:xfrm>
          <a:prstGeom prst="homePlate">
            <a:avLst>
              <a:gd name="adj" fmla="val 39331"/>
            </a:avLst>
          </a:prstGeom>
          <a:solidFill>
            <a:srgbClr val="F3F4F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sp>
        <p:nvSpPr>
          <p:cNvPr id="25" name="Title 1">
            <a:extLst>
              <a:ext uri="{FF2B5EF4-FFF2-40B4-BE49-F238E27FC236}">
                <a16:creationId xmlns:a16="http://schemas.microsoft.com/office/drawing/2014/main" id="{304B344E-4376-AE52-EB71-63DDE4F81A35}"/>
              </a:ext>
            </a:extLst>
          </p:cNvPr>
          <p:cNvSpPr txBox="1">
            <a:spLocks/>
          </p:cNvSpPr>
          <p:nvPr/>
        </p:nvSpPr>
        <p:spPr bwMode="auto">
          <a:xfrm>
            <a:off x="838200" y="472610"/>
            <a:ext cx="10515600" cy="68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rtl="0" eaLnBrk="1" fontAlgn="base" hangingPunct="1">
              <a:lnSpc>
                <a:spcPct val="90000"/>
              </a:lnSpc>
              <a:spcBef>
                <a:spcPct val="0"/>
              </a:spcBef>
              <a:spcAft>
                <a:spcPct val="0"/>
              </a:spcAft>
              <a:defRPr lang="en-US" sz="3200" b="1" i="0" kern="1200" cap="none" spc="0" baseline="0" noProof="0" dirty="0" smtClean="0">
                <a:solidFill>
                  <a:schemeClr val="tx1"/>
                </a:solidFill>
                <a:latin typeface="Tw Cen MT" panose="020B0602020104020603" pitchFamily="34" charset="77"/>
                <a:ea typeface="+mn-ea"/>
                <a:cs typeface="Arial" panose="020B0604020202020204" pitchFamily="34" charset="0"/>
              </a:defRPr>
            </a:lvl1pPr>
            <a:lvl2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2pPr>
            <a:lvl3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3pPr>
            <a:lvl4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4pPr>
            <a:lvl5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5pPr>
            <a:lvl6pPr marL="4572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6pPr>
            <a:lvl7pPr marL="9144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7pPr>
            <a:lvl8pPr marL="13716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8pPr>
            <a:lvl9pPr marL="18288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GB" dirty="0">
                <a:gradFill>
                  <a:gsLst>
                    <a:gs pos="0">
                      <a:schemeClr val="accent1"/>
                    </a:gs>
                    <a:gs pos="100000">
                      <a:schemeClr val="bg2"/>
                    </a:gs>
                  </a:gsLst>
                  <a:lin ang="2700000" scaled="0"/>
                </a:gradFill>
                <a:latin typeface="Calisto MT"/>
                <a:cs typeface="+mn-cs"/>
              </a:rPr>
              <a:t>Incomplete terminal complement inhibition </a:t>
            </a:r>
          </a:p>
        </p:txBody>
      </p:sp>
      <p:sp>
        <p:nvSpPr>
          <p:cNvPr id="26" name="Text Placeholder 3">
            <a:extLst>
              <a:ext uri="{FF2B5EF4-FFF2-40B4-BE49-F238E27FC236}">
                <a16:creationId xmlns:a16="http://schemas.microsoft.com/office/drawing/2014/main" id="{88CBFF42-FE23-4F60-247B-851F3D5FE4D0}"/>
              </a:ext>
            </a:extLst>
          </p:cNvPr>
          <p:cNvSpPr txBox="1">
            <a:spLocks/>
          </p:cNvSpPr>
          <p:nvPr/>
        </p:nvSpPr>
        <p:spPr bwMode="auto">
          <a:xfrm>
            <a:off x="506828" y="1466813"/>
            <a:ext cx="3435585" cy="2978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lnSpc>
                <a:spcPts val="2600"/>
              </a:lnSpc>
              <a:spcBef>
                <a:spcPts val="1000"/>
              </a:spcBef>
              <a:spcAft>
                <a:spcPts val="600"/>
              </a:spcAft>
              <a:buFontTx/>
              <a:buNone/>
              <a:defRPr sz="2000" b="0" i="0" kern="1200">
                <a:solidFill>
                  <a:schemeClr val="tx2"/>
                </a:solidFill>
                <a:latin typeface="+mn-lt"/>
                <a:ea typeface="ヒラギノ角ゴ Pro W3" panose="020B0300000000000000" pitchFamily="34" charset="-128"/>
                <a:cs typeface="+mn-cs"/>
              </a:defRPr>
            </a:lvl1pPr>
            <a:lvl2pPr marL="8001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2pPr>
            <a:lvl3pPr marL="1257300" indent="-34290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3pPr>
            <a:lvl4pPr marL="16573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4pPr>
            <a:lvl5pPr marL="2114550" indent="-285750" algn="l" rtl="0" eaLnBrk="1" fontAlgn="base" hangingPunct="1">
              <a:lnSpc>
                <a:spcPct val="100000"/>
              </a:lnSpc>
              <a:spcBef>
                <a:spcPts val="500"/>
              </a:spcBef>
              <a:spcAft>
                <a:spcPts val="0"/>
              </a:spcAft>
              <a:buSzPct val="95000"/>
              <a:buFont typeface="Arial" panose="020B0604020202020204" pitchFamily="34" charset="0"/>
              <a:buChar char="•"/>
              <a:defRPr sz="1800" b="0" i="0" kern="1200">
                <a:solidFill>
                  <a:schemeClr val="tx2"/>
                </a:solidFill>
                <a:latin typeface="+mn-lt"/>
                <a:ea typeface="ヒラギノ角ゴ Pro W3"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1000"/>
              </a:spcBef>
              <a:spcAft>
                <a:spcPts val="600"/>
              </a:spcAft>
              <a:buClrTx/>
              <a:buSzTx/>
              <a:buFontTx/>
              <a:buNone/>
              <a:tabLst/>
              <a:defRPr/>
            </a:pPr>
            <a:r>
              <a:rPr kumimoji="0" lang="en-CA" sz="1400" b="0"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Intravascular hemolysis can still occur with complement C5 blockade in the form of </a:t>
            </a:r>
            <a:r>
              <a:rPr kumimoji="0" lang="en-CA" sz="1400" b="1" i="0" u="none" strike="noStrike" kern="1200" cap="none" spc="0" normalizeH="0" baseline="0" noProof="0">
                <a:ln>
                  <a:noFill/>
                </a:ln>
                <a:solidFill>
                  <a:srgbClr val="002F6C"/>
                </a:solidFill>
                <a:effectLst/>
                <a:uLnTx/>
                <a:uFillTx/>
                <a:latin typeface="Tw Cen MT"/>
                <a:ea typeface="ヒラギノ角ゴ Pro W3" panose="020B0300000000000000" pitchFamily="34" charset="-128"/>
                <a:cs typeface="+mn-cs"/>
              </a:rPr>
              <a:t>breakthrough intravascular hemolysis (BTH)</a:t>
            </a:r>
          </a:p>
          <a:p>
            <a:pPr marL="0" marR="0" lvl="0" indent="0" algn="l" defTabSz="914400" rtl="0" eaLnBrk="1" fontAlgn="base" latinLnBrk="0" hangingPunct="1">
              <a:lnSpc>
                <a:spcPct val="100000"/>
              </a:lnSpc>
              <a:spcBef>
                <a:spcPts val="1000"/>
              </a:spcBef>
              <a:spcAft>
                <a:spcPts val="600"/>
              </a:spcAft>
              <a:buClrTx/>
              <a:buSzTx/>
              <a:buFontTx/>
              <a:buNone/>
              <a:tabLst/>
              <a:defRPr/>
            </a:pPr>
            <a:r>
              <a:rPr kumimoji="0" lang="en-CA" sz="1400" b="0" i="0" u="none" strike="noStrike" kern="1200" cap="none" spc="0" normalizeH="0" baseline="0" noProof="0">
                <a:ln>
                  <a:noFill/>
                </a:ln>
                <a:solidFill>
                  <a:srgbClr val="002F6C"/>
                </a:solidFill>
                <a:effectLst/>
                <a:uLnTx/>
                <a:uFillTx/>
                <a:latin typeface="Tw Cen MT"/>
                <a:ea typeface="ヒラギノ角ゴ Pro W3" panose="020B0300000000000000" pitchFamily="34" charset="-128"/>
                <a:cs typeface="+mn-cs"/>
              </a:rPr>
              <a:t>BTH </a:t>
            </a:r>
            <a:r>
              <a:rPr kumimoji="0" lang="en-CA" sz="1400" b="0"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is marked by the reappearance of signs and symptoms of IVH, which may include hemoglobinuria, marked increase in LDH level, and a sharp decrease in hemoglobin levels </a:t>
            </a:r>
          </a:p>
          <a:p>
            <a:pPr marL="0" marR="0" lvl="0" indent="0" algn="l" defTabSz="914400" rtl="0" eaLnBrk="1" fontAlgn="base" latinLnBrk="0" hangingPunct="1">
              <a:lnSpc>
                <a:spcPct val="100000"/>
              </a:lnSpc>
              <a:spcBef>
                <a:spcPts val="1000"/>
              </a:spcBef>
              <a:spcAft>
                <a:spcPts val="600"/>
              </a:spcAft>
              <a:buClrTx/>
              <a:buSzTx/>
              <a:buFontTx/>
              <a:buNone/>
              <a:tabLst/>
              <a:defRPr/>
            </a:pPr>
            <a:r>
              <a:rPr kumimoji="0" lang="en-CA" sz="1400" b="0"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BTH is attributed to suboptimal C5 inhibition; its cause may be </a:t>
            </a:r>
            <a:r>
              <a:rPr kumimoji="0" lang="en-CA" sz="1400" b="1"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pharmacokinetic</a:t>
            </a:r>
            <a:r>
              <a:rPr kumimoji="0" lang="en-CA" sz="1400" b="0"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 (due to low levels of C5 inhibitor) or </a:t>
            </a:r>
            <a:r>
              <a:rPr kumimoji="0" lang="en-CA" sz="1400" b="1"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pharmacodynamic</a:t>
            </a:r>
            <a:r>
              <a:rPr kumimoji="0" lang="en-CA" sz="1400" b="0" i="0" u="none" strike="noStrike" kern="1200" cap="none" spc="0" normalizeH="0" baseline="0" noProof="0">
                <a:ln>
                  <a:noFill/>
                </a:ln>
                <a:solidFill>
                  <a:srgbClr val="002F6C"/>
                </a:solidFill>
                <a:effectLst/>
                <a:uLnTx/>
                <a:uFillTx/>
                <a:latin typeface="Tw Cen MT"/>
                <a:ea typeface="Times New Roman" panose="02020603050405020304" pitchFamily="18" charset="0"/>
                <a:cs typeface="+mn-cs"/>
              </a:rPr>
              <a:t>, as when infection or inflammation elicits strong complement activation and breaks though the C5 blockade</a:t>
            </a:r>
          </a:p>
        </p:txBody>
      </p:sp>
      <p:sp>
        <p:nvSpPr>
          <p:cNvPr id="27" name="TextBox 8">
            <a:extLst>
              <a:ext uri="{FF2B5EF4-FFF2-40B4-BE49-F238E27FC236}">
                <a16:creationId xmlns:a16="http://schemas.microsoft.com/office/drawing/2014/main" id="{339B5278-3242-7F61-695E-904332C06A03}"/>
              </a:ext>
            </a:extLst>
          </p:cNvPr>
          <p:cNvSpPr txBox="1"/>
          <p:nvPr/>
        </p:nvSpPr>
        <p:spPr>
          <a:xfrm>
            <a:off x="825842" y="5399879"/>
            <a:ext cx="10327580" cy="707886"/>
          </a:xfrm>
          <a:prstGeom prst="rect">
            <a:avLst/>
          </a:prstGeom>
          <a:noFill/>
        </p:spPr>
        <p:txBody>
          <a:bodyPr wrap="square" rtlCol="0">
            <a:spAutoFit/>
          </a:bodyPr>
          <a:lstStyle/>
          <a:p>
            <a:pPr>
              <a:defRPr/>
            </a:pPr>
            <a:endParaRPr lang="en-US" sz="1000">
              <a:solidFill>
                <a:srgbClr val="6E6159"/>
              </a:solidFill>
              <a:latin typeface="Tw Cen MT"/>
              <a:ea typeface="Times New Roman" panose="02020603050405020304" pitchFamily="18" charset="0"/>
            </a:endParaRPr>
          </a:p>
          <a:p>
            <a:pPr>
              <a:defRPr/>
            </a:pPr>
            <a:r>
              <a:rPr lang="en-US" sz="1000">
                <a:solidFill>
                  <a:srgbClr val="6E6159"/>
                </a:solidFill>
                <a:latin typeface="Tw Cen MT"/>
                <a:ea typeface="Times New Roman" panose="02020603050405020304" pitchFamily="18" charset="0"/>
              </a:rPr>
              <a:t>Figure adapted from </a:t>
            </a:r>
            <a:r>
              <a:rPr lang="en-US" sz="1000" err="1">
                <a:solidFill>
                  <a:srgbClr val="6E6159"/>
                </a:solidFill>
                <a:latin typeface="Tw Cen MT"/>
                <a:ea typeface="Times New Roman" panose="02020603050405020304" pitchFamily="18" charset="0"/>
              </a:rPr>
              <a:t>Notaro</a:t>
            </a:r>
            <a:r>
              <a:rPr lang="en-US" sz="1000">
                <a:solidFill>
                  <a:srgbClr val="6E6159"/>
                </a:solidFill>
                <a:latin typeface="Tw Cen MT"/>
                <a:ea typeface="Times New Roman" panose="02020603050405020304" pitchFamily="18" charset="0"/>
              </a:rPr>
              <a:t> R </a:t>
            </a:r>
            <a:r>
              <a:rPr lang="en-US" sz="1000" i="1">
                <a:solidFill>
                  <a:srgbClr val="6E6159"/>
                </a:solidFill>
                <a:latin typeface="Tw Cen MT"/>
                <a:ea typeface="Times New Roman" panose="02020603050405020304" pitchFamily="18" charset="0"/>
              </a:rPr>
              <a:t>et al. N </a:t>
            </a:r>
            <a:r>
              <a:rPr lang="en-US" sz="1000" i="1" err="1">
                <a:solidFill>
                  <a:srgbClr val="6E6159"/>
                </a:solidFill>
                <a:latin typeface="Tw Cen MT"/>
                <a:ea typeface="Times New Roman" panose="02020603050405020304" pitchFamily="18" charset="0"/>
              </a:rPr>
              <a:t>Engl</a:t>
            </a:r>
            <a:r>
              <a:rPr lang="en-US" sz="1000" i="1">
                <a:solidFill>
                  <a:srgbClr val="6E6159"/>
                </a:solidFill>
                <a:latin typeface="Tw Cen MT"/>
                <a:ea typeface="Times New Roman" panose="02020603050405020304" pitchFamily="18" charset="0"/>
              </a:rPr>
              <a:t> J Med </a:t>
            </a:r>
            <a:r>
              <a:rPr lang="en-US" sz="1000">
                <a:solidFill>
                  <a:srgbClr val="6E6159"/>
                </a:solidFill>
                <a:latin typeface="Tw Cen MT"/>
                <a:ea typeface="Times New Roman" panose="02020603050405020304" pitchFamily="18" charset="0"/>
              </a:rPr>
              <a:t>2022.</a:t>
            </a:r>
          </a:p>
          <a:p>
            <a:pPr>
              <a:defRPr/>
            </a:pPr>
            <a:r>
              <a:rPr lang="en-US" sz="1000">
                <a:solidFill>
                  <a:srgbClr val="6E6159"/>
                </a:solidFill>
                <a:latin typeface="Tw Cen MT"/>
                <a:ea typeface="Times New Roman" panose="02020603050405020304" pitchFamily="18" charset="0"/>
              </a:rPr>
              <a:t>EVH, extravascular hemolysis; IVH, intravascular hemolysis; LDH, lactate dehydrogenase; </a:t>
            </a:r>
            <a:br>
              <a:rPr lang="en-US" sz="1000">
                <a:solidFill>
                  <a:srgbClr val="6E6159"/>
                </a:solidFill>
                <a:latin typeface="Tw Cen MT"/>
                <a:ea typeface="Times New Roman" panose="02020603050405020304" pitchFamily="18" charset="0"/>
              </a:rPr>
            </a:br>
            <a:r>
              <a:rPr lang="en-US" sz="1000">
                <a:solidFill>
                  <a:srgbClr val="6E6159"/>
                </a:solidFill>
                <a:latin typeface="Tw Cen MT"/>
                <a:ea typeface="Times New Roman" panose="02020603050405020304" pitchFamily="18" charset="0"/>
              </a:rPr>
              <a:t>MAC, membrane-attack complex; PNH, paroxysmal nocturnal hemoglobinuria</a:t>
            </a:r>
          </a:p>
        </p:txBody>
      </p:sp>
      <p:sp>
        <p:nvSpPr>
          <p:cNvPr id="28" name="TextBox 9">
            <a:extLst>
              <a:ext uri="{FF2B5EF4-FFF2-40B4-BE49-F238E27FC236}">
                <a16:creationId xmlns:a16="http://schemas.microsoft.com/office/drawing/2014/main" id="{376A8FCE-177C-756D-055E-ED8C2F07B4B6}"/>
              </a:ext>
            </a:extLst>
          </p:cNvPr>
          <p:cNvSpPr txBox="1"/>
          <p:nvPr/>
        </p:nvSpPr>
        <p:spPr>
          <a:xfrm>
            <a:off x="828907" y="6040514"/>
            <a:ext cx="9694333" cy="246221"/>
          </a:xfrm>
          <a:prstGeom prst="rect">
            <a:avLst/>
          </a:prstGeom>
          <a:noFill/>
        </p:spPr>
        <p:txBody>
          <a:bodyPr wrap="square" rtlCol="0">
            <a:spAutoFit/>
          </a:bodyPr>
          <a:lstStyle/>
          <a:p>
            <a:pPr>
              <a:defRPr/>
            </a:pPr>
            <a:r>
              <a:rPr lang="en-US" sz="1000" dirty="0">
                <a:solidFill>
                  <a:srgbClr val="6E6159"/>
                </a:solidFill>
                <a:latin typeface="Tw Cen MT"/>
                <a:ea typeface="Times New Roman" panose="02020603050405020304" pitchFamily="18" charset="0"/>
              </a:rPr>
              <a:t>1. </a:t>
            </a:r>
            <a:r>
              <a:rPr lang="en-US" sz="1000" dirty="0" err="1">
                <a:solidFill>
                  <a:srgbClr val="6E6159"/>
                </a:solidFill>
                <a:latin typeface="Tw Cen MT"/>
                <a:ea typeface="Times New Roman" panose="02020603050405020304" pitchFamily="18" charset="0"/>
              </a:rPr>
              <a:t>Notaro</a:t>
            </a:r>
            <a:r>
              <a:rPr lang="en-US" sz="1000" dirty="0">
                <a:solidFill>
                  <a:srgbClr val="6E6159"/>
                </a:solidFill>
                <a:latin typeface="Tw Cen MT"/>
                <a:ea typeface="Times New Roman" panose="02020603050405020304" pitchFamily="18" charset="0"/>
              </a:rPr>
              <a:t> R, </a:t>
            </a:r>
            <a:r>
              <a:rPr lang="en-US" sz="1000" dirty="0" err="1">
                <a:solidFill>
                  <a:srgbClr val="6E6159"/>
                </a:solidFill>
                <a:latin typeface="Tw Cen MT"/>
                <a:ea typeface="Times New Roman" panose="02020603050405020304" pitchFamily="18" charset="0"/>
              </a:rPr>
              <a:t>Luzzatto</a:t>
            </a:r>
            <a:r>
              <a:rPr lang="en-US" sz="1000" dirty="0">
                <a:solidFill>
                  <a:srgbClr val="6E6159"/>
                </a:solidFill>
                <a:latin typeface="Tw Cen MT"/>
                <a:ea typeface="Times New Roman" panose="02020603050405020304" pitchFamily="18" charset="0"/>
              </a:rPr>
              <a:t> L. Breakthrough Hemolysis in PNH with Proximal or Terminal Complement Inhibition. N Engl J Med. 2022 Jul 14;387(2):160-166.</a:t>
            </a:r>
          </a:p>
        </p:txBody>
      </p:sp>
      <p:sp>
        <p:nvSpPr>
          <p:cNvPr id="29" name="Rectangle 5">
            <a:extLst>
              <a:ext uri="{FF2B5EF4-FFF2-40B4-BE49-F238E27FC236}">
                <a16:creationId xmlns:a16="http://schemas.microsoft.com/office/drawing/2014/main" id="{F59546D7-6DB0-FDE9-A401-25C357B60E74}"/>
              </a:ext>
            </a:extLst>
          </p:cNvPr>
          <p:cNvSpPr/>
          <p:nvPr/>
        </p:nvSpPr>
        <p:spPr>
          <a:xfrm>
            <a:off x="6883203" y="2493533"/>
            <a:ext cx="3196046" cy="451336"/>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3F4F3"/>
              </a:solidFill>
              <a:effectLst/>
              <a:uLnTx/>
              <a:uFillTx/>
              <a:latin typeface="Tw Cen MT"/>
              <a:ea typeface="+mn-ea"/>
              <a:cs typeface="+mn-cs"/>
            </a:endParaRPr>
          </a:p>
        </p:txBody>
      </p:sp>
      <p:grpSp>
        <p:nvGrpSpPr>
          <p:cNvPr id="30" name="Group 42">
            <a:extLst>
              <a:ext uri="{FF2B5EF4-FFF2-40B4-BE49-F238E27FC236}">
                <a16:creationId xmlns:a16="http://schemas.microsoft.com/office/drawing/2014/main" id="{E5451611-3CB7-C36C-C82D-9ADD76C277B9}"/>
              </a:ext>
            </a:extLst>
          </p:cNvPr>
          <p:cNvGrpSpPr/>
          <p:nvPr/>
        </p:nvGrpSpPr>
        <p:grpSpPr>
          <a:xfrm>
            <a:off x="8761381" y="2803251"/>
            <a:ext cx="2433805" cy="1727031"/>
            <a:chOff x="8945150" y="2974254"/>
            <a:chExt cx="2433805" cy="1727031"/>
          </a:xfrm>
        </p:grpSpPr>
        <p:pic>
          <p:nvPicPr>
            <p:cNvPr id="31" name="Picture 43">
              <a:extLst>
                <a:ext uri="{FF2B5EF4-FFF2-40B4-BE49-F238E27FC236}">
                  <a16:creationId xmlns:a16="http://schemas.microsoft.com/office/drawing/2014/main" id="{D077C11F-E76C-E422-C817-8CE8CBCBB5C1}"/>
                </a:ext>
              </a:extLst>
            </p:cNvPr>
            <p:cNvPicPr>
              <a:picLocks noChangeAspect="1"/>
            </p:cNvPicPr>
            <p:nvPr/>
          </p:nvPicPr>
          <p:blipFill>
            <a:blip r:embed="rId3"/>
            <a:stretch>
              <a:fillRect/>
            </a:stretch>
          </p:blipFill>
          <p:spPr>
            <a:xfrm>
              <a:off x="9790740" y="3324363"/>
              <a:ext cx="970945" cy="874027"/>
            </a:xfrm>
            <a:prstGeom prst="rect">
              <a:avLst/>
            </a:prstGeom>
          </p:spPr>
        </p:pic>
        <p:sp>
          <p:nvSpPr>
            <p:cNvPr id="32" name="TextBox 44">
              <a:extLst>
                <a:ext uri="{FF2B5EF4-FFF2-40B4-BE49-F238E27FC236}">
                  <a16:creationId xmlns:a16="http://schemas.microsoft.com/office/drawing/2014/main" id="{883A14B3-7B26-290C-9025-5F5901FB061B}"/>
                </a:ext>
              </a:extLst>
            </p:cNvPr>
            <p:cNvSpPr txBox="1"/>
            <p:nvPr/>
          </p:nvSpPr>
          <p:spPr>
            <a:xfrm>
              <a:off x="8945150" y="2974254"/>
              <a:ext cx="2433805" cy="307777"/>
            </a:xfrm>
            <a:prstGeom prst="rect">
              <a:avLst/>
            </a:prstGeom>
            <a:noFill/>
          </p:spPr>
          <p:txBody>
            <a:bodyPr wrap="square" rtlCol="0">
              <a:spAutoFit/>
            </a:bodyPr>
            <a:lstStyle/>
            <a:p>
              <a:pPr algn="ctr">
                <a:buClr>
                  <a:srgbClr val="002F6C"/>
                </a:buClr>
                <a:defRPr/>
              </a:pPr>
              <a:r>
                <a:rPr lang="en-GB" sz="1400" b="1">
                  <a:solidFill>
                    <a:srgbClr val="C00000"/>
                  </a:solidFill>
                  <a:latin typeface="Tw Cen MT"/>
                </a:rPr>
                <a:t>Acute BTH</a:t>
              </a:r>
              <a:r>
                <a:rPr lang="en-GB" sz="1400" b="1" baseline="30000">
                  <a:solidFill>
                    <a:srgbClr val="C00000"/>
                  </a:solidFill>
                  <a:latin typeface="Tw Cen MT"/>
                </a:rPr>
                <a:t>1</a:t>
              </a:r>
            </a:p>
          </p:txBody>
        </p:sp>
        <p:sp>
          <p:nvSpPr>
            <p:cNvPr id="33" name="TextBox 45">
              <a:extLst>
                <a:ext uri="{FF2B5EF4-FFF2-40B4-BE49-F238E27FC236}">
                  <a16:creationId xmlns:a16="http://schemas.microsoft.com/office/drawing/2014/main" id="{3A525BB4-DF02-3DE0-C462-0F917F8D7B73}"/>
                </a:ext>
              </a:extLst>
            </p:cNvPr>
            <p:cNvSpPr txBox="1"/>
            <p:nvPr/>
          </p:nvSpPr>
          <p:spPr>
            <a:xfrm>
              <a:off x="9793467" y="4270398"/>
              <a:ext cx="899605" cy="430887"/>
            </a:xfrm>
            <a:prstGeom prst="rect">
              <a:avLst/>
            </a:prstGeom>
            <a:noFill/>
          </p:spPr>
          <p:txBody>
            <a:bodyPr wrap="none" rtlCol="0">
              <a:spAutoFit/>
            </a:bodyPr>
            <a:lstStyle/>
            <a:p>
              <a:pPr>
                <a:buClr>
                  <a:srgbClr val="001E60"/>
                </a:buClr>
                <a:defRPr/>
              </a:pPr>
              <a:r>
                <a:rPr lang="en-GB" sz="1100">
                  <a:solidFill>
                    <a:srgbClr val="001E60"/>
                  </a:solidFill>
                  <a:latin typeface="Tw Cen MT"/>
                </a:rPr>
                <a:t>Lysed PNH</a:t>
              </a:r>
            </a:p>
            <a:p>
              <a:pPr>
                <a:buClr>
                  <a:srgbClr val="001E60"/>
                </a:buClr>
                <a:defRPr/>
              </a:pPr>
              <a:r>
                <a:rPr lang="en-GB" sz="1100">
                  <a:solidFill>
                    <a:srgbClr val="001E60"/>
                  </a:solidFill>
                  <a:latin typeface="Tw Cen MT"/>
                </a:rPr>
                <a:t>red cells</a:t>
              </a:r>
              <a:r>
                <a:rPr lang="en-GB" sz="1100" baseline="30000">
                  <a:solidFill>
                    <a:srgbClr val="001E60"/>
                  </a:solidFill>
                  <a:latin typeface="Tw Cen MT"/>
                </a:rPr>
                <a:t>1</a:t>
              </a:r>
              <a:endParaRPr lang="en-GB" sz="1100">
                <a:solidFill>
                  <a:srgbClr val="001E60"/>
                </a:solidFill>
                <a:latin typeface="Tw Cen MT"/>
              </a:endParaRPr>
            </a:p>
          </p:txBody>
        </p:sp>
      </p:grpSp>
      <p:grpSp>
        <p:nvGrpSpPr>
          <p:cNvPr id="34" name="Group 50">
            <a:extLst>
              <a:ext uri="{FF2B5EF4-FFF2-40B4-BE49-F238E27FC236}">
                <a16:creationId xmlns:a16="http://schemas.microsoft.com/office/drawing/2014/main" id="{F9B07CDB-EDB7-4812-3DD3-02F6F74F28F0}"/>
              </a:ext>
            </a:extLst>
          </p:cNvPr>
          <p:cNvGrpSpPr/>
          <p:nvPr/>
        </p:nvGrpSpPr>
        <p:grpSpPr>
          <a:xfrm>
            <a:off x="7076397" y="2821539"/>
            <a:ext cx="2469273" cy="1831172"/>
            <a:chOff x="9618463" y="2760434"/>
            <a:chExt cx="2469273" cy="1831172"/>
          </a:xfrm>
        </p:grpSpPr>
        <p:sp>
          <p:nvSpPr>
            <p:cNvPr id="35" name="TextBox 51">
              <a:extLst>
                <a:ext uri="{FF2B5EF4-FFF2-40B4-BE49-F238E27FC236}">
                  <a16:creationId xmlns:a16="http://schemas.microsoft.com/office/drawing/2014/main" id="{DB47765A-8139-5A61-CCBF-1C557B59D14D}"/>
                </a:ext>
              </a:extLst>
            </p:cNvPr>
            <p:cNvSpPr txBox="1"/>
            <p:nvPr/>
          </p:nvSpPr>
          <p:spPr>
            <a:xfrm>
              <a:off x="9735146" y="4047867"/>
              <a:ext cx="881972" cy="543739"/>
            </a:xfrm>
            <a:prstGeom prst="rect">
              <a:avLst/>
            </a:prstGeom>
            <a:noFill/>
          </p:spPr>
          <p:txBody>
            <a:bodyPr wrap="none" rtlCol="0">
              <a:spAutoFit/>
            </a:bodyPr>
            <a:lstStyle/>
            <a:p>
              <a:pPr algn="ctr">
                <a:defRPr/>
              </a:pPr>
              <a:r>
                <a:rPr lang="en-GB" sz="1100">
                  <a:solidFill>
                    <a:srgbClr val="001E60"/>
                  </a:solidFill>
                  <a:latin typeface="Tw Cen MT"/>
                </a:rPr>
                <a:t>Normal red</a:t>
              </a:r>
            </a:p>
            <a:p>
              <a:pPr algn="ctr">
                <a:defRPr/>
              </a:pPr>
              <a:r>
                <a:rPr lang="en-GB" sz="1100">
                  <a:solidFill>
                    <a:srgbClr val="001E60"/>
                  </a:solidFill>
                  <a:latin typeface="Tw Cen MT"/>
                </a:rPr>
                <a:t>cells</a:t>
              </a:r>
              <a:r>
                <a:rPr lang="en-GB" sz="1100" baseline="30000">
                  <a:solidFill>
                    <a:srgbClr val="001E60"/>
                  </a:solidFill>
                  <a:latin typeface="Tw Cen MT"/>
                </a:rPr>
                <a:t>1</a:t>
              </a:r>
            </a:p>
            <a:p>
              <a:pPr algn="ctr">
                <a:defRPr/>
              </a:pPr>
              <a:endParaRPr lang="en-GB" sz="1100" baseline="30000">
                <a:solidFill>
                  <a:srgbClr val="001E60"/>
                </a:solidFill>
                <a:latin typeface="Tw Cen MT"/>
              </a:endParaRPr>
            </a:p>
          </p:txBody>
        </p:sp>
        <p:sp>
          <p:nvSpPr>
            <p:cNvPr id="36" name="TextBox 52">
              <a:extLst>
                <a:ext uri="{FF2B5EF4-FFF2-40B4-BE49-F238E27FC236}">
                  <a16:creationId xmlns:a16="http://schemas.microsoft.com/office/drawing/2014/main" id="{52EAABC3-7844-BADC-FCF8-F8BF2EC9BE14}"/>
                </a:ext>
              </a:extLst>
            </p:cNvPr>
            <p:cNvSpPr txBox="1"/>
            <p:nvPr/>
          </p:nvSpPr>
          <p:spPr>
            <a:xfrm>
              <a:off x="9621546" y="2760434"/>
              <a:ext cx="2463106" cy="307778"/>
            </a:xfrm>
            <a:prstGeom prst="rect">
              <a:avLst/>
            </a:prstGeom>
            <a:noFill/>
          </p:spPr>
          <p:txBody>
            <a:bodyPr wrap="square" rtlCol="0">
              <a:spAutoFit/>
            </a:bodyPr>
            <a:lstStyle/>
            <a:p>
              <a:pPr algn="ctr">
                <a:buClr>
                  <a:srgbClr val="002F6C"/>
                </a:buClr>
                <a:defRPr/>
              </a:pPr>
              <a:r>
                <a:rPr lang="en-GB" sz="1400" b="1">
                  <a:solidFill>
                    <a:srgbClr val="002F6C">
                      <a:lumMod val="75000"/>
                    </a:srgbClr>
                  </a:solidFill>
                  <a:latin typeface="Tw Cen MT"/>
                </a:rPr>
                <a:t>No hemolysis</a:t>
              </a:r>
              <a:r>
                <a:rPr lang="en-GB" sz="1400" b="1" baseline="30000">
                  <a:solidFill>
                    <a:srgbClr val="002F6C">
                      <a:lumMod val="75000"/>
                    </a:srgbClr>
                  </a:solidFill>
                  <a:latin typeface="Tw Cen MT"/>
                </a:rPr>
                <a:t>1</a:t>
              </a:r>
            </a:p>
          </p:txBody>
        </p:sp>
        <p:pic>
          <p:nvPicPr>
            <p:cNvPr id="37" name="Picture 53">
              <a:extLst>
                <a:ext uri="{FF2B5EF4-FFF2-40B4-BE49-F238E27FC236}">
                  <a16:creationId xmlns:a16="http://schemas.microsoft.com/office/drawing/2014/main" id="{14D74510-A96F-655E-10EA-06BD772AB01B}"/>
                </a:ext>
              </a:extLst>
            </p:cNvPr>
            <p:cNvPicPr>
              <a:picLocks noChangeAspect="1"/>
            </p:cNvPicPr>
            <p:nvPr/>
          </p:nvPicPr>
          <p:blipFill rotWithShape="1">
            <a:blip r:embed="rId4"/>
            <a:srcRect l="2759" t="3840" r="26065" b="3118"/>
            <a:stretch/>
          </p:blipFill>
          <p:spPr>
            <a:xfrm>
              <a:off x="9618463" y="3117640"/>
              <a:ext cx="2469273" cy="860524"/>
            </a:xfrm>
            <a:prstGeom prst="rect">
              <a:avLst/>
            </a:prstGeom>
          </p:spPr>
        </p:pic>
      </p:grpSp>
      <p:sp>
        <p:nvSpPr>
          <p:cNvPr id="38" name="TextBox 54">
            <a:extLst>
              <a:ext uri="{FF2B5EF4-FFF2-40B4-BE49-F238E27FC236}">
                <a16:creationId xmlns:a16="http://schemas.microsoft.com/office/drawing/2014/main" id="{F60673DB-C915-6B78-F5C8-2E413F983524}"/>
              </a:ext>
            </a:extLst>
          </p:cNvPr>
          <p:cNvSpPr txBox="1"/>
          <p:nvPr/>
        </p:nvSpPr>
        <p:spPr>
          <a:xfrm>
            <a:off x="8029414" y="4088066"/>
            <a:ext cx="763349" cy="430887"/>
          </a:xfrm>
          <a:prstGeom prst="rect">
            <a:avLst/>
          </a:prstGeom>
          <a:noFill/>
        </p:spPr>
        <p:txBody>
          <a:bodyPr wrap="none" rtlCol="0">
            <a:spAutoFit/>
          </a:bodyPr>
          <a:lstStyle>
            <a:defPPr>
              <a:defRPr lang="en-US"/>
            </a:defPPr>
            <a:lvl1pPr>
              <a:defRPr sz="1200"/>
            </a:lvl1pPr>
          </a:lstStyle>
          <a:p>
            <a:pPr algn="ctr">
              <a:defRPr/>
            </a:pPr>
            <a:r>
              <a:rPr lang="en-GB" sz="1100">
                <a:solidFill>
                  <a:srgbClr val="001E60"/>
                </a:solidFill>
                <a:latin typeface="Tw Cen MT"/>
              </a:rPr>
              <a:t>PNH </a:t>
            </a:r>
          </a:p>
          <a:p>
            <a:pPr algn="ctr">
              <a:defRPr/>
            </a:pPr>
            <a:r>
              <a:rPr lang="en-GB" sz="1100">
                <a:solidFill>
                  <a:srgbClr val="001E60"/>
                </a:solidFill>
                <a:latin typeface="Tw Cen MT"/>
              </a:rPr>
              <a:t>red cells</a:t>
            </a:r>
            <a:r>
              <a:rPr lang="en-GB" sz="1100" baseline="30000">
                <a:solidFill>
                  <a:srgbClr val="001E60"/>
                </a:solidFill>
                <a:latin typeface="Tw Cen MT"/>
              </a:rPr>
              <a:t>1</a:t>
            </a:r>
          </a:p>
        </p:txBody>
      </p:sp>
      <p:sp>
        <p:nvSpPr>
          <p:cNvPr id="39" name="TextBox 55">
            <a:extLst>
              <a:ext uri="{FF2B5EF4-FFF2-40B4-BE49-F238E27FC236}">
                <a16:creationId xmlns:a16="http://schemas.microsoft.com/office/drawing/2014/main" id="{3E9206AF-E349-2336-BB82-7DC3E3F881A8}"/>
              </a:ext>
            </a:extLst>
          </p:cNvPr>
          <p:cNvSpPr txBox="1"/>
          <p:nvPr/>
        </p:nvSpPr>
        <p:spPr>
          <a:xfrm>
            <a:off x="8728129" y="4093583"/>
            <a:ext cx="843501" cy="600164"/>
          </a:xfrm>
          <a:prstGeom prst="rect">
            <a:avLst/>
          </a:prstGeom>
          <a:noFill/>
        </p:spPr>
        <p:txBody>
          <a:bodyPr wrap="none" rtlCol="0">
            <a:spAutoFit/>
          </a:bodyPr>
          <a:lstStyle>
            <a:defPPr>
              <a:defRPr lang="en-US"/>
            </a:defPPr>
            <a:lvl1pPr>
              <a:defRPr sz="1200"/>
            </a:lvl1pPr>
          </a:lstStyle>
          <a:p>
            <a:pPr algn="ctr">
              <a:defRPr/>
            </a:pPr>
            <a:r>
              <a:rPr lang="en-GB" sz="1100">
                <a:solidFill>
                  <a:srgbClr val="001E60"/>
                </a:solidFill>
                <a:latin typeface="Tw Cen MT"/>
              </a:rPr>
              <a:t>C3-bound </a:t>
            </a:r>
          </a:p>
          <a:p>
            <a:pPr algn="ctr">
              <a:defRPr/>
            </a:pPr>
            <a:r>
              <a:rPr lang="en-GB" sz="1100">
                <a:solidFill>
                  <a:srgbClr val="001E60"/>
                </a:solidFill>
                <a:latin typeface="Tw Cen MT"/>
              </a:rPr>
              <a:t>PNH red </a:t>
            </a:r>
          </a:p>
          <a:p>
            <a:pPr algn="ctr">
              <a:defRPr/>
            </a:pPr>
            <a:r>
              <a:rPr lang="en-GB" sz="1100">
                <a:solidFill>
                  <a:srgbClr val="001E60"/>
                </a:solidFill>
                <a:latin typeface="Tw Cen MT"/>
              </a:rPr>
              <a:t>cells</a:t>
            </a:r>
            <a:r>
              <a:rPr lang="en-GB" sz="1100" baseline="30000">
                <a:solidFill>
                  <a:srgbClr val="001E60"/>
                </a:solidFill>
                <a:latin typeface="Tw Cen MT"/>
              </a:rPr>
              <a:t>1</a:t>
            </a:r>
            <a:endParaRPr lang="en-IE" sz="1100" baseline="30000">
              <a:solidFill>
                <a:srgbClr val="001E60"/>
              </a:solidFill>
              <a:latin typeface="Tw Cen MT"/>
            </a:endParaRPr>
          </a:p>
        </p:txBody>
      </p:sp>
      <p:sp>
        <p:nvSpPr>
          <p:cNvPr id="3" name="CaixaDeTexto 2">
            <a:extLst>
              <a:ext uri="{FF2B5EF4-FFF2-40B4-BE49-F238E27FC236}">
                <a16:creationId xmlns:a16="http://schemas.microsoft.com/office/drawing/2014/main" id="{BE89E722-17B5-230D-B561-1106E1BAF58C}"/>
              </a:ext>
            </a:extLst>
          </p:cNvPr>
          <p:cNvSpPr txBox="1"/>
          <p:nvPr/>
        </p:nvSpPr>
        <p:spPr>
          <a:xfrm>
            <a:off x="7030363" y="4669138"/>
            <a:ext cx="6097772" cy="200055"/>
          </a:xfrm>
          <a:prstGeom prst="rect">
            <a:avLst/>
          </a:prstGeom>
          <a:noFill/>
        </p:spPr>
        <p:txBody>
          <a:bodyPr wrap="square">
            <a:spAutoFit/>
          </a:bodyPr>
          <a:lstStyle/>
          <a:p>
            <a:r>
              <a:rPr lang="pt-BR" sz="700" b="0" i="0" dirty="0">
                <a:solidFill>
                  <a:srgbClr val="1D1D1D"/>
                </a:solidFill>
                <a:effectLst/>
                <a:latin typeface="Arial" panose="020B0604020202020204" pitchFamily="34" charset="0"/>
              </a:rPr>
              <a:t>Adaptado de </a:t>
            </a:r>
            <a:r>
              <a:rPr lang="pt-BR" sz="700" b="0" i="0" dirty="0" err="1">
                <a:solidFill>
                  <a:srgbClr val="1D1D1D"/>
                </a:solidFill>
                <a:effectLst/>
                <a:latin typeface="Arial" panose="020B0604020202020204" pitchFamily="34" charset="0"/>
              </a:rPr>
              <a:t>Notaro</a:t>
            </a:r>
            <a:r>
              <a:rPr lang="pt-BR" sz="700" b="0" i="0" dirty="0">
                <a:solidFill>
                  <a:srgbClr val="1D1D1D"/>
                </a:solidFill>
                <a:effectLst/>
                <a:latin typeface="Arial" panose="020B0604020202020204" pitchFamily="34" charset="0"/>
              </a:rPr>
              <a:t> R et al.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22;387:160–166.</a:t>
            </a:r>
            <a:endParaRPr lang="pt-BR" sz="700" dirty="0"/>
          </a:p>
        </p:txBody>
      </p:sp>
    </p:spTree>
    <p:extLst>
      <p:ext uri="{BB962C8B-B14F-4D97-AF65-F5344CB8AC3E}">
        <p14:creationId xmlns:p14="http://schemas.microsoft.com/office/powerpoint/2010/main" val="380968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Rounded Corners 37">
            <a:extLst>
              <a:ext uri="{FF2B5EF4-FFF2-40B4-BE49-F238E27FC236}">
                <a16:creationId xmlns:a16="http://schemas.microsoft.com/office/drawing/2014/main" id="{71C44CDF-E730-79C2-34D2-194C28990558}"/>
              </a:ext>
            </a:extLst>
          </p:cNvPr>
          <p:cNvSpPr/>
          <p:nvPr/>
        </p:nvSpPr>
        <p:spPr>
          <a:xfrm>
            <a:off x="255587" y="1046058"/>
            <a:ext cx="11473914" cy="1496522"/>
          </a:xfrm>
          <a:prstGeom prst="roundRect">
            <a:avLst/>
          </a:prstGeom>
          <a:solidFill>
            <a:srgbClr val="F3F4F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w Cen MT"/>
              <a:ea typeface="+mn-ea"/>
              <a:cs typeface="+mn-cs"/>
            </a:endParaRPr>
          </a:p>
        </p:txBody>
      </p:sp>
      <p:sp>
        <p:nvSpPr>
          <p:cNvPr id="151" name="Title 2">
            <a:extLst>
              <a:ext uri="{FF2B5EF4-FFF2-40B4-BE49-F238E27FC236}">
                <a16:creationId xmlns:a16="http://schemas.microsoft.com/office/drawing/2014/main" id="{67C34B1C-1A51-8698-415B-76F34119C843}"/>
              </a:ext>
            </a:extLst>
          </p:cNvPr>
          <p:cNvSpPr txBox="1">
            <a:spLocks/>
          </p:cNvSpPr>
          <p:nvPr/>
        </p:nvSpPr>
        <p:spPr bwMode="auto">
          <a:xfrm>
            <a:off x="838200" y="480576"/>
            <a:ext cx="10515600" cy="68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rtl="0" eaLnBrk="1" fontAlgn="base" hangingPunct="1">
              <a:lnSpc>
                <a:spcPct val="90000"/>
              </a:lnSpc>
              <a:spcBef>
                <a:spcPct val="0"/>
              </a:spcBef>
              <a:spcAft>
                <a:spcPct val="0"/>
              </a:spcAft>
              <a:defRPr lang="en-US" sz="3200" b="1" i="0" kern="1200" cap="none" spc="0" baseline="0" noProof="0" dirty="0" smtClean="0">
                <a:solidFill>
                  <a:schemeClr val="tx1"/>
                </a:solidFill>
                <a:latin typeface="Tw Cen MT" panose="020B0602020104020603" pitchFamily="34" charset="77"/>
                <a:ea typeface="+mn-ea"/>
                <a:cs typeface="Arial" panose="020B0604020202020204" pitchFamily="34" charset="0"/>
              </a:defRPr>
            </a:lvl1pPr>
            <a:lvl2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2pPr>
            <a:lvl3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3pPr>
            <a:lvl4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4pPr>
            <a:lvl5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5pPr>
            <a:lvl6pPr marL="4572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6pPr>
            <a:lvl7pPr marL="9144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7pPr>
            <a:lvl8pPr marL="13716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8pPr>
            <a:lvl9pPr marL="18288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9pPr>
          </a:lstStyle>
          <a:p>
            <a:r>
              <a:rPr lang="en-IE" dirty="0">
                <a:gradFill>
                  <a:gsLst>
                    <a:gs pos="0">
                      <a:schemeClr val="accent1"/>
                    </a:gs>
                    <a:gs pos="100000">
                      <a:schemeClr val="bg2"/>
                    </a:gs>
                  </a:gsLst>
                  <a:lin ang="2700000" scaled="0"/>
                </a:gradFill>
                <a:latin typeface="Calisto MT"/>
                <a:cs typeface="+mn-cs"/>
              </a:rPr>
              <a:t>PNH with complete C3 inhibition</a:t>
            </a:r>
            <a:endParaRPr lang="en-GB" dirty="0">
              <a:gradFill>
                <a:gsLst>
                  <a:gs pos="0">
                    <a:schemeClr val="accent1"/>
                  </a:gs>
                  <a:gs pos="100000">
                    <a:schemeClr val="bg2"/>
                  </a:gs>
                </a:gsLst>
                <a:lin ang="2700000" scaled="0"/>
              </a:gradFill>
              <a:latin typeface="Calisto MT"/>
              <a:cs typeface="+mn-cs"/>
            </a:endParaRPr>
          </a:p>
        </p:txBody>
      </p:sp>
      <p:sp>
        <p:nvSpPr>
          <p:cNvPr id="152" name="Footer Placeholder 3">
            <a:extLst>
              <a:ext uri="{FF2B5EF4-FFF2-40B4-BE49-F238E27FC236}">
                <a16:creationId xmlns:a16="http://schemas.microsoft.com/office/drawing/2014/main" id="{060FC072-28BA-888A-6BE9-13E7135647CE}"/>
              </a:ext>
            </a:extLst>
          </p:cNvPr>
          <p:cNvSpPr txBox="1">
            <a:spLocks/>
          </p:cNvSpPr>
          <p:nvPr/>
        </p:nvSpPr>
        <p:spPr>
          <a:xfrm>
            <a:off x="189969" y="5804746"/>
            <a:ext cx="10445750" cy="4841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it-IT" sz="1000" dirty="0">
                <a:solidFill>
                  <a:srgbClr val="6E6159"/>
                </a:solidFill>
                <a:latin typeface="Tw Cen MT"/>
              </a:rPr>
              <a:t>Figure adapted from Notaro R </a:t>
            </a:r>
            <a:r>
              <a:rPr lang="it-IT" sz="1000" i="1" dirty="0">
                <a:solidFill>
                  <a:srgbClr val="6E6159"/>
                </a:solidFill>
                <a:latin typeface="Tw Cen MT"/>
              </a:rPr>
              <a:t>et al. N Engl J Med </a:t>
            </a:r>
            <a:r>
              <a:rPr lang="it-IT" sz="1000" dirty="0">
                <a:solidFill>
                  <a:srgbClr val="6E6159"/>
                </a:solidFill>
                <a:latin typeface="Tw Cen MT"/>
              </a:rPr>
              <a:t>2022. </a:t>
            </a:r>
          </a:p>
          <a:p>
            <a:pPr>
              <a:defRPr/>
            </a:pPr>
            <a:r>
              <a:rPr lang="it-IT" sz="1000" dirty="0">
                <a:solidFill>
                  <a:srgbClr val="6E6159"/>
                </a:solidFill>
                <a:latin typeface="Tw Cen MT"/>
              </a:rPr>
              <a:t>BTH, breakthrough hemolysis; EVH, extravascular haemolysis; MAC, membrane-attack complex; </a:t>
            </a:r>
            <a:r>
              <a:rPr lang="en-US" sz="1000" dirty="0">
                <a:solidFill>
                  <a:srgbClr val="6E6159"/>
                </a:solidFill>
                <a:latin typeface="Tw Cen MT"/>
              </a:rPr>
              <a:t>PNH, </a:t>
            </a:r>
            <a:r>
              <a:rPr lang="en-GB" sz="1000" dirty="0">
                <a:solidFill>
                  <a:srgbClr val="6E6159"/>
                </a:solidFill>
                <a:latin typeface="Tw Cen MT"/>
              </a:rPr>
              <a:t>paroxysmal nocturnal </a:t>
            </a:r>
            <a:r>
              <a:rPr lang="en-GB" sz="1000" dirty="0" err="1">
                <a:solidFill>
                  <a:srgbClr val="6E6159"/>
                </a:solidFill>
                <a:latin typeface="Tw Cen MT"/>
              </a:rPr>
              <a:t>hemoglobinuria</a:t>
            </a:r>
            <a:r>
              <a:rPr lang="en-GB" sz="1000" dirty="0">
                <a:solidFill>
                  <a:srgbClr val="6E6159"/>
                </a:solidFill>
                <a:latin typeface="Tw Cen MT"/>
              </a:rPr>
              <a:t>. </a:t>
            </a:r>
          </a:p>
          <a:p>
            <a:pPr>
              <a:defRPr/>
            </a:pPr>
            <a:r>
              <a:rPr lang="it-IT" sz="1000" dirty="0">
                <a:solidFill>
                  <a:srgbClr val="6E6159"/>
                </a:solidFill>
                <a:latin typeface="Tw Cen MT"/>
              </a:rPr>
              <a:t>1. Notaro R, Luzzatto L. Breakthrough Hemolysis in PNH with Proximal or Terminal Complement Inhibition. N Engl J Med. 2022 Jul 14;387(2):160-166.</a:t>
            </a:r>
            <a:endParaRPr lang="en-AU" sz="1000" dirty="0">
              <a:solidFill>
                <a:srgbClr val="6E6159"/>
              </a:solidFill>
              <a:latin typeface="Tw Cen MT"/>
            </a:endParaRPr>
          </a:p>
        </p:txBody>
      </p:sp>
      <p:sp>
        <p:nvSpPr>
          <p:cNvPr id="153" name="Oval 52">
            <a:extLst>
              <a:ext uri="{FF2B5EF4-FFF2-40B4-BE49-F238E27FC236}">
                <a16:creationId xmlns:a16="http://schemas.microsoft.com/office/drawing/2014/main" id="{9B01AB77-A154-1743-EC4D-601CA6A67FF1}"/>
              </a:ext>
            </a:extLst>
          </p:cNvPr>
          <p:cNvSpPr/>
          <p:nvPr/>
        </p:nvSpPr>
        <p:spPr>
          <a:xfrm>
            <a:off x="3811993" y="4839835"/>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4" name="Oval 53">
            <a:extLst>
              <a:ext uri="{FF2B5EF4-FFF2-40B4-BE49-F238E27FC236}">
                <a16:creationId xmlns:a16="http://schemas.microsoft.com/office/drawing/2014/main" id="{3761E925-0A14-CB63-53BD-FBAE4F9395EF}"/>
              </a:ext>
            </a:extLst>
          </p:cNvPr>
          <p:cNvSpPr/>
          <p:nvPr/>
        </p:nvSpPr>
        <p:spPr>
          <a:xfrm>
            <a:off x="2642147" y="4839835"/>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5" name="Oval 54">
            <a:extLst>
              <a:ext uri="{FF2B5EF4-FFF2-40B4-BE49-F238E27FC236}">
                <a16:creationId xmlns:a16="http://schemas.microsoft.com/office/drawing/2014/main" id="{2A6E8D3E-DFD6-4F33-7933-20777E917700}"/>
              </a:ext>
            </a:extLst>
          </p:cNvPr>
          <p:cNvSpPr/>
          <p:nvPr/>
        </p:nvSpPr>
        <p:spPr>
          <a:xfrm>
            <a:off x="3032096" y="4839835"/>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6" name="Oval 55">
            <a:extLst>
              <a:ext uri="{FF2B5EF4-FFF2-40B4-BE49-F238E27FC236}">
                <a16:creationId xmlns:a16="http://schemas.microsoft.com/office/drawing/2014/main" id="{B269D9D5-F976-3160-5F7C-8D68BDEE23B0}"/>
              </a:ext>
            </a:extLst>
          </p:cNvPr>
          <p:cNvSpPr/>
          <p:nvPr/>
        </p:nvSpPr>
        <p:spPr>
          <a:xfrm>
            <a:off x="3422044" y="4839835"/>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cxnSp>
        <p:nvCxnSpPr>
          <p:cNvPr id="157" name="Connector: Curved 12">
            <a:extLst>
              <a:ext uri="{FF2B5EF4-FFF2-40B4-BE49-F238E27FC236}">
                <a16:creationId xmlns:a16="http://schemas.microsoft.com/office/drawing/2014/main" id="{597AC83A-5E39-0238-AA02-316ECC15FE9C}"/>
              </a:ext>
            </a:extLst>
          </p:cNvPr>
          <p:cNvCxnSpPr>
            <a:cxnSpLocks/>
            <a:stCxn id="161" idx="0"/>
          </p:cNvCxnSpPr>
          <p:nvPr/>
        </p:nvCxnSpPr>
        <p:spPr>
          <a:xfrm rot="5400000" flipH="1" flipV="1">
            <a:off x="4084295" y="2780432"/>
            <a:ext cx="506872" cy="594081"/>
          </a:xfrm>
          <a:prstGeom prst="curvedConnector2">
            <a:avLst/>
          </a:prstGeom>
          <a:noFill/>
          <a:ln w="28575" cap="flat" cmpd="sng" algn="ctr">
            <a:solidFill>
              <a:srgbClr val="001E60"/>
            </a:solidFill>
            <a:prstDash val="solid"/>
            <a:miter lim="800000"/>
            <a:tailEnd type="triangle" w="sm" len="sm"/>
          </a:ln>
          <a:effectLst/>
        </p:spPr>
      </p:cxnSp>
      <p:pic>
        <p:nvPicPr>
          <p:cNvPr id="158" name="Graphic 50" descr="Lightning bolt outline">
            <a:extLst>
              <a:ext uri="{FF2B5EF4-FFF2-40B4-BE49-F238E27FC236}">
                <a16:creationId xmlns:a16="http://schemas.microsoft.com/office/drawing/2014/main" id="{9EC83049-C234-00D7-E1BF-E805755F0E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7312716">
            <a:off x="4301729" y="2467451"/>
            <a:ext cx="378328" cy="378328"/>
          </a:xfrm>
          <a:prstGeom prst="rect">
            <a:avLst/>
          </a:prstGeom>
        </p:spPr>
      </p:pic>
      <p:sp>
        <p:nvSpPr>
          <p:cNvPr id="159" name="Oval 14">
            <a:extLst>
              <a:ext uri="{FF2B5EF4-FFF2-40B4-BE49-F238E27FC236}">
                <a16:creationId xmlns:a16="http://schemas.microsoft.com/office/drawing/2014/main" id="{339A8663-1701-25F7-DA86-462B7915F494}"/>
              </a:ext>
            </a:extLst>
          </p:cNvPr>
          <p:cNvSpPr/>
          <p:nvPr/>
        </p:nvSpPr>
        <p:spPr>
          <a:xfrm>
            <a:off x="4537193" y="3734411"/>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cxnSp>
        <p:nvCxnSpPr>
          <p:cNvPr id="160" name="Straight Arrow Connector 16">
            <a:extLst>
              <a:ext uri="{FF2B5EF4-FFF2-40B4-BE49-F238E27FC236}">
                <a16:creationId xmlns:a16="http://schemas.microsoft.com/office/drawing/2014/main" id="{53D3CC16-34B8-772C-D45D-A7D498F22E85}"/>
              </a:ext>
            </a:extLst>
          </p:cNvPr>
          <p:cNvCxnSpPr>
            <a:cxnSpLocks/>
          </p:cNvCxnSpPr>
          <p:nvPr/>
        </p:nvCxnSpPr>
        <p:spPr>
          <a:xfrm>
            <a:off x="4823951" y="4031998"/>
            <a:ext cx="0" cy="128419"/>
          </a:xfrm>
          <a:prstGeom prst="straightConnector1">
            <a:avLst/>
          </a:prstGeom>
          <a:noFill/>
          <a:ln w="28575" cap="flat" cmpd="sng" algn="ctr">
            <a:solidFill>
              <a:srgbClr val="001E60"/>
            </a:solidFill>
            <a:prstDash val="solid"/>
            <a:miter lim="800000"/>
            <a:tailEnd type="triangle" w="sm" len="sm"/>
          </a:ln>
          <a:effectLst/>
        </p:spPr>
      </p:cxnSp>
      <p:sp>
        <p:nvSpPr>
          <p:cNvPr id="161" name="TextBox 19">
            <a:extLst>
              <a:ext uri="{FF2B5EF4-FFF2-40B4-BE49-F238E27FC236}">
                <a16:creationId xmlns:a16="http://schemas.microsoft.com/office/drawing/2014/main" id="{AC72E796-3E88-3CA3-B154-CD26A989FA4B}"/>
              </a:ext>
            </a:extLst>
          </p:cNvPr>
          <p:cNvSpPr txBox="1"/>
          <p:nvPr/>
        </p:nvSpPr>
        <p:spPr>
          <a:xfrm>
            <a:off x="3646191" y="3330908"/>
            <a:ext cx="788999" cy="307777"/>
          </a:xfrm>
          <a:prstGeom prst="rect">
            <a:avLst/>
          </a:prstGeom>
          <a:noFill/>
        </p:spPr>
        <p:txBody>
          <a:bodyPr wrap="none" rtlCol="0">
            <a:spAutoFit/>
          </a:bodyPr>
          <a:lstStyle/>
          <a:p>
            <a:pPr algn="ctr">
              <a:buClr>
                <a:srgbClr val="002F6C"/>
              </a:buClr>
              <a:defRPr/>
            </a:pPr>
            <a:r>
              <a:rPr lang="en-GB" sz="700">
                <a:solidFill>
                  <a:srgbClr val="001E60"/>
                </a:solidFill>
                <a:latin typeface="Tw Cen MT"/>
              </a:rPr>
              <a:t>C3 convertase </a:t>
            </a:r>
            <a:br>
              <a:rPr lang="en-GB" sz="700">
                <a:solidFill>
                  <a:srgbClr val="001E60"/>
                </a:solidFill>
                <a:latin typeface="Tw Cen MT"/>
              </a:rPr>
            </a:br>
            <a:r>
              <a:rPr lang="en-GB" sz="700">
                <a:solidFill>
                  <a:srgbClr val="001E60"/>
                </a:solidFill>
                <a:latin typeface="Tw Cen MT"/>
              </a:rPr>
              <a:t>(C3bBb)</a:t>
            </a:r>
          </a:p>
        </p:txBody>
      </p:sp>
      <p:cxnSp>
        <p:nvCxnSpPr>
          <p:cNvPr id="162" name="Straight Connector 20">
            <a:extLst>
              <a:ext uri="{FF2B5EF4-FFF2-40B4-BE49-F238E27FC236}">
                <a16:creationId xmlns:a16="http://schemas.microsoft.com/office/drawing/2014/main" id="{09A6BB18-6ADA-DE66-F636-3F444846F47C}"/>
              </a:ext>
            </a:extLst>
          </p:cNvPr>
          <p:cNvCxnSpPr>
            <a:cxnSpLocks/>
            <a:stCxn id="182" idx="0"/>
          </p:cNvCxnSpPr>
          <p:nvPr/>
        </p:nvCxnSpPr>
        <p:spPr>
          <a:xfrm flipH="1">
            <a:off x="4358640" y="3444260"/>
            <a:ext cx="178553" cy="1866"/>
          </a:xfrm>
          <a:prstGeom prst="line">
            <a:avLst/>
          </a:prstGeom>
          <a:noFill/>
          <a:ln w="19050" cap="flat" cmpd="sng" algn="ctr">
            <a:solidFill>
              <a:srgbClr val="001E60"/>
            </a:solidFill>
            <a:prstDash val="solid"/>
            <a:miter lim="800000"/>
          </a:ln>
          <a:effectLst/>
        </p:spPr>
      </p:cxnSp>
      <p:grpSp>
        <p:nvGrpSpPr>
          <p:cNvPr id="163" name="Group 21">
            <a:extLst>
              <a:ext uri="{FF2B5EF4-FFF2-40B4-BE49-F238E27FC236}">
                <a16:creationId xmlns:a16="http://schemas.microsoft.com/office/drawing/2014/main" id="{357B47BC-7DAE-8AF1-D7B4-EB6B89713B38}"/>
              </a:ext>
            </a:extLst>
          </p:cNvPr>
          <p:cNvGrpSpPr/>
          <p:nvPr/>
        </p:nvGrpSpPr>
        <p:grpSpPr>
          <a:xfrm>
            <a:off x="4537190" y="4159848"/>
            <a:ext cx="573518" cy="473734"/>
            <a:chOff x="6744072" y="2609157"/>
            <a:chExt cx="1008114" cy="818422"/>
          </a:xfrm>
        </p:grpSpPr>
        <p:sp>
          <p:nvSpPr>
            <p:cNvPr id="164" name="Rectangle: Top Corners Snipped 44">
              <a:extLst>
                <a:ext uri="{FF2B5EF4-FFF2-40B4-BE49-F238E27FC236}">
                  <a16:creationId xmlns:a16="http://schemas.microsoft.com/office/drawing/2014/main" id="{100A4EAA-59C7-E17D-92C1-89E23D9AAD06}"/>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65" name="TextBox 45">
              <a:extLst>
                <a:ext uri="{FF2B5EF4-FFF2-40B4-BE49-F238E27FC236}">
                  <a16:creationId xmlns:a16="http://schemas.microsoft.com/office/drawing/2014/main" id="{3186777C-A943-E9BC-EB51-F35CCD9E9A3D}"/>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166" name="Oval 46">
              <a:extLst>
                <a:ext uri="{FF2B5EF4-FFF2-40B4-BE49-F238E27FC236}">
                  <a16:creationId xmlns:a16="http://schemas.microsoft.com/office/drawing/2014/main" id="{FDE8DABD-92BD-EE82-809A-3D9ADF04559D}"/>
                </a:ext>
              </a:extLst>
            </p:cNvPr>
            <p:cNvSpPr/>
            <p:nvPr/>
          </p:nvSpPr>
          <p:spPr>
            <a:xfrm>
              <a:off x="6744074" y="2609157"/>
              <a:ext cx="1008112" cy="484186"/>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sp>
        <p:nvSpPr>
          <p:cNvPr id="167" name="TextBox 22">
            <a:extLst>
              <a:ext uri="{FF2B5EF4-FFF2-40B4-BE49-F238E27FC236}">
                <a16:creationId xmlns:a16="http://schemas.microsoft.com/office/drawing/2014/main" id="{37DB81D8-48B1-4E4B-21A3-1A874A3AE930}"/>
              </a:ext>
            </a:extLst>
          </p:cNvPr>
          <p:cNvSpPr txBox="1"/>
          <p:nvPr/>
        </p:nvSpPr>
        <p:spPr>
          <a:xfrm>
            <a:off x="3646191" y="4307730"/>
            <a:ext cx="788999" cy="307777"/>
          </a:xfrm>
          <a:prstGeom prst="rect">
            <a:avLst/>
          </a:prstGeom>
          <a:noFill/>
        </p:spPr>
        <p:txBody>
          <a:bodyPr wrap="none" rtlCol="0">
            <a:spAutoFit/>
          </a:bodyPr>
          <a:lstStyle/>
          <a:p>
            <a:pPr algn="ctr">
              <a:buClr>
                <a:srgbClr val="002F6C"/>
              </a:buClr>
              <a:defRPr/>
            </a:pPr>
            <a:r>
              <a:rPr lang="en-GB" sz="700">
                <a:solidFill>
                  <a:srgbClr val="001E60"/>
                </a:solidFill>
                <a:latin typeface="Tw Cen MT"/>
              </a:rPr>
              <a:t>C5 convertase </a:t>
            </a:r>
            <a:br>
              <a:rPr lang="en-GB" sz="700">
                <a:solidFill>
                  <a:srgbClr val="001E60"/>
                </a:solidFill>
                <a:latin typeface="Tw Cen MT"/>
              </a:rPr>
            </a:br>
            <a:r>
              <a:rPr lang="en-GB" sz="700">
                <a:solidFill>
                  <a:srgbClr val="001E60"/>
                </a:solidFill>
                <a:latin typeface="Tw Cen MT"/>
              </a:rPr>
              <a:t>(C3b</a:t>
            </a:r>
            <a:r>
              <a:rPr lang="en-GB" sz="700" baseline="-25000">
                <a:solidFill>
                  <a:srgbClr val="001E60"/>
                </a:solidFill>
                <a:latin typeface="Tw Cen MT"/>
              </a:rPr>
              <a:t>n</a:t>
            </a:r>
            <a:r>
              <a:rPr lang="en-GB" sz="700">
                <a:solidFill>
                  <a:srgbClr val="001E60"/>
                </a:solidFill>
                <a:latin typeface="Tw Cen MT"/>
              </a:rPr>
              <a:t>Bb)</a:t>
            </a:r>
          </a:p>
        </p:txBody>
      </p:sp>
      <p:cxnSp>
        <p:nvCxnSpPr>
          <p:cNvPr id="168" name="Straight Connector 23">
            <a:extLst>
              <a:ext uri="{FF2B5EF4-FFF2-40B4-BE49-F238E27FC236}">
                <a16:creationId xmlns:a16="http://schemas.microsoft.com/office/drawing/2014/main" id="{C7BA87AA-8BE5-7776-84BF-506E1F35BD1E}"/>
              </a:ext>
            </a:extLst>
          </p:cNvPr>
          <p:cNvCxnSpPr>
            <a:cxnSpLocks/>
            <a:stCxn id="167" idx="3"/>
            <a:endCxn id="164" idx="0"/>
          </p:cNvCxnSpPr>
          <p:nvPr/>
        </p:nvCxnSpPr>
        <p:spPr>
          <a:xfrm flipV="1">
            <a:off x="4435190" y="4458434"/>
            <a:ext cx="102000" cy="3185"/>
          </a:xfrm>
          <a:prstGeom prst="line">
            <a:avLst/>
          </a:prstGeom>
          <a:noFill/>
          <a:ln w="19050" cap="flat" cmpd="sng" algn="ctr">
            <a:solidFill>
              <a:srgbClr val="001E60"/>
            </a:solidFill>
            <a:prstDash val="solid"/>
            <a:miter lim="800000"/>
          </a:ln>
          <a:effectLst/>
        </p:spPr>
      </p:cxnSp>
      <p:cxnSp>
        <p:nvCxnSpPr>
          <p:cNvPr id="169" name="Straight Arrow Connector 25">
            <a:extLst>
              <a:ext uri="{FF2B5EF4-FFF2-40B4-BE49-F238E27FC236}">
                <a16:creationId xmlns:a16="http://schemas.microsoft.com/office/drawing/2014/main" id="{79F73173-7896-211A-D060-60CE1643BB36}"/>
              </a:ext>
            </a:extLst>
          </p:cNvPr>
          <p:cNvCxnSpPr>
            <a:cxnSpLocks/>
            <a:stCxn id="156" idx="4"/>
            <a:endCxn id="177" idx="0"/>
          </p:cNvCxnSpPr>
          <p:nvPr/>
        </p:nvCxnSpPr>
        <p:spPr>
          <a:xfrm>
            <a:off x="3610821" y="5217388"/>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70" name="Straight Arrow Connector 26">
            <a:extLst>
              <a:ext uri="{FF2B5EF4-FFF2-40B4-BE49-F238E27FC236}">
                <a16:creationId xmlns:a16="http://schemas.microsoft.com/office/drawing/2014/main" id="{DC2E4A5E-7FD1-520C-BC22-9889D876D5D3}"/>
              </a:ext>
            </a:extLst>
          </p:cNvPr>
          <p:cNvCxnSpPr>
            <a:cxnSpLocks/>
            <a:stCxn id="155" idx="4"/>
            <a:endCxn id="176" idx="0"/>
          </p:cNvCxnSpPr>
          <p:nvPr/>
        </p:nvCxnSpPr>
        <p:spPr>
          <a:xfrm>
            <a:off x="3220873" y="5217388"/>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71" name="Straight Arrow Connector 27">
            <a:extLst>
              <a:ext uri="{FF2B5EF4-FFF2-40B4-BE49-F238E27FC236}">
                <a16:creationId xmlns:a16="http://schemas.microsoft.com/office/drawing/2014/main" id="{F3459C82-34FD-F915-E70A-67D8FD0F0E37}"/>
              </a:ext>
            </a:extLst>
          </p:cNvPr>
          <p:cNvCxnSpPr>
            <a:cxnSpLocks/>
            <a:stCxn id="154" idx="4"/>
            <a:endCxn id="175" idx="0"/>
          </p:cNvCxnSpPr>
          <p:nvPr/>
        </p:nvCxnSpPr>
        <p:spPr>
          <a:xfrm>
            <a:off x="2830924" y="5217388"/>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72" name="Straight Arrow Connector 28">
            <a:extLst>
              <a:ext uri="{FF2B5EF4-FFF2-40B4-BE49-F238E27FC236}">
                <a16:creationId xmlns:a16="http://schemas.microsoft.com/office/drawing/2014/main" id="{7C823D01-4B29-135B-F9E0-ABDA8B59D9FD}"/>
              </a:ext>
            </a:extLst>
          </p:cNvPr>
          <p:cNvCxnSpPr>
            <a:cxnSpLocks/>
            <a:stCxn id="153" idx="4"/>
            <a:endCxn id="178" idx="0"/>
          </p:cNvCxnSpPr>
          <p:nvPr/>
        </p:nvCxnSpPr>
        <p:spPr>
          <a:xfrm>
            <a:off x="4000770" y="5217388"/>
            <a:ext cx="0" cy="132999"/>
          </a:xfrm>
          <a:prstGeom prst="straightConnector1">
            <a:avLst/>
          </a:prstGeom>
          <a:noFill/>
          <a:ln w="28575" cap="flat" cmpd="sng" algn="ctr">
            <a:solidFill>
              <a:srgbClr val="001E60"/>
            </a:solidFill>
            <a:prstDash val="solid"/>
            <a:miter lim="800000"/>
            <a:tailEnd type="triangle" w="sm" len="sm"/>
          </a:ln>
          <a:effectLst/>
        </p:spPr>
      </p:cxnSp>
      <p:sp>
        <p:nvSpPr>
          <p:cNvPr id="173" name="TextBox 38">
            <a:extLst>
              <a:ext uri="{FF2B5EF4-FFF2-40B4-BE49-F238E27FC236}">
                <a16:creationId xmlns:a16="http://schemas.microsoft.com/office/drawing/2014/main" id="{E327159F-8952-4ABB-B1AC-2399519867D2}"/>
              </a:ext>
            </a:extLst>
          </p:cNvPr>
          <p:cNvSpPr txBox="1"/>
          <p:nvPr/>
        </p:nvSpPr>
        <p:spPr>
          <a:xfrm>
            <a:off x="2602550" y="5710001"/>
            <a:ext cx="4746137" cy="200055"/>
          </a:xfrm>
          <a:prstGeom prst="rect">
            <a:avLst/>
          </a:prstGeom>
          <a:noFill/>
        </p:spPr>
        <p:txBody>
          <a:bodyPr wrap="square" rtlCol="0">
            <a:spAutoFit/>
          </a:bodyPr>
          <a:lstStyle/>
          <a:p>
            <a:pPr algn="ctr">
              <a:buClr>
                <a:srgbClr val="002F6C"/>
              </a:buClr>
              <a:defRPr/>
            </a:pPr>
            <a:r>
              <a:rPr lang="en-GB" sz="700">
                <a:solidFill>
                  <a:srgbClr val="001E60"/>
                </a:solidFill>
                <a:latin typeface="Tw Cen MT"/>
              </a:rPr>
              <a:t>C5b-9 (MAC)</a:t>
            </a:r>
          </a:p>
        </p:txBody>
      </p:sp>
      <p:grpSp>
        <p:nvGrpSpPr>
          <p:cNvPr id="174" name="Group 39">
            <a:extLst>
              <a:ext uri="{FF2B5EF4-FFF2-40B4-BE49-F238E27FC236}">
                <a16:creationId xmlns:a16="http://schemas.microsoft.com/office/drawing/2014/main" id="{C997CDA9-7D1B-3FE6-37C7-7D52B35E0F9F}"/>
              </a:ext>
            </a:extLst>
          </p:cNvPr>
          <p:cNvGrpSpPr/>
          <p:nvPr/>
        </p:nvGrpSpPr>
        <p:grpSpPr>
          <a:xfrm>
            <a:off x="2711312" y="5350387"/>
            <a:ext cx="1409069" cy="343612"/>
            <a:chOff x="4278195" y="5726101"/>
            <a:chExt cx="1975033" cy="481626"/>
          </a:xfrm>
        </p:grpSpPr>
        <p:pic>
          <p:nvPicPr>
            <p:cNvPr id="175" name="Picture 40">
              <a:extLst>
                <a:ext uri="{FF2B5EF4-FFF2-40B4-BE49-F238E27FC236}">
                  <a16:creationId xmlns:a16="http://schemas.microsoft.com/office/drawing/2014/main" id="{478684D3-743C-179B-4AFA-58B2D8CECE2C}"/>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176" name="Picture 41">
              <a:extLst>
                <a:ext uri="{FF2B5EF4-FFF2-40B4-BE49-F238E27FC236}">
                  <a16:creationId xmlns:a16="http://schemas.microsoft.com/office/drawing/2014/main" id="{3D4D4AB0-0520-3CC6-8351-291F1278C7AD}"/>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177" name="Picture 42">
              <a:extLst>
                <a:ext uri="{FF2B5EF4-FFF2-40B4-BE49-F238E27FC236}">
                  <a16:creationId xmlns:a16="http://schemas.microsoft.com/office/drawing/2014/main" id="{58873DAB-EC9A-10AD-296B-34712806C7F1}"/>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178" name="Picture 43">
              <a:extLst>
                <a:ext uri="{FF2B5EF4-FFF2-40B4-BE49-F238E27FC236}">
                  <a16:creationId xmlns:a16="http://schemas.microsoft.com/office/drawing/2014/main" id="{19740B0A-9F9D-166E-D6AA-D4E2CD1F6324}"/>
                </a:ext>
              </a:extLst>
            </p:cNvPr>
            <p:cNvPicPr>
              <a:picLocks noChangeAspect="1"/>
            </p:cNvPicPr>
            <p:nvPr/>
          </p:nvPicPr>
          <p:blipFill>
            <a:blip r:embed="rId4"/>
            <a:stretch>
              <a:fillRect/>
            </a:stretch>
          </p:blipFill>
          <p:spPr>
            <a:xfrm>
              <a:off x="5917919" y="5726101"/>
              <a:ext cx="335309" cy="481626"/>
            </a:xfrm>
            <a:prstGeom prst="rect">
              <a:avLst/>
            </a:prstGeom>
          </p:spPr>
        </p:pic>
      </p:grpSp>
      <p:cxnSp>
        <p:nvCxnSpPr>
          <p:cNvPr id="179" name="Straight Arrow Connector 15">
            <a:extLst>
              <a:ext uri="{FF2B5EF4-FFF2-40B4-BE49-F238E27FC236}">
                <a16:creationId xmlns:a16="http://schemas.microsoft.com/office/drawing/2014/main" id="{610D1026-C951-35A6-8AE6-F0DC4C8751AF}"/>
              </a:ext>
            </a:extLst>
          </p:cNvPr>
          <p:cNvCxnSpPr>
            <a:cxnSpLocks/>
          </p:cNvCxnSpPr>
          <p:nvPr/>
        </p:nvCxnSpPr>
        <p:spPr>
          <a:xfrm flipH="1">
            <a:off x="4823614" y="3602991"/>
            <a:ext cx="676" cy="131419"/>
          </a:xfrm>
          <a:prstGeom prst="straightConnector1">
            <a:avLst/>
          </a:prstGeom>
          <a:noFill/>
          <a:ln w="28575" cap="flat" cmpd="sng" algn="ctr">
            <a:solidFill>
              <a:srgbClr val="001E60"/>
            </a:solidFill>
            <a:prstDash val="solid"/>
            <a:miter lim="800000"/>
            <a:tailEnd type="triangle" w="sm" len="sm"/>
          </a:ln>
          <a:effectLst/>
        </p:spPr>
      </p:cxnSp>
      <p:sp>
        <p:nvSpPr>
          <p:cNvPr id="180" name="TextBox 17">
            <a:extLst>
              <a:ext uri="{FF2B5EF4-FFF2-40B4-BE49-F238E27FC236}">
                <a16:creationId xmlns:a16="http://schemas.microsoft.com/office/drawing/2014/main" id="{981E5A00-B075-572A-E8A7-7E465B26E8E9}"/>
              </a:ext>
            </a:extLst>
          </p:cNvPr>
          <p:cNvSpPr txBox="1"/>
          <p:nvPr/>
        </p:nvSpPr>
        <p:spPr>
          <a:xfrm>
            <a:off x="4207777" y="2899588"/>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81" name="Group 18">
            <a:extLst>
              <a:ext uri="{FF2B5EF4-FFF2-40B4-BE49-F238E27FC236}">
                <a16:creationId xmlns:a16="http://schemas.microsoft.com/office/drawing/2014/main" id="{55B9CCC7-9620-4C14-8C1C-5478A566D163}"/>
              </a:ext>
            </a:extLst>
          </p:cNvPr>
          <p:cNvGrpSpPr/>
          <p:nvPr/>
        </p:nvGrpSpPr>
        <p:grpSpPr>
          <a:xfrm>
            <a:off x="4537193" y="3145671"/>
            <a:ext cx="573517" cy="481708"/>
            <a:chOff x="3714867" y="2610071"/>
            <a:chExt cx="1008112" cy="832199"/>
          </a:xfrm>
        </p:grpSpPr>
        <p:sp>
          <p:nvSpPr>
            <p:cNvPr id="182" name="Rectangle: Top Corners Snipped 47">
              <a:extLst>
                <a:ext uri="{FF2B5EF4-FFF2-40B4-BE49-F238E27FC236}">
                  <a16:creationId xmlns:a16="http://schemas.microsoft.com/office/drawing/2014/main" id="{42F62968-2F38-AD4A-A422-D99CC28CBB8D}"/>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83" name="Oval 48">
              <a:extLst>
                <a:ext uri="{FF2B5EF4-FFF2-40B4-BE49-F238E27FC236}">
                  <a16:creationId xmlns:a16="http://schemas.microsoft.com/office/drawing/2014/main" id="{5A3F8B98-BD12-390E-3FE6-74F861804614}"/>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84" name="TextBox 49">
              <a:extLst>
                <a:ext uri="{FF2B5EF4-FFF2-40B4-BE49-F238E27FC236}">
                  <a16:creationId xmlns:a16="http://schemas.microsoft.com/office/drawing/2014/main" id="{2BD9CF01-E7E7-16F3-D75F-EE0E658BCC22}"/>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85" name="Straight Arrow Connector 24">
            <a:extLst>
              <a:ext uri="{FF2B5EF4-FFF2-40B4-BE49-F238E27FC236}">
                <a16:creationId xmlns:a16="http://schemas.microsoft.com/office/drawing/2014/main" id="{7831A316-CD10-E185-9B30-28A8020A50DC}"/>
              </a:ext>
            </a:extLst>
          </p:cNvPr>
          <p:cNvCxnSpPr>
            <a:cxnSpLocks/>
          </p:cNvCxnSpPr>
          <p:nvPr/>
        </p:nvCxnSpPr>
        <p:spPr>
          <a:xfrm>
            <a:off x="4823951" y="3012736"/>
            <a:ext cx="1" cy="132938"/>
          </a:xfrm>
          <a:prstGeom prst="straightConnector1">
            <a:avLst/>
          </a:prstGeom>
          <a:noFill/>
          <a:ln w="28575" cap="flat" cmpd="sng" algn="ctr">
            <a:solidFill>
              <a:srgbClr val="001E60"/>
            </a:solidFill>
            <a:prstDash val="solid"/>
            <a:miter lim="800000"/>
            <a:tailEnd type="triangle" w="sm" len="sm"/>
          </a:ln>
          <a:effectLst/>
        </p:spPr>
      </p:cxnSp>
      <p:cxnSp>
        <p:nvCxnSpPr>
          <p:cNvPr id="186" name="Straight Arrow Connector 72">
            <a:extLst>
              <a:ext uri="{FF2B5EF4-FFF2-40B4-BE49-F238E27FC236}">
                <a16:creationId xmlns:a16="http://schemas.microsoft.com/office/drawing/2014/main" id="{4A73B1D9-E41F-EC2E-94CA-4A246CAA3A65}"/>
              </a:ext>
            </a:extLst>
          </p:cNvPr>
          <p:cNvCxnSpPr>
            <a:cxnSpLocks/>
          </p:cNvCxnSpPr>
          <p:nvPr/>
        </p:nvCxnSpPr>
        <p:spPr>
          <a:xfrm flipH="1">
            <a:off x="5654059" y="3602991"/>
            <a:ext cx="676" cy="130721"/>
          </a:xfrm>
          <a:prstGeom prst="straightConnector1">
            <a:avLst/>
          </a:prstGeom>
          <a:noFill/>
          <a:ln w="28575" cap="flat" cmpd="sng" algn="ctr">
            <a:solidFill>
              <a:srgbClr val="001E60"/>
            </a:solidFill>
            <a:prstDash val="solid"/>
            <a:miter lim="800000"/>
            <a:tailEnd type="triangle" w="sm" len="sm"/>
          </a:ln>
          <a:effectLst/>
        </p:spPr>
      </p:cxnSp>
      <p:sp>
        <p:nvSpPr>
          <p:cNvPr id="187" name="TextBox 73">
            <a:extLst>
              <a:ext uri="{FF2B5EF4-FFF2-40B4-BE49-F238E27FC236}">
                <a16:creationId xmlns:a16="http://schemas.microsoft.com/office/drawing/2014/main" id="{082A78F6-848D-CB16-F3FD-D6E86D9AD717}"/>
              </a:ext>
            </a:extLst>
          </p:cNvPr>
          <p:cNvSpPr txBox="1"/>
          <p:nvPr/>
        </p:nvSpPr>
        <p:spPr>
          <a:xfrm>
            <a:off x="5026726" y="2899588"/>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88" name="Group 74">
            <a:extLst>
              <a:ext uri="{FF2B5EF4-FFF2-40B4-BE49-F238E27FC236}">
                <a16:creationId xmlns:a16="http://schemas.microsoft.com/office/drawing/2014/main" id="{1C828675-E3BE-555E-7CAA-DB755E10DE1D}"/>
              </a:ext>
            </a:extLst>
          </p:cNvPr>
          <p:cNvGrpSpPr/>
          <p:nvPr/>
        </p:nvGrpSpPr>
        <p:grpSpPr>
          <a:xfrm>
            <a:off x="5367638" y="3145671"/>
            <a:ext cx="573517" cy="481708"/>
            <a:chOff x="3714867" y="2610071"/>
            <a:chExt cx="1008112" cy="832199"/>
          </a:xfrm>
        </p:grpSpPr>
        <p:sp>
          <p:nvSpPr>
            <p:cNvPr id="189" name="Rectangle: Top Corners Snipped 75">
              <a:extLst>
                <a:ext uri="{FF2B5EF4-FFF2-40B4-BE49-F238E27FC236}">
                  <a16:creationId xmlns:a16="http://schemas.microsoft.com/office/drawing/2014/main" id="{164FB333-5541-1928-F4CA-DF180147969C}"/>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90" name="Oval 76">
              <a:extLst>
                <a:ext uri="{FF2B5EF4-FFF2-40B4-BE49-F238E27FC236}">
                  <a16:creationId xmlns:a16="http://schemas.microsoft.com/office/drawing/2014/main" id="{7CCB3A0A-E6C5-5F0B-DEC8-DD81370566CD}"/>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91" name="TextBox 77">
              <a:extLst>
                <a:ext uri="{FF2B5EF4-FFF2-40B4-BE49-F238E27FC236}">
                  <a16:creationId xmlns:a16="http://schemas.microsoft.com/office/drawing/2014/main" id="{4120F733-F594-6FF9-2131-AAF43EAA0197}"/>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92" name="Straight Arrow Connector 79">
            <a:extLst>
              <a:ext uri="{FF2B5EF4-FFF2-40B4-BE49-F238E27FC236}">
                <a16:creationId xmlns:a16="http://schemas.microsoft.com/office/drawing/2014/main" id="{83CE5574-414D-09E4-1CD2-25F8C06C0094}"/>
              </a:ext>
            </a:extLst>
          </p:cNvPr>
          <p:cNvCxnSpPr>
            <a:cxnSpLocks/>
          </p:cNvCxnSpPr>
          <p:nvPr/>
        </p:nvCxnSpPr>
        <p:spPr>
          <a:xfrm>
            <a:off x="5654396" y="3012736"/>
            <a:ext cx="1" cy="132938"/>
          </a:xfrm>
          <a:prstGeom prst="straightConnector1">
            <a:avLst/>
          </a:prstGeom>
          <a:noFill/>
          <a:ln w="28575" cap="flat" cmpd="sng" algn="ctr">
            <a:solidFill>
              <a:srgbClr val="001E60"/>
            </a:solidFill>
            <a:prstDash val="solid"/>
            <a:miter lim="800000"/>
            <a:tailEnd type="triangle" w="sm" len="sm"/>
          </a:ln>
          <a:effectLst/>
        </p:spPr>
      </p:cxnSp>
      <p:cxnSp>
        <p:nvCxnSpPr>
          <p:cNvPr id="193" name="Straight Arrow Connector 83">
            <a:extLst>
              <a:ext uri="{FF2B5EF4-FFF2-40B4-BE49-F238E27FC236}">
                <a16:creationId xmlns:a16="http://schemas.microsoft.com/office/drawing/2014/main" id="{5A80F965-B7E2-7989-B229-013B04FC2824}"/>
              </a:ext>
            </a:extLst>
          </p:cNvPr>
          <p:cNvCxnSpPr>
            <a:cxnSpLocks/>
          </p:cNvCxnSpPr>
          <p:nvPr/>
        </p:nvCxnSpPr>
        <p:spPr>
          <a:xfrm flipH="1">
            <a:off x="6488909" y="3602991"/>
            <a:ext cx="676" cy="130721"/>
          </a:xfrm>
          <a:prstGeom prst="straightConnector1">
            <a:avLst/>
          </a:prstGeom>
          <a:noFill/>
          <a:ln w="28575" cap="flat" cmpd="sng" algn="ctr">
            <a:solidFill>
              <a:srgbClr val="001E60"/>
            </a:solidFill>
            <a:prstDash val="solid"/>
            <a:miter lim="800000"/>
            <a:tailEnd type="triangle" w="sm" len="sm"/>
          </a:ln>
          <a:effectLst/>
        </p:spPr>
      </p:cxnSp>
      <p:sp>
        <p:nvSpPr>
          <p:cNvPr id="194" name="TextBox 84">
            <a:extLst>
              <a:ext uri="{FF2B5EF4-FFF2-40B4-BE49-F238E27FC236}">
                <a16:creationId xmlns:a16="http://schemas.microsoft.com/office/drawing/2014/main" id="{3F86798B-76F8-D5FC-BC1E-39742F859E1E}"/>
              </a:ext>
            </a:extLst>
          </p:cNvPr>
          <p:cNvSpPr txBox="1"/>
          <p:nvPr/>
        </p:nvSpPr>
        <p:spPr>
          <a:xfrm>
            <a:off x="5874063" y="2899588"/>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95" name="Group 85">
            <a:extLst>
              <a:ext uri="{FF2B5EF4-FFF2-40B4-BE49-F238E27FC236}">
                <a16:creationId xmlns:a16="http://schemas.microsoft.com/office/drawing/2014/main" id="{00FCAD7B-DE53-2AA5-3997-E5C931E845A7}"/>
              </a:ext>
            </a:extLst>
          </p:cNvPr>
          <p:cNvGrpSpPr/>
          <p:nvPr/>
        </p:nvGrpSpPr>
        <p:grpSpPr>
          <a:xfrm>
            <a:off x="6202488" y="3145671"/>
            <a:ext cx="573517" cy="481708"/>
            <a:chOff x="3714867" y="2610071"/>
            <a:chExt cx="1008112" cy="832199"/>
          </a:xfrm>
        </p:grpSpPr>
        <p:sp>
          <p:nvSpPr>
            <p:cNvPr id="196" name="Rectangle: Top Corners Snipped 86">
              <a:extLst>
                <a:ext uri="{FF2B5EF4-FFF2-40B4-BE49-F238E27FC236}">
                  <a16:creationId xmlns:a16="http://schemas.microsoft.com/office/drawing/2014/main" id="{ED785A89-4FE6-B2EC-CA1F-55177735B3A2}"/>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97" name="Oval 87">
              <a:extLst>
                <a:ext uri="{FF2B5EF4-FFF2-40B4-BE49-F238E27FC236}">
                  <a16:creationId xmlns:a16="http://schemas.microsoft.com/office/drawing/2014/main" id="{1DFD94E4-56E1-F278-979F-7FB68B916518}"/>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98" name="TextBox 88">
              <a:extLst>
                <a:ext uri="{FF2B5EF4-FFF2-40B4-BE49-F238E27FC236}">
                  <a16:creationId xmlns:a16="http://schemas.microsoft.com/office/drawing/2014/main" id="{1CC80852-AFF6-E5C8-5A50-F53645D120C5}"/>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99" name="Straight Arrow Connector 89">
            <a:extLst>
              <a:ext uri="{FF2B5EF4-FFF2-40B4-BE49-F238E27FC236}">
                <a16:creationId xmlns:a16="http://schemas.microsoft.com/office/drawing/2014/main" id="{85628EFD-0959-B060-B7B6-B91D1D3DB966}"/>
              </a:ext>
            </a:extLst>
          </p:cNvPr>
          <p:cNvCxnSpPr>
            <a:cxnSpLocks/>
          </p:cNvCxnSpPr>
          <p:nvPr/>
        </p:nvCxnSpPr>
        <p:spPr>
          <a:xfrm>
            <a:off x="6489246" y="3012736"/>
            <a:ext cx="1" cy="132938"/>
          </a:xfrm>
          <a:prstGeom prst="straightConnector1">
            <a:avLst/>
          </a:prstGeom>
          <a:noFill/>
          <a:ln w="28575" cap="flat" cmpd="sng" algn="ctr">
            <a:solidFill>
              <a:srgbClr val="001E60"/>
            </a:solidFill>
            <a:prstDash val="solid"/>
            <a:miter lim="800000"/>
            <a:tailEnd type="triangle" w="sm" len="sm"/>
          </a:ln>
          <a:effectLst/>
        </p:spPr>
      </p:cxnSp>
      <p:sp>
        <p:nvSpPr>
          <p:cNvPr id="200" name="Oval 96">
            <a:extLst>
              <a:ext uri="{FF2B5EF4-FFF2-40B4-BE49-F238E27FC236}">
                <a16:creationId xmlns:a16="http://schemas.microsoft.com/office/drawing/2014/main" id="{121E20BA-829A-4AD2-FBC0-4EF2FE34324A}"/>
              </a:ext>
            </a:extLst>
          </p:cNvPr>
          <p:cNvSpPr/>
          <p:nvPr/>
        </p:nvSpPr>
        <p:spPr>
          <a:xfrm>
            <a:off x="6202488" y="3734411"/>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201" name="Oval 97">
            <a:extLst>
              <a:ext uri="{FF2B5EF4-FFF2-40B4-BE49-F238E27FC236}">
                <a16:creationId xmlns:a16="http://schemas.microsoft.com/office/drawing/2014/main" id="{8FA7C48E-7A54-5DB5-BC25-D5E2F765B0B3}"/>
              </a:ext>
            </a:extLst>
          </p:cNvPr>
          <p:cNvSpPr/>
          <p:nvPr/>
        </p:nvSpPr>
        <p:spPr>
          <a:xfrm>
            <a:off x="5367638" y="3734411"/>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grpSp>
        <p:nvGrpSpPr>
          <p:cNvPr id="202" name="Group 98">
            <a:extLst>
              <a:ext uri="{FF2B5EF4-FFF2-40B4-BE49-F238E27FC236}">
                <a16:creationId xmlns:a16="http://schemas.microsoft.com/office/drawing/2014/main" id="{C0FF3F48-40DE-20EB-C9F4-8C301C114CDF}"/>
              </a:ext>
            </a:extLst>
          </p:cNvPr>
          <p:cNvGrpSpPr/>
          <p:nvPr/>
        </p:nvGrpSpPr>
        <p:grpSpPr>
          <a:xfrm>
            <a:off x="5367638" y="4159848"/>
            <a:ext cx="573517" cy="473735"/>
            <a:chOff x="6744072" y="2609156"/>
            <a:chExt cx="1008112" cy="818423"/>
          </a:xfrm>
        </p:grpSpPr>
        <p:sp>
          <p:nvSpPr>
            <p:cNvPr id="203" name="Rectangle: Top Corners Snipped 99">
              <a:extLst>
                <a:ext uri="{FF2B5EF4-FFF2-40B4-BE49-F238E27FC236}">
                  <a16:creationId xmlns:a16="http://schemas.microsoft.com/office/drawing/2014/main" id="{5CC56CC6-2116-930C-7575-2391EA9B05A3}"/>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204" name="TextBox 100">
              <a:extLst>
                <a:ext uri="{FF2B5EF4-FFF2-40B4-BE49-F238E27FC236}">
                  <a16:creationId xmlns:a16="http://schemas.microsoft.com/office/drawing/2014/main" id="{62593EB2-A8BC-44C0-DA3A-DEA920F0493D}"/>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205" name="Oval 101">
              <a:extLst>
                <a:ext uri="{FF2B5EF4-FFF2-40B4-BE49-F238E27FC236}">
                  <a16:creationId xmlns:a16="http://schemas.microsoft.com/office/drawing/2014/main" id="{CB8450E9-D923-8153-6815-45AA567B4084}"/>
                </a:ext>
              </a:extLst>
            </p:cNvPr>
            <p:cNvSpPr/>
            <p:nvPr/>
          </p:nvSpPr>
          <p:spPr>
            <a:xfrm>
              <a:off x="6744072" y="2609156"/>
              <a:ext cx="1008112" cy="484187"/>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grpSp>
        <p:nvGrpSpPr>
          <p:cNvPr id="206" name="Group 102">
            <a:extLst>
              <a:ext uri="{FF2B5EF4-FFF2-40B4-BE49-F238E27FC236}">
                <a16:creationId xmlns:a16="http://schemas.microsoft.com/office/drawing/2014/main" id="{79F8C894-A0D9-E52B-9CBA-58C4EDD15DAC}"/>
              </a:ext>
            </a:extLst>
          </p:cNvPr>
          <p:cNvGrpSpPr/>
          <p:nvPr/>
        </p:nvGrpSpPr>
        <p:grpSpPr>
          <a:xfrm>
            <a:off x="6202488" y="4159848"/>
            <a:ext cx="573517" cy="473735"/>
            <a:chOff x="6744072" y="2609156"/>
            <a:chExt cx="1008112" cy="818423"/>
          </a:xfrm>
        </p:grpSpPr>
        <p:sp>
          <p:nvSpPr>
            <p:cNvPr id="207" name="Rectangle: Top Corners Snipped 103">
              <a:extLst>
                <a:ext uri="{FF2B5EF4-FFF2-40B4-BE49-F238E27FC236}">
                  <a16:creationId xmlns:a16="http://schemas.microsoft.com/office/drawing/2014/main" id="{39685E24-FE80-38CF-45BB-0EAA6141F4C3}"/>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208" name="TextBox 104">
              <a:extLst>
                <a:ext uri="{FF2B5EF4-FFF2-40B4-BE49-F238E27FC236}">
                  <a16:creationId xmlns:a16="http://schemas.microsoft.com/office/drawing/2014/main" id="{CE6CD813-7D81-F28D-F671-4216ADA7C323}"/>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209" name="Oval 105">
              <a:extLst>
                <a:ext uri="{FF2B5EF4-FFF2-40B4-BE49-F238E27FC236}">
                  <a16:creationId xmlns:a16="http://schemas.microsoft.com/office/drawing/2014/main" id="{DE2CD8B1-D717-6C69-BBD7-4B2007BD9BBD}"/>
                </a:ext>
              </a:extLst>
            </p:cNvPr>
            <p:cNvSpPr/>
            <p:nvPr/>
          </p:nvSpPr>
          <p:spPr>
            <a:xfrm>
              <a:off x="6744072" y="2609156"/>
              <a:ext cx="1008112" cy="484187"/>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cxnSp>
        <p:nvCxnSpPr>
          <p:cNvPr id="210" name="Straight Arrow Connector 119">
            <a:extLst>
              <a:ext uri="{FF2B5EF4-FFF2-40B4-BE49-F238E27FC236}">
                <a16:creationId xmlns:a16="http://schemas.microsoft.com/office/drawing/2014/main" id="{6487098A-6D73-D9CF-6516-A411874595A0}"/>
              </a:ext>
            </a:extLst>
          </p:cNvPr>
          <p:cNvCxnSpPr>
            <a:cxnSpLocks/>
          </p:cNvCxnSpPr>
          <p:nvPr/>
        </p:nvCxnSpPr>
        <p:spPr>
          <a:xfrm>
            <a:off x="6489246" y="4031998"/>
            <a:ext cx="0" cy="128419"/>
          </a:xfrm>
          <a:prstGeom prst="straightConnector1">
            <a:avLst/>
          </a:prstGeom>
          <a:noFill/>
          <a:ln w="28575" cap="flat" cmpd="sng" algn="ctr">
            <a:solidFill>
              <a:srgbClr val="001E60"/>
            </a:solidFill>
            <a:prstDash val="solid"/>
            <a:miter lim="800000"/>
            <a:tailEnd type="triangle" w="sm" len="sm"/>
          </a:ln>
          <a:effectLst/>
        </p:spPr>
      </p:cxnSp>
      <p:cxnSp>
        <p:nvCxnSpPr>
          <p:cNvPr id="211" name="Straight Arrow Connector 120">
            <a:extLst>
              <a:ext uri="{FF2B5EF4-FFF2-40B4-BE49-F238E27FC236}">
                <a16:creationId xmlns:a16="http://schemas.microsoft.com/office/drawing/2014/main" id="{7300ECB5-CC82-066A-7318-591F3CB2E737}"/>
              </a:ext>
            </a:extLst>
          </p:cNvPr>
          <p:cNvCxnSpPr>
            <a:cxnSpLocks/>
          </p:cNvCxnSpPr>
          <p:nvPr/>
        </p:nvCxnSpPr>
        <p:spPr>
          <a:xfrm>
            <a:off x="5654396" y="4031998"/>
            <a:ext cx="0" cy="128419"/>
          </a:xfrm>
          <a:prstGeom prst="straightConnector1">
            <a:avLst/>
          </a:prstGeom>
          <a:noFill/>
          <a:ln w="28575" cap="flat" cmpd="sng" algn="ctr">
            <a:solidFill>
              <a:srgbClr val="001E60"/>
            </a:solidFill>
            <a:prstDash val="solid"/>
            <a:miter lim="800000"/>
            <a:tailEnd type="triangle" w="sm" len="sm"/>
          </a:ln>
          <a:effectLst/>
        </p:spPr>
      </p:cxnSp>
      <p:grpSp>
        <p:nvGrpSpPr>
          <p:cNvPr id="212" name="Group 121">
            <a:extLst>
              <a:ext uri="{FF2B5EF4-FFF2-40B4-BE49-F238E27FC236}">
                <a16:creationId xmlns:a16="http://schemas.microsoft.com/office/drawing/2014/main" id="{9DD8540C-C4CF-3017-3794-F5B7EB006C24}"/>
              </a:ext>
            </a:extLst>
          </p:cNvPr>
          <p:cNvGrpSpPr/>
          <p:nvPr/>
        </p:nvGrpSpPr>
        <p:grpSpPr>
          <a:xfrm>
            <a:off x="4201942" y="4849277"/>
            <a:ext cx="1547399" cy="377554"/>
            <a:chOff x="4181249" y="4879913"/>
            <a:chExt cx="2168924" cy="529202"/>
          </a:xfrm>
        </p:grpSpPr>
        <p:sp>
          <p:nvSpPr>
            <p:cNvPr id="213" name="Oval 122">
              <a:extLst>
                <a:ext uri="{FF2B5EF4-FFF2-40B4-BE49-F238E27FC236}">
                  <a16:creationId xmlns:a16="http://schemas.microsoft.com/office/drawing/2014/main" id="{3F8CE957-3D83-553C-85C7-51B496AAEA38}"/>
                </a:ext>
              </a:extLst>
            </p:cNvPr>
            <p:cNvSpPr/>
            <p:nvPr/>
          </p:nvSpPr>
          <p:spPr>
            <a:xfrm>
              <a:off x="5820973"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4" name="Oval 123">
              <a:extLst>
                <a:ext uri="{FF2B5EF4-FFF2-40B4-BE49-F238E27FC236}">
                  <a16:creationId xmlns:a16="http://schemas.microsoft.com/office/drawing/2014/main" id="{EF55EC1A-6CB9-FF12-7B7D-FCACF89B7AD9}"/>
                </a:ext>
              </a:extLst>
            </p:cNvPr>
            <p:cNvSpPr/>
            <p:nvPr/>
          </p:nvSpPr>
          <p:spPr>
            <a:xfrm>
              <a:off x="4181249"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5" name="Oval 124">
              <a:extLst>
                <a:ext uri="{FF2B5EF4-FFF2-40B4-BE49-F238E27FC236}">
                  <a16:creationId xmlns:a16="http://schemas.microsoft.com/office/drawing/2014/main" id="{8B89FEDD-FFB0-E937-EDE8-B54A2B5EB578}"/>
                </a:ext>
              </a:extLst>
            </p:cNvPr>
            <p:cNvSpPr/>
            <p:nvPr/>
          </p:nvSpPr>
          <p:spPr>
            <a:xfrm>
              <a:off x="4727824" y="4879915"/>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6" name="Oval 125">
              <a:extLst>
                <a:ext uri="{FF2B5EF4-FFF2-40B4-BE49-F238E27FC236}">
                  <a16:creationId xmlns:a16="http://schemas.microsoft.com/office/drawing/2014/main" id="{F8797AB0-76B9-996B-6937-04DFF79DCA0E}"/>
                </a:ext>
              </a:extLst>
            </p:cNvPr>
            <p:cNvSpPr/>
            <p:nvPr/>
          </p:nvSpPr>
          <p:spPr>
            <a:xfrm>
              <a:off x="5274398"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grpSp>
      <p:cxnSp>
        <p:nvCxnSpPr>
          <p:cNvPr id="217" name="Straight Arrow Connector 126">
            <a:extLst>
              <a:ext uri="{FF2B5EF4-FFF2-40B4-BE49-F238E27FC236}">
                <a16:creationId xmlns:a16="http://schemas.microsoft.com/office/drawing/2014/main" id="{5ED89549-FD80-1309-47A0-3EEB6DEB4C2F}"/>
              </a:ext>
            </a:extLst>
          </p:cNvPr>
          <p:cNvCxnSpPr>
            <a:cxnSpLocks/>
            <a:stCxn id="216" idx="4"/>
            <a:endCxn id="224" idx="0"/>
          </p:cNvCxnSpPr>
          <p:nvPr/>
        </p:nvCxnSpPr>
        <p:spPr>
          <a:xfrm>
            <a:off x="5170616" y="5226834"/>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18" name="Straight Arrow Connector 127">
            <a:extLst>
              <a:ext uri="{FF2B5EF4-FFF2-40B4-BE49-F238E27FC236}">
                <a16:creationId xmlns:a16="http://schemas.microsoft.com/office/drawing/2014/main" id="{F58D2824-A635-AF8A-BCAA-C2FFDD3D7DC5}"/>
              </a:ext>
            </a:extLst>
          </p:cNvPr>
          <p:cNvCxnSpPr>
            <a:cxnSpLocks/>
            <a:stCxn id="215" idx="4"/>
            <a:endCxn id="223" idx="0"/>
          </p:cNvCxnSpPr>
          <p:nvPr/>
        </p:nvCxnSpPr>
        <p:spPr>
          <a:xfrm>
            <a:off x="4780667" y="5226834"/>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19" name="Straight Arrow Connector 128">
            <a:extLst>
              <a:ext uri="{FF2B5EF4-FFF2-40B4-BE49-F238E27FC236}">
                <a16:creationId xmlns:a16="http://schemas.microsoft.com/office/drawing/2014/main" id="{6C21BD56-D5A5-034C-EB0F-1940E4862C47}"/>
              </a:ext>
            </a:extLst>
          </p:cNvPr>
          <p:cNvCxnSpPr>
            <a:cxnSpLocks/>
            <a:stCxn id="214" idx="4"/>
            <a:endCxn id="222" idx="0"/>
          </p:cNvCxnSpPr>
          <p:nvPr/>
        </p:nvCxnSpPr>
        <p:spPr>
          <a:xfrm>
            <a:off x="4390718" y="5226834"/>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20" name="Straight Arrow Connector 129">
            <a:extLst>
              <a:ext uri="{FF2B5EF4-FFF2-40B4-BE49-F238E27FC236}">
                <a16:creationId xmlns:a16="http://schemas.microsoft.com/office/drawing/2014/main" id="{18E42758-28CE-63E4-45A4-4E92B010B266}"/>
              </a:ext>
            </a:extLst>
          </p:cNvPr>
          <p:cNvCxnSpPr>
            <a:cxnSpLocks/>
            <a:stCxn id="213" idx="4"/>
            <a:endCxn id="225" idx="0"/>
          </p:cNvCxnSpPr>
          <p:nvPr/>
        </p:nvCxnSpPr>
        <p:spPr>
          <a:xfrm>
            <a:off x="5560564" y="5226834"/>
            <a:ext cx="1" cy="132999"/>
          </a:xfrm>
          <a:prstGeom prst="straightConnector1">
            <a:avLst/>
          </a:prstGeom>
          <a:noFill/>
          <a:ln w="28575" cap="flat" cmpd="sng" algn="ctr">
            <a:solidFill>
              <a:srgbClr val="001E60"/>
            </a:solidFill>
            <a:prstDash val="solid"/>
            <a:miter lim="800000"/>
            <a:tailEnd type="triangle" w="sm" len="sm"/>
          </a:ln>
          <a:effectLst/>
        </p:spPr>
      </p:cxnSp>
      <p:grpSp>
        <p:nvGrpSpPr>
          <p:cNvPr id="221" name="Group 130">
            <a:extLst>
              <a:ext uri="{FF2B5EF4-FFF2-40B4-BE49-F238E27FC236}">
                <a16:creationId xmlns:a16="http://schemas.microsoft.com/office/drawing/2014/main" id="{0BA44302-1AA4-A95C-7F2E-C9AE59E476AB}"/>
              </a:ext>
            </a:extLst>
          </p:cNvPr>
          <p:cNvGrpSpPr/>
          <p:nvPr/>
        </p:nvGrpSpPr>
        <p:grpSpPr>
          <a:xfrm>
            <a:off x="4271107" y="5359833"/>
            <a:ext cx="1409069" cy="343612"/>
            <a:chOff x="4278195" y="5726101"/>
            <a:chExt cx="1975033" cy="481626"/>
          </a:xfrm>
        </p:grpSpPr>
        <p:pic>
          <p:nvPicPr>
            <p:cNvPr id="222" name="Picture 131">
              <a:extLst>
                <a:ext uri="{FF2B5EF4-FFF2-40B4-BE49-F238E27FC236}">
                  <a16:creationId xmlns:a16="http://schemas.microsoft.com/office/drawing/2014/main" id="{231E4571-E347-89EB-64FA-AB70F29967C4}"/>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223" name="Picture 132">
              <a:extLst>
                <a:ext uri="{FF2B5EF4-FFF2-40B4-BE49-F238E27FC236}">
                  <a16:creationId xmlns:a16="http://schemas.microsoft.com/office/drawing/2014/main" id="{DD44F0C3-E19C-B475-DD8E-BD54B9015CA0}"/>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224" name="Picture 133">
              <a:extLst>
                <a:ext uri="{FF2B5EF4-FFF2-40B4-BE49-F238E27FC236}">
                  <a16:creationId xmlns:a16="http://schemas.microsoft.com/office/drawing/2014/main" id="{648A4FEC-2EB5-3D6E-C6EC-9B5A2F2A11A7}"/>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225" name="Picture 134">
              <a:extLst>
                <a:ext uri="{FF2B5EF4-FFF2-40B4-BE49-F238E27FC236}">
                  <a16:creationId xmlns:a16="http://schemas.microsoft.com/office/drawing/2014/main" id="{9DE3E5E2-ACB7-4322-4412-4D7E74B94C21}"/>
                </a:ext>
              </a:extLst>
            </p:cNvPr>
            <p:cNvPicPr>
              <a:picLocks noChangeAspect="1"/>
            </p:cNvPicPr>
            <p:nvPr/>
          </p:nvPicPr>
          <p:blipFill>
            <a:blip r:embed="rId4"/>
            <a:stretch>
              <a:fillRect/>
            </a:stretch>
          </p:blipFill>
          <p:spPr>
            <a:xfrm>
              <a:off x="5917919" y="5726101"/>
              <a:ext cx="335309" cy="481626"/>
            </a:xfrm>
            <a:prstGeom prst="rect">
              <a:avLst/>
            </a:prstGeom>
          </p:spPr>
        </p:pic>
      </p:grpSp>
      <p:grpSp>
        <p:nvGrpSpPr>
          <p:cNvPr id="226" name="Group 149">
            <a:extLst>
              <a:ext uri="{FF2B5EF4-FFF2-40B4-BE49-F238E27FC236}">
                <a16:creationId xmlns:a16="http://schemas.microsoft.com/office/drawing/2014/main" id="{68BAF212-B40F-394F-17D1-0A4DD58552A8}"/>
              </a:ext>
            </a:extLst>
          </p:cNvPr>
          <p:cNvGrpSpPr/>
          <p:nvPr/>
        </p:nvGrpSpPr>
        <p:grpSpPr>
          <a:xfrm>
            <a:off x="5762343" y="4847807"/>
            <a:ext cx="1547399" cy="377553"/>
            <a:chOff x="4181249" y="4879913"/>
            <a:chExt cx="2168924" cy="529200"/>
          </a:xfrm>
        </p:grpSpPr>
        <p:sp>
          <p:nvSpPr>
            <p:cNvPr id="227" name="Oval 150">
              <a:extLst>
                <a:ext uri="{FF2B5EF4-FFF2-40B4-BE49-F238E27FC236}">
                  <a16:creationId xmlns:a16="http://schemas.microsoft.com/office/drawing/2014/main" id="{990B4316-B3BD-A895-8A7C-FF2BD659ADEA}"/>
                </a:ext>
              </a:extLst>
            </p:cNvPr>
            <p:cNvSpPr/>
            <p:nvPr/>
          </p:nvSpPr>
          <p:spPr>
            <a:xfrm>
              <a:off x="5820973"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28" name="Oval 151">
              <a:extLst>
                <a:ext uri="{FF2B5EF4-FFF2-40B4-BE49-F238E27FC236}">
                  <a16:creationId xmlns:a16="http://schemas.microsoft.com/office/drawing/2014/main" id="{410E8048-69C8-F183-AF02-409DE67379BF}"/>
                </a:ext>
              </a:extLst>
            </p:cNvPr>
            <p:cNvSpPr/>
            <p:nvPr/>
          </p:nvSpPr>
          <p:spPr>
            <a:xfrm>
              <a:off x="4181249"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29" name="Oval 152">
              <a:extLst>
                <a:ext uri="{FF2B5EF4-FFF2-40B4-BE49-F238E27FC236}">
                  <a16:creationId xmlns:a16="http://schemas.microsoft.com/office/drawing/2014/main" id="{39225F41-F9E2-63DD-305D-F0F4FB4537A1}"/>
                </a:ext>
              </a:extLst>
            </p:cNvPr>
            <p:cNvSpPr/>
            <p:nvPr/>
          </p:nvSpPr>
          <p:spPr>
            <a:xfrm>
              <a:off x="4727824"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30" name="Oval 153">
              <a:extLst>
                <a:ext uri="{FF2B5EF4-FFF2-40B4-BE49-F238E27FC236}">
                  <a16:creationId xmlns:a16="http://schemas.microsoft.com/office/drawing/2014/main" id="{EB94A689-0390-0EF7-5A6C-D09EFA0C0BCF}"/>
                </a:ext>
              </a:extLst>
            </p:cNvPr>
            <p:cNvSpPr/>
            <p:nvPr/>
          </p:nvSpPr>
          <p:spPr>
            <a:xfrm>
              <a:off x="5274398"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grpSp>
      <p:cxnSp>
        <p:nvCxnSpPr>
          <p:cNvPr id="231" name="Straight Arrow Connector 154">
            <a:extLst>
              <a:ext uri="{FF2B5EF4-FFF2-40B4-BE49-F238E27FC236}">
                <a16:creationId xmlns:a16="http://schemas.microsoft.com/office/drawing/2014/main" id="{396D3CC9-3BD3-DE2E-63BE-03778617079E}"/>
              </a:ext>
            </a:extLst>
          </p:cNvPr>
          <p:cNvCxnSpPr>
            <a:cxnSpLocks/>
            <a:stCxn id="230" idx="4"/>
            <a:endCxn id="238" idx="0"/>
          </p:cNvCxnSpPr>
          <p:nvPr/>
        </p:nvCxnSpPr>
        <p:spPr>
          <a:xfrm>
            <a:off x="6731017" y="5225360"/>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2" name="Straight Arrow Connector 155">
            <a:extLst>
              <a:ext uri="{FF2B5EF4-FFF2-40B4-BE49-F238E27FC236}">
                <a16:creationId xmlns:a16="http://schemas.microsoft.com/office/drawing/2014/main" id="{86DB71F4-F7E7-4180-7A87-69CA16FD8CA0}"/>
              </a:ext>
            </a:extLst>
          </p:cNvPr>
          <p:cNvCxnSpPr>
            <a:cxnSpLocks/>
            <a:stCxn id="229" idx="4"/>
            <a:endCxn id="237" idx="0"/>
          </p:cNvCxnSpPr>
          <p:nvPr/>
        </p:nvCxnSpPr>
        <p:spPr>
          <a:xfrm>
            <a:off x="6341069" y="5225360"/>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3" name="Straight Arrow Connector 156">
            <a:extLst>
              <a:ext uri="{FF2B5EF4-FFF2-40B4-BE49-F238E27FC236}">
                <a16:creationId xmlns:a16="http://schemas.microsoft.com/office/drawing/2014/main" id="{80A8947B-FFD6-AE97-7376-4F9344A26982}"/>
              </a:ext>
            </a:extLst>
          </p:cNvPr>
          <p:cNvCxnSpPr>
            <a:cxnSpLocks/>
            <a:stCxn id="228" idx="4"/>
            <a:endCxn id="236" idx="0"/>
          </p:cNvCxnSpPr>
          <p:nvPr/>
        </p:nvCxnSpPr>
        <p:spPr>
          <a:xfrm>
            <a:off x="5951120" y="5225360"/>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4" name="Straight Arrow Connector 157">
            <a:extLst>
              <a:ext uri="{FF2B5EF4-FFF2-40B4-BE49-F238E27FC236}">
                <a16:creationId xmlns:a16="http://schemas.microsoft.com/office/drawing/2014/main" id="{F53DCCF6-7FB7-3975-6539-596941A840BE}"/>
              </a:ext>
            </a:extLst>
          </p:cNvPr>
          <p:cNvCxnSpPr>
            <a:cxnSpLocks/>
            <a:stCxn id="227" idx="4"/>
            <a:endCxn id="239" idx="0"/>
          </p:cNvCxnSpPr>
          <p:nvPr/>
        </p:nvCxnSpPr>
        <p:spPr>
          <a:xfrm>
            <a:off x="7120966" y="5225360"/>
            <a:ext cx="1" cy="132999"/>
          </a:xfrm>
          <a:prstGeom prst="straightConnector1">
            <a:avLst/>
          </a:prstGeom>
          <a:noFill/>
          <a:ln w="28575" cap="flat" cmpd="sng" algn="ctr">
            <a:solidFill>
              <a:srgbClr val="001E60"/>
            </a:solidFill>
            <a:prstDash val="solid"/>
            <a:miter lim="800000"/>
            <a:tailEnd type="triangle" w="sm" len="sm"/>
          </a:ln>
          <a:effectLst/>
        </p:spPr>
      </p:cxnSp>
      <p:grpSp>
        <p:nvGrpSpPr>
          <p:cNvPr id="235" name="Group 158">
            <a:extLst>
              <a:ext uri="{FF2B5EF4-FFF2-40B4-BE49-F238E27FC236}">
                <a16:creationId xmlns:a16="http://schemas.microsoft.com/office/drawing/2014/main" id="{4AD2D23F-A919-16D9-5730-222296B1A1D3}"/>
              </a:ext>
            </a:extLst>
          </p:cNvPr>
          <p:cNvGrpSpPr/>
          <p:nvPr/>
        </p:nvGrpSpPr>
        <p:grpSpPr>
          <a:xfrm>
            <a:off x="5831509" y="5358359"/>
            <a:ext cx="1409069" cy="343612"/>
            <a:chOff x="4278195" y="5726101"/>
            <a:chExt cx="1975033" cy="481626"/>
          </a:xfrm>
        </p:grpSpPr>
        <p:pic>
          <p:nvPicPr>
            <p:cNvPr id="236" name="Picture 159">
              <a:extLst>
                <a:ext uri="{FF2B5EF4-FFF2-40B4-BE49-F238E27FC236}">
                  <a16:creationId xmlns:a16="http://schemas.microsoft.com/office/drawing/2014/main" id="{129C257A-A77D-C993-936D-ADC11E9C05F6}"/>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237" name="Picture 160">
              <a:extLst>
                <a:ext uri="{FF2B5EF4-FFF2-40B4-BE49-F238E27FC236}">
                  <a16:creationId xmlns:a16="http://schemas.microsoft.com/office/drawing/2014/main" id="{7DF6F424-7771-75EF-CF5C-749B3D668329}"/>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238" name="Picture 161">
              <a:extLst>
                <a:ext uri="{FF2B5EF4-FFF2-40B4-BE49-F238E27FC236}">
                  <a16:creationId xmlns:a16="http://schemas.microsoft.com/office/drawing/2014/main" id="{4CC72642-114F-5B25-E490-FB566808BAE3}"/>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239" name="Picture 162">
              <a:extLst>
                <a:ext uri="{FF2B5EF4-FFF2-40B4-BE49-F238E27FC236}">
                  <a16:creationId xmlns:a16="http://schemas.microsoft.com/office/drawing/2014/main" id="{5E2CD102-9BCC-5B2C-2689-718A1EBB6490}"/>
                </a:ext>
              </a:extLst>
            </p:cNvPr>
            <p:cNvPicPr>
              <a:picLocks noChangeAspect="1"/>
            </p:cNvPicPr>
            <p:nvPr/>
          </p:nvPicPr>
          <p:blipFill>
            <a:blip r:embed="rId4"/>
            <a:stretch>
              <a:fillRect/>
            </a:stretch>
          </p:blipFill>
          <p:spPr>
            <a:xfrm>
              <a:off x="5917919" y="5726101"/>
              <a:ext cx="335309" cy="481626"/>
            </a:xfrm>
            <a:prstGeom prst="rect">
              <a:avLst/>
            </a:prstGeom>
          </p:spPr>
        </p:pic>
      </p:grpSp>
      <p:cxnSp>
        <p:nvCxnSpPr>
          <p:cNvPr id="240" name="Straight Arrow Connector 163">
            <a:extLst>
              <a:ext uri="{FF2B5EF4-FFF2-40B4-BE49-F238E27FC236}">
                <a16:creationId xmlns:a16="http://schemas.microsoft.com/office/drawing/2014/main" id="{28FE713E-AB0F-2FDA-0C7D-00B032316D13}"/>
              </a:ext>
            </a:extLst>
          </p:cNvPr>
          <p:cNvCxnSpPr>
            <a:cxnSpLocks/>
            <a:stCxn id="165" idx="2"/>
            <a:endCxn id="154" idx="0"/>
          </p:cNvCxnSpPr>
          <p:nvPr/>
        </p:nvCxnSpPr>
        <p:spPr>
          <a:xfrm flipH="1">
            <a:off x="2830924" y="4633582"/>
            <a:ext cx="1993701" cy="206253"/>
          </a:xfrm>
          <a:prstGeom prst="straightConnector1">
            <a:avLst/>
          </a:prstGeom>
          <a:noFill/>
          <a:ln w="28575" cap="flat" cmpd="sng" algn="ctr">
            <a:solidFill>
              <a:srgbClr val="001E60"/>
            </a:solidFill>
            <a:prstDash val="solid"/>
            <a:miter lim="800000"/>
            <a:tailEnd type="triangle" w="sm" len="sm"/>
          </a:ln>
          <a:effectLst/>
        </p:spPr>
      </p:cxnSp>
      <p:cxnSp>
        <p:nvCxnSpPr>
          <p:cNvPr id="241" name="Straight Arrow Connector 166">
            <a:extLst>
              <a:ext uri="{FF2B5EF4-FFF2-40B4-BE49-F238E27FC236}">
                <a16:creationId xmlns:a16="http://schemas.microsoft.com/office/drawing/2014/main" id="{0D5788D6-3A89-3F1E-0194-CACFEFEA8126}"/>
              </a:ext>
            </a:extLst>
          </p:cNvPr>
          <p:cNvCxnSpPr>
            <a:cxnSpLocks/>
            <a:stCxn id="165" idx="2"/>
            <a:endCxn id="155" idx="0"/>
          </p:cNvCxnSpPr>
          <p:nvPr/>
        </p:nvCxnSpPr>
        <p:spPr>
          <a:xfrm flipH="1">
            <a:off x="3220873" y="4633582"/>
            <a:ext cx="1603752" cy="206253"/>
          </a:xfrm>
          <a:prstGeom prst="straightConnector1">
            <a:avLst/>
          </a:prstGeom>
          <a:noFill/>
          <a:ln w="28575" cap="flat" cmpd="sng" algn="ctr">
            <a:solidFill>
              <a:srgbClr val="001E60"/>
            </a:solidFill>
            <a:prstDash val="solid"/>
            <a:miter lim="800000"/>
            <a:tailEnd type="triangle" w="sm" len="sm"/>
          </a:ln>
          <a:effectLst/>
        </p:spPr>
      </p:cxnSp>
      <p:cxnSp>
        <p:nvCxnSpPr>
          <p:cNvPr id="242" name="Straight Arrow Connector 169">
            <a:extLst>
              <a:ext uri="{FF2B5EF4-FFF2-40B4-BE49-F238E27FC236}">
                <a16:creationId xmlns:a16="http://schemas.microsoft.com/office/drawing/2014/main" id="{5798AB0D-B8CE-3BE7-5997-7E2E287C76AD}"/>
              </a:ext>
            </a:extLst>
          </p:cNvPr>
          <p:cNvCxnSpPr>
            <a:cxnSpLocks/>
            <a:stCxn id="165" idx="2"/>
            <a:endCxn id="156" idx="0"/>
          </p:cNvCxnSpPr>
          <p:nvPr/>
        </p:nvCxnSpPr>
        <p:spPr>
          <a:xfrm flipH="1">
            <a:off x="3610821" y="4633582"/>
            <a:ext cx="1213804" cy="206253"/>
          </a:xfrm>
          <a:prstGeom prst="straightConnector1">
            <a:avLst/>
          </a:prstGeom>
          <a:noFill/>
          <a:ln w="28575" cap="flat" cmpd="sng" algn="ctr">
            <a:solidFill>
              <a:srgbClr val="001E60"/>
            </a:solidFill>
            <a:prstDash val="solid"/>
            <a:miter lim="800000"/>
            <a:tailEnd type="triangle" w="sm" len="sm"/>
          </a:ln>
          <a:effectLst/>
        </p:spPr>
      </p:cxnSp>
      <p:cxnSp>
        <p:nvCxnSpPr>
          <p:cNvPr id="243" name="Straight Arrow Connector 172">
            <a:extLst>
              <a:ext uri="{FF2B5EF4-FFF2-40B4-BE49-F238E27FC236}">
                <a16:creationId xmlns:a16="http://schemas.microsoft.com/office/drawing/2014/main" id="{10AFA277-AE46-30B1-332E-BA05C09C53F1}"/>
              </a:ext>
            </a:extLst>
          </p:cNvPr>
          <p:cNvCxnSpPr>
            <a:cxnSpLocks/>
            <a:stCxn id="165" idx="2"/>
            <a:endCxn id="153" idx="0"/>
          </p:cNvCxnSpPr>
          <p:nvPr/>
        </p:nvCxnSpPr>
        <p:spPr>
          <a:xfrm flipH="1">
            <a:off x="4000770" y="4633582"/>
            <a:ext cx="823855" cy="206253"/>
          </a:xfrm>
          <a:prstGeom prst="straightConnector1">
            <a:avLst/>
          </a:prstGeom>
          <a:noFill/>
          <a:ln w="28575" cap="flat" cmpd="sng" algn="ctr">
            <a:solidFill>
              <a:srgbClr val="001E60"/>
            </a:solidFill>
            <a:prstDash val="solid"/>
            <a:miter lim="800000"/>
            <a:tailEnd type="triangle" w="sm" len="sm"/>
          </a:ln>
          <a:effectLst/>
        </p:spPr>
      </p:cxnSp>
      <p:cxnSp>
        <p:nvCxnSpPr>
          <p:cNvPr id="244" name="Straight Arrow Connector 175">
            <a:extLst>
              <a:ext uri="{FF2B5EF4-FFF2-40B4-BE49-F238E27FC236}">
                <a16:creationId xmlns:a16="http://schemas.microsoft.com/office/drawing/2014/main" id="{7A9D239B-111D-1AE9-B41C-A7EEA845AD0B}"/>
              </a:ext>
            </a:extLst>
          </p:cNvPr>
          <p:cNvCxnSpPr>
            <a:cxnSpLocks/>
            <a:stCxn id="204" idx="2"/>
            <a:endCxn id="214" idx="0"/>
          </p:cNvCxnSpPr>
          <p:nvPr/>
        </p:nvCxnSpPr>
        <p:spPr>
          <a:xfrm flipH="1">
            <a:off x="4390719" y="4633583"/>
            <a:ext cx="1264354" cy="215698"/>
          </a:xfrm>
          <a:prstGeom prst="straightConnector1">
            <a:avLst/>
          </a:prstGeom>
          <a:noFill/>
          <a:ln w="28575" cap="flat" cmpd="sng" algn="ctr">
            <a:solidFill>
              <a:srgbClr val="001E60"/>
            </a:solidFill>
            <a:prstDash val="solid"/>
            <a:miter lim="800000"/>
            <a:tailEnd type="triangle" w="sm" len="sm"/>
          </a:ln>
          <a:effectLst/>
        </p:spPr>
      </p:cxnSp>
      <p:cxnSp>
        <p:nvCxnSpPr>
          <p:cNvPr id="245" name="Straight Arrow Connector 178">
            <a:extLst>
              <a:ext uri="{FF2B5EF4-FFF2-40B4-BE49-F238E27FC236}">
                <a16:creationId xmlns:a16="http://schemas.microsoft.com/office/drawing/2014/main" id="{26364985-D669-DCAE-7FF0-FC93155CEB4F}"/>
              </a:ext>
            </a:extLst>
          </p:cNvPr>
          <p:cNvCxnSpPr>
            <a:cxnSpLocks/>
            <a:stCxn id="204" idx="2"/>
            <a:endCxn id="215" idx="0"/>
          </p:cNvCxnSpPr>
          <p:nvPr/>
        </p:nvCxnSpPr>
        <p:spPr>
          <a:xfrm flipH="1">
            <a:off x="4780668" y="4633583"/>
            <a:ext cx="874405" cy="215698"/>
          </a:xfrm>
          <a:prstGeom prst="straightConnector1">
            <a:avLst/>
          </a:prstGeom>
          <a:noFill/>
          <a:ln w="28575" cap="flat" cmpd="sng" algn="ctr">
            <a:solidFill>
              <a:srgbClr val="001E60"/>
            </a:solidFill>
            <a:prstDash val="solid"/>
            <a:miter lim="800000"/>
            <a:tailEnd type="triangle" w="sm" len="sm"/>
          </a:ln>
          <a:effectLst/>
        </p:spPr>
      </p:cxnSp>
      <p:cxnSp>
        <p:nvCxnSpPr>
          <p:cNvPr id="246" name="Straight Arrow Connector 181">
            <a:extLst>
              <a:ext uri="{FF2B5EF4-FFF2-40B4-BE49-F238E27FC236}">
                <a16:creationId xmlns:a16="http://schemas.microsoft.com/office/drawing/2014/main" id="{A6CAC642-A65C-4834-A9DD-232B6CDB920D}"/>
              </a:ext>
            </a:extLst>
          </p:cNvPr>
          <p:cNvCxnSpPr>
            <a:cxnSpLocks/>
            <a:stCxn id="204" idx="2"/>
            <a:endCxn id="216" idx="0"/>
          </p:cNvCxnSpPr>
          <p:nvPr/>
        </p:nvCxnSpPr>
        <p:spPr>
          <a:xfrm flipH="1">
            <a:off x="5170616" y="4633583"/>
            <a:ext cx="484457" cy="215694"/>
          </a:xfrm>
          <a:prstGeom prst="straightConnector1">
            <a:avLst/>
          </a:prstGeom>
          <a:noFill/>
          <a:ln w="28575" cap="flat" cmpd="sng" algn="ctr">
            <a:solidFill>
              <a:srgbClr val="001E60"/>
            </a:solidFill>
            <a:prstDash val="solid"/>
            <a:miter lim="800000"/>
            <a:tailEnd type="triangle" w="sm" len="sm"/>
          </a:ln>
          <a:effectLst/>
        </p:spPr>
      </p:cxnSp>
      <p:cxnSp>
        <p:nvCxnSpPr>
          <p:cNvPr id="247" name="Straight Arrow Connector 184">
            <a:extLst>
              <a:ext uri="{FF2B5EF4-FFF2-40B4-BE49-F238E27FC236}">
                <a16:creationId xmlns:a16="http://schemas.microsoft.com/office/drawing/2014/main" id="{393245CB-0352-596B-8768-1B34B095F888}"/>
              </a:ext>
            </a:extLst>
          </p:cNvPr>
          <p:cNvCxnSpPr>
            <a:cxnSpLocks/>
            <a:stCxn id="204" idx="2"/>
            <a:endCxn id="213" idx="0"/>
          </p:cNvCxnSpPr>
          <p:nvPr/>
        </p:nvCxnSpPr>
        <p:spPr>
          <a:xfrm flipH="1">
            <a:off x="5560565" y="4633583"/>
            <a:ext cx="94508" cy="215694"/>
          </a:xfrm>
          <a:prstGeom prst="straightConnector1">
            <a:avLst/>
          </a:prstGeom>
          <a:noFill/>
          <a:ln w="28575" cap="flat" cmpd="sng" algn="ctr">
            <a:solidFill>
              <a:srgbClr val="001E60"/>
            </a:solidFill>
            <a:prstDash val="solid"/>
            <a:miter lim="800000"/>
            <a:tailEnd type="triangle" w="sm" len="sm"/>
          </a:ln>
          <a:effectLst/>
        </p:spPr>
      </p:cxnSp>
      <p:cxnSp>
        <p:nvCxnSpPr>
          <p:cNvPr id="248" name="Straight Arrow Connector 187">
            <a:extLst>
              <a:ext uri="{FF2B5EF4-FFF2-40B4-BE49-F238E27FC236}">
                <a16:creationId xmlns:a16="http://schemas.microsoft.com/office/drawing/2014/main" id="{F0088C41-1AD6-3547-95F1-931E3A318906}"/>
              </a:ext>
            </a:extLst>
          </p:cNvPr>
          <p:cNvCxnSpPr>
            <a:cxnSpLocks/>
            <a:stCxn id="208" idx="2"/>
            <a:endCxn id="228" idx="0"/>
          </p:cNvCxnSpPr>
          <p:nvPr/>
        </p:nvCxnSpPr>
        <p:spPr>
          <a:xfrm flipH="1">
            <a:off x="5951120" y="4633583"/>
            <a:ext cx="538803" cy="214224"/>
          </a:xfrm>
          <a:prstGeom prst="straightConnector1">
            <a:avLst/>
          </a:prstGeom>
          <a:noFill/>
          <a:ln w="28575" cap="flat" cmpd="sng" algn="ctr">
            <a:solidFill>
              <a:srgbClr val="001E60"/>
            </a:solidFill>
            <a:prstDash val="solid"/>
            <a:miter lim="800000"/>
            <a:tailEnd type="triangle" w="sm" len="sm"/>
          </a:ln>
          <a:effectLst/>
        </p:spPr>
      </p:cxnSp>
      <p:cxnSp>
        <p:nvCxnSpPr>
          <p:cNvPr id="249" name="Straight Arrow Connector 190">
            <a:extLst>
              <a:ext uri="{FF2B5EF4-FFF2-40B4-BE49-F238E27FC236}">
                <a16:creationId xmlns:a16="http://schemas.microsoft.com/office/drawing/2014/main" id="{82A5A980-F362-6F4D-8B64-9F37DADA905B}"/>
              </a:ext>
            </a:extLst>
          </p:cNvPr>
          <p:cNvCxnSpPr>
            <a:cxnSpLocks/>
            <a:stCxn id="208" idx="2"/>
            <a:endCxn id="229" idx="0"/>
          </p:cNvCxnSpPr>
          <p:nvPr/>
        </p:nvCxnSpPr>
        <p:spPr>
          <a:xfrm flipH="1">
            <a:off x="6341069" y="4633583"/>
            <a:ext cx="148854" cy="214224"/>
          </a:xfrm>
          <a:prstGeom prst="straightConnector1">
            <a:avLst/>
          </a:prstGeom>
          <a:noFill/>
          <a:ln w="28575" cap="flat" cmpd="sng" algn="ctr">
            <a:solidFill>
              <a:srgbClr val="001E60"/>
            </a:solidFill>
            <a:prstDash val="solid"/>
            <a:miter lim="800000"/>
            <a:tailEnd type="triangle" w="sm" len="sm"/>
          </a:ln>
          <a:effectLst/>
        </p:spPr>
      </p:cxnSp>
      <p:cxnSp>
        <p:nvCxnSpPr>
          <p:cNvPr id="250" name="Straight Arrow Connector 193">
            <a:extLst>
              <a:ext uri="{FF2B5EF4-FFF2-40B4-BE49-F238E27FC236}">
                <a16:creationId xmlns:a16="http://schemas.microsoft.com/office/drawing/2014/main" id="{CCBEE492-BC72-CFBB-1203-6A5AF3E949AB}"/>
              </a:ext>
            </a:extLst>
          </p:cNvPr>
          <p:cNvCxnSpPr>
            <a:cxnSpLocks/>
            <a:stCxn id="208" idx="2"/>
            <a:endCxn id="230" idx="0"/>
          </p:cNvCxnSpPr>
          <p:nvPr/>
        </p:nvCxnSpPr>
        <p:spPr>
          <a:xfrm>
            <a:off x="6489923" y="4633583"/>
            <a:ext cx="241094" cy="214224"/>
          </a:xfrm>
          <a:prstGeom prst="straightConnector1">
            <a:avLst/>
          </a:prstGeom>
          <a:noFill/>
          <a:ln w="28575" cap="flat" cmpd="sng" algn="ctr">
            <a:solidFill>
              <a:srgbClr val="001E60"/>
            </a:solidFill>
            <a:prstDash val="solid"/>
            <a:miter lim="800000"/>
            <a:tailEnd type="triangle" w="sm" len="sm"/>
          </a:ln>
          <a:effectLst/>
        </p:spPr>
      </p:cxnSp>
      <p:cxnSp>
        <p:nvCxnSpPr>
          <p:cNvPr id="251" name="Straight Arrow Connector 196">
            <a:extLst>
              <a:ext uri="{FF2B5EF4-FFF2-40B4-BE49-F238E27FC236}">
                <a16:creationId xmlns:a16="http://schemas.microsoft.com/office/drawing/2014/main" id="{B86C7C82-A725-6B32-A96E-22724C431FB3}"/>
              </a:ext>
            </a:extLst>
          </p:cNvPr>
          <p:cNvCxnSpPr>
            <a:cxnSpLocks/>
            <a:stCxn id="208" idx="2"/>
            <a:endCxn id="227" idx="0"/>
          </p:cNvCxnSpPr>
          <p:nvPr/>
        </p:nvCxnSpPr>
        <p:spPr>
          <a:xfrm>
            <a:off x="6489923" y="4633583"/>
            <a:ext cx="631043" cy="214224"/>
          </a:xfrm>
          <a:prstGeom prst="straightConnector1">
            <a:avLst/>
          </a:prstGeom>
          <a:noFill/>
          <a:ln w="28575" cap="flat" cmpd="sng" algn="ctr">
            <a:solidFill>
              <a:srgbClr val="001E60"/>
            </a:solidFill>
            <a:prstDash val="solid"/>
            <a:miter lim="800000"/>
            <a:tailEnd type="triangle" w="sm" len="sm"/>
          </a:ln>
          <a:effectLst/>
        </p:spPr>
      </p:cxnSp>
      <p:grpSp>
        <p:nvGrpSpPr>
          <p:cNvPr id="252" name="Group 9">
            <a:extLst>
              <a:ext uri="{FF2B5EF4-FFF2-40B4-BE49-F238E27FC236}">
                <a16:creationId xmlns:a16="http://schemas.microsoft.com/office/drawing/2014/main" id="{D015FBC6-BA3B-62C4-AB22-0E9423FA47C9}"/>
              </a:ext>
            </a:extLst>
          </p:cNvPr>
          <p:cNvGrpSpPr/>
          <p:nvPr/>
        </p:nvGrpSpPr>
        <p:grpSpPr>
          <a:xfrm>
            <a:off x="7735439" y="3666063"/>
            <a:ext cx="4576071" cy="1394175"/>
            <a:chOff x="1135533" y="5289993"/>
            <a:chExt cx="4576071" cy="1394175"/>
          </a:xfrm>
        </p:grpSpPr>
        <p:pic>
          <p:nvPicPr>
            <p:cNvPr id="253" name="Picture 5" descr="Icon&#10;&#10;Description automatically generated">
              <a:extLst>
                <a:ext uri="{FF2B5EF4-FFF2-40B4-BE49-F238E27FC236}">
                  <a16:creationId xmlns:a16="http://schemas.microsoft.com/office/drawing/2014/main" id="{07E996B9-D538-6B7D-E81B-8B66EDD9D08E}"/>
                </a:ext>
              </a:extLst>
            </p:cNvPr>
            <p:cNvPicPr>
              <a:picLocks noChangeAspect="1"/>
            </p:cNvPicPr>
            <p:nvPr/>
          </p:nvPicPr>
          <p:blipFill>
            <a:blip r:embed="rId5"/>
            <a:stretch>
              <a:fillRect/>
            </a:stretch>
          </p:blipFill>
          <p:spPr>
            <a:xfrm>
              <a:off x="1135533" y="5289993"/>
              <a:ext cx="4576071" cy="1081906"/>
            </a:xfrm>
            <a:prstGeom prst="rect">
              <a:avLst/>
            </a:prstGeom>
          </p:spPr>
        </p:pic>
        <p:sp>
          <p:nvSpPr>
            <p:cNvPr id="254" name="TextBox 218">
              <a:extLst>
                <a:ext uri="{FF2B5EF4-FFF2-40B4-BE49-F238E27FC236}">
                  <a16:creationId xmlns:a16="http://schemas.microsoft.com/office/drawing/2014/main" id="{52647CF2-8C4B-F84A-7783-128F382F3B5D}"/>
                </a:ext>
              </a:extLst>
            </p:cNvPr>
            <p:cNvSpPr txBox="1"/>
            <p:nvPr/>
          </p:nvSpPr>
          <p:spPr>
            <a:xfrm>
              <a:off x="1271464" y="6253281"/>
              <a:ext cx="834009" cy="430887"/>
            </a:xfrm>
            <a:prstGeom prst="rect">
              <a:avLst/>
            </a:prstGeom>
            <a:noFill/>
          </p:spPr>
          <p:txBody>
            <a:bodyPr wrap="square" rtlCol="0">
              <a:spAutoFit/>
            </a:bodyPr>
            <a:lstStyle/>
            <a:p>
              <a:pPr algn="ctr">
                <a:buClr>
                  <a:srgbClr val="002F6C"/>
                </a:buClr>
                <a:defRPr/>
              </a:pPr>
              <a:r>
                <a:rPr lang="en-GB" sz="1100">
                  <a:solidFill>
                    <a:srgbClr val="001E60"/>
                  </a:solidFill>
                  <a:latin typeface="Tw Cen MT"/>
                </a:rPr>
                <a:t>Normal red cells</a:t>
              </a:r>
            </a:p>
          </p:txBody>
        </p:sp>
        <p:sp>
          <p:nvSpPr>
            <p:cNvPr id="255" name="TextBox 219">
              <a:extLst>
                <a:ext uri="{FF2B5EF4-FFF2-40B4-BE49-F238E27FC236}">
                  <a16:creationId xmlns:a16="http://schemas.microsoft.com/office/drawing/2014/main" id="{446661B5-589A-C1B3-2978-C3C625919B88}"/>
                </a:ext>
              </a:extLst>
            </p:cNvPr>
            <p:cNvSpPr txBox="1"/>
            <p:nvPr/>
          </p:nvSpPr>
          <p:spPr>
            <a:xfrm>
              <a:off x="2105472" y="6253281"/>
              <a:ext cx="3414464" cy="261610"/>
            </a:xfrm>
            <a:prstGeom prst="rect">
              <a:avLst/>
            </a:prstGeom>
            <a:noFill/>
          </p:spPr>
          <p:txBody>
            <a:bodyPr wrap="square" rtlCol="0">
              <a:spAutoFit/>
            </a:bodyPr>
            <a:lstStyle/>
            <a:p>
              <a:pPr algn="ctr">
                <a:buClr>
                  <a:srgbClr val="002F6C"/>
                </a:buClr>
                <a:defRPr/>
              </a:pPr>
              <a:r>
                <a:rPr lang="en-GB" sz="1100">
                  <a:solidFill>
                    <a:srgbClr val="001E60"/>
                  </a:solidFill>
                  <a:latin typeface="Tw Cen MT"/>
                </a:rPr>
                <a:t>PNH red cells</a:t>
              </a:r>
            </a:p>
          </p:txBody>
        </p:sp>
      </p:grpSp>
      <p:grpSp>
        <p:nvGrpSpPr>
          <p:cNvPr id="256" name="Group 185">
            <a:extLst>
              <a:ext uri="{FF2B5EF4-FFF2-40B4-BE49-F238E27FC236}">
                <a16:creationId xmlns:a16="http://schemas.microsoft.com/office/drawing/2014/main" id="{D7979CE7-7818-0381-DC16-6C881FC297C4}"/>
              </a:ext>
            </a:extLst>
          </p:cNvPr>
          <p:cNvGrpSpPr/>
          <p:nvPr/>
        </p:nvGrpSpPr>
        <p:grpSpPr>
          <a:xfrm>
            <a:off x="6305935" y="2631399"/>
            <a:ext cx="378356" cy="377403"/>
            <a:chOff x="4765216" y="1960157"/>
            <a:chExt cx="378356" cy="377403"/>
          </a:xfrm>
        </p:grpSpPr>
        <p:sp>
          <p:nvSpPr>
            <p:cNvPr id="257" name="Oval 235">
              <a:extLst>
                <a:ext uri="{FF2B5EF4-FFF2-40B4-BE49-F238E27FC236}">
                  <a16:creationId xmlns:a16="http://schemas.microsoft.com/office/drawing/2014/main" id="{F67CF2FE-F1ED-83F3-FBC2-B0EE95118AF1}"/>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58" name="TextBox 236">
              <a:extLst>
                <a:ext uri="{FF2B5EF4-FFF2-40B4-BE49-F238E27FC236}">
                  <a16:creationId xmlns:a16="http://schemas.microsoft.com/office/drawing/2014/main" id="{6D5DE5D5-7DA7-CD4F-AA50-150E59635309}"/>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cxnSp>
          <p:nvCxnSpPr>
            <p:cNvPr id="259" name="Straight Connector 237">
              <a:extLst>
                <a:ext uri="{FF2B5EF4-FFF2-40B4-BE49-F238E27FC236}">
                  <a16:creationId xmlns:a16="http://schemas.microsoft.com/office/drawing/2014/main" id="{085FF2AC-A80C-90EC-217C-105DF71A7000}"/>
                </a:ext>
              </a:extLst>
            </p:cNvPr>
            <p:cNvCxnSpPr>
              <a:cxnSpLocks/>
              <a:stCxn id="257" idx="1"/>
              <a:endCxn id="257" idx="5"/>
            </p:cNvCxnSpPr>
            <p:nvPr/>
          </p:nvCxnSpPr>
          <p:spPr>
            <a:xfrm>
              <a:off x="4820625" y="2015426"/>
              <a:ext cx="267538" cy="266865"/>
            </a:xfrm>
            <a:prstGeom prst="line">
              <a:avLst/>
            </a:prstGeom>
            <a:noFill/>
            <a:ln w="38100" cap="flat" cmpd="sng" algn="ctr">
              <a:solidFill>
                <a:srgbClr val="FF0000">
                  <a:alpha val="38000"/>
                </a:srgbClr>
              </a:solidFill>
              <a:prstDash val="solid"/>
              <a:miter lim="800000"/>
            </a:ln>
            <a:effectLst/>
          </p:spPr>
        </p:cxnSp>
        <p:cxnSp>
          <p:nvCxnSpPr>
            <p:cNvPr id="260" name="Straight Connector 238">
              <a:extLst>
                <a:ext uri="{FF2B5EF4-FFF2-40B4-BE49-F238E27FC236}">
                  <a16:creationId xmlns:a16="http://schemas.microsoft.com/office/drawing/2014/main" id="{C746B997-58E1-6233-733E-9D60AB9FD1B8}"/>
                </a:ext>
              </a:extLst>
            </p:cNvPr>
            <p:cNvCxnSpPr>
              <a:cxnSpLocks/>
              <a:stCxn id="257" idx="7"/>
            </p:cNvCxnSpPr>
            <p:nvPr/>
          </p:nvCxnSpPr>
          <p:spPr>
            <a:xfrm flipH="1">
              <a:off x="4820625" y="2015426"/>
              <a:ext cx="267538" cy="267704"/>
            </a:xfrm>
            <a:prstGeom prst="line">
              <a:avLst/>
            </a:prstGeom>
            <a:noFill/>
            <a:ln w="38100" cap="flat" cmpd="sng" algn="ctr">
              <a:solidFill>
                <a:srgbClr val="FF0000">
                  <a:alpha val="38000"/>
                </a:srgbClr>
              </a:solidFill>
              <a:prstDash val="solid"/>
              <a:miter lim="800000"/>
            </a:ln>
            <a:effectLst/>
          </p:spPr>
        </p:cxnSp>
      </p:grpSp>
      <p:grpSp>
        <p:nvGrpSpPr>
          <p:cNvPr id="261" name="Group 240">
            <a:extLst>
              <a:ext uri="{FF2B5EF4-FFF2-40B4-BE49-F238E27FC236}">
                <a16:creationId xmlns:a16="http://schemas.microsoft.com/office/drawing/2014/main" id="{F3E4398D-9EA1-C151-5A68-1D313412D09A}"/>
              </a:ext>
            </a:extLst>
          </p:cNvPr>
          <p:cNvGrpSpPr/>
          <p:nvPr/>
        </p:nvGrpSpPr>
        <p:grpSpPr>
          <a:xfrm>
            <a:off x="5458606" y="2631399"/>
            <a:ext cx="378356" cy="377403"/>
            <a:chOff x="4765216" y="1960157"/>
            <a:chExt cx="378356" cy="377403"/>
          </a:xfrm>
        </p:grpSpPr>
        <p:sp>
          <p:nvSpPr>
            <p:cNvPr id="262" name="Oval 241">
              <a:extLst>
                <a:ext uri="{FF2B5EF4-FFF2-40B4-BE49-F238E27FC236}">
                  <a16:creationId xmlns:a16="http://schemas.microsoft.com/office/drawing/2014/main" id="{B50C3FF0-A0AB-E2C3-8532-5B81B28E1E55}"/>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63" name="TextBox 242">
              <a:extLst>
                <a:ext uri="{FF2B5EF4-FFF2-40B4-BE49-F238E27FC236}">
                  <a16:creationId xmlns:a16="http://schemas.microsoft.com/office/drawing/2014/main" id="{BD6156EF-7909-255C-FE85-7E50F6FB015E}"/>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cxnSp>
          <p:nvCxnSpPr>
            <p:cNvPr id="264" name="Straight Connector 243">
              <a:extLst>
                <a:ext uri="{FF2B5EF4-FFF2-40B4-BE49-F238E27FC236}">
                  <a16:creationId xmlns:a16="http://schemas.microsoft.com/office/drawing/2014/main" id="{70A0345A-9818-0434-12E3-426758596B43}"/>
                </a:ext>
              </a:extLst>
            </p:cNvPr>
            <p:cNvCxnSpPr>
              <a:cxnSpLocks/>
              <a:stCxn id="262" idx="1"/>
              <a:endCxn id="262" idx="5"/>
            </p:cNvCxnSpPr>
            <p:nvPr/>
          </p:nvCxnSpPr>
          <p:spPr>
            <a:xfrm>
              <a:off x="4820625" y="2015426"/>
              <a:ext cx="267538" cy="266865"/>
            </a:xfrm>
            <a:prstGeom prst="line">
              <a:avLst/>
            </a:prstGeom>
            <a:noFill/>
            <a:ln w="38100" cap="flat" cmpd="sng" algn="ctr">
              <a:solidFill>
                <a:srgbClr val="FF0000">
                  <a:alpha val="38000"/>
                </a:srgbClr>
              </a:solidFill>
              <a:prstDash val="solid"/>
              <a:miter lim="800000"/>
            </a:ln>
            <a:effectLst/>
          </p:spPr>
        </p:cxnSp>
        <p:cxnSp>
          <p:nvCxnSpPr>
            <p:cNvPr id="265" name="Straight Connector 244">
              <a:extLst>
                <a:ext uri="{FF2B5EF4-FFF2-40B4-BE49-F238E27FC236}">
                  <a16:creationId xmlns:a16="http://schemas.microsoft.com/office/drawing/2014/main" id="{A2B38370-45BB-42D9-4424-B68C07AC1973}"/>
                </a:ext>
              </a:extLst>
            </p:cNvPr>
            <p:cNvCxnSpPr>
              <a:cxnSpLocks/>
              <a:stCxn id="262" idx="7"/>
            </p:cNvCxnSpPr>
            <p:nvPr/>
          </p:nvCxnSpPr>
          <p:spPr>
            <a:xfrm flipH="1">
              <a:off x="4820625" y="2015426"/>
              <a:ext cx="267538" cy="267704"/>
            </a:xfrm>
            <a:prstGeom prst="line">
              <a:avLst/>
            </a:prstGeom>
            <a:noFill/>
            <a:ln w="38100" cap="flat" cmpd="sng" algn="ctr">
              <a:solidFill>
                <a:srgbClr val="FF0000">
                  <a:alpha val="38000"/>
                </a:srgbClr>
              </a:solidFill>
              <a:prstDash val="solid"/>
              <a:miter lim="800000"/>
            </a:ln>
            <a:effectLst/>
          </p:spPr>
        </p:cxnSp>
      </p:grpSp>
      <p:grpSp>
        <p:nvGrpSpPr>
          <p:cNvPr id="266" name="Group 245">
            <a:extLst>
              <a:ext uri="{FF2B5EF4-FFF2-40B4-BE49-F238E27FC236}">
                <a16:creationId xmlns:a16="http://schemas.microsoft.com/office/drawing/2014/main" id="{05DF981F-71D5-8C1C-661E-6D502290268C}"/>
              </a:ext>
            </a:extLst>
          </p:cNvPr>
          <p:cNvGrpSpPr/>
          <p:nvPr/>
        </p:nvGrpSpPr>
        <p:grpSpPr>
          <a:xfrm>
            <a:off x="4642356" y="2631399"/>
            <a:ext cx="378356" cy="377403"/>
            <a:chOff x="4765216" y="1960157"/>
            <a:chExt cx="378356" cy="377403"/>
          </a:xfrm>
        </p:grpSpPr>
        <p:sp>
          <p:nvSpPr>
            <p:cNvPr id="267" name="Oval 246">
              <a:extLst>
                <a:ext uri="{FF2B5EF4-FFF2-40B4-BE49-F238E27FC236}">
                  <a16:creationId xmlns:a16="http://schemas.microsoft.com/office/drawing/2014/main" id="{EA7AA53E-10B1-0EF8-C5A5-A87B98ADD4E1}"/>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68" name="TextBox 247">
              <a:extLst>
                <a:ext uri="{FF2B5EF4-FFF2-40B4-BE49-F238E27FC236}">
                  <a16:creationId xmlns:a16="http://schemas.microsoft.com/office/drawing/2014/main" id="{CFE17EE6-5622-E01A-9D89-92F184863BAF}"/>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cxnSp>
          <p:nvCxnSpPr>
            <p:cNvPr id="269" name="Straight Connector 248">
              <a:extLst>
                <a:ext uri="{FF2B5EF4-FFF2-40B4-BE49-F238E27FC236}">
                  <a16:creationId xmlns:a16="http://schemas.microsoft.com/office/drawing/2014/main" id="{180779B7-CF18-523A-57D1-D3649C7D4D7A}"/>
                </a:ext>
              </a:extLst>
            </p:cNvPr>
            <p:cNvCxnSpPr>
              <a:cxnSpLocks/>
              <a:stCxn id="267" idx="1"/>
              <a:endCxn id="267" idx="5"/>
            </p:cNvCxnSpPr>
            <p:nvPr/>
          </p:nvCxnSpPr>
          <p:spPr>
            <a:xfrm>
              <a:off x="4820625" y="2015426"/>
              <a:ext cx="267538" cy="266865"/>
            </a:xfrm>
            <a:prstGeom prst="line">
              <a:avLst/>
            </a:prstGeom>
            <a:noFill/>
            <a:ln w="38100" cap="flat" cmpd="sng" algn="ctr">
              <a:solidFill>
                <a:srgbClr val="FF0000">
                  <a:alpha val="38000"/>
                </a:srgbClr>
              </a:solidFill>
              <a:prstDash val="solid"/>
              <a:miter lim="800000"/>
            </a:ln>
            <a:effectLst/>
          </p:spPr>
        </p:cxnSp>
        <p:cxnSp>
          <p:nvCxnSpPr>
            <p:cNvPr id="270" name="Straight Connector 249">
              <a:extLst>
                <a:ext uri="{FF2B5EF4-FFF2-40B4-BE49-F238E27FC236}">
                  <a16:creationId xmlns:a16="http://schemas.microsoft.com/office/drawing/2014/main" id="{9B5BE409-36B6-42F0-4B1A-AAD85F4810DE}"/>
                </a:ext>
              </a:extLst>
            </p:cNvPr>
            <p:cNvCxnSpPr>
              <a:cxnSpLocks/>
              <a:stCxn id="267" idx="7"/>
            </p:cNvCxnSpPr>
            <p:nvPr/>
          </p:nvCxnSpPr>
          <p:spPr>
            <a:xfrm flipH="1">
              <a:off x="4820625" y="2015426"/>
              <a:ext cx="267538" cy="267704"/>
            </a:xfrm>
            <a:prstGeom prst="line">
              <a:avLst/>
            </a:prstGeom>
            <a:noFill/>
            <a:ln w="38100" cap="flat" cmpd="sng" algn="ctr">
              <a:solidFill>
                <a:srgbClr val="FF0000">
                  <a:alpha val="38000"/>
                </a:srgbClr>
              </a:solidFill>
              <a:prstDash val="solid"/>
              <a:miter lim="800000"/>
            </a:ln>
            <a:effectLst/>
          </p:spPr>
        </p:cxnSp>
      </p:grpSp>
      <p:sp>
        <p:nvSpPr>
          <p:cNvPr id="271" name="TextBox 186">
            <a:extLst>
              <a:ext uri="{FF2B5EF4-FFF2-40B4-BE49-F238E27FC236}">
                <a16:creationId xmlns:a16="http://schemas.microsoft.com/office/drawing/2014/main" id="{16514991-6092-0B76-79CB-56D5A004447D}"/>
              </a:ext>
            </a:extLst>
          </p:cNvPr>
          <p:cNvSpPr txBox="1"/>
          <p:nvPr/>
        </p:nvSpPr>
        <p:spPr>
          <a:xfrm>
            <a:off x="4585591" y="4185416"/>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72" name="TextBox 251">
            <a:extLst>
              <a:ext uri="{FF2B5EF4-FFF2-40B4-BE49-F238E27FC236}">
                <a16:creationId xmlns:a16="http://schemas.microsoft.com/office/drawing/2014/main" id="{2730F347-6CE6-3D4B-9C94-BF500D690224}"/>
              </a:ext>
            </a:extLst>
          </p:cNvPr>
          <p:cNvSpPr txBox="1"/>
          <p:nvPr/>
        </p:nvSpPr>
        <p:spPr>
          <a:xfrm>
            <a:off x="5416090" y="4185416"/>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73" name="TextBox 252">
            <a:extLst>
              <a:ext uri="{FF2B5EF4-FFF2-40B4-BE49-F238E27FC236}">
                <a16:creationId xmlns:a16="http://schemas.microsoft.com/office/drawing/2014/main" id="{A06A4101-82D0-95B3-86C6-06CD45F27B83}"/>
              </a:ext>
            </a:extLst>
          </p:cNvPr>
          <p:cNvSpPr txBox="1"/>
          <p:nvPr/>
        </p:nvSpPr>
        <p:spPr>
          <a:xfrm>
            <a:off x="6250940" y="4185416"/>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74" name="TextBox 188">
            <a:extLst>
              <a:ext uri="{FF2B5EF4-FFF2-40B4-BE49-F238E27FC236}">
                <a16:creationId xmlns:a16="http://schemas.microsoft.com/office/drawing/2014/main" id="{95BD06E4-340B-1017-2251-665A6001ADA3}"/>
              </a:ext>
            </a:extLst>
          </p:cNvPr>
          <p:cNvSpPr txBox="1"/>
          <p:nvPr/>
        </p:nvSpPr>
        <p:spPr>
          <a:xfrm>
            <a:off x="2648020"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5" name="TextBox 256">
            <a:extLst>
              <a:ext uri="{FF2B5EF4-FFF2-40B4-BE49-F238E27FC236}">
                <a16:creationId xmlns:a16="http://schemas.microsoft.com/office/drawing/2014/main" id="{25F07C05-728B-23B9-7866-C3992EDEE36B}"/>
              </a:ext>
            </a:extLst>
          </p:cNvPr>
          <p:cNvSpPr txBox="1"/>
          <p:nvPr/>
        </p:nvSpPr>
        <p:spPr>
          <a:xfrm>
            <a:off x="3041854"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6" name="TextBox 257">
            <a:extLst>
              <a:ext uri="{FF2B5EF4-FFF2-40B4-BE49-F238E27FC236}">
                <a16:creationId xmlns:a16="http://schemas.microsoft.com/office/drawing/2014/main" id="{B585B39F-578D-CE3C-DF95-4178DCA044FF}"/>
              </a:ext>
            </a:extLst>
          </p:cNvPr>
          <p:cNvSpPr txBox="1"/>
          <p:nvPr/>
        </p:nvSpPr>
        <p:spPr>
          <a:xfrm>
            <a:off x="3430588"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7" name="TextBox 258">
            <a:extLst>
              <a:ext uri="{FF2B5EF4-FFF2-40B4-BE49-F238E27FC236}">
                <a16:creationId xmlns:a16="http://schemas.microsoft.com/office/drawing/2014/main" id="{E016DDD3-00B8-1382-82C8-E9A7FDB57280}"/>
              </a:ext>
            </a:extLst>
          </p:cNvPr>
          <p:cNvSpPr txBox="1"/>
          <p:nvPr/>
        </p:nvSpPr>
        <p:spPr>
          <a:xfrm>
            <a:off x="3819670"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8" name="TextBox 259">
            <a:extLst>
              <a:ext uri="{FF2B5EF4-FFF2-40B4-BE49-F238E27FC236}">
                <a16:creationId xmlns:a16="http://schemas.microsoft.com/office/drawing/2014/main" id="{CBA96003-86F5-DD31-C245-DD0D4098C505}"/>
              </a:ext>
            </a:extLst>
          </p:cNvPr>
          <p:cNvSpPr txBox="1"/>
          <p:nvPr/>
        </p:nvSpPr>
        <p:spPr>
          <a:xfrm>
            <a:off x="4207742"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9" name="TextBox 260">
            <a:extLst>
              <a:ext uri="{FF2B5EF4-FFF2-40B4-BE49-F238E27FC236}">
                <a16:creationId xmlns:a16="http://schemas.microsoft.com/office/drawing/2014/main" id="{E7A01746-A514-ECFF-6740-99004291D8D5}"/>
              </a:ext>
            </a:extLst>
          </p:cNvPr>
          <p:cNvSpPr txBox="1"/>
          <p:nvPr/>
        </p:nvSpPr>
        <p:spPr>
          <a:xfrm>
            <a:off x="4598482"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0" name="TextBox 261">
            <a:extLst>
              <a:ext uri="{FF2B5EF4-FFF2-40B4-BE49-F238E27FC236}">
                <a16:creationId xmlns:a16="http://schemas.microsoft.com/office/drawing/2014/main" id="{9FE3F976-1CC1-1AEA-65D6-9E858F861C02}"/>
              </a:ext>
            </a:extLst>
          </p:cNvPr>
          <p:cNvSpPr txBox="1"/>
          <p:nvPr/>
        </p:nvSpPr>
        <p:spPr>
          <a:xfrm>
            <a:off x="4988184"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1" name="TextBox 262">
            <a:extLst>
              <a:ext uri="{FF2B5EF4-FFF2-40B4-BE49-F238E27FC236}">
                <a16:creationId xmlns:a16="http://schemas.microsoft.com/office/drawing/2014/main" id="{6DD07AD2-5BFC-036E-264D-E1B83449FDCA}"/>
              </a:ext>
            </a:extLst>
          </p:cNvPr>
          <p:cNvSpPr txBox="1"/>
          <p:nvPr/>
        </p:nvSpPr>
        <p:spPr>
          <a:xfrm>
            <a:off x="5383274"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2" name="TextBox 263">
            <a:extLst>
              <a:ext uri="{FF2B5EF4-FFF2-40B4-BE49-F238E27FC236}">
                <a16:creationId xmlns:a16="http://schemas.microsoft.com/office/drawing/2014/main" id="{EDC33831-0163-BA14-DF5B-EEEA5401EA7A}"/>
              </a:ext>
            </a:extLst>
          </p:cNvPr>
          <p:cNvSpPr txBox="1"/>
          <p:nvPr/>
        </p:nvSpPr>
        <p:spPr>
          <a:xfrm>
            <a:off x="5767350"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3" name="TextBox 264">
            <a:extLst>
              <a:ext uri="{FF2B5EF4-FFF2-40B4-BE49-F238E27FC236}">
                <a16:creationId xmlns:a16="http://schemas.microsoft.com/office/drawing/2014/main" id="{1C64635D-71B4-7A14-12C1-D1A230268EAA}"/>
              </a:ext>
            </a:extLst>
          </p:cNvPr>
          <p:cNvSpPr txBox="1"/>
          <p:nvPr/>
        </p:nvSpPr>
        <p:spPr>
          <a:xfrm>
            <a:off x="6158238"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4" name="TextBox 265">
            <a:extLst>
              <a:ext uri="{FF2B5EF4-FFF2-40B4-BE49-F238E27FC236}">
                <a16:creationId xmlns:a16="http://schemas.microsoft.com/office/drawing/2014/main" id="{B81C2AA2-DA1F-2449-5CAE-20537D9D1735}"/>
              </a:ext>
            </a:extLst>
          </p:cNvPr>
          <p:cNvSpPr txBox="1"/>
          <p:nvPr/>
        </p:nvSpPr>
        <p:spPr>
          <a:xfrm>
            <a:off x="6550769" y="4907248"/>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5" name="TextBox 266">
            <a:extLst>
              <a:ext uri="{FF2B5EF4-FFF2-40B4-BE49-F238E27FC236}">
                <a16:creationId xmlns:a16="http://schemas.microsoft.com/office/drawing/2014/main" id="{F8DA3E47-21F2-1B3D-5209-27CCA8A72627}"/>
              </a:ext>
            </a:extLst>
          </p:cNvPr>
          <p:cNvSpPr txBox="1"/>
          <p:nvPr/>
        </p:nvSpPr>
        <p:spPr>
          <a:xfrm>
            <a:off x="6938509" y="4914325"/>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86" name="Rectangle 362">
            <a:extLst>
              <a:ext uri="{FF2B5EF4-FFF2-40B4-BE49-F238E27FC236}">
                <a16:creationId xmlns:a16="http://schemas.microsoft.com/office/drawing/2014/main" id="{8FA473C9-93F3-F7D8-CC21-ADDFA133B7D0}"/>
              </a:ext>
            </a:extLst>
          </p:cNvPr>
          <p:cNvSpPr/>
          <p:nvPr/>
        </p:nvSpPr>
        <p:spPr>
          <a:xfrm>
            <a:off x="4640464" y="2556038"/>
            <a:ext cx="472986" cy="60377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87" name="Rectangle 363">
            <a:extLst>
              <a:ext uri="{FF2B5EF4-FFF2-40B4-BE49-F238E27FC236}">
                <a16:creationId xmlns:a16="http://schemas.microsoft.com/office/drawing/2014/main" id="{28932D82-5293-EA33-3F7D-44A79467F4C3}"/>
              </a:ext>
            </a:extLst>
          </p:cNvPr>
          <p:cNvSpPr/>
          <p:nvPr/>
        </p:nvSpPr>
        <p:spPr>
          <a:xfrm>
            <a:off x="5453036" y="2554831"/>
            <a:ext cx="414951" cy="60377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88" name="Rectangle 364">
            <a:extLst>
              <a:ext uri="{FF2B5EF4-FFF2-40B4-BE49-F238E27FC236}">
                <a16:creationId xmlns:a16="http://schemas.microsoft.com/office/drawing/2014/main" id="{C38C3796-A7DA-CDE7-680D-0286E5BD0AC7}"/>
              </a:ext>
            </a:extLst>
          </p:cNvPr>
          <p:cNvSpPr/>
          <p:nvPr/>
        </p:nvSpPr>
        <p:spPr>
          <a:xfrm>
            <a:off x="6300947" y="2556038"/>
            <a:ext cx="400923" cy="60377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89" name="Rectangle 386">
            <a:extLst>
              <a:ext uri="{FF2B5EF4-FFF2-40B4-BE49-F238E27FC236}">
                <a16:creationId xmlns:a16="http://schemas.microsoft.com/office/drawing/2014/main" id="{8984D783-B49E-09D5-0136-A0C04C4A4A5E}"/>
              </a:ext>
            </a:extLst>
          </p:cNvPr>
          <p:cNvSpPr/>
          <p:nvPr/>
        </p:nvSpPr>
        <p:spPr>
          <a:xfrm>
            <a:off x="3815165" y="2553917"/>
            <a:ext cx="472986" cy="60377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0" name="Rectangle 387">
            <a:extLst>
              <a:ext uri="{FF2B5EF4-FFF2-40B4-BE49-F238E27FC236}">
                <a16:creationId xmlns:a16="http://schemas.microsoft.com/office/drawing/2014/main" id="{5CB272F9-E6B9-8973-068B-9BDB931D3963}"/>
              </a:ext>
            </a:extLst>
          </p:cNvPr>
          <p:cNvSpPr/>
          <p:nvPr/>
        </p:nvSpPr>
        <p:spPr>
          <a:xfrm>
            <a:off x="4285628" y="2761288"/>
            <a:ext cx="356728" cy="194122"/>
          </a:xfrm>
          <a:prstGeom prst="rect">
            <a:avLst/>
          </a:prstGeom>
          <a:solidFill>
            <a:srgbClr val="F3F4F3">
              <a:alpha val="5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1" name="Rectangle 361">
            <a:extLst>
              <a:ext uri="{FF2B5EF4-FFF2-40B4-BE49-F238E27FC236}">
                <a16:creationId xmlns:a16="http://schemas.microsoft.com/office/drawing/2014/main" id="{CE2DAE0E-6AC5-2E71-65EB-C7B68E393E75}"/>
              </a:ext>
            </a:extLst>
          </p:cNvPr>
          <p:cNvSpPr/>
          <p:nvPr/>
        </p:nvSpPr>
        <p:spPr>
          <a:xfrm>
            <a:off x="2630093" y="3160040"/>
            <a:ext cx="4691051" cy="254996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2" name="Right Brace 369">
            <a:extLst>
              <a:ext uri="{FF2B5EF4-FFF2-40B4-BE49-F238E27FC236}">
                <a16:creationId xmlns:a16="http://schemas.microsoft.com/office/drawing/2014/main" id="{4952195A-0935-DBFD-91F9-E7C59849CDB2}"/>
              </a:ext>
            </a:extLst>
          </p:cNvPr>
          <p:cNvSpPr/>
          <p:nvPr/>
        </p:nvSpPr>
        <p:spPr>
          <a:xfrm>
            <a:off x="7215984" y="2620531"/>
            <a:ext cx="606741" cy="3358897"/>
          </a:xfrm>
          <a:prstGeom prst="rightBrace">
            <a:avLst>
              <a:gd name="adj1" fmla="val 81844"/>
              <a:gd name="adj2" fmla="val 50001"/>
            </a:avLst>
          </a:prstGeom>
          <a:noFill/>
          <a:ln w="19050" cap="flat" cmpd="sng" algn="ctr">
            <a:solidFill>
              <a:srgbClr val="6E61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1E60"/>
              </a:solidFill>
              <a:effectLst/>
              <a:uLnTx/>
              <a:uFillTx/>
              <a:latin typeface="Tw Cen MT"/>
              <a:ea typeface="+mn-ea"/>
              <a:cs typeface="+mn-cs"/>
            </a:endParaRPr>
          </a:p>
        </p:txBody>
      </p:sp>
      <p:sp>
        <p:nvSpPr>
          <p:cNvPr id="293" name="TextBox 403">
            <a:extLst>
              <a:ext uri="{FF2B5EF4-FFF2-40B4-BE49-F238E27FC236}">
                <a16:creationId xmlns:a16="http://schemas.microsoft.com/office/drawing/2014/main" id="{F22AACAD-38DF-D48F-4BA3-5FF251C0819C}"/>
              </a:ext>
            </a:extLst>
          </p:cNvPr>
          <p:cNvSpPr txBox="1"/>
          <p:nvPr/>
        </p:nvSpPr>
        <p:spPr>
          <a:xfrm>
            <a:off x="692452" y="1032310"/>
            <a:ext cx="10515601" cy="1477328"/>
          </a:xfrm>
          <a:prstGeom prst="rect">
            <a:avLst/>
          </a:prstGeom>
          <a:noFill/>
        </p:spPr>
        <p:txBody>
          <a:bodyPr wrap="square" rtlCol="0">
            <a:spAutoFit/>
          </a:bodyPr>
          <a:lstStyle>
            <a:defPPr>
              <a:defRPr lang="en-US"/>
            </a:defPPr>
            <a:lvl1pPr marL="285750" indent="-285750" algn="just">
              <a:buClr>
                <a:schemeClr val="accent1"/>
              </a:buClr>
              <a:buFont typeface="Arial" panose="020B0604020202020204" pitchFamily="34" charset="0"/>
              <a:buChar char="•"/>
              <a:defRPr sz="1400" i="1"/>
            </a:lvl1pPr>
          </a:lstStyle>
          <a:p>
            <a:pPr marL="0" indent="0">
              <a:buClr>
                <a:srgbClr val="002F6C"/>
              </a:buClr>
              <a:buFont typeface="Arial" panose="020B0604020202020204" pitchFamily="34" charset="0"/>
              <a:buNone/>
              <a:defRPr/>
            </a:pPr>
            <a:r>
              <a:rPr lang="en-IE" sz="1800" i="0">
                <a:solidFill>
                  <a:srgbClr val="001E60"/>
                </a:solidFill>
                <a:latin typeface="Tw Cen MT"/>
              </a:rPr>
              <a:t>With C3i therapy, complete inhibition of the proximal alternative pathway at the C3 level prevents the formation of C3 convertase and, consequently, the generation of C3 fragments and C5 convertase. </a:t>
            </a:r>
          </a:p>
          <a:p>
            <a:pPr marL="0" indent="0">
              <a:buClr>
                <a:srgbClr val="002F6C"/>
              </a:buClr>
              <a:buFont typeface="Arial" panose="020B0604020202020204" pitchFamily="34" charset="0"/>
              <a:buNone/>
              <a:defRPr/>
            </a:pPr>
            <a:endParaRPr lang="en-IE" sz="1800" i="0">
              <a:solidFill>
                <a:srgbClr val="001E60"/>
              </a:solidFill>
              <a:latin typeface="Tw Cen MT"/>
            </a:endParaRPr>
          </a:p>
          <a:p>
            <a:pPr marL="0" indent="0">
              <a:buClr>
                <a:srgbClr val="002F6C"/>
              </a:buClr>
              <a:buFont typeface="Arial" panose="020B0604020202020204" pitchFamily="34" charset="0"/>
              <a:buNone/>
              <a:defRPr/>
            </a:pPr>
            <a:r>
              <a:rPr lang="en-IE" sz="1800" i="0">
                <a:solidFill>
                  <a:srgbClr val="001E60"/>
                </a:solidFill>
                <a:latin typeface="Tw Cen MT"/>
              </a:rPr>
              <a:t>IVH and EVH are prevented, and the proportion of PNH red cells surviving in circulating blood is larger than with terminal complement inhibition.</a:t>
            </a:r>
          </a:p>
        </p:txBody>
      </p:sp>
      <p:sp>
        <p:nvSpPr>
          <p:cNvPr id="294" name="TextBox 406">
            <a:extLst>
              <a:ext uri="{FF2B5EF4-FFF2-40B4-BE49-F238E27FC236}">
                <a16:creationId xmlns:a16="http://schemas.microsoft.com/office/drawing/2014/main" id="{B9DC6049-C063-04E9-E89B-A8DF6ACBFF22}"/>
              </a:ext>
            </a:extLst>
          </p:cNvPr>
          <p:cNvSpPr txBox="1"/>
          <p:nvPr/>
        </p:nvSpPr>
        <p:spPr>
          <a:xfrm>
            <a:off x="9144835" y="3462513"/>
            <a:ext cx="2463106" cy="307778"/>
          </a:xfrm>
          <a:prstGeom prst="rect">
            <a:avLst/>
          </a:prstGeom>
          <a:noFill/>
        </p:spPr>
        <p:txBody>
          <a:bodyPr wrap="square" rtlCol="0">
            <a:spAutoFit/>
          </a:bodyPr>
          <a:lstStyle/>
          <a:p>
            <a:pPr algn="ctr">
              <a:buClr>
                <a:srgbClr val="002F6C"/>
              </a:buClr>
              <a:defRPr/>
            </a:pPr>
            <a:r>
              <a:rPr lang="en-GB" sz="1400" b="1">
                <a:solidFill>
                  <a:srgbClr val="002F6C">
                    <a:lumMod val="75000"/>
                  </a:srgbClr>
                </a:solidFill>
                <a:latin typeface="Tw Cen MT"/>
              </a:rPr>
              <a:t>No hemolysis</a:t>
            </a:r>
            <a:r>
              <a:rPr lang="en-GB" sz="1400" b="1" baseline="30000">
                <a:solidFill>
                  <a:srgbClr val="002F6C">
                    <a:lumMod val="75000"/>
                  </a:srgbClr>
                </a:solidFill>
                <a:latin typeface="Tw Cen MT"/>
              </a:rPr>
              <a:t>1</a:t>
            </a:r>
          </a:p>
        </p:txBody>
      </p:sp>
      <p:sp>
        <p:nvSpPr>
          <p:cNvPr id="295" name="Multiplication Sign 407">
            <a:extLst>
              <a:ext uri="{FF2B5EF4-FFF2-40B4-BE49-F238E27FC236}">
                <a16:creationId xmlns:a16="http://schemas.microsoft.com/office/drawing/2014/main" id="{117C758A-F44F-C05E-70A9-2840578AA0B3}"/>
              </a:ext>
            </a:extLst>
          </p:cNvPr>
          <p:cNvSpPr/>
          <p:nvPr/>
        </p:nvSpPr>
        <p:spPr>
          <a:xfrm>
            <a:off x="4556706" y="2587222"/>
            <a:ext cx="516468" cy="473627"/>
          </a:xfrm>
          <a:prstGeom prst="mathMultiply">
            <a:avLst/>
          </a:prstGeom>
          <a:solidFill>
            <a:srgbClr val="FF0000">
              <a:alpha val="46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6" name="Multiplication Sign 412">
            <a:extLst>
              <a:ext uri="{FF2B5EF4-FFF2-40B4-BE49-F238E27FC236}">
                <a16:creationId xmlns:a16="http://schemas.microsoft.com/office/drawing/2014/main" id="{51F87B7F-B97D-1DF4-F2B1-ACF0BCE1B9C7}"/>
              </a:ext>
            </a:extLst>
          </p:cNvPr>
          <p:cNvSpPr/>
          <p:nvPr/>
        </p:nvSpPr>
        <p:spPr>
          <a:xfrm>
            <a:off x="5390075" y="2557452"/>
            <a:ext cx="516468" cy="473627"/>
          </a:xfrm>
          <a:prstGeom prst="mathMultiply">
            <a:avLst/>
          </a:prstGeom>
          <a:solidFill>
            <a:srgbClr val="FF0000">
              <a:alpha val="46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7" name="Multiplication Sign 413">
            <a:extLst>
              <a:ext uri="{FF2B5EF4-FFF2-40B4-BE49-F238E27FC236}">
                <a16:creationId xmlns:a16="http://schemas.microsoft.com/office/drawing/2014/main" id="{4B6F9CFE-D6B8-D119-6D97-2E05F7D41751}"/>
              </a:ext>
            </a:extLst>
          </p:cNvPr>
          <p:cNvSpPr/>
          <p:nvPr/>
        </p:nvSpPr>
        <p:spPr>
          <a:xfrm>
            <a:off x="6231689" y="2577803"/>
            <a:ext cx="516468" cy="473627"/>
          </a:xfrm>
          <a:prstGeom prst="mathMultiply">
            <a:avLst/>
          </a:prstGeom>
          <a:solidFill>
            <a:srgbClr val="FF0000">
              <a:alpha val="46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 name="CaixaDeTexto 1">
            <a:extLst>
              <a:ext uri="{FF2B5EF4-FFF2-40B4-BE49-F238E27FC236}">
                <a16:creationId xmlns:a16="http://schemas.microsoft.com/office/drawing/2014/main" id="{DD44823D-417F-FCF7-746F-66536CE86999}"/>
              </a:ext>
            </a:extLst>
          </p:cNvPr>
          <p:cNvSpPr txBox="1"/>
          <p:nvPr/>
        </p:nvSpPr>
        <p:spPr>
          <a:xfrm>
            <a:off x="7772921" y="5153715"/>
            <a:ext cx="6113720" cy="200055"/>
          </a:xfrm>
          <a:prstGeom prst="rect">
            <a:avLst/>
          </a:prstGeom>
          <a:noFill/>
        </p:spPr>
        <p:txBody>
          <a:bodyPr wrap="square">
            <a:spAutoFit/>
          </a:bodyPr>
          <a:lstStyle/>
          <a:p>
            <a:r>
              <a:rPr lang="pt-BR" sz="700" b="0" i="0" dirty="0">
                <a:solidFill>
                  <a:srgbClr val="1D1D1D"/>
                </a:solidFill>
                <a:effectLst/>
                <a:latin typeface="Arial" panose="020B0604020202020204" pitchFamily="34" charset="0"/>
              </a:rPr>
              <a:t>Adaptado de </a:t>
            </a:r>
            <a:r>
              <a:rPr lang="pt-BR" sz="700" b="0" i="0" dirty="0" err="1">
                <a:solidFill>
                  <a:srgbClr val="1D1D1D"/>
                </a:solidFill>
                <a:effectLst/>
                <a:latin typeface="Arial" panose="020B0604020202020204" pitchFamily="34" charset="0"/>
              </a:rPr>
              <a:t>Notaro</a:t>
            </a:r>
            <a:r>
              <a:rPr lang="pt-BR" sz="700" b="0" i="0" dirty="0">
                <a:solidFill>
                  <a:srgbClr val="1D1D1D"/>
                </a:solidFill>
                <a:effectLst/>
                <a:latin typeface="Arial" panose="020B0604020202020204" pitchFamily="34" charset="0"/>
              </a:rPr>
              <a:t> R et al.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22;387:160–166.</a:t>
            </a:r>
            <a:endParaRPr lang="pt-BR" sz="700" dirty="0"/>
          </a:p>
        </p:txBody>
      </p:sp>
    </p:spTree>
    <p:extLst>
      <p:ext uri="{BB962C8B-B14F-4D97-AF65-F5344CB8AC3E}">
        <p14:creationId xmlns:p14="http://schemas.microsoft.com/office/powerpoint/2010/main" val="33465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tangle: Rounded Corners 37">
            <a:extLst>
              <a:ext uri="{FF2B5EF4-FFF2-40B4-BE49-F238E27FC236}">
                <a16:creationId xmlns:a16="http://schemas.microsoft.com/office/drawing/2014/main" id="{654F9460-A36D-779E-2FDF-26C24B7BC149}"/>
              </a:ext>
            </a:extLst>
          </p:cNvPr>
          <p:cNvSpPr/>
          <p:nvPr/>
        </p:nvSpPr>
        <p:spPr>
          <a:xfrm>
            <a:off x="321663" y="1223452"/>
            <a:ext cx="11473914" cy="882968"/>
          </a:xfrm>
          <a:prstGeom prst="roundRect">
            <a:avLst/>
          </a:prstGeom>
          <a:solidFill>
            <a:srgbClr val="F3F4F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w Cen MT"/>
              <a:ea typeface="+mn-ea"/>
              <a:cs typeface="+mn-cs"/>
            </a:endParaRPr>
          </a:p>
        </p:txBody>
      </p:sp>
      <p:sp>
        <p:nvSpPr>
          <p:cNvPr id="148" name="Title 2">
            <a:extLst>
              <a:ext uri="{FF2B5EF4-FFF2-40B4-BE49-F238E27FC236}">
                <a16:creationId xmlns:a16="http://schemas.microsoft.com/office/drawing/2014/main" id="{E6C2EDFA-B47A-9CB0-5EEB-B90392B67860}"/>
              </a:ext>
            </a:extLst>
          </p:cNvPr>
          <p:cNvSpPr txBox="1">
            <a:spLocks/>
          </p:cNvSpPr>
          <p:nvPr/>
        </p:nvSpPr>
        <p:spPr bwMode="auto">
          <a:xfrm>
            <a:off x="832337" y="473179"/>
            <a:ext cx="10515600" cy="68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rtl="0" eaLnBrk="1" fontAlgn="base" hangingPunct="1">
              <a:lnSpc>
                <a:spcPct val="90000"/>
              </a:lnSpc>
              <a:spcBef>
                <a:spcPct val="0"/>
              </a:spcBef>
              <a:spcAft>
                <a:spcPct val="0"/>
              </a:spcAft>
              <a:defRPr lang="en-US" sz="3200" b="1" i="0" kern="1200" cap="none" spc="0" baseline="0" noProof="0" dirty="0" smtClean="0">
                <a:solidFill>
                  <a:schemeClr val="tx1"/>
                </a:solidFill>
                <a:latin typeface="Tw Cen MT" panose="020B0602020104020603" pitchFamily="34" charset="77"/>
                <a:ea typeface="+mn-ea"/>
                <a:cs typeface="Arial" panose="020B0604020202020204" pitchFamily="34" charset="0"/>
              </a:defRPr>
            </a:lvl1pPr>
            <a:lvl2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2pPr>
            <a:lvl3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3pPr>
            <a:lvl4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4pPr>
            <a:lvl5pPr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5pPr>
            <a:lvl6pPr marL="4572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6pPr>
            <a:lvl7pPr marL="9144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7pPr>
            <a:lvl8pPr marL="13716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8pPr>
            <a:lvl9pPr marL="1828800" algn="ctr" rtl="0" eaLnBrk="1" fontAlgn="base" hangingPunct="1">
              <a:lnSpc>
                <a:spcPct val="90000"/>
              </a:lnSpc>
              <a:spcBef>
                <a:spcPct val="0"/>
              </a:spcBef>
              <a:spcAft>
                <a:spcPct val="0"/>
              </a:spcAft>
              <a:defRPr sz="3400" b="1">
                <a:solidFill>
                  <a:schemeClr val="tx1"/>
                </a:solidFill>
                <a:latin typeface="Arial" panose="020B0604020202020204" pitchFamily="34" charset="0"/>
                <a:ea typeface="ヒラギノ角ゴ Pro W3" panose="020B0300000000000000" pitchFamily="34" charset="-128"/>
              </a:defRPr>
            </a:lvl9pPr>
          </a:lstStyle>
          <a:p>
            <a:pPr marR="0" lvl="0" indent="0">
              <a:buClrTx/>
              <a:buSzTx/>
              <a:buFontTx/>
              <a:buNone/>
              <a:tabLst/>
              <a:defRPr/>
            </a:pPr>
            <a:r>
              <a:rPr lang="en-IE" dirty="0">
                <a:gradFill>
                  <a:gsLst>
                    <a:gs pos="0">
                      <a:schemeClr val="accent1"/>
                    </a:gs>
                    <a:gs pos="100000">
                      <a:schemeClr val="bg2"/>
                    </a:gs>
                  </a:gsLst>
                  <a:lin ang="2700000" scaled="0"/>
                </a:gradFill>
                <a:latin typeface="Calisto MT"/>
                <a:cs typeface="+mn-cs"/>
              </a:rPr>
              <a:t>PNH with incomplete C3 inhibition</a:t>
            </a:r>
            <a:endParaRPr lang="en-GB" dirty="0">
              <a:gradFill>
                <a:gsLst>
                  <a:gs pos="0">
                    <a:schemeClr val="accent1"/>
                  </a:gs>
                  <a:gs pos="100000">
                    <a:schemeClr val="bg2"/>
                  </a:gs>
                </a:gsLst>
                <a:lin ang="2700000" scaled="0"/>
              </a:gradFill>
              <a:latin typeface="Calisto MT"/>
              <a:cs typeface="+mn-cs"/>
            </a:endParaRPr>
          </a:p>
        </p:txBody>
      </p:sp>
      <p:sp>
        <p:nvSpPr>
          <p:cNvPr id="149" name="Footer Placeholder 3">
            <a:extLst>
              <a:ext uri="{FF2B5EF4-FFF2-40B4-BE49-F238E27FC236}">
                <a16:creationId xmlns:a16="http://schemas.microsoft.com/office/drawing/2014/main" id="{7EA1C3F7-A7F3-C7F2-77AE-D56E8B17B2FD}"/>
              </a:ext>
            </a:extLst>
          </p:cNvPr>
          <p:cNvSpPr txBox="1">
            <a:spLocks/>
          </p:cNvSpPr>
          <p:nvPr/>
        </p:nvSpPr>
        <p:spPr>
          <a:xfrm>
            <a:off x="192183" y="5813574"/>
            <a:ext cx="11150600" cy="4841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it-IT" sz="1000" dirty="0">
                <a:solidFill>
                  <a:srgbClr val="6E6159"/>
                </a:solidFill>
                <a:latin typeface="Tw Cen MT"/>
              </a:rPr>
              <a:t>Figure adapted from Notaro R </a:t>
            </a:r>
            <a:r>
              <a:rPr lang="it-IT" sz="1000" i="1" dirty="0">
                <a:solidFill>
                  <a:srgbClr val="6E6159"/>
                </a:solidFill>
                <a:latin typeface="Tw Cen MT"/>
              </a:rPr>
              <a:t>et al. N Engl J Med </a:t>
            </a:r>
            <a:r>
              <a:rPr lang="it-IT" sz="1000" dirty="0">
                <a:solidFill>
                  <a:srgbClr val="6E6159"/>
                </a:solidFill>
                <a:latin typeface="Tw Cen MT"/>
              </a:rPr>
              <a:t>2022. </a:t>
            </a:r>
          </a:p>
          <a:p>
            <a:pPr>
              <a:defRPr/>
            </a:pPr>
            <a:r>
              <a:rPr lang="it-IT" sz="1000" dirty="0">
                <a:solidFill>
                  <a:srgbClr val="6E6159"/>
                </a:solidFill>
                <a:latin typeface="Tw Cen MT"/>
              </a:rPr>
              <a:t>BTH, breakthrough hemolysis; EVH, extravascular haemolysis; MAC, membrane-attack complex; </a:t>
            </a:r>
            <a:r>
              <a:rPr lang="en-US" sz="1000" dirty="0">
                <a:solidFill>
                  <a:srgbClr val="6E6159"/>
                </a:solidFill>
                <a:latin typeface="Tw Cen MT"/>
              </a:rPr>
              <a:t>PNH, </a:t>
            </a:r>
            <a:r>
              <a:rPr lang="en-GB" sz="1000" dirty="0">
                <a:solidFill>
                  <a:srgbClr val="6E6159"/>
                </a:solidFill>
                <a:latin typeface="Tw Cen MT"/>
              </a:rPr>
              <a:t>paroxysmal nocturnal </a:t>
            </a:r>
            <a:r>
              <a:rPr lang="en-GB" sz="1000" dirty="0" err="1">
                <a:solidFill>
                  <a:srgbClr val="6E6159"/>
                </a:solidFill>
                <a:latin typeface="Tw Cen MT"/>
              </a:rPr>
              <a:t>hemoglobinuria</a:t>
            </a:r>
            <a:r>
              <a:rPr lang="en-GB" sz="1000" dirty="0">
                <a:solidFill>
                  <a:srgbClr val="6E6159"/>
                </a:solidFill>
                <a:latin typeface="Tw Cen MT"/>
              </a:rPr>
              <a:t>. </a:t>
            </a:r>
          </a:p>
          <a:p>
            <a:pPr>
              <a:defRPr/>
            </a:pPr>
            <a:r>
              <a:rPr lang="en-AU" sz="1000" dirty="0">
                <a:solidFill>
                  <a:srgbClr val="6E6159"/>
                </a:solidFill>
                <a:latin typeface="Tw Cen MT"/>
              </a:rPr>
              <a:t>1. </a:t>
            </a:r>
            <a:r>
              <a:rPr lang="en-AU" sz="1000" dirty="0" err="1">
                <a:solidFill>
                  <a:srgbClr val="6E6159"/>
                </a:solidFill>
                <a:latin typeface="Tw Cen MT"/>
              </a:rPr>
              <a:t>Notaro</a:t>
            </a:r>
            <a:r>
              <a:rPr lang="en-AU" sz="1000" dirty="0">
                <a:solidFill>
                  <a:srgbClr val="6E6159"/>
                </a:solidFill>
                <a:latin typeface="Tw Cen MT"/>
              </a:rPr>
              <a:t> R, </a:t>
            </a:r>
            <a:r>
              <a:rPr lang="en-AU" sz="1000" dirty="0" err="1">
                <a:solidFill>
                  <a:srgbClr val="6E6159"/>
                </a:solidFill>
                <a:latin typeface="Tw Cen MT"/>
              </a:rPr>
              <a:t>Luzzatto</a:t>
            </a:r>
            <a:r>
              <a:rPr lang="en-AU" sz="1000" dirty="0">
                <a:solidFill>
                  <a:srgbClr val="6E6159"/>
                </a:solidFill>
                <a:latin typeface="Tw Cen MT"/>
              </a:rPr>
              <a:t> L. Breakthrough </a:t>
            </a:r>
            <a:r>
              <a:rPr lang="en-AU" sz="1000" dirty="0" err="1">
                <a:solidFill>
                  <a:srgbClr val="6E6159"/>
                </a:solidFill>
                <a:latin typeface="Tw Cen MT"/>
              </a:rPr>
              <a:t>Hemolysis</a:t>
            </a:r>
            <a:r>
              <a:rPr lang="en-AU" sz="1000" dirty="0">
                <a:solidFill>
                  <a:srgbClr val="6E6159"/>
                </a:solidFill>
                <a:latin typeface="Tw Cen MT"/>
              </a:rPr>
              <a:t> in PNH with Proximal or Terminal Complement Inhibition. N Engl J Med. </a:t>
            </a:r>
            <a:r>
              <a:rPr lang="en-AU" sz="1000">
                <a:solidFill>
                  <a:srgbClr val="6E6159"/>
                </a:solidFill>
                <a:latin typeface="Tw Cen MT"/>
              </a:rPr>
              <a:t>2022 Jul 14;387(2):160-166.</a:t>
            </a:r>
            <a:endParaRPr lang="en-AU" sz="1000" dirty="0">
              <a:solidFill>
                <a:srgbClr val="6E6159"/>
              </a:solidFill>
              <a:latin typeface="Tw Cen MT"/>
            </a:endParaRPr>
          </a:p>
        </p:txBody>
      </p:sp>
      <p:sp>
        <p:nvSpPr>
          <p:cNvPr id="150" name="TextBox 269">
            <a:extLst>
              <a:ext uri="{FF2B5EF4-FFF2-40B4-BE49-F238E27FC236}">
                <a16:creationId xmlns:a16="http://schemas.microsoft.com/office/drawing/2014/main" id="{1ADA2282-EC5E-5E66-0CCA-2531E1DDF01A}"/>
              </a:ext>
            </a:extLst>
          </p:cNvPr>
          <p:cNvSpPr txBox="1"/>
          <p:nvPr/>
        </p:nvSpPr>
        <p:spPr>
          <a:xfrm>
            <a:off x="2351584" y="2282797"/>
            <a:ext cx="4752528" cy="276999"/>
          </a:xfrm>
          <a:prstGeom prst="rect">
            <a:avLst/>
          </a:prstGeom>
          <a:noFill/>
        </p:spPr>
        <p:txBody>
          <a:bodyPr wrap="square" rtlCol="0">
            <a:spAutoFit/>
          </a:bodyPr>
          <a:lstStyle/>
          <a:p>
            <a:pPr algn="ctr">
              <a:buClr>
                <a:srgbClr val="002F6C"/>
              </a:buClr>
              <a:defRPr/>
            </a:pPr>
            <a:r>
              <a:rPr lang="en-GB" sz="1200" b="1">
                <a:solidFill>
                  <a:srgbClr val="001E60"/>
                </a:solidFill>
                <a:latin typeface="Tw Cen MT"/>
              </a:rPr>
              <a:t>Incomplete</a:t>
            </a:r>
          </a:p>
        </p:txBody>
      </p:sp>
      <p:sp>
        <p:nvSpPr>
          <p:cNvPr id="151" name="Oval 270">
            <a:extLst>
              <a:ext uri="{FF2B5EF4-FFF2-40B4-BE49-F238E27FC236}">
                <a16:creationId xmlns:a16="http://schemas.microsoft.com/office/drawing/2014/main" id="{C0412A8F-CAC4-18B5-155F-056AF5F3944A}"/>
              </a:ext>
            </a:extLst>
          </p:cNvPr>
          <p:cNvSpPr/>
          <p:nvPr/>
        </p:nvSpPr>
        <p:spPr>
          <a:xfrm>
            <a:off x="3567418" y="4847196"/>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2" name="Oval 271">
            <a:extLst>
              <a:ext uri="{FF2B5EF4-FFF2-40B4-BE49-F238E27FC236}">
                <a16:creationId xmlns:a16="http://schemas.microsoft.com/office/drawing/2014/main" id="{C690DCD0-A0A3-EDCC-937E-87B26653D70B}"/>
              </a:ext>
            </a:extLst>
          </p:cNvPr>
          <p:cNvSpPr/>
          <p:nvPr/>
        </p:nvSpPr>
        <p:spPr>
          <a:xfrm>
            <a:off x="2397572" y="4847196"/>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3" name="Oval 272">
            <a:extLst>
              <a:ext uri="{FF2B5EF4-FFF2-40B4-BE49-F238E27FC236}">
                <a16:creationId xmlns:a16="http://schemas.microsoft.com/office/drawing/2014/main" id="{3227C11D-6FCF-25E4-603A-4F12A92202D8}"/>
              </a:ext>
            </a:extLst>
          </p:cNvPr>
          <p:cNvSpPr/>
          <p:nvPr/>
        </p:nvSpPr>
        <p:spPr>
          <a:xfrm>
            <a:off x="2787521" y="4847196"/>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154" name="Oval 273">
            <a:extLst>
              <a:ext uri="{FF2B5EF4-FFF2-40B4-BE49-F238E27FC236}">
                <a16:creationId xmlns:a16="http://schemas.microsoft.com/office/drawing/2014/main" id="{D42FC551-BCE3-3A8B-DDB2-4EE022ED02F2}"/>
              </a:ext>
            </a:extLst>
          </p:cNvPr>
          <p:cNvSpPr/>
          <p:nvPr/>
        </p:nvSpPr>
        <p:spPr>
          <a:xfrm>
            <a:off x="3177469" y="4847196"/>
            <a:ext cx="377553" cy="377553"/>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cxnSp>
        <p:nvCxnSpPr>
          <p:cNvPr id="155" name="Connector: Curved 274">
            <a:extLst>
              <a:ext uri="{FF2B5EF4-FFF2-40B4-BE49-F238E27FC236}">
                <a16:creationId xmlns:a16="http://schemas.microsoft.com/office/drawing/2014/main" id="{6953D8A5-9E2F-5248-22AE-3B19B7F4B23A}"/>
              </a:ext>
            </a:extLst>
          </p:cNvPr>
          <p:cNvCxnSpPr>
            <a:cxnSpLocks/>
            <a:stCxn id="159" idx="0"/>
          </p:cNvCxnSpPr>
          <p:nvPr/>
        </p:nvCxnSpPr>
        <p:spPr>
          <a:xfrm rot="5400000" flipH="1" flipV="1">
            <a:off x="3839720" y="2787793"/>
            <a:ext cx="506872" cy="594081"/>
          </a:xfrm>
          <a:prstGeom prst="curvedConnector2">
            <a:avLst/>
          </a:prstGeom>
          <a:noFill/>
          <a:ln w="28575" cap="flat" cmpd="sng" algn="ctr">
            <a:solidFill>
              <a:srgbClr val="001E60"/>
            </a:solidFill>
            <a:prstDash val="solid"/>
            <a:miter lim="800000"/>
            <a:tailEnd type="triangle" w="sm" len="sm"/>
          </a:ln>
          <a:effectLst/>
        </p:spPr>
      </p:cxnSp>
      <p:pic>
        <p:nvPicPr>
          <p:cNvPr id="156" name="Graphic 275" descr="Lightning bolt outline">
            <a:extLst>
              <a:ext uri="{FF2B5EF4-FFF2-40B4-BE49-F238E27FC236}">
                <a16:creationId xmlns:a16="http://schemas.microsoft.com/office/drawing/2014/main" id="{A5A59F44-09A6-5AD1-E3AF-6799FF512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7312716">
            <a:off x="4057154" y="2474812"/>
            <a:ext cx="378328" cy="378328"/>
          </a:xfrm>
          <a:prstGeom prst="rect">
            <a:avLst/>
          </a:prstGeom>
        </p:spPr>
      </p:pic>
      <p:sp>
        <p:nvSpPr>
          <p:cNvPr id="157" name="Oval 276">
            <a:extLst>
              <a:ext uri="{FF2B5EF4-FFF2-40B4-BE49-F238E27FC236}">
                <a16:creationId xmlns:a16="http://schemas.microsoft.com/office/drawing/2014/main" id="{9B9FB4A3-5AC2-6D4C-009B-CD25A4ECE06E}"/>
              </a:ext>
            </a:extLst>
          </p:cNvPr>
          <p:cNvSpPr/>
          <p:nvPr/>
        </p:nvSpPr>
        <p:spPr>
          <a:xfrm>
            <a:off x="4292618" y="3741772"/>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cxnSp>
        <p:nvCxnSpPr>
          <p:cNvPr id="158" name="Straight Arrow Connector 277">
            <a:extLst>
              <a:ext uri="{FF2B5EF4-FFF2-40B4-BE49-F238E27FC236}">
                <a16:creationId xmlns:a16="http://schemas.microsoft.com/office/drawing/2014/main" id="{CE9FEB90-66CF-CA93-658D-0F64C21206F9}"/>
              </a:ext>
            </a:extLst>
          </p:cNvPr>
          <p:cNvCxnSpPr>
            <a:cxnSpLocks/>
          </p:cNvCxnSpPr>
          <p:nvPr/>
        </p:nvCxnSpPr>
        <p:spPr>
          <a:xfrm>
            <a:off x="4579376" y="4039359"/>
            <a:ext cx="0" cy="128419"/>
          </a:xfrm>
          <a:prstGeom prst="straightConnector1">
            <a:avLst/>
          </a:prstGeom>
          <a:noFill/>
          <a:ln w="28575" cap="flat" cmpd="sng" algn="ctr">
            <a:solidFill>
              <a:srgbClr val="001E60"/>
            </a:solidFill>
            <a:prstDash val="solid"/>
            <a:miter lim="800000"/>
            <a:tailEnd type="triangle" w="sm" len="sm"/>
          </a:ln>
          <a:effectLst/>
        </p:spPr>
      </p:cxnSp>
      <p:sp>
        <p:nvSpPr>
          <p:cNvPr id="159" name="TextBox 278">
            <a:extLst>
              <a:ext uri="{FF2B5EF4-FFF2-40B4-BE49-F238E27FC236}">
                <a16:creationId xmlns:a16="http://schemas.microsoft.com/office/drawing/2014/main" id="{9C3A5CED-7465-645E-6FF2-C95E819F15A3}"/>
              </a:ext>
            </a:extLst>
          </p:cNvPr>
          <p:cNvSpPr txBox="1"/>
          <p:nvPr/>
        </p:nvSpPr>
        <p:spPr>
          <a:xfrm>
            <a:off x="3401616" y="3338269"/>
            <a:ext cx="788999" cy="307777"/>
          </a:xfrm>
          <a:prstGeom prst="rect">
            <a:avLst/>
          </a:prstGeom>
          <a:noFill/>
        </p:spPr>
        <p:txBody>
          <a:bodyPr wrap="none" rtlCol="0">
            <a:spAutoFit/>
          </a:bodyPr>
          <a:lstStyle/>
          <a:p>
            <a:pPr algn="ctr">
              <a:buClr>
                <a:srgbClr val="002F6C"/>
              </a:buClr>
              <a:defRPr/>
            </a:pPr>
            <a:r>
              <a:rPr lang="en-GB" sz="700">
                <a:solidFill>
                  <a:srgbClr val="001E60"/>
                </a:solidFill>
                <a:latin typeface="Tw Cen MT"/>
              </a:rPr>
              <a:t>C3 convertase </a:t>
            </a:r>
            <a:br>
              <a:rPr lang="en-GB" sz="700">
                <a:solidFill>
                  <a:srgbClr val="001E60"/>
                </a:solidFill>
                <a:latin typeface="Tw Cen MT"/>
              </a:rPr>
            </a:br>
            <a:r>
              <a:rPr lang="en-GB" sz="700">
                <a:solidFill>
                  <a:srgbClr val="001E60"/>
                </a:solidFill>
                <a:latin typeface="Tw Cen MT"/>
              </a:rPr>
              <a:t>(C3bBb)</a:t>
            </a:r>
          </a:p>
        </p:txBody>
      </p:sp>
      <p:cxnSp>
        <p:nvCxnSpPr>
          <p:cNvPr id="160" name="Straight Connector 279">
            <a:extLst>
              <a:ext uri="{FF2B5EF4-FFF2-40B4-BE49-F238E27FC236}">
                <a16:creationId xmlns:a16="http://schemas.microsoft.com/office/drawing/2014/main" id="{5F20F019-75E9-8865-6349-B9896AA94E1E}"/>
              </a:ext>
            </a:extLst>
          </p:cNvPr>
          <p:cNvCxnSpPr>
            <a:cxnSpLocks/>
            <a:stCxn id="180" idx="0"/>
          </p:cNvCxnSpPr>
          <p:nvPr/>
        </p:nvCxnSpPr>
        <p:spPr>
          <a:xfrm flipH="1">
            <a:off x="4114065" y="3451621"/>
            <a:ext cx="178553" cy="1866"/>
          </a:xfrm>
          <a:prstGeom prst="line">
            <a:avLst/>
          </a:prstGeom>
          <a:noFill/>
          <a:ln w="19050" cap="flat" cmpd="sng" algn="ctr">
            <a:solidFill>
              <a:srgbClr val="001E60"/>
            </a:solidFill>
            <a:prstDash val="solid"/>
            <a:miter lim="800000"/>
          </a:ln>
          <a:effectLst/>
        </p:spPr>
      </p:cxnSp>
      <p:grpSp>
        <p:nvGrpSpPr>
          <p:cNvPr id="161" name="Group 280">
            <a:extLst>
              <a:ext uri="{FF2B5EF4-FFF2-40B4-BE49-F238E27FC236}">
                <a16:creationId xmlns:a16="http://schemas.microsoft.com/office/drawing/2014/main" id="{082212CE-CFCE-23DF-F6AE-792069663934}"/>
              </a:ext>
            </a:extLst>
          </p:cNvPr>
          <p:cNvGrpSpPr/>
          <p:nvPr/>
        </p:nvGrpSpPr>
        <p:grpSpPr>
          <a:xfrm>
            <a:off x="4292615" y="4167209"/>
            <a:ext cx="573518" cy="473734"/>
            <a:chOff x="6744072" y="2609157"/>
            <a:chExt cx="1008114" cy="818422"/>
          </a:xfrm>
        </p:grpSpPr>
        <p:sp>
          <p:nvSpPr>
            <p:cNvPr id="162" name="Rectangle: Top Corners Snipped 281">
              <a:extLst>
                <a:ext uri="{FF2B5EF4-FFF2-40B4-BE49-F238E27FC236}">
                  <a16:creationId xmlns:a16="http://schemas.microsoft.com/office/drawing/2014/main" id="{1CE90279-FE6F-8836-3750-61AA848C9229}"/>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63" name="TextBox 282">
              <a:extLst>
                <a:ext uri="{FF2B5EF4-FFF2-40B4-BE49-F238E27FC236}">
                  <a16:creationId xmlns:a16="http://schemas.microsoft.com/office/drawing/2014/main" id="{BBBA1A83-186B-BB39-36B1-8C87F772C024}"/>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164" name="Oval 283">
              <a:extLst>
                <a:ext uri="{FF2B5EF4-FFF2-40B4-BE49-F238E27FC236}">
                  <a16:creationId xmlns:a16="http://schemas.microsoft.com/office/drawing/2014/main" id="{E4F72870-267E-D816-AAFD-521FAFAF1929}"/>
                </a:ext>
              </a:extLst>
            </p:cNvPr>
            <p:cNvSpPr/>
            <p:nvPr/>
          </p:nvSpPr>
          <p:spPr>
            <a:xfrm>
              <a:off x="6744074" y="2609157"/>
              <a:ext cx="1008112" cy="484186"/>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sp>
        <p:nvSpPr>
          <p:cNvPr id="165" name="TextBox 284">
            <a:extLst>
              <a:ext uri="{FF2B5EF4-FFF2-40B4-BE49-F238E27FC236}">
                <a16:creationId xmlns:a16="http://schemas.microsoft.com/office/drawing/2014/main" id="{51C92DDC-53E0-E437-AD8B-18ED064FE417}"/>
              </a:ext>
            </a:extLst>
          </p:cNvPr>
          <p:cNvSpPr txBox="1"/>
          <p:nvPr/>
        </p:nvSpPr>
        <p:spPr>
          <a:xfrm>
            <a:off x="3401616" y="4315091"/>
            <a:ext cx="788999" cy="307777"/>
          </a:xfrm>
          <a:prstGeom prst="rect">
            <a:avLst/>
          </a:prstGeom>
          <a:noFill/>
        </p:spPr>
        <p:txBody>
          <a:bodyPr wrap="none" rtlCol="0">
            <a:spAutoFit/>
          </a:bodyPr>
          <a:lstStyle/>
          <a:p>
            <a:pPr algn="ctr">
              <a:buClr>
                <a:srgbClr val="002F6C"/>
              </a:buClr>
              <a:defRPr/>
            </a:pPr>
            <a:r>
              <a:rPr lang="en-GB" sz="700">
                <a:solidFill>
                  <a:srgbClr val="001E60"/>
                </a:solidFill>
                <a:latin typeface="Tw Cen MT"/>
              </a:rPr>
              <a:t>C5 convertase </a:t>
            </a:r>
            <a:br>
              <a:rPr lang="en-GB" sz="700">
                <a:solidFill>
                  <a:srgbClr val="001E60"/>
                </a:solidFill>
                <a:latin typeface="Tw Cen MT"/>
              </a:rPr>
            </a:br>
            <a:r>
              <a:rPr lang="en-GB" sz="700">
                <a:solidFill>
                  <a:srgbClr val="001E60"/>
                </a:solidFill>
                <a:latin typeface="Tw Cen MT"/>
              </a:rPr>
              <a:t>(C3b</a:t>
            </a:r>
            <a:r>
              <a:rPr lang="en-GB" sz="700" baseline="-25000">
                <a:solidFill>
                  <a:srgbClr val="001E60"/>
                </a:solidFill>
                <a:latin typeface="Tw Cen MT"/>
              </a:rPr>
              <a:t>n</a:t>
            </a:r>
            <a:r>
              <a:rPr lang="en-GB" sz="700">
                <a:solidFill>
                  <a:srgbClr val="001E60"/>
                </a:solidFill>
                <a:latin typeface="Tw Cen MT"/>
              </a:rPr>
              <a:t>Bb)</a:t>
            </a:r>
          </a:p>
        </p:txBody>
      </p:sp>
      <p:cxnSp>
        <p:nvCxnSpPr>
          <p:cNvPr id="166" name="Straight Connector 285">
            <a:extLst>
              <a:ext uri="{FF2B5EF4-FFF2-40B4-BE49-F238E27FC236}">
                <a16:creationId xmlns:a16="http://schemas.microsoft.com/office/drawing/2014/main" id="{870169E7-73FD-F997-8139-7B4516192A05}"/>
              </a:ext>
            </a:extLst>
          </p:cNvPr>
          <p:cNvCxnSpPr>
            <a:cxnSpLocks/>
            <a:stCxn id="165" idx="3"/>
            <a:endCxn id="162" idx="0"/>
          </p:cNvCxnSpPr>
          <p:nvPr/>
        </p:nvCxnSpPr>
        <p:spPr>
          <a:xfrm flipV="1">
            <a:off x="4190615" y="4465795"/>
            <a:ext cx="102000" cy="3185"/>
          </a:xfrm>
          <a:prstGeom prst="line">
            <a:avLst/>
          </a:prstGeom>
          <a:noFill/>
          <a:ln w="19050" cap="flat" cmpd="sng" algn="ctr">
            <a:solidFill>
              <a:srgbClr val="001E60"/>
            </a:solidFill>
            <a:prstDash val="solid"/>
            <a:miter lim="800000"/>
          </a:ln>
          <a:effectLst/>
        </p:spPr>
      </p:cxnSp>
      <p:cxnSp>
        <p:nvCxnSpPr>
          <p:cNvPr id="167" name="Straight Arrow Connector 286">
            <a:extLst>
              <a:ext uri="{FF2B5EF4-FFF2-40B4-BE49-F238E27FC236}">
                <a16:creationId xmlns:a16="http://schemas.microsoft.com/office/drawing/2014/main" id="{C83B1C0E-9BE2-4292-05B6-F08F2E9D6A46}"/>
              </a:ext>
            </a:extLst>
          </p:cNvPr>
          <p:cNvCxnSpPr>
            <a:cxnSpLocks/>
            <a:stCxn id="154" idx="4"/>
            <a:endCxn id="175" idx="0"/>
          </p:cNvCxnSpPr>
          <p:nvPr/>
        </p:nvCxnSpPr>
        <p:spPr>
          <a:xfrm>
            <a:off x="3366246" y="5224749"/>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68" name="Straight Arrow Connector 287">
            <a:extLst>
              <a:ext uri="{FF2B5EF4-FFF2-40B4-BE49-F238E27FC236}">
                <a16:creationId xmlns:a16="http://schemas.microsoft.com/office/drawing/2014/main" id="{30EEE1D0-AC9A-73D8-221C-FDB4B027EAC6}"/>
              </a:ext>
            </a:extLst>
          </p:cNvPr>
          <p:cNvCxnSpPr>
            <a:cxnSpLocks/>
            <a:stCxn id="153" idx="4"/>
            <a:endCxn id="174" idx="0"/>
          </p:cNvCxnSpPr>
          <p:nvPr/>
        </p:nvCxnSpPr>
        <p:spPr>
          <a:xfrm>
            <a:off x="2976298" y="5224749"/>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69" name="Straight Arrow Connector 288">
            <a:extLst>
              <a:ext uri="{FF2B5EF4-FFF2-40B4-BE49-F238E27FC236}">
                <a16:creationId xmlns:a16="http://schemas.microsoft.com/office/drawing/2014/main" id="{2913E8D7-D281-3779-E76A-DB237B6E6706}"/>
              </a:ext>
            </a:extLst>
          </p:cNvPr>
          <p:cNvCxnSpPr>
            <a:cxnSpLocks/>
            <a:stCxn id="152" idx="4"/>
            <a:endCxn id="173" idx="0"/>
          </p:cNvCxnSpPr>
          <p:nvPr/>
        </p:nvCxnSpPr>
        <p:spPr>
          <a:xfrm>
            <a:off x="2586349" y="5224749"/>
            <a:ext cx="0" cy="132999"/>
          </a:xfrm>
          <a:prstGeom prst="straightConnector1">
            <a:avLst/>
          </a:prstGeom>
          <a:noFill/>
          <a:ln w="28575" cap="flat" cmpd="sng" algn="ctr">
            <a:solidFill>
              <a:srgbClr val="001E60"/>
            </a:solidFill>
            <a:prstDash val="solid"/>
            <a:miter lim="800000"/>
            <a:tailEnd type="triangle" w="sm" len="sm"/>
          </a:ln>
          <a:effectLst/>
        </p:spPr>
      </p:cxnSp>
      <p:cxnSp>
        <p:nvCxnSpPr>
          <p:cNvPr id="170" name="Straight Arrow Connector 289">
            <a:extLst>
              <a:ext uri="{FF2B5EF4-FFF2-40B4-BE49-F238E27FC236}">
                <a16:creationId xmlns:a16="http://schemas.microsoft.com/office/drawing/2014/main" id="{E9BE311A-7349-777E-0F41-719F48C2528E}"/>
              </a:ext>
            </a:extLst>
          </p:cNvPr>
          <p:cNvCxnSpPr>
            <a:cxnSpLocks/>
            <a:stCxn id="151" idx="4"/>
            <a:endCxn id="176" idx="0"/>
          </p:cNvCxnSpPr>
          <p:nvPr/>
        </p:nvCxnSpPr>
        <p:spPr>
          <a:xfrm>
            <a:off x="3756195" y="5224749"/>
            <a:ext cx="0" cy="132999"/>
          </a:xfrm>
          <a:prstGeom prst="straightConnector1">
            <a:avLst/>
          </a:prstGeom>
          <a:noFill/>
          <a:ln w="28575" cap="flat" cmpd="sng" algn="ctr">
            <a:solidFill>
              <a:srgbClr val="001E60"/>
            </a:solidFill>
            <a:prstDash val="solid"/>
            <a:miter lim="800000"/>
            <a:tailEnd type="triangle" w="sm" len="sm"/>
          </a:ln>
          <a:effectLst/>
        </p:spPr>
      </p:cxnSp>
      <p:sp>
        <p:nvSpPr>
          <p:cNvPr id="171" name="TextBox 290">
            <a:extLst>
              <a:ext uri="{FF2B5EF4-FFF2-40B4-BE49-F238E27FC236}">
                <a16:creationId xmlns:a16="http://schemas.microsoft.com/office/drawing/2014/main" id="{64745530-DFA7-978B-8965-12E17FC7D96A}"/>
              </a:ext>
            </a:extLst>
          </p:cNvPr>
          <p:cNvSpPr txBox="1"/>
          <p:nvPr/>
        </p:nvSpPr>
        <p:spPr>
          <a:xfrm>
            <a:off x="2351584" y="5717362"/>
            <a:ext cx="4752528" cy="200055"/>
          </a:xfrm>
          <a:prstGeom prst="rect">
            <a:avLst/>
          </a:prstGeom>
          <a:noFill/>
        </p:spPr>
        <p:txBody>
          <a:bodyPr wrap="square" rtlCol="0">
            <a:spAutoFit/>
          </a:bodyPr>
          <a:lstStyle/>
          <a:p>
            <a:pPr algn="ctr">
              <a:buClr>
                <a:srgbClr val="002F6C"/>
              </a:buClr>
              <a:defRPr/>
            </a:pPr>
            <a:r>
              <a:rPr lang="en-GB" sz="700">
                <a:solidFill>
                  <a:srgbClr val="001E60"/>
                </a:solidFill>
                <a:latin typeface="Tw Cen MT"/>
              </a:rPr>
              <a:t>C5b-9 (MAC)</a:t>
            </a:r>
          </a:p>
        </p:txBody>
      </p:sp>
      <p:grpSp>
        <p:nvGrpSpPr>
          <p:cNvPr id="172" name="Group 291">
            <a:extLst>
              <a:ext uri="{FF2B5EF4-FFF2-40B4-BE49-F238E27FC236}">
                <a16:creationId xmlns:a16="http://schemas.microsoft.com/office/drawing/2014/main" id="{6CF06F11-2B0D-632C-E433-5EF064AD6B4B}"/>
              </a:ext>
            </a:extLst>
          </p:cNvPr>
          <p:cNvGrpSpPr/>
          <p:nvPr/>
        </p:nvGrpSpPr>
        <p:grpSpPr>
          <a:xfrm>
            <a:off x="2466737" y="5357748"/>
            <a:ext cx="1409069" cy="343612"/>
            <a:chOff x="4278195" y="5726101"/>
            <a:chExt cx="1975033" cy="481626"/>
          </a:xfrm>
        </p:grpSpPr>
        <p:pic>
          <p:nvPicPr>
            <p:cNvPr id="173" name="Picture 292">
              <a:extLst>
                <a:ext uri="{FF2B5EF4-FFF2-40B4-BE49-F238E27FC236}">
                  <a16:creationId xmlns:a16="http://schemas.microsoft.com/office/drawing/2014/main" id="{B9E8CA94-02BF-8500-40E5-86B4404B4EED}"/>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174" name="Picture 293">
              <a:extLst>
                <a:ext uri="{FF2B5EF4-FFF2-40B4-BE49-F238E27FC236}">
                  <a16:creationId xmlns:a16="http://schemas.microsoft.com/office/drawing/2014/main" id="{BE3D781A-431B-EFBA-DC07-85EE04A25116}"/>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175" name="Picture 294">
              <a:extLst>
                <a:ext uri="{FF2B5EF4-FFF2-40B4-BE49-F238E27FC236}">
                  <a16:creationId xmlns:a16="http://schemas.microsoft.com/office/drawing/2014/main" id="{5B3CE494-1533-9FBF-3046-9EF8ABF008B8}"/>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176" name="Picture 295">
              <a:extLst>
                <a:ext uri="{FF2B5EF4-FFF2-40B4-BE49-F238E27FC236}">
                  <a16:creationId xmlns:a16="http://schemas.microsoft.com/office/drawing/2014/main" id="{C209A393-15D5-9E8C-387C-EBBE644950F2}"/>
                </a:ext>
              </a:extLst>
            </p:cNvPr>
            <p:cNvPicPr>
              <a:picLocks noChangeAspect="1"/>
            </p:cNvPicPr>
            <p:nvPr/>
          </p:nvPicPr>
          <p:blipFill>
            <a:blip r:embed="rId4"/>
            <a:stretch>
              <a:fillRect/>
            </a:stretch>
          </p:blipFill>
          <p:spPr>
            <a:xfrm>
              <a:off x="5917919" y="5726101"/>
              <a:ext cx="335309" cy="481626"/>
            </a:xfrm>
            <a:prstGeom prst="rect">
              <a:avLst/>
            </a:prstGeom>
          </p:spPr>
        </p:pic>
      </p:grpSp>
      <p:cxnSp>
        <p:nvCxnSpPr>
          <p:cNvPr id="177" name="Straight Arrow Connector 296">
            <a:extLst>
              <a:ext uri="{FF2B5EF4-FFF2-40B4-BE49-F238E27FC236}">
                <a16:creationId xmlns:a16="http://schemas.microsoft.com/office/drawing/2014/main" id="{6537BE29-6311-7F9D-56A4-8538782D07E0}"/>
              </a:ext>
            </a:extLst>
          </p:cNvPr>
          <p:cNvCxnSpPr>
            <a:cxnSpLocks/>
          </p:cNvCxnSpPr>
          <p:nvPr/>
        </p:nvCxnSpPr>
        <p:spPr>
          <a:xfrm flipH="1">
            <a:off x="4579039" y="3610352"/>
            <a:ext cx="676" cy="131419"/>
          </a:xfrm>
          <a:prstGeom prst="straightConnector1">
            <a:avLst/>
          </a:prstGeom>
          <a:noFill/>
          <a:ln w="28575" cap="flat" cmpd="sng" algn="ctr">
            <a:solidFill>
              <a:srgbClr val="001E60"/>
            </a:solidFill>
            <a:prstDash val="solid"/>
            <a:miter lim="800000"/>
            <a:tailEnd type="triangle" w="sm" len="sm"/>
          </a:ln>
          <a:effectLst/>
        </p:spPr>
      </p:cxnSp>
      <p:sp>
        <p:nvSpPr>
          <p:cNvPr id="178" name="TextBox 297">
            <a:extLst>
              <a:ext uri="{FF2B5EF4-FFF2-40B4-BE49-F238E27FC236}">
                <a16:creationId xmlns:a16="http://schemas.microsoft.com/office/drawing/2014/main" id="{7F564FD8-9B0C-3F85-F43B-E07DF7A3B87B}"/>
              </a:ext>
            </a:extLst>
          </p:cNvPr>
          <p:cNvSpPr txBox="1"/>
          <p:nvPr/>
        </p:nvSpPr>
        <p:spPr>
          <a:xfrm>
            <a:off x="3963202" y="2906949"/>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79" name="Group 298">
            <a:extLst>
              <a:ext uri="{FF2B5EF4-FFF2-40B4-BE49-F238E27FC236}">
                <a16:creationId xmlns:a16="http://schemas.microsoft.com/office/drawing/2014/main" id="{A6F47C0E-E405-8E6B-568C-A900E02313F6}"/>
              </a:ext>
            </a:extLst>
          </p:cNvPr>
          <p:cNvGrpSpPr/>
          <p:nvPr/>
        </p:nvGrpSpPr>
        <p:grpSpPr>
          <a:xfrm>
            <a:off x="4292618" y="3153032"/>
            <a:ext cx="573517" cy="481708"/>
            <a:chOff x="3714867" y="2610071"/>
            <a:chExt cx="1008112" cy="832199"/>
          </a:xfrm>
        </p:grpSpPr>
        <p:sp>
          <p:nvSpPr>
            <p:cNvPr id="180" name="Rectangle: Top Corners Snipped 299">
              <a:extLst>
                <a:ext uri="{FF2B5EF4-FFF2-40B4-BE49-F238E27FC236}">
                  <a16:creationId xmlns:a16="http://schemas.microsoft.com/office/drawing/2014/main" id="{90DD8ADA-1E30-2E54-252E-05CFC50ACB04}"/>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81" name="Oval 300">
              <a:extLst>
                <a:ext uri="{FF2B5EF4-FFF2-40B4-BE49-F238E27FC236}">
                  <a16:creationId xmlns:a16="http://schemas.microsoft.com/office/drawing/2014/main" id="{A0023999-FF2F-88CD-9518-0449FBDBF967}"/>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82" name="TextBox 301">
              <a:extLst>
                <a:ext uri="{FF2B5EF4-FFF2-40B4-BE49-F238E27FC236}">
                  <a16:creationId xmlns:a16="http://schemas.microsoft.com/office/drawing/2014/main" id="{4EDCBC75-49D3-01C7-E032-7D6844008270}"/>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83" name="Straight Arrow Connector 302">
            <a:extLst>
              <a:ext uri="{FF2B5EF4-FFF2-40B4-BE49-F238E27FC236}">
                <a16:creationId xmlns:a16="http://schemas.microsoft.com/office/drawing/2014/main" id="{BD82743B-E70F-D0E0-099E-1141EB4FA429}"/>
              </a:ext>
            </a:extLst>
          </p:cNvPr>
          <p:cNvCxnSpPr>
            <a:cxnSpLocks/>
          </p:cNvCxnSpPr>
          <p:nvPr/>
        </p:nvCxnSpPr>
        <p:spPr>
          <a:xfrm>
            <a:off x="4579376" y="3020097"/>
            <a:ext cx="1" cy="132938"/>
          </a:xfrm>
          <a:prstGeom prst="straightConnector1">
            <a:avLst/>
          </a:prstGeom>
          <a:noFill/>
          <a:ln w="28575" cap="flat" cmpd="sng" algn="ctr">
            <a:solidFill>
              <a:srgbClr val="001E60"/>
            </a:solidFill>
            <a:prstDash val="solid"/>
            <a:miter lim="800000"/>
            <a:tailEnd type="triangle" w="sm" len="sm"/>
          </a:ln>
          <a:effectLst/>
        </p:spPr>
      </p:cxnSp>
      <p:cxnSp>
        <p:nvCxnSpPr>
          <p:cNvPr id="184" name="Straight Arrow Connector 303">
            <a:extLst>
              <a:ext uri="{FF2B5EF4-FFF2-40B4-BE49-F238E27FC236}">
                <a16:creationId xmlns:a16="http://schemas.microsoft.com/office/drawing/2014/main" id="{C6A46854-DED7-4D08-DA23-AD02E8B82358}"/>
              </a:ext>
            </a:extLst>
          </p:cNvPr>
          <p:cNvCxnSpPr>
            <a:cxnSpLocks/>
          </p:cNvCxnSpPr>
          <p:nvPr/>
        </p:nvCxnSpPr>
        <p:spPr>
          <a:xfrm flipH="1">
            <a:off x="5409484" y="3610352"/>
            <a:ext cx="676" cy="130721"/>
          </a:xfrm>
          <a:prstGeom prst="straightConnector1">
            <a:avLst/>
          </a:prstGeom>
          <a:noFill/>
          <a:ln w="28575" cap="flat" cmpd="sng" algn="ctr">
            <a:solidFill>
              <a:srgbClr val="001E60"/>
            </a:solidFill>
            <a:prstDash val="solid"/>
            <a:miter lim="800000"/>
            <a:tailEnd type="triangle" w="sm" len="sm"/>
          </a:ln>
          <a:effectLst/>
        </p:spPr>
      </p:cxnSp>
      <p:sp>
        <p:nvSpPr>
          <p:cNvPr id="185" name="TextBox 304">
            <a:extLst>
              <a:ext uri="{FF2B5EF4-FFF2-40B4-BE49-F238E27FC236}">
                <a16:creationId xmlns:a16="http://schemas.microsoft.com/office/drawing/2014/main" id="{1D72E4CC-B473-D3FB-EBAB-6F0EAA6B7C2B}"/>
              </a:ext>
            </a:extLst>
          </p:cNvPr>
          <p:cNvSpPr txBox="1"/>
          <p:nvPr/>
        </p:nvSpPr>
        <p:spPr>
          <a:xfrm>
            <a:off x="4785101" y="2906949"/>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86" name="Group 305">
            <a:extLst>
              <a:ext uri="{FF2B5EF4-FFF2-40B4-BE49-F238E27FC236}">
                <a16:creationId xmlns:a16="http://schemas.microsoft.com/office/drawing/2014/main" id="{ED8429F8-0660-E688-8F5B-0556F41089FB}"/>
              </a:ext>
            </a:extLst>
          </p:cNvPr>
          <p:cNvGrpSpPr/>
          <p:nvPr/>
        </p:nvGrpSpPr>
        <p:grpSpPr>
          <a:xfrm>
            <a:off x="5123063" y="3153032"/>
            <a:ext cx="573517" cy="481708"/>
            <a:chOff x="3714867" y="2610071"/>
            <a:chExt cx="1008112" cy="832199"/>
          </a:xfrm>
        </p:grpSpPr>
        <p:sp>
          <p:nvSpPr>
            <p:cNvPr id="187" name="Rectangle: Top Corners Snipped 306">
              <a:extLst>
                <a:ext uri="{FF2B5EF4-FFF2-40B4-BE49-F238E27FC236}">
                  <a16:creationId xmlns:a16="http://schemas.microsoft.com/office/drawing/2014/main" id="{43B52713-6FBC-243C-832D-1FE51E7B4D0C}"/>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88" name="Oval 307">
              <a:extLst>
                <a:ext uri="{FF2B5EF4-FFF2-40B4-BE49-F238E27FC236}">
                  <a16:creationId xmlns:a16="http://schemas.microsoft.com/office/drawing/2014/main" id="{4BE5405A-3963-146A-D359-37DC052EE9A0}"/>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89" name="TextBox 308">
              <a:extLst>
                <a:ext uri="{FF2B5EF4-FFF2-40B4-BE49-F238E27FC236}">
                  <a16:creationId xmlns:a16="http://schemas.microsoft.com/office/drawing/2014/main" id="{B52E4464-46A9-1C22-6639-C5C788790F50}"/>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90" name="Straight Arrow Connector 309">
            <a:extLst>
              <a:ext uri="{FF2B5EF4-FFF2-40B4-BE49-F238E27FC236}">
                <a16:creationId xmlns:a16="http://schemas.microsoft.com/office/drawing/2014/main" id="{F56DA238-BCBF-137F-6980-D3DCA9A57CA7}"/>
              </a:ext>
            </a:extLst>
          </p:cNvPr>
          <p:cNvCxnSpPr>
            <a:cxnSpLocks/>
          </p:cNvCxnSpPr>
          <p:nvPr/>
        </p:nvCxnSpPr>
        <p:spPr>
          <a:xfrm>
            <a:off x="5409821" y="3020097"/>
            <a:ext cx="1" cy="132938"/>
          </a:xfrm>
          <a:prstGeom prst="straightConnector1">
            <a:avLst/>
          </a:prstGeom>
          <a:noFill/>
          <a:ln w="28575" cap="flat" cmpd="sng" algn="ctr">
            <a:solidFill>
              <a:srgbClr val="001E60"/>
            </a:solidFill>
            <a:prstDash val="solid"/>
            <a:miter lim="800000"/>
            <a:tailEnd type="triangle" w="sm" len="sm"/>
          </a:ln>
          <a:effectLst/>
        </p:spPr>
      </p:cxnSp>
      <p:cxnSp>
        <p:nvCxnSpPr>
          <p:cNvPr id="191" name="Straight Arrow Connector 310">
            <a:extLst>
              <a:ext uri="{FF2B5EF4-FFF2-40B4-BE49-F238E27FC236}">
                <a16:creationId xmlns:a16="http://schemas.microsoft.com/office/drawing/2014/main" id="{605A5FF3-BD49-CBAF-5B5A-4994996CED2B}"/>
              </a:ext>
            </a:extLst>
          </p:cNvPr>
          <p:cNvCxnSpPr>
            <a:cxnSpLocks/>
          </p:cNvCxnSpPr>
          <p:nvPr/>
        </p:nvCxnSpPr>
        <p:spPr>
          <a:xfrm flipH="1">
            <a:off x="6244334" y="3610352"/>
            <a:ext cx="676" cy="130721"/>
          </a:xfrm>
          <a:prstGeom prst="straightConnector1">
            <a:avLst/>
          </a:prstGeom>
          <a:noFill/>
          <a:ln w="28575" cap="flat" cmpd="sng" algn="ctr">
            <a:solidFill>
              <a:srgbClr val="001E60"/>
            </a:solidFill>
            <a:prstDash val="solid"/>
            <a:miter lim="800000"/>
            <a:tailEnd type="triangle" w="sm" len="sm"/>
          </a:ln>
          <a:effectLst/>
        </p:spPr>
      </p:cxnSp>
      <p:sp>
        <p:nvSpPr>
          <p:cNvPr id="192" name="TextBox 311">
            <a:extLst>
              <a:ext uri="{FF2B5EF4-FFF2-40B4-BE49-F238E27FC236}">
                <a16:creationId xmlns:a16="http://schemas.microsoft.com/office/drawing/2014/main" id="{309AD480-7AD9-80B4-51C3-C83BBEF24EF4}"/>
              </a:ext>
            </a:extLst>
          </p:cNvPr>
          <p:cNvSpPr txBox="1"/>
          <p:nvPr/>
        </p:nvSpPr>
        <p:spPr>
          <a:xfrm>
            <a:off x="5629488" y="2906949"/>
            <a:ext cx="529312" cy="307777"/>
          </a:xfrm>
          <a:prstGeom prst="rect">
            <a:avLst/>
          </a:prstGeom>
          <a:noFill/>
        </p:spPr>
        <p:txBody>
          <a:bodyPr wrap="none" rtlCol="0">
            <a:spAutoFit/>
          </a:bodyPr>
          <a:lstStyle/>
          <a:p>
            <a:pPr>
              <a:buClr>
                <a:srgbClr val="002F6C"/>
              </a:buClr>
              <a:defRPr/>
            </a:pPr>
            <a:r>
              <a:rPr lang="en-GB" sz="700">
                <a:solidFill>
                  <a:srgbClr val="001E60"/>
                </a:solidFill>
                <a:latin typeface="Tw Cen MT"/>
              </a:rPr>
              <a:t>Factor B</a:t>
            </a:r>
          </a:p>
          <a:p>
            <a:pPr>
              <a:buClr>
                <a:srgbClr val="002F6C"/>
              </a:buClr>
              <a:defRPr/>
            </a:pPr>
            <a:r>
              <a:rPr lang="en-GB" sz="700">
                <a:solidFill>
                  <a:srgbClr val="001E60"/>
                </a:solidFill>
                <a:latin typeface="Tw Cen MT"/>
              </a:rPr>
              <a:t>Factor D</a:t>
            </a:r>
          </a:p>
        </p:txBody>
      </p:sp>
      <p:grpSp>
        <p:nvGrpSpPr>
          <p:cNvPr id="193" name="Group 312">
            <a:extLst>
              <a:ext uri="{FF2B5EF4-FFF2-40B4-BE49-F238E27FC236}">
                <a16:creationId xmlns:a16="http://schemas.microsoft.com/office/drawing/2014/main" id="{17CEDC42-C190-F244-B02B-23D749177D66}"/>
              </a:ext>
            </a:extLst>
          </p:cNvPr>
          <p:cNvGrpSpPr/>
          <p:nvPr/>
        </p:nvGrpSpPr>
        <p:grpSpPr>
          <a:xfrm>
            <a:off x="5957913" y="3153032"/>
            <a:ext cx="573517" cy="481708"/>
            <a:chOff x="3714867" y="2610071"/>
            <a:chExt cx="1008112" cy="832199"/>
          </a:xfrm>
        </p:grpSpPr>
        <p:sp>
          <p:nvSpPr>
            <p:cNvPr id="194" name="Rectangle: Top Corners Snipped 313">
              <a:extLst>
                <a:ext uri="{FF2B5EF4-FFF2-40B4-BE49-F238E27FC236}">
                  <a16:creationId xmlns:a16="http://schemas.microsoft.com/office/drawing/2014/main" id="{4D9983C3-B613-A5C3-FBB4-8CBCDB95A077}"/>
                </a:ext>
              </a:extLst>
            </p:cNvPr>
            <p:cNvSpPr/>
            <p:nvPr/>
          </p:nvSpPr>
          <p:spPr>
            <a:xfrm rot="10800000">
              <a:off x="3714867" y="2883815"/>
              <a:ext cx="1008112" cy="484187"/>
            </a:xfrm>
            <a:prstGeom prst="snip2SameRect">
              <a:avLst>
                <a:gd name="adj1" fmla="val 50000"/>
                <a:gd name="adj2" fmla="val 5902"/>
              </a:avLst>
            </a:prstGeom>
            <a:solidFill>
              <a:srgbClr val="E35105">
                <a:lumMod val="75000"/>
              </a:srgbClr>
            </a:solidFill>
            <a:ln w="12700" cap="flat" cmpd="sng" algn="ctr">
              <a:solidFill>
                <a:srgbClr val="E3510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195" name="Oval 314">
              <a:extLst>
                <a:ext uri="{FF2B5EF4-FFF2-40B4-BE49-F238E27FC236}">
                  <a16:creationId xmlns:a16="http://schemas.microsoft.com/office/drawing/2014/main" id="{4E84A94B-30AB-743A-A0F3-BD3ED302EEEF}"/>
                </a:ext>
              </a:extLst>
            </p:cNvPr>
            <p:cNvSpPr/>
            <p:nvPr/>
          </p:nvSpPr>
          <p:spPr>
            <a:xfrm>
              <a:off x="3714867" y="2610071"/>
              <a:ext cx="1008112" cy="484187"/>
            </a:xfrm>
            <a:prstGeom prst="ellipse">
              <a:avLst/>
            </a:prstGeom>
            <a:solidFill>
              <a:srgbClr val="E35105"/>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96" name="TextBox 315">
              <a:extLst>
                <a:ext uri="{FF2B5EF4-FFF2-40B4-BE49-F238E27FC236}">
                  <a16:creationId xmlns:a16="http://schemas.microsoft.com/office/drawing/2014/main" id="{775A0F8C-6BE2-E5B6-7E80-5EC19BB0834F}"/>
                </a:ext>
              </a:extLst>
            </p:cNvPr>
            <p:cNvSpPr txBox="1"/>
            <p:nvPr/>
          </p:nvSpPr>
          <p:spPr>
            <a:xfrm>
              <a:off x="3953557" y="3096655"/>
              <a:ext cx="533111" cy="34561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grpSp>
      <p:cxnSp>
        <p:nvCxnSpPr>
          <p:cNvPr id="197" name="Straight Arrow Connector 316">
            <a:extLst>
              <a:ext uri="{FF2B5EF4-FFF2-40B4-BE49-F238E27FC236}">
                <a16:creationId xmlns:a16="http://schemas.microsoft.com/office/drawing/2014/main" id="{11F85584-80EC-B2EB-91BC-F8C5D60D9386}"/>
              </a:ext>
            </a:extLst>
          </p:cNvPr>
          <p:cNvCxnSpPr>
            <a:cxnSpLocks/>
          </p:cNvCxnSpPr>
          <p:nvPr/>
        </p:nvCxnSpPr>
        <p:spPr>
          <a:xfrm>
            <a:off x="6244671" y="3020097"/>
            <a:ext cx="1" cy="132938"/>
          </a:xfrm>
          <a:prstGeom prst="straightConnector1">
            <a:avLst/>
          </a:prstGeom>
          <a:noFill/>
          <a:ln w="28575" cap="flat" cmpd="sng" algn="ctr">
            <a:solidFill>
              <a:srgbClr val="001E60"/>
            </a:solidFill>
            <a:prstDash val="solid"/>
            <a:miter lim="800000"/>
            <a:tailEnd type="triangle" w="sm" len="sm"/>
          </a:ln>
          <a:effectLst/>
        </p:spPr>
      </p:cxnSp>
      <p:sp>
        <p:nvSpPr>
          <p:cNvPr id="198" name="Oval 317">
            <a:extLst>
              <a:ext uri="{FF2B5EF4-FFF2-40B4-BE49-F238E27FC236}">
                <a16:creationId xmlns:a16="http://schemas.microsoft.com/office/drawing/2014/main" id="{F3B03B25-3320-E57C-BA12-4AEA832EA143}"/>
              </a:ext>
            </a:extLst>
          </p:cNvPr>
          <p:cNvSpPr/>
          <p:nvPr/>
        </p:nvSpPr>
        <p:spPr>
          <a:xfrm>
            <a:off x="5957913" y="3741772"/>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sp>
        <p:nvSpPr>
          <p:cNvPr id="199" name="Oval 318">
            <a:extLst>
              <a:ext uri="{FF2B5EF4-FFF2-40B4-BE49-F238E27FC236}">
                <a16:creationId xmlns:a16="http://schemas.microsoft.com/office/drawing/2014/main" id="{60D284A5-410A-61FC-83C4-AB99192FF214}"/>
              </a:ext>
            </a:extLst>
          </p:cNvPr>
          <p:cNvSpPr/>
          <p:nvPr/>
        </p:nvSpPr>
        <p:spPr>
          <a:xfrm>
            <a:off x="5123063" y="3741772"/>
            <a:ext cx="573517" cy="280267"/>
          </a:xfrm>
          <a:prstGeom prst="ellipse">
            <a:avLst/>
          </a:prstGeom>
          <a:solidFill>
            <a:srgbClr val="FFA300">
              <a:lumMod val="60000"/>
              <a:lumOff val="40000"/>
            </a:srgbClr>
          </a:solidFill>
          <a:ln w="12700" cap="flat" cmpd="sng" algn="ctr">
            <a:solidFill>
              <a:srgbClr val="FFA3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3F4F3"/>
                </a:solidFill>
                <a:effectLst/>
                <a:uLnTx/>
                <a:uFillTx/>
                <a:latin typeface="Tw Cen MT"/>
                <a:ea typeface="+mn-ea"/>
                <a:cs typeface="+mn-cs"/>
              </a:rPr>
              <a:t>C3b</a:t>
            </a:r>
          </a:p>
        </p:txBody>
      </p:sp>
      <p:grpSp>
        <p:nvGrpSpPr>
          <p:cNvPr id="200" name="Group 319">
            <a:extLst>
              <a:ext uri="{FF2B5EF4-FFF2-40B4-BE49-F238E27FC236}">
                <a16:creationId xmlns:a16="http://schemas.microsoft.com/office/drawing/2014/main" id="{92D802F8-460B-42D1-BE6E-691B12F12999}"/>
              </a:ext>
            </a:extLst>
          </p:cNvPr>
          <p:cNvGrpSpPr/>
          <p:nvPr/>
        </p:nvGrpSpPr>
        <p:grpSpPr>
          <a:xfrm>
            <a:off x="5123063" y="4167209"/>
            <a:ext cx="573517" cy="473735"/>
            <a:chOff x="6744072" y="2609156"/>
            <a:chExt cx="1008112" cy="818423"/>
          </a:xfrm>
        </p:grpSpPr>
        <p:sp>
          <p:nvSpPr>
            <p:cNvPr id="201" name="Rectangle: Top Corners Snipped 320">
              <a:extLst>
                <a:ext uri="{FF2B5EF4-FFF2-40B4-BE49-F238E27FC236}">
                  <a16:creationId xmlns:a16="http://schemas.microsoft.com/office/drawing/2014/main" id="{27878A20-D031-51F4-3EDF-FEFCEB535FA7}"/>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202" name="TextBox 321">
              <a:extLst>
                <a:ext uri="{FF2B5EF4-FFF2-40B4-BE49-F238E27FC236}">
                  <a16:creationId xmlns:a16="http://schemas.microsoft.com/office/drawing/2014/main" id="{35A2069D-C54C-3CC9-84C6-46A89D6E89CC}"/>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203" name="Oval 322">
              <a:extLst>
                <a:ext uri="{FF2B5EF4-FFF2-40B4-BE49-F238E27FC236}">
                  <a16:creationId xmlns:a16="http://schemas.microsoft.com/office/drawing/2014/main" id="{895B8DD9-EE22-3BFA-4080-CB6AFF0E3410}"/>
                </a:ext>
              </a:extLst>
            </p:cNvPr>
            <p:cNvSpPr/>
            <p:nvPr/>
          </p:nvSpPr>
          <p:spPr>
            <a:xfrm>
              <a:off x="6744072" y="2609156"/>
              <a:ext cx="1008112" cy="484187"/>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grpSp>
        <p:nvGrpSpPr>
          <p:cNvPr id="204" name="Group 323">
            <a:extLst>
              <a:ext uri="{FF2B5EF4-FFF2-40B4-BE49-F238E27FC236}">
                <a16:creationId xmlns:a16="http://schemas.microsoft.com/office/drawing/2014/main" id="{C7A8C4B5-8447-F33C-21BE-1F090A454A6E}"/>
              </a:ext>
            </a:extLst>
          </p:cNvPr>
          <p:cNvGrpSpPr/>
          <p:nvPr/>
        </p:nvGrpSpPr>
        <p:grpSpPr>
          <a:xfrm>
            <a:off x="5957913" y="4167209"/>
            <a:ext cx="573517" cy="473735"/>
            <a:chOff x="6744072" y="2609156"/>
            <a:chExt cx="1008112" cy="818423"/>
          </a:xfrm>
        </p:grpSpPr>
        <p:sp>
          <p:nvSpPr>
            <p:cNvPr id="205" name="Rectangle: Top Corners Snipped 324">
              <a:extLst>
                <a:ext uri="{FF2B5EF4-FFF2-40B4-BE49-F238E27FC236}">
                  <a16:creationId xmlns:a16="http://schemas.microsoft.com/office/drawing/2014/main" id="{07DAA147-278B-FAC9-F445-7923ADB8454B}"/>
                </a:ext>
              </a:extLst>
            </p:cNvPr>
            <p:cNvSpPr/>
            <p:nvPr/>
          </p:nvSpPr>
          <p:spPr>
            <a:xfrm rot="10800000">
              <a:off x="6744072" y="2882900"/>
              <a:ext cx="1008112" cy="484187"/>
            </a:xfrm>
            <a:prstGeom prst="snip2SameRect">
              <a:avLst>
                <a:gd name="adj1" fmla="val 50000"/>
                <a:gd name="adj2" fmla="val 5902"/>
              </a:avLst>
            </a:prstGeom>
            <a:solidFill>
              <a:srgbClr val="002F6C">
                <a:lumMod val="75000"/>
              </a:srgbClr>
            </a:solidFill>
            <a:ln w="12700" cap="flat" cmpd="sng" algn="ctr">
              <a:solidFill>
                <a:srgbClr val="002F6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F3F4F3"/>
                </a:solidFill>
                <a:effectLst/>
                <a:uLnTx/>
                <a:uFillTx/>
                <a:latin typeface="Tw Cen MT"/>
                <a:ea typeface="+mn-ea"/>
                <a:cs typeface="+mn-cs"/>
              </a:endParaRPr>
            </a:p>
          </p:txBody>
        </p:sp>
        <p:sp>
          <p:nvSpPr>
            <p:cNvPr id="206" name="TextBox 325">
              <a:extLst>
                <a:ext uri="{FF2B5EF4-FFF2-40B4-BE49-F238E27FC236}">
                  <a16:creationId xmlns:a16="http://schemas.microsoft.com/office/drawing/2014/main" id="{9099C48B-4E18-22EA-B34D-4A01736CD63A}"/>
                </a:ext>
              </a:extLst>
            </p:cNvPr>
            <p:cNvSpPr txBox="1"/>
            <p:nvPr/>
          </p:nvSpPr>
          <p:spPr>
            <a:xfrm>
              <a:off x="6982762" y="3081965"/>
              <a:ext cx="533111" cy="34561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
                  <a:srgbClr val="002F6C"/>
                </a:buClr>
                <a:buSzTx/>
                <a:buFontTx/>
                <a:buNone/>
                <a:tabLst/>
                <a:defRPr/>
              </a:pPr>
              <a:r>
                <a:rPr kumimoji="0" lang="en-GB" sz="700" b="1" i="0" u="none" strike="noStrike" kern="0" cap="none" spc="0" normalizeH="0" baseline="0" noProof="0">
                  <a:ln>
                    <a:noFill/>
                  </a:ln>
                  <a:solidFill>
                    <a:srgbClr val="F3F4F3"/>
                  </a:solidFill>
                  <a:effectLst/>
                  <a:uLnTx/>
                  <a:uFillTx/>
                  <a:latin typeface="Tw Cen MT"/>
                </a:rPr>
                <a:t>Bb</a:t>
              </a:r>
            </a:p>
          </p:txBody>
        </p:sp>
        <p:sp>
          <p:nvSpPr>
            <p:cNvPr id="207" name="Oval 326">
              <a:extLst>
                <a:ext uri="{FF2B5EF4-FFF2-40B4-BE49-F238E27FC236}">
                  <a16:creationId xmlns:a16="http://schemas.microsoft.com/office/drawing/2014/main" id="{BF0C3E79-BD84-2BD4-4D96-8E24CEFC1E2A}"/>
                </a:ext>
              </a:extLst>
            </p:cNvPr>
            <p:cNvSpPr/>
            <p:nvPr/>
          </p:nvSpPr>
          <p:spPr>
            <a:xfrm>
              <a:off x="6744072" y="2609156"/>
              <a:ext cx="1008112" cy="484187"/>
            </a:xfrm>
            <a:prstGeom prst="ellipse">
              <a:avLst/>
            </a:prstGeom>
            <a:solidFill>
              <a:srgbClr val="002F6C"/>
            </a:solidFill>
            <a:ln w="12700" cap="flat" cmpd="sng" algn="ctr">
              <a:solidFill>
                <a:srgbClr val="002F6C">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25000" noProof="0">
                <a:ln>
                  <a:noFill/>
                </a:ln>
                <a:solidFill>
                  <a:srgbClr val="F3F4F3"/>
                </a:solidFill>
                <a:effectLst/>
                <a:uLnTx/>
                <a:uFillTx/>
                <a:latin typeface="Tw Cen MT"/>
                <a:ea typeface="+mn-ea"/>
                <a:cs typeface="+mn-cs"/>
              </a:endParaRPr>
            </a:p>
          </p:txBody>
        </p:sp>
      </p:grpSp>
      <p:cxnSp>
        <p:nvCxnSpPr>
          <p:cNvPr id="208" name="Straight Arrow Connector 327">
            <a:extLst>
              <a:ext uri="{FF2B5EF4-FFF2-40B4-BE49-F238E27FC236}">
                <a16:creationId xmlns:a16="http://schemas.microsoft.com/office/drawing/2014/main" id="{9EE3B0F5-930A-FE99-75BA-077824F3F7D3}"/>
              </a:ext>
            </a:extLst>
          </p:cNvPr>
          <p:cNvCxnSpPr>
            <a:cxnSpLocks/>
          </p:cNvCxnSpPr>
          <p:nvPr/>
        </p:nvCxnSpPr>
        <p:spPr>
          <a:xfrm>
            <a:off x="6244671" y="4039359"/>
            <a:ext cx="0" cy="128419"/>
          </a:xfrm>
          <a:prstGeom prst="straightConnector1">
            <a:avLst/>
          </a:prstGeom>
          <a:noFill/>
          <a:ln w="28575" cap="flat" cmpd="sng" algn="ctr">
            <a:solidFill>
              <a:srgbClr val="001E60"/>
            </a:solidFill>
            <a:prstDash val="solid"/>
            <a:miter lim="800000"/>
            <a:tailEnd type="triangle" w="sm" len="sm"/>
          </a:ln>
          <a:effectLst/>
        </p:spPr>
      </p:cxnSp>
      <p:cxnSp>
        <p:nvCxnSpPr>
          <p:cNvPr id="209" name="Straight Arrow Connector 328">
            <a:extLst>
              <a:ext uri="{FF2B5EF4-FFF2-40B4-BE49-F238E27FC236}">
                <a16:creationId xmlns:a16="http://schemas.microsoft.com/office/drawing/2014/main" id="{0E134017-8CCA-056C-070B-AB1B2EC29406}"/>
              </a:ext>
            </a:extLst>
          </p:cNvPr>
          <p:cNvCxnSpPr>
            <a:cxnSpLocks/>
          </p:cNvCxnSpPr>
          <p:nvPr/>
        </p:nvCxnSpPr>
        <p:spPr>
          <a:xfrm>
            <a:off x="5409821" y="4039359"/>
            <a:ext cx="0" cy="128419"/>
          </a:xfrm>
          <a:prstGeom prst="straightConnector1">
            <a:avLst/>
          </a:prstGeom>
          <a:noFill/>
          <a:ln w="28575" cap="flat" cmpd="sng" algn="ctr">
            <a:solidFill>
              <a:srgbClr val="001E60"/>
            </a:solidFill>
            <a:prstDash val="solid"/>
            <a:miter lim="800000"/>
            <a:tailEnd type="triangle" w="sm" len="sm"/>
          </a:ln>
          <a:effectLst/>
        </p:spPr>
      </p:cxnSp>
      <p:grpSp>
        <p:nvGrpSpPr>
          <p:cNvPr id="210" name="Group 329">
            <a:extLst>
              <a:ext uri="{FF2B5EF4-FFF2-40B4-BE49-F238E27FC236}">
                <a16:creationId xmlns:a16="http://schemas.microsoft.com/office/drawing/2014/main" id="{5C546B53-4599-AF8A-26E0-576E74F1388F}"/>
              </a:ext>
            </a:extLst>
          </p:cNvPr>
          <p:cNvGrpSpPr/>
          <p:nvPr/>
        </p:nvGrpSpPr>
        <p:grpSpPr>
          <a:xfrm>
            <a:off x="3957367" y="4856638"/>
            <a:ext cx="1547399" cy="377554"/>
            <a:chOff x="4181249" y="4879913"/>
            <a:chExt cx="2168924" cy="529202"/>
          </a:xfrm>
        </p:grpSpPr>
        <p:sp>
          <p:nvSpPr>
            <p:cNvPr id="211" name="Oval 330">
              <a:extLst>
                <a:ext uri="{FF2B5EF4-FFF2-40B4-BE49-F238E27FC236}">
                  <a16:creationId xmlns:a16="http://schemas.microsoft.com/office/drawing/2014/main" id="{9E68BC20-80D0-BA81-D11B-6B826E166315}"/>
                </a:ext>
              </a:extLst>
            </p:cNvPr>
            <p:cNvSpPr/>
            <p:nvPr/>
          </p:nvSpPr>
          <p:spPr>
            <a:xfrm>
              <a:off x="5820973"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2" name="Oval 331">
              <a:extLst>
                <a:ext uri="{FF2B5EF4-FFF2-40B4-BE49-F238E27FC236}">
                  <a16:creationId xmlns:a16="http://schemas.microsoft.com/office/drawing/2014/main" id="{545CAD27-4114-5E41-F1A8-4A959D96F2FE}"/>
                </a:ext>
              </a:extLst>
            </p:cNvPr>
            <p:cNvSpPr/>
            <p:nvPr/>
          </p:nvSpPr>
          <p:spPr>
            <a:xfrm>
              <a:off x="4181249"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3" name="Oval 332">
              <a:extLst>
                <a:ext uri="{FF2B5EF4-FFF2-40B4-BE49-F238E27FC236}">
                  <a16:creationId xmlns:a16="http://schemas.microsoft.com/office/drawing/2014/main" id="{A9C7CCAD-DEE4-E1D9-1970-D1F3757F8B83}"/>
                </a:ext>
              </a:extLst>
            </p:cNvPr>
            <p:cNvSpPr/>
            <p:nvPr/>
          </p:nvSpPr>
          <p:spPr>
            <a:xfrm>
              <a:off x="4727824" y="4879915"/>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14" name="Oval 333">
              <a:extLst>
                <a:ext uri="{FF2B5EF4-FFF2-40B4-BE49-F238E27FC236}">
                  <a16:creationId xmlns:a16="http://schemas.microsoft.com/office/drawing/2014/main" id="{B07DE2F8-8976-D82E-FEE9-0B3FAE935224}"/>
                </a:ext>
              </a:extLst>
            </p:cNvPr>
            <p:cNvSpPr/>
            <p:nvPr/>
          </p:nvSpPr>
          <p:spPr>
            <a:xfrm>
              <a:off x="5274398"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grpSp>
      <p:cxnSp>
        <p:nvCxnSpPr>
          <p:cNvPr id="215" name="Straight Arrow Connector 334">
            <a:extLst>
              <a:ext uri="{FF2B5EF4-FFF2-40B4-BE49-F238E27FC236}">
                <a16:creationId xmlns:a16="http://schemas.microsoft.com/office/drawing/2014/main" id="{81E92939-F393-615E-EFB9-4A8522B9A7C9}"/>
              </a:ext>
            </a:extLst>
          </p:cNvPr>
          <p:cNvCxnSpPr>
            <a:cxnSpLocks/>
            <a:stCxn id="214" idx="4"/>
            <a:endCxn id="222" idx="0"/>
          </p:cNvCxnSpPr>
          <p:nvPr/>
        </p:nvCxnSpPr>
        <p:spPr>
          <a:xfrm>
            <a:off x="4926041" y="5234195"/>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16" name="Straight Arrow Connector 335">
            <a:extLst>
              <a:ext uri="{FF2B5EF4-FFF2-40B4-BE49-F238E27FC236}">
                <a16:creationId xmlns:a16="http://schemas.microsoft.com/office/drawing/2014/main" id="{8F2B6FF8-92E4-1D26-C375-9FA5F3C3DFA9}"/>
              </a:ext>
            </a:extLst>
          </p:cNvPr>
          <p:cNvCxnSpPr>
            <a:cxnSpLocks/>
            <a:stCxn id="213" idx="4"/>
            <a:endCxn id="221" idx="0"/>
          </p:cNvCxnSpPr>
          <p:nvPr/>
        </p:nvCxnSpPr>
        <p:spPr>
          <a:xfrm>
            <a:off x="4536092" y="5234195"/>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17" name="Straight Arrow Connector 336">
            <a:extLst>
              <a:ext uri="{FF2B5EF4-FFF2-40B4-BE49-F238E27FC236}">
                <a16:creationId xmlns:a16="http://schemas.microsoft.com/office/drawing/2014/main" id="{C90708D1-9ECF-C069-E111-61B74DD8C3E9}"/>
              </a:ext>
            </a:extLst>
          </p:cNvPr>
          <p:cNvCxnSpPr>
            <a:cxnSpLocks/>
            <a:stCxn id="212" idx="4"/>
            <a:endCxn id="220" idx="0"/>
          </p:cNvCxnSpPr>
          <p:nvPr/>
        </p:nvCxnSpPr>
        <p:spPr>
          <a:xfrm>
            <a:off x="4146143" y="5234195"/>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18" name="Straight Arrow Connector 337">
            <a:extLst>
              <a:ext uri="{FF2B5EF4-FFF2-40B4-BE49-F238E27FC236}">
                <a16:creationId xmlns:a16="http://schemas.microsoft.com/office/drawing/2014/main" id="{419E4391-992A-B1E9-4A7F-5D88FA2C095A}"/>
              </a:ext>
            </a:extLst>
          </p:cNvPr>
          <p:cNvCxnSpPr>
            <a:cxnSpLocks/>
            <a:stCxn id="211" idx="4"/>
            <a:endCxn id="223" idx="0"/>
          </p:cNvCxnSpPr>
          <p:nvPr/>
        </p:nvCxnSpPr>
        <p:spPr>
          <a:xfrm>
            <a:off x="5315989" y="5234195"/>
            <a:ext cx="1" cy="132999"/>
          </a:xfrm>
          <a:prstGeom prst="straightConnector1">
            <a:avLst/>
          </a:prstGeom>
          <a:noFill/>
          <a:ln w="28575" cap="flat" cmpd="sng" algn="ctr">
            <a:solidFill>
              <a:srgbClr val="001E60"/>
            </a:solidFill>
            <a:prstDash val="solid"/>
            <a:miter lim="800000"/>
            <a:tailEnd type="triangle" w="sm" len="sm"/>
          </a:ln>
          <a:effectLst/>
        </p:spPr>
      </p:cxnSp>
      <p:grpSp>
        <p:nvGrpSpPr>
          <p:cNvPr id="219" name="Group 338">
            <a:extLst>
              <a:ext uri="{FF2B5EF4-FFF2-40B4-BE49-F238E27FC236}">
                <a16:creationId xmlns:a16="http://schemas.microsoft.com/office/drawing/2014/main" id="{4AE730DA-CBE6-E1FA-4B7B-CE17EE3816B2}"/>
              </a:ext>
            </a:extLst>
          </p:cNvPr>
          <p:cNvGrpSpPr/>
          <p:nvPr/>
        </p:nvGrpSpPr>
        <p:grpSpPr>
          <a:xfrm>
            <a:off x="4026532" y="5367194"/>
            <a:ext cx="1409069" cy="343612"/>
            <a:chOff x="4278195" y="5726101"/>
            <a:chExt cx="1975033" cy="481626"/>
          </a:xfrm>
        </p:grpSpPr>
        <p:pic>
          <p:nvPicPr>
            <p:cNvPr id="220" name="Picture 339">
              <a:extLst>
                <a:ext uri="{FF2B5EF4-FFF2-40B4-BE49-F238E27FC236}">
                  <a16:creationId xmlns:a16="http://schemas.microsoft.com/office/drawing/2014/main" id="{6DE33385-3430-7958-1E5E-1B5C41935B8E}"/>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221" name="Picture 340">
              <a:extLst>
                <a:ext uri="{FF2B5EF4-FFF2-40B4-BE49-F238E27FC236}">
                  <a16:creationId xmlns:a16="http://schemas.microsoft.com/office/drawing/2014/main" id="{A69C5169-7273-C38A-8677-5DAFD469E277}"/>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222" name="Picture 341">
              <a:extLst>
                <a:ext uri="{FF2B5EF4-FFF2-40B4-BE49-F238E27FC236}">
                  <a16:creationId xmlns:a16="http://schemas.microsoft.com/office/drawing/2014/main" id="{1079C07C-751D-B373-C2EC-4C74F2467094}"/>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223" name="Picture 342">
              <a:extLst>
                <a:ext uri="{FF2B5EF4-FFF2-40B4-BE49-F238E27FC236}">
                  <a16:creationId xmlns:a16="http://schemas.microsoft.com/office/drawing/2014/main" id="{6B60F62C-B16C-EA3D-CDF4-9F326E35C12C}"/>
                </a:ext>
              </a:extLst>
            </p:cNvPr>
            <p:cNvPicPr>
              <a:picLocks noChangeAspect="1"/>
            </p:cNvPicPr>
            <p:nvPr/>
          </p:nvPicPr>
          <p:blipFill>
            <a:blip r:embed="rId4"/>
            <a:stretch>
              <a:fillRect/>
            </a:stretch>
          </p:blipFill>
          <p:spPr>
            <a:xfrm>
              <a:off x="5917919" y="5726101"/>
              <a:ext cx="335309" cy="481626"/>
            </a:xfrm>
            <a:prstGeom prst="rect">
              <a:avLst/>
            </a:prstGeom>
          </p:spPr>
        </p:pic>
      </p:grpSp>
      <p:grpSp>
        <p:nvGrpSpPr>
          <p:cNvPr id="224" name="Group 343">
            <a:extLst>
              <a:ext uri="{FF2B5EF4-FFF2-40B4-BE49-F238E27FC236}">
                <a16:creationId xmlns:a16="http://schemas.microsoft.com/office/drawing/2014/main" id="{AD4BD1B7-0751-CDCA-9C29-20BD4F024635}"/>
              </a:ext>
            </a:extLst>
          </p:cNvPr>
          <p:cNvGrpSpPr/>
          <p:nvPr/>
        </p:nvGrpSpPr>
        <p:grpSpPr>
          <a:xfrm>
            <a:off x="5517768" y="4855168"/>
            <a:ext cx="1547399" cy="377553"/>
            <a:chOff x="4181249" y="4879913"/>
            <a:chExt cx="2168924" cy="529200"/>
          </a:xfrm>
        </p:grpSpPr>
        <p:sp>
          <p:nvSpPr>
            <p:cNvPr id="225" name="Oval 344">
              <a:extLst>
                <a:ext uri="{FF2B5EF4-FFF2-40B4-BE49-F238E27FC236}">
                  <a16:creationId xmlns:a16="http://schemas.microsoft.com/office/drawing/2014/main" id="{5D8DF2C6-7880-BBF4-5570-A882C3863661}"/>
                </a:ext>
              </a:extLst>
            </p:cNvPr>
            <p:cNvSpPr/>
            <p:nvPr/>
          </p:nvSpPr>
          <p:spPr>
            <a:xfrm>
              <a:off x="5820973"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26" name="Oval 345">
              <a:extLst>
                <a:ext uri="{FF2B5EF4-FFF2-40B4-BE49-F238E27FC236}">
                  <a16:creationId xmlns:a16="http://schemas.microsoft.com/office/drawing/2014/main" id="{56F4C20E-B9D3-8C61-6F99-62ABF56B5A93}"/>
                </a:ext>
              </a:extLst>
            </p:cNvPr>
            <p:cNvSpPr/>
            <p:nvPr/>
          </p:nvSpPr>
          <p:spPr>
            <a:xfrm>
              <a:off x="4181249"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27" name="Oval 346">
              <a:extLst>
                <a:ext uri="{FF2B5EF4-FFF2-40B4-BE49-F238E27FC236}">
                  <a16:creationId xmlns:a16="http://schemas.microsoft.com/office/drawing/2014/main" id="{71F41E93-37BF-D26A-7F86-7DBA1D8F77E0}"/>
                </a:ext>
              </a:extLst>
            </p:cNvPr>
            <p:cNvSpPr/>
            <p:nvPr/>
          </p:nvSpPr>
          <p:spPr>
            <a:xfrm>
              <a:off x="4727824"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sp>
          <p:nvSpPr>
            <p:cNvPr id="228" name="Oval 347">
              <a:extLst>
                <a:ext uri="{FF2B5EF4-FFF2-40B4-BE49-F238E27FC236}">
                  <a16:creationId xmlns:a16="http://schemas.microsoft.com/office/drawing/2014/main" id="{8D0043E7-3BE4-E28B-740B-EA12849BBADC}"/>
                </a:ext>
              </a:extLst>
            </p:cNvPr>
            <p:cNvSpPr/>
            <p:nvPr/>
          </p:nvSpPr>
          <p:spPr>
            <a:xfrm>
              <a:off x="5274398" y="4879913"/>
              <a:ext cx="529200" cy="529200"/>
            </a:xfrm>
            <a:prstGeom prst="ellipse">
              <a:avLst/>
            </a:prstGeom>
            <a:solidFill>
              <a:srgbClr val="E35105">
                <a:lumMod val="60000"/>
                <a:lumOff val="40000"/>
              </a:srgbClr>
            </a:solidFill>
            <a:ln w="12700" cap="flat" cmpd="sng" algn="ctr">
              <a:solidFill>
                <a:srgbClr val="E3510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F3F4F3"/>
                </a:solidFill>
                <a:effectLst/>
                <a:uLnTx/>
                <a:uFillTx/>
                <a:latin typeface="Tw Cen MT"/>
                <a:ea typeface="+mn-ea"/>
                <a:cs typeface="+mn-cs"/>
              </a:endParaRPr>
            </a:p>
          </p:txBody>
        </p:sp>
      </p:grpSp>
      <p:cxnSp>
        <p:nvCxnSpPr>
          <p:cNvPr id="229" name="Straight Arrow Connector 348">
            <a:extLst>
              <a:ext uri="{FF2B5EF4-FFF2-40B4-BE49-F238E27FC236}">
                <a16:creationId xmlns:a16="http://schemas.microsoft.com/office/drawing/2014/main" id="{012D5554-8E20-F6CB-3BC8-DE6970C0A9C4}"/>
              </a:ext>
            </a:extLst>
          </p:cNvPr>
          <p:cNvCxnSpPr>
            <a:cxnSpLocks/>
            <a:stCxn id="228" idx="4"/>
            <a:endCxn id="236" idx="0"/>
          </p:cNvCxnSpPr>
          <p:nvPr/>
        </p:nvCxnSpPr>
        <p:spPr>
          <a:xfrm>
            <a:off x="6486442" y="5232721"/>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0" name="Straight Arrow Connector 349">
            <a:extLst>
              <a:ext uri="{FF2B5EF4-FFF2-40B4-BE49-F238E27FC236}">
                <a16:creationId xmlns:a16="http://schemas.microsoft.com/office/drawing/2014/main" id="{30E414EE-5797-6B39-630D-AFE9D2FF6880}"/>
              </a:ext>
            </a:extLst>
          </p:cNvPr>
          <p:cNvCxnSpPr>
            <a:cxnSpLocks/>
            <a:stCxn id="227" idx="4"/>
            <a:endCxn id="235" idx="0"/>
          </p:cNvCxnSpPr>
          <p:nvPr/>
        </p:nvCxnSpPr>
        <p:spPr>
          <a:xfrm>
            <a:off x="6096494" y="5232721"/>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1" name="Straight Arrow Connector 350">
            <a:extLst>
              <a:ext uri="{FF2B5EF4-FFF2-40B4-BE49-F238E27FC236}">
                <a16:creationId xmlns:a16="http://schemas.microsoft.com/office/drawing/2014/main" id="{98D83B12-4859-A426-3FE1-C69CFE734946}"/>
              </a:ext>
            </a:extLst>
          </p:cNvPr>
          <p:cNvCxnSpPr>
            <a:cxnSpLocks/>
            <a:stCxn id="226" idx="4"/>
            <a:endCxn id="234" idx="0"/>
          </p:cNvCxnSpPr>
          <p:nvPr/>
        </p:nvCxnSpPr>
        <p:spPr>
          <a:xfrm>
            <a:off x="5706545" y="5232721"/>
            <a:ext cx="1" cy="132999"/>
          </a:xfrm>
          <a:prstGeom prst="straightConnector1">
            <a:avLst/>
          </a:prstGeom>
          <a:noFill/>
          <a:ln w="28575" cap="flat" cmpd="sng" algn="ctr">
            <a:solidFill>
              <a:srgbClr val="001E60"/>
            </a:solidFill>
            <a:prstDash val="solid"/>
            <a:miter lim="800000"/>
            <a:tailEnd type="triangle" w="sm" len="sm"/>
          </a:ln>
          <a:effectLst/>
        </p:spPr>
      </p:cxnSp>
      <p:cxnSp>
        <p:nvCxnSpPr>
          <p:cNvPr id="232" name="Straight Arrow Connector 351">
            <a:extLst>
              <a:ext uri="{FF2B5EF4-FFF2-40B4-BE49-F238E27FC236}">
                <a16:creationId xmlns:a16="http://schemas.microsoft.com/office/drawing/2014/main" id="{BC64D728-699E-3790-83D2-17D438D238F7}"/>
              </a:ext>
            </a:extLst>
          </p:cNvPr>
          <p:cNvCxnSpPr>
            <a:cxnSpLocks/>
            <a:stCxn id="225" idx="4"/>
            <a:endCxn id="237" idx="0"/>
          </p:cNvCxnSpPr>
          <p:nvPr/>
        </p:nvCxnSpPr>
        <p:spPr>
          <a:xfrm>
            <a:off x="6876391" y="5232721"/>
            <a:ext cx="1" cy="132999"/>
          </a:xfrm>
          <a:prstGeom prst="straightConnector1">
            <a:avLst/>
          </a:prstGeom>
          <a:noFill/>
          <a:ln w="28575" cap="flat" cmpd="sng" algn="ctr">
            <a:solidFill>
              <a:srgbClr val="001E60"/>
            </a:solidFill>
            <a:prstDash val="solid"/>
            <a:miter lim="800000"/>
            <a:tailEnd type="triangle" w="sm" len="sm"/>
          </a:ln>
          <a:effectLst/>
        </p:spPr>
      </p:cxnSp>
      <p:grpSp>
        <p:nvGrpSpPr>
          <p:cNvPr id="233" name="Group 352">
            <a:extLst>
              <a:ext uri="{FF2B5EF4-FFF2-40B4-BE49-F238E27FC236}">
                <a16:creationId xmlns:a16="http://schemas.microsoft.com/office/drawing/2014/main" id="{6A5BDA48-209D-8912-5F95-E1AD7221438C}"/>
              </a:ext>
            </a:extLst>
          </p:cNvPr>
          <p:cNvGrpSpPr/>
          <p:nvPr/>
        </p:nvGrpSpPr>
        <p:grpSpPr>
          <a:xfrm>
            <a:off x="5586934" y="5365720"/>
            <a:ext cx="1409069" cy="343612"/>
            <a:chOff x="4278195" y="5726101"/>
            <a:chExt cx="1975033" cy="481626"/>
          </a:xfrm>
        </p:grpSpPr>
        <p:pic>
          <p:nvPicPr>
            <p:cNvPr id="234" name="Picture 353">
              <a:extLst>
                <a:ext uri="{FF2B5EF4-FFF2-40B4-BE49-F238E27FC236}">
                  <a16:creationId xmlns:a16="http://schemas.microsoft.com/office/drawing/2014/main" id="{697A5607-E07F-77BE-C767-345B9E934172}"/>
                </a:ext>
              </a:extLst>
            </p:cNvPr>
            <p:cNvPicPr>
              <a:picLocks noChangeAspect="1"/>
            </p:cNvPicPr>
            <p:nvPr/>
          </p:nvPicPr>
          <p:blipFill>
            <a:blip r:embed="rId4"/>
            <a:stretch>
              <a:fillRect/>
            </a:stretch>
          </p:blipFill>
          <p:spPr>
            <a:xfrm>
              <a:off x="4278195" y="5726101"/>
              <a:ext cx="335309" cy="481626"/>
            </a:xfrm>
            <a:prstGeom prst="rect">
              <a:avLst/>
            </a:prstGeom>
          </p:spPr>
        </p:pic>
        <p:pic>
          <p:nvPicPr>
            <p:cNvPr id="235" name="Picture 354">
              <a:extLst>
                <a:ext uri="{FF2B5EF4-FFF2-40B4-BE49-F238E27FC236}">
                  <a16:creationId xmlns:a16="http://schemas.microsoft.com/office/drawing/2014/main" id="{4D426B8B-3D14-3665-7EC0-F36BF49D61B8}"/>
                </a:ext>
              </a:extLst>
            </p:cNvPr>
            <p:cNvPicPr>
              <a:picLocks noChangeAspect="1"/>
            </p:cNvPicPr>
            <p:nvPr/>
          </p:nvPicPr>
          <p:blipFill>
            <a:blip r:embed="rId4"/>
            <a:stretch>
              <a:fillRect/>
            </a:stretch>
          </p:blipFill>
          <p:spPr>
            <a:xfrm>
              <a:off x="4824770" y="5726101"/>
              <a:ext cx="335309" cy="481626"/>
            </a:xfrm>
            <a:prstGeom prst="rect">
              <a:avLst/>
            </a:prstGeom>
          </p:spPr>
        </p:pic>
        <p:pic>
          <p:nvPicPr>
            <p:cNvPr id="236" name="Picture 355">
              <a:extLst>
                <a:ext uri="{FF2B5EF4-FFF2-40B4-BE49-F238E27FC236}">
                  <a16:creationId xmlns:a16="http://schemas.microsoft.com/office/drawing/2014/main" id="{FAA90921-82D7-33CC-2B5D-88207BAE154D}"/>
                </a:ext>
              </a:extLst>
            </p:cNvPr>
            <p:cNvPicPr>
              <a:picLocks noChangeAspect="1"/>
            </p:cNvPicPr>
            <p:nvPr/>
          </p:nvPicPr>
          <p:blipFill>
            <a:blip r:embed="rId4"/>
            <a:stretch>
              <a:fillRect/>
            </a:stretch>
          </p:blipFill>
          <p:spPr>
            <a:xfrm>
              <a:off x="5371344" y="5726101"/>
              <a:ext cx="335309" cy="481626"/>
            </a:xfrm>
            <a:prstGeom prst="rect">
              <a:avLst/>
            </a:prstGeom>
          </p:spPr>
        </p:pic>
        <p:pic>
          <p:nvPicPr>
            <p:cNvPr id="237" name="Picture 356">
              <a:extLst>
                <a:ext uri="{FF2B5EF4-FFF2-40B4-BE49-F238E27FC236}">
                  <a16:creationId xmlns:a16="http://schemas.microsoft.com/office/drawing/2014/main" id="{F6D2D37D-71A9-FDAB-82BE-FA7DABE73336}"/>
                </a:ext>
              </a:extLst>
            </p:cNvPr>
            <p:cNvPicPr>
              <a:picLocks noChangeAspect="1"/>
            </p:cNvPicPr>
            <p:nvPr/>
          </p:nvPicPr>
          <p:blipFill>
            <a:blip r:embed="rId4"/>
            <a:stretch>
              <a:fillRect/>
            </a:stretch>
          </p:blipFill>
          <p:spPr>
            <a:xfrm>
              <a:off x="5917919" y="5726101"/>
              <a:ext cx="335309" cy="481626"/>
            </a:xfrm>
            <a:prstGeom prst="rect">
              <a:avLst/>
            </a:prstGeom>
          </p:spPr>
        </p:pic>
      </p:grpSp>
      <p:cxnSp>
        <p:nvCxnSpPr>
          <p:cNvPr id="238" name="Straight Arrow Connector 357">
            <a:extLst>
              <a:ext uri="{FF2B5EF4-FFF2-40B4-BE49-F238E27FC236}">
                <a16:creationId xmlns:a16="http://schemas.microsoft.com/office/drawing/2014/main" id="{F4C97151-4DBB-049E-B8E6-1F2FD70E8608}"/>
              </a:ext>
            </a:extLst>
          </p:cNvPr>
          <p:cNvCxnSpPr>
            <a:cxnSpLocks/>
            <a:stCxn id="163" idx="2"/>
            <a:endCxn id="152" idx="0"/>
          </p:cNvCxnSpPr>
          <p:nvPr/>
        </p:nvCxnSpPr>
        <p:spPr>
          <a:xfrm flipH="1">
            <a:off x="2586349" y="4640943"/>
            <a:ext cx="1993701" cy="206253"/>
          </a:xfrm>
          <a:prstGeom prst="straightConnector1">
            <a:avLst/>
          </a:prstGeom>
          <a:noFill/>
          <a:ln w="28575" cap="flat" cmpd="sng" algn="ctr">
            <a:solidFill>
              <a:srgbClr val="001E60"/>
            </a:solidFill>
            <a:prstDash val="solid"/>
            <a:miter lim="800000"/>
            <a:tailEnd type="triangle" w="sm" len="sm"/>
          </a:ln>
          <a:effectLst/>
        </p:spPr>
      </p:cxnSp>
      <p:cxnSp>
        <p:nvCxnSpPr>
          <p:cNvPr id="239" name="Straight Arrow Connector 358">
            <a:extLst>
              <a:ext uri="{FF2B5EF4-FFF2-40B4-BE49-F238E27FC236}">
                <a16:creationId xmlns:a16="http://schemas.microsoft.com/office/drawing/2014/main" id="{58BDC6B3-8890-D7F3-6499-E3FE55282A9C}"/>
              </a:ext>
            </a:extLst>
          </p:cNvPr>
          <p:cNvCxnSpPr>
            <a:cxnSpLocks/>
            <a:stCxn id="163" idx="2"/>
            <a:endCxn id="153" idx="0"/>
          </p:cNvCxnSpPr>
          <p:nvPr/>
        </p:nvCxnSpPr>
        <p:spPr>
          <a:xfrm flipH="1">
            <a:off x="2976298" y="4640943"/>
            <a:ext cx="1603752" cy="206253"/>
          </a:xfrm>
          <a:prstGeom prst="straightConnector1">
            <a:avLst/>
          </a:prstGeom>
          <a:noFill/>
          <a:ln w="28575" cap="flat" cmpd="sng" algn="ctr">
            <a:solidFill>
              <a:srgbClr val="001E60"/>
            </a:solidFill>
            <a:prstDash val="solid"/>
            <a:miter lim="800000"/>
            <a:tailEnd type="triangle" w="sm" len="sm"/>
          </a:ln>
          <a:effectLst/>
        </p:spPr>
      </p:cxnSp>
      <p:cxnSp>
        <p:nvCxnSpPr>
          <p:cNvPr id="240" name="Straight Arrow Connector 359">
            <a:extLst>
              <a:ext uri="{FF2B5EF4-FFF2-40B4-BE49-F238E27FC236}">
                <a16:creationId xmlns:a16="http://schemas.microsoft.com/office/drawing/2014/main" id="{95857E43-0E45-A15B-B08D-54C2186B42CD}"/>
              </a:ext>
            </a:extLst>
          </p:cNvPr>
          <p:cNvCxnSpPr>
            <a:cxnSpLocks/>
            <a:stCxn id="163" idx="2"/>
            <a:endCxn id="154" idx="0"/>
          </p:cNvCxnSpPr>
          <p:nvPr/>
        </p:nvCxnSpPr>
        <p:spPr>
          <a:xfrm flipH="1">
            <a:off x="3366246" y="4640943"/>
            <a:ext cx="1213804" cy="206253"/>
          </a:xfrm>
          <a:prstGeom prst="straightConnector1">
            <a:avLst/>
          </a:prstGeom>
          <a:noFill/>
          <a:ln w="28575" cap="flat" cmpd="sng" algn="ctr">
            <a:solidFill>
              <a:srgbClr val="001E60"/>
            </a:solidFill>
            <a:prstDash val="solid"/>
            <a:miter lim="800000"/>
            <a:tailEnd type="triangle" w="sm" len="sm"/>
          </a:ln>
          <a:effectLst/>
        </p:spPr>
      </p:cxnSp>
      <p:cxnSp>
        <p:nvCxnSpPr>
          <p:cNvPr id="241" name="Straight Arrow Connector 360">
            <a:extLst>
              <a:ext uri="{FF2B5EF4-FFF2-40B4-BE49-F238E27FC236}">
                <a16:creationId xmlns:a16="http://schemas.microsoft.com/office/drawing/2014/main" id="{B0BEB11C-7BCD-CBBC-F51B-85E3230012EF}"/>
              </a:ext>
            </a:extLst>
          </p:cNvPr>
          <p:cNvCxnSpPr>
            <a:cxnSpLocks/>
            <a:stCxn id="163" idx="2"/>
            <a:endCxn id="151" idx="0"/>
          </p:cNvCxnSpPr>
          <p:nvPr/>
        </p:nvCxnSpPr>
        <p:spPr>
          <a:xfrm flipH="1">
            <a:off x="3756195" y="4640943"/>
            <a:ext cx="823855" cy="206253"/>
          </a:xfrm>
          <a:prstGeom prst="straightConnector1">
            <a:avLst/>
          </a:prstGeom>
          <a:noFill/>
          <a:ln w="28575" cap="flat" cmpd="sng" algn="ctr">
            <a:solidFill>
              <a:srgbClr val="001E60"/>
            </a:solidFill>
            <a:prstDash val="solid"/>
            <a:miter lim="800000"/>
            <a:tailEnd type="triangle" w="sm" len="sm"/>
          </a:ln>
          <a:effectLst/>
        </p:spPr>
      </p:cxnSp>
      <p:cxnSp>
        <p:nvCxnSpPr>
          <p:cNvPr id="242" name="Straight Arrow Connector 365">
            <a:extLst>
              <a:ext uri="{FF2B5EF4-FFF2-40B4-BE49-F238E27FC236}">
                <a16:creationId xmlns:a16="http://schemas.microsoft.com/office/drawing/2014/main" id="{C7C730C0-C1CD-F118-4CAD-D91D3541E2D8}"/>
              </a:ext>
            </a:extLst>
          </p:cNvPr>
          <p:cNvCxnSpPr>
            <a:cxnSpLocks/>
            <a:stCxn id="202" idx="2"/>
            <a:endCxn id="226" idx="0"/>
          </p:cNvCxnSpPr>
          <p:nvPr/>
        </p:nvCxnSpPr>
        <p:spPr>
          <a:xfrm>
            <a:off x="5410498" y="4640944"/>
            <a:ext cx="296047" cy="214224"/>
          </a:xfrm>
          <a:prstGeom prst="straightConnector1">
            <a:avLst/>
          </a:prstGeom>
          <a:noFill/>
          <a:ln w="28575" cap="flat" cmpd="sng" algn="ctr">
            <a:solidFill>
              <a:srgbClr val="001E60"/>
            </a:solidFill>
            <a:prstDash val="solid"/>
            <a:miter lim="800000"/>
            <a:tailEnd type="triangle" w="sm" len="sm"/>
          </a:ln>
          <a:effectLst/>
        </p:spPr>
      </p:cxnSp>
      <p:cxnSp>
        <p:nvCxnSpPr>
          <p:cNvPr id="243" name="Straight Arrow Connector 366">
            <a:extLst>
              <a:ext uri="{FF2B5EF4-FFF2-40B4-BE49-F238E27FC236}">
                <a16:creationId xmlns:a16="http://schemas.microsoft.com/office/drawing/2014/main" id="{FBA58A88-E317-BA42-4C8A-8F5499793ED2}"/>
              </a:ext>
            </a:extLst>
          </p:cNvPr>
          <p:cNvCxnSpPr>
            <a:cxnSpLocks/>
            <a:stCxn id="202" idx="2"/>
            <a:endCxn id="227" idx="0"/>
          </p:cNvCxnSpPr>
          <p:nvPr/>
        </p:nvCxnSpPr>
        <p:spPr>
          <a:xfrm>
            <a:off x="5410498" y="4640944"/>
            <a:ext cx="685996" cy="214224"/>
          </a:xfrm>
          <a:prstGeom prst="straightConnector1">
            <a:avLst/>
          </a:prstGeom>
          <a:noFill/>
          <a:ln w="28575" cap="flat" cmpd="sng" algn="ctr">
            <a:solidFill>
              <a:srgbClr val="001E60"/>
            </a:solidFill>
            <a:prstDash val="solid"/>
            <a:miter lim="800000"/>
            <a:tailEnd type="triangle" w="sm" len="sm"/>
          </a:ln>
          <a:effectLst/>
        </p:spPr>
      </p:cxnSp>
      <p:cxnSp>
        <p:nvCxnSpPr>
          <p:cNvPr id="244" name="Straight Arrow Connector 367">
            <a:extLst>
              <a:ext uri="{FF2B5EF4-FFF2-40B4-BE49-F238E27FC236}">
                <a16:creationId xmlns:a16="http://schemas.microsoft.com/office/drawing/2014/main" id="{AAD56F8C-83F9-4A6A-FD18-42199637B454}"/>
              </a:ext>
            </a:extLst>
          </p:cNvPr>
          <p:cNvCxnSpPr>
            <a:cxnSpLocks/>
            <a:stCxn id="206" idx="2"/>
            <a:endCxn id="228" idx="0"/>
          </p:cNvCxnSpPr>
          <p:nvPr/>
        </p:nvCxnSpPr>
        <p:spPr>
          <a:xfrm>
            <a:off x="6245347" y="4640944"/>
            <a:ext cx="241095" cy="214224"/>
          </a:xfrm>
          <a:prstGeom prst="straightConnector1">
            <a:avLst/>
          </a:prstGeom>
          <a:noFill/>
          <a:ln w="28575" cap="flat" cmpd="sng" algn="ctr">
            <a:solidFill>
              <a:srgbClr val="001E60"/>
            </a:solidFill>
            <a:prstDash val="solid"/>
            <a:miter lim="800000"/>
            <a:tailEnd type="triangle" w="sm" len="sm"/>
          </a:ln>
          <a:effectLst/>
        </p:spPr>
      </p:cxnSp>
      <p:cxnSp>
        <p:nvCxnSpPr>
          <p:cNvPr id="245" name="Straight Arrow Connector 368">
            <a:extLst>
              <a:ext uri="{FF2B5EF4-FFF2-40B4-BE49-F238E27FC236}">
                <a16:creationId xmlns:a16="http://schemas.microsoft.com/office/drawing/2014/main" id="{F29F33B7-E65D-8129-EF59-D3AF0BA5BA0C}"/>
              </a:ext>
            </a:extLst>
          </p:cNvPr>
          <p:cNvCxnSpPr>
            <a:cxnSpLocks/>
            <a:stCxn id="206" idx="2"/>
            <a:endCxn id="225" idx="0"/>
          </p:cNvCxnSpPr>
          <p:nvPr/>
        </p:nvCxnSpPr>
        <p:spPr>
          <a:xfrm>
            <a:off x="6245347" y="4640944"/>
            <a:ext cx="631044" cy="214224"/>
          </a:xfrm>
          <a:prstGeom prst="straightConnector1">
            <a:avLst/>
          </a:prstGeom>
          <a:noFill/>
          <a:ln w="28575" cap="flat" cmpd="sng" algn="ctr">
            <a:solidFill>
              <a:srgbClr val="001E60"/>
            </a:solidFill>
            <a:prstDash val="solid"/>
            <a:miter lim="800000"/>
            <a:tailEnd type="triangle" w="sm" len="sm"/>
          </a:ln>
          <a:effectLst/>
        </p:spPr>
      </p:cxnSp>
      <p:grpSp>
        <p:nvGrpSpPr>
          <p:cNvPr id="246" name="Group 373">
            <a:extLst>
              <a:ext uri="{FF2B5EF4-FFF2-40B4-BE49-F238E27FC236}">
                <a16:creationId xmlns:a16="http://schemas.microsoft.com/office/drawing/2014/main" id="{DF6D7C7C-3B4C-09C2-FC80-416EDEFC6507}"/>
              </a:ext>
            </a:extLst>
          </p:cNvPr>
          <p:cNvGrpSpPr/>
          <p:nvPr/>
        </p:nvGrpSpPr>
        <p:grpSpPr>
          <a:xfrm>
            <a:off x="6061360" y="2638760"/>
            <a:ext cx="378356" cy="377403"/>
            <a:chOff x="4765216" y="1960157"/>
            <a:chExt cx="378356" cy="377403"/>
          </a:xfrm>
        </p:grpSpPr>
        <p:sp>
          <p:nvSpPr>
            <p:cNvPr id="247" name="Oval 374">
              <a:extLst>
                <a:ext uri="{FF2B5EF4-FFF2-40B4-BE49-F238E27FC236}">
                  <a16:creationId xmlns:a16="http://schemas.microsoft.com/office/drawing/2014/main" id="{80ACC814-8EF3-2292-A443-2626B986DE61}"/>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48" name="TextBox 375">
              <a:extLst>
                <a:ext uri="{FF2B5EF4-FFF2-40B4-BE49-F238E27FC236}">
                  <a16:creationId xmlns:a16="http://schemas.microsoft.com/office/drawing/2014/main" id="{4B5A2C62-B7AD-12E7-AF18-CF8706520D76}"/>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cxnSp>
          <p:nvCxnSpPr>
            <p:cNvPr id="249" name="Straight Connector 376">
              <a:extLst>
                <a:ext uri="{FF2B5EF4-FFF2-40B4-BE49-F238E27FC236}">
                  <a16:creationId xmlns:a16="http://schemas.microsoft.com/office/drawing/2014/main" id="{A7456AF7-A5A5-D305-5F2C-2AC39C4AF71A}"/>
                </a:ext>
              </a:extLst>
            </p:cNvPr>
            <p:cNvCxnSpPr>
              <a:cxnSpLocks/>
              <a:stCxn id="247" idx="1"/>
              <a:endCxn id="247" idx="5"/>
            </p:cNvCxnSpPr>
            <p:nvPr/>
          </p:nvCxnSpPr>
          <p:spPr>
            <a:xfrm>
              <a:off x="4820625" y="2015426"/>
              <a:ext cx="267538" cy="266865"/>
            </a:xfrm>
            <a:prstGeom prst="line">
              <a:avLst/>
            </a:prstGeom>
            <a:noFill/>
            <a:ln w="38100" cap="flat" cmpd="sng" algn="ctr">
              <a:solidFill>
                <a:srgbClr val="FF0000">
                  <a:alpha val="38000"/>
                </a:srgbClr>
              </a:solidFill>
              <a:prstDash val="solid"/>
              <a:miter lim="800000"/>
            </a:ln>
            <a:effectLst/>
          </p:spPr>
        </p:cxnSp>
        <p:cxnSp>
          <p:nvCxnSpPr>
            <p:cNvPr id="250" name="Straight Connector 377">
              <a:extLst>
                <a:ext uri="{FF2B5EF4-FFF2-40B4-BE49-F238E27FC236}">
                  <a16:creationId xmlns:a16="http://schemas.microsoft.com/office/drawing/2014/main" id="{031015E3-3904-E951-098E-E1797895212F}"/>
                </a:ext>
              </a:extLst>
            </p:cNvPr>
            <p:cNvCxnSpPr>
              <a:cxnSpLocks/>
              <a:stCxn id="247" idx="7"/>
            </p:cNvCxnSpPr>
            <p:nvPr/>
          </p:nvCxnSpPr>
          <p:spPr>
            <a:xfrm flipH="1">
              <a:off x="4820625" y="2015426"/>
              <a:ext cx="267538" cy="267704"/>
            </a:xfrm>
            <a:prstGeom prst="line">
              <a:avLst/>
            </a:prstGeom>
            <a:noFill/>
            <a:ln w="38100" cap="flat" cmpd="sng" algn="ctr">
              <a:solidFill>
                <a:srgbClr val="FF0000">
                  <a:alpha val="38000"/>
                </a:srgbClr>
              </a:solidFill>
              <a:prstDash val="solid"/>
              <a:miter lim="800000"/>
            </a:ln>
            <a:effectLst/>
          </p:spPr>
        </p:cxnSp>
      </p:grpSp>
      <p:grpSp>
        <p:nvGrpSpPr>
          <p:cNvPr id="251" name="Group 378">
            <a:extLst>
              <a:ext uri="{FF2B5EF4-FFF2-40B4-BE49-F238E27FC236}">
                <a16:creationId xmlns:a16="http://schemas.microsoft.com/office/drawing/2014/main" id="{6DBAB7A4-8AF9-97BC-3639-58DF629035B6}"/>
              </a:ext>
            </a:extLst>
          </p:cNvPr>
          <p:cNvGrpSpPr/>
          <p:nvPr/>
        </p:nvGrpSpPr>
        <p:grpSpPr>
          <a:xfrm>
            <a:off x="5214031" y="2638760"/>
            <a:ext cx="378356" cy="377403"/>
            <a:chOff x="4765216" y="1960157"/>
            <a:chExt cx="378356" cy="377403"/>
          </a:xfrm>
        </p:grpSpPr>
        <p:sp>
          <p:nvSpPr>
            <p:cNvPr id="252" name="Oval 379">
              <a:extLst>
                <a:ext uri="{FF2B5EF4-FFF2-40B4-BE49-F238E27FC236}">
                  <a16:creationId xmlns:a16="http://schemas.microsoft.com/office/drawing/2014/main" id="{B4D5C3A7-39BD-3F54-F44A-01947F5ABB15}"/>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53" name="TextBox 380">
              <a:extLst>
                <a:ext uri="{FF2B5EF4-FFF2-40B4-BE49-F238E27FC236}">
                  <a16:creationId xmlns:a16="http://schemas.microsoft.com/office/drawing/2014/main" id="{574624EC-DA50-D000-FC86-023297870137}"/>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cxnSp>
          <p:nvCxnSpPr>
            <p:cNvPr id="254" name="Straight Connector 381">
              <a:extLst>
                <a:ext uri="{FF2B5EF4-FFF2-40B4-BE49-F238E27FC236}">
                  <a16:creationId xmlns:a16="http://schemas.microsoft.com/office/drawing/2014/main" id="{609DDA9D-7382-A802-2165-3B42E45B277A}"/>
                </a:ext>
              </a:extLst>
            </p:cNvPr>
            <p:cNvCxnSpPr>
              <a:cxnSpLocks/>
              <a:stCxn id="252" idx="1"/>
              <a:endCxn id="252" idx="5"/>
            </p:cNvCxnSpPr>
            <p:nvPr/>
          </p:nvCxnSpPr>
          <p:spPr>
            <a:xfrm>
              <a:off x="4820625" y="2015426"/>
              <a:ext cx="267538" cy="266865"/>
            </a:xfrm>
            <a:prstGeom prst="line">
              <a:avLst/>
            </a:prstGeom>
            <a:noFill/>
            <a:ln w="38100" cap="flat" cmpd="sng" algn="ctr">
              <a:solidFill>
                <a:srgbClr val="FF0000">
                  <a:alpha val="38000"/>
                </a:srgbClr>
              </a:solidFill>
              <a:prstDash val="solid"/>
              <a:miter lim="800000"/>
            </a:ln>
            <a:effectLst/>
          </p:spPr>
        </p:cxnSp>
        <p:cxnSp>
          <p:nvCxnSpPr>
            <p:cNvPr id="255" name="Straight Connector 382">
              <a:extLst>
                <a:ext uri="{FF2B5EF4-FFF2-40B4-BE49-F238E27FC236}">
                  <a16:creationId xmlns:a16="http://schemas.microsoft.com/office/drawing/2014/main" id="{6BCC5BE9-7502-CA19-C636-ADD393FE337B}"/>
                </a:ext>
              </a:extLst>
            </p:cNvPr>
            <p:cNvCxnSpPr>
              <a:cxnSpLocks/>
              <a:stCxn id="252" idx="7"/>
            </p:cNvCxnSpPr>
            <p:nvPr/>
          </p:nvCxnSpPr>
          <p:spPr>
            <a:xfrm flipH="1">
              <a:off x="4820625" y="2015426"/>
              <a:ext cx="267538" cy="267704"/>
            </a:xfrm>
            <a:prstGeom prst="line">
              <a:avLst/>
            </a:prstGeom>
            <a:noFill/>
            <a:ln w="38100" cap="flat" cmpd="sng" algn="ctr">
              <a:solidFill>
                <a:srgbClr val="FF0000">
                  <a:alpha val="38000"/>
                </a:srgbClr>
              </a:solidFill>
              <a:prstDash val="solid"/>
              <a:miter lim="800000"/>
            </a:ln>
            <a:effectLst/>
          </p:spPr>
        </p:cxnSp>
      </p:grpSp>
      <p:grpSp>
        <p:nvGrpSpPr>
          <p:cNvPr id="256" name="Group 383">
            <a:extLst>
              <a:ext uri="{FF2B5EF4-FFF2-40B4-BE49-F238E27FC236}">
                <a16:creationId xmlns:a16="http://schemas.microsoft.com/office/drawing/2014/main" id="{FA280E88-F8B9-0DED-2348-7CC90E73ADE6}"/>
              </a:ext>
            </a:extLst>
          </p:cNvPr>
          <p:cNvGrpSpPr/>
          <p:nvPr/>
        </p:nvGrpSpPr>
        <p:grpSpPr>
          <a:xfrm>
            <a:off x="4397781" y="2638760"/>
            <a:ext cx="378356" cy="377403"/>
            <a:chOff x="4765216" y="1960157"/>
            <a:chExt cx="378356" cy="377403"/>
          </a:xfrm>
        </p:grpSpPr>
        <p:sp>
          <p:nvSpPr>
            <p:cNvPr id="257" name="Oval 384">
              <a:extLst>
                <a:ext uri="{FF2B5EF4-FFF2-40B4-BE49-F238E27FC236}">
                  <a16:creationId xmlns:a16="http://schemas.microsoft.com/office/drawing/2014/main" id="{B8008468-211F-F1D0-2015-97F00359416F}"/>
                </a:ext>
              </a:extLst>
            </p:cNvPr>
            <p:cNvSpPr/>
            <p:nvPr/>
          </p:nvSpPr>
          <p:spPr>
            <a:xfrm>
              <a:off x="4765216" y="1960157"/>
              <a:ext cx="378356" cy="377403"/>
            </a:xfrm>
            <a:prstGeom prst="ellipse">
              <a:avLst/>
            </a:prstGeom>
            <a:solidFill>
              <a:srgbClr val="799A01"/>
            </a:solidFill>
            <a:ln w="12700" cap="flat" cmpd="sng" algn="ctr">
              <a:solidFill>
                <a:srgbClr val="799A0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a:ln>
                  <a:noFill/>
                </a:ln>
                <a:solidFill>
                  <a:srgbClr val="F3F4F3"/>
                </a:solidFill>
                <a:effectLst/>
                <a:uLnTx/>
                <a:uFillTx/>
                <a:latin typeface="Tw Cen MT"/>
                <a:ea typeface="+mn-ea"/>
                <a:cs typeface="+mn-cs"/>
              </a:endParaRPr>
            </a:p>
          </p:txBody>
        </p:sp>
        <p:sp>
          <p:nvSpPr>
            <p:cNvPr id="258" name="TextBox 385">
              <a:extLst>
                <a:ext uri="{FF2B5EF4-FFF2-40B4-BE49-F238E27FC236}">
                  <a16:creationId xmlns:a16="http://schemas.microsoft.com/office/drawing/2014/main" id="{42D1202B-8417-FE90-2E2A-966F35F99784}"/>
                </a:ext>
              </a:extLst>
            </p:cNvPr>
            <p:cNvSpPr txBox="1"/>
            <p:nvPr/>
          </p:nvSpPr>
          <p:spPr>
            <a:xfrm>
              <a:off x="4771491" y="2015258"/>
              <a:ext cx="365806"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2F6C"/>
                </a:buClr>
                <a:buSzTx/>
                <a:buFontTx/>
                <a:buNone/>
                <a:tabLst/>
                <a:defRPr/>
              </a:pPr>
              <a:r>
                <a:rPr kumimoji="0" lang="en-GB" sz="1050" b="1" i="0" u="none" strike="noStrike" kern="0" cap="none" spc="0" normalizeH="0" baseline="0" noProof="0">
                  <a:ln>
                    <a:noFill/>
                  </a:ln>
                  <a:solidFill>
                    <a:srgbClr val="F3F4F3"/>
                  </a:solidFill>
                  <a:effectLst/>
                  <a:uLnTx/>
                  <a:uFillTx/>
                  <a:latin typeface="Tw Cen MT"/>
                </a:rPr>
                <a:t>C3</a:t>
              </a:r>
            </a:p>
          </p:txBody>
        </p:sp>
      </p:grpSp>
      <p:sp>
        <p:nvSpPr>
          <p:cNvPr id="259" name="TextBox 388">
            <a:extLst>
              <a:ext uri="{FF2B5EF4-FFF2-40B4-BE49-F238E27FC236}">
                <a16:creationId xmlns:a16="http://schemas.microsoft.com/office/drawing/2014/main" id="{1CD9CE7E-0ECB-6639-DE57-036805907C47}"/>
              </a:ext>
            </a:extLst>
          </p:cNvPr>
          <p:cNvSpPr txBox="1"/>
          <p:nvPr/>
        </p:nvSpPr>
        <p:spPr>
          <a:xfrm>
            <a:off x="4341016" y="4192777"/>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60" name="TextBox 389">
            <a:extLst>
              <a:ext uri="{FF2B5EF4-FFF2-40B4-BE49-F238E27FC236}">
                <a16:creationId xmlns:a16="http://schemas.microsoft.com/office/drawing/2014/main" id="{121C1FBD-D188-E5A4-F37B-337A31EF606B}"/>
              </a:ext>
            </a:extLst>
          </p:cNvPr>
          <p:cNvSpPr txBox="1"/>
          <p:nvPr/>
        </p:nvSpPr>
        <p:spPr>
          <a:xfrm>
            <a:off x="5171515" y="4192777"/>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61" name="TextBox 390">
            <a:extLst>
              <a:ext uri="{FF2B5EF4-FFF2-40B4-BE49-F238E27FC236}">
                <a16:creationId xmlns:a16="http://schemas.microsoft.com/office/drawing/2014/main" id="{1AA57906-39CE-8F7E-FFA1-C98936387980}"/>
              </a:ext>
            </a:extLst>
          </p:cNvPr>
          <p:cNvSpPr txBox="1"/>
          <p:nvPr/>
        </p:nvSpPr>
        <p:spPr>
          <a:xfrm>
            <a:off x="6006365" y="4192777"/>
            <a:ext cx="475937" cy="230832"/>
          </a:xfrm>
          <a:prstGeom prst="rect">
            <a:avLst/>
          </a:prstGeom>
          <a:noFill/>
        </p:spPr>
        <p:txBody>
          <a:bodyPr wrap="square" rtlCol="0">
            <a:spAutoFit/>
          </a:bodyPr>
          <a:lstStyle/>
          <a:p>
            <a:pPr algn="ctr">
              <a:buClr>
                <a:srgbClr val="002F6C"/>
              </a:buClr>
              <a:defRPr/>
            </a:pPr>
            <a:r>
              <a:rPr lang="en-GB" sz="900" b="1">
                <a:solidFill>
                  <a:srgbClr val="F3F4F3"/>
                </a:solidFill>
                <a:latin typeface="Tw Cen MT"/>
              </a:rPr>
              <a:t>C3b</a:t>
            </a:r>
            <a:r>
              <a:rPr lang="en-GB" sz="900" b="1" baseline="-25000">
                <a:solidFill>
                  <a:srgbClr val="F3F4F3"/>
                </a:solidFill>
                <a:latin typeface="Tw Cen MT"/>
              </a:rPr>
              <a:t>n</a:t>
            </a:r>
          </a:p>
        </p:txBody>
      </p:sp>
      <p:sp>
        <p:nvSpPr>
          <p:cNvPr id="262" name="TextBox 391">
            <a:extLst>
              <a:ext uri="{FF2B5EF4-FFF2-40B4-BE49-F238E27FC236}">
                <a16:creationId xmlns:a16="http://schemas.microsoft.com/office/drawing/2014/main" id="{56D00C3E-D931-062A-DC93-381B535A3B93}"/>
              </a:ext>
            </a:extLst>
          </p:cNvPr>
          <p:cNvSpPr txBox="1"/>
          <p:nvPr/>
        </p:nvSpPr>
        <p:spPr>
          <a:xfrm>
            <a:off x="2403445"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3" name="TextBox 392">
            <a:extLst>
              <a:ext uri="{FF2B5EF4-FFF2-40B4-BE49-F238E27FC236}">
                <a16:creationId xmlns:a16="http://schemas.microsoft.com/office/drawing/2014/main" id="{3350BFB7-AE67-0E62-02A8-972872CF3605}"/>
              </a:ext>
            </a:extLst>
          </p:cNvPr>
          <p:cNvSpPr txBox="1"/>
          <p:nvPr/>
        </p:nvSpPr>
        <p:spPr>
          <a:xfrm>
            <a:off x="2797279"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4" name="TextBox 393">
            <a:extLst>
              <a:ext uri="{FF2B5EF4-FFF2-40B4-BE49-F238E27FC236}">
                <a16:creationId xmlns:a16="http://schemas.microsoft.com/office/drawing/2014/main" id="{CBDAB5B8-BDEA-EDDD-A5A9-A989B1E19DAE}"/>
              </a:ext>
            </a:extLst>
          </p:cNvPr>
          <p:cNvSpPr txBox="1"/>
          <p:nvPr/>
        </p:nvSpPr>
        <p:spPr>
          <a:xfrm>
            <a:off x="3186013"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5" name="TextBox 394">
            <a:extLst>
              <a:ext uri="{FF2B5EF4-FFF2-40B4-BE49-F238E27FC236}">
                <a16:creationId xmlns:a16="http://schemas.microsoft.com/office/drawing/2014/main" id="{9C115753-B694-FE93-BF66-F2B09E3EF0FC}"/>
              </a:ext>
            </a:extLst>
          </p:cNvPr>
          <p:cNvSpPr txBox="1"/>
          <p:nvPr/>
        </p:nvSpPr>
        <p:spPr>
          <a:xfrm>
            <a:off x="3575095"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6" name="TextBox 395">
            <a:extLst>
              <a:ext uri="{FF2B5EF4-FFF2-40B4-BE49-F238E27FC236}">
                <a16:creationId xmlns:a16="http://schemas.microsoft.com/office/drawing/2014/main" id="{CC8C5779-56D7-F8D5-BADC-5C613FFA3F71}"/>
              </a:ext>
            </a:extLst>
          </p:cNvPr>
          <p:cNvSpPr txBox="1"/>
          <p:nvPr/>
        </p:nvSpPr>
        <p:spPr>
          <a:xfrm>
            <a:off x="3963167"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7" name="TextBox 396">
            <a:extLst>
              <a:ext uri="{FF2B5EF4-FFF2-40B4-BE49-F238E27FC236}">
                <a16:creationId xmlns:a16="http://schemas.microsoft.com/office/drawing/2014/main" id="{E528313D-93E4-0BD4-4055-78CAC4EEE9B2}"/>
              </a:ext>
            </a:extLst>
          </p:cNvPr>
          <p:cNvSpPr txBox="1"/>
          <p:nvPr/>
        </p:nvSpPr>
        <p:spPr>
          <a:xfrm>
            <a:off x="4353907"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8" name="TextBox 397">
            <a:extLst>
              <a:ext uri="{FF2B5EF4-FFF2-40B4-BE49-F238E27FC236}">
                <a16:creationId xmlns:a16="http://schemas.microsoft.com/office/drawing/2014/main" id="{B497112B-E719-DE4D-1279-C1B2066839BA}"/>
              </a:ext>
            </a:extLst>
          </p:cNvPr>
          <p:cNvSpPr txBox="1"/>
          <p:nvPr/>
        </p:nvSpPr>
        <p:spPr>
          <a:xfrm>
            <a:off x="4743609"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69" name="TextBox 398">
            <a:extLst>
              <a:ext uri="{FF2B5EF4-FFF2-40B4-BE49-F238E27FC236}">
                <a16:creationId xmlns:a16="http://schemas.microsoft.com/office/drawing/2014/main" id="{FA0D1710-FC3B-A681-CD89-7997D7264D49}"/>
              </a:ext>
            </a:extLst>
          </p:cNvPr>
          <p:cNvSpPr txBox="1"/>
          <p:nvPr/>
        </p:nvSpPr>
        <p:spPr>
          <a:xfrm>
            <a:off x="5138699"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0" name="TextBox 399">
            <a:extLst>
              <a:ext uri="{FF2B5EF4-FFF2-40B4-BE49-F238E27FC236}">
                <a16:creationId xmlns:a16="http://schemas.microsoft.com/office/drawing/2014/main" id="{E77E4890-8FE2-4C16-9686-97E51AA09658}"/>
              </a:ext>
            </a:extLst>
          </p:cNvPr>
          <p:cNvSpPr txBox="1"/>
          <p:nvPr/>
        </p:nvSpPr>
        <p:spPr>
          <a:xfrm>
            <a:off x="5522775"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1" name="TextBox 400">
            <a:extLst>
              <a:ext uri="{FF2B5EF4-FFF2-40B4-BE49-F238E27FC236}">
                <a16:creationId xmlns:a16="http://schemas.microsoft.com/office/drawing/2014/main" id="{F7D119F2-E42E-4B4C-7D74-E8EF438EF3FD}"/>
              </a:ext>
            </a:extLst>
          </p:cNvPr>
          <p:cNvSpPr txBox="1"/>
          <p:nvPr/>
        </p:nvSpPr>
        <p:spPr>
          <a:xfrm>
            <a:off x="5913663"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2" name="TextBox 401">
            <a:extLst>
              <a:ext uri="{FF2B5EF4-FFF2-40B4-BE49-F238E27FC236}">
                <a16:creationId xmlns:a16="http://schemas.microsoft.com/office/drawing/2014/main" id="{E711828F-645E-CC2A-0EC6-7860C4B38A4C}"/>
              </a:ext>
            </a:extLst>
          </p:cNvPr>
          <p:cNvSpPr txBox="1"/>
          <p:nvPr/>
        </p:nvSpPr>
        <p:spPr>
          <a:xfrm>
            <a:off x="6306194" y="4914609"/>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3" name="TextBox 402">
            <a:extLst>
              <a:ext uri="{FF2B5EF4-FFF2-40B4-BE49-F238E27FC236}">
                <a16:creationId xmlns:a16="http://schemas.microsoft.com/office/drawing/2014/main" id="{55497447-77BF-6DE4-E11B-DF4928A3776C}"/>
              </a:ext>
            </a:extLst>
          </p:cNvPr>
          <p:cNvSpPr txBox="1"/>
          <p:nvPr/>
        </p:nvSpPr>
        <p:spPr>
          <a:xfrm>
            <a:off x="6693934" y="4921686"/>
            <a:ext cx="365806" cy="261610"/>
          </a:xfrm>
          <a:prstGeom prst="rect">
            <a:avLst/>
          </a:prstGeom>
          <a:noFill/>
        </p:spPr>
        <p:txBody>
          <a:bodyPr wrap="none" rtlCol="0">
            <a:spAutoFit/>
          </a:bodyPr>
          <a:lstStyle/>
          <a:p>
            <a:pPr>
              <a:buClr>
                <a:srgbClr val="002F6C"/>
              </a:buClr>
              <a:defRPr/>
            </a:pPr>
            <a:r>
              <a:rPr lang="en-GB" sz="1050" b="1">
                <a:solidFill>
                  <a:srgbClr val="F3F4F3"/>
                </a:solidFill>
                <a:latin typeface="Tw Cen MT"/>
              </a:rPr>
              <a:t>C5</a:t>
            </a:r>
          </a:p>
        </p:txBody>
      </p:sp>
      <p:sp>
        <p:nvSpPr>
          <p:cNvPr id="274" name="Rectangle 239">
            <a:extLst>
              <a:ext uri="{FF2B5EF4-FFF2-40B4-BE49-F238E27FC236}">
                <a16:creationId xmlns:a16="http://schemas.microsoft.com/office/drawing/2014/main" id="{9971D12F-EE52-81E0-47D9-A3450D628882}"/>
              </a:ext>
            </a:extLst>
          </p:cNvPr>
          <p:cNvSpPr/>
          <p:nvPr/>
        </p:nvSpPr>
        <p:spPr>
          <a:xfrm>
            <a:off x="5127214" y="4757167"/>
            <a:ext cx="1951934" cy="96019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75" name="Rectangle 408">
            <a:extLst>
              <a:ext uri="{FF2B5EF4-FFF2-40B4-BE49-F238E27FC236}">
                <a16:creationId xmlns:a16="http://schemas.microsoft.com/office/drawing/2014/main" id="{FEFFF943-7733-B3E5-9559-7DC6F1967EF5}"/>
              </a:ext>
            </a:extLst>
          </p:cNvPr>
          <p:cNvSpPr/>
          <p:nvPr/>
        </p:nvSpPr>
        <p:spPr>
          <a:xfrm>
            <a:off x="4934379" y="3156117"/>
            <a:ext cx="1774784" cy="1600982"/>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76" name="Rectangle 409">
            <a:extLst>
              <a:ext uri="{FF2B5EF4-FFF2-40B4-BE49-F238E27FC236}">
                <a16:creationId xmlns:a16="http://schemas.microsoft.com/office/drawing/2014/main" id="{424D2971-833E-8663-A338-2D208732046D}"/>
              </a:ext>
            </a:extLst>
          </p:cNvPr>
          <p:cNvSpPr/>
          <p:nvPr/>
        </p:nvSpPr>
        <p:spPr>
          <a:xfrm>
            <a:off x="6058620" y="2605460"/>
            <a:ext cx="438270" cy="549957"/>
          </a:xfrm>
          <a:prstGeom prst="rect">
            <a:avLst/>
          </a:prstGeom>
          <a:solidFill>
            <a:srgbClr val="F3F4F3">
              <a:alpha val="5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77" name="Rectangle 410">
            <a:extLst>
              <a:ext uri="{FF2B5EF4-FFF2-40B4-BE49-F238E27FC236}">
                <a16:creationId xmlns:a16="http://schemas.microsoft.com/office/drawing/2014/main" id="{8E26DCA0-07D4-E121-1CA7-2D55874A3A06}"/>
              </a:ext>
            </a:extLst>
          </p:cNvPr>
          <p:cNvSpPr/>
          <p:nvPr/>
        </p:nvSpPr>
        <p:spPr>
          <a:xfrm>
            <a:off x="5210736" y="2628447"/>
            <a:ext cx="438270" cy="527085"/>
          </a:xfrm>
          <a:prstGeom prst="rect">
            <a:avLst/>
          </a:prstGeom>
          <a:solidFill>
            <a:srgbClr val="F3F4F3">
              <a:alpha val="5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cxnSp>
        <p:nvCxnSpPr>
          <p:cNvPr id="278" name="Straight Arrow Connector 411">
            <a:extLst>
              <a:ext uri="{FF2B5EF4-FFF2-40B4-BE49-F238E27FC236}">
                <a16:creationId xmlns:a16="http://schemas.microsoft.com/office/drawing/2014/main" id="{34F7E06A-D053-0884-691D-B20071FBF3D2}"/>
              </a:ext>
            </a:extLst>
          </p:cNvPr>
          <p:cNvCxnSpPr>
            <a:cxnSpLocks/>
            <a:stCxn id="163" idx="2"/>
            <a:endCxn id="212" idx="0"/>
          </p:cNvCxnSpPr>
          <p:nvPr/>
        </p:nvCxnSpPr>
        <p:spPr>
          <a:xfrm flipH="1">
            <a:off x="4146144" y="4640943"/>
            <a:ext cx="433906" cy="215695"/>
          </a:xfrm>
          <a:prstGeom prst="straightConnector1">
            <a:avLst/>
          </a:prstGeom>
          <a:noFill/>
          <a:ln w="28575" cap="flat" cmpd="sng" algn="ctr">
            <a:solidFill>
              <a:srgbClr val="001E60"/>
            </a:solidFill>
            <a:prstDash val="solid"/>
            <a:miter lim="800000"/>
            <a:tailEnd type="triangle" w="sm" len="sm"/>
          </a:ln>
          <a:effectLst/>
        </p:spPr>
      </p:cxnSp>
      <p:cxnSp>
        <p:nvCxnSpPr>
          <p:cNvPr id="279" name="Straight Arrow Connector 414">
            <a:extLst>
              <a:ext uri="{FF2B5EF4-FFF2-40B4-BE49-F238E27FC236}">
                <a16:creationId xmlns:a16="http://schemas.microsoft.com/office/drawing/2014/main" id="{BC46A8D7-60D9-8189-0D5F-D16E77A623E8}"/>
              </a:ext>
            </a:extLst>
          </p:cNvPr>
          <p:cNvCxnSpPr>
            <a:cxnSpLocks/>
            <a:stCxn id="163" idx="2"/>
            <a:endCxn id="213" idx="0"/>
          </p:cNvCxnSpPr>
          <p:nvPr/>
        </p:nvCxnSpPr>
        <p:spPr>
          <a:xfrm flipH="1">
            <a:off x="4536093" y="4640943"/>
            <a:ext cx="43957" cy="215696"/>
          </a:xfrm>
          <a:prstGeom prst="straightConnector1">
            <a:avLst/>
          </a:prstGeom>
          <a:noFill/>
          <a:ln w="28575" cap="flat" cmpd="sng" algn="ctr">
            <a:solidFill>
              <a:srgbClr val="001E60"/>
            </a:solidFill>
            <a:prstDash val="solid"/>
            <a:miter lim="800000"/>
            <a:tailEnd type="triangle" w="sm" len="sm"/>
          </a:ln>
          <a:effectLst/>
        </p:spPr>
      </p:cxnSp>
      <p:cxnSp>
        <p:nvCxnSpPr>
          <p:cNvPr id="280" name="Straight Arrow Connector 417">
            <a:extLst>
              <a:ext uri="{FF2B5EF4-FFF2-40B4-BE49-F238E27FC236}">
                <a16:creationId xmlns:a16="http://schemas.microsoft.com/office/drawing/2014/main" id="{124212F0-5635-1425-D02C-3EDFC2E387DC}"/>
              </a:ext>
            </a:extLst>
          </p:cNvPr>
          <p:cNvCxnSpPr>
            <a:cxnSpLocks/>
            <a:stCxn id="163" idx="2"/>
            <a:endCxn id="214" idx="0"/>
          </p:cNvCxnSpPr>
          <p:nvPr/>
        </p:nvCxnSpPr>
        <p:spPr>
          <a:xfrm>
            <a:off x="4580050" y="4640943"/>
            <a:ext cx="345991" cy="215695"/>
          </a:xfrm>
          <a:prstGeom prst="straightConnector1">
            <a:avLst/>
          </a:prstGeom>
          <a:noFill/>
          <a:ln w="28575" cap="flat" cmpd="sng" algn="ctr">
            <a:solidFill>
              <a:srgbClr val="001E60"/>
            </a:solidFill>
            <a:prstDash val="solid"/>
            <a:miter lim="800000"/>
            <a:tailEnd type="triangle" w="sm" len="sm"/>
          </a:ln>
          <a:effectLst/>
        </p:spPr>
      </p:cxnSp>
      <p:cxnSp>
        <p:nvCxnSpPr>
          <p:cNvPr id="281" name="Straight Arrow Connector 420">
            <a:extLst>
              <a:ext uri="{FF2B5EF4-FFF2-40B4-BE49-F238E27FC236}">
                <a16:creationId xmlns:a16="http://schemas.microsoft.com/office/drawing/2014/main" id="{7F736A46-5B8D-A939-3BA4-0B9FD4F96A45}"/>
              </a:ext>
            </a:extLst>
          </p:cNvPr>
          <p:cNvCxnSpPr>
            <a:cxnSpLocks/>
            <a:stCxn id="163" idx="2"/>
            <a:endCxn id="211" idx="0"/>
          </p:cNvCxnSpPr>
          <p:nvPr/>
        </p:nvCxnSpPr>
        <p:spPr>
          <a:xfrm>
            <a:off x="4580050" y="4640943"/>
            <a:ext cx="735940" cy="215695"/>
          </a:xfrm>
          <a:prstGeom prst="straightConnector1">
            <a:avLst/>
          </a:prstGeom>
          <a:noFill/>
          <a:ln w="28575" cap="flat" cmpd="sng" algn="ctr">
            <a:solidFill>
              <a:srgbClr val="001E60"/>
            </a:solidFill>
            <a:prstDash val="solid"/>
            <a:miter lim="800000"/>
            <a:tailEnd type="triangle" w="sm" len="sm"/>
          </a:ln>
          <a:effectLst/>
        </p:spPr>
      </p:cxnSp>
      <p:sp>
        <p:nvSpPr>
          <p:cNvPr id="282" name="TextBox 371">
            <a:extLst>
              <a:ext uri="{FF2B5EF4-FFF2-40B4-BE49-F238E27FC236}">
                <a16:creationId xmlns:a16="http://schemas.microsoft.com/office/drawing/2014/main" id="{FDBC859C-EC65-A38F-3158-627B49F1DEC8}"/>
              </a:ext>
            </a:extLst>
          </p:cNvPr>
          <p:cNvSpPr txBox="1"/>
          <p:nvPr/>
        </p:nvSpPr>
        <p:spPr>
          <a:xfrm>
            <a:off x="7908687" y="4577036"/>
            <a:ext cx="881148" cy="430887"/>
          </a:xfrm>
          <a:prstGeom prst="rect">
            <a:avLst/>
          </a:prstGeom>
          <a:noFill/>
        </p:spPr>
        <p:txBody>
          <a:bodyPr wrap="square" rtlCol="0">
            <a:spAutoFit/>
          </a:bodyPr>
          <a:lstStyle/>
          <a:p>
            <a:pPr algn="ctr">
              <a:buClr>
                <a:srgbClr val="002F6C"/>
              </a:buClr>
              <a:defRPr/>
            </a:pPr>
            <a:r>
              <a:rPr lang="en-GB" sz="1100">
                <a:solidFill>
                  <a:srgbClr val="001E60"/>
                </a:solidFill>
                <a:latin typeface="Tw Cen MT"/>
              </a:rPr>
              <a:t>Normal red cells</a:t>
            </a:r>
          </a:p>
        </p:txBody>
      </p:sp>
      <p:sp>
        <p:nvSpPr>
          <p:cNvPr id="283" name="TextBox 372">
            <a:extLst>
              <a:ext uri="{FF2B5EF4-FFF2-40B4-BE49-F238E27FC236}">
                <a16:creationId xmlns:a16="http://schemas.microsoft.com/office/drawing/2014/main" id="{B26966EE-B03A-2B35-8C1B-89DC2C3F7013}"/>
              </a:ext>
            </a:extLst>
          </p:cNvPr>
          <p:cNvSpPr txBox="1"/>
          <p:nvPr/>
        </p:nvSpPr>
        <p:spPr>
          <a:xfrm>
            <a:off x="9318042" y="4567153"/>
            <a:ext cx="2547418" cy="261610"/>
          </a:xfrm>
          <a:prstGeom prst="rect">
            <a:avLst/>
          </a:prstGeom>
          <a:noFill/>
        </p:spPr>
        <p:txBody>
          <a:bodyPr wrap="square" rtlCol="0">
            <a:spAutoFit/>
          </a:bodyPr>
          <a:lstStyle/>
          <a:p>
            <a:pPr algn="ctr">
              <a:buClr>
                <a:srgbClr val="002F6C"/>
              </a:buClr>
              <a:defRPr/>
            </a:pPr>
            <a:r>
              <a:rPr lang="en-GB" sz="1100">
                <a:solidFill>
                  <a:srgbClr val="001E60"/>
                </a:solidFill>
                <a:latin typeface="Tw Cen MT"/>
              </a:rPr>
              <a:t>Lysed PNH red cells</a:t>
            </a:r>
          </a:p>
        </p:txBody>
      </p:sp>
      <p:sp>
        <p:nvSpPr>
          <p:cNvPr id="284" name="TextBox 404">
            <a:extLst>
              <a:ext uri="{FF2B5EF4-FFF2-40B4-BE49-F238E27FC236}">
                <a16:creationId xmlns:a16="http://schemas.microsoft.com/office/drawing/2014/main" id="{7DF3CF1E-9E16-2BB9-F7F5-7AF925DB403D}"/>
              </a:ext>
            </a:extLst>
          </p:cNvPr>
          <p:cNvSpPr txBox="1"/>
          <p:nvPr/>
        </p:nvSpPr>
        <p:spPr>
          <a:xfrm>
            <a:off x="8689739" y="4577035"/>
            <a:ext cx="806758" cy="430887"/>
          </a:xfrm>
          <a:prstGeom prst="rect">
            <a:avLst/>
          </a:prstGeom>
          <a:noFill/>
        </p:spPr>
        <p:txBody>
          <a:bodyPr wrap="square" rtlCol="0">
            <a:spAutoFit/>
          </a:bodyPr>
          <a:lstStyle/>
          <a:p>
            <a:pPr algn="ctr">
              <a:buClr>
                <a:srgbClr val="002F6C"/>
              </a:buClr>
              <a:defRPr/>
            </a:pPr>
            <a:r>
              <a:rPr lang="en-GB" sz="1100">
                <a:solidFill>
                  <a:srgbClr val="001E60"/>
                </a:solidFill>
                <a:latin typeface="Tw Cen MT"/>
              </a:rPr>
              <a:t>PNH red cells</a:t>
            </a:r>
          </a:p>
        </p:txBody>
      </p:sp>
      <p:pic>
        <p:nvPicPr>
          <p:cNvPr id="285" name="Picture 415" descr="A picture containing text&#10;&#10;Description automatically generated">
            <a:extLst>
              <a:ext uri="{FF2B5EF4-FFF2-40B4-BE49-F238E27FC236}">
                <a16:creationId xmlns:a16="http://schemas.microsoft.com/office/drawing/2014/main" id="{72C26431-9E18-9EF6-28BF-DF07BA31DA47}"/>
              </a:ext>
            </a:extLst>
          </p:cNvPr>
          <p:cNvPicPr>
            <a:picLocks noChangeAspect="1"/>
          </p:cNvPicPr>
          <p:nvPr/>
        </p:nvPicPr>
        <p:blipFill>
          <a:blip r:embed="rId5"/>
          <a:stretch>
            <a:fillRect/>
          </a:stretch>
        </p:blipFill>
        <p:spPr>
          <a:xfrm>
            <a:off x="7772921" y="3597474"/>
            <a:ext cx="4458686" cy="972000"/>
          </a:xfrm>
          <a:prstGeom prst="rect">
            <a:avLst/>
          </a:prstGeom>
        </p:spPr>
      </p:pic>
      <p:sp>
        <p:nvSpPr>
          <p:cNvPr id="286" name="Right Brace 416">
            <a:extLst>
              <a:ext uri="{FF2B5EF4-FFF2-40B4-BE49-F238E27FC236}">
                <a16:creationId xmlns:a16="http://schemas.microsoft.com/office/drawing/2014/main" id="{D24AE310-F6BA-AF70-1D94-A698EFC4749F}"/>
              </a:ext>
            </a:extLst>
          </p:cNvPr>
          <p:cNvSpPr/>
          <p:nvPr/>
        </p:nvSpPr>
        <p:spPr>
          <a:xfrm>
            <a:off x="7121165" y="2463610"/>
            <a:ext cx="606741" cy="3358897"/>
          </a:xfrm>
          <a:prstGeom prst="rightBrace">
            <a:avLst>
              <a:gd name="adj1" fmla="val 81844"/>
              <a:gd name="adj2" fmla="val 50001"/>
            </a:avLst>
          </a:prstGeom>
          <a:noFill/>
          <a:ln w="19050" cap="flat" cmpd="sng" algn="ctr">
            <a:solidFill>
              <a:srgbClr val="6E61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1E60"/>
              </a:solidFill>
              <a:effectLst/>
              <a:uLnTx/>
              <a:uFillTx/>
              <a:latin typeface="Tw Cen MT"/>
              <a:ea typeface="+mn-ea"/>
              <a:cs typeface="+mn-cs"/>
            </a:endParaRPr>
          </a:p>
        </p:txBody>
      </p:sp>
      <p:sp>
        <p:nvSpPr>
          <p:cNvPr id="287" name="TextBox 418">
            <a:extLst>
              <a:ext uri="{FF2B5EF4-FFF2-40B4-BE49-F238E27FC236}">
                <a16:creationId xmlns:a16="http://schemas.microsoft.com/office/drawing/2014/main" id="{E7E39E01-98A0-ED8E-3BCD-4B595A159022}"/>
              </a:ext>
            </a:extLst>
          </p:cNvPr>
          <p:cNvSpPr txBox="1"/>
          <p:nvPr/>
        </p:nvSpPr>
        <p:spPr>
          <a:xfrm>
            <a:off x="672816" y="1345098"/>
            <a:ext cx="10610446" cy="646331"/>
          </a:xfrm>
          <a:prstGeom prst="rect">
            <a:avLst/>
          </a:prstGeom>
          <a:noFill/>
        </p:spPr>
        <p:txBody>
          <a:bodyPr wrap="square" rtlCol="0">
            <a:spAutoFit/>
          </a:bodyPr>
          <a:lstStyle>
            <a:defPPr>
              <a:defRPr lang="en-US"/>
            </a:defPPr>
            <a:lvl1pPr marL="285750" indent="-285750" algn="just">
              <a:buClr>
                <a:schemeClr val="accent1"/>
              </a:buClr>
              <a:buFont typeface="Arial" panose="020B0604020202020204" pitchFamily="34" charset="0"/>
              <a:buChar char="•"/>
              <a:defRPr sz="1400" i="1"/>
            </a:lvl1pPr>
          </a:lstStyle>
          <a:p>
            <a:pPr marL="0" indent="0" algn="l">
              <a:buClr>
                <a:srgbClr val="002F6C"/>
              </a:buClr>
              <a:buFont typeface="Arial" panose="020B0604020202020204" pitchFamily="34" charset="0"/>
              <a:buNone/>
              <a:defRPr/>
            </a:pPr>
            <a:r>
              <a:rPr lang="en-IE" sz="1800" i="0">
                <a:solidFill>
                  <a:srgbClr val="001E60"/>
                </a:solidFill>
                <a:latin typeface="Tw Cen MT"/>
              </a:rPr>
              <a:t>If C3 inhibition is incomplete, some C3 and C5 convertases form. </a:t>
            </a:r>
            <a:r>
              <a:rPr lang="en-CA" sz="1800" i="0">
                <a:solidFill>
                  <a:srgbClr val="001E60"/>
                </a:solidFill>
                <a:latin typeface="Tw Cen MT"/>
              </a:rPr>
              <a:t>Each molecule of C3 that escapes inhibition will form several C5 molecules and several MAC, and potential massive intravascular BTH</a:t>
            </a:r>
            <a:r>
              <a:rPr lang="en-IE" sz="1800" i="0">
                <a:solidFill>
                  <a:srgbClr val="001E60"/>
                </a:solidFill>
                <a:latin typeface="Tw Cen MT"/>
              </a:rPr>
              <a:t>.</a:t>
            </a:r>
            <a:endParaRPr lang="en-CA" sz="1800" i="0">
              <a:solidFill>
                <a:srgbClr val="001E60"/>
              </a:solidFill>
              <a:latin typeface="Tw Cen MT"/>
            </a:endParaRPr>
          </a:p>
        </p:txBody>
      </p:sp>
      <p:sp>
        <p:nvSpPr>
          <p:cNvPr id="288" name="TextBox 419">
            <a:extLst>
              <a:ext uri="{FF2B5EF4-FFF2-40B4-BE49-F238E27FC236}">
                <a16:creationId xmlns:a16="http://schemas.microsoft.com/office/drawing/2014/main" id="{1EC85D6C-17D8-5607-25EA-49EACD32BFC6}"/>
              </a:ext>
            </a:extLst>
          </p:cNvPr>
          <p:cNvSpPr txBox="1"/>
          <p:nvPr/>
        </p:nvSpPr>
        <p:spPr>
          <a:xfrm>
            <a:off x="7565728" y="3378124"/>
            <a:ext cx="2463106" cy="307778"/>
          </a:xfrm>
          <a:prstGeom prst="rect">
            <a:avLst/>
          </a:prstGeom>
          <a:noFill/>
        </p:spPr>
        <p:txBody>
          <a:bodyPr wrap="square" rtlCol="0">
            <a:spAutoFit/>
          </a:bodyPr>
          <a:lstStyle/>
          <a:p>
            <a:pPr algn="ctr">
              <a:buClr>
                <a:srgbClr val="002F6C"/>
              </a:buClr>
              <a:defRPr/>
            </a:pPr>
            <a:r>
              <a:rPr lang="en-GB" sz="1400" b="1">
                <a:solidFill>
                  <a:srgbClr val="002F6C">
                    <a:lumMod val="75000"/>
                  </a:srgbClr>
                </a:solidFill>
                <a:latin typeface="Tw Cen MT"/>
              </a:rPr>
              <a:t>No hemolysis</a:t>
            </a:r>
            <a:r>
              <a:rPr lang="en-GB" sz="1400" b="1" baseline="30000">
                <a:solidFill>
                  <a:srgbClr val="002F6C">
                    <a:lumMod val="75000"/>
                  </a:srgbClr>
                </a:solidFill>
                <a:latin typeface="Tw Cen MT"/>
              </a:rPr>
              <a:t>1</a:t>
            </a:r>
          </a:p>
        </p:txBody>
      </p:sp>
      <p:sp>
        <p:nvSpPr>
          <p:cNvPr id="289" name="TextBox 421">
            <a:extLst>
              <a:ext uri="{FF2B5EF4-FFF2-40B4-BE49-F238E27FC236}">
                <a16:creationId xmlns:a16="http://schemas.microsoft.com/office/drawing/2014/main" id="{37F9D268-6177-5F11-156A-7042CFA61A9F}"/>
              </a:ext>
            </a:extLst>
          </p:cNvPr>
          <p:cNvSpPr txBox="1"/>
          <p:nvPr/>
        </p:nvSpPr>
        <p:spPr>
          <a:xfrm>
            <a:off x="9624392" y="3376667"/>
            <a:ext cx="2433805" cy="307777"/>
          </a:xfrm>
          <a:prstGeom prst="rect">
            <a:avLst/>
          </a:prstGeom>
          <a:noFill/>
        </p:spPr>
        <p:txBody>
          <a:bodyPr wrap="square" rtlCol="0">
            <a:spAutoFit/>
          </a:bodyPr>
          <a:lstStyle/>
          <a:p>
            <a:pPr algn="ctr">
              <a:buClr>
                <a:srgbClr val="002F6C"/>
              </a:buClr>
              <a:defRPr/>
            </a:pPr>
            <a:r>
              <a:rPr lang="en-GB" sz="1400" b="1">
                <a:solidFill>
                  <a:srgbClr val="C00000"/>
                </a:solidFill>
                <a:latin typeface="Tw Cen MT"/>
              </a:rPr>
              <a:t>Acute BTH</a:t>
            </a:r>
            <a:r>
              <a:rPr lang="en-GB" sz="1400" b="1" baseline="30000">
                <a:solidFill>
                  <a:srgbClr val="C00000"/>
                </a:solidFill>
                <a:latin typeface="Tw Cen MT"/>
              </a:rPr>
              <a:t>1</a:t>
            </a:r>
          </a:p>
        </p:txBody>
      </p:sp>
      <p:sp>
        <p:nvSpPr>
          <p:cNvPr id="290" name="Multiplication Sign 422">
            <a:extLst>
              <a:ext uri="{FF2B5EF4-FFF2-40B4-BE49-F238E27FC236}">
                <a16:creationId xmlns:a16="http://schemas.microsoft.com/office/drawing/2014/main" id="{0D2A7CBB-FD9A-A5B3-2FAA-2EAA65F37F21}"/>
              </a:ext>
            </a:extLst>
          </p:cNvPr>
          <p:cNvSpPr/>
          <p:nvPr/>
        </p:nvSpPr>
        <p:spPr>
          <a:xfrm>
            <a:off x="5151926" y="2605460"/>
            <a:ext cx="516468" cy="473627"/>
          </a:xfrm>
          <a:prstGeom prst="mathMultiply">
            <a:avLst/>
          </a:prstGeom>
          <a:solidFill>
            <a:srgbClr val="FF0000">
              <a:alpha val="46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291" name="Multiplication Sign 423">
            <a:extLst>
              <a:ext uri="{FF2B5EF4-FFF2-40B4-BE49-F238E27FC236}">
                <a16:creationId xmlns:a16="http://schemas.microsoft.com/office/drawing/2014/main" id="{B0A21E46-47E0-67AE-1574-C953505D80EE}"/>
              </a:ext>
            </a:extLst>
          </p:cNvPr>
          <p:cNvSpPr/>
          <p:nvPr/>
        </p:nvSpPr>
        <p:spPr>
          <a:xfrm>
            <a:off x="5994004" y="2585149"/>
            <a:ext cx="516468" cy="473627"/>
          </a:xfrm>
          <a:prstGeom prst="mathMultiply">
            <a:avLst/>
          </a:prstGeom>
          <a:solidFill>
            <a:srgbClr val="FF0000">
              <a:alpha val="46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3F4F3"/>
              </a:solidFill>
              <a:effectLst/>
              <a:uLnTx/>
              <a:uFillTx/>
              <a:latin typeface="Tw Cen MT"/>
              <a:ea typeface="+mn-ea"/>
              <a:cs typeface="+mn-cs"/>
            </a:endParaRPr>
          </a:p>
        </p:txBody>
      </p:sp>
      <p:sp>
        <p:nvSpPr>
          <p:cNvPr id="3" name="CaixaDeTexto 2">
            <a:extLst>
              <a:ext uri="{FF2B5EF4-FFF2-40B4-BE49-F238E27FC236}">
                <a16:creationId xmlns:a16="http://schemas.microsoft.com/office/drawing/2014/main" id="{D7B5C7F4-DEFA-1E3D-6491-237EEE26A190}"/>
              </a:ext>
            </a:extLst>
          </p:cNvPr>
          <p:cNvSpPr txBox="1"/>
          <p:nvPr/>
        </p:nvSpPr>
        <p:spPr>
          <a:xfrm>
            <a:off x="7772921" y="5153715"/>
            <a:ext cx="6113720" cy="200055"/>
          </a:xfrm>
          <a:prstGeom prst="rect">
            <a:avLst/>
          </a:prstGeom>
          <a:noFill/>
        </p:spPr>
        <p:txBody>
          <a:bodyPr wrap="square">
            <a:spAutoFit/>
          </a:bodyPr>
          <a:lstStyle/>
          <a:p>
            <a:r>
              <a:rPr lang="pt-BR" sz="700" b="0" i="0" dirty="0">
                <a:solidFill>
                  <a:srgbClr val="1D1D1D"/>
                </a:solidFill>
                <a:effectLst/>
                <a:latin typeface="Arial" panose="020B0604020202020204" pitchFamily="34" charset="0"/>
              </a:rPr>
              <a:t>Adaptado de </a:t>
            </a:r>
            <a:r>
              <a:rPr lang="pt-BR" sz="700" b="0" i="0" dirty="0" err="1">
                <a:solidFill>
                  <a:srgbClr val="1D1D1D"/>
                </a:solidFill>
                <a:effectLst/>
                <a:latin typeface="Arial" panose="020B0604020202020204" pitchFamily="34" charset="0"/>
              </a:rPr>
              <a:t>Notaro</a:t>
            </a:r>
            <a:r>
              <a:rPr lang="pt-BR" sz="700" b="0" i="0" dirty="0">
                <a:solidFill>
                  <a:srgbClr val="1D1D1D"/>
                </a:solidFill>
                <a:effectLst/>
                <a:latin typeface="Arial" panose="020B0604020202020204" pitchFamily="34" charset="0"/>
              </a:rPr>
              <a:t> R et al. N </a:t>
            </a:r>
            <a:r>
              <a:rPr lang="pt-BR" sz="700" b="0" i="0" dirty="0" err="1">
                <a:solidFill>
                  <a:srgbClr val="1D1D1D"/>
                </a:solidFill>
                <a:effectLst/>
                <a:latin typeface="Arial" panose="020B0604020202020204" pitchFamily="34" charset="0"/>
              </a:rPr>
              <a:t>Engl</a:t>
            </a:r>
            <a:r>
              <a:rPr lang="pt-BR" sz="700" b="0" i="0" dirty="0">
                <a:solidFill>
                  <a:srgbClr val="1D1D1D"/>
                </a:solidFill>
                <a:effectLst/>
                <a:latin typeface="Arial" panose="020B0604020202020204" pitchFamily="34" charset="0"/>
              </a:rPr>
              <a:t> J Med 2022;387:160–166.</a:t>
            </a:r>
            <a:endParaRPr lang="pt-BR" sz="700" dirty="0"/>
          </a:p>
        </p:txBody>
      </p:sp>
    </p:spTree>
    <p:extLst>
      <p:ext uri="{BB962C8B-B14F-4D97-AF65-F5344CB8AC3E}">
        <p14:creationId xmlns:p14="http://schemas.microsoft.com/office/powerpoint/2010/main" val="20673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118D0565-914E-701B-0402-288FD384941E}"/>
              </a:ext>
            </a:extLst>
          </p:cNvPr>
          <p:cNvPicPr>
            <a:picLocks noChangeAspect="1"/>
          </p:cNvPicPr>
          <p:nvPr/>
        </p:nvPicPr>
        <p:blipFill rotWithShape="1">
          <a:blip r:embed="rId2">
            <a:extLst>
              <a:ext uri="{28A0092B-C50C-407E-A947-70E740481C1C}">
                <a14:useLocalDpi xmlns:a14="http://schemas.microsoft.com/office/drawing/2010/main" val="0"/>
              </a:ext>
            </a:extLst>
          </a:blip>
          <a:srcRect l="13916" t="217" r="46164" b="-217"/>
          <a:stretch/>
        </p:blipFill>
        <p:spPr>
          <a:xfrm>
            <a:off x="0" y="-14894"/>
            <a:ext cx="4597399" cy="6857999"/>
          </a:xfrm>
          <a:prstGeom prst="rect">
            <a:avLst/>
          </a:prstGeom>
        </p:spPr>
      </p:pic>
      <p:sp>
        <p:nvSpPr>
          <p:cNvPr id="14" name="Retângulo: Único Canto Arredondado 13">
            <a:extLst>
              <a:ext uri="{FF2B5EF4-FFF2-40B4-BE49-F238E27FC236}">
                <a16:creationId xmlns:a16="http://schemas.microsoft.com/office/drawing/2014/main" id="{332A9F67-8B10-E379-1C3F-3B04F2459BB3}"/>
              </a:ext>
            </a:extLst>
          </p:cNvPr>
          <p:cNvSpPr/>
          <p:nvPr/>
        </p:nvSpPr>
        <p:spPr>
          <a:xfrm flipH="1">
            <a:off x="4597399" y="-14894"/>
            <a:ext cx="7594599" cy="6857999"/>
          </a:xfrm>
          <a:prstGeom prst="round1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Retângulo: Único Canto Arredondado 4">
            <a:extLst>
              <a:ext uri="{FF2B5EF4-FFF2-40B4-BE49-F238E27FC236}">
                <a16:creationId xmlns:a16="http://schemas.microsoft.com/office/drawing/2014/main" id="{4329931E-E0E1-F789-E68B-E7B44BEA0F32}"/>
              </a:ext>
            </a:extLst>
          </p:cNvPr>
          <p:cNvSpPr/>
          <p:nvPr/>
        </p:nvSpPr>
        <p:spPr>
          <a:xfrm flipH="1" flipV="1">
            <a:off x="1" y="-1578"/>
            <a:ext cx="4597398" cy="6857999"/>
          </a:xfrm>
          <a:prstGeom prst="round1Rect">
            <a:avLst>
              <a:gd name="adj" fmla="val 0"/>
            </a:avLst>
          </a:prstGeom>
          <a:gradFill>
            <a:gsLst>
              <a:gs pos="50000">
                <a:srgbClr val="9F002B">
                  <a:alpha val="20000"/>
                </a:srgbClr>
              </a:gs>
              <a:gs pos="0">
                <a:schemeClr val="accent1">
                  <a:alpha val="88000"/>
                </a:schemeClr>
              </a:gs>
              <a:gs pos="100000">
                <a:schemeClr val="bg2">
                  <a:alpha val="67000"/>
                </a:scheme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0" name="Gráfico 9">
            <a:extLst>
              <a:ext uri="{FF2B5EF4-FFF2-40B4-BE49-F238E27FC236}">
                <a16:creationId xmlns:a16="http://schemas.microsoft.com/office/drawing/2014/main" id="{91E0AF04-E378-B55C-8394-704E54BB08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3074860"/>
            <a:ext cx="7649497" cy="3783140"/>
          </a:xfrm>
          <a:prstGeom prst="rect">
            <a:avLst/>
          </a:prstGeom>
        </p:spPr>
      </p:pic>
      <p:pic>
        <p:nvPicPr>
          <p:cNvPr id="8" name="Gráfico 7">
            <a:extLst>
              <a:ext uri="{FF2B5EF4-FFF2-40B4-BE49-F238E27FC236}">
                <a16:creationId xmlns:a16="http://schemas.microsoft.com/office/drawing/2014/main" id="{0B126FE5-1733-5783-F577-9BC230078D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98466" y="5997633"/>
            <a:ext cx="2342268" cy="568087"/>
          </a:xfrm>
          <a:prstGeom prst="rect">
            <a:avLst/>
          </a:prstGeom>
        </p:spPr>
      </p:pic>
      <p:sp>
        <p:nvSpPr>
          <p:cNvPr id="9" name="Rectangle 8">
            <a:extLst>
              <a:ext uri="{FF2B5EF4-FFF2-40B4-BE49-F238E27FC236}">
                <a16:creationId xmlns:a16="http://schemas.microsoft.com/office/drawing/2014/main" id="{B5D331E1-51D9-204C-02EC-2D88A21FC16F}"/>
              </a:ext>
            </a:extLst>
          </p:cNvPr>
          <p:cNvSpPr/>
          <p:nvPr/>
        </p:nvSpPr>
        <p:spPr>
          <a:xfrm>
            <a:off x="5130144" y="3092111"/>
            <a:ext cx="611503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6600" b="1" i="0" u="none" strike="noStrike" kern="1200" cap="none" spc="0" normalizeH="0" baseline="0" noProof="0" dirty="0">
                <a:ln>
                  <a:noFill/>
                </a:ln>
                <a:solidFill>
                  <a:srgbClr val="FFFFFF"/>
                </a:solidFill>
                <a:effectLst/>
                <a:uLnTx/>
                <a:uFillTx/>
                <a:latin typeface="Calisto MT"/>
                <a:ea typeface="+mn-ea"/>
                <a:cs typeface="+mn-cs"/>
              </a:rPr>
              <a:t>OBRIGADA!</a:t>
            </a:r>
            <a:endParaRPr kumimoji="0" lang="pt-BR" sz="8000" b="1" i="0" u="none" strike="noStrike" kern="1200" cap="none" spc="0" normalizeH="0" baseline="0" noProof="0" dirty="0">
              <a:ln>
                <a:noFill/>
              </a:ln>
              <a:solidFill>
                <a:srgbClr val="FFFFFF"/>
              </a:solidFill>
              <a:effectLst/>
              <a:uLnTx/>
              <a:uFillTx/>
              <a:latin typeface="Calisto MT"/>
              <a:ea typeface="+mn-ea"/>
              <a:cs typeface="+mn-cs"/>
            </a:endParaRPr>
          </a:p>
        </p:txBody>
      </p:sp>
      <p:grpSp>
        <p:nvGrpSpPr>
          <p:cNvPr id="38" name="Agrupar 37">
            <a:extLst>
              <a:ext uri="{FF2B5EF4-FFF2-40B4-BE49-F238E27FC236}">
                <a16:creationId xmlns:a16="http://schemas.microsoft.com/office/drawing/2014/main" id="{265C3F25-390B-7084-4B2E-95A567BFE756}"/>
              </a:ext>
            </a:extLst>
          </p:cNvPr>
          <p:cNvGrpSpPr/>
          <p:nvPr/>
        </p:nvGrpSpPr>
        <p:grpSpPr>
          <a:xfrm>
            <a:off x="5232588" y="1904989"/>
            <a:ext cx="983314" cy="983315"/>
            <a:chOff x="12852588" y="1663689"/>
            <a:chExt cx="983314" cy="983315"/>
          </a:xfrm>
        </p:grpSpPr>
        <p:sp>
          <p:nvSpPr>
            <p:cNvPr id="20" name="Forma Livre: Forma 19">
              <a:extLst>
                <a:ext uri="{FF2B5EF4-FFF2-40B4-BE49-F238E27FC236}">
                  <a16:creationId xmlns:a16="http://schemas.microsoft.com/office/drawing/2014/main" id="{F1823D11-F83A-415B-EAD1-279661671408}"/>
                </a:ext>
              </a:extLst>
            </p:cNvPr>
            <p:cNvSpPr/>
            <p:nvPr/>
          </p:nvSpPr>
          <p:spPr>
            <a:xfrm>
              <a:off x="13074626" y="1663689"/>
              <a:ext cx="539237" cy="539237"/>
            </a:xfrm>
            <a:custGeom>
              <a:avLst/>
              <a:gdLst>
                <a:gd name="connsiteX0" fmla="*/ 0 w 539237"/>
                <a:gd name="connsiteY0" fmla="*/ 222039 h 539237"/>
                <a:gd name="connsiteX1" fmla="*/ 0 w 539237"/>
                <a:gd name="connsiteY1" fmla="*/ 317198 h 539237"/>
                <a:gd name="connsiteX2" fmla="*/ 31720 w 539237"/>
                <a:gd name="connsiteY2" fmla="*/ 317198 h 539237"/>
                <a:gd name="connsiteX3" fmla="*/ 31720 w 539237"/>
                <a:gd name="connsiteY3" fmla="*/ 285479 h 539237"/>
                <a:gd name="connsiteX4" fmla="*/ 95968 w 539237"/>
                <a:gd name="connsiteY4" fmla="*/ 285479 h 539237"/>
                <a:gd name="connsiteX5" fmla="*/ 135634 w 539237"/>
                <a:gd name="connsiteY5" fmla="*/ 381177 h 539237"/>
                <a:gd name="connsiteX6" fmla="*/ 90180 w 539237"/>
                <a:gd name="connsiteY6" fmla="*/ 426632 h 539237"/>
                <a:gd name="connsiteX7" fmla="*/ 67754 w 539237"/>
                <a:gd name="connsiteY7" fmla="*/ 404206 h 539237"/>
                <a:gd name="connsiteX8" fmla="*/ 45328 w 539237"/>
                <a:gd name="connsiteY8" fmla="*/ 426632 h 539237"/>
                <a:gd name="connsiteX9" fmla="*/ 112605 w 539237"/>
                <a:gd name="connsiteY9" fmla="*/ 493926 h 539237"/>
                <a:gd name="connsiteX10" fmla="*/ 135031 w 539237"/>
                <a:gd name="connsiteY10" fmla="*/ 471500 h 539237"/>
                <a:gd name="connsiteX11" fmla="*/ 112605 w 539237"/>
                <a:gd name="connsiteY11" fmla="*/ 449058 h 539237"/>
                <a:gd name="connsiteX12" fmla="*/ 158060 w 539237"/>
                <a:gd name="connsiteY12" fmla="*/ 403603 h 539237"/>
                <a:gd name="connsiteX13" fmla="*/ 253759 w 539237"/>
                <a:gd name="connsiteY13" fmla="*/ 443269 h 539237"/>
                <a:gd name="connsiteX14" fmla="*/ 253759 w 539237"/>
                <a:gd name="connsiteY14" fmla="*/ 507518 h 539237"/>
                <a:gd name="connsiteX15" fmla="*/ 222039 w 539237"/>
                <a:gd name="connsiteY15" fmla="*/ 507518 h 539237"/>
                <a:gd name="connsiteX16" fmla="*/ 222039 w 539237"/>
                <a:gd name="connsiteY16" fmla="*/ 539237 h 539237"/>
                <a:gd name="connsiteX17" fmla="*/ 317198 w 539237"/>
                <a:gd name="connsiteY17" fmla="*/ 539237 h 539237"/>
                <a:gd name="connsiteX18" fmla="*/ 317198 w 539237"/>
                <a:gd name="connsiteY18" fmla="*/ 507518 h 539237"/>
                <a:gd name="connsiteX19" fmla="*/ 285479 w 539237"/>
                <a:gd name="connsiteY19" fmla="*/ 507518 h 539237"/>
                <a:gd name="connsiteX20" fmla="*/ 285479 w 539237"/>
                <a:gd name="connsiteY20" fmla="*/ 443269 h 539237"/>
                <a:gd name="connsiteX21" fmla="*/ 381177 w 539237"/>
                <a:gd name="connsiteY21" fmla="*/ 403603 h 539237"/>
                <a:gd name="connsiteX22" fmla="*/ 426632 w 539237"/>
                <a:gd name="connsiteY22" fmla="*/ 449058 h 539237"/>
                <a:gd name="connsiteX23" fmla="*/ 404206 w 539237"/>
                <a:gd name="connsiteY23" fmla="*/ 471484 h 539237"/>
                <a:gd name="connsiteX24" fmla="*/ 426632 w 539237"/>
                <a:gd name="connsiteY24" fmla="*/ 493910 h 539237"/>
                <a:gd name="connsiteX25" fmla="*/ 493910 w 539237"/>
                <a:gd name="connsiteY25" fmla="*/ 426616 h 539237"/>
                <a:gd name="connsiteX26" fmla="*/ 471484 w 539237"/>
                <a:gd name="connsiteY26" fmla="*/ 404190 h 539237"/>
                <a:gd name="connsiteX27" fmla="*/ 449058 w 539237"/>
                <a:gd name="connsiteY27" fmla="*/ 426616 h 539237"/>
                <a:gd name="connsiteX28" fmla="*/ 403603 w 539237"/>
                <a:gd name="connsiteY28" fmla="*/ 381162 h 539237"/>
                <a:gd name="connsiteX29" fmla="*/ 443269 w 539237"/>
                <a:gd name="connsiteY29" fmla="*/ 285463 h 539237"/>
                <a:gd name="connsiteX30" fmla="*/ 507517 w 539237"/>
                <a:gd name="connsiteY30" fmla="*/ 285463 h 539237"/>
                <a:gd name="connsiteX31" fmla="*/ 507517 w 539237"/>
                <a:gd name="connsiteY31" fmla="*/ 317183 h 539237"/>
                <a:gd name="connsiteX32" fmla="*/ 539237 w 539237"/>
                <a:gd name="connsiteY32" fmla="*/ 317183 h 539237"/>
                <a:gd name="connsiteX33" fmla="*/ 539237 w 539237"/>
                <a:gd name="connsiteY33" fmla="*/ 222023 h 539237"/>
                <a:gd name="connsiteX34" fmla="*/ 507517 w 539237"/>
                <a:gd name="connsiteY34" fmla="*/ 222023 h 539237"/>
                <a:gd name="connsiteX35" fmla="*/ 507517 w 539237"/>
                <a:gd name="connsiteY35" fmla="*/ 253743 h 539237"/>
                <a:gd name="connsiteX36" fmla="*/ 443269 w 539237"/>
                <a:gd name="connsiteY36" fmla="*/ 253743 h 539237"/>
                <a:gd name="connsiteX37" fmla="*/ 403603 w 539237"/>
                <a:gd name="connsiteY37" fmla="*/ 158044 h 539237"/>
                <a:gd name="connsiteX38" fmla="*/ 449058 w 539237"/>
                <a:gd name="connsiteY38" fmla="*/ 112590 h 539237"/>
                <a:gd name="connsiteX39" fmla="*/ 471484 w 539237"/>
                <a:gd name="connsiteY39" fmla="*/ 135016 h 539237"/>
                <a:gd name="connsiteX40" fmla="*/ 493910 w 539237"/>
                <a:gd name="connsiteY40" fmla="*/ 112590 h 539237"/>
                <a:gd name="connsiteX41" fmla="*/ 426632 w 539237"/>
                <a:gd name="connsiteY41" fmla="*/ 45296 h 539237"/>
                <a:gd name="connsiteX42" fmla="*/ 404206 w 539237"/>
                <a:gd name="connsiteY42" fmla="*/ 67722 h 539237"/>
                <a:gd name="connsiteX43" fmla="*/ 426632 w 539237"/>
                <a:gd name="connsiteY43" fmla="*/ 90180 h 539237"/>
                <a:gd name="connsiteX44" fmla="*/ 381177 w 539237"/>
                <a:gd name="connsiteY44" fmla="*/ 135634 h 539237"/>
                <a:gd name="connsiteX45" fmla="*/ 285479 w 539237"/>
                <a:gd name="connsiteY45" fmla="*/ 95968 h 539237"/>
                <a:gd name="connsiteX46" fmla="*/ 285479 w 539237"/>
                <a:gd name="connsiteY46" fmla="*/ 31720 h 539237"/>
                <a:gd name="connsiteX47" fmla="*/ 317198 w 539237"/>
                <a:gd name="connsiteY47" fmla="*/ 31720 h 539237"/>
                <a:gd name="connsiteX48" fmla="*/ 317198 w 539237"/>
                <a:gd name="connsiteY48" fmla="*/ 0 h 539237"/>
                <a:gd name="connsiteX49" fmla="*/ 222039 w 539237"/>
                <a:gd name="connsiteY49" fmla="*/ 0 h 539237"/>
                <a:gd name="connsiteX50" fmla="*/ 222039 w 539237"/>
                <a:gd name="connsiteY50" fmla="*/ 31720 h 539237"/>
                <a:gd name="connsiteX51" fmla="*/ 253759 w 539237"/>
                <a:gd name="connsiteY51" fmla="*/ 31720 h 539237"/>
                <a:gd name="connsiteX52" fmla="*/ 253759 w 539237"/>
                <a:gd name="connsiteY52" fmla="*/ 95968 h 539237"/>
                <a:gd name="connsiteX53" fmla="*/ 158060 w 539237"/>
                <a:gd name="connsiteY53" fmla="*/ 135634 h 539237"/>
                <a:gd name="connsiteX54" fmla="*/ 112605 w 539237"/>
                <a:gd name="connsiteY54" fmla="*/ 90180 h 539237"/>
                <a:gd name="connsiteX55" fmla="*/ 135031 w 539237"/>
                <a:gd name="connsiteY55" fmla="*/ 67754 h 539237"/>
                <a:gd name="connsiteX56" fmla="*/ 112605 w 539237"/>
                <a:gd name="connsiteY56" fmla="*/ 45328 h 539237"/>
                <a:gd name="connsiteX57" fmla="*/ 45328 w 539237"/>
                <a:gd name="connsiteY57" fmla="*/ 112621 h 539237"/>
                <a:gd name="connsiteX58" fmla="*/ 67754 w 539237"/>
                <a:gd name="connsiteY58" fmla="*/ 135047 h 539237"/>
                <a:gd name="connsiteX59" fmla="*/ 90180 w 539237"/>
                <a:gd name="connsiteY59" fmla="*/ 112621 h 539237"/>
                <a:gd name="connsiteX60" fmla="*/ 135634 w 539237"/>
                <a:gd name="connsiteY60" fmla="*/ 158076 h 539237"/>
                <a:gd name="connsiteX61" fmla="*/ 95968 w 539237"/>
                <a:gd name="connsiteY61" fmla="*/ 253775 h 539237"/>
                <a:gd name="connsiteX62" fmla="*/ 31720 w 539237"/>
                <a:gd name="connsiteY62" fmla="*/ 253775 h 539237"/>
                <a:gd name="connsiteX63" fmla="*/ 31720 w 539237"/>
                <a:gd name="connsiteY63" fmla="*/ 222055 h 539237"/>
                <a:gd name="connsiteX64" fmla="*/ 0 w 539237"/>
                <a:gd name="connsiteY64" fmla="*/ 222055 h 539237"/>
                <a:gd name="connsiteX65" fmla="*/ 158599 w 539237"/>
                <a:gd name="connsiteY65" fmla="*/ 348918 h 539237"/>
                <a:gd name="connsiteX66" fmla="*/ 150257 w 539237"/>
                <a:gd name="connsiteY66" fmla="*/ 347665 h 539237"/>
                <a:gd name="connsiteX67" fmla="*/ 130876 w 539237"/>
                <a:gd name="connsiteY67" fmla="*/ 302544 h 539237"/>
                <a:gd name="connsiteX68" fmla="*/ 158599 w 539237"/>
                <a:gd name="connsiteY68" fmla="*/ 285479 h 539237"/>
                <a:gd name="connsiteX69" fmla="*/ 190319 w 539237"/>
                <a:gd name="connsiteY69" fmla="*/ 317198 h 539237"/>
                <a:gd name="connsiteX70" fmla="*/ 158599 w 539237"/>
                <a:gd name="connsiteY70" fmla="*/ 348918 h 539237"/>
                <a:gd name="connsiteX71" fmla="*/ 348918 w 539237"/>
                <a:gd name="connsiteY71" fmla="*/ 380638 h 539237"/>
                <a:gd name="connsiteX72" fmla="*/ 285479 w 539237"/>
                <a:gd name="connsiteY72" fmla="*/ 317198 h 539237"/>
                <a:gd name="connsiteX73" fmla="*/ 348918 w 539237"/>
                <a:gd name="connsiteY73" fmla="*/ 253759 h 539237"/>
                <a:gd name="connsiteX74" fmla="*/ 409392 w 539237"/>
                <a:gd name="connsiteY74" fmla="*/ 298563 h 539237"/>
                <a:gd name="connsiteX75" fmla="*/ 360670 w 539237"/>
                <a:gd name="connsiteY75" fmla="*/ 379433 h 539237"/>
                <a:gd name="connsiteX76" fmla="*/ 348918 w 539237"/>
                <a:gd name="connsiteY76" fmla="*/ 380638 h 539237"/>
                <a:gd name="connsiteX77" fmla="*/ 269619 w 539237"/>
                <a:gd name="connsiteY77" fmla="*/ 126879 h 539237"/>
                <a:gd name="connsiteX78" fmla="*/ 316072 w 539237"/>
                <a:gd name="connsiteY78" fmla="*/ 134793 h 539237"/>
                <a:gd name="connsiteX79" fmla="*/ 285479 w 539237"/>
                <a:gd name="connsiteY79" fmla="*/ 158599 h 539237"/>
                <a:gd name="connsiteX80" fmla="*/ 253854 w 539237"/>
                <a:gd name="connsiteY80" fmla="*/ 127799 h 539237"/>
                <a:gd name="connsiteX81" fmla="*/ 269619 w 539237"/>
                <a:gd name="connsiteY81" fmla="*/ 126879 h 539237"/>
                <a:gd name="connsiteX82" fmla="*/ 222848 w 539237"/>
                <a:gd name="connsiteY82" fmla="*/ 134905 h 539237"/>
                <a:gd name="connsiteX83" fmla="*/ 285479 w 539237"/>
                <a:gd name="connsiteY83" fmla="*/ 190319 h 539237"/>
                <a:gd name="connsiteX84" fmla="*/ 344858 w 539237"/>
                <a:gd name="connsiteY84" fmla="*/ 148544 h 539237"/>
                <a:gd name="connsiteX85" fmla="*/ 409995 w 539237"/>
                <a:gd name="connsiteY85" fmla="*/ 244481 h 539237"/>
                <a:gd name="connsiteX86" fmla="*/ 348918 w 539237"/>
                <a:gd name="connsiteY86" fmla="*/ 222039 h 539237"/>
                <a:gd name="connsiteX87" fmla="*/ 253759 w 539237"/>
                <a:gd name="connsiteY87" fmla="*/ 317198 h 539237"/>
                <a:gd name="connsiteX88" fmla="*/ 313408 w 539237"/>
                <a:gd name="connsiteY88" fmla="*/ 405411 h 539237"/>
                <a:gd name="connsiteX89" fmla="*/ 269619 w 539237"/>
                <a:gd name="connsiteY89" fmla="*/ 412358 h 539237"/>
                <a:gd name="connsiteX90" fmla="*/ 176648 w 539237"/>
                <a:gd name="connsiteY90" fmla="*/ 377704 h 539237"/>
                <a:gd name="connsiteX91" fmla="*/ 222039 w 539237"/>
                <a:gd name="connsiteY91" fmla="*/ 317198 h 539237"/>
                <a:gd name="connsiteX92" fmla="*/ 158599 w 539237"/>
                <a:gd name="connsiteY92" fmla="*/ 253759 h 539237"/>
                <a:gd name="connsiteX93" fmla="*/ 127244 w 539237"/>
                <a:gd name="connsiteY93" fmla="*/ 262307 h 539237"/>
                <a:gd name="connsiteX94" fmla="*/ 222848 w 539237"/>
                <a:gd name="connsiteY94" fmla="*/ 134905 h 53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39237" h="539237">
                  <a:moveTo>
                    <a:pt x="0" y="222039"/>
                  </a:moveTo>
                  <a:lnTo>
                    <a:pt x="0" y="317198"/>
                  </a:lnTo>
                  <a:lnTo>
                    <a:pt x="31720" y="317198"/>
                  </a:lnTo>
                  <a:lnTo>
                    <a:pt x="31720" y="285479"/>
                  </a:lnTo>
                  <a:lnTo>
                    <a:pt x="95968" y="285479"/>
                  </a:lnTo>
                  <a:cubicBezTo>
                    <a:pt x="99251" y="321687"/>
                    <a:pt x="113589" y="354723"/>
                    <a:pt x="135634" y="381177"/>
                  </a:cubicBezTo>
                  <a:lnTo>
                    <a:pt x="90180" y="426632"/>
                  </a:lnTo>
                  <a:lnTo>
                    <a:pt x="67754" y="404206"/>
                  </a:lnTo>
                  <a:lnTo>
                    <a:pt x="45328" y="426632"/>
                  </a:lnTo>
                  <a:lnTo>
                    <a:pt x="112605" y="493926"/>
                  </a:lnTo>
                  <a:lnTo>
                    <a:pt x="135031" y="471500"/>
                  </a:lnTo>
                  <a:lnTo>
                    <a:pt x="112605" y="449058"/>
                  </a:lnTo>
                  <a:lnTo>
                    <a:pt x="158060" y="403603"/>
                  </a:lnTo>
                  <a:cubicBezTo>
                    <a:pt x="184498" y="425665"/>
                    <a:pt x="217551" y="439986"/>
                    <a:pt x="253759" y="443269"/>
                  </a:cubicBezTo>
                  <a:lnTo>
                    <a:pt x="253759" y="507518"/>
                  </a:lnTo>
                  <a:lnTo>
                    <a:pt x="222039" y="507518"/>
                  </a:lnTo>
                  <a:lnTo>
                    <a:pt x="222039" y="539237"/>
                  </a:lnTo>
                  <a:lnTo>
                    <a:pt x="317198" y="539237"/>
                  </a:lnTo>
                  <a:lnTo>
                    <a:pt x="317198" y="507518"/>
                  </a:lnTo>
                  <a:lnTo>
                    <a:pt x="285479" y="507518"/>
                  </a:lnTo>
                  <a:lnTo>
                    <a:pt x="285479" y="443269"/>
                  </a:lnTo>
                  <a:cubicBezTo>
                    <a:pt x="321687" y="439986"/>
                    <a:pt x="354723" y="425649"/>
                    <a:pt x="381177" y="403603"/>
                  </a:cubicBezTo>
                  <a:lnTo>
                    <a:pt x="426632" y="449058"/>
                  </a:lnTo>
                  <a:lnTo>
                    <a:pt x="404206" y="471484"/>
                  </a:lnTo>
                  <a:lnTo>
                    <a:pt x="426632" y="493910"/>
                  </a:lnTo>
                  <a:lnTo>
                    <a:pt x="493910" y="426616"/>
                  </a:lnTo>
                  <a:lnTo>
                    <a:pt x="471484" y="404190"/>
                  </a:lnTo>
                  <a:lnTo>
                    <a:pt x="449058" y="426616"/>
                  </a:lnTo>
                  <a:lnTo>
                    <a:pt x="403603" y="381162"/>
                  </a:lnTo>
                  <a:cubicBezTo>
                    <a:pt x="425664" y="354723"/>
                    <a:pt x="439986" y="321671"/>
                    <a:pt x="443269" y="285463"/>
                  </a:cubicBezTo>
                  <a:lnTo>
                    <a:pt x="507517" y="285463"/>
                  </a:lnTo>
                  <a:lnTo>
                    <a:pt x="507517" y="317183"/>
                  </a:lnTo>
                  <a:lnTo>
                    <a:pt x="539237" y="317183"/>
                  </a:lnTo>
                  <a:lnTo>
                    <a:pt x="539237" y="222023"/>
                  </a:lnTo>
                  <a:lnTo>
                    <a:pt x="507517" y="222023"/>
                  </a:lnTo>
                  <a:lnTo>
                    <a:pt x="507517" y="253743"/>
                  </a:lnTo>
                  <a:lnTo>
                    <a:pt x="443269" y="253743"/>
                  </a:lnTo>
                  <a:cubicBezTo>
                    <a:pt x="439986" y="217535"/>
                    <a:pt x="425649" y="184498"/>
                    <a:pt x="403603" y="158044"/>
                  </a:cubicBezTo>
                  <a:lnTo>
                    <a:pt x="449058" y="112590"/>
                  </a:lnTo>
                  <a:lnTo>
                    <a:pt x="471484" y="135016"/>
                  </a:lnTo>
                  <a:lnTo>
                    <a:pt x="493910" y="112590"/>
                  </a:lnTo>
                  <a:lnTo>
                    <a:pt x="426632" y="45296"/>
                  </a:lnTo>
                  <a:lnTo>
                    <a:pt x="404206" y="67722"/>
                  </a:lnTo>
                  <a:lnTo>
                    <a:pt x="426632" y="90180"/>
                  </a:lnTo>
                  <a:lnTo>
                    <a:pt x="381177" y="135634"/>
                  </a:lnTo>
                  <a:cubicBezTo>
                    <a:pt x="354723" y="113573"/>
                    <a:pt x="321687" y="99251"/>
                    <a:pt x="285479" y="95968"/>
                  </a:cubicBezTo>
                  <a:lnTo>
                    <a:pt x="285479" y="31720"/>
                  </a:lnTo>
                  <a:lnTo>
                    <a:pt x="317198" y="31720"/>
                  </a:lnTo>
                  <a:lnTo>
                    <a:pt x="317198" y="0"/>
                  </a:lnTo>
                  <a:lnTo>
                    <a:pt x="222039" y="0"/>
                  </a:lnTo>
                  <a:lnTo>
                    <a:pt x="222039" y="31720"/>
                  </a:lnTo>
                  <a:lnTo>
                    <a:pt x="253759" y="31720"/>
                  </a:lnTo>
                  <a:lnTo>
                    <a:pt x="253759" y="95968"/>
                  </a:lnTo>
                  <a:cubicBezTo>
                    <a:pt x="217551" y="99251"/>
                    <a:pt x="184514" y="113589"/>
                    <a:pt x="158060" y="135634"/>
                  </a:cubicBezTo>
                  <a:lnTo>
                    <a:pt x="112605" y="90180"/>
                  </a:lnTo>
                  <a:lnTo>
                    <a:pt x="135031" y="67754"/>
                  </a:lnTo>
                  <a:lnTo>
                    <a:pt x="112605" y="45328"/>
                  </a:lnTo>
                  <a:lnTo>
                    <a:pt x="45328" y="112621"/>
                  </a:lnTo>
                  <a:lnTo>
                    <a:pt x="67754" y="135047"/>
                  </a:lnTo>
                  <a:lnTo>
                    <a:pt x="90180" y="112621"/>
                  </a:lnTo>
                  <a:lnTo>
                    <a:pt x="135634" y="158076"/>
                  </a:lnTo>
                  <a:cubicBezTo>
                    <a:pt x="113573" y="184514"/>
                    <a:pt x="99251" y="217566"/>
                    <a:pt x="95968" y="253775"/>
                  </a:cubicBezTo>
                  <a:lnTo>
                    <a:pt x="31720" y="253775"/>
                  </a:lnTo>
                  <a:lnTo>
                    <a:pt x="31720" y="222055"/>
                  </a:lnTo>
                  <a:lnTo>
                    <a:pt x="0" y="222055"/>
                  </a:lnTo>
                  <a:close/>
                  <a:moveTo>
                    <a:pt x="158599" y="348918"/>
                  </a:moveTo>
                  <a:cubicBezTo>
                    <a:pt x="155729" y="348918"/>
                    <a:pt x="152969" y="348411"/>
                    <a:pt x="150257" y="347665"/>
                  </a:cubicBezTo>
                  <a:cubicBezTo>
                    <a:pt x="141328" y="334058"/>
                    <a:pt x="134730" y="318832"/>
                    <a:pt x="130876" y="302544"/>
                  </a:cubicBezTo>
                  <a:cubicBezTo>
                    <a:pt x="136316" y="292314"/>
                    <a:pt x="146815" y="285479"/>
                    <a:pt x="158599" y="285479"/>
                  </a:cubicBezTo>
                  <a:cubicBezTo>
                    <a:pt x="176093" y="285479"/>
                    <a:pt x="190319" y="299705"/>
                    <a:pt x="190319" y="317198"/>
                  </a:cubicBezTo>
                  <a:cubicBezTo>
                    <a:pt x="190319" y="334692"/>
                    <a:pt x="176093" y="348918"/>
                    <a:pt x="158599" y="348918"/>
                  </a:cubicBezTo>
                  <a:close/>
                  <a:moveTo>
                    <a:pt x="348918" y="380638"/>
                  </a:moveTo>
                  <a:cubicBezTo>
                    <a:pt x="313931" y="380638"/>
                    <a:pt x="285479" y="352185"/>
                    <a:pt x="285479" y="317198"/>
                  </a:cubicBezTo>
                  <a:cubicBezTo>
                    <a:pt x="285479" y="282211"/>
                    <a:pt x="313931" y="253759"/>
                    <a:pt x="348918" y="253759"/>
                  </a:cubicBezTo>
                  <a:cubicBezTo>
                    <a:pt x="376895" y="253759"/>
                    <a:pt x="401240" y="272077"/>
                    <a:pt x="409392" y="298563"/>
                  </a:cubicBezTo>
                  <a:cubicBezTo>
                    <a:pt x="402715" y="330822"/>
                    <a:pt x="385126" y="359116"/>
                    <a:pt x="360670" y="379433"/>
                  </a:cubicBezTo>
                  <a:cubicBezTo>
                    <a:pt x="356816" y="380162"/>
                    <a:pt x="352883" y="380638"/>
                    <a:pt x="348918" y="380638"/>
                  </a:cubicBezTo>
                  <a:close/>
                  <a:moveTo>
                    <a:pt x="269619" y="126879"/>
                  </a:moveTo>
                  <a:cubicBezTo>
                    <a:pt x="285907" y="126879"/>
                    <a:pt x="301481" y="129750"/>
                    <a:pt x="316072" y="134793"/>
                  </a:cubicBezTo>
                  <a:cubicBezTo>
                    <a:pt x="312536" y="148449"/>
                    <a:pt x="300212" y="158599"/>
                    <a:pt x="285479" y="158599"/>
                  </a:cubicBezTo>
                  <a:cubicBezTo>
                    <a:pt x="268302" y="158599"/>
                    <a:pt x="254346" y="144865"/>
                    <a:pt x="253854" y="127799"/>
                  </a:cubicBezTo>
                  <a:cubicBezTo>
                    <a:pt x="259040" y="127228"/>
                    <a:pt x="264290" y="126879"/>
                    <a:pt x="269619" y="126879"/>
                  </a:cubicBezTo>
                  <a:close/>
                  <a:moveTo>
                    <a:pt x="222848" y="134905"/>
                  </a:moveTo>
                  <a:cubicBezTo>
                    <a:pt x="226844" y="166069"/>
                    <a:pt x="253235" y="190319"/>
                    <a:pt x="285479" y="190319"/>
                  </a:cubicBezTo>
                  <a:cubicBezTo>
                    <a:pt x="312821" y="190319"/>
                    <a:pt x="335961" y="172841"/>
                    <a:pt x="344858" y="148544"/>
                  </a:cubicBezTo>
                  <a:cubicBezTo>
                    <a:pt x="378497" y="169527"/>
                    <a:pt x="402779" y="204038"/>
                    <a:pt x="409995" y="244481"/>
                  </a:cubicBezTo>
                  <a:cubicBezTo>
                    <a:pt x="393294" y="230461"/>
                    <a:pt x="371963" y="222039"/>
                    <a:pt x="348918" y="222039"/>
                  </a:cubicBezTo>
                  <a:cubicBezTo>
                    <a:pt x="296438" y="222039"/>
                    <a:pt x="253759" y="264718"/>
                    <a:pt x="253759" y="317198"/>
                  </a:cubicBezTo>
                  <a:cubicBezTo>
                    <a:pt x="253759" y="357118"/>
                    <a:pt x="278484" y="391312"/>
                    <a:pt x="313408" y="405411"/>
                  </a:cubicBezTo>
                  <a:cubicBezTo>
                    <a:pt x="299594" y="409884"/>
                    <a:pt x="284908" y="412358"/>
                    <a:pt x="269619" y="412358"/>
                  </a:cubicBezTo>
                  <a:cubicBezTo>
                    <a:pt x="234108" y="412358"/>
                    <a:pt x="201659" y="399242"/>
                    <a:pt x="176648" y="377704"/>
                  </a:cubicBezTo>
                  <a:cubicBezTo>
                    <a:pt x="202801" y="369869"/>
                    <a:pt x="222039" y="345857"/>
                    <a:pt x="222039" y="317198"/>
                  </a:cubicBezTo>
                  <a:cubicBezTo>
                    <a:pt x="222039" y="282211"/>
                    <a:pt x="193586" y="253759"/>
                    <a:pt x="158599" y="253759"/>
                  </a:cubicBezTo>
                  <a:cubicBezTo>
                    <a:pt x="147355" y="253759"/>
                    <a:pt x="136649" y="256931"/>
                    <a:pt x="127244" y="262307"/>
                  </a:cubicBezTo>
                  <a:cubicBezTo>
                    <a:pt x="130273" y="203197"/>
                    <a:pt x="169289" y="153556"/>
                    <a:pt x="222848" y="134905"/>
                  </a:cubicBezTo>
                  <a:close/>
                </a:path>
              </a:pathLst>
            </a:custGeom>
            <a:solidFill>
              <a:schemeClr val="bg1"/>
            </a:solidFill>
            <a:ln w="15824" cap="flat">
              <a:noFill/>
              <a:prstDash val="solid"/>
              <a:miter/>
            </a:ln>
          </p:spPr>
          <p:txBody>
            <a:bodyPr rtlCol="0" anchor="ctr"/>
            <a:lstStyle/>
            <a:p>
              <a:endParaRPr lang="pt-BR"/>
            </a:p>
          </p:txBody>
        </p:sp>
        <p:sp>
          <p:nvSpPr>
            <p:cNvPr id="21" name="Forma Livre: Forma 20">
              <a:extLst>
                <a:ext uri="{FF2B5EF4-FFF2-40B4-BE49-F238E27FC236}">
                  <a16:creationId xmlns:a16="http://schemas.microsoft.com/office/drawing/2014/main" id="{00B4785C-CCB1-A6C2-0224-8A5C22C37B92}"/>
                </a:ext>
              </a:extLst>
            </p:cNvPr>
            <p:cNvSpPr/>
            <p:nvPr/>
          </p:nvSpPr>
          <p:spPr>
            <a:xfrm rot="18900000">
              <a:off x="13122200" y="2176645"/>
              <a:ext cx="31719" cy="179437"/>
            </a:xfrm>
            <a:custGeom>
              <a:avLst/>
              <a:gdLst>
                <a:gd name="connsiteX0" fmla="*/ 0 w 31719"/>
                <a:gd name="connsiteY0" fmla="*/ 0 h 179437"/>
                <a:gd name="connsiteX1" fmla="*/ 31720 w 31719"/>
                <a:gd name="connsiteY1" fmla="*/ 0 h 179437"/>
                <a:gd name="connsiteX2" fmla="*/ 31720 w 31719"/>
                <a:gd name="connsiteY2" fmla="*/ 179437 h 179437"/>
                <a:gd name="connsiteX3" fmla="*/ 0 w 31719"/>
                <a:gd name="connsiteY3" fmla="*/ 179437 h 179437"/>
              </a:gdLst>
              <a:ahLst/>
              <a:cxnLst>
                <a:cxn ang="0">
                  <a:pos x="connsiteX0" y="connsiteY0"/>
                </a:cxn>
                <a:cxn ang="0">
                  <a:pos x="connsiteX1" y="connsiteY1"/>
                </a:cxn>
                <a:cxn ang="0">
                  <a:pos x="connsiteX2" y="connsiteY2"/>
                </a:cxn>
                <a:cxn ang="0">
                  <a:pos x="connsiteX3" y="connsiteY3"/>
                </a:cxn>
              </a:cxnLst>
              <a:rect l="l" t="t" r="r" b="b"/>
              <a:pathLst>
                <a:path w="31719" h="179437">
                  <a:moveTo>
                    <a:pt x="0" y="0"/>
                  </a:moveTo>
                  <a:lnTo>
                    <a:pt x="31720" y="0"/>
                  </a:lnTo>
                  <a:lnTo>
                    <a:pt x="31720" y="179437"/>
                  </a:lnTo>
                  <a:lnTo>
                    <a:pt x="0" y="179437"/>
                  </a:lnTo>
                  <a:close/>
                </a:path>
              </a:pathLst>
            </a:custGeom>
            <a:solidFill>
              <a:schemeClr val="bg1"/>
            </a:solidFill>
            <a:ln w="15824" cap="flat">
              <a:noFill/>
              <a:prstDash val="solid"/>
              <a:miter/>
            </a:ln>
          </p:spPr>
          <p:txBody>
            <a:bodyPr rtlCol="0" anchor="ctr"/>
            <a:lstStyle/>
            <a:p>
              <a:endParaRPr lang="pt-BR"/>
            </a:p>
          </p:txBody>
        </p:sp>
        <p:sp>
          <p:nvSpPr>
            <p:cNvPr id="22" name="Forma Livre: Forma 21">
              <a:extLst>
                <a:ext uri="{FF2B5EF4-FFF2-40B4-BE49-F238E27FC236}">
                  <a16:creationId xmlns:a16="http://schemas.microsoft.com/office/drawing/2014/main" id="{647D50B0-9744-F195-AF1A-0ECB0E3086FF}"/>
                </a:ext>
              </a:extLst>
            </p:cNvPr>
            <p:cNvSpPr/>
            <p:nvPr/>
          </p:nvSpPr>
          <p:spPr>
            <a:xfrm>
              <a:off x="13110993" y="2144133"/>
              <a:ext cx="466503" cy="502870"/>
            </a:xfrm>
            <a:custGeom>
              <a:avLst/>
              <a:gdLst>
                <a:gd name="connsiteX0" fmla="*/ 444078 w 466503"/>
                <a:gd name="connsiteY0" fmla="*/ 0 h 502870"/>
                <a:gd name="connsiteX1" fmla="*/ 249112 w 466503"/>
                <a:gd name="connsiteY1" fmla="*/ 194966 h 502870"/>
                <a:gd name="connsiteX2" fmla="*/ 249112 w 466503"/>
                <a:gd name="connsiteY2" fmla="*/ 280832 h 502870"/>
                <a:gd name="connsiteX3" fmla="*/ 217392 w 466503"/>
                <a:gd name="connsiteY3" fmla="*/ 280832 h 502870"/>
                <a:gd name="connsiteX4" fmla="*/ 217392 w 466503"/>
                <a:gd name="connsiteY4" fmla="*/ 194966 h 502870"/>
                <a:gd name="connsiteX5" fmla="*/ 22426 w 466503"/>
                <a:gd name="connsiteY5" fmla="*/ 0 h 502870"/>
                <a:gd name="connsiteX6" fmla="*/ 0 w 466503"/>
                <a:gd name="connsiteY6" fmla="*/ 22426 h 502870"/>
                <a:gd name="connsiteX7" fmla="*/ 185672 w 466503"/>
                <a:gd name="connsiteY7" fmla="*/ 208098 h 502870"/>
                <a:gd name="connsiteX8" fmla="*/ 185672 w 466503"/>
                <a:gd name="connsiteY8" fmla="*/ 502871 h 502870"/>
                <a:gd name="connsiteX9" fmla="*/ 217392 w 466503"/>
                <a:gd name="connsiteY9" fmla="*/ 502871 h 502870"/>
                <a:gd name="connsiteX10" fmla="*/ 217392 w 466503"/>
                <a:gd name="connsiteY10" fmla="*/ 375991 h 502870"/>
                <a:gd name="connsiteX11" fmla="*/ 249112 w 466503"/>
                <a:gd name="connsiteY11" fmla="*/ 375991 h 502870"/>
                <a:gd name="connsiteX12" fmla="*/ 249112 w 466503"/>
                <a:gd name="connsiteY12" fmla="*/ 502871 h 502870"/>
                <a:gd name="connsiteX13" fmla="*/ 280832 w 466503"/>
                <a:gd name="connsiteY13" fmla="*/ 502871 h 502870"/>
                <a:gd name="connsiteX14" fmla="*/ 280832 w 466503"/>
                <a:gd name="connsiteY14" fmla="*/ 208098 h 502870"/>
                <a:gd name="connsiteX15" fmla="*/ 466504 w 466503"/>
                <a:gd name="connsiteY15" fmla="*/ 22426 h 502870"/>
                <a:gd name="connsiteX16" fmla="*/ 444078 w 466503"/>
                <a:gd name="connsiteY16" fmla="*/ 0 h 502870"/>
                <a:gd name="connsiteX17" fmla="*/ 217392 w 466503"/>
                <a:gd name="connsiteY17" fmla="*/ 344271 h 502870"/>
                <a:gd name="connsiteX18" fmla="*/ 217392 w 466503"/>
                <a:gd name="connsiteY18" fmla="*/ 312552 h 502870"/>
                <a:gd name="connsiteX19" fmla="*/ 249112 w 466503"/>
                <a:gd name="connsiteY19" fmla="*/ 312552 h 502870"/>
                <a:gd name="connsiteX20" fmla="*/ 249112 w 466503"/>
                <a:gd name="connsiteY20" fmla="*/ 344271 h 502870"/>
                <a:gd name="connsiteX21" fmla="*/ 217392 w 466503"/>
                <a:gd name="connsiteY21" fmla="*/ 344271 h 5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6503" h="502870">
                  <a:moveTo>
                    <a:pt x="444078" y="0"/>
                  </a:moveTo>
                  <a:lnTo>
                    <a:pt x="249112" y="194966"/>
                  </a:lnTo>
                  <a:lnTo>
                    <a:pt x="249112" y="280832"/>
                  </a:lnTo>
                  <a:lnTo>
                    <a:pt x="217392" y="280832"/>
                  </a:lnTo>
                  <a:lnTo>
                    <a:pt x="217392" y="194966"/>
                  </a:lnTo>
                  <a:lnTo>
                    <a:pt x="22426" y="0"/>
                  </a:lnTo>
                  <a:lnTo>
                    <a:pt x="0" y="22426"/>
                  </a:lnTo>
                  <a:lnTo>
                    <a:pt x="185672" y="208098"/>
                  </a:lnTo>
                  <a:lnTo>
                    <a:pt x="185672" y="502871"/>
                  </a:lnTo>
                  <a:lnTo>
                    <a:pt x="217392" y="502871"/>
                  </a:lnTo>
                  <a:lnTo>
                    <a:pt x="217392" y="375991"/>
                  </a:lnTo>
                  <a:lnTo>
                    <a:pt x="249112" y="375991"/>
                  </a:lnTo>
                  <a:lnTo>
                    <a:pt x="249112" y="502871"/>
                  </a:lnTo>
                  <a:lnTo>
                    <a:pt x="280832" y="502871"/>
                  </a:lnTo>
                  <a:lnTo>
                    <a:pt x="280832" y="208098"/>
                  </a:lnTo>
                  <a:lnTo>
                    <a:pt x="466504" y="22426"/>
                  </a:lnTo>
                  <a:lnTo>
                    <a:pt x="444078" y="0"/>
                  </a:lnTo>
                  <a:close/>
                  <a:moveTo>
                    <a:pt x="217392" y="344271"/>
                  </a:moveTo>
                  <a:lnTo>
                    <a:pt x="217392" y="312552"/>
                  </a:lnTo>
                  <a:lnTo>
                    <a:pt x="249112" y="312552"/>
                  </a:lnTo>
                  <a:lnTo>
                    <a:pt x="249112" y="344271"/>
                  </a:lnTo>
                  <a:lnTo>
                    <a:pt x="217392" y="344271"/>
                  </a:lnTo>
                  <a:close/>
                </a:path>
              </a:pathLst>
            </a:custGeom>
            <a:solidFill>
              <a:schemeClr val="bg1"/>
            </a:solidFill>
            <a:ln w="15824" cap="flat">
              <a:noFill/>
              <a:prstDash val="solid"/>
              <a:miter/>
            </a:ln>
          </p:spPr>
          <p:txBody>
            <a:bodyPr rtlCol="0" anchor="ctr"/>
            <a:lstStyle/>
            <a:p>
              <a:endParaRPr lang="pt-BR"/>
            </a:p>
          </p:txBody>
        </p:sp>
        <p:sp>
          <p:nvSpPr>
            <p:cNvPr id="23" name="Forma Livre: Forma 22">
              <a:extLst>
                <a:ext uri="{FF2B5EF4-FFF2-40B4-BE49-F238E27FC236}">
                  <a16:creationId xmlns:a16="http://schemas.microsoft.com/office/drawing/2014/main" id="{4769427E-E5CB-AED5-6E2C-3767641CA6DE}"/>
                </a:ext>
              </a:extLst>
            </p:cNvPr>
            <p:cNvSpPr/>
            <p:nvPr/>
          </p:nvSpPr>
          <p:spPr>
            <a:xfrm rot="18900000">
              <a:off x="13460696" y="2250506"/>
              <a:ext cx="179437" cy="31719"/>
            </a:xfrm>
            <a:custGeom>
              <a:avLst/>
              <a:gdLst>
                <a:gd name="connsiteX0" fmla="*/ 0 w 179437"/>
                <a:gd name="connsiteY0" fmla="*/ 0 h 31719"/>
                <a:gd name="connsiteX1" fmla="*/ 179437 w 179437"/>
                <a:gd name="connsiteY1" fmla="*/ 0 h 31719"/>
                <a:gd name="connsiteX2" fmla="*/ 179437 w 179437"/>
                <a:gd name="connsiteY2" fmla="*/ 31720 h 31719"/>
                <a:gd name="connsiteX3" fmla="*/ 0 w 179437"/>
                <a:gd name="connsiteY3" fmla="*/ 31720 h 31719"/>
              </a:gdLst>
              <a:ahLst/>
              <a:cxnLst>
                <a:cxn ang="0">
                  <a:pos x="connsiteX0" y="connsiteY0"/>
                </a:cxn>
                <a:cxn ang="0">
                  <a:pos x="connsiteX1" y="connsiteY1"/>
                </a:cxn>
                <a:cxn ang="0">
                  <a:pos x="connsiteX2" y="connsiteY2"/>
                </a:cxn>
                <a:cxn ang="0">
                  <a:pos x="connsiteX3" y="connsiteY3"/>
                </a:cxn>
              </a:cxnLst>
              <a:rect l="l" t="t" r="r" b="b"/>
              <a:pathLst>
                <a:path w="179437" h="31719">
                  <a:moveTo>
                    <a:pt x="0" y="0"/>
                  </a:moveTo>
                  <a:lnTo>
                    <a:pt x="179437" y="0"/>
                  </a:lnTo>
                  <a:lnTo>
                    <a:pt x="179437" y="31720"/>
                  </a:lnTo>
                  <a:lnTo>
                    <a:pt x="0" y="31720"/>
                  </a:lnTo>
                  <a:close/>
                </a:path>
              </a:pathLst>
            </a:custGeom>
            <a:solidFill>
              <a:schemeClr val="bg1"/>
            </a:solidFill>
            <a:ln w="15824" cap="flat">
              <a:noFill/>
              <a:prstDash val="solid"/>
              <a:miter/>
            </a:ln>
          </p:spPr>
          <p:txBody>
            <a:bodyPr rtlCol="0" anchor="ctr"/>
            <a:lstStyle/>
            <a:p>
              <a:endParaRPr lang="pt-BR"/>
            </a:p>
          </p:txBody>
        </p:sp>
        <p:sp>
          <p:nvSpPr>
            <p:cNvPr id="24" name="Forma Livre: Forma 23">
              <a:extLst>
                <a:ext uri="{FF2B5EF4-FFF2-40B4-BE49-F238E27FC236}">
                  <a16:creationId xmlns:a16="http://schemas.microsoft.com/office/drawing/2014/main" id="{E9CC3948-55AF-D445-869C-F526A3B66987}"/>
                </a:ext>
              </a:extLst>
            </p:cNvPr>
            <p:cNvSpPr/>
            <p:nvPr/>
          </p:nvSpPr>
          <p:spPr>
            <a:xfrm>
              <a:off x="12852588" y="1949167"/>
              <a:ext cx="222038" cy="222038"/>
            </a:xfrm>
            <a:custGeom>
              <a:avLst/>
              <a:gdLst>
                <a:gd name="connsiteX0" fmla="*/ 44931 w 222038"/>
                <a:gd name="connsiteY0" fmla="*/ 154682 h 222038"/>
                <a:gd name="connsiteX1" fmla="*/ 20507 w 222038"/>
                <a:gd name="connsiteY1" fmla="*/ 179106 h 222038"/>
                <a:gd name="connsiteX2" fmla="*/ 42933 w 222038"/>
                <a:gd name="connsiteY2" fmla="*/ 201532 h 222038"/>
                <a:gd name="connsiteX3" fmla="*/ 67357 w 222038"/>
                <a:gd name="connsiteY3" fmla="*/ 177108 h 222038"/>
                <a:gd name="connsiteX4" fmla="*/ 95160 w 222038"/>
                <a:gd name="connsiteY4" fmla="*/ 188717 h 222038"/>
                <a:gd name="connsiteX5" fmla="*/ 95160 w 222038"/>
                <a:gd name="connsiteY5" fmla="*/ 222039 h 222038"/>
                <a:gd name="connsiteX6" fmla="*/ 126879 w 222038"/>
                <a:gd name="connsiteY6" fmla="*/ 222039 h 222038"/>
                <a:gd name="connsiteX7" fmla="*/ 126879 w 222038"/>
                <a:gd name="connsiteY7" fmla="*/ 188717 h 222038"/>
                <a:gd name="connsiteX8" fmla="*/ 154682 w 222038"/>
                <a:gd name="connsiteY8" fmla="*/ 177108 h 222038"/>
                <a:gd name="connsiteX9" fmla="*/ 179106 w 222038"/>
                <a:gd name="connsiteY9" fmla="*/ 201532 h 222038"/>
                <a:gd name="connsiteX10" fmla="*/ 201532 w 222038"/>
                <a:gd name="connsiteY10" fmla="*/ 179106 h 222038"/>
                <a:gd name="connsiteX11" fmla="*/ 177108 w 222038"/>
                <a:gd name="connsiteY11" fmla="*/ 154682 h 222038"/>
                <a:gd name="connsiteX12" fmla="*/ 188717 w 222038"/>
                <a:gd name="connsiteY12" fmla="*/ 126879 h 222038"/>
                <a:gd name="connsiteX13" fmla="*/ 222039 w 222038"/>
                <a:gd name="connsiteY13" fmla="*/ 126879 h 222038"/>
                <a:gd name="connsiteX14" fmla="*/ 222039 w 222038"/>
                <a:gd name="connsiteY14" fmla="*/ 95160 h 222038"/>
                <a:gd name="connsiteX15" fmla="*/ 188717 w 222038"/>
                <a:gd name="connsiteY15" fmla="*/ 95160 h 222038"/>
                <a:gd name="connsiteX16" fmla="*/ 177108 w 222038"/>
                <a:gd name="connsiteY16" fmla="*/ 67357 h 222038"/>
                <a:gd name="connsiteX17" fmla="*/ 201532 w 222038"/>
                <a:gd name="connsiteY17" fmla="*/ 42933 h 222038"/>
                <a:gd name="connsiteX18" fmla="*/ 179106 w 222038"/>
                <a:gd name="connsiteY18" fmla="*/ 20507 h 222038"/>
                <a:gd name="connsiteX19" fmla="*/ 154682 w 222038"/>
                <a:gd name="connsiteY19" fmla="*/ 44931 h 222038"/>
                <a:gd name="connsiteX20" fmla="*/ 126879 w 222038"/>
                <a:gd name="connsiteY20" fmla="*/ 33322 h 222038"/>
                <a:gd name="connsiteX21" fmla="*/ 126879 w 222038"/>
                <a:gd name="connsiteY21" fmla="*/ 0 h 222038"/>
                <a:gd name="connsiteX22" fmla="*/ 95160 w 222038"/>
                <a:gd name="connsiteY22" fmla="*/ 0 h 222038"/>
                <a:gd name="connsiteX23" fmla="*/ 95160 w 222038"/>
                <a:gd name="connsiteY23" fmla="*/ 33322 h 222038"/>
                <a:gd name="connsiteX24" fmla="*/ 67357 w 222038"/>
                <a:gd name="connsiteY24" fmla="*/ 44931 h 222038"/>
                <a:gd name="connsiteX25" fmla="*/ 42933 w 222038"/>
                <a:gd name="connsiteY25" fmla="*/ 20507 h 222038"/>
                <a:gd name="connsiteX26" fmla="*/ 20507 w 222038"/>
                <a:gd name="connsiteY26" fmla="*/ 42933 h 222038"/>
                <a:gd name="connsiteX27" fmla="*/ 44931 w 222038"/>
                <a:gd name="connsiteY27" fmla="*/ 67357 h 222038"/>
                <a:gd name="connsiteX28" fmla="*/ 33322 w 222038"/>
                <a:gd name="connsiteY28" fmla="*/ 95160 h 222038"/>
                <a:gd name="connsiteX29" fmla="*/ 0 w 222038"/>
                <a:gd name="connsiteY29" fmla="*/ 95160 h 222038"/>
                <a:gd name="connsiteX30" fmla="*/ 0 w 222038"/>
                <a:gd name="connsiteY30" fmla="*/ 126879 h 222038"/>
                <a:gd name="connsiteX31" fmla="*/ 33322 w 222038"/>
                <a:gd name="connsiteY31" fmla="*/ 126879 h 222038"/>
                <a:gd name="connsiteX32" fmla="*/ 44931 w 222038"/>
                <a:gd name="connsiteY32" fmla="*/ 154682 h 222038"/>
                <a:gd name="connsiteX33" fmla="*/ 111019 w 222038"/>
                <a:gd name="connsiteY33" fmla="*/ 63440 h 222038"/>
                <a:gd name="connsiteX34" fmla="*/ 158599 w 222038"/>
                <a:gd name="connsiteY34" fmla="*/ 111019 h 222038"/>
                <a:gd name="connsiteX35" fmla="*/ 111019 w 222038"/>
                <a:gd name="connsiteY35" fmla="*/ 158599 h 222038"/>
                <a:gd name="connsiteX36" fmla="*/ 63440 w 222038"/>
                <a:gd name="connsiteY36" fmla="*/ 111019 h 222038"/>
                <a:gd name="connsiteX37" fmla="*/ 111019 w 222038"/>
                <a:gd name="connsiteY37" fmla="*/ 63440 h 2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038" h="222038">
                  <a:moveTo>
                    <a:pt x="44931" y="154682"/>
                  </a:moveTo>
                  <a:lnTo>
                    <a:pt x="20507" y="179106"/>
                  </a:lnTo>
                  <a:lnTo>
                    <a:pt x="42933" y="201532"/>
                  </a:lnTo>
                  <a:lnTo>
                    <a:pt x="67357" y="177108"/>
                  </a:lnTo>
                  <a:cubicBezTo>
                    <a:pt x="75684" y="182627"/>
                    <a:pt x="85057" y="186655"/>
                    <a:pt x="95160" y="188717"/>
                  </a:cubicBezTo>
                  <a:lnTo>
                    <a:pt x="95160" y="222039"/>
                  </a:lnTo>
                  <a:lnTo>
                    <a:pt x="126879" y="222039"/>
                  </a:lnTo>
                  <a:lnTo>
                    <a:pt x="126879" y="188717"/>
                  </a:lnTo>
                  <a:cubicBezTo>
                    <a:pt x="136982" y="186655"/>
                    <a:pt x="146355" y="182627"/>
                    <a:pt x="154682" y="177108"/>
                  </a:cubicBezTo>
                  <a:lnTo>
                    <a:pt x="179106" y="201532"/>
                  </a:lnTo>
                  <a:lnTo>
                    <a:pt x="201532" y="179106"/>
                  </a:lnTo>
                  <a:lnTo>
                    <a:pt x="177108" y="154682"/>
                  </a:lnTo>
                  <a:cubicBezTo>
                    <a:pt x="182627" y="146355"/>
                    <a:pt x="186655" y="136982"/>
                    <a:pt x="188717" y="126879"/>
                  </a:cubicBezTo>
                  <a:lnTo>
                    <a:pt x="222039" y="126879"/>
                  </a:lnTo>
                  <a:lnTo>
                    <a:pt x="222039" y="95160"/>
                  </a:lnTo>
                  <a:lnTo>
                    <a:pt x="188717" y="95160"/>
                  </a:lnTo>
                  <a:cubicBezTo>
                    <a:pt x="186655" y="85057"/>
                    <a:pt x="182627" y="75668"/>
                    <a:pt x="177108" y="67357"/>
                  </a:cubicBezTo>
                  <a:lnTo>
                    <a:pt x="201532" y="42933"/>
                  </a:lnTo>
                  <a:lnTo>
                    <a:pt x="179106" y="20507"/>
                  </a:lnTo>
                  <a:lnTo>
                    <a:pt x="154682" y="44931"/>
                  </a:lnTo>
                  <a:cubicBezTo>
                    <a:pt x="146355" y="39412"/>
                    <a:pt x="136982" y="35384"/>
                    <a:pt x="126879" y="33322"/>
                  </a:cubicBezTo>
                  <a:lnTo>
                    <a:pt x="126879" y="0"/>
                  </a:lnTo>
                  <a:lnTo>
                    <a:pt x="95160" y="0"/>
                  </a:lnTo>
                  <a:lnTo>
                    <a:pt x="95160" y="33322"/>
                  </a:lnTo>
                  <a:cubicBezTo>
                    <a:pt x="85057" y="35384"/>
                    <a:pt x="75684" y="39412"/>
                    <a:pt x="67357" y="44931"/>
                  </a:cubicBezTo>
                  <a:lnTo>
                    <a:pt x="42933" y="20507"/>
                  </a:lnTo>
                  <a:lnTo>
                    <a:pt x="20507" y="42933"/>
                  </a:lnTo>
                  <a:lnTo>
                    <a:pt x="44931" y="67357"/>
                  </a:lnTo>
                  <a:cubicBezTo>
                    <a:pt x="39412" y="75668"/>
                    <a:pt x="35383" y="85057"/>
                    <a:pt x="33322" y="95160"/>
                  </a:cubicBezTo>
                  <a:lnTo>
                    <a:pt x="0" y="95160"/>
                  </a:lnTo>
                  <a:lnTo>
                    <a:pt x="0" y="126879"/>
                  </a:lnTo>
                  <a:lnTo>
                    <a:pt x="33322" y="126879"/>
                  </a:lnTo>
                  <a:cubicBezTo>
                    <a:pt x="35383" y="136982"/>
                    <a:pt x="39412" y="146371"/>
                    <a:pt x="44931" y="154682"/>
                  </a:cubicBezTo>
                  <a:close/>
                  <a:moveTo>
                    <a:pt x="111019" y="63440"/>
                  </a:moveTo>
                  <a:cubicBezTo>
                    <a:pt x="137252" y="63440"/>
                    <a:pt x="158599" y="84787"/>
                    <a:pt x="158599" y="111019"/>
                  </a:cubicBezTo>
                  <a:cubicBezTo>
                    <a:pt x="158599" y="137252"/>
                    <a:pt x="137252" y="158599"/>
                    <a:pt x="111019" y="158599"/>
                  </a:cubicBezTo>
                  <a:cubicBezTo>
                    <a:pt x="84787" y="158599"/>
                    <a:pt x="63440" y="137252"/>
                    <a:pt x="63440" y="111019"/>
                  </a:cubicBezTo>
                  <a:cubicBezTo>
                    <a:pt x="63440" y="84787"/>
                    <a:pt x="84787" y="63440"/>
                    <a:pt x="111019" y="63440"/>
                  </a:cubicBezTo>
                  <a:close/>
                </a:path>
              </a:pathLst>
            </a:custGeom>
            <a:solidFill>
              <a:schemeClr val="bg1"/>
            </a:solidFill>
            <a:ln w="15824" cap="flat">
              <a:noFill/>
              <a:prstDash val="solid"/>
              <a:miter/>
            </a:ln>
          </p:spPr>
          <p:txBody>
            <a:bodyPr rtlCol="0" anchor="ctr"/>
            <a:lstStyle/>
            <a:p>
              <a:endParaRPr lang="pt-BR"/>
            </a:p>
          </p:txBody>
        </p:sp>
        <p:sp>
          <p:nvSpPr>
            <p:cNvPr id="25" name="Forma Livre: Forma 24">
              <a:extLst>
                <a:ext uri="{FF2B5EF4-FFF2-40B4-BE49-F238E27FC236}">
                  <a16:creationId xmlns:a16="http://schemas.microsoft.com/office/drawing/2014/main" id="{78C917A5-84B9-DE65-CCFB-B7B128395E65}"/>
                </a:ext>
              </a:extLst>
            </p:cNvPr>
            <p:cNvSpPr/>
            <p:nvPr/>
          </p:nvSpPr>
          <p:spPr>
            <a:xfrm>
              <a:off x="13613864" y="1949167"/>
              <a:ext cx="222038" cy="222038"/>
            </a:xfrm>
            <a:custGeom>
              <a:avLst/>
              <a:gdLst>
                <a:gd name="connsiteX0" fmla="*/ 188717 w 222038"/>
                <a:gd name="connsiteY0" fmla="*/ 95160 h 222038"/>
                <a:gd name="connsiteX1" fmla="*/ 177108 w 222038"/>
                <a:gd name="connsiteY1" fmla="*/ 67357 h 222038"/>
                <a:gd name="connsiteX2" fmla="*/ 201532 w 222038"/>
                <a:gd name="connsiteY2" fmla="*/ 42933 h 222038"/>
                <a:gd name="connsiteX3" fmla="*/ 179106 w 222038"/>
                <a:gd name="connsiteY3" fmla="*/ 20507 h 222038"/>
                <a:gd name="connsiteX4" fmla="*/ 154682 w 222038"/>
                <a:gd name="connsiteY4" fmla="*/ 44931 h 222038"/>
                <a:gd name="connsiteX5" fmla="*/ 126879 w 222038"/>
                <a:gd name="connsiteY5" fmla="*/ 33322 h 222038"/>
                <a:gd name="connsiteX6" fmla="*/ 126879 w 222038"/>
                <a:gd name="connsiteY6" fmla="*/ 0 h 222038"/>
                <a:gd name="connsiteX7" fmla="*/ 95160 w 222038"/>
                <a:gd name="connsiteY7" fmla="*/ 0 h 222038"/>
                <a:gd name="connsiteX8" fmla="*/ 95160 w 222038"/>
                <a:gd name="connsiteY8" fmla="*/ 33322 h 222038"/>
                <a:gd name="connsiteX9" fmla="*/ 67357 w 222038"/>
                <a:gd name="connsiteY9" fmla="*/ 44931 h 222038"/>
                <a:gd name="connsiteX10" fmla="*/ 42933 w 222038"/>
                <a:gd name="connsiteY10" fmla="*/ 20507 h 222038"/>
                <a:gd name="connsiteX11" fmla="*/ 20507 w 222038"/>
                <a:gd name="connsiteY11" fmla="*/ 42933 h 222038"/>
                <a:gd name="connsiteX12" fmla="*/ 44931 w 222038"/>
                <a:gd name="connsiteY12" fmla="*/ 67357 h 222038"/>
                <a:gd name="connsiteX13" fmla="*/ 33322 w 222038"/>
                <a:gd name="connsiteY13" fmla="*/ 95160 h 222038"/>
                <a:gd name="connsiteX14" fmla="*/ 0 w 222038"/>
                <a:gd name="connsiteY14" fmla="*/ 95160 h 222038"/>
                <a:gd name="connsiteX15" fmla="*/ 0 w 222038"/>
                <a:gd name="connsiteY15" fmla="*/ 126879 h 222038"/>
                <a:gd name="connsiteX16" fmla="*/ 33322 w 222038"/>
                <a:gd name="connsiteY16" fmla="*/ 126879 h 222038"/>
                <a:gd name="connsiteX17" fmla="*/ 44931 w 222038"/>
                <a:gd name="connsiteY17" fmla="*/ 154682 h 222038"/>
                <a:gd name="connsiteX18" fmla="*/ 20507 w 222038"/>
                <a:gd name="connsiteY18" fmla="*/ 179106 h 222038"/>
                <a:gd name="connsiteX19" fmla="*/ 42933 w 222038"/>
                <a:gd name="connsiteY19" fmla="*/ 201532 h 222038"/>
                <a:gd name="connsiteX20" fmla="*/ 67357 w 222038"/>
                <a:gd name="connsiteY20" fmla="*/ 177108 h 222038"/>
                <a:gd name="connsiteX21" fmla="*/ 95160 w 222038"/>
                <a:gd name="connsiteY21" fmla="*/ 188717 h 222038"/>
                <a:gd name="connsiteX22" fmla="*/ 95160 w 222038"/>
                <a:gd name="connsiteY22" fmla="*/ 222039 h 222038"/>
                <a:gd name="connsiteX23" fmla="*/ 126879 w 222038"/>
                <a:gd name="connsiteY23" fmla="*/ 222039 h 222038"/>
                <a:gd name="connsiteX24" fmla="*/ 126879 w 222038"/>
                <a:gd name="connsiteY24" fmla="*/ 188717 h 222038"/>
                <a:gd name="connsiteX25" fmla="*/ 154682 w 222038"/>
                <a:gd name="connsiteY25" fmla="*/ 177108 h 222038"/>
                <a:gd name="connsiteX26" fmla="*/ 179106 w 222038"/>
                <a:gd name="connsiteY26" fmla="*/ 201532 h 222038"/>
                <a:gd name="connsiteX27" fmla="*/ 201532 w 222038"/>
                <a:gd name="connsiteY27" fmla="*/ 179106 h 222038"/>
                <a:gd name="connsiteX28" fmla="*/ 177108 w 222038"/>
                <a:gd name="connsiteY28" fmla="*/ 154682 h 222038"/>
                <a:gd name="connsiteX29" fmla="*/ 188717 w 222038"/>
                <a:gd name="connsiteY29" fmla="*/ 126879 h 222038"/>
                <a:gd name="connsiteX30" fmla="*/ 222039 w 222038"/>
                <a:gd name="connsiteY30" fmla="*/ 126879 h 222038"/>
                <a:gd name="connsiteX31" fmla="*/ 222039 w 222038"/>
                <a:gd name="connsiteY31" fmla="*/ 95160 h 222038"/>
                <a:gd name="connsiteX32" fmla="*/ 188717 w 222038"/>
                <a:gd name="connsiteY32" fmla="*/ 95160 h 222038"/>
                <a:gd name="connsiteX33" fmla="*/ 111019 w 222038"/>
                <a:gd name="connsiteY33" fmla="*/ 158599 h 222038"/>
                <a:gd name="connsiteX34" fmla="*/ 63440 w 222038"/>
                <a:gd name="connsiteY34" fmla="*/ 111019 h 222038"/>
                <a:gd name="connsiteX35" fmla="*/ 111019 w 222038"/>
                <a:gd name="connsiteY35" fmla="*/ 63440 h 222038"/>
                <a:gd name="connsiteX36" fmla="*/ 158599 w 222038"/>
                <a:gd name="connsiteY36" fmla="*/ 111019 h 222038"/>
                <a:gd name="connsiteX37" fmla="*/ 111019 w 222038"/>
                <a:gd name="connsiteY37" fmla="*/ 158599 h 2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038" h="222038">
                  <a:moveTo>
                    <a:pt x="188717" y="95160"/>
                  </a:moveTo>
                  <a:cubicBezTo>
                    <a:pt x="186655" y="85057"/>
                    <a:pt x="182627" y="75668"/>
                    <a:pt x="177108" y="67357"/>
                  </a:cubicBezTo>
                  <a:lnTo>
                    <a:pt x="201532" y="42933"/>
                  </a:lnTo>
                  <a:lnTo>
                    <a:pt x="179106" y="20507"/>
                  </a:lnTo>
                  <a:lnTo>
                    <a:pt x="154682" y="44931"/>
                  </a:lnTo>
                  <a:cubicBezTo>
                    <a:pt x="146371" y="39412"/>
                    <a:pt x="136982" y="35384"/>
                    <a:pt x="126879" y="33322"/>
                  </a:cubicBezTo>
                  <a:lnTo>
                    <a:pt x="126879" y="0"/>
                  </a:lnTo>
                  <a:lnTo>
                    <a:pt x="95160" y="0"/>
                  </a:lnTo>
                  <a:lnTo>
                    <a:pt x="95160" y="33322"/>
                  </a:lnTo>
                  <a:cubicBezTo>
                    <a:pt x="85057" y="35384"/>
                    <a:pt x="75684" y="39412"/>
                    <a:pt x="67357" y="44931"/>
                  </a:cubicBezTo>
                  <a:lnTo>
                    <a:pt x="42933" y="20507"/>
                  </a:lnTo>
                  <a:lnTo>
                    <a:pt x="20507" y="42933"/>
                  </a:lnTo>
                  <a:lnTo>
                    <a:pt x="44931" y="67357"/>
                  </a:lnTo>
                  <a:cubicBezTo>
                    <a:pt x="39412" y="75684"/>
                    <a:pt x="35383" y="85057"/>
                    <a:pt x="33322" y="95160"/>
                  </a:cubicBezTo>
                  <a:lnTo>
                    <a:pt x="0" y="95160"/>
                  </a:lnTo>
                  <a:lnTo>
                    <a:pt x="0" y="126879"/>
                  </a:lnTo>
                  <a:lnTo>
                    <a:pt x="33322" y="126879"/>
                  </a:lnTo>
                  <a:cubicBezTo>
                    <a:pt x="35383" y="136982"/>
                    <a:pt x="39412" y="146371"/>
                    <a:pt x="44931" y="154682"/>
                  </a:cubicBezTo>
                  <a:lnTo>
                    <a:pt x="20507" y="179106"/>
                  </a:lnTo>
                  <a:lnTo>
                    <a:pt x="42933" y="201532"/>
                  </a:lnTo>
                  <a:lnTo>
                    <a:pt x="67357" y="177108"/>
                  </a:lnTo>
                  <a:cubicBezTo>
                    <a:pt x="75668" y="182627"/>
                    <a:pt x="85057" y="186655"/>
                    <a:pt x="95160" y="188717"/>
                  </a:cubicBezTo>
                  <a:lnTo>
                    <a:pt x="95160" y="222039"/>
                  </a:lnTo>
                  <a:lnTo>
                    <a:pt x="126879" y="222039"/>
                  </a:lnTo>
                  <a:lnTo>
                    <a:pt x="126879" y="188717"/>
                  </a:lnTo>
                  <a:cubicBezTo>
                    <a:pt x="136982" y="186655"/>
                    <a:pt x="146355" y="182627"/>
                    <a:pt x="154682" y="177108"/>
                  </a:cubicBezTo>
                  <a:lnTo>
                    <a:pt x="179106" y="201532"/>
                  </a:lnTo>
                  <a:lnTo>
                    <a:pt x="201532" y="179106"/>
                  </a:lnTo>
                  <a:lnTo>
                    <a:pt x="177108" y="154682"/>
                  </a:lnTo>
                  <a:cubicBezTo>
                    <a:pt x="182627" y="146355"/>
                    <a:pt x="186655" y="136982"/>
                    <a:pt x="188717" y="126879"/>
                  </a:cubicBezTo>
                  <a:lnTo>
                    <a:pt x="222039" y="126879"/>
                  </a:lnTo>
                  <a:lnTo>
                    <a:pt x="222039" y="95160"/>
                  </a:lnTo>
                  <a:lnTo>
                    <a:pt x="188717" y="95160"/>
                  </a:lnTo>
                  <a:close/>
                  <a:moveTo>
                    <a:pt x="111019" y="158599"/>
                  </a:moveTo>
                  <a:cubicBezTo>
                    <a:pt x="84787" y="158599"/>
                    <a:pt x="63440" y="137252"/>
                    <a:pt x="63440" y="111019"/>
                  </a:cubicBezTo>
                  <a:cubicBezTo>
                    <a:pt x="63440" y="84787"/>
                    <a:pt x="84787" y="63440"/>
                    <a:pt x="111019" y="63440"/>
                  </a:cubicBezTo>
                  <a:cubicBezTo>
                    <a:pt x="137252" y="63440"/>
                    <a:pt x="158599" y="84787"/>
                    <a:pt x="158599" y="111019"/>
                  </a:cubicBezTo>
                  <a:cubicBezTo>
                    <a:pt x="158599" y="137252"/>
                    <a:pt x="137252" y="158599"/>
                    <a:pt x="111019" y="158599"/>
                  </a:cubicBezTo>
                  <a:close/>
                </a:path>
              </a:pathLst>
            </a:custGeom>
            <a:solidFill>
              <a:schemeClr val="accent2"/>
            </a:solidFill>
            <a:ln w="15824" cap="flat">
              <a:noFill/>
              <a:prstDash val="solid"/>
              <a:miter/>
            </a:ln>
          </p:spPr>
          <p:txBody>
            <a:bodyPr rtlCol="0" anchor="ctr"/>
            <a:lstStyle/>
            <a:p>
              <a:endParaRPr lang="pt-BR"/>
            </a:p>
          </p:txBody>
        </p:sp>
        <p:sp>
          <p:nvSpPr>
            <p:cNvPr id="26" name="Forma Livre: Forma 25">
              <a:extLst>
                <a:ext uri="{FF2B5EF4-FFF2-40B4-BE49-F238E27FC236}">
                  <a16:creationId xmlns:a16="http://schemas.microsoft.com/office/drawing/2014/main" id="{93896D99-10AB-CABC-2CF8-163FDEED9D0D}"/>
                </a:ext>
              </a:extLst>
            </p:cNvPr>
            <p:cNvSpPr/>
            <p:nvPr/>
          </p:nvSpPr>
          <p:spPr>
            <a:xfrm>
              <a:off x="12979467" y="1663689"/>
              <a:ext cx="95159" cy="95159"/>
            </a:xfrm>
            <a:custGeom>
              <a:avLst/>
              <a:gdLst>
                <a:gd name="connsiteX0" fmla="*/ 47580 w 95159"/>
                <a:gd name="connsiteY0" fmla="*/ 95160 h 95159"/>
                <a:gd name="connsiteX1" fmla="*/ 95160 w 95159"/>
                <a:gd name="connsiteY1" fmla="*/ 47580 h 95159"/>
                <a:gd name="connsiteX2" fmla="*/ 47580 w 95159"/>
                <a:gd name="connsiteY2" fmla="*/ 0 h 95159"/>
                <a:gd name="connsiteX3" fmla="*/ 0 w 95159"/>
                <a:gd name="connsiteY3" fmla="*/ 47580 h 95159"/>
                <a:gd name="connsiteX4" fmla="*/ 47580 w 95159"/>
                <a:gd name="connsiteY4" fmla="*/ 95160 h 95159"/>
                <a:gd name="connsiteX5" fmla="*/ 47580 w 95159"/>
                <a:gd name="connsiteY5" fmla="*/ 31720 h 95159"/>
                <a:gd name="connsiteX6" fmla="*/ 63440 w 95159"/>
                <a:gd name="connsiteY6" fmla="*/ 47580 h 95159"/>
                <a:gd name="connsiteX7" fmla="*/ 47580 w 95159"/>
                <a:gd name="connsiteY7" fmla="*/ 63440 h 95159"/>
                <a:gd name="connsiteX8" fmla="*/ 31720 w 95159"/>
                <a:gd name="connsiteY8" fmla="*/ 47580 h 95159"/>
                <a:gd name="connsiteX9" fmla="*/ 47580 w 95159"/>
                <a:gd name="connsiteY9" fmla="*/ 31720 h 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159" h="95159">
                  <a:moveTo>
                    <a:pt x="47580" y="95160"/>
                  </a:moveTo>
                  <a:cubicBezTo>
                    <a:pt x="73812" y="95160"/>
                    <a:pt x="95160" y="73812"/>
                    <a:pt x="95160" y="47580"/>
                  </a:cubicBezTo>
                  <a:cubicBezTo>
                    <a:pt x="95160" y="21347"/>
                    <a:pt x="73812" y="0"/>
                    <a:pt x="47580" y="0"/>
                  </a:cubicBezTo>
                  <a:cubicBezTo>
                    <a:pt x="21347" y="0"/>
                    <a:pt x="0" y="21347"/>
                    <a:pt x="0" y="47580"/>
                  </a:cubicBezTo>
                  <a:cubicBezTo>
                    <a:pt x="0" y="73812"/>
                    <a:pt x="21347" y="95160"/>
                    <a:pt x="47580" y="95160"/>
                  </a:cubicBezTo>
                  <a:close/>
                  <a:moveTo>
                    <a:pt x="47580" y="31720"/>
                  </a:moveTo>
                  <a:cubicBezTo>
                    <a:pt x="56334" y="31720"/>
                    <a:pt x="63440" y="38841"/>
                    <a:pt x="63440" y="47580"/>
                  </a:cubicBezTo>
                  <a:cubicBezTo>
                    <a:pt x="63440" y="56319"/>
                    <a:pt x="56334" y="63440"/>
                    <a:pt x="47580" y="63440"/>
                  </a:cubicBezTo>
                  <a:cubicBezTo>
                    <a:pt x="38825" y="63440"/>
                    <a:pt x="31720" y="56319"/>
                    <a:pt x="31720" y="47580"/>
                  </a:cubicBezTo>
                  <a:cubicBezTo>
                    <a:pt x="31720" y="38841"/>
                    <a:pt x="38825" y="31720"/>
                    <a:pt x="47580" y="31720"/>
                  </a:cubicBezTo>
                  <a:close/>
                </a:path>
              </a:pathLst>
            </a:custGeom>
            <a:solidFill>
              <a:schemeClr val="bg1"/>
            </a:solidFill>
            <a:ln w="15824" cap="flat">
              <a:noFill/>
              <a:prstDash val="solid"/>
              <a:miter/>
            </a:ln>
          </p:spPr>
          <p:txBody>
            <a:bodyPr rtlCol="0" anchor="ctr"/>
            <a:lstStyle/>
            <a:p>
              <a:endParaRPr lang="pt-BR"/>
            </a:p>
          </p:txBody>
        </p:sp>
        <p:sp>
          <p:nvSpPr>
            <p:cNvPr id="27" name="Forma Livre: Forma 26">
              <a:extLst>
                <a:ext uri="{FF2B5EF4-FFF2-40B4-BE49-F238E27FC236}">
                  <a16:creationId xmlns:a16="http://schemas.microsoft.com/office/drawing/2014/main" id="{9606A279-1099-FD2F-621F-BABB7EA00EF8}"/>
                </a:ext>
              </a:extLst>
            </p:cNvPr>
            <p:cNvSpPr/>
            <p:nvPr/>
          </p:nvSpPr>
          <p:spPr>
            <a:xfrm>
              <a:off x="13613864" y="1663689"/>
              <a:ext cx="95159" cy="95159"/>
            </a:xfrm>
            <a:custGeom>
              <a:avLst/>
              <a:gdLst>
                <a:gd name="connsiteX0" fmla="*/ 47580 w 95159"/>
                <a:gd name="connsiteY0" fmla="*/ 95160 h 95159"/>
                <a:gd name="connsiteX1" fmla="*/ 95160 w 95159"/>
                <a:gd name="connsiteY1" fmla="*/ 47580 h 95159"/>
                <a:gd name="connsiteX2" fmla="*/ 47580 w 95159"/>
                <a:gd name="connsiteY2" fmla="*/ 0 h 95159"/>
                <a:gd name="connsiteX3" fmla="*/ 0 w 95159"/>
                <a:gd name="connsiteY3" fmla="*/ 47580 h 95159"/>
                <a:gd name="connsiteX4" fmla="*/ 47580 w 95159"/>
                <a:gd name="connsiteY4" fmla="*/ 95160 h 95159"/>
                <a:gd name="connsiteX5" fmla="*/ 47580 w 95159"/>
                <a:gd name="connsiteY5" fmla="*/ 31720 h 95159"/>
                <a:gd name="connsiteX6" fmla="*/ 63440 w 95159"/>
                <a:gd name="connsiteY6" fmla="*/ 47580 h 95159"/>
                <a:gd name="connsiteX7" fmla="*/ 47580 w 95159"/>
                <a:gd name="connsiteY7" fmla="*/ 63440 h 95159"/>
                <a:gd name="connsiteX8" fmla="*/ 31720 w 95159"/>
                <a:gd name="connsiteY8" fmla="*/ 47580 h 95159"/>
                <a:gd name="connsiteX9" fmla="*/ 47580 w 95159"/>
                <a:gd name="connsiteY9" fmla="*/ 31720 h 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159" h="95159">
                  <a:moveTo>
                    <a:pt x="47580" y="95160"/>
                  </a:moveTo>
                  <a:cubicBezTo>
                    <a:pt x="73812" y="95160"/>
                    <a:pt x="95160" y="73812"/>
                    <a:pt x="95160" y="47580"/>
                  </a:cubicBezTo>
                  <a:cubicBezTo>
                    <a:pt x="95160" y="21347"/>
                    <a:pt x="73812" y="0"/>
                    <a:pt x="47580" y="0"/>
                  </a:cubicBezTo>
                  <a:cubicBezTo>
                    <a:pt x="21347" y="0"/>
                    <a:pt x="0" y="21347"/>
                    <a:pt x="0" y="47580"/>
                  </a:cubicBezTo>
                  <a:cubicBezTo>
                    <a:pt x="0" y="73812"/>
                    <a:pt x="21347" y="95160"/>
                    <a:pt x="47580" y="95160"/>
                  </a:cubicBezTo>
                  <a:close/>
                  <a:moveTo>
                    <a:pt x="47580" y="31720"/>
                  </a:moveTo>
                  <a:cubicBezTo>
                    <a:pt x="56334" y="31720"/>
                    <a:pt x="63440" y="38841"/>
                    <a:pt x="63440" y="47580"/>
                  </a:cubicBezTo>
                  <a:cubicBezTo>
                    <a:pt x="63440" y="56319"/>
                    <a:pt x="56334" y="63440"/>
                    <a:pt x="47580" y="63440"/>
                  </a:cubicBezTo>
                  <a:cubicBezTo>
                    <a:pt x="38825" y="63440"/>
                    <a:pt x="31720" y="56319"/>
                    <a:pt x="31720" y="47580"/>
                  </a:cubicBezTo>
                  <a:cubicBezTo>
                    <a:pt x="31720" y="38841"/>
                    <a:pt x="38825" y="31720"/>
                    <a:pt x="47580" y="31720"/>
                  </a:cubicBezTo>
                  <a:close/>
                </a:path>
              </a:pathLst>
            </a:custGeom>
            <a:solidFill>
              <a:schemeClr val="bg1"/>
            </a:solidFill>
            <a:ln w="15824" cap="flat">
              <a:noFill/>
              <a:prstDash val="solid"/>
              <a:miter/>
            </a:ln>
          </p:spPr>
          <p:txBody>
            <a:bodyPr rtlCol="0" anchor="ctr"/>
            <a:lstStyle/>
            <a:p>
              <a:endParaRPr lang="pt-BR"/>
            </a:p>
          </p:txBody>
        </p:sp>
        <p:sp>
          <p:nvSpPr>
            <p:cNvPr id="28" name="Forma Livre: Forma 27">
              <a:extLst>
                <a:ext uri="{FF2B5EF4-FFF2-40B4-BE49-F238E27FC236}">
                  <a16:creationId xmlns:a16="http://schemas.microsoft.com/office/drawing/2014/main" id="{9BE9482B-ACB3-3D21-44C4-BFB6F4445FAE}"/>
                </a:ext>
              </a:extLst>
            </p:cNvPr>
            <p:cNvSpPr/>
            <p:nvPr/>
          </p:nvSpPr>
          <p:spPr>
            <a:xfrm>
              <a:off x="12947747" y="2488405"/>
              <a:ext cx="158599" cy="158599"/>
            </a:xfrm>
            <a:custGeom>
              <a:avLst/>
              <a:gdLst>
                <a:gd name="connsiteX0" fmla="*/ 122106 w 158599"/>
                <a:gd name="connsiteY0" fmla="*/ 58920 h 158599"/>
                <a:gd name="connsiteX1" fmla="*/ 138092 w 158599"/>
                <a:gd name="connsiteY1" fmla="*/ 42933 h 158599"/>
                <a:gd name="connsiteX2" fmla="*/ 115666 w 158599"/>
                <a:gd name="connsiteY2" fmla="*/ 20507 h 158599"/>
                <a:gd name="connsiteX3" fmla="*/ 99680 w 158599"/>
                <a:gd name="connsiteY3" fmla="*/ 36494 h 158599"/>
                <a:gd name="connsiteX4" fmla="*/ 95160 w 158599"/>
                <a:gd name="connsiteY4" fmla="*/ 34654 h 158599"/>
                <a:gd name="connsiteX5" fmla="*/ 95160 w 158599"/>
                <a:gd name="connsiteY5" fmla="*/ 0 h 158599"/>
                <a:gd name="connsiteX6" fmla="*/ 63440 w 158599"/>
                <a:gd name="connsiteY6" fmla="*/ 0 h 158599"/>
                <a:gd name="connsiteX7" fmla="*/ 63440 w 158599"/>
                <a:gd name="connsiteY7" fmla="*/ 34638 h 158599"/>
                <a:gd name="connsiteX8" fmla="*/ 58920 w 158599"/>
                <a:gd name="connsiteY8" fmla="*/ 36478 h 158599"/>
                <a:gd name="connsiteX9" fmla="*/ 42933 w 158599"/>
                <a:gd name="connsiteY9" fmla="*/ 20491 h 158599"/>
                <a:gd name="connsiteX10" fmla="*/ 20507 w 158599"/>
                <a:gd name="connsiteY10" fmla="*/ 42917 h 158599"/>
                <a:gd name="connsiteX11" fmla="*/ 36494 w 158599"/>
                <a:gd name="connsiteY11" fmla="*/ 58904 h 158599"/>
                <a:gd name="connsiteX12" fmla="*/ 34638 w 158599"/>
                <a:gd name="connsiteY12" fmla="*/ 63440 h 158599"/>
                <a:gd name="connsiteX13" fmla="*/ 0 w 158599"/>
                <a:gd name="connsiteY13" fmla="*/ 63440 h 158599"/>
                <a:gd name="connsiteX14" fmla="*/ 0 w 158599"/>
                <a:gd name="connsiteY14" fmla="*/ 95160 h 158599"/>
                <a:gd name="connsiteX15" fmla="*/ 34638 w 158599"/>
                <a:gd name="connsiteY15" fmla="*/ 95160 h 158599"/>
                <a:gd name="connsiteX16" fmla="*/ 36478 w 158599"/>
                <a:gd name="connsiteY16" fmla="*/ 99680 h 158599"/>
                <a:gd name="connsiteX17" fmla="*/ 20491 w 158599"/>
                <a:gd name="connsiteY17" fmla="*/ 115666 h 158599"/>
                <a:gd name="connsiteX18" fmla="*/ 42917 w 158599"/>
                <a:gd name="connsiteY18" fmla="*/ 138092 h 158599"/>
                <a:gd name="connsiteX19" fmla="*/ 58904 w 158599"/>
                <a:gd name="connsiteY19" fmla="*/ 122106 h 158599"/>
                <a:gd name="connsiteX20" fmla="*/ 63424 w 158599"/>
                <a:gd name="connsiteY20" fmla="*/ 123945 h 158599"/>
                <a:gd name="connsiteX21" fmla="*/ 63424 w 158599"/>
                <a:gd name="connsiteY21" fmla="*/ 158599 h 158599"/>
                <a:gd name="connsiteX22" fmla="*/ 95144 w 158599"/>
                <a:gd name="connsiteY22" fmla="*/ 158599 h 158599"/>
                <a:gd name="connsiteX23" fmla="*/ 95144 w 158599"/>
                <a:gd name="connsiteY23" fmla="*/ 123961 h 158599"/>
                <a:gd name="connsiteX24" fmla="*/ 99664 w 158599"/>
                <a:gd name="connsiteY24" fmla="*/ 122121 h 158599"/>
                <a:gd name="connsiteX25" fmla="*/ 115651 w 158599"/>
                <a:gd name="connsiteY25" fmla="*/ 138108 h 158599"/>
                <a:gd name="connsiteX26" fmla="*/ 138076 w 158599"/>
                <a:gd name="connsiteY26" fmla="*/ 115682 h 158599"/>
                <a:gd name="connsiteX27" fmla="*/ 122090 w 158599"/>
                <a:gd name="connsiteY27" fmla="*/ 99695 h 158599"/>
                <a:gd name="connsiteX28" fmla="*/ 123929 w 158599"/>
                <a:gd name="connsiteY28" fmla="*/ 95175 h 158599"/>
                <a:gd name="connsiteX29" fmla="*/ 158599 w 158599"/>
                <a:gd name="connsiteY29" fmla="*/ 95175 h 158599"/>
                <a:gd name="connsiteX30" fmla="*/ 158599 w 158599"/>
                <a:gd name="connsiteY30" fmla="*/ 63456 h 158599"/>
                <a:gd name="connsiteX31" fmla="*/ 123961 w 158599"/>
                <a:gd name="connsiteY31" fmla="*/ 63456 h 158599"/>
                <a:gd name="connsiteX32" fmla="*/ 122106 w 158599"/>
                <a:gd name="connsiteY32" fmla="*/ 58920 h 158599"/>
                <a:gd name="connsiteX33" fmla="*/ 95160 w 158599"/>
                <a:gd name="connsiteY33" fmla="*/ 79300 h 158599"/>
                <a:gd name="connsiteX34" fmla="*/ 79300 w 158599"/>
                <a:gd name="connsiteY34" fmla="*/ 95160 h 158599"/>
                <a:gd name="connsiteX35" fmla="*/ 63440 w 158599"/>
                <a:gd name="connsiteY35" fmla="*/ 79300 h 158599"/>
                <a:gd name="connsiteX36" fmla="*/ 79300 w 158599"/>
                <a:gd name="connsiteY36" fmla="*/ 63440 h 158599"/>
                <a:gd name="connsiteX37" fmla="*/ 95160 w 158599"/>
                <a:gd name="connsiteY37" fmla="*/ 79300 h 15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599" h="158599">
                  <a:moveTo>
                    <a:pt x="122106" y="58920"/>
                  </a:moveTo>
                  <a:lnTo>
                    <a:pt x="138092" y="42933"/>
                  </a:lnTo>
                  <a:lnTo>
                    <a:pt x="115666" y="20507"/>
                  </a:lnTo>
                  <a:lnTo>
                    <a:pt x="99680" y="36494"/>
                  </a:lnTo>
                  <a:cubicBezTo>
                    <a:pt x="98205" y="35796"/>
                    <a:pt x="96698" y="35193"/>
                    <a:pt x="95160" y="34654"/>
                  </a:cubicBezTo>
                  <a:lnTo>
                    <a:pt x="95160" y="0"/>
                  </a:lnTo>
                  <a:lnTo>
                    <a:pt x="63440" y="0"/>
                  </a:lnTo>
                  <a:lnTo>
                    <a:pt x="63440" y="34638"/>
                  </a:lnTo>
                  <a:cubicBezTo>
                    <a:pt x="61885" y="35193"/>
                    <a:pt x="60379" y="35780"/>
                    <a:pt x="58920" y="36478"/>
                  </a:cubicBezTo>
                  <a:lnTo>
                    <a:pt x="42933" y="20491"/>
                  </a:lnTo>
                  <a:lnTo>
                    <a:pt x="20507" y="42917"/>
                  </a:lnTo>
                  <a:lnTo>
                    <a:pt x="36494" y="58904"/>
                  </a:lnTo>
                  <a:cubicBezTo>
                    <a:pt x="35780" y="60379"/>
                    <a:pt x="35193" y="61885"/>
                    <a:pt x="34638" y="63440"/>
                  </a:cubicBezTo>
                  <a:lnTo>
                    <a:pt x="0" y="63440"/>
                  </a:lnTo>
                  <a:lnTo>
                    <a:pt x="0" y="95160"/>
                  </a:lnTo>
                  <a:lnTo>
                    <a:pt x="34638" y="95160"/>
                  </a:lnTo>
                  <a:cubicBezTo>
                    <a:pt x="35193" y="96714"/>
                    <a:pt x="35780" y="98221"/>
                    <a:pt x="36478" y="99680"/>
                  </a:cubicBezTo>
                  <a:lnTo>
                    <a:pt x="20491" y="115666"/>
                  </a:lnTo>
                  <a:lnTo>
                    <a:pt x="42917" y="138092"/>
                  </a:lnTo>
                  <a:lnTo>
                    <a:pt x="58904" y="122106"/>
                  </a:lnTo>
                  <a:cubicBezTo>
                    <a:pt x="60379" y="122803"/>
                    <a:pt x="61885" y="123390"/>
                    <a:pt x="63424" y="123945"/>
                  </a:cubicBezTo>
                  <a:lnTo>
                    <a:pt x="63424" y="158599"/>
                  </a:lnTo>
                  <a:lnTo>
                    <a:pt x="95144" y="158599"/>
                  </a:lnTo>
                  <a:lnTo>
                    <a:pt x="95144" y="123961"/>
                  </a:lnTo>
                  <a:cubicBezTo>
                    <a:pt x="96698" y="123406"/>
                    <a:pt x="98205" y="122819"/>
                    <a:pt x="99664" y="122121"/>
                  </a:cubicBezTo>
                  <a:lnTo>
                    <a:pt x="115651" y="138108"/>
                  </a:lnTo>
                  <a:lnTo>
                    <a:pt x="138076" y="115682"/>
                  </a:lnTo>
                  <a:lnTo>
                    <a:pt x="122090" y="99695"/>
                  </a:lnTo>
                  <a:cubicBezTo>
                    <a:pt x="122787" y="98221"/>
                    <a:pt x="123390" y="96714"/>
                    <a:pt x="123929" y="95175"/>
                  </a:cubicBezTo>
                  <a:lnTo>
                    <a:pt x="158599" y="95175"/>
                  </a:lnTo>
                  <a:lnTo>
                    <a:pt x="158599" y="63456"/>
                  </a:lnTo>
                  <a:lnTo>
                    <a:pt x="123961" y="63456"/>
                  </a:lnTo>
                  <a:cubicBezTo>
                    <a:pt x="123406" y="61885"/>
                    <a:pt x="122819" y="60379"/>
                    <a:pt x="122106" y="58920"/>
                  </a:cubicBezTo>
                  <a:close/>
                  <a:moveTo>
                    <a:pt x="95160" y="79300"/>
                  </a:moveTo>
                  <a:cubicBezTo>
                    <a:pt x="95160" y="88038"/>
                    <a:pt x="88054" y="95160"/>
                    <a:pt x="79300" y="95160"/>
                  </a:cubicBezTo>
                  <a:cubicBezTo>
                    <a:pt x="70545" y="95160"/>
                    <a:pt x="63440" y="88038"/>
                    <a:pt x="63440" y="79300"/>
                  </a:cubicBezTo>
                  <a:cubicBezTo>
                    <a:pt x="63440" y="70561"/>
                    <a:pt x="70545" y="63440"/>
                    <a:pt x="79300" y="63440"/>
                  </a:cubicBezTo>
                  <a:cubicBezTo>
                    <a:pt x="88054" y="63440"/>
                    <a:pt x="95160" y="70561"/>
                    <a:pt x="95160" y="79300"/>
                  </a:cubicBezTo>
                  <a:close/>
                </a:path>
              </a:pathLst>
            </a:custGeom>
            <a:solidFill>
              <a:schemeClr val="accent2"/>
            </a:solidFill>
            <a:ln w="15824" cap="flat">
              <a:noFill/>
              <a:prstDash val="solid"/>
              <a:miter/>
            </a:ln>
          </p:spPr>
          <p:txBody>
            <a:bodyPr rtlCol="0" anchor="ctr"/>
            <a:lstStyle/>
            <a:p>
              <a:endParaRPr lang="pt-BR"/>
            </a:p>
          </p:txBody>
        </p:sp>
        <p:sp>
          <p:nvSpPr>
            <p:cNvPr id="29" name="Forma Livre: Forma 28">
              <a:extLst>
                <a:ext uri="{FF2B5EF4-FFF2-40B4-BE49-F238E27FC236}">
                  <a16:creationId xmlns:a16="http://schemas.microsoft.com/office/drawing/2014/main" id="{E3EFC6DF-8FDF-E6B9-B2DE-E09B1CC88C67}"/>
                </a:ext>
              </a:extLst>
            </p:cNvPr>
            <p:cNvSpPr/>
            <p:nvPr/>
          </p:nvSpPr>
          <p:spPr>
            <a:xfrm rot="18900000">
              <a:off x="12855307" y="2424955"/>
              <a:ext cx="89718" cy="31719"/>
            </a:xfrm>
            <a:custGeom>
              <a:avLst/>
              <a:gdLst>
                <a:gd name="connsiteX0" fmla="*/ 0 w 89718"/>
                <a:gd name="connsiteY0" fmla="*/ 0 h 31719"/>
                <a:gd name="connsiteX1" fmla="*/ 89719 w 89718"/>
                <a:gd name="connsiteY1" fmla="*/ 0 h 31719"/>
                <a:gd name="connsiteX2" fmla="*/ 89719 w 89718"/>
                <a:gd name="connsiteY2" fmla="*/ 31720 h 31719"/>
                <a:gd name="connsiteX3" fmla="*/ 0 w 89718"/>
                <a:gd name="connsiteY3" fmla="*/ 31720 h 31719"/>
              </a:gdLst>
              <a:ahLst/>
              <a:cxnLst>
                <a:cxn ang="0">
                  <a:pos x="connsiteX0" y="connsiteY0"/>
                </a:cxn>
                <a:cxn ang="0">
                  <a:pos x="connsiteX1" y="connsiteY1"/>
                </a:cxn>
                <a:cxn ang="0">
                  <a:pos x="connsiteX2" y="connsiteY2"/>
                </a:cxn>
                <a:cxn ang="0">
                  <a:pos x="connsiteX3" y="connsiteY3"/>
                </a:cxn>
              </a:cxnLst>
              <a:rect l="l" t="t" r="r" b="b"/>
              <a:pathLst>
                <a:path w="89718" h="31719">
                  <a:moveTo>
                    <a:pt x="0" y="0"/>
                  </a:moveTo>
                  <a:lnTo>
                    <a:pt x="89719" y="0"/>
                  </a:lnTo>
                  <a:lnTo>
                    <a:pt x="89719" y="31720"/>
                  </a:lnTo>
                  <a:lnTo>
                    <a:pt x="0" y="31720"/>
                  </a:lnTo>
                  <a:close/>
                </a:path>
              </a:pathLst>
            </a:custGeom>
            <a:solidFill>
              <a:schemeClr val="bg1"/>
            </a:solidFill>
            <a:ln w="15824" cap="flat">
              <a:noFill/>
              <a:prstDash val="solid"/>
              <a:miter/>
            </a:ln>
          </p:spPr>
          <p:txBody>
            <a:bodyPr rtlCol="0" anchor="ctr"/>
            <a:lstStyle/>
            <a:p>
              <a:endParaRPr lang="pt-BR"/>
            </a:p>
          </p:txBody>
        </p:sp>
        <p:sp>
          <p:nvSpPr>
            <p:cNvPr id="30" name="Forma Livre: Forma 29">
              <a:extLst>
                <a:ext uri="{FF2B5EF4-FFF2-40B4-BE49-F238E27FC236}">
                  <a16:creationId xmlns:a16="http://schemas.microsoft.com/office/drawing/2014/main" id="{EF4A1731-57B3-8078-60CA-6F6D7B6CB048}"/>
                </a:ext>
              </a:extLst>
            </p:cNvPr>
            <p:cNvSpPr/>
            <p:nvPr/>
          </p:nvSpPr>
          <p:spPr>
            <a:xfrm>
              <a:off x="12904814" y="2266366"/>
              <a:ext cx="244464" cy="264971"/>
            </a:xfrm>
            <a:custGeom>
              <a:avLst/>
              <a:gdLst>
                <a:gd name="connsiteX0" fmla="*/ 169812 w 244464"/>
                <a:gd name="connsiteY0" fmla="*/ 0 h 264971"/>
                <a:gd name="connsiteX1" fmla="*/ 138092 w 244464"/>
                <a:gd name="connsiteY1" fmla="*/ 0 h 264971"/>
                <a:gd name="connsiteX2" fmla="*/ 138092 w 244464"/>
                <a:gd name="connsiteY2" fmla="*/ 95160 h 264971"/>
                <a:gd name="connsiteX3" fmla="*/ 106372 w 244464"/>
                <a:gd name="connsiteY3" fmla="*/ 95160 h 264971"/>
                <a:gd name="connsiteX4" fmla="*/ 106372 w 244464"/>
                <a:gd name="connsiteY4" fmla="*/ 0 h 264971"/>
                <a:gd name="connsiteX5" fmla="*/ 74653 w 244464"/>
                <a:gd name="connsiteY5" fmla="*/ 0 h 264971"/>
                <a:gd name="connsiteX6" fmla="*/ 74653 w 244464"/>
                <a:gd name="connsiteY6" fmla="*/ 167893 h 264971"/>
                <a:gd name="connsiteX7" fmla="*/ 0 w 244464"/>
                <a:gd name="connsiteY7" fmla="*/ 242546 h 264971"/>
                <a:gd name="connsiteX8" fmla="*/ 22426 w 244464"/>
                <a:gd name="connsiteY8" fmla="*/ 264972 h 264971"/>
                <a:gd name="connsiteX9" fmla="*/ 106372 w 244464"/>
                <a:gd name="connsiteY9" fmla="*/ 181025 h 264971"/>
                <a:gd name="connsiteX10" fmla="*/ 106372 w 244464"/>
                <a:gd name="connsiteY10" fmla="*/ 126879 h 264971"/>
                <a:gd name="connsiteX11" fmla="*/ 138092 w 244464"/>
                <a:gd name="connsiteY11" fmla="*/ 126879 h 264971"/>
                <a:gd name="connsiteX12" fmla="*/ 138092 w 244464"/>
                <a:gd name="connsiteY12" fmla="*/ 181025 h 264971"/>
                <a:gd name="connsiteX13" fmla="*/ 222039 w 244464"/>
                <a:gd name="connsiteY13" fmla="*/ 264972 h 264971"/>
                <a:gd name="connsiteX14" fmla="*/ 244465 w 244464"/>
                <a:gd name="connsiteY14" fmla="*/ 242546 h 264971"/>
                <a:gd name="connsiteX15" fmla="*/ 169812 w 244464"/>
                <a:gd name="connsiteY15" fmla="*/ 167893 h 26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64" h="264971">
                  <a:moveTo>
                    <a:pt x="169812" y="0"/>
                  </a:moveTo>
                  <a:lnTo>
                    <a:pt x="138092" y="0"/>
                  </a:lnTo>
                  <a:lnTo>
                    <a:pt x="138092" y="95160"/>
                  </a:lnTo>
                  <a:lnTo>
                    <a:pt x="106372" y="95160"/>
                  </a:lnTo>
                  <a:lnTo>
                    <a:pt x="106372" y="0"/>
                  </a:lnTo>
                  <a:lnTo>
                    <a:pt x="74653" y="0"/>
                  </a:lnTo>
                  <a:lnTo>
                    <a:pt x="74653" y="167893"/>
                  </a:lnTo>
                  <a:lnTo>
                    <a:pt x="0" y="242546"/>
                  </a:lnTo>
                  <a:lnTo>
                    <a:pt x="22426" y="264972"/>
                  </a:lnTo>
                  <a:lnTo>
                    <a:pt x="106372" y="181025"/>
                  </a:lnTo>
                  <a:lnTo>
                    <a:pt x="106372" y="126879"/>
                  </a:lnTo>
                  <a:lnTo>
                    <a:pt x="138092" y="126879"/>
                  </a:lnTo>
                  <a:lnTo>
                    <a:pt x="138092" y="181025"/>
                  </a:lnTo>
                  <a:lnTo>
                    <a:pt x="222039" y="264972"/>
                  </a:lnTo>
                  <a:lnTo>
                    <a:pt x="244465" y="242546"/>
                  </a:lnTo>
                  <a:lnTo>
                    <a:pt x="169812" y="167893"/>
                  </a:lnTo>
                  <a:close/>
                </a:path>
              </a:pathLst>
            </a:custGeom>
            <a:solidFill>
              <a:schemeClr val="bg1"/>
            </a:solidFill>
            <a:ln w="15824" cap="flat">
              <a:noFill/>
              <a:prstDash val="solid"/>
              <a:miter/>
            </a:ln>
          </p:spPr>
          <p:txBody>
            <a:bodyPr rtlCol="0" anchor="ctr"/>
            <a:lstStyle/>
            <a:p>
              <a:endParaRPr lang="pt-BR"/>
            </a:p>
          </p:txBody>
        </p:sp>
        <p:sp>
          <p:nvSpPr>
            <p:cNvPr id="31" name="Forma Livre: Forma 30">
              <a:extLst>
                <a:ext uri="{FF2B5EF4-FFF2-40B4-BE49-F238E27FC236}">
                  <a16:creationId xmlns:a16="http://schemas.microsoft.com/office/drawing/2014/main" id="{37E5EE73-4646-542E-8DF8-00B9C4B6A773}"/>
                </a:ext>
              </a:extLst>
            </p:cNvPr>
            <p:cNvSpPr/>
            <p:nvPr/>
          </p:nvSpPr>
          <p:spPr>
            <a:xfrm rot="18900000">
              <a:off x="13138064" y="2395968"/>
              <a:ext cx="31719" cy="89718"/>
            </a:xfrm>
            <a:custGeom>
              <a:avLst/>
              <a:gdLst>
                <a:gd name="connsiteX0" fmla="*/ 0 w 31719"/>
                <a:gd name="connsiteY0" fmla="*/ 0 h 89718"/>
                <a:gd name="connsiteX1" fmla="*/ 31720 w 31719"/>
                <a:gd name="connsiteY1" fmla="*/ 0 h 89718"/>
                <a:gd name="connsiteX2" fmla="*/ 31720 w 31719"/>
                <a:gd name="connsiteY2" fmla="*/ 89719 h 89718"/>
                <a:gd name="connsiteX3" fmla="*/ 0 w 31719"/>
                <a:gd name="connsiteY3" fmla="*/ 89719 h 89718"/>
              </a:gdLst>
              <a:ahLst/>
              <a:cxnLst>
                <a:cxn ang="0">
                  <a:pos x="connsiteX0" y="connsiteY0"/>
                </a:cxn>
                <a:cxn ang="0">
                  <a:pos x="connsiteX1" y="connsiteY1"/>
                </a:cxn>
                <a:cxn ang="0">
                  <a:pos x="connsiteX2" y="connsiteY2"/>
                </a:cxn>
                <a:cxn ang="0">
                  <a:pos x="connsiteX3" y="connsiteY3"/>
                </a:cxn>
              </a:cxnLst>
              <a:rect l="l" t="t" r="r" b="b"/>
              <a:pathLst>
                <a:path w="31719" h="89718">
                  <a:moveTo>
                    <a:pt x="0" y="0"/>
                  </a:moveTo>
                  <a:lnTo>
                    <a:pt x="31720" y="0"/>
                  </a:lnTo>
                  <a:lnTo>
                    <a:pt x="31720" y="89719"/>
                  </a:lnTo>
                  <a:lnTo>
                    <a:pt x="0" y="89719"/>
                  </a:lnTo>
                  <a:close/>
                </a:path>
              </a:pathLst>
            </a:custGeom>
            <a:solidFill>
              <a:schemeClr val="bg1"/>
            </a:solidFill>
            <a:ln w="15824" cap="flat">
              <a:noFill/>
              <a:prstDash val="solid"/>
              <a:miter/>
            </a:ln>
          </p:spPr>
          <p:txBody>
            <a:bodyPr rtlCol="0" anchor="ctr"/>
            <a:lstStyle/>
            <a:p>
              <a:endParaRPr lang="pt-BR"/>
            </a:p>
          </p:txBody>
        </p:sp>
        <p:sp>
          <p:nvSpPr>
            <p:cNvPr id="32" name="Forma Livre: Forma 31">
              <a:extLst>
                <a:ext uri="{FF2B5EF4-FFF2-40B4-BE49-F238E27FC236}">
                  <a16:creationId xmlns:a16="http://schemas.microsoft.com/office/drawing/2014/main" id="{4005DD92-8D38-A5ED-E29E-879DA7494DB0}"/>
                </a:ext>
              </a:extLst>
            </p:cNvPr>
            <p:cNvSpPr/>
            <p:nvPr/>
          </p:nvSpPr>
          <p:spPr>
            <a:xfrm>
              <a:off x="13582144" y="2488405"/>
              <a:ext cx="158599" cy="158599"/>
            </a:xfrm>
            <a:custGeom>
              <a:avLst/>
              <a:gdLst>
                <a:gd name="connsiteX0" fmla="*/ 122106 w 158599"/>
                <a:gd name="connsiteY0" fmla="*/ 58920 h 158599"/>
                <a:gd name="connsiteX1" fmla="*/ 138092 w 158599"/>
                <a:gd name="connsiteY1" fmla="*/ 42933 h 158599"/>
                <a:gd name="connsiteX2" fmla="*/ 115666 w 158599"/>
                <a:gd name="connsiteY2" fmla="*/ 20507 h 158599"/>
                <a:gd name="connsiteX3" fmla="*/ 99680 w 158599"/>
                <a:gd name="connsiteY3" fmla="*/ 36494 h 158599"/>
                <a:gd name="connsiteX4" fmla="*/ 95160 w 158599"/>
                <a:gd name="connsiteY4" fmla="*/ 34654 h 158599"/>
                <a:gd name="connsiteX5" fmla="*/ 95160 w 158599"/>
                <a:gd name="connsiteY5" fmla="*/ 0 h 158599"/>
                <a:gd name="connsiteX6" fmla="*/ 63440 w 158599"/>
                <a:gd name="connsiteY6" fmla="*/ 0 h 158599"/>
                <a:gd name="connsiteX7" fmla="*/ 63440 w 158599"/>
                <a:gd name="connsiteY7" fmla="*/ 34638 h 158599"/>
                <a:gd name="connsiteX8" fmla="*/ 58920 w 158599"/>
                <a:gd name="connsiteY8" fmla="*/ 36478 h 158599"/>
                <a:gd name="connsiteX9" fmla="*/ 42933 w 158599"/>
                <a:gd name="connsiteY9" fmla="*/ 20491 h 158599"/>
                <a:gd name="connsiteX10" fmla="*/ 20507 w 158599"/>
                <a:gd name="connsiteY10" fmla="*/ 42917 h 158599"/>
                <a:gd name="connsiteX11" fmla="*/ 36494 w 158599"/>
                <a:gd name="connsiteY11" fmla="*/ 58904 h 158599"/>
                <a:gd name="connsiteX12" fmla="*/ 34654 w 158599"/>
                <a:gd name="connsiteY12" fmla="*/ 63424 h 158599"/>
                <a:gd name="connsiteX13" fmla="*/ 0 w 158599"/>
                <a:gd name="connsiteY13" fmla="*/ 63424 h 158599"/>
                <a:gd name="connsiteX14" fmla="*/ 0 w 158599"/>
                <a:gd name="connsiteY14" fmla="*/ 95144 h 158599"/>
                <a:gd name="connsiteX15" fmla="*/ 34638 w 158599"/>
                <a:gd name="connsiteY15" fmla="*/ 95144 h 158599"/>
                <a:gd name="connsiteX16" fmla="*/ 36478 w 158599"/>
                <a:gd name="connsiteY16" fmla="*/ 99664 h 158599"/>
                <a:gd name="connsiteX17" fmla="*/ 20491 w 158599"/>
                <a:gd name="connsiteY17" fmla="*/ 115651 h 158599"/>
                <a:gd name="connsiteX18" fmla="*/ 42917 w 158599"/>
                <a:gd name="connsiteY18" fmla="*/ 138077 h 158599"/>
                <a:gd name="connsiteX19" fmla="*/ 58904 w 158599"/>
                <a:gd name="connsiteY19" fmla="*/ 122090 h 158599"/>
                <a:gd name="connsiteX20" fmla="*/ 63424 w 158599"/>
                <a:gd name="connsiteY20" fmla="*/ 123929 h 158599"/>
                <a:gd name="connsiteX21" fmla="*/ 63424 w 158599"/>
                <a:gd name="connsiteY21" fmla="*/ 158599 h 158599"/>
                <a:gd name="connsiteX22" fmla="*/ 95144 w 158599"/>
                <a:gd name="connsiteY22" fmla="*/ 158599 h 158599"/>
                <a:gd name="connsiteX23" fmla="*/ 95144 w 158599"/>
                <a:gd name="connsiteY23" fmla="*/ 123961 h 158599"/>
                <a:gd name="connsiteX24" fmla="*/ 99664 w 158599"/>
                <a:gd name="connsiteY24" fmla="*/ 122121 h 158599"/>
                <a:gd name="connsiteX25" fmla="*/ 115651 w 158599"/>
                <a:gd name="connsiteY25" fmla="*/ 138108 h 158599"/>
                <a:gd name="connsiteX26" fmla="*/ 138076 w 158599"/>
                <a:gd name="connsiteY26" fmla="*/ 115682 h 158599"/>
                <a:gd name="connsiteX27" fmla="*/ 122090 w 158599"/>
                <a:gd name="connsiteY27" fmla="*/ 99695 h 158599"/>
                <a:gd name="connsiteX28" fmla="*/ 123929 w 158599"/>
                <a:gd name="connsiteY28" fmla="*/ 95175 h 158599"/>
                <a:gd name="connsiteX29" fmla="*/ 158599 w 158599"/>
                <a:gd name="connsiteY29" fmla="*/ 95175 h 158599"/>
                <a:gd name="connsiteX30" fmla="*/ 158599 w 158599"/>
                <a:gd name="connsiteY30" fmla="*/ 63456 h 158599"/>
                <a:gd name="connsiteX31" fmla="*/ 123961 w 158599"/>
                <a:gd name="connsiteY31" fmla="*/ 63456 h 158599"/>
                <a:gd name="connsiteX32" fmla="*/ 122106 w 158599"/>
                <a:gd name="connsiteY32" fmla="*/ 58920 h 158599"/>
                <a:gd name="connsiteX33" fmla="*/ 95160 w 158599"/>
                <a:gd name="connsiteY33" fmla="*/ 79300 h 158599"/>
                <a:gd name="connsiteX34" fmla="*/ 79300 w 158599"/>
                <a:gd name="connsiteY34" fmla="*/ 95160 h 158599"/>
                <a:gd name="connsiteX35" fmla="*/ 63440 w 158599"/>
                <a:gd name="connsiteY35" fmla="*/ 79300 h 158599"/>
                <a:gd name="connsiteX36" fmla="*/ 79300 w 158599"/>
                <a:gd name="connsiteY36" fmla="*/ 63440 h 158599"/>
                <a:gd name="connsiteX37" fmla="*/ 95160 w 158599"/>
                <a:gd name="connsiteY37" fmla="*/ 79300 h 15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599" h="158599">
                  <a:moveTo>
                    <a:pt x="122106" y="58920"/>
                  </a:moveTo>
                  <a:lnTo>
                    <a:pt x="138092" y="42933"/>
                  </a:lnTo>
                  <a:lnTo>
                    <a:pt x="115666" y="20507"/>
                  </a:lnTo>
                  <a:lnTo>
                    <a:pt x="99680" y="36494"/>
                  </a:lnTo>
                  <a:cubicBezTo>
                    <a:pt x="98205" y="35796"/>
                    <a:pt x="96698" y="35193"/>
                    <a:pt x="95160" y="34654"/>
                  </a:cubicBezTo>
                  <a:lnTo>
                    <a:pt x="95160" y="0"/>
                  </a:lnTo>
                  <a:lnTo>
                    <a:pt x="63440" y="0"/>
                  </a:lnTo>
                  <a:lnTo>
                    <a:pt x="63440" y="34638"/>
                  </a:lnTo>
                  <a:cubicBezTo>
                    <a:pt x="61885" y="35193"/>
                    <a:pt x="60379" y="35780"/>
                    <a:pt x="58920" y="36478"/>
                  </a:cubicBezTo>
                  <a:lnTo>
                    <a:pt x="42933" y="20491"/>
                  </a:lnTo>
                  <a:lnTo>
                    <a:pt x="20507" y="42917"/>
                  </a:lnTo>
                  <a:lnTo>
                    <a:pt x="36494" y="58904"/>
                  </a:lnTo>
                  <a:cubicBezTo>
                    <a:pt x="35796" y="60379"/>
                    <a:pt x="35193" y="61885"/>
                    <a:pt x="34654" y="63424"/>
                  </a:cubicBezTo>
                  <a:lnTo>
                    <a:pt x="0" y="63424"/>
                  </a:lnTo>
                  <a:lnTo>
                    <a:pt x="0" y="95144"/>
                  </a:lnTo>
                  <a:lnTo>
                    <a:pt x="34638" y="95144"/>
                  </a:lnTo>
                  <a:cubicBezTo>
                    <a:pt x="35193" y="96698"/>
                    <a:pt x="35780" y="98205"/>
                    <a:pt x="36478" y="99664"/>
                  </a:cubicBezTo>
                  <a:lnTo>
                    <a:pt x="20491" y="115651"/>
                  </a:lnTo>
                  <a:lnTo>
                    <a:pt x="42917" y="138077"/>
                  </a:lnTo>
                  <a:lnTo>
                    <a:pt x="58904" y="122090"/>
                  </a:lnTo>
                  <a:cubicBezTo>
                    <a:pt x="60379" y="122788"/>
                    <a:pt x="61885" y="123374"/>
                    <a:pt x="63424" y="123929"/>
                  </a:cubicBezTo>
                  <a:lnTo>
                    <a:pt x="63424" y="158599"/>
                  </a:lnTo>
                  <a:lnTo>
                    <a:pt x="95144" y="158599"/>
                  </a:lnTo>
                  <a:lnTo>
                    <a:pt x="95144" y="123961"/>
                  </a:lnTo>
                  <a:cubicBezTo>
                    <a:pt x="96698" y="123406"/>
                    <a:pt x="98205" y="122819"/>
                    <a:pt x="99664" y="122121"/>
                  </a:cubicBezTo>
                  <a:lnTo>
                    <a:pt x="115651" y="138108"/>
                  </a:lnTo>
                  <a:lnTo>
                    <a:pt x="138076" y="115682"/>
                  </a:lnTo>
                  <a:lnTo>
                    <a:pt x="122090" y="99695"/>
                  </a:lnTo>
                  <a:cubicBezTo>
                    <a:pt x="122788" y="98221"/>
                    <a:pt x="123390" y="96714"/>
                    <a:pt x="123929" y="95175"/>
                  </a:cubicBezTo>
                  <a:lnTo>
                    <a:pt x="158599" y="95175"/>
                  </a:lnTo>
                  <a:lnTo>
                    <a:pt x="158599" y="63456"/>
                  </a:lnTo>
                  <a:lnTo>
                    <a:pt x="123961" y="63456"/>
                  </a:lnTo>
                  <a:cubicBezTo>
                    <a:pt x="123406" y="61885"/>
                    <a:pt x="122819" y="60379"/>
                    <a:pt x="122106" y="58920"/>
                  </a:cubicBezTo>
                  <a:close/>
                  <a:moveTo>
                    <a:pt x="95160" y="79300"/>
                  </a:moveTo>
                  <a:cubicBezTo>
                    <a:pt x="95160" y="88038"/>
                    <a:pt x="88054" y="95160"/>
                    <a:pt x="79300" y="95160"/>
                  </a:cubicBezTo>
                  <a:cubicBezTo>
                    <a:pt x="70545" y="95160"/>
                    <a:pt x="63440" y="88038"/>
                    <a:pt x="63440" y="79300"/>
                  </a:cubicBezTo>
                  <a:cubicBezTo>
                    <a:pt x="63440" y="70561"/>
                    <a:pt x="70545" y="63440"/>
                    <a:pt x="79300" y="63440"/>
                  </a:cubicBezTo>
                  <a:cubicBezTo>
                    <a:pt x="88054" y="63440"/>
                    <a:pt x="95160" y="70561"/>
                    <a:pt x="95160" y="79300"/>
                  </a:cubicBezTo>
                  <a:close/>
                </a:path>
              </a:pathLst>
            </a:custGeom>
            <a:solidFill>
              <a:schemeClr val="bg1"/>
            </a:solidFill>
            <a:ln w="15824" cap="flat">
              <a:noFill/>
              <a:prstDash val="solid"/>
              <a:miter/>
            </a:ln>
          </p:spPr>
          <p:txBody>
            <a:bodyPr rtlCol="0" anchor="ctr"/>
            <a:lstStyle/>
            <a:p>
              <a:endParaRPr lang="pt-BR"/>
            </a:p>
          </p:txBody>
        </p:sp>
        <p:sp>
          <p:nvSpPr>
            <p:cNvPr id="33" name="Forma Livre: Forma 32">
              <a:extLst>
                <a:ext uri="{FF2B5EF4-FFF2-40B4-BE49-F238E27FC236}">
                  <a16:creationId xmlns:a16="http://schemas.microsoft.com/office/drawing/2014/main" id="{4D470A29-C67B-F73C-DE8E-FD4A92D20BDB}"/>
                </a:ext>
              </a:extLst>
            </p:cNvPr>
            <p:cNvSpPr/>
            <p:nvPr/>
          </p:nvSpPr>
          <p:spPr>
            <a:xfrm rot="18900000">
              <a:off x="13489701" y="2424959"/>
              <a:ext cx="89718" cy="31719"/>
            </a:xfrm>
            <a:custGeom>
              <a:avLst/>
              <a:gdLst>
                <a:gd name="connsiteX0" fmla="*/ 0 w 89718"/>
                <a:gd name="connsiteY0" fmla="*/ 0 h 31719"/>
                <a:gd name="connsiteX1" fmla="*/ 89719 w 89718"/>
                <a:gd name="connsiteY1" fmla="*/ 0 h 31719"/>
                <a:gd name="connsiteX2" fmla="*/ 89719 w 89718"/>
                <a:gd name="connsiteY2" fmla="*/ 31720 h 31719"/>
                <a:gd name="connsiteX3" fmla="*/ 0 w 89718"/>
                <a:gd name="connsiteY3" fmla="*/ 31720 h 31719"/>
              </a:gdLst>
              <a:ahLst/>
              <a:cxnLst>
                <a:cxn ang="0">
                  <a:pos x="connsiteX0" y="connsiteY0"/>
                </a:cxn>
                <a:cxn ang="0">
                  <a:pos x="connsiteX1" y="connsiteY1"/>
                </a:cxn>
                <a:cxn ang="0">
                  <a:pos x="connsiteX2" y="connsiteY2"/>
                </a:cxn>
                <a:cxn ang="0">
                  <a:pos x="connsiteX3" y="connsiteY3"/>
                </a:cxn>
              </a:cxnLst>
              <a:rect l="l" t="t" r="r" b="b"/>
              <a:pathLst>
                <a:path w="89718" h="31719">
                  <a:moveTo>
                    <a:pt x="0" y="0"/>
                  </a:moveTo>
                  <a:lnTo>
                    <a:pt x="89719" y="0"/>
                  </a:lnTo>
                  <a:lnTo>
                    <a:pt x="89719" y="31720"/>
                  </a:lnTo>
                  <a:lnTo>
                    <a:pt x="0" y="31720"/>
                  </a:lnTo>
                  <a:close/>
                </a:path>
              </a:pathLst>
            </a:custGeom>
            <a:solidFill>
              <a:schemeClr val="bg1"/>
            </a:solidFill>
            <a:ln w="15824" cap="flat">
              <a:noFill/>
              <a:prstDash val="solid"/>
              <a:miter/>
            </a:ln>
          </p:spPr>
          <p:txBody>
            <a:bodyPr rtlCol="0" anchor="ctr"/>
            <a:lstStyle/>
            <a:p>
              <a:endParaRPr lang="pt-BR"/>
            </a:p>
          </p:txBody>
        </p:sp>
        <p:sp>
          <p:nvSpPr>
            <p:cNvPr id="34" name="Forma Livre: Forma 33">
              <a:extLst>
                <a:ext uri="{FF2B5EF4-FFF2-40B4-BE49-F238E27FC236}">
                  <a16:creationId xmlns:a16="http://schemas.microsoft.com/office/drawing/2014/main" id="{0CD21CBC-6C9B-7953-2FFF-17165DBC69D5}"/>
                </a:ext>
              </a:extLst>
            </p:cNvPr>
            <p:cNvSpPr/>
            <p:nvPr/>
          </p:nvSpPr>
          <p:spPr>
            <a:xfrm>
              <a:off x="13539211" y="2266366"/>
              <a:ext cx="244464" cy="264971"/>
            </a:xfrm>
            <a:custGeom>
              <a:avLst/>
              <a:gdLst>
                <a:gd name="connsiteX0" fmla="*/ 169812 w 244464"/>
                <a:gd name="connsiteY0" fmla="*/ 0 h 264971"/>
                <a:gd name="connsiteX1" fmla="*/ 138092 w 244464"/>
                <a:gd name="connsiteY1" fmla="*/ 0 h 264971"/>
                <a:gd name="connsiteX2" fmla="*/ 138092 w 244464"/>
                <a:gd name="connsiteY2" fmla="*/ 95160 h 264971"/>
                <a:gd name="connsiteX3" fmla="*/ 106372 w 244464"/>
                <a:gd name="connsiteY3" fmla="*/ 95160 h 264971"/>
                <a:gd name="connsiteX4" fmla="*/ 106372 w 244464"/>
                <a:gd name="connsiteY4" fmla="*/ 0 h 264971"/>
                <a:gd name="connsiteX5" fmla="*/ 74653 w 244464"/>
                <a:gd name="connsiteY5" fmla="*/ 0 h 264971"/>
                <a:gd name="connsiteX6" fmla="*/ 74653 w 244464"/>
                <a:gd name="connsiteY6" fmla="*/ 167893 h 264971"/>
                <a:gd name="connsiteX7" fmla="*/ 0 w 244464"/>
                <a:gd name="connsiteY7" fmla="*/ 242546 h 264971"/>
                <a:gd name="connsiteX8" fmla="*/ 22426 w 244464"/>
                <a:gd name="connsiteY8" fmla="*/ 264972 h 264971"/>
                <a:gd name="connsiteX9" fmla="*/ 106372 w 244464"/>
                <a:gd name="connsiteY9" fmla="*/ 181025 h 264971"/>
                <a:gd name="connsiteX10" fmla="*/ 106372 w 244464"/>
                <a:gd name="connsiteY10" fmla="*/ 126879 h 264971"/>
                <a:gd name="connsiteX11" fmla="*/ 138092 w 244464"/>
                <a:gd name="connsiteY11" fmla="*/ 126879 h 264971"/>
                <a:gd name="connsiteX12" fmla="*/ 138092 w 244464"/>
                <a:gd name="connsiteY12" fmla="*/ 181025 h 264971"/>
                <a:gd name="connsiteX13" fmla="*/ 222039 w 244464"/>
                <a:gd name="connsiteY13" fmla="*/ 264972 h 264971"/>
                <a:gd name="connsiteX14" fmla="*/ 244465 w 244464"/>
                <a:gd name="connsiteY14" fmla="*/ 242546 h 264971"/>
                <a:gd name="connsiteX15" fmla="*/ 169812 w 244464"/>
                <a:gd name="connsiteY15" fmla="*/ 167893 h 26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64" h="264971">
                  <a:moveTo>
                    <a:pt x="169812" y="0"/>
                  </a:moveTo>
                  <a:lnTo>
                    <a:pt x="138092" y="0"/>
                  </a:lnTo>
                  <a:lnTo>
                    <a:pt x="138092" y="95160"/>
                  </a:lnTo>
                  <a:lnTo>
                    <a:pt x="106372" y="95160"/>
                  </a:lnTo>
                  <a:lnTo>
                    <a:pt x="106372" y="0"/>
                  </a:lnTo>
                  <a:lnTo>
                    <a:pt x="74653" y="0"/>
                  </a:lnTo>
                  <a:lnTo>
                    <a:pt x="74653" y="167893"/>
                  </a:lnTo>
                  <a:lnTo>
                    <a:pt x="0" y="242546"/>
                  </a:lnTo>
                  <a:lnTo>
                    <a:pt x="22426" y="264972"/>
                  </a:lnTo>
                  <a:lnTo>
                    <a:pt x="106372" y="181025"/>
                  </a:lnTo>
                  <a:lnTo>
                    <a:pt x="106372" y="126879"/>
                  </a:lnTo>
                  <a:lnTo>
                    <a:pt x="138092" y="126879"/>
                  </a:lnTo>
                  <a:lnTo>
                    <a:pt x="138092" y="181025"/>
                  </a:lnTo>
                  <a:lnTo>
                    <a:pt x="222039" y="264972"/>
                  </a:lnTo>
                  <a:lnTo>
                    <a:pt x="244465" y="242546"/>
                  </a:lnTo>
                  <a:lnTo>
                    <a:pt x="169812" y="167893"/>
                  </a:lnTo>
                  <a:close/>
                </a:path>
              </a:pathLst>
            </a:custGeom>
            <a:solidFill>
              <a:schemeClr val="bg1"/>
            </a:solidFill>
            <a:ln w="15824" cap="flat">
              <a:noFill/>
              <a:prstDash val="solid"/>
              <a:miter/>
            </a:ln>
          </p:spPr>
          <p:txBody>
            <a:bodyPr rtlCol="0" anchor="ctr"/>
            <a:lstStyle/>
            <a:p>
              <a:endParaRPr lang="pt-BR"/>
            </a:p>
          </p:txBody>
        </p:sp>
        <p:sp>
          <p:nvSpPr>
            <p:cNvPr id="35" name="Forma Livre: Forma 34">
              <a:extLst>
                <a:ext uri="{FF2B5EF4-FFF2-40B4-BE49-F238E27FC236}">
                  <a16:creationId xmlns:a16="http://schemas.microsoft.com/office/drawing/2014/main" id="{CC5D8F30-2784-E92B-7646-59359DA6F4B2}"/>
                </a:ext>
              </a:extLst>
            </p:cNvPr>
            <p:cNvSpPr/>
            <p:nvPr/>
          </p:nvSpPr>
          <p:spPr>
            <a:xfrm rot="18900000">
              <a:off x="13772457" y="2395973"/>
              <a:ext cx="31719" cy="89718"/>
            </a:xfrm>
            <a:custGeom>
              <a:avLst/>
              <a:gdLst>
                <a:gd name="connsiteX0" fmla="*/ 0 w 31719"/>
                <a:gd name="connsiteY0" fmla="*/ 0 h 89718"/>
                <a:gd name="connsiteX1" fmla="*/ 31720 w 31719"/>
                <a:gd name="connsiteY1" fmla="*/ 0 h 89718"/>
                <a:gd name="connsiteX2" fmla="*/ 31720 w 31719"/>
                <a:gd name="connsiteY2" fmla="*/ 89719 h 89718"/>
                <a:gd name="connsiteX3" fmla="*/ 0 w 31719"/>
                <a:gd name="connsiteY3" fmla="*/ 89719 h 89718"/>
              </a:gdLst>
              <a:ahLst/>
              <a:cxnLst>
                <a:cxn ang="0">
                  <a:pos x="connsiteX0" y="connsiteY0"/>
                </a:cxn>
                <a:cxn ang="0">
                  <a:pos x="connsiteX1" y="connsiteY1"/>
                </a:cxn>
                <a:cxn ang="0">
                  <a:pos x="connsiteX2" y="connsiteY2"/>
                </a:cxn>
                <a:cxn ang="0">
                  <a:pos x="connsiteX3" y="connsiteY3"/>
                </a:cxn>
              </a:cxnLst>
              <a:rect l="l" t="t" r="r" b="b"/>
              <a:pathLst>
                <a:path w="31719" h="89718">
                  <a:moveTo>
                    <a:pt x="0" y="0"/>
                  </a:moveTo>
                  <a:lnTo>
                    <a:pt x="31720" y="0"/>
                  </a:lnTo>
                  <a:lnTo>
                    <a:pt x="31720" y="89719"/>
                  </a:lnTo>
                  <a:lnTo>
                    <a:pt x="0" y="89719"/>
                  </a:lnTo>
                  <a:close/>
                </a:path>
              </a:pathLst>
            </a:custGeom>
            <a:solidFill>
              <a:schemeClr val="bg1"/>
            </a:solidFill>
            <a:ln w="15824" cap="flat">
              <a:noFill/>
              <a:prstDash val="solid"/>
              <a:miter/>
            </a:ln>
          </p:spPr>
          <p:txBody>
            <a:bodyPr rtlCol="0" anchor="ctr"/>
            <a:lstStyle/>
            <a:p>
              <a:endParaRPr lang="pt-BR"/>
            </a:p>
          </p:txBody>
        </p:sp>
      </p:grpSp>
    </p:spTree>
    <p:extLst>
      <p:ext uri="{BB962C8B-B14F-4D97-AF65-F5344CB8AC3E}">
        <p14:creationId xmlns:p14="http://schemas.microsoft.com/office/powerpoint/2010/main" val="324722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5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B87C703D-3C43-15BC-195D-ACA66EE415D7}"/>
              </a:ext>
            </a:extLst>
          </p:cNvPr>
          <p:cNvPicPr>
            <a:picLocks noChangeAspect="1"/>
          </p:cNvPicPr>
          <p:nvPr/>
        </p:nvPicPr>
        <p:blipFill>
          <a:blip r:embed="rId3">
            <a:alphaModFix amt="85000"/>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27350" b="27350"/>
          <a:stretch/>
        </p:blipFill>
        <p:spPr>
          <a:xfrm>
            <a:off x="0" y="2414574"/>
            <a:ext cx="12192000" cy="3688951"/>
          </a:xfrm>
          <a:prstGeom prst="rect">
            <a:avLst/>
          </a:prstGeom>
        </p:spPr>
      </p:pic>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0" y="6184838"/>
            <a:ext cx="10239690" cy="588041"/>
          </a:xfrm>
        </p:spPr>
        <p:txBody>
          <a:bodyPr/>
          <a:lstStyle/>
          <a:p>
            <a:pPr>
              <a:spcAft>
                <a:spcPts val="0"/>
              </a:spcAft>
            </a:pPr>
            <a:r>
              <a:rPr lang="pt-BR" dirty="0"/>
              <a:t>1. Clark RA. </a:t>
            </a:r>
            <a:r>
              <a:rPr lang="pt-BR" dirty="0" err="1"/>
              <a:t>Skin-resident</a:t>
            </a:r>
            <a:r>
              <a:rPr lang="pt-BR" dirty="0"/>
              <a:t> T </a:t>
            </a:r>
            <a:r>
              <a:rPr lang="pt-BR" dirty="0" err="1"/>
              <a:t>cells</a:t>
            </a:r>
            <a:r>
              <a:rPr lang="pt-BR" dirty="0"/>
              <a:t>: </a:t>
            </a:r>
            <a:r>
              <a:rPr lang="pt-BR" dirty="0" err="1"/>
              <a:t>the</a:t>
            </a:r>
            <a:r>
              <a:rPr lang="pt-BR" dirty="0"/>
              <a:t> </a:t>
            </a:r>
            <a:r>
              <a:rPr lang="pt-BR" dirty="0" err="1"/>
              <a:t>ups</a:t>
            </a:r>
            <a:r>
              <a:rPr lang="pt-BR" dirty="0"/>
              <a:t> </a:t>
            </a:r>
            <a:r>
              <a:rPr lang="pt-BR" dirty="0" err="1"/>
              <a:t>and</a:t>
            </a:r>
            <a:r>
              <a:rPr lang="pt-BR" dirty="0"/>
              <a:t> </a:t>
            </a:r>
            <a:r>
              <a:rPr lang="pt-BR" dirty="0" err="1"/>
              <a:t>downs</a:t>
            </a:r>
            <a:r>
              <a:rPr lang="pt-BR" dirty="0"/>
              <a:t> </a:t>
            </a:r>
            <a:r>
              <a:rPr lang="pt-BR" dirty="0" err="1"/>
              <a:t>of</a:t>
            </a:r>
            <a:r>
              <a:rPr lang="pt-BR" dirty="0"/>
              <a:t> </a:t>
            </a:r>
            <a:r>
              <a:rPr lang="pt-BR" dirty="0" err="1"/>
              <a:t>on</a:t>
            </a:r>
            <a:r>
              <a:rPr lang="pt-BR" dirty="0"/>
              <a:t> site </a:t>
            </a:r>
            <a:r>
              <a:rPr lang="pt-BR" dirty="0" err="1"/>
              <a:t>immunity</a:t>
            </a:r>
            <a:r>
              <a:rPr lang="pt-BR" dirty="0"/>
              <a:t>. J </a:t>
            </a:r>
            <a:r>
              <a:rPr lang="pt-BR" dirty="0" err="1"/>
              <a:t>Invest</a:t>
            </a:r>
            <a:r>
              <a:rPr lang="pt-BR" dirty="0"/>
              <a:t> Dermatol. 2010 Feb;130(2):362-70.</a:t>
            </a:r>
          </a:p>
          <a:p>
            <a:pPr>
              <a:spcAft>
                <a:spcPts val="0"/>
              </a:spcAft>
            </a:pPr>
            <a:r>
              <a:rPr lang="pt-BR" dirty="0"/>
              <a:t>2. </a:t>
            </a:r>
            <a:r>
              <a:rPr lang="pt-BR" dirty="0" err="1"/>
              <a:t>Kupper</a:t>
            </a:r>
            <a:r>
              <a:rPr lang="pt-BR" dirty="0"/>
              <a:t> TS, </a:t>
            </a:r>
            <a:r>
              <a:rPr lang="pt-BR" dirty="0" err="1"/>
              <a:t>Fuhlbrigge</a:t>
            </a:r>
            <a:r>
              <a:rPr lang="pt-BR" dirty="0"/>
              <a:t> RC. </a:t>
            </a:r>
            <a:r>
              <a:rPr lang="pt-BR" dirty="0" err="1"/>
              <a:t>Immune</a:t>
            </a:r>
            <a:r>
              <a:rPr lang="pt-BR" dirty="0"/>
              <a:t> </a:t>
            </a:r>
            <a:r>
              <a:rPr lang="pt-BR" dirty="0" err="1"/>
              <a:t>surveillance</a:t>
            </a:r>
            <a:r>
              <a:rPr lang="pt-BR" dirty="0"/>
              <a:t> in </a:t>
            </a:r>
            <a:r>
              <a:rPr lang="pt-BR" dirty="0" err="1"/>
              <a:t>the</a:t>
            </a:r>
            <a:r>
              <a:rPr lang="pt-BR" dirty="0"/>
              <a:t> </a:t>
            </a:r>
            <a:r>
              <a:rPr lang="pt-BR" dirty="0" err="1"/>
              <a:t>skin</a:t>
            </a:r>
            <a:r>
              <a:rPr lang="pt-BR" dirty="0"/>
              <a:t>: </a:t>
            </a:r>
            <a:r>
              <a:rPr lang="pt-BR" dirty="0" err="1"/>
              <a:t>mechanisms</a:t>
            </a:r>
            <a:r>
              <a:rPr lang="pt-BR" dirty="0"/>
              <a:t> </a:t>
            </a:r>
            <a:r>
              <a:rPr lang="pt-BR" dirty="0" err="1"/>
              <a:t>and</a:t>
            </a:r>
            <a:r>
              <a:rPr lang="pt-BR" dirty="0"/>
              <a:t> </a:t>
            </a:r>
            <a:r>
              <a:rPr lang="pt-BR" dirty="0" err="1"/>
              <a:t>clinical</a:t>
            </a:r>
            <a:r>
              <a:rPr lang="pt-BR" dirty="0"/>
              <a:t> </a:t>
            </a:r>
            <a:r>
              <a:rPr lang="pt-BR" dirty="0" err="1"/>
              <a:t>consequences</a:t>
            </a:r>
            <a:r>
              <a:rPr lang="pt-BR" dirty="0"/>
              <a:t>. Nat </a:t>
            </a:r>
            <a:r>
              <a:rPr lang="pt-BR" dirty="0" err="1"/>
              <a:t>Rev</a:t>
            </a:r>
            <a:r>
              <a:rPr lang="pt-BR" dirty="0"/>
              <a:t> </a:t>
            </a:r>
            <a:r>
              <a:rPr lang="pt-BR" dirty="0" err="1"/>
              <a:t>Immunol</a:t>
            </a:r>
            <a:r>
              <a:rPr lang="pt-BR" dirty="0"/>
              <a:t>. 2004 Mar;4(3):211-22.</a:t>
            </a:r>
          </a:p>
          <a:p>
            <a:pPr>
              <a:spcAft>
                <a:spcPts val="0"/>
              </a:spcAft>
            </a:pPr>
            <a:r>
              <a:rPr lang="pt-BR" dirty="0"/>
              <a:t>3. Metz M, Maurer M. </a:t>
            </a:r>
            <a:r>
              <a:rPr lang="pt-BR" dirty="0" err="1"/>
              <a:t>Innate</a:t>
            </a:r>
            <a:r>
              <a:rPr lang="pt-BR" dirty="0"/>
              <a:t> </a:t>
            </a:r>
            <a:r>
              <a:rPr lang="pt-BR" dirty="0" err="1"/>
              <a:t>immunity</a:t>
            </a:r>
            <a:r>
              <a:rPr lang="pt-BR" dirty="0"/>
              <a:t> </a:t>
            </a:r>
            <a:r>
              <a:rPr lang="pt-BR" dirty="0" err="1"/>
              <a:t>and</a:t>
            </a:r>
            <a:r>
              <a:rPr lang="pt-BR" dirty="0"/>
              <a:t> </a:t>
            </a:r>
            <a:r>
              <a:rPr lang="pt-BR" dirty="0" err="1"/>
              <a:t>allergy</a:t>
            </a:r>
            <a:r>
              <a:rPr lang="pt-BR" dirty="0"/>
              <a:t> in </a:t>
            </a:r>
            <a:r>
              <a:rPr lang="pt-BR" dirty="0" err="1"/>
              <a:t>the</a:t>
            </a:r>
            <a:r>
              <a:rPr lang="pt-BR" dirty="0"/>
              <a:t> </a:t>
            </a:r>
            <a:r>
              <a:rPr lang="pt-BR" dirty="0" err="1"/>
              <a:t>skin</a:t>
            </a:r>
            <a:r>
              <a:rPr lang="pt-BR" dirty="0"/>
              <a:t>. </a:t>
            </a:r>
            <a:r>
              <a:rPr lang="pt-BR" dirty="0" err="1"/>
              <a:t>Curr</a:t>
            </a:r>
            <a:r>
              <a:rPr lang="pt-BR" dirty="0"/>
              <a:t> </a:t>
            </a:r>
            <a:r>
              <a:rPr lang="pt-BR" dirty="0" err="1"/>
              <a:t>Opin</a:t>
            </a:r>
            <a:r>
              <a:rPr lang="pt-BR" dirty="0"/>
              <a:t> </a:t>
            </a:r>
            <a:r>
              <a:rPr lang="pt-BR" dirty="0" err="1"/>
              <a:t>Immunol</a:t>
            </a:r>
            <a:r>
              <a:rPr lang="pt-BR" dirty="0"/>
              <a:t>. 2009 Dec;21(6):687-93.</a:t>
            </a:r>
          </a:p>
          <a:p>
            <a:pPr>
              <a:spcAft>
                <a:spcPts val="0"/>
              </a:spcAft>
            </a:pPr>
            <a:r>
              <a:rPr lang="pt-BR" dirty="0"/>
              <a:t>4. Nestle FO, Di </a:t>
            </a:r>
            <a:r>
              <a:rPr lang="pt-BR" dirty="0" err="1"/>
              <a:t>Meglio</a:t>
            </a:r>
            <a:r>
              <a:rPr lang="pt-BR" dirty="0"/>
              <a:t> P, Qin JZ et al. </a:t>
            </a:r>
            <a:r>
              <a:rPr lang="pt-BR" dirty="0" err="1"/>
              <a:t>Skin</a:t>
            </a:r>
            <a:r>
              <a:rPr lang="pt-BR" dirty="0"/>
              <a:t> </a:t>
            </a:r>
            <a:r>
              <a:rPr lang="pt-BR" dirty="0" err="1"/>
              <a:t>immune</a:t>
            </a:r>
            <a:r>
              <a:rPr lang="pt-BR" dirty="0"/>
              <a:t> </a:t>
            </a:r>
            <a:r>
              <a:rPr lang="pt-BR" dirty="0" err="1"/>
              <a:t>sentinels</a:t>
            </a:r>
            <a:r>
              <a:rPr lang="pt-BR" dirty="0"/>
              <a:t> in </a:t>
            </a:r>
            <a:r>
              <a:rPr lang="pt-BR" dirty="0" err="1"/>
              <a:t>health</a:t>
            </a:r>
            <a:r>
              <a:rPr lang="pt-BR" dirty="0"/>
              <a:t> </a:t>
            </a:r>
            <a:r>
              <a:rPr lang="pt-BR" dirty="0" err="1"/>
              <a:t>and</a:t>
            </a:r>
            <a:r>
              <a:rPr lang="pt-BR" dirty="0"/>
              <a:t> </a:t>
            </a:r>
            <a:r>
              <a:rPr lang="pt-BR" dirty="0" err="1"/>
              <a:t>disease</a:t>
            </a:r>
            <a:r>
              <a:rPr lang="pt-BR" dirty="0"/>
              <a:t>. Nat </a:t>
            </a:r>
            <a:r>
              <a:rPr lang="pt-BR" dirty="0" err="1"/>
              <a:t>Rev</a:t>
            </a:r>
            <a:r>
              <a:rPr lang="pt-BR" dirty="0"/>
              <a:t> </a:t>
            </a:r>
            <a:r>
              <a:rPr lang="pt-BR" dirty="0" err="1"/>
              <a:t>Immunol</a:t>
            </a:r>
            <a:r>
              <a:rPr lang="pt-BR" dirty="0"/>
              <a:t>. 2009 Oct;9(10):679-91.</a:t>
            </a:r>
          </a:p>
          <a:p>
            <a:pPr>
              <a:spcAft>
                <a:spcPts val="0"/>
              </a:spcAft>
            </a:pPr>
            <a:r>
              <a:rPr lang="pt-BR" dirty="0"/>
              <a:t>5. Romani N, </a:t>
            </a:r>
            <a:r>
              <a:rPr lang="pt-BR" dirty="0" err="1"/>
              <a:t>Clausen</a:t>
            </a:r>
            <a:r>
              <a:rPr lang="pt-BR" dirty="0"/>
              <a:t> BE, </a:t>
            </a:r>
            <a:r>
              <a:rPr lang="pt-BR" dirty="0" err="1"/>
              <a:t>Stoitzner</a:t>
            </a:r>
            <a:r>
              <a:rPr lang="pt-BR" dirty="0"/>
              <a:t> P. </a:t>
            </a:r>
            <a:r>
              <a:rPr lang="pt-BR" dirty="0" err="1"/>
              <a:t>Langerhans</a:t>
            </a:r>
            <a:r>
              <a:rPr lang="pt-BR" dirty="0"/>
              <a:t> </a:t>
            </a:r>
            <a:r>
              <a:rPr lang="pt-BR" dirty="0" err="1"/>
              <a:t>cells</a:t>
            </a:r>
            <a:r>
              <a:rPr lang="pt-BR" dirty="0"/>
              <a:t> </a:t>
            </a:r>
            <a:r>
              <a:rPr lang="pt-BR" dirty="0" err="1"/>
              <a:t>and</a:t>
            </a:r>
            <a:r>
              <a:rPr lang="pt-BR" dirty="0"/>
              <a:t> more: </a:t>
            </a:r>
            <a:r>
              <a:rPr lang="pt-BR" dirty="0" err="1"/>
              <a:t>langerin-expressing</a:t>
            </a:r>
            <a:r>
              <a:rPr lang="pt-BR" dirty="0"/>
              <a:t> </a:t>
            </a:r>
            <a:r>
              <a:rPr lang="pt-BR" dirty="0" err="1"/>
              <a:t>dendritic</a:t>
            </a:r>
            <a:r>
              <a:rPr lang="pt-BR" dirty="0"/>
              <a:t> </a:t>
            </a:r>
            <a:r>
              <a:rPr lang="pt-BR" dirty="0" err="1"/>
              <a:t>cell</a:t>
            </a:r>
            <a:r>
              <a:rPr lang="pt-BR" dirty="0"/>
              <a:t> </a:t>
            </a:r>
            <a:r>
              <a:rPr lang="pt-BR" dirty="0" err="1"/>
              <a:t>subsets</a:t>
            </a:r>
            <a:r>
              <a:rPr lang="pt-BR" dirty="0"/>
              <a:t> in </a:t>
            </a:r>
            <a:r>
              <a:rPr lang="pt-BR" dirty="0" err="1"/>
              <a:t>the</a:t>
            </a:r>
            <a:r>
              <a:rPr lang="pt-BR" dirty="0"/>
              <a:t> </a:t>
            </a:r>
            <a:r>
              <a:rPr lang="pt-BR" dirty="0" err="1"/>
              <a:t>skin</a:t>
            </a:r>
            <a:r>
              <a:rPr lang="pt-BR" dirty="0"/>
              <a:t>. </a:t>
            </a:r>
            <a:r>
              <a:rPr lang="pt-BR" dirty="0" err="1"/>
              <a:t>Immunol</a:t>
            </a:r>
            <a:r>
              <a:rPr lang="pt-BR" dirty="0"/>
              <a:t> Rev. 2010 Mar;234(1):120-41.</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0351411"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As três barreiras &amp; o sistema imune</a:t>
            </a:r>
            <a:r>
              <a:rPr lang="pt-BR" sz="4400" b="1" baseline="30000" dirty="0">
                <a:gradFill>
                  <a:gsLst>
                    <a:gs pos="0">
                      <a:schemeClr val="accent1"/>
                    </a:gs>
                    <a:gs pos="100000">
                      <a:schemeClr val="bg2"/>
                    </a:gs>
                  </a:gsLst>
                  <a:lin ang="2700000" scaled="0"/>
                </a:gradFill>
                <a:latin typeface="Calisto MT"/>
              </a:rPr>
              <a:t>1-5</a:t>
            </a:r>
          </a:p>
        </p:txBody>
      </p:sp>
      <p:sp>
        <p:nvSpPr>
          <p:cNvPr id="11" name="Retângulo: Cantos Arredondados 10">
            <a:extLst>
              <a:ext uri="{FF2B5EF4-FFF2-40B4-BE49-F238E27FC236}">
                <a16:creationId xmlns:a16="http://schemas.microsoft.com/office/drawing/2014/main" id="{7B1C6711-8213-42BD-85FE-B60CC5FE11C9}"/>
              </a:ext>
            </a:extLst>
          </p:cNvPr>
          <p:cNvSpPr/>
          <p:nvPr/>
        </p:nvSpPr>
        <p:spPr>
          <a:xfrm>
            <a:off x="124788" y="3066487"/>
            <a:ext cx="11971452" cy="725025"/>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9" name="Retângulo: Cantos Arredondados 8">
            <a:extLst>
              <a:ext uri="{FF2B5EF4-FFF2-40B4-BE49-F238E27FC236}">
                <a16:creationId xmlns:a16="http://schemas.microsoft.com/office/drawing/2014/main" id="{CDDFA10A-6E64-D156-77FB-74CD92C3C41B}"/>
              </a:ext>
            </a:extLst>
          </p:cNvPr>
          <p:cNvSpPr/>
          <p:nvPr/>
        </p:nvSpPr>
        <p:spPr>
          <a:xfrm>
            <a:off x="4293740" y="1492561"/>
            <a:ext cx="3728582" cy="1833342"/>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0" name="Retângulo: Cantos Arredondados 9">
            <a:extLst>
              <a:ext uri="{FF2B5EF4-FFF2-40B4-BE49-F238E27FC236}">
                <a16:creationId xmlns:a16="http://schemas.microsoft.com/office/drawing/2014/main" id="{10E2FAAF-4E60-665A-1022-4A067926AB92}"/>
              </a:ext>
            </a:extLst>
          </p:cNvPr>
          <p:cNvSpPr/>
          <p:nvPr/>
        </p:nvSpPr>
        <p:spPr>
          <a:xfrm>
            <a:off x="8242870" y="1492561"/>
            <a:ext cx="3728582" cy="1833342"/>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2" name="Retângulo: Cantos Arredondados 11">
            <a:extLst>
              <a:ext uri="{FF2B5EF4-FFF2-40B4-BE49-F238E27FC236}">
                <a16:creationId xmlns:a16="http://schemas.microsoft.com/office/drawing/2014/main" id="{09C98ABB-E88F-4182-CA2D-24251F387994}"/>
              </a:ext>
            </a:extLst>
          </p:cNvPr>
          <p:cNvSpPr/>
          <p:nvPr/>
        </p:nvSpPr>
        <p:spPr>
          <a:xfrm>
            <a:off x="296268" y="1492561"/>
            <a:ext cx="3728582" cy="1833342"/>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4" name="CaixaDeTexto 13">
            <a:extLst>
              <a:ext uri="{FF2B5EF4-FFF2-40B4-BE49-F238E27FC236}">
                <a16:creationId xmlns:a16="http://schemas.microsoft.com/office/drawing/2014/main" id="{71354E78-0F24-27B5-A2E4-47FEF915F959}"/>
              </a:ext>
            </a:extLst>
          </p:cNvPr>
          <p:cNvSpPr txBox="1"/>
          <p:nvPr/>
        </p:nvSpPr>
        <p:spPr>
          <a:xfrm>
            <a:off x="1537504" y="3337155"/>
            <a:ext cx="1246110" cy="369332"/>
          </a:xfrm>
          <a:prstGeom prst="rect">
            <a:avLst/>
          </a:prstGeom>
          <a:noFill/>
        </p:spPr>
        <p:txBody>
          <a:bodyPr wrap="none" rtlCol="0">
            <a:spAutoFit/>
          </a:bodyPr>
          <a:lstStyle/>
          <a:p>
            <a:pPr algn="l">
              <a:spcAft>
                <a:spcPts val="600"/>
              </a:spcAft>
            </a:pPr>
            <a:r>
              <a:rPr lang="pt-BR" b="1" dirty="0">
                <a:solidFill>
                  <a:schemeClr val="bg1"/>
                </a:solidFill>
                <a:latin typeface="+mj-lt"/>
              </a:rPr>
              <a:t>1ª barreira</a:t>
            </a:r>
          </a:p>
        </p:txBody>
      </p:sp>
      <p:sp>
        <p:nvSpPr>
          <p:cNvPr id="15" name="CaixaDeTexto 14">
            <a:extLst>
              <a:ext uri="{FF2B5EF4-FFF2-40B4-BE49-F238E27FC236}">
                <a16:creationId xmlns:a16="http://schemas.microsoft.com/office/drawing/2014/main" id="{05757CFA-BBD5-1C3A-33E3-E3EF670DE7E8}"/>
              </a:ext>
            </a:extLst>
          </p:cNvPr>
          <p:cNvSpPr txBox="1"/>
          <p:nvPr/>
        </p:nvSpPr>
        <p:spPr>
          <a:xfrm>
            <a:off x="5703104" y="3337155"/>
            <a:ext cx="1246110" cy="369332"/>
          </a:xfrm>
          <a:prstGeom prst="rect">
            <a:avLst/>
          </a:prstGeom>
          <a:noFill/>
        </p:spPr>
        <p:txBody>
          <a:bodyPr wrap="none" rtlCol="0">
            <a:spAutoFit/>
          </a:bodyPr>
          <a:lstStyle/>
          <a:p>
            <a:pPr algn="l">
              <a:spcAft>
                <a:spcPts val="600"/>
              </a:spcAft>
            </a:pPr>
            <a:r>
              <a:rPr lang="pt-BR" b="1" dirty="0">
                <a:solidFill>
                  <a:schemeClr val="bg1"/>
                </a:solidFill>
                <a:latin typeface="+mj-lt"/>
              </a:rPr>
              <a:t>2ª barreira</a:t>
            </a:r>
          </a:p>
        </p:txBody>
      </p:sp>
      <p:sp>
        <p:nvSpPr>
          <p:cNvPr id="16" name="CaixaDeTexto 15">
            <a:extLst>
              <a:ext uri="{FF2B5EF4-FFF2-40B4-BE49-F238E27FC236}">
                <a16:creationId xmlns:a16="http://schemas.microsoft.com/office/drawing/2014/main" id="{7BD1302A-3AE8-FC11-7952-1D22C3D7E380}"/>
              </a:ext>
            </a:extLst>
          </p:cNvPr>
          <p:cNvSpPr txBox="1"/>
          <p:nvPr/>
        </p:nvSpPr>
        <p:spPr>
          <a:xfrm>
            <a:off x="9621961" y="3337155"/>
            <a:ext cx="1246110" cy="369332"/>
          </a:xfrm>
          <a:prstGeom prst="rect">
            <a:avLst/>
          </a:prstGeom>
          <a:noFill/>
        </p:spPr>
        <p:txBody>
          <a:bodyPr wrap="none" rtlCol="0">
            <a:spAutoFit/>
          </a:bodyPr>
          <a:lstStyle/>
          <a:p>
            <a:pPr algn="l">
              <a:spcAft>
                <a:spcPts val="600"/>
              </a:spcAft>
            </a:pPr>
            <a:r>
              <a:rPr lang="pt-BR" b="1" dirty="0">
                <a:solidFill>
                  <a:schemeClr val="bg1"/>
                </a:solidFill>
                <a:latin typeface="+mj-lt"/>
              </a:rPr>
              <a:t>3ª barreira</a:t>
            </a:r>
          </a:p>
        </p:txBody>
      </p:sp>
      <p:sp>
        <p:nvSpPr>
          <p:cNvPr id="28" name="CaixaDeTexto 27">
            <a:extLst>
              <a:ext uri="{FF2B5EF4-FFF2-40B4-BE49-F238E27FC236}">
                <a16:creationId xmlns:a16="http://schemas.microsoft.com/office/drawing/2014/main" id="{BA7D25A0-8BE5-D097-2FBB-AF968FEE3BD5}"/>
              </a:ext>
            </a:extLst>
          </p:cNvPr>
          <p:cNvSpPr txBox="1"/>
          <p:nvPr/>
        </p:nvSpPr>
        <p:spPr>
          <a:xfrm>
            <a:off x="418845" y="1683443"/>
            <a:ext cx="3483428" cy="1338828"/>
          </a:xfrm>
          <a:prstGeom prst="rect">
            <a:avLst/>
          </a:prstGeom>
          <a:noFill/>
        </p:spPr>
        <p:txBody>
          <a:bodyPr wrap="square">
            <a:spAutoFit/>
          </a:bodyPr>
          <a:lstStyle/>
          <a:p>
            <a:pPr lvl="0" algn="ctr"/>
            <a:r>
              <a:rPr lang="pt-BR" sz="2000" b="1" dirty="0">
                <a:solidFill>
                  <a:schemeClr val="tx2"/>
                </a:solidFill>
                <a:latin typeface="+mj-lt"/>
              </a:rPr>
              <a:t>FÍSICO, QUÍMICO E BIOLÓGICO   </a:t>
            </a:r>
          </a:p>
          <a:p>
            <a:pPr lvl="0" algn="ctr">
              <a:spcBef>
                <a:spcPts val="600"/>
              </a:spcBef>
            </a:pPr>
            <a:r>
              <a:rPr lang="pt-BR" dirty="0"/>
              <a:t>(integridade epitelial, </a:t>
            </a:r>
            <a:r>
              <a:rPr lang="pt-BR" dirty="0" err="1"/>
              <a:t>defensinas</a:t>
            </a:r>
            <a:r>
              <a:rPr lang="pt-BR" dirty="0"/>
              <a:t>, </a:t>
            </a:r>
            <a:r>
              <a:rPr lang="pt-BR" dirty="0" err="1"/>
              <a:t>catelicidinas</a:t>
            </a:r>
            <a:r>
              <a:rPr lang="pt-BR" dirty="0"/>
              <a:t>, </a:t>
            </a:r>
            <a:r>
              <a:rPr lang="pt-BR" dirty="0" err="1"/>
              <a:t>microbioma</a:t>
            </a:r>
            <a:r>
              <a:rPr lang="pt-BR" dirty="0"/>
              <a:t>)</a:t>
            </a:r>
          </a:p>
        </p:txBody>
      </p:sp>
      <p:sp>
        <p:nvSpPr>
          <p:cNvPr id="20" name="CaixaDeTexto 19">
            <a:extLst>
              <a:ext uri="{FF2B5EF4-FFF2-40B4-BE49-F238E27FC236}">
                <a16:creationId xmlns:a16="http://schemas.microsoft.com/office/drawing/2014/main" id="{0AEE3E48-8F89-FA86-6F1E-948F09A71616}"/>
              </a:ext>
            </a:extLst>
          </p:cNvPr>
          <p:cNvSpPr txBox="1"/>
          <p:nvPr/>
        </p:nvSpPr>
        <p:spPr>
          <a:xfrm>
            <a:off x="4416317" y="1683443"/>
            <a:ext cx="3483428" cy="1308050"/>
          </a:xfrm>
          <a:prstGeom prst="rect">
            <a:avLst/>
          </a:prstGeom>
          <a:noFill/>
        </p:spPr>
        <p:txBody>
          <a:bodyPr wrap="square">
            <a:spAutoFit/>
          </a:bodyPr>
          <a:lstStyle/>
          <a:p>
            <a:pPr lvl="0" algn="ctr">
              <a:spcBef>
                <a:spcPts val="600"/>
              </a:spcBef>
            </a:pPr>
            <a:r>
              <a:rPr lang="pt-BR" sz="2000" b="1" dirty="0">
                <a:solidFill>
                  <a:schemeClr val="tx2"/>
                </a:solidFill>
                <a:latin typeface="+mj-lt"/>
              </a:rPr>
              <a:t>IMUNIDADE INATA </a:t>
            </a:r>
          </a:p>
          <a:p>
            <a:pPr lvl="0" algn="ctr">
              <a:spcBef>
                <a:spcPts val="600"/>
              </a:spcBef>
            </a:pPr>
            <a:r>
              <a:rPr lang="pt-BR" dirty="0"/>
              <a:t>(complemento, macrófagos, mastócitos, granulócitos, células dendríticas, células NK e NKT, </a:t>
            </a:r>
            <a:r>
              <a:rPr lang="pt-BR" dirty="0" err="1"/>
              <a:t>ILCs</a:t>
            </a:r>
            <a:r>
              <a:rPr lang="pt-BR" dirty="0"/>
              <a:t>)</a:t>
            </a:r>
            <a:endParaRPr lang="pt-BR" sz="1600" dirty="0"/>
          </a:p>
        </p:txBody>
      </p:sp>
      <p:sp>
        <p:nvSpPr>
          <p:cNvPr id="27" name="CaixaDeTexto 26">
            <a:extLst>
              <a:ext uri="{FF2B5EF4-FFF2-40B4-BE49-F238E27FC236}">
                <a16:creationId xmlns:a16="http://schemas.microsoft.com/office/drawing/2014/main" id="{2821E0BC-9312-764E-C874-E0FD40D99F9B}"/>
              </a:ext>
            </a:extLst>
          </p:cNvPr>
          <p:cNvSpPr txBox="1"/>
          <p:nvPr/>
        </p:nvSpPr>
        <p:spPr>
          <a:xfrm>
            <a:off x="8365447" y="1683443"/>
            <a:ext cx="3483428" cy="1061829"/>
          </a:xfrm>
          <a:prstGeom prst="rect">
            <a:avLst/>
          </a:prstGeom>
          <a:noFill/>
        </p:spPr>
        <p:txBody>
          <a:bodyPr wrap="square">
            <a:spAutoFit/>
          </a:bodyPr>
          <a:lstStyle/>
          <a:p>
            <a:pPr lvl="0" algn="ctr"/>
            <a:r>
              <a:rPr lang="pt-BR" sz="2000" b="1" dirty="0">
                <a:solidFill>
                  <a:schemeClr val="tx2"/>
                </a:solidFill>
                <a:latin typeface="+mj-lt"/>
              </a:rPr>
              <a:t>IMUNIDADE ADAPTATIVA </a:t>
            </a:r>
          </a:p>
          <a:p>
            <a:pPr lvl="0" algn="ctr">
              <a:spcBef>
                <a:spcPts val="600"/>
              </a:spcBef>
            </a:pPr>
            <a:r>
              <a:rPr lang="pt-BR" dirty="0"/>
              <a:t>(linfócitos B e T, e anticorpos)</a:t>
            </a:r>
            <a:endParaRPr lang="pt-BR" sz="1600" dirty="0"/>
          </a:p>
        </p:txBody>
      </p:sp>
    </p:spTree>
    <p:extLst>
      <p:ext uri="{BB962C8B-B14F-4D97-AF65-F5344CB8AC3E}">
        <p14:creationId xmlns:p14="http://schemas.microsoft.com/office/powerpoint/2010/main" val="134012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bldP spid="10" grpId="0" animBg="1"/>
      <p:bldP spid="12" grpId="0" animBg="1"/>
      <p:bldP spid="14" grpId="0"/>
      <p:bldP spid="15" grpId="0"/>
      <p:bldP spid="16" grpId="0"/>
      <p:bldP spid="28" grpId="0"/>
      <p:bldP spid="20" grpId="0"/>
      <p:bldP spid="2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118D0565-914E-701B-0402-288FD384941E}"/>
              </a:ext>
            </a:extLst>
          </p:cNvPr>
          <p:cNvPicPr>
            <a:picLocks noChangeAspect="1"/>
          </p:cNvPicPr>
          <p:nvPr/>
        </p:nvPicPr>
        <p:blipFill rotWithShape="1">
          <a:blip r:embed="rId2">
            <a:extLst>
              <a:ext uri="{28A0092B-C50C-407E-A947-70E740481C1C}">
                <a14:useLocalDpi xmlns:a14="http://schemas.microsoft.com/office/drawing/2010/main" val="0"/>
              </a:ext>
            </a:extLst>
          </a:blip>
          <a:srcRect l="13916" t="217" r="46164" b="-217"/>
          <a:stretch/>
        </p:blipFill>
        <p:spPr>
          <a:xfrm>
            <a:off x="0" y="-14894"/>
            <a:ext cx="4597399" cy="6857999"/>
          </a:xfrm>
          <a:prstGeom prst="rect">
            <a:avLst/>
          </a:prstGeom>
        </p:spPr>
      </p:pic>
      <p:sp>
        <p:nvSpPr>
          <p:cNvPr id="14" name="Retângulo: Único Canto Arredondado 13">
            <a:extLst>
              <a:ext uri="{FF2B5EF4-FFF2-40B4-BE49-F238E27FC236}">
                <a16:creationId xmlns:a16="http://schemas.microsoft.com/office/drawing/2014/main" id="{332A9F67-8B10-E379-1C3F-3B04F2459BB3}"/>
              </a:ext>
            </a:extLst>
          </p:cNvPr>
          <p:cNvSpPr/>
          <p:nvPr/>
        </p:nvSpPr>
        <p:spPr>
          <a:xfrm flipH="1">
            <a:off x="4597399" y="-14894"/>
            <a:ext cx="7594599" cy="6857999"/>
          </a:xfrm>
          <a:prstGeom prst="round1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Retângulo: Único Canto Arredondado 4">
            <a:extLst>
              <a:ext uri="{FF2B5EF4-FFF2-40B4-BE49-F238E27FC236}">
                <a16:creationId xmlns:a16="http://schemas.microsoft.com/office/drawing/2014/main" id="{4329931E-E0E1-F789-E68B-E7B44BEA0F32}"/>
              </a:ext>
            </a:extLst>
          </p:cNvPr>
          <p:cNvSpPr/>
          <p:nvPr/>
        </p:nvSpPr>
        <p:spPr>
          <a:xfrm flipH="1" flipV="1">
            <a:off x="1" y="-1578"/>
            <a:ext cx="4597398" cy="6857999"/>
          </a:xfrm>
          <a:prstGeom prst="round1Rect">
            <a:avLst>
              <a:gd name="adj" fmla="val 0"/>
            </a:avLst>
          </a:prstGeom>
          <a:gradFill>
            <a:gsLst>
              <a:gs pos="50000">
                <a:srgbClr val="9F002B">
                  <a:alpha val="20000"/>
                </a:srgbClr>
              </a:gs>
              <a:gs pos="0">
                <a:schemeClr val="accent1">
                  <a:alpha val="88000"/>
                </a:schemeClr>
              </a:gs>
              <a:gs pos="100000">
                <a:schemeClr val="bg2">
                  <a:alpha val="67000"/>
                </a:scheme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0" name="Gráfico 9">
            <a:extLst>
              <a:ext uri="{FF2B5EF4-FFF2-40B4-BE49-F238E27FC236}">
                <a16:creationId xmlns:a16="http://schemas.microsoft.com/office/drawing/2014/main" id="{91E0AF04-E378-B55C-8394-704E54BB08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3074860"/>
            <a:ext cx="7649497" cy="3783140"/>
          </a:xfrm>
          <a:prstGeom prst="rect">
            <a:avLst/>
          </a:prstGeom>
        </p:spPr>
      </p:pic>
      <p:pic>
        <p:nvPicPr>
          <p:cNvPr id="8" name="Gráfico 7">
            <a:extLst>
              <a:ext uri="{FF2B5EF4-FFF2-40B4-BE49-F238E27FC236}">
                <a16:creationId xmlns:a16="http://schemas.microsoft.com/office/drawing/2014/main" id="{0B126FE5-1733-5783-F577-9BC230078D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98466" y="5997633"/>
            <a:ext cx="2342268" cy="568087"/>
          </a:xfrm>
          <a:prstGeom prst="rect">
            <a:avLst/>
          </a:prstGeom>
        </p:spPr>
      </p:pic>
      <p:sp>
        <p:nvSpPr>
          <p:cNvPr id="9" name="Rectangle 8">
            <a:extLst>
              <a:ext uri="{FF2B5EF4-FFF2-40B4-BE49-F238E27FC236}">
                <a16:creationId xmlns:a16="http://schemas.microsoft.com/office/drawing/2014/main" id="{B5D331E1-51D9-204C-02EC-2D88A21FC16F}"/>
              </a:ext>
            </a:extLst>
          </p:cNvPr>
          <p:cNvSpPr/>
          <p:nvPr/>
        </p:nvSpPr>
        <p:spPr>
          <a:xfrm>
            <a:off x="5130144" y="3092111"/>
            <a:ext cx="6115030"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4000" b="1" i="0" u="none" strike="noStrike" kern="1200" cap="none" spc="0" normalizeH="0" baseline="0" noProof="0" dirty="0">
                <a:ln>
                  <a:noFill/>
                </a:ln>
                <a:solidFill>
                  <a:srgbClr val="FFFFFF"/>
                </a:solidFill>
                <a:effectLst/>
                <a:uLnTx/>
                <a:uFillTx/>
                <a:latin typeface="Calisto MT"/>
                <a:ea typeface="+mn-ea"/>
                <a:cs typeface="+mn-cs"/>
              </a:rPr>
              <a:t>RESPOSTA</a:t>
            </a:r>
            <a:br>
              <a:rPr kumimoji="0" lang="pt-BR" sz="4800" b="1" i="0" u="none" strike="noStrike" kern="1200" cap="none" spc="0" normalizeH="0" baseline="0" noProof="0" dirty="0">
                <a:ln>
                  <a:noFill/>
                </a:ln>
                <a:solidFill>
                  <a:srgbClr val="FFFFFF"/>
                </a:solidFill>
                <a:effectLst/>
                <a:uLnTx/>
                <a:uFillTx/>
                <a:latin typeface="Calisto MT"/>
                <a:ea typeface="+mn-ea"/>
                <a:cs typeface="+mn-cs"/>
              </a:rPr>
            </a:br>
            <a:r>
              <a:rPr kumimoji="0" lang="pt-BR" sz="6000" b="1" i="0" u="none" strike="noStrike" kern="1200" cap="none" spc="0" normalizeH="0" baseline="0" noProof="0" dirty="0">
                <a:ln>
                  <a:noFill/>
                </a:ln>
                <a:solidFill>
                  <a:srgbClr val="FFFFFF"/>
                </a:solidFill>
                <a:effectLst/>
                <a:uLnTx/>
                <a:uFillTx/>
                <a:latin typeface="Calisto MT"/>
                <a:ea typeface="+mn-ea"/>
                <a:cs typeface="+mn-cs"/>
              </a:rPr>
              <a:t>IMUNE</a:t>
            </a:r>
            <a:endParaRPr kumimoji="0" lang="pt-BR" sz="4800" b="1" i="0" u="none" strike="noStrike" kern="1200" cap="none" spc="0" normalizeH="0" baseline="0" noProof="0" dirty="0">
              <a:ln>
                <a:noFill/>
              </a:ln>
              <a:solidFill>
                <a:srgbClr val="FFFFFF"/>
              </a:solidFill>
              <a:effectLst/>
              <a:uLnTx/>
              <a:uFillTx/>
              <a:latin typeface="Calisto MT"/>
              <a:ea typeface="+mn-ea"/>
              <a:cs typeface="+mn-cs"/>
            </a:endParaRPr>
          </a:p>
        </p:txBody>
      </p:sp>
      <p:grpSp>
        <p:nvGrpSpPr>
          <p:cNvPr id="38" name="Agrupar 37">
            <a:extLst>
              <a:ext uri="{FF2B5EF4-FFF2-40B4-BE49-F238E27FC236}">
                <a16:creationId xmlns:a16="http://schemas.microsoft.com/office/drawing/2014/main" id="{265C3F25-390B-7084-4B2E-95A567BFE756}"/>
              </a:ext>
            </a:extLst>
          </p:cNvPr>
          <p:cNvGrpSpPr/>
          <p:nvPr/>
        </p:nvGrpSpPr>
        <p:grpSpPr>
          <a:xfrm>
            <a:off x="5232588" y="1904989"/>
            <a:ext cx="983314" cy="983315"/>
            <a:chOff x="12852588" y="1663689"/>
            <a:chExt cx="983314" cy="983315"/>
          </a:xfrm>
        </p:grpSpPr>
        <p:sp>
          <p:nvSpPr>
            <p:cNvPr id="20" name="Forma Livre: Forma 19">
              <a:extLst>
                <a:ext uri="{FF2B5EF4-FFF2-40B4-BE49-F238E27FC236}">
                  <a16:creationId xmlns:a16="http://schemas.microsoft.com/office/drawing/2014/main" id="{F1823D11-F83A-415B-EAD1-279661671408}"/>
                </a:ext>
              </a:extLst>
            </p:cNvPr>
            <p:cNvSpPr/>
            <p:nvPr/>
          </p:nvSpPr>
          <p:spPr>
            <a:xfrm>
              <a:off x="13074626" y="1663689"/>
              <a:ext cx="539237" cy="539237"/>
            </a:xfrm>
            <a:custGeom>
              <a:avLst/>
              <a:gdLst>
                <a:gd name="connsiteX0" fmla="*/ 0 w 539237"/>
                <a:gd name="connsiteY0" fmla="*/ 222039 h 539237"/>
                <a:gd name="connsiteX1" fmla="*/ 0 w 539237"/>
                <a:gd name="connsiteY1" fmla="*/ 317198 h 539237"/>
                <a:gd name="connsiteX2" fmla="*/ 31720 w 539237"/>
                <a:gd name="connsiteY2" fmla="*/ 317198 h 539237"/>
                <a:gd name="connsiteX3" fmla="*/ 31720 w 539237"/>
                <a:gd name="connsiteY3" fmla="*/ 285479 h 539237"/>
                <a:gd name="connsiteX4" fmla="*/ 95968 w 539237"/>
                <a:gd name="connsiteY4" fmla="*/ 285479 h 539237"/>
                <a:gd name="connsiteX5" fmla="*/ 135634 w 539237"/>
                <a:gd name="connsiteY5" fmla="*/ 381177 h 539237"/>
                <a:gd name="connsiteX6" fmla="*/ 90180 w 539237"/>
                <a:gd name="connsiteY6" fmla="*/ 426632 h 539237"/>
                <a:gd name="connsiteX7" fmla="*/ 67754 w 539237"/>
                <a:gd name="connsiteY7" fmla="*/ 404206 h 539237"/>
                <a:gd name="connsiteX8" fmla="*/ 45328 w 539237"/>
                <a:gd name="connsiteY8" fmla="*/ 426632 h 539237"/>
                <a:gd name="connsiteX9" fmla="*/ 112605 w 539237"/>
                <a:gd name="connsiteY9" fmla="*/ 493926 h 539237"/>
                <a:gd name="connsiteX10" fmla="*/ 135031 w 539237"/>
                <a:gd name="connsiteY10" fmla="*/ 471500 h 539237"/>
                <a:gd name="connsiteX11" fmla="*/ 112605 w 539237"/>
                <a:gd name="connsiteY11" fmla="*/ 449058 h 539237"/>
                <a:gd name="connsiteX12" fmla="*/ 158060 w 539237"/>
                <a:gd name="connsiteY12" fmla="*/ 403603 h 539237"/>
                <a:gd name="connsiteX13" fmla="*/ 253759 w 539237"/>
                <a:gd name="connsiteY13" fmla="*/ 443269 h 539237"/>
                <a:gd name="connsiteX14" fmla="*/ 253759 w 539237"/>
                <a:gd name="connsiteY14" fmla="*/ 507518 h 539237"/>
                <a:gd name="connsiteX15" fmla="*/ 222039 w 539237"/>
                <a:gd name="connsiteY15" fmla="*/ 507518 h 539237"/>
                <a:gd name="connsiteX16" fmla="*/ 222039 w 539237"/>
                <a:gd name="connsiteY16" fmla="*/ 539237 h 539237"/>
                <a:gd name="connsiteX17" fmla="*/ 317198 w 539237"/>
                <a:gd name="connsiteY17" fmla="*/ 539237 h 539237"/>
                <a:gd name="connsiteX18" fmla="*/ 317198 w 539237"/>
                <a:gd name="connsiteY18" fmla="*/ 507518 h 539237"/>
                <a:gd name="connsiteX19" fmla="*/ 285479 w 539237"/>
                <a:gd name="connsiteY19" fmla="*/ 507518 h 539237"/>
                <a:gd name="connsiteX20" fmla="*/ 285479 w 539237"/>
                <a:gd name="connsiteY20" fmla="*/ 443269 h 539237"/>
                <a:gd name="connsiteX21" fmla="*/ 381177 w 539237"/>
                <a:gd name="connsiteY21" fmla="*/ 403603 h 539237"/>
                <a:gd name="connsiteX22" fmla="*/ 426632 w 539237"/>
                <a:gd name="connsiteY22" fmla="*/ 449058 h 539237"/>
                <a:gd name="connsiteX23" fmla="*/ 404206 w 539237"/>
                <a:gd name="connsiteY23" fmla="*/ 471484 h 539237"/>
                <a:gd name="connsiteX24" fmla="*/ 426632 w 539237"/>
                <a:gd name="connsiteY24" fmla="*/ 493910 h 539237"/>
                <a:gd name="connsiteX25" fmla="*/ 493910 w 539237"/>
                <a:gd name="connsiteY25" fmla="*/ 426616 h 539237"/>
                <a:gd name="connsiteX26" fmla="*/ 471484 w 539237"/>
                <a:gd name="connsiteY26" fmla="*/ 404190 h 539237"/>
                <a:gd name="connsiteX27" fmla="*/ 449058 w 539237"/>
                <a:gd name="connsiteY27" fmla="*/ 426616 h 539237"/>
                <a:gd name="connsiteX28" fmla="*/ 403603 w 539237"/>
                <a:gd name="connsiteY28" fmla="*/ 381162 h 539237"/>
                <a:gd name="connsiteX29" fmla="*/ 443269 w 539237"/>
                <a:gd name="connsiteY29" fmla="*/ 285463 h 539237"/>
                <a:gd name="connsiteX30" fmla="*/ 507517 w 539237"/>
                <a:gd name="connsiteY30" fmla="*/ 285463 h 539237"/>
                <a:gd name="connsiteX31" fmla="*/ 507517 w 539237"/>
                <a:gd name="connsiteY31" fmla="*/ 317183 h 539237"/>
                <a:gd name="connsiteX32" fmla="*/ 539237 w 539237"/>
                <a:gd name="connsiteY32" fmla="*/ 317183 h 539237"/>
                <a:gd name="connsiteX33" fmla="*/ 539237 w 539237"/>
                <a:gd name="connsiteY33" fmla="*/ 222023 h 539237"/>
                <a:gd name="connsiteX34" fmla="*/ 507517 w 539237"/>
                <a:gd name="connsiteY34" fmla="*/ 222023 h 539237"/>
                <a:gd name="connsiteX35" fmla="*/ 507517 w 539237"/>
                <a:gd name="connsiteY35" fmla="*/ 253743 h 539237"/>
                <a:gd name="connsiteX36" fmla="*/ 443269 w 539237"/>
                <a:gd name="connsiteY36" fmla="*/ 253743 h 539237"/>
                <a:gd name="connsiteX37" fmla="*/ 403603 w 539237"/>
                <a:gd name="connsiteY37" fmla="*/ 158044 h 539237"/>
                <a:gd name="connsiteX38" fmla="*/ 449058 w 539237"/>
                <a:gd name="connsiteY38" fmla="*/ 112590 h 539237"/>
                <a:gd name="connsiteX39" fmla="*/ 471484 w 539237"/>
                <a:gd name="connsiteY39" fmla="*/ 135016 h 539237"/>
                <a:gd name="connsiteX40" fmla="*/ 493910 w 539237"/>
                <a:gd name="connsiteY40" fmla="*/ 112590 h 539237"/>
                <a:gd name="connsiteX41" fmla="*/ 426632 w 539237"/>
                <a:gd name="connsiteY41" fmla="*/ 45296 h 539237"/>
                <a:gd name="connsiteX42" fmla="*/ 404206 w 539237"/>
                <a:gd name="connsiteY42" fmla="*/ 67722 h 539237"/>
                <a:gd name="connsiteX43" fmla="*/ 426632 w 539237"/>
                <a:gd name="connsiteY43" fmla="*/ 90180 h 539237"/>
                <a:gd name="connsiteX44" fmla="*/ 381177 w 539237"/>
                <a:gd name="connsiteY44" fmla="*/ 135634 h 539237"/>
                <a:gd name="connsiteX45" fmla="*/ 285479 w 539237"/>
                <a:gd name="connsiteY45" fmla="*/ 95968 h 539237"/>
                <a:gd name="connsiteX46" fmla="*/ 285479 w 539237"/>
                <a:gd name="connsiteY46" fmla="*/ 31720 h 539237"/>
                <a:gd name="connsiteX47" fmla="*/ 317198 w 539237"/>
                <a:gd name="connsiteY47" fmla="*/ 31720 h 539237"/>
                <a:gd name="connsiteX48" fmla="*/ 317198 w 539237"/>
                <a:gd name="connsiteY48" fmla="*/ 0 h 539237"/>
                <a:gd name="connsiteX49" fmla="*/ 222039 w 539237"/>
                <a:gd name="connsiteY49" fmla="*/ 0 h 539237"/>
                <a:gd name="connsiteX50" fmla="*/ 222039 w 539237"/>
                <a:gd name="connsiteY50" fmla="*/ 31720 h 539237"/>
                <a:gd name="connsiteX51" fmla="*/ 253759 w 539237"/>
                <a:gd name="connsiteY51" fmla="*/ 31720 h 539237"/>
                <a:gd name="connsiteX52" fmla="*/ 253759 w 539237"/>
                <a:gd name="connsiteY52" fmla="*/ 95968 h 539237"/>
                <a:gd name="connsiteX53" fmla="*/ 158060 w 539237"/>
                <a:gd name="connsiteY53" fmla="*/ 135634 h 539237"/>
                <a:gd name="connsiteX54" fmla="*/ 112605 w 539237"/>
                <a:gd name="connsiteY54" fmla="*/ 90180 h 539237"/>
                <a:gd name="connsiteX55" fmla="*/ 135031 w 539237"/>
                <a:gd name="connsiteY55" fmla="*/ 67754 h 539237"/>
                <a:gd name="connsiteX56" fmla="*/ 112605 w 539237"/>
                <a:gd name="connsiteY56" fmla="*/ 45328 h 539237"/>
                <a:gd name="connsiteX57" fmla="*/ 45328 w 539237"/>
                <a:gd name="connsiteY57" fmla="*/ 112621 h 539237"/>
                <a:gd name="connsiteX58" fmla="*/ 67754 w 539237"/>
                <a:gd name="connsiteY58" fmla="*/ 135047 h 539237"/>
                <a:gd name="connsiteX59" fmla="*/ 90180 w 539237"/>
                <a:gd name="connsiteY59" fmla="*/ 112621 h 539237"/>
                <a:gd name="connsiteX60" fmla="*/ 135634 w 539237"/>
                <a:gd name="connsiteY60" fmla="*/ 158076 h 539237"/>
                <a:gd name="connsiteX61" fmla="*/ 95968 w 539237"/>
                <a:gd name="connsiteY61" fmla="*/ 253775 h 539237"/>
                <a:gd name="connsiteX62" fmla="*/ 31720 w 539237"/>
                <a:gd name="connsiteY62" fmla="*/ 253775 h 539237"/>
                <a:gd name="connsiteX63" fmla="*/ 31720 w 539237"/>
                <a:gd name="connsiteY63" fmla="*/ 222055 h 539237"/>
                <a:gd name="connsiteX64" fmla="*/ 0 w 539237"/>
                <a:gd name="connsiteY64" fmla="*/ 222055 h 539237"/>
                <a:gd name="connsiteX65" fmla="*/ 158599 w 539237"/>
                <a:gd name="connsiteY65" fmla="*/ 348918 h 539237"/>
                <a:gd name="connsiteX66" fmla="*/ 150257 w 539237"/>
                <a:gd name="connsiteY66" fmla="*/ 347665 h 539237"/>
                <a:gd name="connsiteX67" fmla="*/ 130876 w 539237"/>
                <a:gd name="connsiteY67" fmla="*/ 302544 h 539237"/>
                <a:gd name="connsiteX68" fmla="*/ 158599 w 539237"/>
                <a:gd name="connsiteY68" fmla="*/ 285479 h 539237"/>
                <a:gd name="connsiteX69" fmla="*/ 190319 w 539237"/>
                <a:gd name="connsiteY69" fmla="*/ 317198 h 539237"/>
                <a:gd name="connsiteX70" fmla="*/ 158599 w 539237"/>
                <a:gd name="connsiteY70" fmla="*/ 348918 h 539237"/>
                <a:gd name="connsiteX71" fmla="*/ 348918 w 539237"/>
                <a:gd name="connsiteY71" fmla="*/ 380638 h 539237"/>
                <a:gd name="connsiteX72" fmla="*/ 285479 w 539237"/>
                <a:gd name="connsiteY72" fmla="*/ 317198 h 539237"/>
                <a:gd name="connsiteX73" fmla="*/ 348918 w 539237"/>
                <a:gd name="connsiteY73" fmla="*/ 253759 h 539237"/>
                <a:gd name="connsiteX74" fmla="*/ 409392 w 539237"/>
                <a:gd name="connsiteY74" fmla="*/ 298563 h 539237"/>
                <a:gd name="connsiteX75" fmla="*/ 360670 w 539237"/>
                <a:gd name="connsiteY75" fmla="*/ 379433 h 539237"/>
                <a:gd name="connsiteX76" fmla="*/ 348918 w 539237"/>
                <a:gd name="connsiteY76" fmla="*/ 380638 h 539237"/>
                <a:gd name="connsiteX77" fmla="*/ 269619 w 539237"/>
                <a:gd name="connsiteY77" fmla="*/ 126879 h 539237"/>
                <a:gd name="connsiteX78" fmla="*/ 316072 w 539237"/>
                <a:gd name="connsiteY78" fmla="*/ 134793 h 539237"/>
                <a:gd name="connsiteX79" fmla="*/ 285479 w 539237"/>
                <a:gd name="connsiteY79" fmla="*/ 158599 h 539237"/>
                <a:gd name="connsiteX80" fmla="*/ 253854 w 539237"/>
                <a:gd name="connsiteY80" fmla="*/ 127799 h 539237"/>
                <a:gd name="connsiteX81" fmla="*/ 269619 w 539237"/>
                <a:gd name="connsiteY81" fmla="*/ 126879 h 539237"/>
                <a:gd name="connsiteX82" fmla="*/ 222848 w 539237"/>
                <a:gd name="connsiteY82" fmla="*/ 134905 h 539237"/>
                <a:gd name="connsiteX83" fmla="*/ 285479 w 539237"/>
                <a:gd name="connsiteY83" fmla="*/ 190319 h 539237"/>
                <a:gd name="connsiteX84" fmla="*/ 344858 w 539237"/>
                <a:gd name="connsiteY84" fmla="*/ 148544 h 539237"/>
                <a:gd name="connsiteX85" fmla="*/ 409995 w 539237"/>
                <a:gd name="connsiteY85" fmla="*/ 244481 h 539237"/>
                <a:gd name="connsiteX86" fmla="*/ 348918 w 539237"/>
                <a:gd name="connsiteY86" fmla="*/ 222039 h 539237"/>
                <a:gd name="connsiteX87" fmla="*/ 253759 w 539237"/>
                <a:gd name="connsiteY87" fmla="*/ 317198 h 539237"/>
                <a:gd name="connsiteX88" fmla="*/ 313408 w 539237"/>
                <a:gd name="connsiteY88" fmla="*/ 405411 h 539237"/>
                <a:gd name="connsiteX89" fmla="*/ 269619 w 539237"/>
                <a:gd name="connsiteY89" fmla="*/ 412358 h 539237"/>
                <a:gd name="connsiteX90" fmla="*/ 176648 w 539237"/>
                <a:gd name="connsiteY90" fmla="*/ 377704 h 539237"/>
                <a:gd name="connsiteX91" fmla="*/ 222039 w 539237"/>
                <a:gd name="connsiteY91" fmla="*/ 317198 h 539237"/>
                <a:gd name="connsiteX92" fmla="*/ 158599 w 539237"/>
                <a:gd name="connsiteY92" fmla="*/ 253759 h 539237"/>
                <a:gd name="connsiteX93" fmla="*/ 127244 w 539237"/>
                <a:gd name="connsiteY93" fmla="*/ 262307 h 539237"/>
                <a:gd name="connsiteX94" fmla="*/ 222848 w 539237"/>
                <a:gd name="connsiteY94" fmla="*/ 134905 h 53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39237" h="539237">
                  <a:moveTo>
                    <a:pt x="0" y="222039"/>
                  </a:moveTo>
                  <a:lnTo>
                    <a:pt x="0" y="317198"/>
                  </a:lnTo>
                  <a:lnTo>
                    <a:pt x="31720" y="317198"/>
                  </a:lnTo>
                  <a:lnTo>
                    <a:pt x="31720" y="285479"/>
                  </a:lnTo>
                  <a:lnTo>
                    <a:pt x="95968" y="285479"/>
                  </a:lnTo>
                  <a:cubicBezTo>
                    <a:pt x="99251" y="321687"/>
                    <a:pt x="113589" y="354723"/>
                    <a:pt x="135634" y="381177"/>
                  </a:cubicBezTo>
                  <a:lnTo>
                    <a:pt x="90180" y="426632"/>
                  </a:lnTo>
                  <a:lnTo>
                    <a:pt x="67754" y="404206"/>
                  </a:lnTo>
                  <a:lnTo>
                    <a:pt x="45328" y="426632"/>
                  </a:lnTo>
                  <a:lnTo>
                    <a:pt x="112605" y="493926"/>
                  </a:lnTo>
                  <a:lnTo>
                    <a:pt x="135031" y="471500"/>
                  </a:lnTo>
                  <a:lnTo>
                    <a:pt x="112605" y="449058"/>
                  </a:lnTo>
                  <a:lnTo>
                    <a:pt x="158060" y="403603"/>
                  </a:lnTo>
                  <a:cubicBezTo>
                    <a:pt x="184498" y="425665"/>
                    <a:pt x="217551" y="439986"/>
                    <a:pt x="253759" y="443269"/>
                  </a:cubicBezTo>
                  <a:lnTo>
                    <a:pt x="253759" y="507518"/>
                  </a:lnTo>
                  <a:lnTo>
                    <a:pt x="222039" y="507518"/>
                  </a:lnTo>
                  <a:lnTo>
                    <a:pt x="222039" y="539237"/>
                  </a:lnTo>
                  <a:lnTo>
                    <a:pt x="317198" y="539237"/>
                  </a:lnTo>
                  <a:lnTo>
                    <a:pt x="317198" y="507518"/>
                  </a:lnTo>
                  <a:lnTo>
                    <a:pt x="285479" y="507518"/>
                  </a:lnTo>
                  <a:lnTo>
                    <a:pt x="285479" y="443269"/>
                  </a:lnTo>
                  <a:cubicBezTo>
                    <a:pt x="321687" y="439986"/>
                    <a:pt x="354723" y="425649"/>
                    <a:pt x="381177" y="403603"/>
                  </a:cubicBezTo>
                  <a:lnTo>
                    <a:pt x="426632" y="449058"/>
                  </a:lnTo>
                  <a:lnTo>
                    <a:pt x="404206" y="471484"/>
                  </a:lnTo>
                  <a:lnTo>
                    <a:pt x="426632" y="493910"/>
                  </a:lnTo>
                  <a:lnTo>
                    <a:pt x="493910" y="426616"/>
                  </a:lnTo>
                  <a:lnTo>
                    <a:pt x="471484" y="404190"/>
                  </a:lnTo>
                  <a:lnTo>
                    <a:pt x="449058" y="426616"/>
                  </a:lnTo>
                  <a:lnTo>
                    <a:pt x="403603" y="381162"/>
                  </a:lnTo>
                  <a:cubicBezTo>
                    <a:pt x="425664" y="354723"/>
                    <a:pt x="439986" y="321671"/>
                    <a:pt x="443269" y="285463"/>
                  </a:cubicBezTo>
                  <a:lnTo>
                    <a:pt x="507517" y="285463"/>
                  </a:lnTo>
                  <a:lnTo>
                    <a:pt x="507517" y="317183"/>
                  </a:lnTo>
                  <a:lnTo>
                    <a:pt x="539237" y="317183"/>
                  </a:lnTo>
                  <a:lnTo>
                    <a:pt x="539237" y="222023"/>
                  </a:lnTo>
                  <a:lnTo>
                    <a:pt x="507517" y="222023"/>
                  </a:lnTo>
                  <a:lnTo>
                    <a:pt x="507517" y="253743"/>
                  </a:lnTo>
                  <a:lnTo>
                    <a:pt x="443269" y="253743"/>
                  </a:lnTo>
                  <a:cubicBezTo>
                    <a:pt x="439986" y="217535"/>
                    <a:pt x="425649" y="184498"/>
                    <a:pt x="403603" y="158044"/>
                  </a:cubicBezTo>
                  <a:lnTo>
                    <a:pt x="449058" y="112590"/>
                  </a:lnTo>
                  <a:lnTo>
                    <a:pt x="471484" y="135016"/>
                  </a:lnTo>
                  <a:lnTo>
                    <a:pt x="493910" y="112590"/>
                  </a:lnTo>
                  <a:lnTo>
                    <a:pt x="426632" y="45296"/>
                  </a:lnTo>
                  <a:lnTo>
                    <a:pt x="404206" y="67722"/>
                  </a:lnTo>
                  <a:lnTo>
                    <a:pt x="426632" y="90180"/>
                  </a:lnTo>
                  <a:lnTo>
                    <a:pt x="381177" y="135634"/>
                  </a:lnTo>
                  <a:cubicBezTo>
                    <a:pt x="354723" y="113573"/>
                    <a:pt x="321687" y="99251"/>
                    <a:pt x="285479" y="95968"/>
                  </a:cubicBezTo>
                  <a:lnTo>
                    <a:pt x="285479" y="31720"/>
                  </a:lnTo>
                  <a:lnTo>
                    <a:pt x="317198" y="31720"/>
                  </a:lnTo>
                  <a:lnTo>
                    <a:pt x="317198" y="0"/>
                  </a:lnTo>
                  <a:lnTo>
                    <a:pt x="222039" y="0"/>
                  </a:lnTo>
                  <a:lnTo>
                    <a:pt x="222039" y="31720"/>
                  </a:lnTo>
                  <a:lnTo>
                    <a:pt x="253759" y="31720"/>
                  </a:lnTo>
                  <a:lnTo>
                    <a:pt x="253759" y="95968"/>
                  </a:lnTo>
                  <a:cubicBezTo>
                    <a:pt x="217551" y="99251"/>
                    <a:pt x="184514" y="113589"/>
                    <a:pt x="158060" y="135634"/>
                  </a:cubicBezTo>
                  <a:lnTo>
                    <a:pt x="112605" y="90180"/>
                  </a:lnTo>
                  <a:lnTo>
                    <a:pt x="135031" y="67754"/>
                  </a:lnTo>
                  <a:lnTo>
                    <a:pt x="112605" y="45328"/>
                  </a:lnTo>
                  <a:lnTo>
                    <a:pt x="45328" y="112621"/>
                  </a:lnTo>
                  <a:lnTo>
                    <a:pt x="67754" y="135047"/>
                  </a:lnTo>
                  <a:lnTo>
                    <a:pt x="90180" y="112621"/>
                  </a:lnTo>
                  <a:lnTo>
                    <a:pt x="135634" y="158076"/>
                  </a:lnTo>
                  <a:cubicBezTo>
                    <a:pt x="113573" y="184514"/>
                    <a:pt x="99251" y="217566"/>
                    <a:pt x="95968" y="253775"/>
                  </a:cubicBezTo>
                  <a:lnTo>
                    <a:pt x="31720" y="253775"/>
                  </a:lnTo>
                  <a:lnTo>
                    <a:pt x="31720" y="222055"/>
                  </a:lnTo>
                  <a:lnTo>
                    <a:pt x="0" y="222055"/>
                  </a:lnTo>
                  <a:close/>
                  <a:moveTo>
                    <a:pt x="158599" y="348918"/>
                  </a:moveTo>
                  <a:cubicBezTo>
                    <a:pt x="155729" y="348918"/>
                    <a:pt x="152969" y="348411"/>
                    <a:pt x="150257" y="347665"/>
                  </a:cubicBezTo>
                  <a:cubicBezTo>
                    <a:pt x="141328" y="334058"/>
                    <a:pt x="134730" y="318832"/>
                    <a:pt x="130876" y="302544"/>
                  </a:cubicBezTo>
                  <a:cubicBezTo>
                    <a:pt x="136316" y="292314"/>
                    <a:pt x="146815" y="285479"/>
                    <a:pt x="158599" y="285479"/>
                  </a:cubicBezTo>
                  <a:cubicBezTo>
                    <a:pt x="176093" y="285479"/>
                    <a:pt x="190319" y="299705"/>
                    <a:pt x="190319" y="317198"/>
                  </a:cubicBezTo>
                  <a:cubicBezTo>
                    <a:pt x="190319" y="334692"/>
                    <a:pt x="176093" y="348918"/>
                    <a:pt x="158599" y="348918"/>
                  </a:cubicBezTo>
                  <a:close/>
                  <a:moveTo>
                    <a:pt x="348918" y="380638"/>
                  </a:moveTo>
                  <a:cubicBezTo>
                    <a:pt x="313931" y="380638"/>
                    <a:pt x="285479" y="352185"/>
                    <a:pt x="285479" y="317198"/>
                  </a:cubicBezTo>
                  <a:cubicBezTo>
                    <a:pt x="285479" y="282211"/>
                    <a:pt x="313931" y="253759"/>
                    <a:pt x="348918" y="253759"/>
                  </a:cubicBezTo>
                  <a:cubicBezTo>
                    <a:pt x="376895" y="253759"/>
                    <a:pt x="401240" y="272077"/>
                    <a:pt x="409392" y="298563"/>
                  </a:cubicBezTo>
                  <a:cubicBezTo>
                    <a:pt x="402715" y="330822"/>
                    <a:pt x="385126" y="359116"/>
                    <a:pt x="360670" y="379433"/>
                  </a:cubicBezTo>
                  <a:cubicBezTo>
                    <a:pt x="356816" y="380162"/>
                    <a:pt x="352883" y="380638"/>
                    <a:pt x="348918" y="380638"/>
                  </a:cubicBezTo>
                  <a:close/>
                  <a:moveTo>
                    <a:pt x="269619" y="126879"/>
                  </a:moveTo>
                  <a:cubicBezTo>
                    <a:pt x="285907" y="126879"/>
                    <a:pt x="301481" y="129750"/>
                    <a:pt x="316072" y="134793"/>
                  </a:cubicBezTo>
                  <a:cubicBezTo>
                    <a:pt x="312536" y="148449"/>
                    <a:pt x="300212" y="158599"/>
                    <a:pt x="285479" y="158599"/>
                  </a:cubicBezTo>
                  <a:cubicBezTo>
                    <a:pt x="268302" y="158599"/>
                    <a:pt x="254346" y="144865"/>
                    <a:pt x="253854" y="127799"/>
                  </a:cubicBezTo>
                  <a:cubicBezTo>
                    <a:pt x="259040" y="127228"/>
                    <a:pt x="264290" y="126879"/>
                    <a:pt x="269619" y="126879"/>
                  </a:cubicBezTo>
                  <a:close/>
                  <a:moveTo>
                    <a:pt x="222848" y="134905"/>
                  </a:moveTo>
                  <a:cubicBezTo>
                    <a:pt x="226844" y="166069"/>
                    <a:pt x="253235" y="190319"/>
                    <a:pt x="285479" y="190319"/>
                  </a:cubicBezTo>
                  <a:cubicBezTo>
                    <a:pt x="312821" y="190319"/>
                    <a:pt x="335961" y="172841"/>
                    <a:pt x="344858" y="148544"/>
                  </a:cubicBezTo>
                  <a:cubicBezTo>
                    <a:pt x="378497" y="169527"/>
                    <a:pt x="402779" y="204038"/>
                    <a:pt x="409995" y="244481"/>
                  </a:cubicBezTo>
                  <a:cubicBezTo>
                    <a:pt x="393294" y="230461"/>
                    <a:pt x="371963" y="222039"/>
                    <a:pt x="348918" y="222039"/>
                  </a:cubicBezTo>
                  <a:cubicBezTo>
                    <a:pt x="296438" y="222039"/>
                    <a:pt x="253759" y="264718"/>
                    <a:pt x="253759" y="317198"/>
                  </a:cubicBezTo>
                  <a:cubicBezTo>
                    <a:pt x="253759" y="357118"/>
                    <a:pt x="278484" y="391312"/>
                    <a:pt x="313408" y="405411"/>
                  </a:cubicBezTo>
                  <a:cubicBezTo>
                    <a:pt x="299594" y="409884"/>
                    <a:pt x="284908" y="412358"/>
                    <a:pt x="269619" y="412358"/>
                  </a:cubicBezTo>
                  <a:cubicBezTo>
                    <a:pt x="234108" y="412358"/>
                    <a:pt x="201659" y="399242"/>
                    <a:pt x="176648" y="377704"/>
                  </a:cubicBezTo>
                  <a:cubicBezTo>
                    <a:pt x="202801" y="369869"/>
                    <a:pt x="222039" y="345857"/>
                    <a:pt x="222039" y="317198"/>
                  </a:cubicBezTo>
                  <a:cubicBezTo>
                    <a:pt x="222039" y="282211"/>
                    <a:pt x="193586" y="253759"/>
                    <a:pt x="158599" y="253759"/>
                  </a:cubicBezTo>
                  <a:cubicBezTo>
                    <a:pt x="147355" y="253759"/>
                    <a:pt x="136649" y="256931"/>
                    <a:pt x="127244" y="262307"/>
                  </a:cubicBezTo>
                  <a:cubicBezTo>
                    <a:pt x="130273" y="203197"/>
                    <a:pt x="169289" y="153556"/>
                    <a:pt x="222848" y="134905"/>
                  </a:cubicBezTo>
                  <a:close/>
                </a:path>
              </a:pathLst>
            </a:custGeom>
            <a:solidFill>
              <a:schemeClr val="bg1"/>
            </a:solidFill>
            <a:ln w="15824" cap="flat">
              <a:noFill/>
              <a:prstDash val="solid"/>
              <a:miter/>
            </a:ln>
          </p:spPr>
          <p:txBody>
            <a:bodyPr rtlCol="0" anchor="ctr"/>
            <a:lstStyle/>
            <a:p>
              <a:endParaRPr lang="pt-BR"/>
            </a:p>
          </p:txBody>
        </p:sp>
        <p:sp>
          <p:nvSpPr>
            <p:cNvPr id="21" name="Forma Livre: Forma 20">
              <a:extLst>
                <a:ext uri="{FF2B5EF4-FFF2-40B4-BE49-F238E27FC236}">
                  <a16:creationId xmlns:a16="http://schemas.microsoft.com/office/drawing/2014/main" id="{00B4785C-CCB1-A6C2-0224-8A5C22C37B92}"/>
                </a:ext>
              </a:extLst>
            </p:cNvPr>
            <p:cNvSpPr/>
            <p:nvPr/>
          </p:nvSpPr>
          <p:spPr>
            <a:xfrm rot="18900000">
              <a:off x="13122200" y="2176645"/>
              <a:ext cx="31719" cy="179437"/>
            </a:xfrm>
            <a:custGeom>
              <a:avLst/>
              <a:gdLst>
                <a:gd name="connsiteX0" fmla="*/ 0 w 31719"/>
                <a:gd name="connsiteY0" fmla="*/ 0 h 179437"/>
                <a:gd name="connsiteX1" fmla="*/ 31720 w 31719"/>
                <a:gd name="connsiteY1" fmla="*/ 0 h 179437"/>
                <a:gd name="connsiteX2" fmla="*/ 31720 w 31719"/>
                <a:gd name="connsiteY2" fmla="*/ 179437 h 179437"/>
                <a:gd name="connsiteX3" fmla="*/ 0 w 31719"/>
                <a:gd name="connsiteY3" fmla="*/ 179437 h 179437"/>
              </a:gdLst>
              <a:ahLst/>
              <a:cxnLst>
                <a:cxn ang="0">
                  <a:pos x="connsiteX0" y="connsiteY0"/>
                </a:cxn>
                <a:cxn ang="0">
                  <a:pos x="connsiteX1" y="connsiteY1"/>
                </a:cxn>
                <a:cxn ang="0">
                  <a:pos x="connsiteX2" y="connsiteY2"/>
                </a:cxn>
                <a:cxn ang="0">
                  <a:pos x="connsiteX3" y="connsiteY3"/>
                </a:cxn>
              </a:cxnLst>
              <a:rect l="l" t="t" r="r" b="b"/>
              <a:pathLst>
                <a:path w="31719" h="179437">
                  <a:moveTo>
                    <a:pt x="0" y="0"/>
                  </a:moveTo>
                  <a:lnTo>
                    <a:pt x="31720" y="0"/>
                  </a:lnTo>
                  <a:lnTo>
                    <a:pt x="31720" y="179437"/>
                  </a:lnTo>
                  <a:lnTo>
                    <a:pt x="0" y="179437"/>
                  </a:lnTo>
                  <a:close/>
                </a:path>
              </a:pathLst>
            </a:custGeom>
            <a:solidFill>
              <a:schemeClr val="bg1"/>
            </a:solidFill>
            <a:ln w="15824" cap="flat">
              <a:noFill/>
              <a:prstDash val="solid"/>
              <a:miter/>
            </a:ln>
          </p:spPr>
          <p:txBody>
            <a:bodyPr rtlCol="0" anchor="ctr"/>
            <a:lstStyle/>
            <a:p>
              <a:endParaRPr lang="pt-BR"/>
            </a:p>
          </p:txBody>
        </p:sp>
        <p:sp>
          <p:nvSpPr>
            <p:cNvPr id="22" name="Forma Livre: Forma 21">
              <a:extLst>
                <a:ext uri="{FF2B5EF4-FFF2-40B4-BE49-F238E27FC236}">
                  <a16:creationId xmlns:a16="http://schemas.microsoft.com/office/drawing/2014/main" id="{647D50B0-9744-F195-AF1A-0ECB0E3086FF}"/>
                </a:ext>
              </a:extLst>
            </p:cNvPr>
            <p:cNvSpPr/>
            <p:nvPr/>
          </p:nvSpPr>
          <p:spPr>
            <a:xfrm>
              <a:off x="13110993" y="2144133"/>
              <a:ext cx="466503" cy="502870"/>
            </a:xfrm>
            <a:custGeom>
              <a:avLst/>
              <a:gdLst>
                <a:gd name="connsiteX0" fmla="*/ 444078 w 466503"/>
                <a:gd name="connsiteY0" fmla="*/ 0 h 502870"/>
                <a:gd name="connsiteX1" fmla="*/ 249112 w 466503"/>
                <a:gd name="connsiteY1" fmla="*/ 194966 h 502870"/>
                <a:gd name="connsiteX2" fmla="*/ 249112 w 466503"/>
                <a:gd name="connsiteY2" fmla="*/ 280832 h 502870"/>
                <a:gd name="connsiteX3" fmla="*/ 217392 w 466503"/>
                <a:gd name="connsiteY3" fmla="*/ 280832 h 502870"/>
                <a:gd name="connsiteX4" fmla="*/ 217392 w 466503"/>
                <a:gd name="connsiteY4" fmla="*/ 194966 h 502870"/>
                <a:gd name="connsiteX5" fmla="*/ 22426 w 466503"/>
                <a:gd name="connsiteY5" fmla="*/ 0 h 502870"/>
                <a:gd name="connsiteX6" fmla="*/ 0 w 466503"/>
                <a:gd name="connsiteY6" fmla="*/ 22426 h 502870"/>
                <a:gd name="connsiteX7" fmla="*/ 185672 w 466503"/>
                <a:gd name="connsiteY7" fmla="*/ 208098 h 502870"/>
                <a:gd name="connsiteX8" fmla="*/ 185672 w 466503"/>
                <a:gd name="connsiteY8" fmla="*/ 502871 h 502870"/>
                <a:gd name="connsiteX9" fmla="*/ 217392 w 466503"/>
                <a:gd name="connsiteY9" fmla="*/ 502871 h 502870"/>
                <a:gd name="connsiteX10" fmla="*/ 217392 w 466503"/>
                <a:gd name="connsiteY10" fmla="*/ 375991 h 502870"/>
                <a:gd name="connsiteX11" fmla="*/ 249112 w 466503"/>
                <a:gd name="connsiteY11" fmla="*/ 375991 h 502870"/>
                <a:gd name="connsiteX12" fmla="*/ 249112 w 466503"/>
                <a:gd name="connsiteY12" fmla="*/ 502871 h 502870"/>
                <a:gd name="connsiteX13" fmla="*/ 280832 w 466503"/>
                <a:gd name="connsiteY13" fmla="*/ 502871 h 502870"/>
                <a:gd name="connsiteX14" fmla="*/ 280832 w 466503"/>
                <a:gd name="connsiteY14" fmla="*/ 208098 h 502870"/>
                <a:gd name="connsiteX15" fmla="*/ 466504 w 466503"/>
                <a:gd name="connsiteY15" fmla="*/ 22426 h 502870"/>
                <a:gd name="connsiteX16" fmla="*/ 444078 w 466503"/>
                <a:gd name="connsiteY16" fmla="*/ 0 h 502870"/>
                <a:gd name="connsiteX17" fmla="*/ 217392 w 466503"/>
                <a:gd name="connsiteY17" fmla="*/ 344271 h 502870"/>
                <a:gd name="connsiteX18" fmla="*/ 217392 w 466503"/>
                <a:gd name="connsiteY18" fmla="*/ 312552 h 502870"/>
                <a:gd name="connsiteX19" fmla="*/ 249112 w 466503"/>
                <a:gd name="connsiteY19" fmla="*/ 312552 h 502870"/>
                <a:gd name="connsiteX20" fmla="*/ 249112 w 466503"/>
                <a:gd name="connsiteY20" fmla="*/ 344271 h 502870"/>
                <a:gd name="connsiteX21" fmla="*/ 217392 w 466503"/>
                <a:gd name="connsiteY21" fmla="*/ 344271 h 5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6503" h="502870">
                  <a:moveTo>
                    <a:pt x="444078" y="0"/>
                  </a:moveTo>
                  <a:lnTo>
                    <a:pt x="249112" y="194966"/>
                  </a:lnTo>
                  <a:lnTo>
                    <a:pt x="249112" y="280832"/>
                  </a:lnTo>
                  <a:lnTo>
                    <a:pt x="217392" y="280832"/>
                  </a:lnTo>
                  <a:lnTo>
                    <a:pt x="217392" y="194966"/>
                  </a:lnTo>
                  <a:lnTo>
                    <a:pt x="22426" y="0"/>
                  </a:lnTo>
                  <a:lnTo>
                    <a:pt x="0" y="22426"/>
                  </a:lnTo>
                  <a:lnTo>
                    <a:pt x="185672" y="208098"/>
                  </a:lnTo>
                  <a:lnTo>
                    <a:pt x="185672" y="502871"/>
                  </a:lnTo>
                  <a:lnTo>
                    <a:pt x="217392" y="502871"/>
                  </a:lnTo>
                  <a:lnTo>
                    <a:pt x="217392" y="375991"/>
                  </a:lnTo>
                  <a:lnTo>
                    <a:pt x="249112" y="375991"/>
                  </a:lnTo>
                  <a:lnTo>
                    <a:pt x="249112" y="502871"/>
                  </a:lnTo>
                  <a:lnTo>
                    <a:pt x="280832" y="502871"/>
                  </a:lnTo>
                  <a:lnTo>
                    <a:pt x="280832" y="208098"/>
                  </a:lnTo>
                  <a:lnTo>
                    <a:pt x="466504" y="22426"/>
                  </a:lnTo>
                  <a:lnTo>
                    <a:pt x="444078" y="0"/>
                  </a:lnTo>
                  <a:close/>
                  <a:moveTo>
                    <a:pt x="217392" y="344271"/>
                  </a:moveTo>
                  <a:lnTo>
                    <a:pt x="217392" y="312552"/>
                  </a:lnTo>
                  <a:lnTo>
                    <a:pt x="249112" y="312552"/>
                  </a:lnTo>
                  <a:lnTo>
                    <a:pt x="249112" y="344271"/>
                  </a:lnTo>
                  <a:lnTo>
                    <a:pt x="217392" y="344271"/>
                  </a:lnTo>
                  <a:close/>
                </a:path>
              </a:pathLst>
            </a:custGeom>
            <a:solidFill>
              <a:schemeClr val="bg1"/>
            </a:solidFill>
            <a:ln w="15824" cap="flat">
              <a:noFill/>
              <a:prstDash val="solid"/>
              <a:miter/>
            </a:ln>
          </p:spPr>
          <p:txBody>
            <a:bodyPr rtlCol="0" anchor="ctr"/>
            <a:lstStyle/>
            <a:p>
              <a:endParaRPr lang="pt-BR"/>
            </a:p>
          </p:txBody>
        </p:sp>
        <p:sp>
          <p:nvSpPr>
            <p:cNvPr id="23" name="Forma Livre: Forma 22">
              <a:extLst>
                <a:ext uri="{FF2B5EF4-FFF2-40B4-BE49-F238E27FC236}">
                  <a16:creationId xmlns:a16="http://schemas.microsoft.com/office/drawing/2014/main" id="{4769427E-E5CB-AED5-6E2C-3767641CA6DE}"/>
                </a:ext>
              </a:extLst>
            </p:cNvPr>
            <p:cNvSpPr/>
            <p:nvPr/>
          </p:nvSpPr>
          <p:spPr>
            <a:xfrm rot="18900000">
              <a:off x="13460696" y="2250506"/>
              <a:ext cx="179437" cy="31719"/>
            </a:xfrm>
            <a:custGeom>
              <a:avLst/>
              <a:gdLst>
                <a:gd name="connsiteX0" fmla="*/ 0 w 179437"/>
                <a:gd name="connsiteY0" fmla="*/ 0 h 31719"/>
                <a:gd name="connsiteX1" fmla="*/ 179437 w 179437"/>
                <a:gd name="connsiteY1" fmla="*/ 0 h 31719"/>
                <a:gd name="connsiteX2" fmla="*/ 179437 w 179437"/>
                <a:gd name="connsiteY2" fmla="*/ 31720 h 31719"/>
                <a:gd name="connsiteX3" fmla="*/ 0 w 179437"/>
                <a:gd name="connsiteY3" fmla="*/ 31720 h 31719"/>
              </a:gdLst>
              <a:ahLst/>
              <a:cxnLst>
                <a:cxn ang="0">
                  <a:pos x="connsiteX0" y="connsiteY0"/>
                </a:cxn>
                <a:cxn ang="0">
                  <a:pos x="connsiteX1" y="connsiteY1"/>
                </a:cxn>
                <a:cxn ang="0">
                  <a:pos x="connsiteX2" y="connsiteY2"/>
                </a:cxn>
                <a:cxn ang="0">
                  <a:pos x="connsiteX3" y="connsiteY3"/>
                </a:cxn>
              </a:cxnLst>
              <a:rect l="l" t="t" r="r" b="b"/>
              <a:pathLst>
                <a:path w="179437" h="31719">
                  <a:moveTo>
                    <a:pt x="0" y="0"/>
                  </a:moveTo>
                  <a:lnTo>
                    <a:pt x="179437" y="0"/>
                  </a:lnTo>
                  <a:lnTo>
                    <a:pt x="179437" y="31720"/>
                  </a:lnTo>
                  <a:lnTo>
                    <a:pt x="0" y="31720"/>
                  </a:lnTo>
                  <a:close/>
                </a:path>
              </a:pathLst>
            </a:custGeom>
            <a:solidFill>
              <a:schemeClr val="bg1"/>
            </a:solidFill>
            <a:ln w="15824" cap="flat">
              <a:noFill/>
              <a:prstDash val="solid"/>
              <a:miter/>
            </a:ln>
          </p:spPr>
          <p:txBody>
            <a:bodyPr rtlCol="0" anchor="ctr"/>
            <a:lstStyle/>
            <a:p>
              <a:endParaRPr lang="pt-BR"/>
            </a:p>
          </p:txBody>
        </p:sp>
        <p:sp>
          <p:nvSpPr>
            <p:cNvPr id="24" name="Forma Livre: Forma 23">
              <a:extLst>
                <a:ext uri="{FF2B5EF4-FFF2-40B4-BE49-F238E27FC236}">
                  <a16:creationId xmlns:a16="http://schemas.microsoft.com/office/drawing/2014/main" id="{E9CC3948-55AF-D445-869C-F526A3B66987}"/>
                </a:ext>
              </a:extLst>
            </p:cNvPr>
            <p:cNvSpPr/>
            <p:nvPr/>
          </p:nvSpPr>
          <p:spPr>
            <a:xfrm>
              <a:off x="12852588" y="1949167"/>
              <a:ext cx="222038" cy="222038"/>
            </a:xfrm>
            <a:custGeom>
              <a:avLst/>
              <a:gdLst>
                <a:gd name="connsiteX0" fmla="*/ 44931 w 222038"/>
                <a:gd name="connsiteY0" fmla="*/ 154682 h 222038"/>
                <a:gd name="connsiteX1" fmla="*/ 20507 w 222038"/>
                <a:gd name="connsiteY1" fmla="*/ 179106 h 222038"/>
                <a:gd name="connsiteX2" fmla="*/ 42933 w 222038"/>
                <a:gd name="connsiteY2" fmla="*/ 201532 h 222038"/>
                <a:gd name="connsiteX3" fmla="*/ 67357 w 222038"/>
                <a:gd name="connsiteY3" fmla="*/ 177108 h 222038"/>
                <a:gd name="connsiteX4" fmla="*/ 95160 w 222038"/>
                <a:gd name="connsiteY4" fmla="*/ 188717 h 222038"/>
                <a:gd name="connsiteX5" fmla="*/ 95160 w 222038"/>
                <a:gd name="connsiteY5" fmla="*/ 222039 h 222038"/>
                <a:gd name="connsiteX6" fmla="*/ 126879 w 222038"/>
                <a:gd name="connsiteY6" fmla="*/ 222039 h 222038"/>
                <a:gd name="connsiteX7" fmla="*/ 126879 w 222038"/>
                <a:gd name="connsiteY7" fmla="*/ 188717 h 222038"/>
                <a:gd name="connsiteX8" fmla="*/ 154682 w 222038"/>
                <a:gd name="connsiteY8" fmla="*/ 177108 h 222038"/>
                <a:gd name="connsiteX9" fmla="*/ 179106 w 222038"/>
                <a:gd name="connsiteY9" fmla="*/ 201532 h 222038"/>
                <a:gd name="connsiteX10" fmla="*/ 201532 w 222038"/>
                <a:gd name="connsiteY10" fmla="*/ 179106 h 222038"/>
                <a:gd name="connsiteX11" fmla="*/ 177108 w 222038"/>
                <a:gd name="connsiteY11" fmla="*/ 154682 h 222038"/>
                <a:gd name="connsiteX12" fmla="*/ 188717 w 222038"/>
                <a:gd name="connsiteY12" fmla="*/ 126879 h 222038"/>
                <a:gd name="connsiteX13" fmla="*/ 222039 w 222038"/>
                <a:gd name="connsiteY13" fmla="*/ 126879 h 222038"/>
                <a:gd name="connsiteX14" fmla="*/ 222039 w 222038"/>
                <a:gd name="connsiteY14" fmla="*/ 95160 h 222038"/>
                <a:gd name="connsiteX15" fmla="*/ 188717 w 222038"/>
                <a:gd name="connsiteY15" fmla="*/ 95160 h 222038"/>
                <a:gd name="connsiteX16" fmla="*/ 177108 w 222038"/>
                <a:gd name="connsiteY16" fmla="*/ 67357 h 222038"/>
                <a:gd name="connsiteX17" fmla="*/ 201532 w 222038"/>
                <a:gd name="connsiteY17" fmla="*/ 42933 h 222038"/>
                <a:gd name="connsiteX18" fmla="*/ 179106 w 222038"/>
                <a:gd name="connsiteY18" fmla="*/ 20507 h 222038"/>
                <a:gd name="connsiteX19" fmla="*/ 154682 w 222038"/>
                <a:gd name="connsiteY19" fmla="*/ 44931 h 222038"/>
                <a:gd name="connsiteX20" fmla="*/ 126879 w 222038"/>
                <a:gd name="connsiteY20" fmla="*/ 33322 h 222038"/>
                <a:gd name="connsiteX21" fmla="*/ 126879 w 222038"/>
                <a:gd name="connsiteY21" fmla="*/ 0 h 222038"/>
                <a:gd name="connsiteX22" fmla="*/ 95160 w 222038"/>
                <a:gd name="connsiteY22" fmla="*/ 0 h 222038"/>
                <a:gd name="connsiteX23" fmla="*/ 95160 w 222038"/>
                <a:gd name="connsiteY23" fmla="*/ 33322 h 222038"/>
                <a:gd name="connsiteX24" fmla="*/ 67357 w 222038"/>
                <a:gd name="connsiteY24" fmla="*/ 44931 h 222038"/>
                <a:gd name="connsiteX25" fmla="*/ 42933 w 222038"/>
                <a:gd name="connsiteY25" fmla="*/ 20507 h 222038"/>
                <a:gd name="connsiteX26" fmla="*/ 20507 w 222038"/>
                <a:gd name="connsiteY26" fmla="*/ 42933 h 222038"/>
                <a:gd name="connsiteX27" fmla="*/ 44931 w 222038"/>
                <a:gd name="connsiteY27" fmla="*/ 67357 h 222038"/>
                <a:gd name="connsiteX28" fmla="*/ 33322 w 222038"/>
                <a:gd name="connsiteY28" fmla="*/ 95160 h 222038"/>
                <a:gd name="connsiteX29" fmla="*/ 0 w 222038"/>
                <a:gd name="connsiteY29" fmla="*/ 95160 h 222038"/>
                <a:gd name="connsiteX30" fmla="*/ 0 w 222038"/>
                <a:gd name="connsiteY30" fmla="*/ 126879 h 222038"/>
                <a:gd name="connsiteX31" fmla="*/ 33322 w 222038"/>
                <a:gd name="connsiteY31" fmla="*/ 126879 h 222038"/>
                <a:gd name="connsiteX32" fmla="*/ 44931 w 222038"/>
                <a:gd name="connsiteY32" fmla="*/ 154682 h 222038"/>
                <a:gd name="connsiteX33" fmla="*/ 111019 w 222038"/>
                <a:gd name="connsiteY33" fmla="*/ 63440 h 222038"/>
                <a:gd name="connsiteX34" fmla="*/ 158599 w 222038"/>
                <a:gd name="connsiteY34" fmla="*/ 111019 h 222038"/>
                <a:gd name="connsiteX35" fmla="*/ 111019 w 222038"/>
                <a:gd name="connsiteY35" fmla="*/ 158599 h 222038"/>
                <a:gd name="connsiteX36" fmla="*/ 63440 w 222038"/>
                <a:gd name="connsiteY36" fmla="*/ 111019 h 222038"/>
                <a:gd name="connsiteX37" fmla="*/ 111019 w 222038"/>
                <a:gd name="connsiteY37" fmla="*/ 63440 h 2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038" h="222038">
                  <a:moveTo>
                    <a:pt x="44931" y="154682"/>
                  </a:moveTo>
                  <a:lnTo>
                    <a:pt x="20507" y="179106"/>
                  </a:lnTo>
                  <a:lnTo>
                    <a:pt x="42933" y="201532"/>
                  </a:lnTo>
                  <a:lnTo>
                    <a:pt x="67357" y="177108"/>
                  </a:lnTo>
                  <a:cubicBezTo>
                    <a:pt x="75684" y="182627"/>
                    <a:pt x="85057" y="186655"/>
                    <a:pt x="95160" y="188717"/>
                  </a:cubicBezTo>
                  <a:lnTo>
                    <a:pt x="95160" y="222039"/>
                  </a:lnTo>
                  <a:lnTo>
                    <a:pt x="126879" y="222039"/>
                  </a:lnTo>
                  <a:lnTo>
                    <a:pt x="126879" y="188717"/>
                  </a:lnTo>
                  <a:cubicBezTo>
                    <a:pt x="136982" y="186655"/>
                    <a:pt x="146355" y="182627"/>
                    <a:pt x="154682" y="177108"/>
                  </a:cubicBezTo>
                  <a:lnTo>
                    <a:pt x="179106" y="201532"/>
                  </a:lnTo>
                  <a:lnTo>
                    <a:pt x="201532" y="179106"/>
                  </a:lnTo>
                  <a:lnTo>
                    <a:pt x="177108" y="154682"/>
                  </a:lnTo>
                  <a:cubicBezTo>
                    <a:pt x="182627" y="146355"/>
                    <a:pt x="186655" y="136982"/>
                    <a:pt x="188717" y="126879"/>
                  </a:cubicBezTo>
                  <a:lnTo>
                    <a:pt x="222039" y="126879"/>
                  </a:lnTo>
                  <a:lnTo>
                    <a:pt x="222039" y="95160"/>
                  </a:lnTo>
                  <a:lnTo>
                    <a:pt x="188717" y="95160"/>
                  </a:lnTo>
                  <a:cubicBezTo>
                    <a:pt x="186655" y="85057"/>
                    <a:pt x="182627" y="75668"/>
                    <a:pt x="177108" y="67357"/>
                  </a:cubicBezTo>
                  <a:lnTo>
                    <a:pt x="201532" y="42933"/>
                  </a:lnTo>
                  <a:lnTo>
                    <a:pt x="179106" y="20507"/>
                  </a:lnTo>
                  <a:lnTo>
                    <a:pt x="154682" y="44931"/>
                  </a:lnTo>
                  <a:cubicBezTo>
                    <a:pt x="146355" y="39412"/>
                    <a:pt x="136982" y="35384"/>
                    <a:pt x="126879" y="33322"/>
                  </a:cubicBezTo>
                  <a:lnTo>
                    <a:pt x="126879" y="0"/>
                  </a:lnTo>
                  <a:lnTo>
                    <a:pt x="95160" y="0"/>
                  </a:lnTo>
                  <a:lnTo>
                    <a:pt x="95160" y="33322"/>
                  </a:lnTo>
                  <a:cubicBezTo>
                    <a:pt x="85057" y="35384"/>
                    <a:pt x="75684" y="39412"/>
                    <a:pt x="67357" y="44931"/>
                  </a:cubicBezTo>
                  <a:lnTo>
                    <a:pt x="42933" y="20507"/>
                  </a:lnTo>
                  <a:lnTo>
                    <a:pt x="20507" y="42933"/>
                  </a:lnTo>
                  <a:lnTo>
                    <a:pt x="44931" y="67357"/>
                  </a:lnTo>
                  <a:cubicBezTo>
                    <a:pt x="39412" y="75668"/>
                    <a:pt x="35383" y="85057"/>
                    <a:pt x="33322" y="95160"/>
                  </a:cubicBezTo>
                  <a:lnTo>
                    <a:pt x="0" y="95160"/>
                  </a:lnTo>
                  <a:lnTo>
                    <a:pt x="0" y="126879"/>
                  </a:lnTo>
                  <a:lnTo>
                    <a:pt x="33322" y="126879"/>
                  </a:lnTo>
                  <a:cubicBezTo>
                    <a:pt x="35383" y="136982"/>
                    <a:pt x="39412" y="146371"/>
                    <a:pt x="44931" y="154682"/>
                  </a:cubicBezTo>
                  <a:close/>
                  <a:moveTo>
                    <a:pt x="111019" y="63440"/>
                  </a:moveTo>
                  <a:cubicBezTo>
                    <a:pt x="137252" y="63440"/>
                    <a:pt x="158599" y="84787"/>
                    <a:pt x="158599" y="111019"/>
                  </a:cubicBezTo>
                  <a:cubicBezTo>
                    <a:pt x="158599" y="137252"/>
                    <a:pt x="137252" y="158599"/>
                    <a:pt x="111019" y="158599"/>
                  </a:cubicBezTo>
                  <a:cubicBezTo>
                    <a:pt x="84787" y="158599"/>
                    <a:pt x="63440" y="137252"/>
                    <a:pt x="63440" y="111019"/>
                  </a:cubicBezTo>
                  <a:cubicBezTo>
                    <a:pt x="63440" y="84787"/>
                    <a:pt x="84787" y="63440"/>
                    <a:pt x="111019" y="63440"/>
                  </a:cubicBezTo>
                  <a:close/>
                </a:path>
              </a:pathLst>
            </a:custGeom>
            <a:solidFill>
              <a:schemeClr val="bg1"/>
            </a:solidFill>
            <a:ln w="15824" cap="flat">
              <a:noFill/>
              <a:prstDash val="solid"/>
              <a:miter/>
            </a:ln>
          </p:spPr>
          <p:txBody>
            <a:bodyPr rtlCol="0" anchor="ctr"/>
            <a:lstStyle/>
            <a:p>
              <a:endParaRPr lang="pt-BR"/>
            </a:p>
          </p:txBody>
        </p:sp>
        <p:sp>
          <p:nvSpPr>
            <p:cNvPr id="25" name="Forma Livre: Forma 24">
              <a:extLst>
                <a:ext uri="{FF2B5EF4-FFF2-40B4-BE49-F238E27FC236}">
                  <a16:creationId xmlns:a16="http://schemas.microsoft.com/office/drawing/2014/main" id="{78C917A5-84B9-DE65-CCFB-B7B128395E65}"/>
                </a:ext>
              </a:extLst>
            </p:cNvPr>
            <p:cNvSpPr/>
            <p:nvPr/>
          </p:nvSpPr>
          <p:spPr>
            <a:xfrm>
              <a:off x="13613864" y="1949167"/>
              <a:ext cx="222038" cy="222038"/>
            </a:xfrm>
            <a:custGeom>
              <a:avLst/>
              <a:gdLst>
                <a:gd name="connsiteX0" fmla="*/ 188717 w 222038"/>
                <a:gd name="connsiteY0" fmla="*/ 95160 h 222038"/>
                <a:gd name="connsiteX1" fmla="*/ 177108 w 222038"/>
                <a:gd name="connsiteY1" fmla="*/ 67357 h 222038"/>
                <a:gd name="connsiteX2" fmla="*/ 201532 w 222038"/>
                <a:gd name="connsiteY2" fmla="*/ 42933 h 222038"/>
                <a:gd name="connsiteX3" fmla="*/ 179106 w 222038"/>
                <a:gd name="connsiteY3" fmla="*/ 20507 h 222038"/>
                <a:gd name="connsiteX4" fmla="*/ 154682 w 222038"/>
                <a:gd name="connsiteY4" fmla="*/ 44931 h 222038"/>
                <a:gd name="connsiteX5" fmla="*/ 126879 w 222038"/>
                <a:gd name="connsiteY5" fmla="*/ 33322 h 222038"/>
                <a:gd name="connsiteX6" fmla="*/ 126879 w 222038"/>
                <a:gd name="connsiteY6" fmla="*/ 0 h 222038"/>
                <a:gd name="connsiteX7" fmla="*/ 95160 w 222038"/>
                <a:gd name="connsiteY7" fmla="*/ 0 h 222038"/>
                <a:gd name="connsiteX8" fmla="*/ 95160 w 222038"/>
                <a:gd name="connsiteY8" fmla="*/ 33322 h 222038"/>
                <a:gd name="connsiteX9" fmla="*/ 67357 w 222038"/>
                <a:gd name="connsiteY9" fmla="*/ 44931 h 222038"/>
                <a:gd name="connsiteX10" fmla="*/ 42933 w 222038"/>
                <a:gd name="connsiteY10" fmla="*/ 20507 h 222038"/>
                <a:gd name="connsiteX11" fmla="*/ 20507 w 222038"/>
                <a:gd name="connsiteY11" fmla="*/ 42933 h 222038"/>
                <a:gd name="connsiteX12" fmla="*/ 44931 w 222038"/>
                <a:gd name="connsiteY12" fmla="*/ 67357 h 222038"/>
                <a:gd name="connsiteX13" fmla="*/ 33322 w 222038"/>
                <a:gd name="connsiteY13" fmla="*/ 95160 h 222038"/>
                <a:gd name="connsiteX14" fmla="*/ 0 w 222038"/>
                <a:gd name="connsiteY14" fmla="*/ 95160 h 222038"/>
                <a:gd name="connsiteX15" fmla="*/ 0 w 222038"/>
                <a:gd name="connsiteY15" fmla="*/ 126879 h 222038"/>
                <a:gd name="connsiteX16" fmla="*/ 33322 w 222038"/>
                <a:gd name="connsiteY16" fmla="*/ 126879 h 222038"/>
                <a:gd name="connsiteX17" fmla="*/ 44931 w 222038"/>
                <a:gd name="connsiteY17" fmla="*/ 154682 h 222038"/>
                <a:gd name="connsiteX18" fmla="*/ 20507 w 222038"/>
                <a:gd name="connsiteY18" fmla="*/ 179106 h 222038"/>
                <a:gd name="connsiteX19" fmla="*/ 42933 w 222038"/>
                <a:gd name="connsiteY19" fmla="*/ 201532 h 222038"/>
                <a:gd name="connsiteX20" fmla="*/ 67357 w 222038"/>
                <a:gd name="connsiteY20" fmla="*/ 177108 h 222038"/>
                <a:gd name="connsiteX21" fmla="*/ 95160 w 222038"/>
                <a:gd name="connsiteY21" fmla="*/ 188717 h 222038"/>
                <a:gd name="connsiteX22" fmla="*/ 95160 w 222038"/>
                <a:gd name="connsiteY22" fmla="*/ 222039 h 222038"/>
                <a:gd name="connsiteX23" fmla="*/ 126879 w 222038"/>
                <a:gd name="connsiteY23" fmla="*/ 222039 h 222038"/>
                <a:gd name="connsiteX24" fmla="*/ 126879 w 222038"/>
                <a:gd name="connsiteY24" fmla="*/ 188717 h 222038"/>
                <a:gd name="connsiteX25" fmla="*/ 154682 w 222038"/>
                <a:gd name="connsiteY25" fmla="*/ 177108 h 222038"/>
                <a:gd name="connsiteX26" fmla="*/ 179106 w 222038"/>
                <a:gd name="connsiteY26" fmla="*/ 201532 h 222038"/>
                <a:gd name="connsiteX27" fmla="*/ 201532 w 222038"/>
                <a:gd name="connsiteY27" fmla="*/ 179106 h 222038"/>
                <a:gd name="connsiteX28" fmla="*/ 177108 w 222038"/>
                <a:gd name="connsiteY28" fmla="*/ 154682 h 222038"/>
                <a:gd name="connsiteX29" fmla="*/ 188717 w 222038"/>
                <a:gd name="connsiteY29" fmla="*/ 126879 h 222038"/>
                <a:gd name="connsiteX30" fmla="*/ 222039 w 222038"/>
                <a:gd name="connsiteY30" fmla="*/ 126879 h 222038"/>
                <a:gd name="connsiteX31" fmla="*/ 222039 w 222038"/>
                <a:gd name="connsiteY31" fmla="*/ 95160 h 222038"/>
                <a:gd name="connsiteX32" fmla="*/ 188717 w 222038"/>
                <a:gd name="connsiteY32" fmla="*/ 95160 h 222038"/>
                <a:gd name="connsiteX33" fmla="*/ 111019 w 222038"/>
                <a:gd name="connsiteY33" fmla="*/ 158599 h 222038"/>
                <a:gd name="connsiteX34" fmla="*/ 63440 w 222038"/>
                <a:gd name="connsiteY34" fmla="*/ 111019 h 222038"/>
                <a:gd name="connsiteX35" fmla="*/ 111019 w 222038"/>
                <a:gd name="connsiteY35" fmla="*/ 63440 h 222038"/>
                <a:gd name="connsiteX36" fmla="*/ 158599 w 222038"/>
                <a:gd name="connsiteY36" fmla="*/ 111019 h 222038"/>
                <a:gd name="connsiteX37" fmla="*/ 111019 w 222038"/>
                <a:gd name="connsiteY37" fmla="*/ 158599 h 2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038" h="222038">
                  <a:moveTo>
                    <a:pt x="188717" y="95160"/>
                  </a:moveTo>
                  <a:cubicBezTo>
                    <a:pt x="186655" y="85057"/>
                    <a:pt x="182627" y="75668"/>
                    <a:pt x="177108" y="67357"/>
                  </a:cubicBezTo>
                  <a:lnTo>
                    <a:pt x="201532" y="42933"/>
                  </a:lnTo>
                  <a:lnTo>
                    <a:pt x="179106" y="20507"/>
                  </a:lnTo>
                  <a:lnTo>
                    <a:pt x="154682" y="44931"/>
                  </a:lnTo>
                  <a:cubicBezTo>
                    <a:pt x="146371" y="39412"/>
                    <a:pt x="136982" y="35384"/>
                    <a:pt x="126879" y="33322"/>
                  </a:cubicBezTo>
                  <a:lnTo>
                    <a:pt x="126879" y="0"/>
                  </a:lnTo>
                  <a:lnTo>
                    <a:pt x="95160" y="0"/>
                  </a:lnTo>
                  <a:lnTo>
                    <a:pt x="95160" y="33322"/>
                  </a:lnTo>
                  <a:cubicBezTo>
                    <a:pt x="85057" y="35384"/>
                    <a:pt x="75684" y="39412"/>
                    <a:pt x="67357" y="44931"/>
                  </a:cubicBezTo>
                  <a:lnTo>
                    <a:pt x="42933" y="20507"/>
                  </a:lnTo>
                  <a:lnTo>
                    <a:pt x="20507" y="42933"/>
                  </a:lnTo>
                  <a:lnTo>
                    <a:pt x="44931" y="67357"/>
                  </a:lnTo>
                  <a:cubicBezTo>
                    <a:pt x="39412" y="75684"/>
                    <a:pt x="35383" y="85057"/>
                    <a:pt x="33322" y="95160"/>
                  </a:cubicBezTo>
                  <a:lnTo>
                    <a:pt x="0" y="95160"/>
                  </a:lnTo>
                  <a:lnTo>
                    <a:pt x="0" y="126879"/>
                  </a:lnTo>
                  <a:lnTo>
                    <a:pt x="33322" y="126879"/>
                  </a:lnTo>
                  <a:cubicBezTo>
                    <a:pt x="35383" y="136982"/>
                    <a:pt x="39412" y="146371"/>
                    <a:pt x="44931" y="154682"/>
                  </a:cubicBezTo>
                  <a:lnTo>
                    <a:pt x="20507" y="179106"/>
                  </a:lnTo>
                  <a:lnTo>
                    <a:pt x="42933" y="201532"/>
                  </a:lnTo>
                  <a:lnTo>
                    <a:pt x="67357" y="177108"/>
                  </a:lnTo>
                  <a:cubicBezTo>
                    <a:pt x="75668" y="182627"/>
                    <a:pt x="85057" y="186655"/>
                    <a:pt x="95160" y="188717"/>
                  </a:cubicBezTo>
                  <a:lnTo>
                    <a:pt x="95160" y="222039"/>
                  </a:lnTo>
                  <a:lnTo>
                    <a:pt x="126879" y="222039"/>
                  </a:lnTo>
                  <a:lnTo>
                    <a:pt x="126879" y="188717"/>
                  </a:lnTo>
                  <a:cubicBezTo>
                    <a:pt x="136982" y="186655"/>
                    <a:pt x="146355" y="182627"/>
                    <a:pt x="154682" y="177108"/>
                  </a:cubicBezTo>
                  <a:lnTo>
                    <a:pt x="179106" y="201532"/>
                  </a:lnTo>
                  <a:lnTo>
                    <a:pt x="201532" y="179106"/>
                  </a:lnTo>
                  <a:lnTo>
                    <a:pt x="177108" y="154682"/>
                  </a:lnTo>
                  <a:cubicBezTo>
                    <a:pt x="182627" y="146355"/>
                    <a:pt x="186655" y="136982"/>
                    <a:pt x="188717" y="126879"/>
                  </a:cubicBezTo>
                  <a:lnTo>
                    <a:pt x="222039" y="126879"/>
                  </a:lnTo>
                  <a:lnTo>
                    <a:pt x="222039" y="95160"/>
                  </a:lnTo>
                  <a:lnTo>
                    <a:pt x="188717" y="95160"/>
                  </a:lnTo>
                  <a:close/>
                  <a:moveTo>
                    <a:pt x="111019" y="158599"/>
                  </a:moveTo>
                  <a:cubicBezTo>
                    <a:pt x="84787" y="158599"/>
                    <a:pt x="63440" y="137252"/>
                    <a:pt x="63440" y="111019"/>
                  </a:cubicBezTo>
                  <a:cubicBezTo>
                    <a:pt x="63440" y="84787"/>
                    <a:pt x="84787" y="63440"/>
                    <a:pt x="111019" y="63440"/>
                  </a:cubicBezTo>
                  <a:cubicBezTo>
                    <a:pt x="137252" y="63440"/>
                    <a:pt x="158599" y="84787"/>
                    <a:pt x="158599" y="111019"/>
                  </a:cubicBezTo>
                  <a:cubicBezTo>
                    <a:pt x="158599" y="137252"/>
                    <a:pt x="137252" y="158599"/>
                    <a:pt x="111019" y="158599"/>
                  </a:cubicBezTo>
                  <a:close/>
                </a:path>
              </a:pathLst>
            </a:custGeom>
            <a:solidFill>
              <a:schemeClr val="accent2"/>
            </a:solidFill>
            <a:ln w="15824" cap="flat">
              <a:noFill/>
              <a:prstDash val="solid"/>
              <a:miter/>
            </a:ln>
          </p:spPr>
          <p:txBody>
            <a:bodyPr rtlCol="0" anchor="ctr"/>
            <a:lstStyle/>
            <a:p>
              <a:endParaRPr lang="pt-BR"/>
            </a:p>
          </p:txBody>
        </p:sp>
        <p:sp>
          <p:nvSpPr>
            <p:cNvPr id="26" name="Forma Livre: Forma 25">
              <a:extLst>
                <a:ext uri="{FF2B5EF4-FFF2-40B4-BE49-F238E27FC236}">
                  <a16:creationId xmlns:a16="http://schemas.microsoft.com/office/drawing/2014/main" id="{93896D99-10AB-CABC-2CF8-163FDEED9D0D}"/>
                </a:ext>
              </a:extLst>
            </p:cNvPr>
            <p:cNvSpPr/>
            <p:nvPr/>
          </p:nvSpPr>
          <p:spPr>
            <a:xfrm>
              <a:off x="12979467" y="1663689"/>
              <a:ext cx="95159" cy="95159"/>
            </a:xfrm>
            <a:custGeom>
              <a:avLst/>
              <a:gdLst>
                <a:gd name="connsiteX0" fmla="*/ 47580 w 95159"/>
                <a:gd name="connsiteY0" fmla="*/ 95160 h 95159"/>
                <a:gd name="connsiteX1" fmla="*/ 95160 w 95159"/>
                <a:gd name="connsiteY1" fmla="*/ 47580 h 95159"/>
                <a:gd name="connsiteX2" fmla="*/ 47580 w 95159"/>
                <a:gd name="connsiteY2" fmla="*/ 0 h 95159"/>
                <a:gd name="connsiteX3" fmla="*/ 0 w 95159"/>
                <a:gd name="connsiteY3" fmla="*/ 47580 h 95159"/>
                <a:gd name="connsiteX4" fmla="*/ 47580 w 95159"/>
                <a:gd name="connsiteY4" fmla="*/ 95160 h 95159"/>
                <a:gd name="connsiteX5" fmla="*/ 47580 w 95159"/>
                <a:gd name="connsiteY5" fmla="*/ 31720 h 95159"/>
                <a:gd name="connsiteX6" fmla="*/ 63440 w 95159"/>
                <a:gd name="connsiteY6" fmla="*/ 47580 h 95159"/>
                <a:gd name="connsiteX7" fmla="*/ 47580 w 95159"/>
                <a:gd name="connsiteY7" fmla="*/ 63440 h 95159"/>
                <a:gd name="connsiteX8" fmla="*/ 31720 w 95159"/>
                <a:gd name="connsiteY8" fmla="*/ 47580 h 95159"/>
                <a:gd name="connsiteX9" fmla="*/ 47580 w 95159"/>
                <a:gd name="connsiteY9" fmla="*/ 31720 h 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159" h="95159">
                  <a:moveTo>
                    <a:pt x="47580" y="95160"/>
                  </a:moveTo>
                  <a:cubicBezTo>
                    <a:pt x="73812" y="95160"/>
                    <a:pt x="95160" y="73812"/>
                    <a:pt x="95160" y="47580"/>
                  </a:cubicBezTo>
                  <a:cubicBezTo>
                    <a:pt x="95160" y="21347"/>
                    <a:pt x="73812" y="0"/>
                    <a:pt x="47580" y="0"/>
                  </a:cubicBezTo>
                  <a:cubicBezTo>
                    <a:pt x="21347" y="0"/>
                    <a:pt x="0" y="21347"/>
                    <a:pt x="0" y="47580"/>
                  </a:cubicBezTo>
                  <a:cubicBezTo>
                    <a:pt x="0" y="73812"/>
                    <a:pt x="21347" y="95160"/>
                    <a:pt x="47580" y="95160"/>
                  </a:cubicBezTo>
                  <a:close/>
                  <a:moveTo>
                    <a:pt x="47580" y="31720"/>
                  </a:moveTo>
                  <a:cubicBezTo>
                    <a:pt x="56334" y="31720"/>
                    <a:pt x="63440" y="38841"/>
                    <a:pt x="63440" y="47580"/>
                  </a:cubicBezTo>
                  <a:cubicBezTo>
                    <a:pt x="63440" y="56319"/>
                    <a:pt x="56334" y="63440"/>
                    <a:pt x="47580" y="63440"/>
                  </a:cubicBezTo>
                  <a:cubicBezTo>
                    <a:pt x="38825" y="63440"/>
                    <a:pt x="31720" y="56319"/>
                    <a:pt x="31720" y="47580"/>
                  </a:cubicBezTo>
                  <a:cubicBezTo>
                    <a:pt x="31720" y="38841"/>
                    <a:pt x="38825" y="31720"/>
                    <a:pt x="47580" y="31720"/>
                  </a:cubicBezTo>
                  <a:close/>
                </a:path>
              </a:pathLst>
            </a:custGeom>
            <a:solidFill>
              <a:schemeClr val="bg1"/>
            </a:solidFill>
            <a:ln w="15824" cap="flat">
              <a:noFill/>
              <a:prstDash val="solid"/>
              <a:miter/>
            </a:ln>
          </p:spPr>
          <p:txBody>
            <a:bodyPr rtlCol="0" anchor="ctr"/>
            <a:lstStyle/>
            <a:p>
              <a:endParaRPr lang="pt-BR"/>
            </a:p>
          </p:txBody>
        </p:sp>
        <p:sp>
          <p:nvSpPr>
            <p:cNvPr id="27" name="Forma Livre: Forma 26">
              <a:extLst>
                <a:ext uri="{FF2B5EF4-FFF2-40B4-BE49-F238E27FC236}">
                  <a16:creationId xmlns:a16="http://schemas.microsoft.com/office/drawing/2014/main" id="{9606A279-1099-FD2F-621F-BABB7EA00EF8}"/>
                </a:ext>
              </a:extLst>
            </p:cNvPr>
            <p:cNvSpPr/>
            <p:nvPr/>
          </p:nvSpPr>
          <p:spPr>
            <a:xfrm>
              <a:off x="13613864" y="1663689"/>
              <a:ext cx="95159" cy="95159"/>
            </a:xfrm>
            <a:custGeom>
              <a:avLst/>
              <a:gdLst>
                <a:gd name="connsiteX0" fmla="*/ 47580 w 95159"/>
                <a:gd name="connsiteY0" fmla="*/ 95160 h 95159"/>
                <a:gd name="connsiteX1" fmla="*/ 95160 w 95159"/>
                <a:gd name="connsiteY1" fmla="*/ 47580 h 95159"/>
                <a:gd name="connsiteX2" fmla="*/ 47580 w 95159"/>
                <a:gd name="connsiteY2" fmla="*/ 0 h 95159"/>
                <a:gd name="connsiteX3" fmla="*/ 0 w 95159"/>
                <a:gd name="connsiteY3" fmla="*/ 47580 h 95159"/>
                <a:gd name="connsiteX4" fmla="*/ 47580 w 95159"/>
                <a:gd name="connsiteY4" fmla="*/ 95160 h 95159"/>
                <a:gd name="connsiteX5" fmla="*/ 47580 w 95159"/>
                <a:gd name="connsiteY5" fmla="*/ 31720 h 95159"/>
                <a:gd name="connsiteX6" fmla="*/ 63440 w 95159"/>
                <a:gd name="connsiteY6" fmla="*/ 47580 h 95159"/>
                <a:gd name="connsiteX7" fmla="*/ 47580 w 95159"/>
                <a:gd name="connsiteY7" fmla="*/ 63440 h 95159"/>
                <a:gd name="connsiteX8" fmla="*/ 31720 w 95159"/>
                <a:gd name="connsiteY8" fmla="*/ 47580 h 95159"/>
                <a:gd name="connsiteX9" fmla="*/ 47580 w 95159"/>
                <a:gd name="connsiteY9" fmla="*/ 31720 h 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159" h="95159">
                  <a:moveTo>
                    <a:pt x="47580" y="95160"/>
                  </a:moveTo>
                  <a:cubicBezTo>
                    <a:pt x="73812" y="95160"/>
                    <a:pt x="95160" y="73812"/>
                    <a:pt x="95160" y="47580"/>
                  </a:cubicBezTo>
                  <a:cubicBezTo>
                    <a:pt x="95160" y="21347"/>
                    <a:pt x="73812" y="0"/>
                    <a:pt x="47580" y="0"/>
                  </a:cubicBezTo>
                  <a:cubicBezTo>
                    <a:pt x="21347" y="0"/>
                    <a:pt x="0" y="21347"/>
                    <a:pt x="0" y="47580"/>
                  </a:cubicBezTo>
                  <a:cubicBezTo>
                    <a:pt x="0" y="73812"/>
                    <a:pt x="21347" y="95160"/>
                    <a:pt x="47580" y="95160"/>
                  </a:cubicBezTo>
                  <a:close/>
                  <a:moveTo>
                    <a:pt x="47580" y="31720"/>
                  </a:moveTo>
                  <a:cubicBezTo>
                    <a:pt x="56334" y="31720"/>
                    <a:pt x="63440" y="38841"/>
                    <a:pt x="63440" y="47580"/>
                  </a:cubicBezTo>
                  <a:cubicBezTo>
                    <a:pt x="63440" y="56319"/>
                    <a:pt x="56334" y="63440"/>
                    <a:pt x="47580" y="63440"/>
                  </a:cubicBezTo>
                  <a:cubicBezTo>
                    <a:pt x="38825" y="63440"/>
                    <a:pt x="31720" y="56319"/>
                    <a:pt x="31720" y="47580"/>
                  </a:cubicBezTo>
                  <a:cubicBezTo>
                    <a:pt x="31720" y="38841"/>
                    <a:pt x="38825" y="31720"/>
                    <a:pt x="47580" y="31720"/>
                  </a:cubicBezTo>
                  <a:close/>
                </a:path>
              </a:pathLst>
            </a:custGeom>
            <a:solidFill>
              <a:schemeClr val="bg1"/>
            </a:solidFill>
            <a:ln w="15824" cap="flat">
              <a:noFill/>
              <a:prstDash val="solid"/>
              <a:miter/>
            </a:ln>
          </p:spPr>
          <p:txBody>
            <a:bodyPr rtlCol="0" anchor="ctr"/>
            <a:lstStyle/>
            <a:p>
              <a:endParaRPr lang="pt-BR"/>
            </a:p>
          </p:txBody>
        </p:sp>
        <p:sp>
          <p:nvSpPr>
            <p:cNvPr id="28" name="Forma Livre: Forma 27">
              <a:extLst>
                <a:ext uri="{FF2B5EF4-FFF2-40B4-BE49-F238E27FC236}">
                  <a16:creationId xmlns:a16="http://schemas.microsoft.com/office/drawing/2014/main" id="{9BE9482B-ACB3-3D21-44C4-BFB6F4445FAE}"/>
                </a:ext>
              </a:extLst>
            </p:cNvPr>
            <p:cNvSpPr/>
            <p:nvPr/>
          </p:nvSpPr>
          <p:spPr>
            <a:xfrm>
              <a:off x="12947747" y="2488405"/>
              <a:ext cx="158599" cy="158599"/>
            </a:xfrm>
            <a:custGeom>
              <a:avLst/>
              <a:gdLst>
                <a:gd name="connsiteX0" fmla="*/ 122106 w 158599"/>
                <a:gd name="connsiteY0" fmla="*/ 58920 h 158599"/>
                <a:gd name="connsiteX1" fmla="*/ 138092 w 158599"/>
                <a:gd name="connsiteY1" fmla="*/ 42933 h 158599"/>
                <a:gd name="connsiteX2" fmla="*/ 115666 w 158599"/>
                <a:gd name="connsiteY2" fmla="*/ 20507 h 158599"/>
                <a:gd name="connsiteX3" fmla="*/ 99680 w 158599"/>
                <a:gd name="connsiteY3" fmla="*/ 36494 h 158599"/>
                <a:gd name="connsiteX4" fmla="*/ 95160 w 158599"/>
                <a:gd name="connsiteY4" fmla="*/ 34654 h 158599"/>
                <a:gd name="connsiteX5" fmla="*/ 95160 w 158599"/>
                <a:gd name="connsiteY5" fmla="*/ 0 h 158599"/>
                <a:gd name="connsiteX6" fmla="*/ 63440 w 158599"/>
                <a:gd name="connsiteY6" fmla="*/ 0 h 158599"/>
                <a:gd name="connsiteX7" fmla="*/ 63440 w 158599"/>
                <a:gd name="connsiteY7" fmla="*/ 34638 h 158599"/>
                <a:gd name="connsiteX8" fmla="*/ 58920 w 158599"/>
                <a:gd name="connsiteY8" fmla="*/ 36478 h 158599"/>
                <a:gd name="connsiteX9" fmla="*/ 42933 w 158599"/>
                <a:gd name="connsiteY9" fmla="*/ 20491 h 158599"/>
                <a:gd name="connsiteX10" fmla="*/ 20507 w 158599"/>
                <a:gd name="connsiteY10" fmla="*/ 42917 h 158599"/>
                <a:gd name="connsiteX11" fmla="*/ 36494 w 158599"/>
                <a:gd name="connsiteY11" fmla="*/ 58904 h 158599"/>
                <a:gd name="connsiteX12" fmla="*/ 34638 w 158599"/>
                <a:gd name="connsiteY12" fmla="*/ 63440 h 158599"/>
                <a:gd name="connsiteX13" fmla="*/ 0 w 158599"/>
                <a:gd name="connsiteY13" fmla="*/ 63440 h 158599"/>
                <a:gd name="connsiteX14" fmla="*/ 0 w 158599"/>
                <a:gd name="connsiteY14" fmla="*/ 95160 h 158599"/>
                <a:gd name="connsiteX15" fmla="*/ 34638 w 158599"/>
                <a:gd name="connsiteY15" fmla="*/ 95160 h 158599"/>
                <a:gd name="connsiteX16" fmla="*/ 36478 w 158599"/>
                <a:gd name="connsiteY16" fmla="*/ 99680 h 158599"/>
                <a:gd name="connsiteX17" fmla="*/ 20491 w 158599"/>
                <a:gd name="connsiteY17" fmla="*/ 115666 h 158599"/>
                <a:gd name="connsiteX18" fmla="*/ 42917 w 158599"/>
                <a:gd name="connsiteY18" fmla="*/ 138092 h 158599"/>
                <a:gd name="connsiteX19" fmla="*/ 58904 w 158599"/>
                <a:gd name="connsiteY19" fmla="*/ 122106 h 158599"/>
                <a:gd name="connsiteX20" fmla="*/ 63424 w 158599"/>
                <a:gd name="connsiteY20" fmla="*/ 123945 h 158599"/>
                <a:gd name="connsiteX21" fmla="*/ 63424 w 158599"/>
                <a:gd name="connsiteY21" fmla="*/ 158599 h 158599"/>
                <a:gd name="connsiteX22" fmla="*/ 95144 w 158599"/>
                <a:gd name="connsiteY22" fmla="*/ 158599 h 158599"/>
                <a:gd name="connsiteX23" fmla="*/ 95144 w 158599"/>
                <a:gd name="connsiteY23" fmla="*/ 123961 h 158599"/>
                <a:gd name="connsiteX24" fmla="*/ 99664 w 158599"/>
                <a:gd name="connsiteY24" fmla="*/ 122121 h 158599"/>
                <a:gd name="connsiteX25" fmla="*/ 115651 w 158599"/>
                <a:gd name="connsiteY25" fmla="*/ 138108 h 158599"/>
                <a:gd name="connsiteX26" fmla="*/ 138076 w 158599"/>
                <a:gd name="connsiteY26" fmla="*/ 115682 h 158599"/>
                <a:gd name="connsiteX27" fmla="*/ 122090 w 158599"/>
                <a:gd name="connsiteY27" fmla="*/ 99695 h 158599"/>
                <a:gd name="connsiteX28" fmla="*/ 123929 w 158599"/>
                <a:gd name="connsiteY28" fmla="*/ 95175 h 158599"/>
                <a:gd name="connsiteX29" fmla="*/ 158599 w 158599"/>
                <a:gd name="connsiteY29" fmla="*/ 95175 h 158599"/>
                <a:gd name="connsiteX30" fmla="*/ 158599 w 158599"/>
                <a:gd name="connsiteY30" fmla="*/ 63456 h 158599"/>
                <a:gd name="connsiteX31" fmla="*/ 123961 w 158599"/>
                <a:gd name="connsiteY31" fmla="*/ 63456 h 158599"/>
                <a:gd name="connsiteX32" fmla="*/ 122106 w 158599"/>
                <a:gd name="connsiteY32" fmla="*/ 58920 h 158599"/>
                <a:gd name="connsiteX33" fmla="*/ 95160 w 158599"/>
                <a:gd name="connsiteY33" fmla="*/ 79300 h 158599"/>
                <a:gd name="connsiteX34" fmla="*/ 79300 w 158599"/>
                <a:gd name="connsiteY34" fmla="*/ 95160 h 158599"/>
                <a:gd name="connsiteX35" fmla="*/ 63440 w 158599"/>
                <a:gd name="connsiteY35" fmla="*/ 79300 h 158599"/>
                <a:gd name="connsiteX36" fmla="*/ 79300 w 158599"/>
                <a:gd name="connsiteY36" fmla="*/ 63440 h 158599"/>
                <a:gd name="connsiteX37" fmla="*/ 95160 w 158599"/>
                <a:gd name="connsiteY37" fmla="*/ 79300 h 15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599" h="158599">
                  <a:moveTo>
                    <a:pt x="122106" y="58920"/>
                  </a:moveTo>
                  <a:lnTo>
                    <a:pt x="138092" y="42933"/>
                  </a:lnTo>
                  <a:lnTo>
                    <a:pt x="115666" y="20507"/>
                  </a:lnTo>
                  <a:lnTo>
                    <a:pt x="99680" y="36494"/>
                  </a:lnTo>
                  <a:cubicBezTo>
                    <a:pt x="98205" y="35796"/>
                    <a:pt x="96698" y="35193"/>
                    <a:pt x="95160" y="34654"/>
                  </a:cubicBezTo>
                  <a:lnTo>
                    <a:pt x="95160" y="0"/>
                  </a:lnTo>
                  <a:lnTo>
                    <a:pt x="63440" y="0"/>
                  </a:lnTo>
                  <a:lnTo>
                    <a:pt x="63440" y="34638"/>
                  </a:lnTo>
                  <a:cubicBezTo>
                    <a:pt x="61885" y="35193"/>
                    <a:pt x="60379" y="35780"/>
                    <a:pt x="58920" y="36478"/>
                  </a:cubicBezTo>
                  <a:lnTo>
                    <a:pt x="42933" y="20491"/>
                  </a:lnTo>
                  <a:lnTo>
                    <a:pt x="20507" y="42917"/>
                  </a:lnTo>
                  <a:lnTo>
                    <a:pt x="36494" y="58904"/>
                  </a:lnTo>
                  <a:cubicBezTo>
                    <a:pt x="35780" y="60379"/>
                    <a:pt x="35193" y="61885"/>
                    <a:pt x="34638" y="63440"/>
                  </a:cubicBezTo>
                  <a:lnTo>
                    <a:pt x="0" y="63440"/>
                  </a:lnTo>
                  <a:lnTo>
                    <a:pt x="0" y="95160"/>
                  </a:lnTo>
                  <a:lnTo>
                    <a:pt x="34638" y="95160"/>
                  </a:lnTo>
                  <a:cubicBezTo>
                    <a:pt x="35193" y="96714"/>
                    <a:pt x="35780" y="98221"/>
                    <a:pt x="36478" y="99680"/>
                  </a:cubicBezTo>
                  <a:lnTo>
                    <a:pt x="20491" y="115666"/>
                  </a:lnTo>
                  <a:lnTo>
                    <a:pt x="42917" y="138092"/>
                  </a:lnTo>
                  <a:lnTo>
                    <a:pt x="58904" y="122106"/>
                  </a:lnTo>
                  <a:cubicBezTo>
                    <a:pt x="60379" y="122803"/>
                    <a:pt x="61885" y="123390"/>
                    <a:pt x="63424" y="123945"/>
                  </a:cubicBezTo>
                  <a:lnTo>
                    <a:pt x="63424" y="158599"/>
                  </a:lnTo>
                  <a:lnTo>
                    <a:pt x="95144" y="158599"/>
                  </a:lnTo>
                  <a:lnTo>
                    <a:pt x="95144" y="123961"/>
                  </a:lnTo>
                  <a:cubicBezTo>
                    <a:pt x="96698" y="123406"/>
                    <a:pt x="98205" y="122819"/>
                    <a:pt x="99664" y="122121"/>
                  </a:cubicBezTo>
                  <a:lnTo>
                    <a:pt x="115651" y="138108"/>
                  </a:lnTo>
                  <a:lnTo>
                    <a:pt x="138076" y="115682"/>
                  </a:lnTo>
                  <a:lnTo>
                    <a:pt x="122090" y="99695"/>
                  </a:lnTo>
                  <a:cubicBezTo>
                    <a:pt x="122787" y="98221"/>
                    <a:pt x="123390" y="96714"/>
                    <a:pt x="123929" y="95175"/>
                  </a:cubicBezTo>
                  <a:lnTo>
                    <a:pt x="158599" y="95175"/>
                  </a:lnTo>
                  <a:lnTo>
                    <a:pt x="158599" y="63456"/>
                  </a:lnTo>
                  <a:lnTo>
                    <a:pt x="123961" y="63456"/>
                  </a:lnTo>
                  <a:cubicBezTo>
                    <a:pt x="123406" y="61885"/>
                    <a:pt x="122819" y="60379"/>
                    <a:pt x="122106" y="58920"/>
                  </a:cubicBezTo>
                  <a:close/>
                  <a:moveTo>
                    <a:pt x="95160" y="79300"/>
                  </a:moveTo>
                  <a:cubicBezTo>
                    <a:pt x="95160" y="88038"/>
                    <a:pt x="88054" y="95160"/>
                    <a:pt x="79300" y="95160"/>
                  </a:cubicBezTo>
                  <a:cubicBezTo>
                    <a:pt x="70545" y="95160"/>
                    <a:pt x="63440" y="88038"/>
                    <a:pt x="63440" y="79300"/>
                  </a:cubicBezTo>
                  <a:cubicBezTo>
                    <a:pt x="63440" y="70561"/>
                    <a:pt x="70545" y="63440"/>
                    <a:pt x="79300" y="63440"/>
                  </a:cubicBezTo>
                  <a:cubicBezTo>
                    <a:pt x="88054" y="63440"/>
                    <a:pt x="95160" y="70561"/>
                    <a:pt x="95160" y="79300"/>
                  </a:cubicBezTo>
                  <a:close/>
                </a:path>
              </a:pathLst>
            </a:custGeom>
            <a:solidFill>
              <a:schemeClr val="accent2"/>
            </a:solidFill>
            <a:ln w="15824" cap="flat">
              <a:noFill/>
              <a:prstDash val="solid"/>
              <a:miter/>
            </a:ln>
          </p:spPr>
          <p:txBody>
            <a:bodyPr rtlCol="0" anchor="ctr"/>
            <a:lstStyle/>
            <a:p>
              <a:endParaRPr lang="pt-BR"/>
            </a:p>
          </p:txBody>
        </p:sp>
        <p:sp>
          <p:nvSpPr>
            <p:cNvPr id="29" name="Forma Livre: Forma 28">
              <a:extLst>
                <a:ext uri="{FF2B5EF4-FFF2-40B4-BE49-F238E27FC236}">
                  <a16:creationId xmlns:a16="http://schemas.microsoft.com/office/drawing/2014/main" id="{E3EFC6DF-8FDF-E6B9-B2DE-E09B1CC88C67}"/>
                </a:ext>
              </a:extLst>
            </p:cNvPr>
            <p:cNvSpPr/>
            <p:nvPr/>
          </p:nvSpPr>
          <p:spPr>
            <a:xfrm rot="18900000">
              <a:off x="12855307" y="2424955"/>
              <a:ext cx="89718" cy="31719"/>
            </a:xfrm>
            <a:custGeom>
              <a:avLst/>
              <a:gdLst>
                <a:gd name="connsiteX0" fmla="*/ 0 w 89718"/>
                <a:gd name="connsiteY0" fmla="*/ 0 h 31719"/>
                <a:gd name="connsiteX1" fmla="*/ 89719 w 89718"/>
                <a:gd name="connsiteY1" fmla="*/ 0 h 31719"/>
                <a:gd name="connsiteX2" fmla="*/ 89719 w 89718"/>
                <a:gd name="connsiteY2" fmla="*/ 31720 h 31719"/>
                <a:gd name="connsiteX3" fmla="*/ 0 w 89718"/>
                <a:gd name="connsiteY3" fmla="*/ 31720 h 31719"/>
              </a:gdLst>
              <a:ahLst/>
              <a:cxnLst>
                <a:cxn ang="0">
                  <a:pos x="connsiteX0" y="connsiteY0"/>
                </a:cxn>
                <a:cxn ang="0">
                  <a:pos x="connsiteX1" y="connsiteY1"/>
                </a:cxn>
                <a:cxn ang="0">
                  <a:pos x="connsiteX2" y="connsiteY2"/>
                </a:cxn>
                <a:cxn ang="0">
                  <a:pos x="connsiteX3" y="connsiteY3"/>
                </a:cxn>
              </a:cxnLst>
              <a:rect l="l" t="t" r="r" b="b"/>
              <a:pathLst>
                <a:path w="89718" h="31719">
                  <a:moveTo>
                    <a:pt x="0" y="0"/>
                  </a:moveTo>
                  <a:lnTo>
                    <a:pt x="89719" y="0"/>
                  </a:lnTo>
                  <a:lnTo>
                    <a:pt x="89719" y="31720"/>
                  </a:lnTo>
                  <a:lnTo>
                    <a:pt x="0" y="31720"/>
                  </a:lnTo>
                  <a:close/>
                </a:path>
              </a:pathLst>
            </a:custGeom>
            <a:solidFill>
              <a:schemeClr val="bg1"/>
            </a:solidFill>
            <a:ln w="15824" cap="flat">
              <a:noFill/>
              <a:prstDash val="solid"/>
              <a:miter/>
            </a:ln>
          </p:spPr>
          <p:txBody>
            <a:bodyPr rtlCol="0" anchor="ctr"/>
            <a:lstStyle/>
            <a:p>
              <a:endParaRPr lang="pt-BR"/>
            </a:p>
          </p:txBody>
        </p:sp>
        <p:sp>
          <p:nvSpPr>
            <p:cNvPr id="30" name="Forma Livre: Forma 29">
              <a:extLst>
                <a:ext uri="{FF2B5EF4-FFF2-40B4-BE49-F238E27FC236}">
                  <a16:creationId xmlns:a16="http://schemas.microsoft.com/office/drawing/2014/main" id="{EF4A1731-57B3-8078-60CA-6F6D7B6CB048}"/>
                </a:ext>
              </a:extLst>
            </p:cNvPr>
            <p:cNvSpPr/>
            <p:nvPr/>
          </p:nvSpPr>
          <p:spPr>
            <a:xfrm>
              <a:off x="12904814" y="2266366"/>
              <a:ext cx="244464" cy="264971"/>
            </a:xfrm>
            <a:custGeom>
              <a:avLst/>
              <a:gdLst>
                <a:gd name="connsiteX0" fmla="*/ 169812 w 244464"/>
                <a:gd name="connsiteY0" fmla="*/ 0 h 264971"/>
                <a:gd name="connsiteX1" fmla="*/ 138092 w 244464"/>
                <a:gd name="connsiteY1" fmla="*/ 0 h 264971"/>
                <a:gd name="connsiteX2" fmla="*/ 138092 w 244464"/>
                <a:gd name="connsiteY2" fmla="*/ 95160 h 264971"/>
                <a:gd name="connsiteX3" fmla="*/ 106372 w 244464"/>
                <a:gd name="connsiteY3" fmla="*/ 95160 h 264971"/>
                <a:gd name="connsiteX4" fmla="*/ 106372 w 244464"/>
                <a:gd name="connsiteY4" fmla="*/ 0 h 264971"/>
                <a:gd name="connsiteX5" fmla="*/ 74653 w 244464"/>
                <a:gd name="connsiteY5" fmla="*/ 0 h 264971"/>
                <a:gd name="connsiteX6" fmla="*/ 74653 w 244464"/>
                <a:gd name="connsiteY6" fmla="*/ 167893 h 264971"/>
                <a:gd name="connsiteX7" fmla="*/ 0 w 244464"/>
                <a:gd name="connsiteY7" fmla="*/ 242546 h 264971"/>
                <a:gd name="connsiteX8" fmla="*/ 22426 w 244464"/>
                <a:gd name="connsiteY8" fmla="*/ 264972 h 264971"/>
                <a:gd name="connsiteX9" fmla="*/ 106372 w 244464"/>
                <a:gd name="connsiteY9" fmla="*/ 181025 h 264971"/>
                <a:gd name="connsiteX10" fmla="*/ 106372 w 244464"/>
                <a:gd name="connsiteY10" fmla="*/ 126879 h 264971"/>
                <a:gd name="connsiteX11" fmla="*/ 138092 w 244464"/>
                <a:gd name="connsiteY11" fmla="*/ 126879 h 264971"/>
                <a:gd name="connsiteX12" fmla="*/ 138092 w 244464"/>
                <a:gd name="connsiteY12" fmla="*/ 181025 h 264971"/>
                <a:gd name="connsiteX13" fmla="*/ 222039 w 244464"/>
                <a:gd name="connsiteY13" fmla="*/ 264972 h 264971"/>
                <a:gd name="connsiteX14" fmla="*/ 244465 w 244464"/>
                <a:gd name="connsiteY14" fmla="*/ 242546 h 264971"/>
                <a:gd name="connsiteX15" fmla="*/ 169812 w 244464"/>
                <a:gd name="connsiteY15" fmla="*/ 167893 h 26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64" h="264971">
                  <a:moveTo>
                    <a:pt x="169812" y="0"/>
                  </a:moveTo>
                  <a:lnTo>
                    <a:pt x="138092" y="0"/>
                  </a:lnTo>
                  <a:lnTo>
                    <a:pt x="138092" y="95160"/>
                  </a:lnTo>
                  <a:lnTo>
                    <a:pt x="106372" y="95160"/>
                  </a:lnTo>
                  <a:lnTo>
                    <a:pt x="106372" y="0"/>
                  </a:lnTo>
                  <a:lnTo>
                    <a:pt x="74653" y="0"/>
                  </a:lnTo>
                  <a:lnTo>
                    <a:pt x="74653" y="167893"/>
                  </a:lnTo>
                  <a:lnTo>
                    <a:pt x="0" y="242546"/>
                  </a:lnTo>
                  <a:lnTo>
                    <a:pt x="22426" y="264972"/>
                  </a:lnTo>
                  <a:lnTo>
                    <a:pt x="106372" y="181025"/>
                  </a:lnTo>
                  <a:lnTo>
                    <a:pt x="106372" y="126879"/>
                  </a:lnTo>
                  <a:lnTo>
                    <a:pt x="138092" y="126879"/>
                  </a:lnTo>
                  <a:lnTo>
                    <a:pt x="138092" y="181025"/>
                  </a:lnTo>
                  <a:lnTo>
                    <a:pt x="222039" y="264972"/>
                  </a:lnTo>
                  <a:lnTo>
                    <a:pt x="244465" y="242546"/>
                  </a:lnTo>
                  <a:lnTo>
                    <a:pt x="169812" y="167893"/>
                  </a:lnTo>
                  <a:close/>
                </a:path>
              </a:pathLst>
            </a:custGeom>
            <a:solidFill>
              <a:schemeClr val="bg1"/>
            </a:solidFill>
            <a:ln w="15824" cap="flat">
              <a:noFill/>
              <a:prstDash val="solid"/>
              <a:miter/>
            </a:ln>
          </p:spPr>
          <p:txBody>
            <a:bodyPr rtlCol="0" anchor="ctr"/>
            <a:lstStyle/>
            <a:p>
              <a:endParaRPr lang="pt-BR"/>
            </a:p>
          </p:txBody>
        </p:sp>
        <p:sp>
          <p:nvSpPr>
            <p:cNvPr id="31" name="Forma Livre: Forma 30">
              <a:extLst>
                <a:ext uri="{FF2B5EF4-FFF2-40B4-BE49-F238E27FC236}">
                  <a16:creationId xmlns:a16="http://schemas.microsoft.com/office/drawing/2014/main" id="{37E5EE73-4646-542E-8DF8-00B9C4B6A773}"/>
                </a:ext>
              </a:extLst>
            </p:cNvPr>
            <p:cNvSpPr/>
            <p:nvPr/>
          </p:nvSpPr>
          <p:spPr>
            <a:xfrm rot="18900000">
              <a:off x="13138064" y="2395968"/>
              <a:ext cx="31719" cy="89718"/>
            </a:xfrm>
            <a:custGeom>
              <a:avLst/>
              <a:gdLst>
                <a:gd name="connsiteX0" fmla="*/ 0 w 31719"/>
                <a:gd name="connsiteY0" fmla="*/ 0 h 89718"/>
                <a:gd name="connsiteX1" fmla="*/ 31720 w 31719"/>
                <a:gd name="connsiteY1" fmla="*/ 0 h 89718"/>
                <a:gd name="connsiteX2" fmla="*/ 31720 w 31719"/>
                <a:gd name="connsiteY2" fmla="*/ 89719 h 89718"/>
                <a:gd name="connsiteX3" fmla="*/ 0 w 31719"/>
                <a:gd name="connsiteY3" fmla="*/ 89719 h 89718"/>
              </a:gdLst>
              <a:ahLst/>
              <a:cxnLst>
                <a:cxn ang="0">
                  <a:pos x="connsiteX0" y="connsiteY0"/>
                </a:cxn>
                <a:cxn ang="0">
                  <a:pos x="connsiteX1" y="connsiteY1"/>
                </a:cxn>
                <a:cxn ang="0">
                  <a:pos x="connsiteX2" y="connsiteY2"/>
                </a:cxn>
                <a:cxn ang="0">
                  <a:pos x="connsiteX3" y="connsiteY3"/>
                </a:cxn>
              </a:cxnLst>
              <a:rect l="l" t="t" r="r" b="b"/>
              <a:pathLst>
                <a:path w="31719" h="89718">
                  <a:moveTo>
                    <a:pt x="0" y="0"/>
                  </a:moveTo>
                  <a:lnTo>
                    <a:pt x="31720" y="0"/>
                  </a:lnTo>
                  <a:lnTo>
                    <a:pt x="31720" y="89719"/>
                  </a:lnTo>
                  <a:lnTo>
                    <a:pt x="0" y="89719"/>
                  </a:lnTo>
                  <a:close/>
                </a:path>
              </a:pathLst>
            </a:custGeom>
            <a:solidFill>
              <a:schemeClr val="bg1"/>
            </a:solidFill>
            <a:ln w="15824" cap="flat">
              <a:noFill/>
              <a:prstDash val="solid"/>
              <a:miter/>
            </a:ln>
          </p:spPr>
          <p:txBody>
            <a:bodyPr rtlCol="0" anchor="ctr"/>
            <a:lstStyle/>
            <a:p>
              <a:endParaRPr lang="pt-BR"/>
            </a:p>
          </p:txBody>
        </p:sp>
        <p:sp>
          <p:nvSpPr>
            <p:cNvPr id="32" name="Forma Livre: Forma 31">
              <a:extLst>
                <a:ext uri="{FF2B5EF4-FFF2-40B4-BE49-F238E27FC236}">
                  <a16:creationId xmlns:a16="http://schemas.microsoft.com/office/drawing/2014/main" id="{4005DD92-8D38-A5ED-E29E-879DA7494DB0}"/>
                </a:ext>
              </a:extLst>
            </p:cNvPr>
            <p:cNvSpPr/>
            <p:nvPr/>
          </p:nvSpPr>
          <p:spPr>
            <a:xfrm>
              <a:off x="13582144" y="2488405"/>
              <a:ext cx="158599" cy="158599"/>
            </a:xfrm>
            <a:custGeom>
              <a:avLst/>
              <a:gdLst>
                <a:gd name="connsiteX0" fmla="*/ 122106 w 158599"/>
                <a:gd name="connsiteY0" fmla="*/ 58920 h 158599"/>
                <a:gd name="connsiteX1" fmla="*/ 138092 w 158599"/>
                <a:gd name="connsiteY1" fmla="*/ 42933 h 158599"/>
                <a:gd name="connsiteX2" fmla="*/ 115666 w 158599"/>
                <a:gd name="connsiteY2" fmla="*/ 20507 h 158599"/>
                <a:gd name="connsiteX3" fmla="*/ 99680 w 158599"/>
                <a:gd name="connsiteY3" fmla="*/ 36494 h 158599"/>
                <a:gd name="connsiteX4" fmla="*/ 95160 w 158599"/>
                <a:gd name="connsiteY4" fmla="*/ 34654 h 158599"/>
                <a:gd name="connsiteX5" fmla="*/ 95160 w 158599"/>
                <a:gd name="connsiteY5" fmla="*/ 0 h 158599"/>
                <a:gd name="connsiteX6" fmla="*/ 63440 w 158599"/>
                <a:gd name="connsiteY6" fmla="*/ 0 h 158599"/>
                <a:gd name="connsiteX7" fmla="*/ 63440 w 158599"/>
                <a:gd name="connsiteY7" fmla="*/ 34638 h 158599"/>
                <a:gd name="connsiteX8" fmla="*/ 58920 w 158599"/>
                <a:gd name="connsiteY8" fmla="*/ 36478 h 158599"/>
                <a:gd name="connsiteX9" fmla="*/ 42933 w 158599"/>
                <a:gd name="connsiteY9" fmla="*/ 20491 h 158599"/>
                <a:gd name="connsiteX10" fmla="*/ 20507 w 158599"/>
                <a:gd name="connsiteY10" fmla="*/ 42917 h 158599"/>
                <a:gd name="connsiteX11" fmla="*/ 36494 w 158599"/>
                <a:gd name="connsiteY11" fmla="*/ 58904 h 158599"/>
                <a:gd name="connsiteX12" fmla="*/ 34654 w 158599"/>
                <a:gd name="connsiteY12" fmla="*/ 63424 h 158599"/>
                <a:gd name="connsiteX13" fmla="*/ 0 w 158599"/>
                <a:gd name="connsiteY13" fmla="*/ 63424 h 158599"/>
                <a:gd name="connsiteX14" fmla="*/ 0 w 158599"/>
                <a:gd name="connsiteY14" fmla="*/ 95144 h 158599"/>
                <a:gd name="connsiteX15" fmla="*/ 34638 w 158599"/>
                <a:gd name="connsiteY15" fmla="*/ 95144 h 158599"/>
                <a:gd name="connsiteX16" fmla="*/ 36478 w 158599"/>
                <a:gd name="connsiteY16" fmla="*/ 99664 h 158599"/>
                <a:gd name="connsiteX17" fmla="*/ 20491 w 158599"/>
                <a:gd name="connsiteY17" fmla="*/ 115651 h 158599"/>
                <a:gd name="connsiteX18" fmla="*/ 42917 w 158599"/>
                <a:gd name="connsiteY18" fmla="*/ 138077 h 158599"/>
                <a:gd name="connsiteX19" fmla="*/ 58904 w 158599"/>
                <a:gd name="connsiteY19" fmla="*/ 122090 h 158599"/>
                <a:gd name="connsiteX20" fmla="*/ 63424 w 158599"/>
                <a:gd name="connsiteY20" fmla="*/ 123929 h 158599"/>
                <a:gd name="connsiteX21" fmla="*/ 63424 w 158599"/>
                <a:gd name="connsiteY21" fmla="*/ 158599 h 158599"/>
                <a:gd name="connsiteX22" fmla="*/ 95144 w 158599"/>
                <a:gd name="connsiteY22" fmla="*/ 158599 h 158599"/>
                <a:gd name="connsiteX23" fmla="*/ 95144 w 158599"/>
                <a:gd name="connsiteY23" fmla="*/ 123961 h 158599"/>
                <a:gd name="connsiteX24" fmla="*/ 99664 w 158599"/>
                <a:gd name="connsiteY24" fmla="*/ 122121 h 158599"/>
                <a:gd name="connsiteX25" fmla="*/ 115651 w 158599"/>
                <a:gd name="connsiteY25" fmla="*/ 138108 h 158599"/>
                <a:gd name="connsiteX26" fmla="*/ 138076 w 158599"/>
                <a:gd name="connsiteY26" fmla="*/ 115682 h 158599"/>
                <a:gd name="connsiteX27" fmla="*/ 122090 w 158599"/>
                <a:gd name="connsiteY27" fmla="*/ 99695 h 158599"/>
                <a:gd name="connsiteX28" fmla="*/ 123929 w 158599"/>
                <a:gd name="connsiteY28" fmla="*/ 95175 h 158599"/>
                <a:gd name="connsiteX29" fmla="*/ 158599 w 158599"/>
                <a:gd name="connsiteY29" fmla="*/ 95175 h 158599"/>
                <a:gd name="connsiteX30" fmla="*/ 158599 w 158599"/>
                <a:gd name="connsiteY30" fmla="*/ 63456 h 158599"/>
                <a:gd name="connsiteX31" fmla="*/ 123961 w 158599"/>
                <a:gd name="connsiteY31" fmla="*/ 63456 h 158599"/>
                <a:gd name="connsiteX32" fmla="*/ 122106 w 158599"/>
                <a:gd name="connsiteY32" fmla="*/ 58920 h 158599"/>
                <a:gd name="connsiteX33" fmla="*/ 95160 w 158599"/>
                <a:gd name="connsiteY33" fmla="*/ 79300 h 158599"/>
                <a:gd name="connsiteX34" fmla="*/ 79300 w 158599"/>
                <a:gd name="connsiteY34" fmla="*/ 95160 h 158599"/>
                <a:gd name="connsiteX35" fmla="*/ 63440 w 158599"/>
                <a:gd name="connsiteY35" fmla="*/ 79300 h 158599"/>
                <a:gd name="connsiteX36" fmla="*/ 79300 w 158599"/>
                <a:gd name="connsiteY36" fmla="*/ 63440 h 158599"/>
                <a:gd name="connsiteX37" fmla="*/ 95160 w 158599"/>
                <a:gd name="connsiteY37" fmla="*/ 79300 h 15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599" h="158599">
                  <a:moveTo>
                    <a:pt x="122106" y="58920"/>
                  </a:moveTo>
                  <a:lnTo>
                    <a:pt x="138092" y="42933"/>
                  </a:lnTo>
                  <a:lnTo>
                    <a:pt x="115666" y="20507"/>
                  </a:lnTo>
                  <a:lnTo>
                    <a:pt x="99680" y="36494"/>
                  </a:lnTo>
                  <a:cubicBezTo>
                    <a:pt x="98205" y="35796"/>
                    <a:pt x="96698" y="35193"/>
                    <a:pt x="95160" y="34654"/>
                  </a:cubicBezTo>
                  <a:lnTo>
                    <a:pt x="95160" y="0"/>
                  </a:lnTo>
                  <a:lnTo>
                    <a:pt x="63440" y="0"/>
                  </a:lnTo>
                  <a:lnTo>
                    <a:pt x="63440" y="34638"/>
                  </a:lnTo>
                  <a:cubicBezTo>
                    <a:pt x="61885" y="35193"/>
                    <a:pt x="60379" y="35780"/>
                    <a:pt x="58920" y="36478"/>
                  </a:cubicBezTo>
                  <a:lnTo>
                    <a:pt x="42933" y="20491"/>
                  </a:lnTo>
                  <a:lnTo>
                    <a:pt x="20507" y="42917"/>
                  </a:lnTo>
                  <a:lnTo>
                    <a:pt x="36494" y="58904"/>
                  </a:lnTo>
                  <a:cubicBezTo>
                    <a:pt x="35796" y="60379"/>
                    <a:pt x="35193" y="61885"/>
                    <a:pt x="34654" y="63424"/>
                  </a:cubicBezTo>
                  <a:lnTo>
                    <a:pt x="0" y="63424"/>
                  </a:lnTo>
                  <a:lnTo>
                    <a:pt x="0" y="95144"/>
                  </a:lnTo>
                  <a:lnTo>
                    <a:pt x="34638" y="95144"/>
                  </a:lnTo>
                  <a:cubicBezTo>
                    <a:pt x="35193" y="96698"/>
                    <a:pt x="35780" y="98205"/>
                    <a:pt x="36478" y="99664"/>
                  </a:cubicBezTo>
                  <a:lnTo>
                    <a:pt x="20491" y="115651"/>
                  </a:lnTo>
                  <a:lnTo>
                    <a:pt x="42917" y="138077"/>
                  </a:lnTo>
                  <a:lnTo>
                    <a:pt x="58904" y="122090"/>
                  </a:lnTo>
                  <a:cubicBezTo>
                    <a:pt x="60379" y="122788"/>
                    <a:pt x="61885" y="123374"/>
                    <a:pt x="63424" y="123929"/>
                  </a:cubicBezTo>
                  <a:lnTo>
                    <a:pt x="63424" y="158599"/>
                  </a:lnTo>
                  <a:lnTo>
                    <a:pt x="95144" y="158599"/>
                  </a:lnTo>
                  <a:lnTo>
                    <a:pt x="95144" y="123961"/>
                  </a:lnTo>
                  <a:cubicBezTo>
                    <a:pt x="96698" y="123406"/>
                    <a:pt x="98205" y="122819"/>
                    <a:pt x="99664" y="122121"/>
                  </a:cubicBezTo>
                  <a:lnTo>
                    <a:pt x="115651" y="138108"/>
                  </a:lnTo>
                  <a:lnTo>
                    <a:pt x="138076" y="115682"/>
                  </a:lnTo>
                  <a:lnTo>
                    <a:pt x="122090" y="99695"/>
                  </a:lnTo>
                  <a:cubicBezTo>
                    <a:pt x="122788" y="98221"/>
                    <a:pt x="123390" y="96714"/>
                    <a:pt x="123929" y="95175"/>
                  </a:cubicBezTo>
                  <a:lnTo>
                    <a:pt x="158599" y="95175"/>
                  </a:lnTo>
                  <a:lnTo>
                    <a:pt x="158599" y="63456"/>
                  </a:lnTo>
                  <a:lnTo>
                    <a:pt x="123961" y="63456"/>
                  </a:lnTo>
                  <a:cubicBezTo>
                    <a:pt x="123406" y="61885"/>
                    <a:pt x="122819" y="60379"/>
                    <a:pt x="122106" y="58920"/>
                  </a:cubicBezTo>
                  <a:close/>
                  <a:moveTo>
                    <a:pt x="95160" y="79300"/>
                  </a:moveTo>
                  <a:cubicBezTo>
                    <a:pt x="95160" y="88038"/>
                    <a:pt x="88054" y="95160"/>
                    <a:pt x="79300" y="95160"/>
                  </a:cubicBezTo>
                  <a:cubicBezTo>
                    <a:pt x="70545" y="95160"/>
                    <a:pt x="63440" y="88038"/>
                    <a:pt x="63440" y="79300"/>
                  </a:cubicBezTo>
                  <a:cubicBezTo>
                    <a:pt x="63440" y="70561"/>
                    <a:pt x="70545" y="63440"/>
                    <a:pt x="79300" y="63440"/>
                  </a:cubicBezTo>
                  <a:cubicBezTo>
                    <a:pt x="88054" y="63440"/>
                    <a:pt x="95160" y="70561"/>
                    <a:pt x="95160" y="79300"/>
                  </a:cubicBezTo>
                  <a:close/>
                </a:path>
              </a:pathLst>
            </a:custGeom>
            <a:solidFill>
              <a:schemeClr val="bg1"/>
            </a:solidFill>
            <a:ln w="15824" cap="flat">
              <a:noFill/>
              <a:prstDash val="solid"/>
              <a:miter/>
            </a:ln>
          </p:spPr>
          <p:txBody>
            <a:bodyPr rtlCol="0" anchor="ctr"/>
            <a:lstStyle/>
            <a:p>
              <a:endParaRPr lang="pt-BR"/>
            </a:p>
          </p:txBody>
        </p:sp>
        <p:sp>
          <p:nvSpPr>
            <p:cNvPr id="33" name="Forma Livre: Forma 32">
              <a:extLst>
                <a:ext uri="{FF2B5EF4-FFF2-40B4-BE49-F238E27FC236}">
                  <a16:creationId xmlns:a16="http://schemas.microsoft.com/office/drawing/2014/main" id="{4D470A29-C67B-F73C-DE8E-FD4A92D20BDB}"/>
                </a:ext>
              </a:extLst>
            </p:cNvPr>
            <p:cNvSpPr/>
            <p:nvPr/>
          </p:nvSpPr>
          <p:spPr>
            <a:xfrm rot="18900000">
              <a:off x="13489701" y="2424959"/>
              <a:ext cx="89718" cy="31719"/>
            </a:xfrm>
            <a:custGeom>
              <a:avLst/>
              <a:gdLst>
                <a:gd name="connsiteX0" fmla="*/ 0 w 89718"/>
                <a:gd name="connsiteY0" fmla="*/ 0 h 31719"/>
                <a:gd name="connsiteX1" fmla="*/ 89719 w 89718"/>
                <a:gd name="connsiteY1" fmla="*/ 0 h 31719"/>
                <a:gd name="connsiteX2" fmla="*/ 89719 w 89718"/>
                <a:gd name="connsiteY2" fmla="*/ 31720 h 31719"/>
                <a:gd name="connsiteX3" fmla="*/ 0 w 89718"/>
                <a:gd name="connsiteY3" fmla="*/ 31720 h 31719"/>
              </a:gdLst>
              <a:ahLst/>
              <a:cxnLst>
                <a:cxn ang="0">
                  <a:pos x="connsiteX0" y="connsiteY0"/>
                </a:cxn>
                <a:cxn ang="0">
                  <a:pos x="connsiteX1" y="connsiteY1"/>
                </a:cxn>
                <a:cxn ang="0">
                  <a:pos x="connsiteX2" y="connsiteY2"/>
                </a:cxn>
                <a:cxn ang="0">
                  <a:pos x="connsiteX3" y="connsiteY3"/>
                </a:cxn>
              </a:cxnLst>
              <a:rect l="l" t="t" r="r" b="b"/>
              <a:pathLst>
                <a:path w="89718" h="31719">
                  <a:moveTo>
                    <a:pt x="0" y="0"/>
                  </a:moveTo>
                  <a:lnTo>
                    <a:pt x="89719" y="0"/>
                  </a:lnTo>
                  <a:lnTo>
                    <a:pt x="89719" y="31720"/>
                  </a:lnTo>
                  <a:lnTo>
                    <a:pt x="0" y="31720"/>
                  </a:lnTo>
                  <a:close/>
                </a:path>
              </a:pathLst>
            </a:custGeom>
            <a:solidFill>
              <a:schemeClr val="bg1"/>
            </a:solidFill>
            <a:ln w="15824" cap="flat">
              <a:noFill/>
              <a:prstDash val="solid"/>
              <a:miter/>
            </a:ln>
          </p:spPr>
          <p:txBody>
            <a:bodyPr rtlCol="0" anchor="ctr"/>
            <a:lstStyle/>
            <a:p>
              <a:endParaRPr lang="pt-BR"/>
            </a:p>
          </p:txBody>
        </p:sp>
        <p:sp>
          <p:nvSpPr>
            <p:cNvPr id="34" name="Forma Livre: Forma 33">
              <a:extLst>
                <a:ext uri="{FF2B5EF4-FFF2-40B4-BE49-F238E27FC236}">
                  <a16:creationId xmlns:a16="http://schemas.microsoft.com/office/drawing/2014/main" id="{0CD21CBC-6C9B-7953-2FFF-17165DBC69D5}"/>
                </a:ext>
              </a:extLst>
            </p:cNvPr>
            <p:cNvSpPr/>
            <p:nvPr/>
          </p:nvSpPr>
          <p:spPr>
            <a:xfrm>
              <a:off x="13539211" y="2266366"/>
              <a:ext cx="244464" cy="264971"/>
            </a:xfrm>
            <a:custGeom>
              <a:avLst/>
              <a:gdLst>
                <a:gd name="connsiteX0" fmla="*/ 169812 w 244464"/>
                <a:gd name="connsiteY0" fmla="*/ 0 h 264971"/>
                <a:gd name="connsiteX1" fmla="*/ 138092 w 244464"/>
                <a:gd name="connsiteY1" fmla="*/ 0 h 264971"/>
                <a:gd name="connsiteX2" fmla="*/ 138092 w 244464"/>
                <a:gd name="connsiteY2" fmla="*/ 95160 h 264971"/>
                <a:gd name="connsiteX3" fmla="*/ 106372 w 244464"/>
                <a:gd name="connsiteY3" fmla="*/ 95160 h 264971"/>
                <a:gd name="connsiteX4" fmla="*/ 106372 w 244464"/>
                <a:gd name="connsiteY4" fmla="*/ 0 h 264971"/>
                <a:gd name="connsiteX5" fmla="*/ 74653 w 244464"/>
                <a:gd name="connsiteY5" fmla="*/ 0 h 264971"/>
                <a:gd name="connsiteX6" fmla="*/ 74653 w 244464"/>
                <a:gd name="connsiteY6" fmla="*/ 167893 h 264971"/>
                <a:gd name="connsiteX7" fmla="*/ 0 w 244464"/>
                <a:gd name="connsiteY7" fmla="*/ 242546 h 264971"/>
                <a:gd name="connsiteX8" fmla="*/ 22426 w 244464"/>
                <a:gd name="connsiteY8" fmla="*/ 264972 h 264971"/>
                <a:gd name="connsiteX9" fmla="*/ 106372 w 244464"/>
                <a:gd name="connsiteY9" fmla="*/ 181025 h 264971"/>
                <a:gd name="connsiteX10" fmla="*/ 106372 w 244464"/>
                <a:gd name="connsiteY10" fmla="*/ 126879 h 264971"/>
                <a:gd name="connsiteX11" fmla="*/ 138092 w 244464"/>
                <a:gd name="connsiteY11" fmla="*/ 126879 h 264971"/>
                <a:gd name="connsiteX12" fmla="*/ 138092 w 244464"/>
                <a:gd name="connsiteY12" fmla="*/ 181025 h 264971"/>
                <a:gd name="connsiteX13" fmla="*/ 222039 w 244464"/>
                <a:gd name="connsiteY13" fmla="*/ 264972 h 264971"/>
                <a:gd name="connsiteX14" fmla="*/ 244465 w 244464"/>
                <a:gd name="connsiteY14" fmla="*/ 242546 h 264971"/>
                <a:gd name="connsiteX15" fmla="*/ 169812 w 244464"/>
                <a:gd name="connsiteY15" fmla="*/ 167893 h 26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64" h="264971">
                  <a:moveTo>
                    <a:pt x="169812" y="0"/>
                  </a:moveTo>
                  <a:lnTo>
                    <a:pt x="138092" y="0"/>
                  </a:lnTo>
                  <a:lnTo>
                    <a:pt x="138092" y="95160"/>
                  </a:lnTo>
                  <a:lnTo>
                    <a:pt x="106372" y="95160"/>
                  </a:lnTo>
                  <a:lnTo>
                    <a:pt x="106372" y="0"/>
                  </a:lnTo>
                  <a:lnTo>
                    <a:pt x="74653" y="0"/>
                  </a:lnTo>
                  <a:lnTo>
                    <a:pt x="74653" y="167893"/>
                  </a:lnTo>
                  <a:lnTo>
                    <a:pt x="0" y="242546"/>
                  </a:lnTo>
                  <a:lnTo>
                    <a:pt x="22426" y="264972"/>
                  </a:lnTo>
                  <a:lnTo>
                    <a:pt x="106372" y="181025"/>
                  </a:lnTo>
                  <a:lnTo>
                    <a:pt x="106372" y="126879"/>
                  </a:lnTo>
                  <a:lnTo>
                    <a:pt x="138092" y="126879"/>
                  </a:lnTo>
                  <a:lnTo>
                    <a:pt x="138092" y="181025"/>
                  </a:lnTo>
                  <a:lnTo>
                    <a:pt x="222039" y="264972"/>
                  </a:lnTo>
                  <a:lnTo>
                    <a:pt x="244465" y="242546"/>
                  </a:lnTo>
                  <a:lnTo>
                    <a:pt x="169812" y="167893"/>
                  </a:lnTo>
                  <a:close/>
                </a:path>
              </a:pathLst>
            </a:custGeom>
            <a:solidFill>
              <a:schemeClr val="bg1"/>
            </a:solidFill>
            <a:ln w="15824" cap="flat">
              <a:noFill/>
              <a:prstDash val="solid"/>
              <a:miter/>
            </a:ln>
          </p:spPr>
          <p:txBody>
            <a:bodyPr rtlCol="0" anchor="ctr"/>
            <a:lstStyle/>
            <a:p>
              <a:endParaRPr lang="pt-BR"/>
            </a:p>
          </p:txBody>
        </p:sp>
        <p:sp>
          <p:nvSpPr>
            <p:cNvPr id="35" name="Forma Livre: Forma 34">
              <a:extLst>
                <a:ext uri="{FF2B5EF4-FFF2-40B4-BE49-F238E27FC236}">
                  <a16:creationId xmlns:a16="http://schemas.microsoft.com/office/drawing/2014/main" id="{CC5D8F30-2784-E92B-7646-59359DA6F4B2}"/>
                </a:ext>
              </a:extLst>
            </p:cNvPr>
            <p:cNvSpPr/>
            <p:nvPr/>
          </p:nvSpPr>
          <p:spPr>
            <a:xfrm rot="18900000">
              <a:off x="13772457" y="2395973"/>
              <a:ext cx="31719" cy="89718"/>
            </a:xfrm>
            <a:custGeom>
              <a:avLst/>
              <a:gdLst>
                <a:gd name="connsiteX0" fmla="*/ 0 w 31719"/>
                <a:gd name="connsiteY0" fmla="*/ 0 h 89718"/>
                <a:gd name="connsiteX1" fmla="*/ 31720 w 31719"/>
                <a:gd name="connsiteY1" fmla="*/ 0 h 89718"/>
                <a:gd name="connsiteX2" fmla="*/ 31720 w 31719"/>
                <a:gd name="connsiteY2" fmla="*/ 89719 h 89718"/>
                <a:gd name="connsiteX3" fmla="*/ 0 w 31719"/>
                <a:gd name="connsiteY3" fmla="*/ 89719 h 89718"/>
              </a:gdLst>
              <a:ahLst/>
              <a:cxnLst>
                <a:cxn ang="0">
                  <a:pos x="connsiteX0" y="connsiteY0"/>
                </a:cxn>
                <a:cxn ang="0">
                  <a:pos x="connsiteX1" y="connsiteY1"/>
                </a:cxn>
                <a:cxn ang="0">
                  <a:pos x="connsiteX2" y="connsiteY2"/>
                </a:cxn>
                <a:cxn ang="0">
                  <a:pos x="connsiteX3" y="connsiteY3"/>
                </a:cxn>
              </a:cxnLst>
              <a:rect l="l" t="t" r="r" b="b"/>
              <a:pathLst>
                <a:path w="31719" h="89718">
                  <a:moveTo>
                    <a:pt x="0" y="0"/>
                  </a:moveTo>
                  <a:lnTo>
                    <a:pt x="31720" y="0"/>
                  </a:lnTo>
                  <a:lnTo>
                    <a:pt x="31720" y="89719"/>
                  </a:lnTo>
                  <a:lnTo>
                    <a:pt x="0" y="89719"/>
                  </a:lnTo>
                  <a:close/>
                </a:path>
              </a:pathLst>
            </a:custGeom>
            <a:solidFill>
              <a:schemeClr val="bg1"/>
            </a:solidFill>
            <a:ln w="15824" cap="flat">
              <a:noFill/>
              <a:prstDash val="solid"/>
              <a:miter/>
            </a:ln>
          </p:spPr>
          <p:txBody>
            <a:bodyPr rtlCol="0" anchor="ctr"/>
            <a:lstStyle/>
            <a:p>
              <a:endParaRPr lang="pt-BR"/>
            </a:p>
          </p:txBody>
        </p:sp>
      </p:grpSp>
    </p:spTree>
    <p:extLst>
      <p:ext uri="{BB962C8B-B14F-4D97-AF65-F5344CB8AC3E}">
        <p14:creationId xmlns:p14="http://schemas.microsoft.com/office/powerpoint/2010/main" val="412075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5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pt-BR" b="0" i="0" dirty="0">
                <a:solidFill>
                  <a:srgbClr val="1D1D1D"/>
                </a:solidFill>
                <a:effectLst/>
                <a:latin typeface="Arial" panose="020B0604020202020204" pitchFamily="34" charset="0"/>
              </a:rPr>
              <a:t>Abbas AK, </a:t>
            </a:r>
            <a:r>
              <a:rPr lang="pt-BR" b="0" i="0" dirty="0" err="1">
                <a:solidFill>
                  <a:srgbClr val="1D1D1D"/>
                </a:solidFill>
                <a:effectLst/>
                <a:latin typeface="Arial" panose="020B0604020202020204" pitchFamily="34" charset="0"/>
              </a:rPr>
              <a:t>Lichtman</a:t>
            </a:r>
            <a:r>
              <a:rPr lang="pt-BR" b="0" i="0" dirty="0">
                <a:solidFill>
                  <a:srgbClr val="1D1D1D"/>
                </a:solidFill>
                <a:effectLst/>
                <a:latin typeface="Arial" panose="020B0604020202020204" pitchFamily="34" charset="0"/>
              </a:rPr>
              <a:t> A, </a:t>
            </a:r>
            <a:r>
              <a:rPr lang="pt-BR" b="0" i="0" dirty="0" err="1">
                <a:solidFill>
                  <a:srgbClr val="1D1D1D"/>
                </a:solidFill>
                <a:effectLst/>
                <a:latin typeface="Arial" panose="020B0604020202020204" pitchFamily="34" charset="0"/>
              </a:rPr>
              <a:t>Pillai</a:t>
            </a:r>
            <a:r>
              <a:rPr lang="pt-BR" b="0" i="0" dirty="0">
                <a:solidFill>
                  <a:srgbClr val="1D1D1D"/>
                </a:solidFill>
                <a:effectLst/>
                <a:latin typeface="Arial" panose="020B0604020202020204" pitchFamily="34" charset="0"/>
              </a:rPr>
              <a:t> S. Imunologia celular e molecular. 7. ed. Rio de Janeiro: Elsevier, 2012.</a:t>
            </a:r>
            <a:endParaRPr lang="pt-BR"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0351411"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Fases da resposta imunológica</a:t>
            </a:r>
            <a:endParaRPr lang="pt-BR" sz="4400" b="1" baseline="30000" dirty="0">
              <a:gradFill>
                <a:gsLst>
                  <a:gs pos="0">
                    <a:schemeClr val="accent1"/>
                  </a:gs>
                  <a:gs pos="100000">
                    <a:schemeClr val="bg2"/>
                  </a:gs>
                </a:gsLst>
                <a:lin ang="2700000" scaled="0"/>
              </a:gradFill>
              <a:latin typeface="Calisto MT"/>
            </a:endParaRPr>
          </a:p>
        </p:txBody>
      </p:sp>
      <p:sp>
        <p:nvSpPr>
          <p:cNvPr id="10" name="Retângulo: Cantos Arredondados 9">
            <a:extLst>
              <a:ext uri="{FF2B5EF4-FFF2-40B4-BE49-F238E27FC236}">
                <a16:creationId xmlns:a16="http://schemas.microsoft.com/office/drawing/2014/main" id="{10E2FAAF-4E60-665A-1022-4A067926AB92}"/>
              </a:ext>
            </a:extLst>
          </p:cNvPr>
          <p:cNvSpPr/>
          <p:nvPr/>
        </p:nvSpPr>
        <p:spPr>
          <a:xfrm>
            <a:off x="6046744" y="1905942"/>
            <a:ext cx="5737267" cy="3659552"/>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pic>
        <p:nvPicPr>
          <p:cNvPr id="6" name="Imagem 5" descr="Homem com uniforme militar&#10;&#10;Descrição gerada automaticamente com confiança média">
            <a:extLst>
              <a:ext uri="{FF2B5EF4-FFF2-40B4-BE49-F238E27FC236}">
                <a16:creationId xmlns:a16="http://schemas.microsoft.com/office/drawing/2014/main" id="{07ED0402-A473-3E2C-A3E1-8F3BA21263A6}"/>
              </a:ext>
            </a:extLst>
          </p:cNvPr>
          <p:cNvPicPr>
            <a:picLocks noChangeAspect="1"/>
          </p:cNvPicPr>
          <p:nvPr/>
        </p:nvPicPr>
        <p:blipFill>
          <a:blip r:embed="rId3">
            <a:extLst>
              <a:ext uri="{28A0092B-C50C-407E-A947-70E740481C1C}">
                <a14:useLocalDpi xmlns:a14="http://schemas.microsoft.com/office/drawing/2010/main" val="0"/>
              </a:ext>
            </a:extLst>
          </a:blip>
          <a:srcRect t="28894"/>
          <a:stretch/>
        </p:blipFill>
        <p:spPr>
          <a:xfrm>
            <a:off x="407989" y="1117599"/>
            <a:ext cx="4766404" cy="5083175"/>
          </a:xfrm>
          <a:prstGeom prst="rect">
            <a:avLst/>
          </a:prstGeom>
        </p:spPr>
      </p:pic>
      <p:sp>
        <p:nvSpPr>
          <p:cNvPr id="5" name="Retângulo: Cantos Arredondados 4">
            <a:extLst>
              <a:ext uri="{FF2B5EF4-FFF2-40B4-BE49-F238E27FC236}">
                <a16:creationId xmlns:a16="http://schemas.microsoft.com/office/drawing/2014/main" id="{52A6B47C-0F30-C795-595E-98DFB6B17E18}"/>
              </a:ext>
            </a:extLst>
          </p:cNvPr>
          <p:cNvSpPr/>
          <p:nvPr/>
        </p:nvSpPr>
        <p:spPr>
          <a:xfrm>
            <a:off x="3949132" y="1683442"/>
            <a:ext cx="2743768" cy="4247457"/>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7" name="CaixaDeTexto 26">
            <a:extLst>
              <a:ext uri="{FF2B5EF4-FFF2-40B4-BE49-F238E27FC236}">
                <a16:creationId xmlns:a16="http://schemas.microsoft.com/office/drawing/2014/main" id="{2821E0BC-9312-764E-C874-E0FD40D99F9B}"/>
              </a:ext>
            </a:extLst>
          </p:cNvPr>
          <p:cNvSpPr txBox="1"/>
          <p:nvPr/>
        </p:nvSpPr>
        <p:spPr>
          <a:xfrm>
            <a:off x="4044223" y="2145107"/>
            <a:ext cx="2577875" cy="400110"/>
          </a:xfrm>
          <a:prstGeom prst="rect">
            <a:avLst/>
          </a:prstGeom>
          <a:noFill/>
        </p:spPr>
        <p:txBody>
          <a:bodyPr wrap="square">
            <a:spAutoFit/>
          </a:bodyPr>
          <a:lstStyle/>
          <a:p>
            <a:pPr lvl="0" algn="r"/>
            <a:r>
              <a:rPr lang="pt-BR" sz="2000" b="1" dirty="0">
                <a:solidFill>
                  <a:schemeClr val="bg1"/>
                </a:solidFill>
                <a:latin typeface="+mj-lt"/>
              </a:rPr>
              <a:t>COGNITIVA</a:t>
            </a:r>
            <a:endParaRPr lang="pt-BR" sz="1600" dirty="0">
              <a:solidFill>
                <a:schemeClr val="bg1"/>
              </a:solidFill>
            </a:endParaRPr>
          </a:p>
        </p:txBody>
      </p:sp>
      <p:sp>
        <p:nvSpPr>
          <p:cNvPr id="7" name="CaixaDeTexto 6">
            <a:extLst>
              <a:ext uri="{FF2B5EF4-FFF2-40B4-BE49-F238E27FC236}">
                <a16:creationId xmlns:a16="http://schemas.microsoft.com/office/drawing/2014/main" id="{CB7DBE92-8793-4D2E-7DCA-B749D3D4948E}"/>
              </a:ext>
            </a:extLst>
          </p:cNvPr>
          <p:cNvSpPr txBox="1"/>
          <p:nvPr/>
        </p:nvSpPr>
        <p:spPr>
          <a:xfrm>
            <a:off x="5174393" y="1292506"/>
            <a:ext cx="2577875" cy="461665"/>
          </a:xfrm>
          <a:prstGeom prst="rect">
            <a:avLst/>
          </a:prstGeom>
          <a:noFill/>
        </p:spPr>
        <p:txBody>
          <a:bodyPr wrap="square">
            <a:spAutoFit/>
          </a:bodyPr>
          <a:lstStyle/>
          <a:p>
            <a:pPr lvl="0"/>
            <a:r>
              <a:rPr lang="pt-BR" sz="2400" b="1" dirty="0">
                <a:solidFill>
                  <a:schemeClr val="bg2"/>
                </a:solidFill>
              </a:rPr>
              <a:t>fases</a:t>
            </a:r>
            <a:endParaRPr lang="pt-BR" dirty="0">
              <a:solidFill>
                <a:schemeClr val="bg2"/>
              </a:solidFill>
            </a:endParaRPr>
          </a:p>
        </p:txBody>
      </p:sp>
      <p:sp>
        <p:nvSpPr>
          <p:cNvPr id="13" name="CaixaDeTexto 12">
            <a:extLst>
              <a:ext uri="{FF2B5EF4-FFF2-40B4-BE49-F238E27FC236}">
                <a16:creationId xmlns:a16="http://schemas.microsoft.com/office/drawing/2014/main" id="{46A4B8E0-6071-8012-B314-F8219924BAD8}"/>
              </a:ext>
            </a:extLst>
          </p:cNvPr>
          <p:cNvSpPr txBox="1"/>
          <p:nvPr/>
        </p:nvSpPr>
        <p:spPr>
          <a:xfrm>
            <a:off x="4044223" y="3090247"/>
            <a:ext cx="2577875" cy="400110"/>
          </a:xfrm>
          <a:prstGeom prst="rect">
            <a:avLst/>
          </a:prstGeom>
          <a:noFill/>
        </p:spPr>
        <p:txBody>
          <a:bodyPr wrap="square">
            <a:spAutoFit/>
          </a:bodyPr>
          <a:lstStyle/>
          <a:p>
            <a:pPr lvl="0" algn="r"/>
            <a:r>
              <a:rPr lang="pt-BR" sz="2000" b="1" dirty="0">
                <a:solidFill>
                  <a:schemeClr val="bg1"/>
                </a:solidFill>
                <a:latin typeface="+mj-lt"/>
              </a:rPr>
              <a:t>ATIVAÇÃO</a:t>
            </a:r>
            <a:endParaRPr lang="pt-BR" sz="1600" dirty="0">
              <a:solidFill>
                <a:schemeClr val="bg1"/>
              </a:solidFill>
            </a:endParaRPr>
          </a:p>
        </p:txBody>
      </p:sp>
      <p:sp>
        <p:nvSpPr>
          <p:cNvPr id="17" name="CaixaDeTexto 16">
            <a:extLst>
              <a:ext uri="{FF2B5EF4-FFF2-40B4-BE49-F238E27FC236}">
                <a16:creationId xmlns:a16="http://schemas.microsoft.com/office/drawing/2014/main" id="{13E0526E-297E-FE8B-535B-FF17A1D03619}"/>
              </a:ext>
            </a:extLst>
          </p:cNvPr>
          <p:cNvSpPr txBox="1"/>
          <p:nvPr/>
        </p:nvSpPr>
        <p:spPr>
          <a:xfrm>
            <a:off x="4044223" y="4035387"/>
            <a:ext cx="2577875" cy="400110"/>
          </a:xfrm>
          <a:prstGeom prst="rect">
            <a:avLst/>
          </a:prstGeom>
          <a:noFill/>
        </p:spPr>
        <p:txBody>
          <a:bodyPr wrap="square">
            <a:spAutoFit/>
          </a:bodyPr>
          <a:lstStyle/>
          <a:p>
            <a:pPr lvl="0" algn="r"/>
            <a:r>
              <a:rPr lang="pt-BR" sz="2000" b="1" dirty="0">
                <a:solidFill>
                  <a:schemeClr val="bg1"/>
                </a:solidFill>
                <a:latin typeface="+mj-lt"/>
              </a:rPr>
              <a:t>EFETORA</a:t>
            </a:r>
            <a:endParaRPr lang="pt-BR" sz="1600" dirty="0">
              <a:solidFill>
                <a:schemeClr val="bg1"/>
              </a:solidFill>
            </a:endParaRPr>
          </a:p>
        </p:txBody>
      </p:sp>
      <p:sp>
        <p:nvSpPr>
          <p:cNvPr id="18" name="CaixaDeTexto 17">
            <a:extLst>
              <a:ext uri="{FF2B5EF4-FFF2-40B4-BE49-F238E27FC236}">
                <a16:creationId xmlns:a16="http://schemas.microsoft.com/office/drawing/2014/main" id="{E67A3E3B-B8AD-93EC-ACBE-5185C59C2235}"/>
              </a:ext>
            </a:extLst>
          </p:cNvPr>
          <p:cNvSpPr txBox="1"/>
          <p:nvPr/>
        </p:nvSpPr>
        <p:spPr>
          <a:xfrm>
            <a:off x="4044223" y="4980527"/>
            <a:ext cx="2577875" cy="400110"/>
          </a:xfrm>
          <a:prstGeom prst="rect">
            <a:avLst/>
          </a:prstGeom>
          <a:noFill/>
        </p:spPr>
        <p:txBody>
          <a:bodyPr wrap="square">
            <a:spAutoFit/>
          </a:bodyPr>
          <a:lstStyle/>
          <a:p>
            <a:pPr lvl="0" algn="r"/>
            <a:r>
              <a:rPr lang="pt-BR" sz="2000" b="1" dirty="0">
                <a:solidFill>
                  <a:schemeClr val="bg1"/>
                </a:solidFill>
                <a:latin typeface="+mj-lt"/>
              </a:rPr>
              <a:t>NORMALIZAÇÃO</a:t>
            </a:r>
            <a:endParaRPr lang="pt-BR" sz="1600" dirty="0">
              <a:solidFill>
                <a:schemeClr val="bg1"/>
              </a:solidFill>
            </a:endParaRPr>
          </a:p>
        </p:txBody>
      </p:sp>
      <p:sp>
        <p:nvSpPr>
          <p:cNvPr id="19" name="Rectangle 4">
            <a:extLst>
              <a:ext uri="{FF2B5EF4-FFF2-40B4-BE49-F238E27FC236}">
                <a16:creationId xmlns:a16="http://schemas.microsoft.com/office/drawing/2014/main" id="{A5BBCBF3-D080-0366-4A77-2DC5C32B76CD}"/>
              </a:ext>
            </a:extLst>
          </p:cNvPr>
          <p:cNvSpPr>
            <a:spLocks noChangeArrowheads="1"/>
          </p:cNvSpPr>
          <p:nvPr/>
        </p:nvSpPr>
        <p:spPr bwMode="auto">
          <a:xfrm>
            <a:off x="6463330" y="2196903"/>
            <a:ext cx="5144469" cy="246221"/>
          </a:xfrm>
          <a:prstGeom prst="rect">
            <a:avLst/>
          </a:prstGeom>
          <a:noFill/>
          <a:ln w="9525">
            <a:noFill/>
            <a:miter lim="800000"/>
            <a:headEnd/>
            <a:tailEnd/>
          </a:ln>
        </p:spPr>
        <p:txBody>
          <a:bodyPr wrap="square" lIns="0" tIns="0" rIns="0" bIns="0">
            <a:spAutoFit/>
          </a:bodyPr>
          <a:lstStyle/>
          <a:p>
            <a:pPr marR="0" lvl="1" algn="l" defTabSz="914400" rtl="0" eaLnBrk="1" fontAlgn="auto" latinLnBrk="0" hangingPunct="1">
              <a:lnSpc>
                <a:spcPct val="100000"/>
              </a:lnSpc>
              <a:spcBef>
                <a:spcPct val="20000"/>
              </a:spcBef>
              <a:spcAft>
                <a:spcPts val="0"/>
              </a:spcAft>
              <a:buClr>
                <a:srgbClr val="D0006F">
                  <a:lumMod val="75000"/>
                </a:srgbClr>
              </a:buClr>
              <a:buSzPct val="80000"/>
              <a:tabLst/>
              <a:defRPr/>
            </a:pP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As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célula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e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1" i="0" u="none" strike="noStrike" kern="1200" cap="none" spc="0" normalizeH="0" baseline="0" noProof="0" dirty="0" err="1">
                <a:ln>
                  <a:noFill/>
                </a:ln>
                <a:solidFill>
                  <a:schemeClr val="bg2"/>
                </a:solidFill>
                <a:effectLst/>
                <a:uLnTx/>
                <a:uFillTx/>
                <a:latin typeface="Calibri"/>
                <a:ea typeface="+mn-ea"/>
                <a:cs typeface="Arial" pitchFamily="34" charset="0"/>
              </a:rPr>
              <a:t>reconhecem</a:t>
            </a:r>
            <a:r>
              <a:rPr kumimoji="0" lang="en-US" sz="1600" b="1" i="0" u="none" strike="noStrike" kern="1200" cap="none" spc="0" normalizeH="0" baseline="0" noProof="0" dirty="0">
                <a:ln>
                  <a:noFill/>
                </a:ln>
                <a:solidFill>
                  <a:srgbClr val="F0AB00"/>
                </a:solidFill>
                <a:effectLst/>
                <a:uLnTx/>
                <a:uFillTx/>
                <a:latin typeface="Calibri"/>
                <a:ea typeface="+mn-ea"/>
                <a:cs typeface="Arial" pitchFamily="34" charset="0"/>
              </a:rPr>
              <a:t> </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a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presença</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do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ntígeno</a:t>
            </a:r>
            <a:endPar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endParaRPr>
          </a:p>
        </p:txBody>
      </p:sp>
      <p:sp>
        <p:nvSpPr>
          <p:cNvPr id="21" name="Rectangle 4">
            <a:extLst>
              <a:ext uri="{FF2B5EF4-FFF2-40B4-BE49-F238E27FC236}">
                <a16:creationId xmlns:a16="http://schemas.microsoft.com/office/drawing/2014/main" id="{2EED6986-CD37-365A-40B3-0AA7D90F880B}"/>
              </a:ext>
            </a:extLst>
          </p:cNvPr>
          <p:cNvSpPr>
            <a:spLocks noChangeArrowheads="1"/>
          </p:cNvSpPr>
          <p:nvPr/>
        </p:nvSpPr>
        <p:spPr bwMode="auto">
          <a:xfrm>
            <a:off x="6463331" y="4888194"/>
            <a:ext cx="4509469" cy="492443"/>
          </a:xfrm>
          <a:prstGeom prst="rect">
            <a:avLst/>
          </a:prstGeom>
          <a:noFill/>
          <a:ln w="9525">
            <a:noFill/>
            <a:miter lim="800000"/>
            <a:headEnd/>
            <a:tailEnd/>
          </a:ln>
        </p:spPr>
        <p:txBody>
          <a:bodyPr wrap="square" lIns="0" tIns="0" rIns="0" bIns="0">
            <a:spAutoFit/>
          </a:bodyPr>
          <a:lstStyle/>
          <a:p>
            <a:pPr marR="0" lvl="1" algn="l" defTabSz="914400" rtl="0" eaLnBrk="1" fontAlgn="auto" latinLnBrk="0" hangingPunct="1">
              <a:lnSpc>
                <a:spcPct val="100000"/>
              </a:lnSpc>
              <a:spcBef>
                <a:spcPct val="20000"/>
              </a:spcBef>
              <a:spcAft>
                <a:spcPts val="0"/>
              </a:spcAft>
              <a:buClr>
                <a:srgbClr val="D0006F">
                  <a:lumMod val="75000"/>
                </a:srgbClr>
              </a:buClr>
              <a:buSzPct val="80000"/>
              <a:tabLst/>
              <a:defRPr/>
            </a:pP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Número</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de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célula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e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1" i="0" u="none" strike="noStrike" kern="1200" cap="none" spc="0" normalizeH="0" baseline="0" noProof="0" dirty="0" err="1">
                <a:ln>
                  <a:noFill/>
                </a:ln>
                <a:solidFill>
                  <a:schemeClr val="bg2"/>
                </a:solidFill>
                <a:effectLst/>
                <a:uLnTx/>
                <a:uFillTx/>
                <a:latin typeface="Calibri"/>
                <a:ea typeface="+mn-ea"/>
                <a:cs typeface="Arial" pitchFamily="34" charset="0"/>
              </a:rPr>
              <a:t>diminui</a:t>
            </a:r>
            <a:r>
              <a:rPr kumimoji="0" lang="en-US" sz="1600" b="1" i="0" u="none" strike="noStrike" kern="1200" cap="none" spc="0" normalizeH="0" baseline="0" noProof="0" dirty="0">
                <a:ln>
                  <a:noFill/>
                </a:ln>
                <a:solidFill>
                  <a:srgbClr val="FFC000"/>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pó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destruição</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do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ntígeno</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a:t>
            </a:r>
          </a:p>
        </p:txBody>
      </p:sp>
      <p:sp>
        <p:nvSpPr>
          <p:cNvPr id="22" name="Rectangle 4">
            <a:extLst>
              <a:ext uri="{FF2B5EF4-FFF2-40B4-BE49-F238E27FC236}">
                <a16:creationId xmlns:a16="http://schemas.microsoft.com/office/drawing/2014/main" id="{E88026B1-B44E-A99B-20C9-16B8B01F7E78}"/>
              </a:ext>
            </a:extLst>
          </p:cNvPr>
          <p:cNvSpPr>
            <a:spLocks noChangeArrowheads="1"/>
          </p:cNvSpPr>
          <p:nvPr/>
        </p:nvSpPr>
        <p:spPr bwMode="auto">
          <a:xfrm>
            <a:off x="6463330" y="2970485"/>
            <a:ext cx="5144469" cy="541687"/>
          </a:xfrm>
          <a:prstGeom prst="rect">
            <a:avLst/>
          </a:prstGeom>
          <a:noFill/>
          <a:ln w="9525">
            <a:noFill/>
            <a:miter lim="800000"/>
            <a:headEnd/>
            <a:tailEnd/>
          </a:ln>
        </p:spPr>
        <p:txBody>
          <a:bodyPr wrap="square" lIns="0" tIns="0" rIns="0" bIns="0">
            <a:spAutoFit/>
          </a:bodyPr>
          <a:lstStyle/>
          <a:p>
            <a:pPr marR="0" lvl="1" algn="l" defTabSz="914400" rtl="0" eaLnBrk="1" fontAlgn="auto" latinLnBrk="0" hangingPunct="1">
              <a:lnSpc>
                <a:spcPct val="100000"/>
              </a:lnSpc>
              <a:spcBef>
                <a:spcPct val="20000"/>
              </a:spcBef>
              <a:spcAft>
                <a:spcPts val="0"/>
              </a:spcAft>
              <a:buClr>
                <a:srgbClr val="D0006F">
                  <a:lumMod val="75000"/>
                </a:srgbClr>
              </a:buClr>
              <a:buSzPct val="80000"/>
              <a:tabLst/>
              <a:defRPr/>
            </a:pP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Célula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e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1" i="0" u="none" strike="noStrike" kern="1200" cap="none" spc="0" normalizeH="0" baseline="0" noProof="0" dirty="0" err="1">
                <a:ln>
                  <a:noFill/>
                </a:ln>
                <a:solidFill>
                  <a:schemeClr val="bg2"/>
                </a:solidFill>
                <a:effectLst/>
                <a:uLnTx/>
                <a:uFillTx/>
                <a:latin typeface="Calibri"/>
                <a:ea typeface="+mn-ea"/>
                <a:cs typeface="Arial" pitchFamily="34" charset="0"/>
              </a:rPr>
              <a:t>expandem</a:t>
            </a:r>
            <a:r>
              <a:rPr kumimoji="0" lang="en-US" sz="1600" b="0" i="0" u="none" strike="noStrike" kern="1200" cap="none" spc="0" normalizeH="0" baseline="0" noProof="0" dirty="0">
                <a:ln>
                  <a:noFill/>
                </a:ln>
                <a:solidFill>
                  <a:srgbClr val="D0006F">
                    <a:lumMod val="75000"/>
                  </a:srgbClr>
                </a:solidFill>
                <a:effectLst/>
                <a:uLnTx/>
                <a:uFillTx/>
                <a:latin typeface="Calibri"/>
                <a:ea typeface="+mn-ea"/>
                <a:cs typeface="Arial" pitchFamily="34" charset="0"/>
              </a:rPr>
              <a:t> </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té</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número</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de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taque</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a:t>
            </a:r>
          </a:p>
          <a:p>
            <a:pPr marR="0" lvl="1" algn="l" defTabSz="914400" rtl="0" eaLnBrk="1" fontAlgn="auto" latinLnBrk="0" hangingPunct="1">
              <a:lnSpc>
                <a:spcPct val="100000"/>
              </a:lnSpc>
              <a:spcBef>
                <a:spcPct val="20000"/>
              </a:spcBef>
              <a:spcAft>
                <a:spcPts val="0"/>
              </a:spcAft>
              <a:buClr>
                <a:srgbClr val="D0006F">
                  <a:lumMod val="75000"/>
                </a:srgbClr>
              </a:buClr>
              <a:buSzPct val="80000"/>
              <a:tabLst/>
              <a:defRPr/>
            </a:pP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2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divisõe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idade</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nata</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gt;&gt;&g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idade</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daptativa</a:t>
            </a:r>
            <a:endPar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endParaRPr>
          </a:p>
        </p:txBody>
      </p:sp>
      <p:sp>
        <p:nvSpPr>
          <p:cNvPr id="23" name="Rectangle 4">
            <a:extLst>
              <a:ext uri="{FF2B5EF4-FFF2-40B4-BE49-F238E27FC236}">
                <a16:creationId xmlns:a16="http://schemas.microsoft.com/office/drawing/2014/main" id="{FE9A70A9-94E8-2E2D-6308-6B7611A90655}"/>
              </a:ext>
            </a:extLst>
          </p:cNvPr>
          <p:cNvSpPr>
            <a:spLocks noChangeArrowheads="1"/>
          </p:cNvSpPr>
          <p:nvPr/>
        </p:nvSpPr>
        <p:spPr bwMode="auto">
          <a:xfrm>
            <a:off x="6463331" y="3976917"/>
            <a:ext cx="4738070" cy="492443"/>
          </a:xfrm>
          <a:prstGeom prst="rect">
            <a:avLst/>
          </a:prstGeom>
          <a:noFill/>
          <a:ln w="9525">
            <a:noFill/>
            <a:miter lim="800000"/>
            <a:headEnd/>
            <a:tailEnd/>
          </a:ln>
        </p:spPr>
        <p:txBody>
          <a:bodyPr wrap="square" lIns="0" tIns="0" rIns="0" bIns="0">
            <a:spAutoFit/>
          </a:bodyPr>
          <a:lstStyle/>
          <a:p>
            <a:pPr marR="0" lvl="1" algn="l" defTabSz="914400" rtl="0" eaLnBrk="1" fontAlgn="auto" latinLnBrk="0" hangingPunct="1">
              <a:lnSpc>
                <a:spcPct val="100000"/>
              </a:lnSpc>
              <a:spcBef>
                <a:spcPct val="20000"/>
              </a:spcBef>
              <a:spcAft>
                <a:spcPts val="0"/>
              </a:spcAft>
              <a:buClr>
                <a:srgbClr val="D0006F">
                  <a:lumMod val="75000"/>
                </a:srgbClr>
              </a:buClr>
              <a:buSzPct val="80000"/>
              <a:tabLst/>
              <a:defRPr/>
            </a:pP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Células</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imunes</a:t>
            </a:r>
            <a:r>
              <a:rPr kumimoji="0" lang="en-US" sz="1600" b="1" i="0" u="none" strike="noStrike" kern="1200" cap="none" spc="0" normalizeH="0" baseline="0" noProof="0" dirty="0">
                <a:ln>
                  <a:noFill/>
                </a:ln>
                <a:solidFill>
                  <a:srgbClr val="D0006F">
                    <a:lumMod val="75000"/>
                  </a:srgbClr>
                </a:solidFill>
                <a:effectLst/>
                <a:uLnTx/>
                <a:uFillTx/>
                <a:latin typeface="Calibri"/>
                <a:ea typeface="+mn-ea"/>
                <a:cs typeface="Arial" pitchFamily="34" charset="0"/>
              </a:rPr>
              <a:t> </a:t>
            </a:r>
            <a:r>
              <a:rPr kumimoji="0" lang="en-US" sz="1600" b="1" i="0" u="none" strike="noStrike" kern="1200" cap="none" spc="0" normalizeH="0" baseline="0" noProof="0" dirty="0" err="1">
                <a:ln>
                  <a:noFill/>
                </a:ln>
                <a:solidFill>
                  <a:schemeClr val="bg2"/>
                </a:solidFill>
                <a:effectLst/>
                <a:uLnTx/>
                <a:uFillTx/>
                <a:latin typeface="Calibri"/>
                <a:ea typeface="+mn-ea"/>
                <a:cs typeface="Arial" pitchFamily="34" charset="0"/>
              </a:rPr>
              <a:t>desempenham</a:t>
            </a:r>
            <a:r>
              <a:rPr kumimoji="0" lang="en-US" sz="1600" b="1" i="0" u="none" strike="noStrike" kern="1200" cap="none" spc="0" normalizeH="0" baseline="0" noProof="0" dirty="0">
                <a:ln>
                  <a:noFill/>
                </a:ln>
                <a:solidFill>
                  <a:schemeClr val="bg2"/>
                </a:solidFill>
                <a:effectLst/>
                <a:uLnTx/>
                <a:uFillTx/>
                <a:latin typeface="Calibri"/>
                <a:ea typeface="+mn-ea"/>
                <a:cs typeface="Arial" pitchFamily="34" charset="0"/>
              </a:rPr>
              <a:t> </a:t>
            </a:r>
            <a:r>
              <a:rPr kumimoji="0" lang="en-US" sz="1600" b="1" i="0" u="none" strike="noStrike" kern="1200" cap="none" spc="0" normalizeH="0" baseline="0" noProof="0" dirty="0" err="1">
                <a:ln>
                  <a:noFill/>
                </a:ln>
                <a:solidFill>
                  <a:schemeClr val="bg2"/>
                </a:solidFill>
                <a:effectLst/>
                <a:uLnTx/>
                <a:uFillTx/>
                <a:latin typeface="Calibri"/>
                <a:ea typeface="+mn-ea"/>
                <a:cs typeface="Arial" pitchFamily="34" charset="0"/>
              </a:rPr>
              <a:t>funções</a:t>
            </a:r>
            <a:r>
              <a:rPr kumimoji="0" lang="en-US" sz="1600" b="1" i="0" u="none" strike="noStrike" kern="1200" cap="none" spc="0" normalizeH="0" baseline="0" noProof="0" dirty="0">
                <a:ln>
                  <a:noFill/>
                </a:ln>
                <a:solidFill>
                  <a:schemeClr val="bg2"/>
                </a:solidFill>
                <a:effectLst/>
                <a:uLnTx/>
                <a:uFillTx/>
                <a:latin typeface="Calibri"/>
                <a:ea typeface="+mn-ea"/>
                <a:cs typeface="Arial" pitchFamily="34" charset="0"/>
              </a:rPr>
              <a:t> </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para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eliminar</a:t>
            </a:r>
            <a:r>
              <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rPr>
              <a:t> o </a:t>
            </a:r>
            <a:r>
              <a:rPr kumimoji="0" lang="en-US" sz="1600" b="0" i="0" u="none" strike="noStrike" kern="1200" cap="none" spc="0" normalizeH="0" baseline="0" noProof="0" dirty="0" err="1">
                <a:ln>
                  <a:noFill/>
                </a:ln>
                <a:solidFill>
                  <a:srgbClr val="3F4444"/>
                </a:solidFill>
                <a:effectLst/>
                <a:uLnTx/>
                <a:uFillTx/>
                <a:latin typeface="Calibri"/>
                <a:ea typeface="+mn-ea"/>
                <a:cs typeface="Arial" pitchFamily="34" charset="0"/>
              </a:rPr>
              <a:t>antígeno</a:t>
            </a:r>
            <a:endParaRPr kumimoji="0" lang="en-US" sz="1600" b="0" i="0" u="none" strike="noStrike" kern="1200" cap="none" spc="0" normalizeH="0" baseline="0" noProof="0" dirty="0">
              <a:ln>
                <a:noFill/>
              </a:ln>
              <a:solidFill>
                <a:srgbClr val="3F4444"/>
              </a:solidFill>
              <a:effectLst/>
              <a:uLnTx/>
              <a:uFillTx/>
              <a:latin typeface="Calibri"/>
              <a:ea typeface="+mn-ea"/>
              <a:cs typeface="Arial" pitchFamily="34" charset="0"/>
            </a:endParaRPr>
          </a:p>
        </p:txBody>
      </p:sp>
      <p:cxnSp>
        <p:nvCxnSpPr>
          <p:cNvPr id="25" name="Conector reto 24">
            <a:extLst>
              <a:ext uri="{FF2B5EF4-FFF2-40B4-BE49-F238E27FC236}">
                <a16:creationId xmlns:a16="http://schemas.microsoft.com/office/drawing/2014/main" id="{68FA6609-0016-A06D-53B7-F5BA8228E98C}"/>
              </a:ext>
            </a:extLst>
          </p:cNvPr>
          <p:cNvCxnSpPr/>
          <p:nvPr/>
        </p:nvCxnSpPr>
        <p:spPr>
          <a:xfrm>
            <a:off x="4044223" y="2730500"/>
            <a:ext cx="756357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Conector reto 25">
            <a:extLst>
              <a:ext uri="{FF2B5EF4-FFF2-40B4-BE49-F238E27FC236}">
                <a16:creationId xmlns:a16="http://schemas.microsoft.com/office/drawing/2014/main" id="{711FAA4D-1711-B53A-4D08-D341B5A12586}"/>
              </a:ext>
            </a:extLst>
          </p:cNvPr>
          <p:cNvCxnSpPr/>
          <p:nvPr/>
        </p:nvCxnSpPr>
        <p:spPr>
          <a:xfrm>
            <a:off x="4044223" y="3759200"/>
            <a:ext cx="756357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907D8345-3A99-1A6F-6FF4-BB257D0A9965}"/>
              </a:ext>
            </a:extLst>
          </p:cNvPr>
          <p:cNvCxnSpPr/>
          <p:nvPr/>
        </p:nvCxnSpPr>
        <p:spPr>
          <a:xfrm>
            <a:off x="4044223" y="4699000"/>
            <a:ext cx="7563576" cy="0"/>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160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 presetClass="entr" presetSubtype="8" accel="42000" decel="5800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1000" fill="hold"/>
                                        <p:tgtEl>
                                          <p:spTgt spid="5"/>
                                        </p:tgtEl>
                                        <p:attrNameLst>
                                          <p:attrName>ppt_x</p:attrName>
                                        </p:attrNameLst>
                                      </p:cBhvr>
                                      <p:tavLst>
                                        <p:tav tm="0">
                                          <p:val>
                                            <p:strVal val="0-#ppt_w/2"/>
                                          </p:val>
                                        </p:tav>
                                        <p:tav tm="100000">
                                          <p:val>
                                            <p:strVal val="#ppt_x"/>
                                          </p:val>
                                        </p:tav>
                                      </p:tavLst>
                                    </p:anim>
                                    <p:anim calcmode="lin" valueType="num">
                                      <p:cBhvr additive="base">
                                        <p:cTn id="11" dur="1000" fill="hold"/>
                                        <p:tgtEl>
                                          <p:spTgt spid="5"/>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50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par>
                                <p:cTn id="36" presetID="10" presetClass="entr" presetSubtype="0" fill="hold" grpId="0" nodeType="withEffect">
                                  <p:stCondLst>
                                    <p:cond delay="50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50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22" presetClass="entr" presetSubtype="8" fill="hold" nodeType="withEffect">
                                  <p:stCondLst>
                                    <p:cond delay="500"/>
                                  </p:stCondLst>
                                  <p:childTnLst>
                                    <p:set>
                                      <p:cBhvr>
                                        <p:cTn id="43" dur="1" fill="hold">
                                          <p:stCondLst>
                                            <p:cond delay="0"/>
                                          </p:stCondLst>
                                        </p:cTn>
                                        <p:tgtEl>
                                          <p:spTgt spid="25"/>
                                        </p:tgtEl>
                                        <p:attrNameLst>
                                          <p:attrName>style.visibility</p:attrName>
                                        </p:attrNameLst>
                                      </p:cBhvr>
                                      <p:to>
                                        <p:strVal val="visible"/>
                                      </p:to>
                                    </p:set>
                                    <p:animEffect transition="in" filter="wipe(left)">
                                      <p:cBhvr>
                                        <p:cTn id="44" dur="500"/>
                                        <p:tgtEl>
                                          <p:spTgt spid="25"/>
                                        </p:tgtEl>
                                      </p:cBhvr>
                                    </p:animEffect>
                                  </p:childTnLst>
                                </p:cTn>
                              </p:par>
                              <p:par>
                                <p:cTn id="45" presetID="22" presetClass="entr" presetSubtype="8" fill="hold" nodeType="withEffect">
                                  <p:stCondLst>
                                    <p:cond delay="500"/>
                                  </p:stCondLst>
                                  <p:childTnLst>
                                    <p:set>
                                      <p:cBhvr>
                                        <p:cTn id="46" dur="1" fill="hold">
                                          <p:stCondLst>
                                            <p:cond delay="0"/>
                                          </p:stCondLst>
                                        </p:cTn>
                                        <p:tgtEl>
                                          <p:spTgt spid="26"/>
                                        </p:tgtEl>
                                        <p:attrNameLst>
                                          <p:attrName>style.visibility</p:attrName>
                                        </p:attrNameLst>
                                      </p:cBhvr>
                                      <p:to>
                                        <p:strVal val="visible"/>
                                      </p:to>
                                    </p:set>
                                    <p:animEffect transition="in" filter="wipe(left)">
                                      <p:cBhvr>
                                        <p:cTn id="47" dur="500"/>
                                        <p:tgtEl>
                                          <p:spTgt spid="26"/>
                                        </p:tgtEl>
                                      </p:cBhvr>
                                    </p:animEffect>
                                  </p:childTnLst>
                                </p:cTn>
                              </p:par>
                              <p:par>
                                <p:cTn id="48" presetID="22" presetClass="entr" presetSubtype="8" fill="hold" nodeType="withEffect">
                                  <p:stCondLst>
                                    <p:cond delay="500"/>
                                  </p:stCondLst>
                                  <p:childTnLst>
                                    <p:set>
                                      <p:cBhvr>
                                        <p:cTn id="49" dur="1" fill="hold">
                                          <p:stCondLst>
                                            <p:cond delay="0"/>
                                          </p:stCondLst>
                                        </p:cTn>
                                        <p:tgtEl>
                                          <p:spTgt spid="29"/>
                                        </p:tgtEl>
                                        <p:attrNameLst>
                                          <p:attrName>style.visibility</p:attrName>
                                        </p:attrNameLst>
                                      </p:cBhvr>
                                      <p:to>
                                        <p:strVal val="visible"/>
                                      </p:to>
                                    </p:set>
                                    <p:animEffect transition="in" filter="wipe(left)">
                                      <p:cBhvr>
                                        <p:cTn id="5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animBg="1"/>
      <p:bldP spid="27" grpId="0"/>
      <p:bldP spid="7" grpId="0"/>
      <p:bldP spid="13" grpId="0"/>
      <p:bldP spid="17" grpId="0"/>
      <p:bldP spid="18" grpId="0"/>
      <p:bldP spid="19" grpId="0"/>
      <p:bldP spid="21" grpId="0"/>
      <p:bldP spid="22" grpId="0"/>
      <p:bldP spid="2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407989" y="6200775"/>
            <a:ext cx="10239690" cy="565786"/>
          </a:xfrm>
        </p:spPr>
        <p:txBody>
          <a:bodyPr/>
          <a:lstStyle/>
          <a:p>
            <a:r>
              <a:rPr lang="en-US" b="0" i="0" dirty="0">
                <a:solidFill>
                  <a:srgbClr val="1D1D1D"/>
                </a:solidFill>
                <a:effectLst/>
                <a:latin typeface="Arial" panose="020B0604020202020204" pitchFamily="34" charset="0"/>
              </a:rPr>
              <a:t>Dranoff, G. Cytokines in cancer pathogenesis and cancer therapy. Nat Rev Cancer 4, 11–22, 2004.</a:t>
            </a:r>
            <a:endParaRPr lang="en-US" dirty="0"/>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0351411" cy="634020"/>
          </a:xfrm>
          <a:prstGeom prst="rect">
            <a:avLst/>
          </a:prstGeom>
          <a:noFill/>
        </p:spPr>
        <p:txBody>
          <a:bodyPr wrap="square" rtlCol="0">
            <a:spAutoFit/>
          </a:bodyPr>
          <a:lstStyle/>
          <a:p>
            <a:pPr lvl="0">
              <a:lnSpc>
                <a:spcPct val="80000"/>
              </a:lnSpc>
              <a:defRPr/>
            </a:pPr>
            <a:r>
              <a:rPr lang="pt-BR" sz="4400" b="1" dirty="0">
                <a:gradFill>
                  <a:gsLst>
                    <a:gs pos="0">
                      <a:schemeClr val="accent1"/>
                    </a:gs>
                    <a:gs pos="100000">
                      <a:schemeClr val="bg2"/>
                    </a:gs>
                  </a:gsLst>
                  <a:lin ang="2700000" scaled="0"/>
                </a:gradFill>
                <a:latin typeface="Calisto MT"/>
              </a:rPr>
              <a:t>As células do sistema imune</a:t>
            </a:r>
            <a:endParaRPr lang="pt-BR" sz="4400" b="1" baseline="30000" dirty="0">
              <a:gradFill>
                <a:gsLst>
                  <a:gs pos="0">
                    <a:schemeClr val="accent1"/>
                  </a:gs>
                  <a:gs pos="100000">
                    <a:schemeClr val="bg2"/>
                  </a:gs>
                </a:gsLst>
                <a:lin ang="2700000" scaled="0"/>
              </a:gradFill>
              <a:latin typeface="Calisto MT"/>
            </a:endParaRPr>
          </a:p>
        </p:txBody>
      </p:sp>
      <p:sp>
        <p:nvSpPr>
          <p:cNvPr id="10" name="Retângulo: Cantos Arredondados 9">
            <a:extLst>
              <a:ext uri="{FF2B5EF4-FFF2-40B4-BE49-F238E27FC236}">
                <a16:creationId xmlns:a16="http://schemas.microsoft.com/office/drawing/2014/main" id="{10E2FAAF-4E60-665A-1022-4A067926AB92}"/>
              </a:ext>
            </a:extLst>
          </p:cNvPr>
          <p:cNvSpPr/>
          <p:nvPr/>
        </p:nvSpPr>
        <p:spPr>
          <a:xfrm>
            <a:off x="801644" y="1207441"/>
            <a:ext cx="10615656" cy="4993333"/>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pt-BR" sz="1400" b="0" i="0" u="none" strike="noStrike" kern="0" cap="none" spc="0" normalizeH="0" baseline="0" noProof="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1" name="CaixaDeTexto 10">
            <a:extLst>
              <a:ext uri="{FF2B5EF4-FFF2-40B4-BE49-F238E27FC236}">
                <a16:creationId xmlns:a16="http://schemas.microsoft.com/office/drawing/2014/main" id="{D2C4E30B-2423-090E-991C-0CA2BC3B83F8}"/>
              </a:ext>
            </a:extLst>
          </p:cNvPr>
          <p:cNvSpPr txBox="1"/>
          <p:nvPr/>
        </p:nvSpPr>
        <p:spPr bwMode="gray">
          <a:xfrm>
            <a:off x="9826413" y="4466900"/>
            <a:ext cx="144016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chemeClr val="accent1"/>
                </a:solidFill>
                <a:effectLst/>
                <a:uLnTx/>
                <a:uFillTx/>
                <a:latin typeface="Verdana"/>
                <a:ea typeface="+mn-ea"/>
                <a:cs typeface="+mn-cs"/>
              </a:rPr>
              <a:t>Imunidade Adaptativa</a:t>
            </a:r>
          </a:p>
        </p:txBody>
      </p:sp>
      <p:sp>
        <p:nvSpPr>
          <p:cNvPr id="4" name="Elipse 3">
            <a:extLst>
              <a:ext uri="{FF2B5EF4-FFF2-40B4-BE49-F238E27FC236}">
                <a16:creationId xmlns:a16="http://schemas.microsoft.com/office/drawing/2014/main" id="{51612E02-C354-FB27-DE01-65427DF9A1B4}"/>
              </a:ext>
            </a:extLst>
          </p:cNvPr>
          <p:cNvSpPr/>
          <p:nvPr/>
        </p:nvSpPr>
        <p:spPr>
          <a:xfrm>
            <a:off x="5875367" y="1681298"/>
            <a:ext cx="4134443" cy="4118847"/>
          </a:xfrm>
          <a:prstGeom prst="ellipse">
            <a:avLst/>
          </a:prstGeom>
          <a:solidFill>
            <a:srgbClr val="830051">
              <a:alpha val="10196"/>
            </a:srgb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solidFill>
                <a:schemeClr val="tx1"/>
              </a:solidFill>
            </a:endParaRPr>
          </a:p>
        </p:txBody>
      </p:sp>
      <p:sp>
        <p:nvSpPr>
          <p:cNvPr id="8" name="Elipse 7">
            <a:extLst>
              <a:ext uri="{FF2B5EF4-FFF2-40B4-BE49-F238E27FC236}">
                <a16:creationId xmlns:a16="http://schemas.microsoft.com/office/drawing/2014/main" id="{79F36470-57B2-6D18-77B1-FFDDC5B4C644}"/>
              </a:ext>
            </a:extLst>
          </p:cNvPr>
          <p:cNvSpPr/>
          <p:nvPr/>
        </p:nvSpPr>
        <p:spPr>
          <a:xfrm>
            <a:off x="1998348" y="1384458"/>
            <a:ext cx="5267670" cy="4689676"/>
          </a:xfrm>
          <a:prstGeom prst="ellipse">
            <a:avLst/>
          </a:prstGeom>
          <a:solidFill>
            <a:srgbClr val="003865">
              <a:alpha val="10196"/>
            </a:srgb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endParaRPr lang="pt-BR" dirty="0" err="1">
              <a:solidFill>
                <a:schemeClr val="tx1"/>
              </a:solidFill>
            </a:endParaRPr>
          </a:p>
        </p:txBody>
      </p:sp>
      <p:sp>
        <p:nvSpPr>
          <p:cNvPr id="9" name="CaixaDeTexto 8">
            <a:extLst>
              <a:ext uri="{FF2B5EF4-FFF2-40B4-BE49-F238E27FC236}">
                <a16:creationId xmlns:a16="http://schemas.microsoft.com/office/drawing/2014/main" id="{1DF7B0B0-C8FC-0D3D-BE33-373F4DB5FB02}"/>
              </a:ext>
            </a:extLst>
          </p:cNvPr>
          <p:cNvSpPr txBox="1"/>
          <p:nvPr/>
        </p:nvSpPr>
        <p:spPr bwMode="gray">
          <a:xfrm>
            <a:off x="924273" y="1987429"/>
            <a:ext cx="142913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chemeClr val="tx2"/>
                </a:solidFill>
                <a:effectLst/>
                <a:uLnTx/>
                <a:uFillTx/>
                <a:latin typeface="Verdana"/>
                <a:ea typeface="+mn-ea"/>
                <a:cs typeface="+mn-cs"/>
              </a:rPr>
              <a:t>Imunidad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chemeClr val="tx2"/>
                </a:solidFill>
                <a:effectLst/>
                <a:uLnTx/>
                <a:uFillTx/>
                <a:latin typeface="Verdana"/>
                <a:ea typeface="+mn-ea"/>
                <a:cs typeface="+mn-cs"/>
              </a:rPr>
              <a:t>Inata</a:t>
            </a:r>
          </a:p>
        </p:txBody>
      </p:sp>
      <p:grpSp>
        <p:nvGrpSpPr>
          <p:cNvPr id="43" name="Agrupar 42">
            <a:extLst>
              <a:ext uri="{FF2B5EF4-FFF2-40B4-BE49-F238E27FC236}">
                <a16:creationId xmlns:a16="http://schemas.microsoft.com/office/drawing/2014/main" id="{253F1701-A75B-575C-68F8-F7D3516EB2F8}"/>
              </a:ext>
            </a:extLst>
          </p:cNvPr>
          <p:cNvGrpSpPr/>
          <p:nvPr/>
        </p:nvGrpSpPr>
        <p:grpSpPr>
          <a:xfrm>
            <a:off x="2076787" y="1135637"/>
            <a:ext cx="8038425" cy="4870339"/>
            <a:chOff x="2076787" y="1135637"/>
            <a:chExt cx="8038425" cy="4870339"/>
          </a:xfrm>
        </p:grpSpPr>
        <p:pic>
          <p:nvPicPr>
            <p:cNvPr id="42" name="Picture 2">
              <a:extLst>
                <a:ext uri="{FF2B5EF4-FFF2-40B4-BE49-F238E27FC236}">
                  <a16:creationId xmlns:a16="http://schemas.microsoft.com/office/drawing/2014/main" id="{896D2E38-5B4F-722D-ED2F-B5C392F19B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076787" y="1135637"/>
              <a:ext cx="8038425" cy="4870339"/>
            </a:xfrm>
            <a:prstGeom prst="rect">
              <a:avLst/>
            </a:prstGeom>
            <a:noFill/>
            <a:extLst>
              <a:ext uri="{909E8E84-426E-40DD-AFC4-6F175D3DCCD1}">
                <a14:hiddenFill xmlns:a14="http://schemas.microsoft.com/office/drawing/2010/main">
                  <a:solidFill>
                    <a:srgbClr val="FFFFFF"/>
                  </a:solidFill>
                </a14:hiddenFill>
              </a:ext>
            </a:extLst>
          </p:spPr>
        </p:pic>
        <p:sp>
          <p:nvSpPr>
            <p:cNvPr id="12" name="CaixaDeTexto 11">
              <a:extLst>
                <a:ext uri="{FF2B5EF4-FFF2-40B4-BE49-F238E27FC236}">
                  <a16:creationId xmlns:a16="http://schemas.microsoft.com/office/drawing/2014/main" id="{DB334CDE-2A3C-C814-9726-3DDE0B046F3A}"/>
                </a:ext>
              </a:extLst>
            </p:cNvPr>
            <p:cNvSpPr txBox="1"/>
            <p:nvPr/>
          </p:nvSpPr>
          <p:spPr>
            <a:xfrm>
              <a:off x="3821249" y="1508247"/>
              <a:ext cx="1027845" cy="258532"/>
            </a:xfrm>
            <a:prstGeom prst="rect">
              <a:avLst/>
            </a:prstGeom>
            <a:noFill/>
          </p:spPr>
          <p:txBody>
            <a:bodyPr wrap="none" rtlCol="0">
              <a:spAutoFit/>
            </a:bodyPr>
            <a:lstStyle/>
            <a:p>
              <a:pPr algn="ctr">
                <a:lnSpc>
                  <a:spcPct val="90000"/>
                </a:lnSpc>
                <a:spcAft>
                  <a:spcPts val="600"/>
                </a:spcAft>
              </a:pPr>
              <a:r>
                <a:rPr lang="pt-BR" sz="1200" b="1" dirty="0" err="1"/>
                <a:t>Dendritic</a:t>
              </a:r>
              <a:r>
                <a:rPr lang="pt-BR" sz="1200" b="1" dirty="0"/>
                <a:t> </a:t>
              </a:r>
              <a:r>
                <a:rPr lang="pt-BR" sz="1200" b="1" dirty="0" err="1"/>
                <a:t>cell</a:t>
              </a:r>
              <a:endParaRPr lang="pt-BR" sz="1200" b="1" dirty="0"/>
            </a:p>
          </p:txBody>
        </p:sp>
        <p:sp>
          <p:nvSpPr>
            <p:cNvPr id="14" name="CaixaDeTexto 13">
              <a:extLst>
                <a:ext uri="{FF2B5EF4-FFF2-40B4-BE49-F238E27FC236}">
                  <a16:creationId xmlns:a16="http://schemas.microsoft.com/office/drawing/2014/main" id="{FB83AAB3-D7FF-49A9-F7BA-1BBC9A7EF723}"/>
                </a:ext>
              </a:extLst>
            </p:cNvPr>
            <p:cNvSpPr txBox="1"/>
            <p:nvPr/>
          </p:nvSpPr>
          <p:spPr>
            <a:xfrm>
              <a:off x="5115559" y="1637513"/>
              <a:ext cx="760016" cy="258532"/>
            </a:xfrm>
            <a:prstGeom prst="rect">
              <a:avLst/>
            </a:prstGeom>
            <a:noFill/>
          </p:spPr>
          <p:txBody>
            <a:bodyPr wrap="none" rtlCol="0">
              <a:spAutoFit/>
            </a:bodyPr>
            <a:lstStyle/>
            <a:p>
              <a:pPr algn="ctr">
                <a:lnSpc>
                  <a:spcPct val="90000"/>
                </a:lnSpc>
                <a:spcAft>
                  <a:spcPts val="600"/>
                </a:spcAft>
              </a:pPr>
              <a:r>
                <a:rPr lang="pt-BR" sz="1200" b="1" dirty="0" err="1"/>
                <a:t>Mast</a:t>
              </a:r>
              <a:r>
                <a:rPr lang="pt-BR" sz="1200" b="1" dirty="0"/>
                <a:t> </a:t>
              </a:r>
              <a:r>
                <a:rPr lang="pt-BR" sz="1200" b="1" dirty="0" err="1"/>
                <a:t>cell</a:t>
              </a:r>
              <a:endParaRPr lang="pt-BR" sz="1200" b="1" dirty="0"/>
            </a:p>
          </p:txBody>
        </p:sp>
        <p:sp>
          <p:nvSpPr>
            <p:cNvPr id="15" name="CaixaDeTexto 14">
              <a:extLst>
                <a:ext uri="{FF2B5EF4-FFF2-40B4-BE49-F238E27FC236}">
                  <a16:creationId xmlns:a16="http://schemas.microsoft.com/office/drawing/2014/main" id="{1C7C9200-0FC8-3A19-1C1C-8A2A3EFCAF7B}"/>
                </a:ext>
              </a:extLst>
            </p:cNvPr>
            <p:cNvSpPr txBox="1"/>
            <p:nvPr/>
          </p:nvSpPr>
          <p:spPr>
            <a:xfrm>
              <a:off x="2811954" y="2089934"/>
              <a:ext cx="985847" cy="258532"/>
            </a:xfrm>
            <a:prstGeom prst="rect">
              <a:avLst/>
            </a:prstGeom>
            <a:noFill/>
          </p:spPr>
          <p:txBody>
            <a:bodyPr wrap="none" rtlCol="0">
              <a:spAutoFit/>
            </a:bodyPr>
            <a:lstStyle/>
            <a:p>
              <a:pPr algn="ctr">
                <a:lnSpc>
                  <a:spcPct val="90000"/>
                </a:lnSpc>
                <a:spcAft>
                  <a:spcPts val="600"/>
                </a:spcAft>
              </a:pPr>
              <a:r>
                <a:rPr lang="pt-BR" sz="1200" b="1" dirty="0" err="1"/>
                <a:t>Macrophage</a:t>
              </a:r>
              <a:endParaRPr lang="pt-BR" sz="1200" b="1" dirty="0"/>
            </a:p>
          </p:txBody>
        </p:sp>
        <p:sp>
          <p:nvSpPr>
            <p:cNvPr id="16" name="CaixaDeTexto 15">
              <a:extLst>
                <a:ext uri="{FF2B5EF4-FFF2-40B4-BE49-F238E27FC236}">
                  <a16:creationId xmlns:a16="http://schemas.microsoft.com/office/drawing/2014/main" id="{F5318C59-04D5-30C4-DC32-E16B34B41420}"/>
                </a:ext>
              </a:extLst>
            </p:cNvPr>
            <p:cNvSpPr txBox="1"/>
            <p:nvPr/>
          </p:nvSpPr>
          <p:spPr>
            <a:xfrm>
              <a:off x="2258353" y="3502091"/>
              <a:ext cx="927100" cy="424732"/>
            </a:xfrm>
            <a:prstGeom prst="rect">
              <a:avLst/>
            </a:prstGeom>
            <a:noFill/>
          </p:spPr>
          <p:txBody>
            <a:bodyPr wrap="square" rtlCol="0">
              <a:spAutoFit/>
            </a:bodyPr>
            <a:lstStyle/>
            <a:p>
              <a:pPr algn="r">
                <a:lnSpc>
                  <a:spcPct val="90000"/>
                </a:lnSpc>
                <a:spcAft>
                  <a:spcPts val="600"/>
                </a:spcAft>
              </a:pPr>
              <a:r>
                <a:rPr lang="pt-BR" sz="1200" b="1" dirty="0"/>
                <a:t>Natural killer </a:t>
              </a:r>
              <a:r>
                <a:rPr lang="pt-BR" sz="1200" b="1" dirty="0" err="1"/>
                <a:t>cell</a:t>
              </a:r>
              <a:endParaRPr lang="pt-BR" sz="1200" b="1" dirty="0"/>
            </a:p>
          </p:txBody>
        </p:sp>
        <p:sp>
          <p:nvSpPr>
            <p:cNvPr id="20" name="CaixaDeTexto 19">
              <a:extLst>
                <a:ext uri="{FF2B5EF4-FFF2-40B4-BE49-F238E27FC236}">
                  <a16:creationId xmlns:a16="http://schemas.microsoft.com/office/drawing/2014/main" id="{48419D35-2AB8-1F84-87C6-8073065ADC74}"/>
                </a:ext>
              </a:extLst>
            </p:cNvPr>
            <p:cNvSpPr txBox="1"/>
            <p:nvPr/>
          </p:nvSpPr>
          <p:spPr>
            <a:xfrm>
              <a:off x="2376440" y="4190322"/>
              <a:ext cx="1306529" cy="424732"/>
            </a:xfrm>
            <a:prstGeom prst="rect">
              <a:avLst/>
            </a:prstGeom>
            <a:noFill/>
          </p:spPr>
          <p:txBody>
            <a:bodyPr wrap="square" rtlCol="0">
              <a:spAutoFit/>
            </a:bodyPr>
            <a:lstStyle/>
            <a:p>
              <a:pPr>
                <a:lnSpc>
                  <a:spcPct val="90000"/>
                </a:lnSpc>
                <a:spcAft>
                  <a:spcPts val="600"/>
                </a:spcAft>
              </a:pPr>
              <a:r>
                <a:rPr lang="pt-BR" sz="1200" b="1" dirty="0" err="1"/>
                <a:t>Complement</a:t>
              </a:r>
              <a:r>
                <a:rPr lang="pt-BR" sz="1200" b="1" dirty="0"/>
                <a:t> protein</a:t>
              </a:r>
            </a:p>
          </p:txBody>
        </p:sp>
        <p:sp>
          <p:nvSpPr>
            <p:cNvPr id="24" name="CaixaDeTexto 23">
              <a:extLst>
                <a:ext uri="{FF2B5EF4-FFF2-40B4-BE49-F238E27FC236}">
                  <a16:creationId xmlns:a16="http://schemas.microsoft.com/office/drawing/2014/main" id="{1F63240A-0EB6-5A97-42D7-5451F14AE24C}"/>
                </a:ext>
              </a:extLst>
            </p:cNvPr>
            <p:cNvSpPr txBox="1"/>
            <p:nvPr/>
          </p:nvSpPr>
          <p:spPr>
            <a:xfrm>
              <a:off x="3989383" y="5310515"/>
              <a:ext cx="1306529" cy="258532"/>
            </a:xfrm>
            <a:prstGeom prst="rect">
              <a:avLst/>
            </a:prstGeom>
            <a:noFill/>
          </p:spPr>
          <p:txBody>
            <a:bodyPr wrap="square" rtlCol="0">
              <a:spAutoFit/>
            </a:bodyPr>
            <a:lstStyle/>
            <a:p>
              <a:pPr>
                <a:lnSpc>
                  <a:spcPct val="90000"/>
                </a:lnSpc>
                <a:spcAft>
                  <a:spcPts val="600"/>
                </a:spcAft>
              </a:pPr>
              <a:r>
                <a:rPr lang="pt-BR" sz="1200" b="1" dirty="0" err="1"/>
                <a:t>Neutrophil</a:t>
              </a:r>
              <a:endParaRPr lang="pt-BR" sz="1200" b="1" dirty="0"/>
            </a:p>
          </p:txBody>
        </p:sp>
        <p:sp>
          <p:nvSpPr>
            <p:cNvPr id="28" name="CaixaDeTexto 27">
              <a:extLst>
                <a:ext uri="{FF2B5EF4-FFF2-40B4-BE49-F238E27FC236}">
                  <a16:creationId xmlns:a16="http://schemas.microsoft.com/office/drawing/2014/main" id="{AC7B020D-C98F-D704-85E4-82606ED641F2}"/>
                </a:ext>
              </a:extLst>
            </p:cNvPr>
            <p:cNvSpPr txBox="1"/>
            <p:nvPr/>
          </p:nvSpPr>
          <p:spPr>
            <a:xfrm>
              <a:off x="4304012" y="4500756"/>
              <a:ext cx="1306529" cy="258532"/>
            </a:xfrm>
            <a:prstGeom prst="rect">
              <a:avLst/>
            </a:prstGeom>
            <a:noFill/>
          </p:spPr>
          <p:txBody>
            <a:bodyPr wrap="square" rtlCol="0">
              <a:spAutoFit/>
            </a:bodyPr>
            <a:lstStyle/>
            <a:p>
              <a:pPr>
                <a:lnSpc>
                  <a:spcPct val="90000"/>
                </a:lnSpc>
                <a:spcAft>
                  <a:spcPts val="600"/>
                </a:spcAft>
              </a:pPr>
              <a:r>
                <a:rPr lang="pt-BR" sz="1200" b="1" dirty="0" err="1"/>
                <a:t>Eosinophil</a:t>
              </a:r>
              <a:endParaRPr lang="pt-BR" sz="1200" b="1" dirty="0"/>
            </a:p>
          </p:txBody>
        </p:sp>
        <p:sp>
          <p:nvSpPr>
            <p:cNvPr id="30" name="CaixaDeTexto 29">
              <a:extLst>
                <a:ext uri="{FF2B5EF4-FFF2-40B4-BE49-F238E27FC236}">
                  <a16:creationId xmlns:a16="http://schemas.microsoft.com/office/drawing/2014/main" id="{D945EB8A-1AB4-D802-D418-ECE8E5B92D0F}"/>
                </a:ext>
              </a:extLst>
            </p:cNvPr>
            <p:cNvSpPr txBox="1"/>
            <p:nvPr/>
          </p:nvSpPr>
          <p:spPr>
            <a:xfrm>
              <a:off x="4509240" y="3668291"/>
              <a:ext cx="1306529" cy="258532"/>
            </a:xfrm>
            <a:prstGeom prst="rect">
              <a:avLst/>
            </a:prstGeom>
            <a:noFill/>
          </p:spPr>
          <p:txBody>
            <a:bodyPr wrap="square" rtlCol="0">
              <a:spAutoFit/>
            </a:bodyPr>
            <a:lstStyle/>
            <a:p>
              <a:pPr>
                <a:lnSpc>
                  <a:spcPct val="90000"/>
                </a:lnSpc>
                <a:spcAft>
                  <a:spcPts val="600"/>
                </a:spcAft>
              </a:pPr>
              <a:r>
                <a:rPr lang="pt-BR" sz="1200" b="1" dirty="0" err="1"/>
                <a:t>Basophil</a:t>
              </a:r>
              <a:endParaRPr lang="pt-BR" sz="1200" b="1" dirty="0"/>
            </a:p>
          </p:txBody>
        </p:sp>
        <p:sp>
          <p:nvSpPr>
            <p:cNvPr id="31" name="CaixaDeTexto 30">
              <a:extLst>
                <a:ext uri="{FF2B5EF4-FFF2-40B4-BE49-F238E27FC236}">
                  <a16:creationId xmlns:a16="http://schemas.microsoft.com/office/drawing/2014/main" id="{D6833A5E-D17E-756D-4D22-60D3A4B754DB}"/>
                </a:ext>
              </a:extLst>
            </p:cNvPr>
            <p:cNvSpPr txBox="1"/>
            <p:nvPr/>
          </p:nvSpPr>
          <p:spPr>
            <a:xfrm>
              <a:off x="5266766" y="4849017"/>
              <a:ext cx="1306529" cy="258532"/>
            </a:xfrm>
            <a:prstGeom prst="rect">
              <a:avLst/>
            </a:prstGeom>
            <a:noFill/>
          </p:spPr>
          <p:txBody>
            <a:bodyPr wrap="square" rtlCol="0">
              <a:spAutoFit/>
            </a:bodyPr>
            <a:lstStyle/>
            <a:p>
              <a:pPr>
                <a:lnSpc>
                  <a:spcPct val="90000"/>
                </a:lnSpc>
                <a:spcAft>
                  <a:spcPts val="600"/>
                </a:spcAft>
              </a:pPr>
              <a:r>
                <a:rPr lang="pt-BR" sz="1200" b="1" dirty="0" err="1"/>
                <a:t>Granulocytes</a:t>
              </a:r>
              <a:endParaRPr lang="pt-BR" sz="1200" b="1" dirty="0"/>
            </a:p>
          </p:txBody>
        </p:sp>
        <p:sp>
          <p:nvSpPr>
            <p:cNvPr id="32" name="CaixaDeTexto 31">
              <a:extLst>
                <a:ext uri="{FF2B5EF4-FFF2-40B4-BE49-F238E27FC236}">
                  <a16:creationId xmlns:a16="http://schemas.microsoft.com/office/drawing/2014/main" id="{00E98CFF-0B99-B806-7B58-83C685A81194}"/>
                </a:ext>
              </a:extLst>
            </p:cNvPr>
            <p:cNvSpPr txBox="1"/>
            <p:nvPr/>
          </p:nvSpPr>
          <p:spPr>
            <a:xfrm>
              <a:off x="6149033" y="4417656"/>
              <a:ext cx="927100" cy="424732"/>
            </a:xfrm>
            <a:prstGeom prst="rect">
              <a:avLst/>
            </a:prstGeom>
            <a:noFill/>
          </p:spPr>
          <p:txBody>
            <a:bodyPr wrap="square" rtlCol="0">
              <a:spAutoFit/>
            </a:bodyPr>
            <a:lstStyle/>
            <a:p>
              <a:pPr>
                <a:lnSpc>
                  <a:spcPct val="90000"/>
                </a:lnSpc>
                <a:spcAft>
                  <a:spcPts val="600"/>
                </a:spcAft>
              </a:pPr>
              <a:r>
                <a:rPr lang="pt-BR" sz="1200" b="1" dirty="0"/>
                <a:t>Natural killer T </a:t>
              </a:r>
              <a:r>
                <a:rPr lang="pt-BR" sz="1200" b="1" dirty="0" err="1"/>
                <a:t>cell</a:t>
              </a:r>
              <a:endParaRPr lang="pt-BR" sz="1200" b="1" dirty="0"/>
            </a:p>
          </p:txBody>
        </p:sp>
        <p:sp>
          <p:nvSpPr>
            <p:cNvPr id="33" name="CaixaDeTexto 32">
              <a:extLst>
                <a:ext uri="{FF2B5EF4-FFF2-40B4-BE49-F238E27FC236}">
                  <a16:creationId xmlns:a16="http://schemas.microsoft.com/office/drawing/2014/main" id="{3A7E6B90-483E-AED9-2CAD-24AF662975C7}"/>
                </a:ext>
              </a:extLst>
            </p:cNvPr>
            <p:cNvSpPr txBox="1"/>
            <p:nvPr/>
          </p:nvSpPr>
          <p:spPr>
            <a:xfrm>
              <a:off x="7290541" y="4299961"/>
              <a:ext cx="927100" cy="258532"/>
            </a:xfrm>
            <a:prstGeom prst="rect">
              <a:avLst/>
            </a:prstGeom>
            <a:noFill/>
          </p:spPr>
          <p:txBody>
            <a:bodyPr wrap="square" rtlCol="0">
              <a:spAutoFit/>
            </a:bodyPr>
            <a:lstStyle/>
            <a:p>
              <a:pPr>
                <a:lnSpc>
                  <a:spcPct val="90000"/>
                </a:lnSpc>
                <a:spcAft>
                  <a:spcPts val="600"/>
                </a:spcAft>
              </a:pPr>
              <a:r>
                <a:rPr lang="pt-BR" sz="1200" b="1" dirty="0" err="1"/>
                <a:t>Antibodies</a:t>
              </a:r>
              <a:endParaRPr lang="pt-BR" sz="1200" b="1" dirty="0"/>
            </a:p>
          </p:txBody>
        </p:sp>
        <p:sp>
          <p:nvSpPr>
            <p:cNvPr id="34" name="CaixaDeTexto 33">
              <a:extLst>
                <a:ext uri="{FF2B5EF4-FFF2-40B4-BE49-F238E27FC236}">
                  <a16:creationId xmlns:a16="http://schemas.microsoft.com/office/drawing/2014/main" id="{86732F74-F367-3B2C-725E-C493D9A080FA}"/>
                </a:ext>
              </a:extLst>
            </p:cNvPr>
            <p:cNvSpPr txBox="1"/>
            <p:nvPr/>
          </p:nvSpPr>
          <p:spPr>
            <a:xfrm>
              <a:off x="8522781" y="4587710"/>
              <a:ext cx="522595" cy="424732"/>
            </a:xfrm>
            <a:prstGeom prst="rect">
              <a:avLst/>
            </a:prstGeom>
            <a:noFill/>
          </p:spPr>
          <p:txBody>
            <a:bodyPr wrap="square" rtlCol="0">
              <a:spAutoFit/>
            </a:bodyPr>
            <a:lstStyle/>
            <a:p>
              <a:pPr>
                <a:lnSpc>
                  <a:spcPct val="90000"/>
                </a:lnSpc>
                <a:spcAft>
                  <a:spcPts val="600"/>
                </a:spcAft>
              </a:pPr>
              <a:r>
                <a:rPr lang="pt-BR" sz="1200" b="1" dirty="0"/>
                <a:t>CD4</a:t>
              </a:r>
              <a:r>
                <a:rPr lang="pt-BR" sz="1200" b="1" baseline="30000" dirty="0"/>
                <a:t>+</a:t>
              </a:r>
              <a:br>
                <a:rPr lang="pt-BR" sz="1200" b="1" dirty="0"/>
              </a:br>
              <a:r>
                <a:rPr lang="pt-BR" sz="1200" b="1" dirty="0"/>
                <a:t>T </a:t>
              </a:r>
              <a:r>
                <a:rPr lang="pt-BR" sz="1200" b="1" dirty="0" err="1"/>
                <a:t>cell</a:t>
              </a:r>
              <a:endParaRPr lang="pt-BR" sz="1200" b="1" dirty="0"/>
            </a:p>
          </p:txBody>
        </p:sp>
        <p:sp>
          <p:nvSpPr>
            <p:cNvPr id="35" name="CaixaDeTexto 34">
              <a:extLst>
                <a:ext uri="{FF2B5EF4-FFF2-40B4-BE49-F238E27FC236}">
                  <a16:creationId xmlns:a16="http://schemas.microsoft.com/office/drawing/2014/main" id="{95221CDC-49EF-2E68-705B-BD29D82389BB}"/>
                </a:ext>
              </a:extLst>
            </p:cNvPr>
            <p:cNvSpPr txBox="1"/>
            <p:nvPr/>
          </p:nvSpPr>
          <p:spPr>
            <a:xfrm>
              <a:off x="9153699" y="4587710"/>
              <a:ext cx="522595" cy="424732"/>
            </a:xfrm>
            <a:prstGeom prst="rect">
              <a:avLst/>
            </a:prstGeom>
            <a:noFill/>
          </p:spPr>
          <p:txBody>
            <a:bodyPr wrap="square" rtlCol="0">
              <a:spAutoFit/>
            </a:bodyPr>
            <a:lstStyle/>
            <a:p>
              <a:pPr>
                <a:lnSpc>
                  <a:spcPct val="90000"/>
                </a:lnSpc>
                <a:spcAft>
                  <a:spcPts val="600"/>
                </a:spcAft>
              </a:pPr>
              <a:r>
                <a:rPr lang="pt-BR" sz="1200" b="1" dirty="0"/>
                <a:t>CD8</a:t>
              </a:r>
              <a:r>
                <a:rPr lang="pt-BR" sz="1200" b="1" baseline="30000" dirty="0"/>
                <a:t>+</a:t>
              </a:r>
              <a:br>
                <a:rPr lang="pt-BR" sz="1200" b="1" dirty="0"/>
              </a:br>
              <a:r>
                <a:rPr lang="pt-BR" sz="1200" b="1" dirty="0"/>
                <a:t>T </a:t>
              </a:r>
              <a:r>
                <a:rPr lang="pt-BR" sz="1200" b="1" dirty="0" err="1"/>
                <a:t>cell</a:t>
              </a:r>
              <a:endParaRPr lang="pt-BR" sz="1200" b="1" dirty="0"/>
            </a:p>
          </p:txBody>
        </p:sp>
        <p:sp>
          <p:nvSpPr>
            <p:cNvPr id="36" name="CaixaDeTexto 35">
              <a:extLst>
                <a:ext uri="{FF2B5EF4-FFF2-40B4-BE49-F238E27FC236}">
                  <a16:creationId xmlns:a16="http://schemas.microsoft.com/office/drawing/2014/main" id="{AA3CC6C8-2794-13A7-D0E2-C76A84ABC594}"/>
                </a:ext>
              </a:extLst>
            </p:cNvPr>
            <p:cNvSpPr txBox="1"/>
            <p:nvPr/>
          </p:nvSpPr>
          <p:spPr>
            <a:xfrm>
              <a:off x="6236804" y="2471447"/>
              <a:ext cx="1110066" cy="258532"/>
            </a:xfrm>
            <a:prstGeom prst="rect">
              <a:avLst/>
            </a:prstGeom>
            <a:noFill/>
          </p:spPr>
          <p:txBody>
            <a:bodyPr wrap="square" rtlCol="0">
              <a:spAutoFit/>
            </a:bodyPr>
            <a:lstStyle/>
            <a:p>
              <a:pPr>
                <a:lnSpc>
                  <a:spcPct val="90000"/>
                </a:lnSpc>
                <a:spcAft>
                  <a:spcPts val="600"/>
                </a:spcAft>
              </a:pPr>
              <a:r>
                <a:rPr lang="el-GR" sz="1200" b="1" dirty="0">
                  <a:latin typeface="Cambria Math" panose="02040503050406030204" pitchFamily="18" charset="0"/>
                  <a:ea typeface="Cambria Math" panose="02040503050406030204" pitchFamily="18" charset="0"/>
                </a:rPr>
                <a:t>γ</a:t>
              </a:r>
              <a:r>
                <a:rPr lang="pt-BR" sz="1200" b="1" dirty="0">
                  <a:latin typeface="Cambria Math" panose="02040503050406030204" pitchFamily="18" charset="0"/>
                  <a:ea typeface="Cambria Math" panose="02040503050406030204" pitchFamily="18" charset="0"/>
                </a:rPr>
                <a:t>6 </a:t>
              </a:r>
              <a:r>
                <a:rPr lang="pt-BR" sz="1200" b="1" dirty="0"/>
                <a:t>T </a:t>
              </a:r>
              <a:r>
                <a:rPr lang="pt-BR" sz="1200" b="1" dirty="0" err="1"/>
                <a:t>cell</a:t>
              </a:r>
              <a:endParaRPr lang="pt-BR" sz="1200" b="1" dirty="0"/>
            </a:p>
          </p:txBody>
        </p:sp>
        <p:sp>
          <p:nvSpPr>
            <p:cNvPr id="37" name="CaixaDeTexto 36">
              <a:extLst>
                <a:ext uri="{FF2B5EF4-FFF2-40B4-BE49-F238E27FC236}">
                  <a16:creationId xmlns:a16="http://schemas.microsoft.com/office/drawing/2014/main" id="{FF8AC8D0-9CAE-F3CE-475B-89AC25FB0AD1}"/>
                </a:ext>
              </a:extLst>
            </p:cNvPr>
            <p:cNvSpPr txBox="1"/>
            <p:nvPr/>
          </p:nvSpPr>
          <p:spPr>
            <a:xfrm>
              <a:off x="7371804" y="2089934"/>
              <a:ext cx="522595" cy="258532"/>
            </a:xfrm>
            <a:prstGeom prst="rect">
              <a:avLst/>
            </a:prstGeom>
            <a:noFill/>
          </p:spPr>
          <p:txBody>
            <a:bodyPr wrap="square" rtlCol="0">
              <a:spAutoFit/>
            </a:bodyPr>
            <a:lstStyle/>
            <a:p>
              <a:pPr>
                <a:lnSpc>
                  <a:spcPct val="90000"/>
                </a:lnSpc>
                <a:spcAft>
                  <a:spcPts val="600"/>
                </a:spcAft>
              </a:pPr>
              <a:r>
                <a:rPr lang="pt-BR" sz="1200" b="1" dirty="0"/>
                <a:t>B </a:t>
              </a:r>
              <a:r>
                <a:rPr lang="pt-BR" sz="1200" b="1" dirty="0" err="1"/>
                <a:t>cell</a:t>
              </a:r>
              <a:endParaRPr lang="pt-BR" sz="1200" b="1" dirty="0"/>
            </a:p>
          </p:txBody>
        </p:sp>
        <p:sp>
          <p:nvSpPr>
            <p:cNvPr id="38" name="Forma Livre: Forma 37">
              <a:extLst>
                <a:ext uri="{FF2B5EF4-FFF2-40B4-BE49-F238E27FC236}">
                  <a16:creationId xmlns:a16="http://schemas.microsoft.com/office/drawing/2014/main" id="{3162334D-CDD5-6F8E-3432-D2DA55030915}"/>
                </a:ext>
              </a:extLst>
            </p:cNvPr>
            <p:cNvSpPr/>
            <p:nvPr/>
          </p:nvSpPr>
          <p:spPr>
            <a:xfrm>
              <a:off x="5006565" y="2942376"/>
              <a:ext cx="298077" cy="2770361"/>
            </a:xfrm>
            <a:custGeom>
              <a:avLst/>
              <a:gdLst>
                <a:gd name="connsiteX0" fmla="*/ 18107 w 172016"/>
                <a:gd name="connsiteY0" fmla="*/ 0 h 2770361"/>
                <a:gd name="connsiteX1" fmla="*/ 172016 w 172016"/>
                <a:gd name="connsiteY1" fmla="*/ 0 h 2770361"/>
                <a:gd name="connsiteX2" fmla="*/ 172016 w 172016"/>
                <a:gd name="connsiteY2" fmla="*/ 2770361 h 2770361"/>
                <a:gd name="connsiteX3" fmla="*/ 0 w 172016"/>
                <a:gd name="connsiteY3" fmla="*/ 2770361 h 2770361"/>
              </a:gdLst>
              <a:ahLst/>
              <a:cxnLst>
                <a:cxn ang="0">
                  <a:pos x="connsiteX0" y="connsiteY0"/>
                </a:cxn>
                <a:cxn ang="0">
                  <a:pos x="connsiteX1" y="connsiteY1"/>
                </a:cxn>
                <a:cxn ang="0">
                  <a:pos x="connsiteX2" y="connsiteY2"/>
                </a:cxn>
                <a:cxn ang="0">
                  <a:pos x="connsiteX3" y="connsiteY3"/>
                </a:cxn>
              </a:cxnLst>
              <a:rect l="l" t="t" r="r" b="b"/>
              <a:pathLst>
                <a:path w="172016" h="2770361">
                  <a:moveTo>
                    <a:pt x="18107" y="0"/>
                  </a:moveTo>
                  <a:lnTo>
                    <a:pt x="172016" y="0"/>
                  </a:lnTo>
                  <a:lnTo>
                    <a:pt x="172016" y="2770361"/>
                  </a:lnTo>
                  <a:lnTo>
                    <a:pt x="0" y="2770361"/>
                  </a:lnTo>
                </a:path>
              </a:pathLst>
            </a:custGeom>
            <a:no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39" name="CaixaDeTexto 38">
              <a:extLst>
                <a:ext uri="{FF2B5EF4-FFF2-40B4-BE49-F238E27FC236}">
                  <a16:creationId xmlns:a16="http://schemas.microsoft.com/office/drawing/2014/main" id="{54AD8093-CB30-2F09-EEA2-87ECD25B1435}"/>
                </a:ext>
              </a:extLst>
            </p:cNvPr>
            <p:cNvSpPr txBox="1"/>
            <p:nvPr/>
          </p:nvSpPr>
          <p:spPr>
            <a:xfrm>
              <a:off x="9011594" y="2600713"/>
              <a:ext cx="522595" cy="258532"/>
            </a:xfrm>
            <a:prstGeom prst="rect">
              <a:avLst/>
            </a:prstGeom>
            <a:noFill/>
          </p:spPr>
          <p:txBody>
            <a:bodyPr wrap="square" rtlCol="0">
              <a:spAutoFit/>
            </a:bodyPr>
            <a:lstStyle/>
            <a:p>
              <a:pPr>
                <a:lnSpc>
                  <a:spcPct val="90000"/>
                </a:lnSpc>
                <a:spcAft>
                  <a:spcPts val="600"/>
                </a:spcAft>
              </a:pPr>
              <a:r>
                <a:rPr lang="pt-BR" sz="1200" b="1" dirty="0"/>
                <a:t>T </a:t>
              </a:r>
              <a:r>
                <a:rPr lang="pt-BR" sz="1200" b="1" dirty="0" err="1"/>
                <a:t>cell</a:t>
              </a:r>
              <a:endParaRPr lang="pt-BR" sz="1200" b="1" dirty="0"/>
            </a:p>
          </p:txBody>
        </p:sp>
        <p:cxnSp>
          <p:nvCxnSpPr>
            <p:cNvPr id="40" name="Conector de Seta Reta 39">
              <a:extLst>
                <a:ext uri="{FF2B5EF4-FFF2-40B4-BE49-F238E27FC236}">
                  <a16:creationId xmlns:a16="http://schemas.microsoft.com/office/drawing/2014/main" id="{F33304B0-D81A-B820-1E75-63FB15EBC79A}"/>
                </a:ext>
              </a:extLst>
            </p:cNvPr>
            <p:cNvCxnSpPr>
              <a:cxnSpLocks/>
            </p:cNvCxnSpPr>
            <p:nvPr/>
          </p:nvCxnSpPr>
          <p:spPr>
            <a:xfrm>
              <a:off x="9343584" y="3589859"/>
              <a:ext cx="137140" cy="336964"/>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ector de Seta Reta 40">
              <a:extLst>
                <a:ext uri="{FF2B5EF4-FFF2-40B4-BE49-F238E27FC236}">
                  <a16:creationId xmlns:a16="http://schemas.microsoft.com/office/drawing/2014/main" id="{23659617-95C6-B163-3395-73318BD4BE54}"/>
                </a:ext>
              </a:extLst>
            </p:cNvPr>
            <p:cNvCxnSpPr>
              <a:cxnSpLocks/>
            </p:cNvCxnSpPr>
            <p:nvPr/>
          </p:nvCxnSpPr>
          <p:spPr>
            <a:xfrm flipH="1">
              <a:off x="8892129" y="3589859"/>
              <a:ext cx="250472" cy="336964"/>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116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50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par>
                          <p:cTn id="11" fill="hold">
                            <p:stCondLst>
                              <p:cond delay="1000"/>
                            </p:stCondLst>
                            <p:childTnLst>
                              <p:par>
                                <p:cTn id="12" presetID="53" presetClass="entr" presetSubtype="16" fill="hold" grpId="0" nodeType="afterEffect">
                                  <p:stCondLst>
                                    <p:cond delay="50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fltVal val="0"/>
                                          </p:val>
                                        </p:tav>
                                        <p:tav tm="100000">
                                          <p:val>
                                            <p:strVal val="#ppt_w"/>
                                          </p:val>
                                        </p:tav>
                                      </p:tavLst>
                                    </p:anim>
                                    <p:anim calcmode="lin" valueType="num">
                                      <p:cBhvr>
                                        <p:cTn id="15" dur="500" fill="hold"/>
                                        <p:tgtEl>
                                          <p:spTgt spid="8"/>
                                        </p:tgtEl>
                                        <p:attrNameLst>
                                          <p:attrName>ppt_h</p:attrName>
                                        </p:attrNameLst>
                                      </p:cBhvr>
                                      <p:tavLst>
                                        <p:tav tm="0">
                                          <p:val>
                                            <p:fltVal val="0"/>
                                          </p:val>
                                        </p:tav>
                                        <p:tav tm="100000">
                                          <p:val>
                                            <p:strVal val="#ppt_h"/>
                                          </p:val>
                                        </p:tav>
                                      </p:tavLst>
                                    </p:anim>
                                    <p:animEffect transition="in" filter="fade">
                                      <p:cBhvr>
                                        <p:cTn id="16" dur="500"/>
                                        <p:tgtEl>
                                          <p:spTgt spid="8"/>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250"/>
                            </p:stCondLst>
                            <p:childTnLst>
                              <p:par>
                                <p:cTn id="21" presetID="53" presetClass="entr" presetSubtype="16" fill="hold" grpId="0" nodeType="afterEffect">
                                  <p:stCondLst>
                                    <p:cond delay="500"/>
                                  </p:stCondLst>
                                  <p:childTnLst>
                                    <p:set>
                                      <p:cBhvr>
                                        <p:cTn id="22" dur="1" fill="hold">
                                          <p:stCondLst>
                                            <p:cond delay="0"/>
                                          </p:stCondLst>
                                        </p:cTn>
                                        <p:tgtEl>
                                          <p:spTgt spid="4"/>
                                        </p:tgtEl>
                                        <p:attrNameLst>
                                          <p:attrName>style.visibility</p:attrName>
                                        </p:attrNameLst>
                                      </p:cBhvr>
                                      <p:to>
                                        <p:strVal val="visible"/>
                                      </p:to>
                                    </p:set>
                                    <p:anim calcmode="lin" valueType="num">
                                      <p:cBhvr>
                                        <p:cTn id="23" dur="500" fill="hold"/>
                                        <p:tgtEl>
                                          <p:spTgt spid="4"/>
                                        </p:tgtEl>
                                        <p:attrNameLst>
                                          <p:attrName>ppt_w</p:attrName>
                                        </p:attrNameLst>
                                      </p:cBhvr>
                                      <p:tavLst>
                                        <p:tav tm="0">
                                          <p:val>
                                            <p:fltVal val="0"/>
                                          </p:val>
                                        </p:tav>
                                        <p:tav tm="100000">
                                          <p:val>
                                            <p:strVal val="#ppt_w"/>
                                          </p:val>
                                        </p:tav>
                                      </p:tavLst>
                                    </p:anim>
                                    <p:anim calcmode="lin" valueType="num">
                                      <p:cBhvr>
                                        <p:cTn id="24" dur="500" fill="hold"/>
                                        <p:tgtEl>
                                          <p:spTgt spid="4"/>
                                        </p:tgtEl>
                                        <p:attrNameLst>
                                          <p:attrName>ppt_h</p:attrName>
                                        </p:attrNameLst>
                                      </p:cBhvr>
                                      <p:tavLst>
                                        <p:tav tm="0">
                                          <p:val>
                                            <p:fltVal val="0"/>
                                          </p:val>
                                        </p:tav>
                                        <p:tav tm="100000">
                                          <p:val>
                                            <p:strVal val="#ppt_h"/>
                                          </p:val>
                                        </p:tav>
                                      </p:tavLst>
                                    </p:anim>
                                    <p:animEffect transition="in" filter="fade">
                                      <p:cBhvr>
                                        <p:cTn id="25" dur="500"/>
                                        <p:tgtEl>
                                          <p:spTgt spid="4"/>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4" grpId="0" animBg="1"/>
      <p:bldP spid="8"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8A4E7FA6-CC43-8480-09AE-031930B0DA49}"/>
              </a:ext>
            </a:extLst>
          </p:cNvPr>
          <p:cNvSpPr>
            <a:spLocks noGrp="1"/>
          </p:cNvSpPr>
          <p:nvPr>
            <p:ph type="body" sz="quarter" idx="111"/>
          </p:nvPr>
        </p:nvSpPr>
        <p:spPr>
          <a:xfrm>
            <a:off x="99230" y="6211252"/>
            <a:ext cx="10239690" cy="565786"/>
          </a:xfrm>
        </p:spPr>
        <p:txBody>
          <a:bodyPr/>
          <a:lstStyle/>
          <a:p>
            <a:pPr algn="l" fontAlgn="base"/>
            <a:r>
              <a:rPr lang="pt-BR" sz="700" b="0" i="0" dirty="0">
                <a:solidFill>
                  <a:srgbClr val="1D1D1D"/>
                </a:solidFill>
                <a:effectLst/>
                <a:latin typeface="Arial" panose="020B0604020202020204" pitchFamily="34" charset="0"/>
              </a:rPr>
              <a:t>Cruvinel </a:t>
            </a:r>
            <a:r>
              <a:rPr lang="pt-BR" sz="700" b="0" i="0" dirty="0" err="1">
                <a:solidFill>
                  <a:srgbClr val="1D1D1D"/>
                </a:solidFill>
                <a:effectLst/>
                <a:latin typeface="Arial" panose="020B0604020202020204" pitchFamily="34" charset="0"/>
              </a:rPr>
              <a:t>Wde</a:t>
            </a:r>
            <a:r>
              <a:rPr lang="pt-BR" sz="700" b="0" i="0" dirty="0">
                <a:solidFill>
                  <a:srgbClr val="1D1D1D"/>
                </a:solidFill>
                <a:effectLst/>
                <a:latin typeface="Arial" panose="020B0604020202020204" pitchFamily="34" charset="0"/>
              </a:rPr>
              <a:t> M, Mesquita D Jr, Araújo JA et al. </a:t>
            </a:r>
            <a:r>
              <a:rPr lang="pt-BR" sz="700" b="0" i="0" dirty="0" err="1">
                <a:solidFill>
                  <a:srgbClr val="1D1D1D"/>
                </a:solidFill>
                <a:effectLst/>
                <a:latin typeface="Arial" panose="020B0604020202020204" pitchFamily="34" charset="0"/>
              </a:rPr>
              <a:t>Immune</a:t>
            </a:r>
            <a:r>
              <a:rPr lang="pt-BR" sz="700" b="0" i="0" dirty="0">
                <a:solidFill>
                  <a:srgbClr val="1D1D1D"/>
                </a:solidFill>
                <a:effectLst/>
                <a:latin typeface="Arial" panose="020B0604020202020204" pitchFamily="34" charset="0"/>
              </a:rPr>
              <a:t> system - </a:t>
            </a:r>
            <a:r>
              <a:rPr lang="pt-BR" sz="700" b="0" i="0" dirty="0" err="1">
                <a:solidFill>
                  <a:srgbClr val="1D1D1D"/>
                </a:solidFill>
                <a:effectLst/>
                <a:latin typeface="Arial" panose="020B0604020202020204" pitchFamily="34" charset="0"/>
              </a:rPr>
              <a:t>part</a:t>
            </a:r>
            <a:r>
              <a:rPr lang="pt-BR" sz="700" b="0" i="0" dirty="0">
                <a:solidFill>
                  <a:srgbClr val="1D1D1D"/>
                </a:solidFill>
                <a:effectLst/>
                <a:latin typeface="Arial" panose="020B0604020202020204" pitchFamily="34" charset="0"/>
              </a:rPr>
              <a:t> I. Fundamentals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nate</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mmunity</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with</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emphasi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n</a:t>
            </a:r>
            <a:r>
              <a:rPr lang="pt-BR" sz="700" b="0" i="0" dirty="0">
                <a:solidFill>
                  <a:srgbClr val="1D1D1D"/>
                </a:solidFill>
                <a:effectLst/>
                <a:latin typeface="Arial" panose="020B0604020202020204" pitchFamily="34" charset="0"/>
              </a:rPr>
              <a:t> molecular </a:t>
            </a:r>
            <a:r>
              <a:rPr lang="pt-BR" sz="700" b="0" i="0" dirty="0" err="1">
                <a:solidFill>
                  <a:srgbClr val="1D1D1D"/>
                </a:solidFill>
                <a:effectLst/>
                <a:latin typeface="Arial" panose="020B0604020202020204" pitchFamily="34" charset="0"/>
              </a:rPr>
              <a:t>and</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cellular</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mechanism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of</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inflammatory</a:t>
            </a:r>
            <a:r>
              <a:rPr lang="pt-BR" sz="700" b="0" i="0" dirty="0">
                <a:solidFill>
                  <a:srgbClr val="1D1D1D"/>
                </a:solidFill>
                <a:effectLst/>
                <a:latin typeface="Arial" panose="020B0604020202020204" pitchFamily="34" charset="0"/>
              </a:rPr>
              <a:t> response. </a:t>
            </a:r>
            <a:r>
              <a:rPr lang="pt-BR" sz="700" b="0" i="0" dirty="0" err="1">
                <a:solidFill>
                  <a:srgbClr val="1D1D1D"/>
                </a:solidFill>
                <a:effectLst/>
                <a:latin typeface="Arial" panose="020B0604020202020204" pitchFamily="34" charset="0"/>
              </a:rPr>
              <a:t>Rev</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Bras</a:t>
            </a:r>
            <a:r>
              <a:rPr lang="pt-BR" sz="700" b="0" i="0" dirty="0">
                <a:solidFill>
                  <a:srgbClr val="1D1D1D"/>
                </a:solidFill>
                <a:effectLst/>
                <a:latin typeface="Arial" panose="020B0604020202020204" pitchFamily="34" charset="0"/>
              </a:rPr>
              <a:t> </a:t>
            </a:r>
            <a:r>
              <a:rPr lang="pt-BR" sz="700" b="0" i="0" dirty="0" err="1">
                <a:solidFill>
                  <a:srgbClr val="1D1D1D"/>
                </a:solidFill>
                <a:effectLst/>
                <a:latin typeface="Arial" panose="020B0604020202020204" pitchFamily="34" charset="0"/>
              </a:rPr>
              <a:t>Reumatol</a:t>
            </a:r>
            <a:r>
              <a:rPr lang="pt-BR" sz="700" b="0" i="0" dirty="0">
                <a:solidFill>
                  <a:srgbClr val="1D1D1D"/>
                </a:solidFill>
                <a:effectLst/>
                <a:latin typeface="Arial" panose="020B0604020202020204" pitchFamily="34" charset="0"/>
              </a:rPr>
              <a:t>. 2010 Jul-Aug;50(4):434-61.</a:t>
            </a:r>
          </a:p>
          <a:p>
            <a:pPr algn="l" fontAlgn="base"/>
            <a:r>
              <a:rPr lang="pt-BR" sz="700" b="0" i="0" dirty="0">
                <a:solidFill>
                  <a:srgbClr val="1D1D1D"/>
                </a:solidFill>
                <a:effectLst/>
                <a:latin typeface="Arial" panose="020B0604020202020204" pitchFamily="34" charset="0"/>
              </a:rPr>
              <a:t>Abbas AK, </a:t>
            </a:r>
            <a:r>
              <a:rPr lang="pt-BR" sz="700" b="0" i="0" dirty="0" err="1">
                <a:solidFill>
                  <a:srgbClr val="1D1D1D"/>
                </a:solidFill>
                <a:effectLst/>
                <a:latin typeface="Arial" panose="020B0604020202020204" pitchFamily="34" charset="0"/>
              </a:rPr>
              <a:t>Lichtman</a:t>
            </a:r>
            <a:r>
              <a:rPr lang="pt-BR" sz="700" b="0" i="0" dirty="0">
                <a:solidFill>
                  <a:srgbClr val="1D1D1D"/>
                </a:solidFill>
                <a:effectLst/>
                <a:latin typeface="Arial" panose="020B0604020202020204" pitchFamily="34" charset="0"/>
              </a:rPr>
              <a:t> A, </a:t>
            </a:r>
            <a:r>
              <a:rPr lang="pt-BR" sz="700" b="0" i="0" dirty="0" err="1">
                <a:solidFill>
                  <a:srgbClr val="1D1D1D"/>
                </a:solidFill>
                <a:effectLst/>
                <a:latin typeface="Arial" panose="020B0604020202020204" pitchFamily="34" charset="0"/>
              </a:rPr>
              <a:t>Pillai</a:t>
            </a:r>
            <a:r>
              <a:rPr lang="pt-BR" sz="700" b="0" i="0" dirty="0">
                <a:solidFill>
                  <a:srgbClr val="1D1D1D"/>
                </a:solidFill>
                <a:effectLst/>
                <a:latin typeface="Arial" panose="020B0604020202020204" pitchFamily="34" charset="0"/>
              </a:rPr>
              <a:t> S. Imunologia celular e molecular. 7. ed. Rio de Janeiro: Elsevier, 2012.</a:t>
            </a:r>
          </a:p>
        </p:txBody>
      </p:sp>
      <p:sp>
        <p:nvSpPr>
          <p:cNvPr id="3" name="CaixaDeTexto 2">
            <a:extLst>
              <a:ext uri="{FF2B5EF4-FFF2-40B4-BE49-F238E27FC236}">
                <a16:creationId xmlns:a16="http://schemas.microsoft.com/office/drawing/2014/main" id="{2B00929B-D197-395B-232A-123D0217CD48}"/>
              </a:ext>
            </a:extLst>
          </p:cNvPr>
          <p:cNvSpPr txBox="1"/>
          <p:nvPr/>
        </p:nvSpPr>
        <p:spPr>
          <a:xfrm>
            <a:off x="296268" y="385036"/>
            <a:ext cx="12276732" cy="584775"/>
          </a:xfrm>
          <a:prstGeom prst="rect">
            <a:avLst/>
          </a:prstGeom>
          <a:noFill/>
        </p:spPr>
        <p:txBody>
          <a:bodyPr wrap="square" rtlCol="0">
            <a:spAutoFit/>
          </a:bodyPr>
          <a:lstStyle/>
          <a:p>
            <a:pPr lvl="0">
              <a:lnSpc>
                <a:spcPct val="80000"/>
              </a:lnSpc>
              <a:defRPr/>
            </a:pPr>
            <a:r>
              <a:rPr lang="pt-BR" sz="4000" b="1" dirty="0">
                <a:gradFill>
                  <a:gsLst>
                    <a:gs pos="0">
                      <a:schemeClr val="accent1"/>
                    </a:gs>
                    <a:gs pos="100000">
                      <a:schemeClr val="bg2"/>
                    </a:gs>
                  </a:gsLst>
                  <a:lin ang="2700000" scaled="0"/>
                </a:gradFill>
                <a:latin typeface="Calisto MT"/>
              </a:rPr>
              <a:t>Imunidade inata</a:t>
            </a:r>
            <a:endParaRPr lang="pt-BR" sz="4000" b="1" baseline="30000" dirty="0">
              <a:gradFill>
                <a:gsLst>
                  <a:gs pos="0">
                    <a:schemeClr val="accent1"/>
                  </a:gs>
                  <a:gs pos="100000">
                    <a:schemeClr val="bg2"/>
                  </a:gs>
                </a:gsLst>
                <a:lin ang="2700000" scaled="0"/>
              </a:gradFill>
              <a:latin typeface="Calisto MT"/>
            </a:endParaRPr>
          </a:p>
        </p:txBody>
      </p:sp>
      <p:sp>
        <p:nvSpPr>
          <p:cNvPr id="10" name="Retângulo: Cantos Arredondados 9">
            <a:extLst>
              <a:ext uri="{FF2B5EF4-FFF2-40B4-BE49-F238E27FC236}">
                <a16:creationId xmlns:a16="http://schemas.microsoft.com/office/drawing/2014/main" id="{10E2FAAF-4E60-665A-1022-4A067926AB92}"/>
              </a:ext>
            </a:extLst>
          </p:cNvPr>
          <p:cNvSpPr/>
          <p:nvPr/>
        </p:nvSpPr>
        <p:spPr>
          <a:xfrm>
            <a:off x="6210300" y="2766960"/>
            <a:ext cx="5359400" cy="3088336"/>
          </a:xfrm>
          <a:prstGeom prst="roundRect">
            <a:avLst>
              <a:gd name="adj" fmla="val 0"/>
            </a:avLst>
          </a:prstGeom>
          <a:gradFill flip="none" rotWithShape="1">
            <a:gsLst>
              <a:gs pos="37000">
                <a:schemeClr val="bg1">
                  <a:lumMod val="97000"/>
                </a:schemeClr>
              </a:gs>
              <a:gs pos="0">
                <a:srgbClr val="CD99B9">
                  <a:lumMod val="27000"/>
                  <a:lumOff val="73000"/>
                </a:srgbClr>
              </a:gs>
              <a:gs pos="99000">
                <a:schemeClr val="bg1">
                  <a:alpha val="78000"/>
                </a:schemeClr>
              </a:gs>
            </a:gsLst>
            <a:lin ang="17400000" scaled="0"/>
            <a:tileRect/>
          </a:gradFill>
          <a:ln w="12700">
            <a:gradFill>
              <a:gsLst>
                <a:gs pos="28000">
                  <a:srgbClr val="FAFCFE">
                    <a:alpha val="0"/>
                  </a:srgbClr>
                </a:gs>
                <a:gs pos="0">
                  <a:schemeClr val="accent1">
                    <a:alpha val="40000"/>
                  </a:schemeClr>
                </a:gs>
                <a:gs pos="100000">
                  <a:schemeClr val="accent1">
                    <a:alpha val="58000"/>
                  </a:schemeClr>
                </a:gs>
              </a:gsLst>
              <a:lin ang="7800000" scaled="0"/>
            </a:grad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0"/>
              </a:spcAft>
              <a:buClr>
                <a:srgbClr val="000000"/>
              </a:buClr>
              <a:buSzTx/>
              <a:buFontTx/>
              <a:buNone/>
              <a:tabLst/>
              <a:defRPr/>
            </a:pPr>
            <a:endParaRPr kumimoji="0" lang="pt-BR" sz="1400" b="0" i="0" u="none" strike="noStrike" kern="0" cap="none" spc="0" normalizeH="0" baseline="0" noProof="0" dirty="0">
              <a:ln>
                <a:noFill/>
              </a:ln>
              <a:solidFill>
                <a:srgbClr val="000000"/>
              </a:solidFill>
              <a:effectLst/>
              <a:uLnTx/>
              <a:uFillTx/>
              <a:latin typeface="Leelawadee UI Semilight" panose="020B0402040204020203" pitchFamily="34" charset="-34"/>
              <a:ea typeface="+mn-ea"/>
              <a:cs typeface="Leelawadee UI Semilight" panose="020B0402040204020203" pitchFamily="34" charset="-34"/>
            </a:endParaRPr>
          </a:p>
        </p:txBody>
      </p:sp>
      <p:sp>
        <p:nvSpPr>
          <p:cNvPr id="19" name="Rectangle 4">
            <a:extLst>
              <a:ext uri="{FF2B5EF4-FFF2-40B4-BE49-F238E27FC236}">
                <a16:creationId xmlns:a16="http://schemas.microsoft.com/office/drawing/2014/main" id="{A5BBCBF3-D080-0366-4A77-2DC5C32B76CD}"/>
              </a:ext>
            </a:extLst>
          </p:cNvPr>
          <p:cNvSpPr>
            <a:spLocks noChangeArrowheads="1"/>
          </p:cNvSpPr>
          <p:nvPr/>
        </p:nvSpPr>
        <p:spPr bwMode="auto">
          <a:xfrm>
            <a:off x="6527800" y="3306747"/>
            <a:ext cx="4648200" cy="2400657"/>
          </a:xfrm>
          <a:prstGeom prst="rect">
            <a:avLst/>
          </a:prstGeom>
          <a:noFill/>
          <a:ln w="9525">
            <a:noFill/>
            <a:miter lim="800000"/>
            <a:headEnd/>
            <a:tailEnd/>
          </a:ln>
        </p:spPr>
        <p:txBody>
          <a:bodyPr wrap="square" lIns="0" tIns="0" rIns="0" bIns="0">
            <a:spAutoFit/>
          </a:bodyPr>
          <a:lstStyle/>
          <a:p>
            <a:pPr lvl="1">
              <a:spcBef>
                <a:spcPts val="1200"/>
              </a:spcBef>
              <a:buClr>
                <a:srgbClr val="D0006F">
                  <a:lumMod val="75000"/>
                </a:srgbClr>
              </a:buClr>
              <a:buSzPct val="80000"/>
              <a:defRPr/>
            </a:pPr>
            <a:r>
              <a:rPr lang="pt-BR" b="1" dirty="0">
                <a:solidFill>
                  <a:srgbClr val="3F4444"/>
                </a:solidFill>
                <a:cs typeface="Arial" pitchFamily="34" charset="0"/>
              </a:rPr>
              <a:t>Primeira linha de defesa </a:t>
            </a:r>
            <a:r>
              <a:rPr lang="pt-BR" dirty="0">
                <a:solidFill>
                  <a:srgbClr val="3F4444"/>
                </a:solidFill>
                <a:cs typeface="Arial" pitchFamily="34" charset="0"/>
              </a:rPr>
              <a:t>do organismo</a:t>
            </a:r>
          </a:p>
          <a:p>
            <a:pPr lvl="1">
              <a:spcBef>
                <a:spcPts val="1200"/>
              </a:spcBef>
              <a:buClr>
                <a:srgbClr val="D0006F">
                  <a:lumMod val="75000"/>
                </a:srgbClr>
              </a:buClr>
              <a:buSzPct val="80000"/>
              <a:defRPr/>
            </a:pPr>
            <a:r>
              <a:rPr lang="pt-BR" b="1" dirty="0">
                <a:solidFill>
                  <a:srgbClr val="3F4444"/>
                </a:solidFill>
                <a:cs typeface="Arial" pitchFamily="34" charset="0"/>
              </a:rPr>
              <a:t>Resposta rápida e estereotipada</a:t>
            </a:r>
            <a:r>
              <a:rPr lang="pt-BR" dirty="0">
                <a:solidFill>
                  <a:srgbClr val="3F4444"/>
                </a:solidFill>
                <a:cs typeface="Arial" pitchFamily="34" charset="0"/>
              </a:rPr>
              <a:t>, independente de estímulo prévio</a:t>
            </a:r>
          </a:p>
          <a:p>
            <a:pPr lvl="1">
              <a:spcBef>
                <a:spcPts val="1200"/>
              </a:spcBef>
              <a:buClr>
                <a:srgbClr val="D0006F">
                  <a:lumMod val="75000"/>
                </a:srgbClr>
              </a:buClr>
              <a:buSzPct val="80000"/>
              <a:defRPr/>
            </a:pPr>
            <a:r>
              <a:rPr lang="pt-BR" b="1" dirty="0">
                <a:solidFill>
                  <a:srgbClr val="3F4444"/>
                </a:solidFill>
                <a:cs typeface="Arial" pitchFamily="34" charset="0"/>
              </a:rPr>
              <a:t>Não se altera </a:t>
            </a:r>
            <a:r>
              <a:rPr lang="pt-BR" dirty="0">
                <a:solidFill>
                  <a:srgbClr val="3F4444"/>
                </a:solidFill>
                <a:cs typeface="Arial" pitchFamily="34" charset="0"/>
              </a:rPr>
              <a:t>qualitativa ou quantitativamente após o contato</a:t>
            </a:r>
          </a:p>
          <a:p>
            <a:pPr lvl="1">
              <a:spcBef>
                <a:spcPts val="1200"/>
              </a:spcBef>
              <a:buClr>
                <a:srgbClr val="D0006F">
                  <a:lumMod val="75000"/>
                </a:srgbClr>
              </a:buClr>
              <a:buSzPct val="80000"/>
              <a:defRPr/>
            </a:pPr>
            <a:r>
              <a:rPr lang="pt-BR" dirty="0">
                <a:solidFill>
                  <a:srgbClr val="3F4444"/>
                </a:solidFill>
                <a:cs typeface="Arial" pitchFamily="34" charset="0"/>
              </a:rPr>
              <a:t>Contempla um </a:t>
            </a:r>
            <a:r>
              <a:rPr lang="pt-BR" b="1" dirty="0">
                <a:solidFill>
                  <a:srgbClr val="3F4444"/>
                </a:solidFill>
                <a:cs typeface="Arial" pitchFamily="34" charset="0"/>
              </a:rPr>
              <a:t>número grande, porém limitado de estímulos/imunógenos</a:t>
            </a:r>
          </a:p>
        </p:txBody>
      </p:sp>
      <p:pic>
        <p:nvPicPr>
          <p:cNvPr id="9" name="Imagem 8" descr="Foto em preto e branco de homem com arma de fogo&#10;&#10;Descrição gerada automaticamente com confiança baixa">
            <a:extLst>
              <a:ext uri="{FF2B5EF4-FFF2-40B4-BE49-F238E27FC236}">
                <a16:creationId xmlns:a16="http://schemas.microsoft.com/office/drawing/2014/main" id="{66FC06DB-F96A-7D05-650C-786C3DFFF95C}"/>
              </a:ext>
            </a:extLst>
          </p:cNvPr>
          <p:cNvPicPr>
            <a:picLocks noChangeAspect="1"/>
          </p:cNvPicPr>
          <p:nvPr/>
        </p:nvPicPr>
        <p:blipFill>
          <a:blip r:embed="rId3">
            <a:extLst>
              <a:ext uri="{28A0092B-C50C-407E-A947-70E740481C1C}">
                <a14:useLocalDpi xmlns:a14="http://schemas.microsoft.com/office/drawing/2010/main" val="0"/>
              </a:ext>
            </a:extLst>
          </a:blip>
          <a:srcRect l="6274" t="516" r="6253" b="470"/>
          <a:stretch/>
        </p:blipFill>
        <p:spPr>
          <a:xfrm>
            <a:off x="587520" y="1650627"/>
            <a:ext cx="5984579" cy="3796682"/>
          </a:xfrm>
          <a:prstGeom prst="rect">
            <a:avLst/>
          </a:prstGeom>
        </p:spPr>
      </p:pic>
      <p:sp>
        <p:nvSpPr>
          <p:cNvPr id="5" name="Retângulo: Cantos Arredondados 4">
            <a:extLst>
              <a:ext uri="{FF2B5EF4-FFF2-40B4-BE49-F238E27FC236}">
                <a16:creationId xmlns:a16="http://schemas.microsoft.com/office/drawing/2014/main" id="{52A6B47C-0F30-C795-595E-98DFB6B17E18}"/>
              </a:ext>
            </a:extLst>
          </p:cNvPr>
          <p:cNvSpPr/>
          <p:nvPr/>
        </p:nvSpPr>
        <p:spPr>
          <a:xfrm>
            <a:off x="5593781" y="2068622"/>
            <a:ext cx="3886768" cy="940125"/>
          </a:xfrm>
          <a:prstGeom prst="roundRect">
            <a:avLst>
              <a:gd name="adj" fmla="val 0"/>
            </a:avLst>
          </a:prstGeom>
          <a:gradFill>
            <a:gsLst>
              <a:gs pos="0">
                <a:schemeClr val="accent1"/>
              </a:gs>
              <a:gs pos="100000">
                <a:schemeClr val="bg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2000" b="1" dirty="0">
              <a:latin typeface="+mj-lt"/>
            </a:endParaRPr>
          </a:p>
        </p:txBody>
      </p:sp>
      <p:sp>
        <p:nvSpPr>
          <p:cNvPr id="27" name="CaixaDeTexto 26">
            <a:extLst>
              <a:ext uri="{FF2B5EF4-FFF2-40B4-BE49-F238E27FC236}">
                <a16:creationId xmlns:a16="http://schemas.microsoft.com/office/drawing/2014/main" id="{2821E0BC-9312-764E-C874-E0FD40D99F9B}"/>
              </a:ext>
            </a:extLst>
          </p:cNvPr>
          <p:cNvSpPr txBox="1"/>
          <p:nvPr/>
        </p:nvSpPr>
        <p:spPr>
          <a:xfrm>
            <a:off x="5838176" y="2338629"/>
            <a:ext cx="3397977" cy="400110"/>
          </a:xfrm>
          <a:prstGeom prst="rect">
            <a:avLst/>
          </a:prstGeom>
          <a:noFill/>
        </p:spPr>
        <p:txBody>
          <a:bodyPr wrap="square">
            <a:spAutoFit/>
          </a:bodyPr>
          <a:lstStyle/>
          <a:p>
            <a:pPr lvl="0" algn="r"/>
            <a:r>
              <a:rPr lang="pt-BR" sz="2000" b="1" dirty="0">
                <a:solidFill>
                  <a:schemeClr val="bg1"/>
                </a:solidFill>
                <a:latin typeface="+mj-lt"/>
              </a:rPr>
              <a:t>SISTEMA IMUNE INATO</a:t>
            </a:r>
          </a:p>
        </p:txBody>
      </p:sp>
      <p:cxnSp>
        <p:nvCxnSpPr>
          <p:cNvPr id="12" name="Conector reto 11">
            <a:extLst>
              <a:ext uri="{FF2B5EF4-FFF2-40B4-BE49-F238E27FC236}">
                <a16:creationId xmlns:a16="http://schemas.microsoft.com/office/drawing/2014/main" id="{AFB99E03-A56B-5C14-2237-F1A5399FA114}"/>
              </a:ext>
            </a:extLst>
          </p:cNvPr>
          <p:cNvCxnSpPr/>
          <p:nvPr/>
        </p:nvCxnSpPr>
        <p:spPr>
          <a:xfrm>
            <a:off x="6985000" y="3662703"/>
            <a:ext cx="4191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Conector reto 13">
            <a:extLst>
              <a:ext uri="{FF2B5EF4-FFF2-40B4-BE49-F238E27FC236}">
                <a16:creationId xmlns:a16="http://schemas.microsoft.com/office/drawing/2014/main" id="{DF23610A-16ED-0EA8-30D2-7388917DB899}"/>
              </a:ext>
            </a:extLst>
          </p:cNvPr>
          <p:cNvCxnSpPr/>
          <p:nvPr/>
        </p:nvCxnSpPr>
        <p:spPr>
          <a:xfrm>
            <a:off x="6985000" y="4373903"/>
            <a:ext cx="4191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ector reto 14">
            <a:extLst>
              <a:ext uri="{FF2B5EF4-FFF2-40B4-BE49-F238E27FC236}">
                <a16:creationId xmlns:a16="http://schemas.microsoft.com/office/drawing/2014/main" id="{05F1EA51-EEA0-D8E7-BCB8-525BBD577B5F}"/>
              </a:ext>
            </a:extLst>
          </p:cNvPr>
          <p:cNvCxnSpPr/>
          <p:nvPr/>
        </p:nvCxnSpPr>
        <p:spPr>
          <a:xfrm>
            <a:off x="6985000" y="5072403"/>
            <a:ext cx="4191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CaixaDeTexto 3">
            <a:extLst>
              <a:ext uri="{FF2B5EF4-FFF2-40B4-BE49-F238E27FC236}">
                <a16:creationId xmlns:a16="http://schemas.microsoft.com/office/drawing/2014/main" id="{B1D3B3D3-8990-78A8-F2D5-475D8CA5B272}"/>
              </a:ext>
            </a:extLst>
          </p:cNvPr>
          <p:cNvSpPr txBox="1"/>
          <p:nvPr/>
        </p:nvSpPr>
        <p:spPr>
          <a:xfrm>
            <a:off x="296269" y="792070"/>
            <a:ext cx="3730188" cy="523220"/>
          </a:xfrm>
          <a:prstGeom prst="rect">
            <a:avLst/>
          </a:prstGeom>
          <a:noFill/>
        </p:spPr>
        <p:txBody>
          <a:bodyPr wrap="none" rtlCol="0">
            <a:spAutoFit/>
          </a:bodyPr>
          <a:lstStyle>
            <a:defPPr>
              <a:defRPr lang="en-US"/>
            </a:defPPr>
            <a:lvl1pPr>
              <a:spcAft>
                <a:spcPts val="600"/>
              </a:spcAft>
              <a:defRPr>
                <a:solidFill>
                  <a:schemeClr val="tx2"/>
                </a:solidFill>
              </a:defRPr>
            </a:lvl1pPr>
          </a:lstStyle>
          <a:p>
            <a:pPr lvl="0">
              <a:defRPr/>
            </a:pPr>
            <a:r>
              <a:rPr lang="en-US" sz="2800" dirty="0" err="1">
                <a:solidFill>
                  <a:srgbClr val="003865"/>
                </a:solidFill>
              </a:rPr>
              <a:t>Principais</a:t>
            </a:r>
            <a:r>
              <a:rPr lang="en-US" sz="2800" dirty="0">
                <a:solidFill>
                  <a:srgbClr val="003865"/>
                </a:solidFill>
              </a:rPr>
              <a:t> </a:t>
            </a:r>
            <a:r>
              <a:rPr lang="en-US" sz="2800" dirty="0" err="1">
                <a:solidFill>
                  <a:srgbClr val="003865"/>
                </a:solidFill>
              </a:rPr>
              <a:t>características</a:t>
            </a:r>
            <a:endParaRPr lang="en-US" sz="2800" dirty="0">
              <a:solidFill>
                <a:srgbClr val="003865"/>
              </a:solidFill>
            </a:endParaRPr>
          </a:p>
        </p:txBody>
      </p:sp>
    </p:spTree>
    <p:extLst>
      <p:ext uri="{BB962C8B-B14F-4D97-AF65-F5344CB8AC3E}">
        <p14:creationId xmlns:p14="http://schemas.microsoft.com/office/powerpoint/2010/main" val="281958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8" accel="42000" decel="5800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1000" fill="hold"/>
                                        <p:tgtEl>
                                          <p:spTgt spid="5"/>
                                        </p:tgtEl>
                                        <p:attrNameLst>
                                          <p:attrName>ppt_x</p:attrName>
                                        </p:attrNameLst>
                                      </p:cBhvr>
                                      <p:tavLst>
                                        <p:tav tm="0">
                                          <p:val>
                                            <p:strVal val="0-#ppt_w/2"/>
                                          </p:val>
                                        </p:tav>
                                        <p:tav tm="100000">
                                          <p:val>
                                            <p:strVal val="#ppt_x"/>
                                          </p:val>
                                        </p:tav>
                                      </p:tavLst>
                                    </p:anim>
                                    <p:anim calcmode="lin" valueType="num">
                                      <p:cBhvr additive="base">
                                        <p:cTn id="11" dur="1000" fill="hold"/>
                                        <p:tgtEl>
                                          <p:spTgt spid="5"/>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22" presetClass="entr" presetSubtype="8" fill="hold" nodeType="withEffect">
                                  <p:stCondLst>
                                    <p:cond delay="750"/>
                                  </p:stCondLst>
                                  <p:childTnLst>
                                    <p:set>
                                      <p:cBhvr>
                                        <p:cTn id="22" dur="1" fill="hold">
                                          <p:stCondLst>
                                            <p:cond delay="0"/>
                                          </p:stCondLst>
                                        </p:cTn>
                                        <p:tgtEl>
                                          <p:spTgt spid="12"/>
                                        </p:tgtEl>
                                        <p:attrNameLst>
                                          <p:attrName>style.visibility</p:attrName>
                                        </p:attrNameLst>
                                      </p:cBhvr>
                                      <p:to>
                                        <p:strVal val="visible"/>
                                      </p:to>
                                    </p:set>
                                    <p:animEffect transition="in" filter="wipe(left)">
                                      <p:cBhvr>
                                        <p:cTn id="23" dur="500"/>
                                        <p:tgtEl>
                                          <p:spTgt spid="12"/>
                                        </p:tgtEl>
                                      </p:cBhvr>
                                    </p:animEffect>
                                  </p:childTnLst>
                                </p:cTn>
                              </p:par>
                              <p:par>
                                <p:cTn id="24" presetID="22" presetClass="entr" presetSubtype="8" fill="hold"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500"/>
                                        <p:tgtEl>
                                          <p:spTgt spid="14"/>
                                        </p:tgtEl>
                                      </p:cBhvr>
                                    </p:animEffect>
                                  </p:childTnLst>
                                </p:cTn>
                              </p:par>
                              <p:par>
                                <p:cTn id="27" presetID="22" presetClass="entr" presetSubtype="8" fill="hold" nodeType="withEffect">
                                  <p:stCondLst>
                                    <p:cond delay="75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9" grpId="0"/>
      <p:bldP spid="5" grpId="0" animBg="1"/>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ASTRAZENECA STANDARD TEMPLATE" val="EvVFCk6W"/>
  <p:tag name="ARTICULATE_DESIGN_ID_1_ASTRAZENECA STANDARD TEMPLATE" val="kGJp0GDe"/>
  <p:tag name="ARTICULATE_DESIGN_ID_ALTERNATIVE LAYOUTS" val="Bt42LpTg"/>
  <p:tag name="ARTICULATE_DESIGN_ID_1_ALTERNATIVE LAYOUTS" val="Pu40bbUa"/>
  <p:tag name="ARTICULATE_DESIGN_ID_AGENDAS" val="ut6QGGsg"/>
  <p:tag name="ARTICULATE_DESIGN_ID_1_AGENDAS" val="zZqOLfMe"/>
  <p:tag name="ARTICULATE_DESIGN_ID_KEY MESSAGE LAYOUTS" val="EG1WQXxn"/>
  <p:tag name="ARTICULATE_DESIGN_ID_LISTS" val="M0QWvWS1"/>
  <p:tag name="ARTICULATE_DESIGN_ID_1_KEY MESSAGE LAYOUTS" val="ks627C6Q"/>
  <p:tag name="ARTICULATE_DESIGN_ID_DIAGRAMS" val="EHtI07Fq"/>
  <p:tag name="ARTICULATE_DESIGN_ID_ALTERNATIVE CONTENT LAYOUTS" val="ywJnDDcd"/>
  <p:tag name="ARTICULATE_DESIGN_ID_PERSONNEL" val="nHHLeDJ2"/>
  <p:tag name="ARTICULATE_DESIGN_ID_STAFF AND ORGANISATIONS" val="fzkdDkSo"/>
  <p:tag name="ARTICULATE_DESIGN_ID_1_ALTERNATIVE CONTENT LAYOUTS" val="iY0BipYY"/>
  <p:tag name="ARTICULATE_DESIGN_ID_1_LISTS" val="vezrIkHU"/>
  <p:tag name="ARTICULATE_DESIGN_ID_1_STAFF AND ORGANISATIONS" val="gu0rVs6s"/>
  <p:tag name="BRANDIN_CONFIG" val="CONFIG.INI"/>
  <p:tag name="BRANDIN_CHARTS" val="PROCESS CHARTS"/>
  <p:tag name="BRANDIN_RULES" val="RUN RULES"/>
  <p:tag name="ARTICULATE_DESIGN_ID_LOGO HOLDERS" val="frTQuPG5"/>
  <p:tag name="ARTICULATE_DESIGN_ID_SPEAKERS" val="lTM5UYkU"/>
  <p:tag name="ARTICULATE_DESIGN_ID_TEXT LAYOUTS" val="4lYw8SxY"/>
  <p:tag name="ARTICULATE_DESIGN_ID_KEY STATEMENTS" val="PiA9xBfC"/>
  <p:tag name="ARTICULATE_DESIGN_ID_TEXT WITH IMAGE" val="bQgCS8wS"/>
  <p:tag name="ARTICULATE_DESIGN_ID_TEXT WITH IMAGE LAYOUTS" val="4MQoe47W"/>
  <p:tag name="ARTICULATE_SLIDE_THUMBNAIL_REFRESH" val="1"/>
  <p:tag name="BRANDIN_SMARTPASTE" val="ACTIVE"/>
  <p:tag name="ARTICULATE_PROJECT_OPEN" val="0"/>
  <p:tag name="ARTICULATE_SLIDE_COUNT" val="8"/>
  <p:tag name="FILLLINECOLOR14" val="14668392"/>
  <p:tag name="FILLLINECOLOR15" val="14408664"/>
  <p:tag name="FILLLINECOLOR16" val="11974320"/>
  <p:tag name="FILLLINECOLOR17" val="8355711"/>
  <p:tag name="FILLLINECOLOR18" val="4473919"/>
  <p:tag name="FILLLINECOLOR19" val="0"/>
  <p:tag name="FONTCOLORNUMBER1" val="1"/>
  <p:tag name="FONTCOLORNUMBER2" val="7"/>
  <p:tag name="FONTCOLORNUMBER3" val="14"/>
  <p:tag name="FONTCOLORNUMBER4" val="22"/>
  <p:tag name="FONTCOLORNUMBER5" val="18"/>
  <p:tag name="FONTCOLORNUMBER6" val="20"/>
  <p:tag name="FONTCOLOR1" val="5308547"/>
  <p:tag name="FONTCOLOR2" val="6633472"/>
  <p:tag name="FONTCOLOR3" val="14668392"/>
  <p:tag name="FONTCOLOR4" val="54980"/>
  <p:tag name="FONTCOLOR5" val="4473919"/>
  <p:tag name="FILLLINECOLOR1" val="5308547"/>
  <p:tag name="FONTCOLOR6" val="16777215"/>
  <p:tag name="FILLLINECOLOR2" val="14857215"/>
  <p:tag name="FILLLINECOLOR3" val="12937215"/>
  <p:tag name="FILLLINECOLOR20" val="16777215"/>
  <p:tag name="FILLLINECOLOR4" val="11017471"/>
  <p:tag name="FILLLINECOLOR22" val="54980"/>
  <p:tag name="FILLLINECOLOR5" val="7274704"/>
  <p:tag name="FILLLINECOLOR23" val="894711"/>
  <p:tag name="FILLLINECOLOR6" val="2621506"/>
  <p:tag name="FILLLINECOLOR7" val="6633472"/>
  <p:tag name="FILLLINECOLOR24" val="255"/>
  <p:tag name="FILLLINECOLOR8" val="16772566"/>
  <p:tag name="FILLLINECOLOR9" val="16765337"/>
  <p:tag name="FILLLINECOLOR10" val="16753714"/>
  <p:tag name="FILLLINECOLOR11" val="13332736"/>
  <p:tag name="FILLLINECOLOR12" val="9326336"/>
  <p:tag name="FILLLINECOLOR13" val="5443644"/>
  <p:tag name="THINKCELLPRESENTATIONDONOTDELETE" val="&lt;?xml version=&quot;1.0&quot; encoding=&quot;UTF-16&quot; standalone=&quot;yes&quot;?&gt;&lt;root reqver=&quot;28224&quot;&gt;&lt;version val=&quot;35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6D&quot; g=&quot;00&quot; b=&quot;42&quot;/&gt;&lt;/elem&gt;&lt;elem m_fUsage=&quot;9.00000000000000022204E-01&quot;&gt;&lt;m_msothmcolidx val=&quot;0&quot;/&gt;&lt;m_rgb r=&quot;DF&quot; g=&quot;C4&quot; b=&quot;0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straZeneca Standard Template">
  <a:themeElements>
    <a:clrScheme name="Personalizada 11">
      <a:dk1>
        <a:srgbClr val="3F4444"/>
      </a:dk1>
      <a:lt1>
        <a:srgbClr val="FFFFFF"/>
      </a:lt1>
      <a:dk2>
        <a:srgbClr val="003865"/>
      </a:dk2>
      <a:lt2>
        <a:srgbClr val="C00000"/>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ASTR 3935 - Template &amp; Model Slides 23.pptx" id="{22B86E55-C032-42C3-8061-2F31D54720C6}" vid="{6516CE45-8DC2-4217-AF12-CBB12D17AA9D}"/>
    </a:ext>
  </a:extLst>
</a:theme>
</file>

<file path=ppt/theme/theme2.xml><?xml version="1.0" encoding="utf-8"?>
<a:theme xmlns:a="http://schemas.openxmlformats.org/drawingml/2006/main" name="1_AstraZeneca Standard Template">
  <a:themeElements>
    <a:clrScheme name="Personalizada 12">
      <a:dk1>
        <a:srgbClr val="3F4444"/>
      </a:dk1>
      <a:lt1>
        <a:srgbClr val="FFFFFF"/>
      </a:lt1>
      <a:dk2>
        <a:srgbClr val="003865"/>
      </a:dk2>
      <a:lt2>
        <a:srgbClr val="F0AB00"/>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ASTR 3935 - Template &amp; Model Slides 23.pptx" id="{22B86E55-C032-42C3-8061-2F31D54720C6}" vid="{6516CE45-8DC2-4217-AF12-CBB12D17AA9D}"/>
    </a:ext>
  </a:extLst>
</a:theme>
</file>

<file path=ppt/theme/theme3.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BrandIn lastLayout="1"/>
</file>

<file path=customXml/item3.xml><?xml version="1.0" encoding="utf-8"?>
<p:properties xmlns:p="http://schemas.microsoft.com/office/2006/metadata/properties" xmlns:xsi="http://www.w3.org/2001/XMLSchema-instance" xmlns:pc="http://schemas.microsoft.com/office/infopath/2007/PartnerControls">
  <documentManagement>
    <Keyword xmlns="44a56295-c29e-4898-8136-a54736c65b82" xsi:nil="true"/>
    <Descriptions xmlns="44a56295-c29e-4898-8136-a54736c65b82" xsi:nil="true"/>
    <lcf76f155ced4ddcb4097134ff3c332f xmlns="9f0650da-1689-42f9-955b-5d66ff09d095">
      <Terms xmlns="http://schemas.microsoft.com/office/infopath/2007/PartnerControls"/>
    </lcf76f155ced4ddcb4097134ff3c332f>
    <TaxCatchAll xmlns="06a172d2-f187-4373-961d-52c375e8a30c" xsi:nil="true"/>
    <SharedWithUsers xmlns="06a172d2-f187-4373-961d-52c375e8a30c">
      <UserInfo>
        <DisplayName>SharingLinks.ad473798-6261-4322-b9cb-6ad322d7376c.Flexible.acff74df-5a60-47d1-81c2-d9b2a90fed7d</DisplayName>
        <AccountId>28</AccountId>
        <AccountType/>
      </UserInfo>
      <UserInfo>
        <DisplayName>Beneduzzi, Daiane</DisplayName>
        <AccountId>26</AccountId>
        <AccountType/>
      </UserInfo>
      <UserInfo>
        <DisplayName>Mendes, Debora</DisplayName>
        <AccountId>16</AccountId>
        <AccountType/>
      </UserInfo>
      <UserInfo>
        <DisplayName>Morita, Priscila</DisplayName>
        <AccountId>9</AccountId>
        <AccountType/>
      </UserInfo>
      <UserInfo>
        <DisplayName>Shoshima, Andre</DisplayName>
        <AccountId>21</AccountId>
        <AccountType/>
      </UserInfo>
      <UserInfo>
        <DisplayName>Sampaio, Maristela</DisplayName>
        <AccountId>31</AccountId>
        <AccountType/>
      </UserInfo>
    </SharedWithUsers>
  </documentManagement>
</p:properties>
</file>

<file path=customXml/item4.xml><?xml version="1.0" encoding="utf-8"?>
<?mso-contentType ?>
<SharedContentType xmlns="Microsoft.SharePoint.Taxonomy.ContentTypeSync" SourceId="1ee89e71-04cd-405e-9ca3-99e020c1694d" ContentTypeId="0x0101" PreviousValue="false"/>
</file>

<file path=customXml/item5.xml><?xml version="1.0" encoding="utf-8"?>
<BrandIn lastLayout="1"/>
</file>

<file path=customXml/item6.xml><?xml version="1.0" encoding="utf-8"?>
<ct:contentTypeSchema xmlns:ct="http://schemas.microsoft.com/office/2006/metadata/contentType" xmlns:ma="http://schemas.microsoft.com/office/2006/metadata/properties/metaAttributes" ct:_="" ma:_="" ma:contentTypeName="Document" ma:contentTypeID="0x0101006836974A97E31E44851B30FE70CBDAF5" ma:contentTypeVersion="15" ma:contentTypeDescription="Create a new document." ma:contentTypeScope="" ma:versionID="633d000551287c49e443f3b3f37eb982">
  <xsd:schema xmlns:xsd="http://www.w3.org/2001/XMLSchema" xmlns:xs="http://www.w3.org/2001/XMLSchema" xmlns:p="http://schemas.microsoft.com/office/2006/metadata/properties" xmlns:ns2="44a56295-c29e-4898-8136-a54736c65b82" xmlns:ns3="9f0650da-1689-42f9-955b-5d66ff09d095" xmlns:ns4="06a172d2-f187-4373-961d-52c375e8a30c" targetNamespace="http://schemas.microsoft.com/office/2006/metadata/properties" ma:root="true" ma:fieldsID="b345b965cc6dbeb6062956b6c5b7b8b6" ns2:_="" ns3:_="" ns4:_="">
    <xsd:import namespace="44a56295-c29e-4898-8136-a54736c65b82"/>
    <xsd:import namespace="9f0650da-1689-42f9-955b-5d66ff09d095"/>
    <xsd:import namespace="06a172d2-f187-4373-961d-52c375e8a30c"/>
    <xsd:element name="properties">
      <xsd:complexType>
        <xsd:sequence>
          <xsd:element name="documentManagement">
            <xsd:complexType>
              <xsd:all>
                <xsd:element ref="ns2:Descriptions" minOccurs="0"/>
                <xsd:element ref="ns2:Keyword" minOccurs="0"/>
                <xsd:element ref="ns3:MediaServiceMetadata" minOccurs="0"/>
                <xsd:element ref="ns3:MediaServiceFastMetadata" minOccurs="0"/>
                <xsd:element ref="ns3:lcf76f155ced4ddcb4097134ff3c332f" minOccurs="0"/>
                <xsd:element ref="ns4:TaxCatchAll" minOccurs="0"/>
                <xsd:element ref="ns3:MediaServiceObjectDetectorVersions" minOccurs="0"/>
                <xsd:element ref="ns3:MediaServiceOCR" minOccurs="0"/>
                <xsd:element ref="ns3:MediaServiceGenerationTime" minOccurs="0"/>
                <xsd:element ref="ns3:MediaServiceEventHashCode" minOccurs="0"/>
                <xsd:element ref="ns4:SharedWithUsers" minOccurs="0"/>
                <xsd:element ref="ns4:SharedWithDetails"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a56295-c29e-4898-8136-a54736c65b82" elementFormDefault="qualified">
    <xsd:import namespace="http://schemas.microsoft.com/office/2006/documentManagement/types"/>
    <xsd:import namespace="http://schemas.microsoft.com/office/infopath/2007/PartnerControls"/>
    <xsd:element name="Descriptions" ma:index="8" nillable="true" ma:displayName="Descriptions" ma:description="Describe your document to make it appear at the top of search results" ma:internalName="Descriptions">
      <xsd:simpleType>
        <xsd:restriction base="dms:Note">
          <xsd:maxLength value="255"/>
        </xsd:restriction>
      </xsd:simpleType>
    </xsd:element>
    <xsd:element name="Keyword" ma:index="9" nillable="true" ma:displayName="Keyword" ma:description="Enter list of terms separated by semi-colon(;)" ma:internalName="Keywor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0650da-1689-42f9-955b-5d66ff09d0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ee89e71-04cd-405e-9ca3-99e020c1694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6a172d2-f187-4373-961d-52c375e8a30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23775eb-4d6f-4e0f-8ef0-192cd584cf29}" ma:internalName="TaxCatchAll" ma:showField="CatchAllData" ma:web="06a172d2-f187-4373-961d-52c375e8a30c">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C02748-3634-4A24-AAB5-5A1F224A40F5}">
  <ds:schemaRefs>
    <ds:schemaRef ds:uri="http://schemas.microsoft.com/sharepoint/v3/contenttype/forms"/>
  </ds:schemaRefs>
</ds:datastoreItem>
</file>

<file path=customXml/itemProps2.xml><?xml version="1.0" encoding="utf-8"?>
<ds:datastoreItem xmlns:ds="http://schemas.openxmlformats.org/officeDocument/2006/customXml" ds:itemID="{163AFAA9-4AFD-4B5E-9C67-BA090DDF689D}">
  <ds:schemaRefs/>
</ds:datastoreItem>
</file>

<file path=customXml/itemProps3.xml><?xml version="1.0" encoding="utf-8"?>
<ds:datastoreItem xmlns:ds="http://schemas.openxmlformats.org/officeDocument/2006/customXml" ds:itemID="{2AD41FD2-E42A-4705-AA0D-85221307178A}">
  <ds:schemaRefs>
    <ds:schemaRef ds:uri="http://schemas.openxmlformats.org/package/2006/metadata/core-properties"/>
    <ds:schemaRef ds:uri="http://www.w3.org/XML/1998/namespace"/>
    <ds:schemaRef ds:uri="44a56295-c29e-4898-8136-a54736c65b82"/>
    <ds:schemaRef ds:uri="http://purl.org/dc/elements/1.1/"/>
    <ds:schemaRef ds:uri="06a172d2-f187-4373-961d-52c375e8a30c"/>
    <ds:schemaRef ds:uri="http://schemas.microsoft.com/office/2006/documentManagement/types"/>
    <ds:schemaRef ds:uri="http://purl.org/dc/terms/"/>
    <ds:schemaRef ds:uri="http://purl.org/dc/dcmitype/"/>
    <ds:schemaRef ds:uri="http://schemas.microsoft.com/office/infopath/2007/PartnerControls"/>
    <ds:schemaRef ds:uri="9f0650da-1689-42f9-955b-5d66ff09d095"/>
    <ds:schemaRef ds:uri="http://schemas.microsoft.com/office/2006/metadata/properties"/>
  </ds:schemaRefs>
</ds:datastoreItem>
</file>

<file path=customXml/itemProps4.xml><?xml version="1.0" encoding="utf-8"?>
<ds:datastoreItem xmlns:ds="http://schemas.openxmlformats.org/officeDocument/2006/customXml" ds:itemID="{38FC8649-61E8-41D7-9882-25A5F6678FD4}">
  <ds:schemaRefs>
    <ds:schemaRef ds:uri="Microsoft.SharePoint.Taxonomy.ContentTypeSync"/>
  </ds:schemaRefs>
</ds:datastoreItem>
</file>

<file path=customXml/itemProps5.xml><?xml version="1.0" encoding="utf-8"?>
<ds:datastoreItem xmlns:ds="http://schemas.openxmlformats.org/officeDocument/2006/customXml" ds:itemID="{CF33DBBE-65B8-43AA-ABED-300F783F6FD0}">
  <ds:schemaRefs/>
</ds:datastoreItem>
</file>

<file path=customXml/itemProps6.xml><?xml version="1.0" encoding="utf-8"?>
<ds:datastoreItem xmlns:ds="http://schemas.openxmlformats.org/officeDocument/2006/customXml" ds:itemID="{ED91193D-CA39-42D4-B6C4-B0F98DC986D1}">
  <ds:schemaRefs>
    <ds:schemaRef ds:uri="06a172d2-f187-4373-961d-52c375e8a30c"/>
    <ds:schemaRef ds:uri="44a56295-c29e-4898-8136-a54736c65b82"/>
    <ds:schemaRef ds:uri="9f0650da-1689-42f9-955b-5d66ff09d09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8657</TotalTime>
  <Words>8013</Words>
  <Application>Microsoft Office PowerPoint</Application>
  <PresentationFormat>Widescreen</PresentationFormat>
  <Paragraphs>1095</Paragraphs>
  <Slides>47</Slides>
  <Notes>40</Notes>
  <HiddenSlides>3</HiddenSlides>
  <MMClips>0</MMClips>
  <ScaleCrop>false</ScaleCrop>
  <HeadingPairs>
    <vt:vector size="8" baseType="variant">
      <vt:variant>
        <vt:lpstr>Fontes usadas</vt:lpstr>
      </vt:variant>
      <vt:variant>
        <vt:i4>12</vt:i4>
      </vt:variant>
      <vt:variant>
        <vt:lpstr>Tema</vt:lpstr>
      </vt:variant>
      <vt:variant>
        <vt:i4>2</vt:i4>
      </vt:variant>
      <vt:variant>
        <vt:lpstr>Servidores OLE inseridos</vt:lpstr>
      </vt:variant>
      <vt:variant>
        <vt:i4>1</vt:i4>
      </vt:variant>
      <vt:variant>
        <vt:lpstr>Títulos de slides</vt:lpstr>
      </vt:variant>
      <vt:variant>
        <vt:i4>47</vt:i4>
      </vt:variant>
    </vt:vector>
  </HeadingPairs>
  <TitlesOfParts>
    <vt:vector size="62" baseType="lpstr">
      <vt:lpstr>Arial</vt:lpstr>
      <vt:lpstr>Arial Narrow</vt:lpstr>
      <vt:lpstr>Calibri</vt:lpstr>
      <vt:lpstr>Calisto MT</vt:lpstr>
      <vt:lpstr>Cambria Math</vt:lpstr>
      <vt:lpstr>Leelawadee UI Semilight</vt:lpstr>
      <vt:lpstr>Times New Roman</vt:lpstr>
      <vt:lpstr>Trade Gothic LT Std</vt:lpstr>
      <vt:lpstr>Tw Cen MT</vt:lpstr>
      <vt:lpstr>Verdana</vt:lpstr>
      <vt:lpstr>Wingdings</vt:lpstr>
      <vt:lpstr>ヒラギノ角ゴ Pro W3</vt:lpstr>
      <vt:lpstr>AstraZeneca Standard Template</vt:lpstr>
      <vt:lpstr>1_AstraZeneca Standard Templat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Template</dc:title>
  <dc:creator>Kolettis, George</dc:creator>
  <cp:lastModifiedBy>Dalpian, Francine de Souza</cp:lastModifiedBy>
  <cp:revision>270</cp:revision>
  <dcterms:created xsi:type="dcterms:W3CDTF">2021-05-05T13:17:30Z</dcterms:created>
  <dcterms:modified xsi:type="dcterms:W3CDTF">2025-03-26T13:4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36974A97E31E44851B30FE70CBDAF5</vt:lpwstr>
  </property>
  <property fmtid="{D5CDD505-2E9C-101B-9397-08002B2CF9AE}" pid="3" name="Version">
    <vt:lpwstr>ASTR 3935 - Template &amp; Model Slides 23.pptx</vt:lpwstr>
  </property>
  <property fmtid="{D5CDD505-2E9C-101B-9397-08002B2CF9AE}" pid="4" name="ArticulateGUID">
    <vt:lpwstr>3147F588-80EE-4A79-8B90-D2BF272EDFE6</vt:lpwstr>
  </property>
  <property fmtid="{D5CDD505-2E9C-101B-9397-08002B2CF9AE}" pid="5" name="ArticulatePath">
    <vt:lpwstr>https://brightcarbon.sharepoint.com/sites/Intranet/Projects/ABCD/AstraZeneca/ASTR 3935 - AstraZeneca Template Build Project/Corporate Templates Design/BrightCarbon Template-Build/ASTR 3935 - Template &amp; Model Slides 13</vt:lpwstr>
  </property>
  <property fmtid="{D5CDD505-2E9C-101B-9397-08002B2CF9AE}" pid="6" name="MediaServiceImageTags">
    <vt:lpwstr/>
  </property>
</Properties>
</file>